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4340" r:id="rId5"/>
    <p:sldMasterId id="2147484370" r:id="rId6"/>
  </p:sldMasterIdLst>
  <p:notesMasterIdLst>
    <p:notesMasterId r:id="rId27"/>
  </p:notesMasterIdLst>
  <p:handoutMasterIdLst>
    <p:handoutMasterId r:id="rId28"/>
  </p:handoutMasterIdLst>
  <p:sldIdLst>
    <p:sldId id="3215" r:id="rId7"/>
    <p:sldId id="3308" r:id="rId8"/>
    <p:sldId id="3309" r:id="rId9"/>
    <p:sldId id="261" r:id="rId10"/>
    <p:sldId id="8846" r:id="rId11"/>
    <p:sldId id="8847" r:id="rId12"/>
    <p:sldId id="8814" r:id="rId13"/>
    <p:sldId id="8869" r:id="rId14"/>
    <p:sldId id="8866" r:id="rId15"/>
    <p:sldId id="8941" r:id="rId16"/>
    <p:sldId id="1470" r:id="rId17"/>
    <p:sldId id="8946" r:id="rId18"/>
    <p:sldId id="3264" r:id="rId19"/>
    <p:sldId id="8948" r:id="rId20"/>
    <p:sldId id="8942" r:id="rId21"/>
    <p:sldId id="8864" r:id="rId22"/>
    <p:sldId id="8944" r:id="rId23"/>
    <p:sldId id="8945" r:id="rId24"/>
    <p:sldId id="282" r:id="rId25"/>
    <p:sldId id="273" r:id="rId26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ABB5E0-2821-4093-BC44-BCEEE820E57F}" v="13" dt="2022-08-25T07:41:20.7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910" autoAdjust="0"/>
  </p:normalViewPr>
  <p:slideViewPr>
    <p:cSldViewPr snapToGrid="0">
      <p:cViewPr varScale="1">
        <p:scale>
          <a:sx n="68" d="100"/>
          <a:sy n="68" d="100"/>
        </p:scale>
        <p:origin x="79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81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l, Nilay" userId="ed9d0055-01a1-45e2-8185-e0108d9621e4" providerId="ADAL" clId="{56ABB5E0-2821-4093-BC44-BCEEE820E57F}"/>
    <pc:docChg chg="delSld modSld sldOrd">
      <pc:chgData name="Ball, Nilay" userId="ed9d0055-01a1-45e2-8185-e0108d9621e4" providerId="ADAL" clId="{56ABB5E0-2821-4093-BC44-BCEEE820E57F}" dt="2022-08-25T09:22:50.547" v="22" actId="47"/>
      <pc:docMkLst>
        <pc:docMk/>
      </pc:docMkLst>
      <pc:sldChg chg="del modTransition">
        <pc:chgData name="Ball, Nilay" userId="ed9d0055-01a1-45e2-8185-e0108d9621e4" providerId="ADAL" clId="{56ABB5E0-2821-4093-BC44-BCEEE820E57F}" dt="2022-08-25T09:22:49.763" v="21" actId="47"/>
        <pc:sldMkLst>
          <pc:docMk/>
          <pc:sldMk cId="0" sldId="283"/>
        </pc:sldMkLst>
      </pc:sldChg>
      <pc:sldChg chg="del modTransition">
        <pc:chgData name="Ball, Nilay" userId="ed9d0055-01a1-45e2-8185-e0108d9621e4" providerId="ADAL" clId="{56ABB5E0-2821-4093-BC44-BCEEE820E57F}" dt="2022-08-25T09:22:50.547" v="22" actId="47"/>
        <pc:sldMkLst>
          <pc:docMk/>
          <pc:sldMk cId="0" sldId="743"/>
        </pc:sldMkLst>
      </pc:sldChg>
      <pc:sldChg chg="del modTransition">
        <pc:chgData name="Ball, Nilay" userId="ed9d0055-01a1-45e2-8185-e0108d9621e4" providerId="ADAL" clId="{56ABB5E0-2821-4093-BC44-BCEEE820E57F}" dt="2022-08-25T09:22:43.771" v="20" actId="47"/>
        <pc:sldMkLst>
          <pc:docMk/>
          <pc:sldMk cId="3719103067" sldId="2290"/>
        </pc:sldMkLst>
      </pc:sldChg>
      <pc:sldChg chg="modSp">
        <pc:chgData name="Ball, Nilay" userId="ed9d0055-01a1-45e2-8185-e0108d9621e4" providerId="ADAL" clId="{56ABB5E0-2821-4093-BC44-BCEEE820E57F}" dt="2022-08-25T07:40:42.233" v="13" actId="20577"/>
        <pc:sldMkLst>
          <pc:docMk/>
          <pc:sldMk cId="897183137" sldId="3309"/>
        </pc:sldMkLst>
        <pc:graphicFrameChg chg="mod">
          <ac:chgData name="Ball, Nilay" userId="ed9d0055-01a1-45e2-8185-e0108d9621e4" providerId="ADAL" clId="{56ABB5E0-2821-4093-BC44-BCEEE820E57F}" dt="2022-08-25T07:40:42.233" v="13" actId="20577"/>
          <ac:graphicFrameMkLst>
            <pc:docMk/>
            <pc:sldMk cId="897183137" sldId="3309"/>
            <ac:graphicFrameMk id="4" creationId="{C7888C82-A3BE-46F8-B733-B09F5D28D9C0}"/>
          </ac:graphicFrameMkLst>
        </pc:graphicFrameChg>
      </pc:sldChg>
      <pc:sldChg chg="del">
        <pc:chgData name="Ball, Nilay" userId="ed9d0055-01a1-45e2-8185-e0108d9621e4" providerId="ADAL" clId="{56ABB5E0-2821-4093-BC44-BCEEE820E57F}" dt="2022-08-25T09:22:41.064" v="19" actId="47"/>
        <pc:sldMkLst>
          <pc:docMk/>
          <pc:sldMk cId="0" sldId="8834"/>
        </pc:sldMkLst>
      </pc:sldChg>
      <pc:sldChg chg="del">
        <pc:chgData name="Ball, Nilay" userId="ed9d0055-01a1-45e2-8185-e0108d9621e4" providerId="ADAL" clId="{56ABB5E0-2821-4093-BC44-BCEEE820E57F}" dt="2022-08-25T09:22:38.538" v="18" actId="47"/>
        <pc:sldMkLst>
          <pc:docMk/>
          <pc:sldMk cId="0" sldId="8859"/>
        </pc:sldMkLst>
      </pc:sldChg>
      <pc:sldChg chg="ord">
        <pc:chgData name="Ball, Nilay" userId="ed9d0055-01a1-45e2-8185-e0108d9621e4" providerId="ADAL" clId="{56ABB5E0-2821-4093-BC44-BCEEE820E57F}" dt="2022-08-25T07:38:43.636" v="2"/>
        <pc:sldMkLst>
          <pc:docMk/>
          <pc:sldMk cId="1927940067" sldId="8946"/>
        </pc:sldMkLst>
      </pc:sldChg>
      <pc:sldChg chg="del">
        <pc:chgData name="Ball, Nilay" userId="ed9d0055-01a1-45e2-8185-e0108d9621e4" providerId="ADAL" clId="{56ABB5E0-2821-4093-BC44-BCEEE820E57F}" dt="2022-08-25T09:22:36.899" v="17" actId="47"/>
        <pc:sldMkLst>
          <pc:docMk/>
          <pc:sldMk cId="504197692" sldId="8947"/>
        </pc:sldMkLst>
      </pc:sldChg>
      <pc:sldChg chg="del modTransition">
        <pc:chgData name="Ball, Nilay" userId="ed9d0055-01a1-45e2-8185-e0108d9621e4" providerId="ADAL" clId="{56ABB5E0-2821-4093-BC44-BCEEE820E57F}" dt="2022-08-25T09:22:34.442" v="16" actId="47"/>
        <pc:sldMkLst>
          <pc:docMk/>
          <pc:sldMk cId="2170925564" sldId="8949"/>
        </pc:sldMkLst>
      </pc:sldChg>
      <pc:sldChg chg="del modTransition">
        <pc:chgData name="Ball, Nilay" userId="ed9d0055-01a1-45e2-8185-e0108d9621e4" providerId="ADAL" clId="{56ABB5E0-2821-4093-BC44-BCEEE820E57F}" dt="2022-08-25T09:22:29.081" v="15" actId="47"/>
        <pc:sldMkLst>
          <pc:docMk/>
          <pc:sldMk cId="649437038" sldId="8950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6400B9-C889-40BC-BBFD-E3B3DF10A25D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70B6BF0-6595-4428-A2EE-0309860F4D82}">
      <dgm:prSet phldrT="[Text]" custT="1"/>
      <dgm:spPr/>
      <dgm:t>
        <a:bodyPr anchor="ctr" anchorCtr="0"/>
        <a:lstStyle/>
        <a:p>
          <a:pPr algn="ctr"/>
          <a:r>
            <a:rPr lang="en-US" sz="1400" b="1" dirty="0"/>
            <a:t>Compliance and Certification</a:t>
          </a:r>
        </a:p>
      </dgm:t>
    </dgm:pt>
    <dgm:pt modelId="{2C3905D5-B5FF-490B-9166-BE4E304BDDFA}" type="parTrans" cxnId="{B6C720F0-DE03-4C15-830B-1A0186BDE51F}">
      <dgm:prSet/>
      <dgm:spPr/>
      <dgm:t>
        <a:bodyPr/>
        <a:lstStyle/>
        <a:p>
          <a:pPr algn="ctr"/>
          <a:endParaRPr lang="en-US" sz="1400" b="1"/>
        </a:p>
      </dgm:t>
    </dgm:pt>
    <dgm:pt modelId="{528CC038-6A10-439D-B1CC-6E2AEA992D0B}" type="sibTrans" cxnId="{B6C720F0-DE03-4C15-830B-1A0186BDE51F}">
      <dgm:prSet/>
      <dgm:spPr/>
      <dgm:t>
        <a:bodyPr/>
        <a:lstStyle/>
        <a:p>
          <a:pPr algn="ctr"/>
          <a:endParaRPr lang="en-US" sz="1400" b="1"/>
        </a:p>
      </dgm:t>
    </dgm:pt>
    <dgm:pt modelId="{892B5469-BF47-4211-8E77-EEAD49746BFA}">
      <dgm:prSet phldrT="[Text]" custT="1"/>
      <dgm:spPr/>
      <dgm:t>
        <a:bodyPr anchor="ctr" anchorCtr="0"/>
        <a:lstStyle/>
        <a:p>
          <a:pPr algn="ctr"/>
          <a:r>
            <a:rPr lang="en-US" sz="1400" b="1" dirty="0"/>
            <a:t>Risk Analysis</a:t>
          </a:r>
        </a:p>
      </dgm:t>
    </dgm:pt>
    <dgm:pt modelId="{576D1021-3109-4A8C-9334-9263136970EC}" type="parTrans" cxnId="{D6601CC8-7C7D-4005-A53A-31EA92527E5C}">
      <dgm:prSet/>
      <dgm:spPr/>
      <dgm:t>
        <a:bodyPr/>
        <a:lstStyle/>
        <a:p>
          <a:pPr algn="ctr"/>
          <a:endParaRPr lang="en-US" sz="1400" b="1"/>
        </a:p>
      </dgm:t>
    </dgm:pt>
    <dgm:pt modelId="{AA759045-20E9-46E5-8719-1FF474C2A253}" type="sibTrans" cxnId="{D6601CC8-7C7D-4005-A53A-31EA92527E5C}">
      <dgm:prSet/>
      <dgm:spPr/>
      <dgm:t>
        <a:bodyPr/>
        <a:lstStyle/>
        <a:p>
          <a:pPr algn="ctr"/>
          <a:endParaRPr lang="en-US" sz="1400" b="1"/>
        </a:p>
      </dgm:t>
    </dgm:pt>
    <dgm:pt modelId="{6A427A49-8C21-43AE-8FDB-EF62A42B57CC}">
      <dgm:prSet phldrT="[Text]" custT="1"/>
      <dgm:spPr/>
      <dgm:t>
        <a:bodyPr anchor="ctr" anchorCtr="0"/>
        <a:lstStyle/>
        <a:p>
          <a:pPr algn="ctr"/>
          <a:r>
            <a:rPr lang="en-US" sz="1400" b="1" dirty="0"/>
            <a:t>Reliability &amp; Asset </a:t>
          </a:r>
        </a:p>
        <a:p>
          <a:pPr algn="ctr"/>
          <a:r>
            <a:rPr lang="en-US" sz="1400" b="1" dirty="0"/>
            <a:t>Performance</a:t>
          </a:r>
        </a:p>
      </dgm:t>
    </dgm:pt>
    <dgm:pt modelId="{90033429-2B06-4FD4-9E78-A247028C6BAA}" type="parTrans" cxnId="{9FB9BC6E-9476-409C-8CBE-73EA6EEB53C5}">
      <dgm:prSet/>
      <dgm:spPr/>
      <dgm:t>
        <a:bodyPr/>
        <a:lstStyle/>
        <a:p>
          <a:pPr algn="ctr"/>
          <a:endParaRPr lang="en-US" sz="1400" b="1"/>
        </a:p>
      </dgm:t>
    </dgm:pt>
    <dgm:pt modelId="{2B5696FF-657E-45C6-B5AE-8357F5B65C36}" type="sibTrans" cxnId="{9FB9BC6E-9476-409C-8CBE-73EA6EEB53C5}">
      <dgm:prSet/>
      <dgm:spPr/>
      <dgm:t>
        <a:bodyPr/>
        <a:lstStyle/>
        <a:p>
          <a:pPr algn="ctr"/>
          <a:endParaRPr lang="en-US" sz="1400" b="1"/>
        </a:p>
      </dgm:t>
    </dgm:pt>
    <dgm:pt modelId="{749D2E44-A0EA-405D-97D4-681C21A23508}">
      <dgm:prSet phldrT="[Text]" custT="1"/>
      <dgm:spPr/>
      <dgm:t>
        <a:bodyPr anchor="ctr" anchorCtr="0"/>
        <a:lstStyle/>
        <a:p>
          <a:pPr algn="ctr"/>
          <a:r>
            <a:rPr lang="en-US" sz="1400" b="1" dirty="0"/>
            <a:t>Business Assurance </a:t>
          </a:r>
        </a:p>
      </dgm:t>
    </dgm:pt>
    <dgm:pt modelId="{501E4BB8-D6C3-44BF-A67F-FC11D8FFCBF9}" type="parTrans" cxnId="{0DE723F0-49BC-45D0-A5E0-73AA85F959A0}">
      <dgm:prSet/>
      <dgm:spPr/>
      <dgm:t>
        <a:bodyPr/>
        <a:lstStyle/>
        <a:p>
          <a:pPr algn="ctr"/>
          <a:endParaRPr lang="en-US" sz="1400" b="1"/>
        </a:p>
      </dgm:t>
    </dgm:pt>
    <dgm:pt modelId="{44953D7B-0190-4082-B9F9-786468C2C223}" type="sibTrans" cxnId="{0DE723F0-49BC-45D0-A5E0-73AA85F959A0}">
      <dgm:prSet/>
      <dgm:spPr/>
      <dgm:t>
        <a:bodyPr/>
        <a:lstStyle/>
        <a:p>
          <a:pPr algn="ctr"/>
          <a:endParaRPr lang="en-US" sz="1400" b="1"/>
        </a:p>
      </dgm:t>
    </dgm:pt>
    <dgm:pt modelId="{6562E5BD-4CD2-4F54-9478-D48B008293D8}">
      <dgm:prSet phldrT="[Text]" custT="1"/>
      <dgm:spPr/>
      <dgm:t>
        <a:bodyPr anchor="ctr" anchorCtr="0"/>
        <a:lstStyle/>
        <a:p>
          <a:pPr algn="ctr"/>
          <a:r>
            <a:rPr lang="en-US" sz="1400" b="1" dirty="0"/>
            <a:t>Process Safety Studies </a:t>
          </a:r>
        </a:p>
      </dgm:t>
    </dgm:pt>
    <dgm:pt modelId="{0130252A-3E96-40D6-99F1-25E94C49EEDF}" type="parTrans" cxnId="{E4201DCF-6CB0-42FE-BA95-C9A0D044CEE4}">
      <dgm:prSet/>
      <dgm:spPr/>
      <dgm:t>
        <a:bodyPr/>
        <a:lstStyle/>
        <a:p>
          <a:pPr algn="ctr"/>
          <a:endParaRPr lang="en-US" sz="1400" b="1"/>
        </a:p>
      </dgm:t>
    </dgm:pt>
    <dgm:pt modelId="{7D166FBB-5DAA-496E-A3B5-BD4E4043026B}" type="sibTrans" cxnId="{E4201DCF-6CB0-42FE-BA95-C9A0D044CEE4}">
      <dgm:prSet/>
      <dgm:spPr/>
      <dgm:t>
        <a:bodyPr/>
        <a:lstStyle/>
        <a:p>
          <a:pPr algn="ctr"/>
          <a:endParaRPr lang="en-US" sz="1400" b="1"/>
        </a:p>
      </dgm:t>
    </dgm:pt>
    <dgm:pt modelId="{35ACF2B9-060D-4D3F-8A05-7B60BCADE82B}">
      <dgm:prSet phldrT="[Text]" custT="1"/>
      <dgm:spPr/>
      <dgm:t>
        <a:bodyPr anchor="ctr" anchorCtr="0"/>
        <a:lstStyle/>
        <a:p>
          <a:pPr algn="ctr"/>
          <a:r>
            <a:rPr lang="en-US" sz="1400" b="1" dirty="0"/>
            <a:t>Environmental Impact Assessment</a:t>
          </a:r>
        </a:p>
      </dgm:t>
    </dgm:pt>
    <dgm:pt modelId="{349EC240-861D-428E-90C4-4BD810B42C6F}" type="parTrans" cxnId="{0E729F11-B565-46FC-B339-BCE5E4D3B095}">
      <dgm:prSet/>
      <dgm:spPr/>
      <dgm:t>
        <a:bodyPr/>
        <a:lstStyle/>
        <a:p>
          <a:pPr algn="ctr"/>
          <a:endParaRPr lang="en-US" sz="1400" b="1"/>
        </a:p>
      </dgm:t>
    </dgm:pt>
    <dgm:pt modelId="{E37A8510-6BC6-42A6-A318-B789519D1073}" type="sibTrans" cxnId="{0E729F11-B565-46FC-B339-BCE5E4D3B095}">
      <dgm:prSet/>
      <dgm:spPr/>
      <dgm:t>
        <a:bodyPr/>
        <a:lstStyle/>
        <a:p>
          <a:pPr algn="ctr"/>
          <a:endParaRPr lang="en-US" sz="1400" b="1"/>
        </a:p>
      </dgm:t>
    </dgm:pt>
    <dgm:pt modelId="{CF17D0AA-0771-497A-88BE-C0F27D564732}">
      <dgm:prSet phldrT="[Text]" custT="1"/>
      <dgm:spPr/>
      <dgm:t>
        <a:bodyPr anchor="ctr" anchorCtr="0"/>
        <a:lstStyle/>
        <a:p>
          <a:pPr algn="ctr"/>
          <a:r>
            <a:rPr lang="en-US" sz="1400" b="1" dirty="0"/>
            <a:t>Consulting Training</a:t>
          </a:r>
        </a:p>
      </dgm:t>
    </dgm:pt>
    <dgm:pt modelId="{D325462A-DB9A-4C0C-A18A-0C5391ED7DA1}" type="parTrans" cxnId="{8604575A-6DD4-41A2-B83B-ACF2701D7443}">
      <dgm:prSet/>
      <dgm:spPr/>
      <dgm:t>
        <a:bodyPr/>
        <a:lstStyle/>
        <a:p>
          <a:pPr algn="ctr"/>
          <a:endParaRPr lang="en-US" sz="1400" b="1"/>
        </a:p>
      </dgm:t>
    </dgm:pt>
    <dgm:pt modelId="{5079D9A3-9B4C-4CCC-A86D-0173521382C5}" type="sibTrans" cxnId="{8604575A-6DD4-41A2-B83B-ACF2701D7443}">
      <dgm:prSet/>
      <dgm:spPr/>
      <dgm:t>
        <a:bodyPr/>
        <a:lstStyle/>
        <a:p>
          <a:pPr algn="ctr"/>
          <a:endParaRPr lang="en-US" sz="1400" b="1"/>
        </a:p>
      </dgm:t>
    </dgm:pt>
    <dgm:pt modelId="{9E5D5834-8726-4CB7-8439-6456A929EFC2}" type="pres">
      <dgm:prSet presAssocID="{646400B9-C889-40BC-BBFD-E3B3DF10A25D}" presName="Name0" presStyleCnt="0">
        <dgm:presLayoutVars>
          <dgm:dir/>
          <dgm:resizeHandles val="exact"/>
        </dgm:presLayoutVars>
      </dgm:prSet>
      <dgm:spPr/>
    </dgm:pt>
    <dgm:pt modelId="{3FE62960-A0AB-43DC-B671-06A0EF6C24F6}" type="pres">
      <dgm:prSet presAssocID="{646400B9-C889-40BC-BBFD-E3B3DF10A25D}" presName="arrow" presStyleLbl="bgShp" presStyleIdx="0" presStyleCnt="1"/>
      <dgm:spPr/>
    </dgm:pt>
    <dgm:pt modelId="{95063F85-56F0-406C-BA90-32C7E6A29A01}" type="pres">
      <dgm:prSet presAssocID="{646400B9-C889-40BC-BBFD-E3B3DF10A25D}" presName="points" presStyleCnt="0"/>
      <dgm:spPr/>
    </dgm:pt>
    <dgm:pt modelId="{9EDE0FEB-6159-479A-822B-54719DCCC4B6}" type="pres">
      <dgm:prSet presAssocID="{770B6BF0-6595-4428-A2EE-0309860F4D82}" presName="compositeA" presStyleCnt="0"/>
      <dgm:spPr/>
    </dgm:pt>
    <dgm:pt modelId="{E9BEF1E9-C8BB-4F12-954B-8388CA6D841D}" type="pres">
      <dgm:prSet presAssocID="{770B6BF0-6595-4428-A2EE-0309860F4D82}" presName="textA" presStyleLbl="revTx" presStyleIdx="0" presStyleCnt="7">
        <dgm:presLayoutVars>
          <dgm:bulletEnabled val="1"/>
        </dgm:presLayoutVars>
      </dgm:prSet>
      <dgm:spPr/>
    </dgm:pt>
    <dgm:pt modelId="{CFAC4C80-0101-4DC9-BE3A-C8EFE2C96FEF}" type="pres">
      <dgm:prSet presAssocID="{770B6BF0-6595-4428-A2EE-0309860F4D82}" presName="circleA" presStyleLbl="node1" presStyleIdx="0" presStyleCnt="7"/>
      <dgm:spPr/>
    </dgm:pt>
    <dgm:pt modelId="{6A07F18F-FAFD-476F-BF5E-8B74220AE04F}" type="pres">
      <dgm:prSet presAssocID="{770B6BF0-6595-4428-A2EE-0309860F4D82}" presName="spaceA" presStyleCnt="0"/>
      <dgm:spPr/>
    </dgm:pt>
    <dgm:pt modelId="{D8EBDEA2-E366-40A8-8874-2931C892795F}" type="pres">
      <dgm:prSet presAssocID="{528CC038-6A10-439D-B1CC-6E2AEA992D0B}" presName="space" presStyleCnt="0"/>
      <dgm:spPr/>
    </dgm:pt>
    <dgm:pt modelId="{C1BE28C3-1C39-4362-8B09-DC41E7FC0049}" type="pres">
      <dgm:prSet presAssocID="{892B5469-BF47-4211-8E77-EEAD49746BFA}" presName="compositeB" presStyleCnt="0"/>
      <dgm:spPr/>
    </dgm:pt>
    <dgm:pt modelId="{06FE90FA-B760-45DE-9A16-E8F792CE244C}" type="pres">
      <dgm:prSet presAssocID="{892B5469-BF47-4211-8E77-EEAD49746BFA}" presName="textB" presStyleLbl="revTx" presStyleIdx="1" presStyleCnt="7">
        <dgm:presLayoutVars>
          <dgm:bulletEnabled val="1"/>
        </dgm:presLayoutVars>
      </dgm:prSet>
      <dgm:spPr/>
    </dgm:pt>
    <dgm:pt modelId="{D12AC453-6651-47DC-8AF3-DF9D929DA883}" type="pres">
      <dgm:prSet presAssocID="{892B5469-BF47-4211-8E77-EEAD49746BFA}" presName="circleB" presStyleLbl="node1" presStyleIdx="1" presStyleCnt="7"/>
      <dgm:spPr/>
    </dgm:pt>
    <dgm:pt modelId="{FE5122DE-7678-4FEF-8254-72BB49F66746}" type="pres">
      <dgm:prSet presAssocID="{892B5469-BF47-4211-8E77-EEAD49746BFA}" presName="spaceB" presStyleCnt="0"/>
      <dgm:spPr/>
    </dgm:pt>
    <dgm:pt modelId="{6DD094AA-7624-4839-B61B-32534A08D771}" type="pres">
      <dgm:prSet presAssocID="{AA759045-20E9-46E5-8719-1FF474C2A253}" presName="space" presStyleCnt="0"/>
      <dgm:spPr/>
    </dgm:pt>
    <dgm:pt modelId="{4F4C6CDF-7CCA-4922-8F8D-252B2094E54C}" type="pres">
      <dgm:prSet presAssocID="{6A427A49-8C21-43AE-8FDB-EF62A42B57CC}" presName="compositeA" presStyleCnt="0"/>
      <dgm:spPr/>
    </dgm:pt>
    <dgm:pt modelId="{7F78A55A-9161-4562-9D41-370363637511}" type="pres">
      <dgm:prSet presAssocID="{6A427A49-8C21-43AE-8FDB-EF62A42B57CC}" presName="textA" presStyleLbl="revTx" presStyleIdx="2" presStyleCnt="7">
        <dgm:presLayoutVars>
          <dgm:bulletEnabled val="1"/>
        </dgm:presLayoutVars>
      </dgm:prSet>
      <dgm:spPr/>
    </dgm:pt>
    <dgm:pt modelId="{E5A8912F-67A2-4EF4-B027-E06DC76F3C97}" type="pres">
      <dgm:prSet presAssocID="{6A427A49-8C21-43AE-8FDB-EF62A42B57CC}" presName="circleA" presStyleLbl="node1" presStyleIdx="2" presStyleCnt="7"/>
      <dgm:spPr/>
    </dgm:pt>
    <dgm:pt modelId="{2F70C408-74D1-4065-936B-C03293536AD4}" type="pres">
      <dgm:prSet presAssocID="{6A427A49-8C21-43AE-8FDB-EF62A42B57CC}" presName="spaceA" presStyleCnt="0"/>
      <dgm:spPr/>
    </dgm:pt>
    <dgm:pt modelId="{57A421DF-A54E-4AA3-A5CC-5B9530FA9886}" type="pres">
      <dgm:prSet presAssocID="{2B5696FF-657E-45C6-B5AE-8357F5B65C36}" presName="space" presStyleCnt="0"/>
      <dgm:spPr/>
    </dgm:pt>
    <dgm:pt modelId="{9FE544F1-AAB8-4076-97F6-BF14363D04A3}" type="pres">
      <dgm:prSet presAssocID="{749D2E44-A0EA-405D-97D4-681C21A23508}" presName="compositeB" presStyleCnt="0"/>
      <dgm:spPr/>
    </dgm:pt>
    <dgm:pt modelId="{827A1FC4-9A04-4EF2-A7D1-BF3FD690950C}" type="pres">
      <dgm:prSet presAssocID="{749D2E44-A0EA-405D-97D4-681C21A23508}" presName="textB" presStyleLbl="revTx" presStyleIdx="3" presStyleCnt="7">
        <dgm:presLayoutVars>
          <dgm:bulletEnabled val="1"/>
        </dgm:presLayoutVars>
      </dgm:prSet>
      <dgm:spPr/>
    </dgm:pt>
    <dgm:pt modelId="{A7A4D96D-8072-4150-94FC-E6459AFF94EF}" type="pres">
      <dgm:prSet presAssocID="{749D2E44-A0EA-405D-97D4-681C21A23508}" presName="circleB" presStyleLbl="node1" presStyleIdx="3" presStyleCnt="7"/>
      <dgm:spPr/>
    </dgm:pt>
    <dgm:pt modelId="{E6D95267-CC2C-4D57-AD24-D43B65FCCB60}" type="pres">
      <dgm:prSet presAssocID="{749D2E44-A0EA-405D-97D4-681C21A23508}" presName="spaceB" presStyleCnt="0"/>
      <dgm:spPr/>
    </dgm:pt>
    <dgm:pt modelId="{669CB8C2-9D7B-4535-AB5F-9D744BBCCFBE}" type="pres">
      <dgm:prSet presAssocID="{44953D7B-0190-4082-B9F9-786468C2C223}" presName="space" presStyleCnt="0"/>
      <dgm:spPr/>
    </dgm:pt>
    <dgm:pt modelId="{2640FD4B-CF5C-452E-9947-ED0AC657B7A7}" type="pres">
      <dgm:prSet presAssocID="{6562E5BD-4CD2-4F54-9478-D48B008293D8}" presName="compositeA" presStyleCnt="0"/>
      <dgm:spPr/>
    </dgm:pt>
    <dgm:pt modelId="{5083C969-4689-4187-B692-0A1A57EF8C83}" type="pres">
      <dgm:prSet presAssocID="{6562E5BD-4CD2-4F54-9478-D48B008293D8}" presName="textA" presStyleLbl="revTx" presStyleIdx="4" presStyleCnt="7">
        <dgm:presLayoutVars>
          <dgm:bulletEnabled val="1"/>
        </dgm:presLayoutVars>
      </dgm:prSet>
      <dgm:spPr/>
    </dgm:pt>
    <dgm:pt modelId="{7C005B7F-2863-4FF1-8E91-81F22F3D6F6C}" type="pres">
      <dgm:prSet presAssocID="{6562E5BD-4CD2-4F54-9478-D48B008293D8}" presName="circleA" presStyleLbl="node1" presStyleIdx="4" presStyleCnt="7"/>
      <dgm:spPr/>
    </dgm:pt>
    <dgm:pt modelId="{6F9553A4-6C18-4DD9-9425-0C1953014A05}" type="pres">
      <dgm:prSet presAssocID="{6562E5BD-4CD2-4F54-9478-D48B008293D8}" presName="spaceA" presStyleCnt="0"/>
      <dgm:spPr/>
    </dgm:pt>
    <dgm:pt modelId="{5F585C40-7941-4ED0-9CF2-A5084F78F588}" type="pres">
      <dgm:prSet presAssocID="{7D166FBB-5DAA-496E-A3B5-BD4E4043026B}" presName="space" presStyleCnt="0"/>
      <dgm:spPr/>
    </dgm:pt>
    <dgm:pt modelId="{99879C93-46AF-471D-9B57-04147F62AAA5}" type="pres">
      <dgm:prSet presAssocID="{35ACF2B9-060D-4D3F-8A05-7B60BCADE82B}" presName="compositeB" presStyleCnt="0"/>
      <dgm:spPr/>
    </dgm:pt>
    <dgm:pt modelId="{2688A219-1362-451A-BF00-0A17FBF9BFFB}" type="pres">
      <dgm:prSet presAssocID="{35ACF2B9-060D-4D3F-8A05-7B60BCADE82B}" presName="textB" presStyleLbl="revTx" presStyleIdx="5" presStyleCnt="7">
        <dgm:presLayoutVars>
          <dgm:bulletEnabled val="1"/>
        </dgm:presLayoutVars>
      </dgm:prSet>
      <dgm:spPr/>
    </dgm:pt>
    <dgm:pt modelId="{2A8A6E13-124C-43CF-B6F1-D5C618C62768}" type="pres">
      <dgm:prSet presAssocID="{35ACF2B9-060D-4D3F-8A05-7B60BCADE82B}" presName="circleB" presStyleLbl="node1" presStyleIdx="5" presStyleCnt="7"/>
      <dgm:spPr/>
    </dgm:pt>
    <dgm:pt modelId="{0C07A34A-285E-4659-9A9C-3BA194D24D64}" type="pres">
      <dgm:prSet presAssocID="{35ACF2B9-060D-4D3F-8A05-7B60BCADE82B}" presName="spaceB" presStyleCnt="0"/>
      <dgm:spPr/>
    </dgm:pt>
    <dgm:pt modelId="{3C235D4C-91FC-4582-A821-5AA34A632FE9}" type="pres">
      <dgm:prSet presAssocID="{E37A8510-6BC6-42A6-A318-B789519D1073}" presName="space" presStyleCnt="0"/>
      <dgm:spPr/>
    </dgm:pt>
    <dgm:pt modelId="{2A9EFB2D-8F29-49B0-88FF-6BF60DA7685A}" type="pres">
      <dgm:prSet presAssocID="{CF17D0AA-0771-497A-88BE-C0F27D564732}" presName="compositeA" presStyleCnt="0"/>
      <dgm:spPr/>
    </dgm:pt>
    <dgm:pt modelId="{F37BBA26-B2C7-4C6D-B81F-F13EB42AE894}" type="pres">
      <dgm:prSet presAssocID="{CF17D0AA-0771-497A-88BE-C0F27D564732}" presName="textA" presStyleLbl="revTx" presStyleIdx="6" presStyleCnt="7">
        <dgm:presLayoutVars>
          <dgm:bulletEnabled val="1"/>
        </dgm:presLayoutVars>
      </dgm:prSet>
      <dgm:spPr/>
    </dgm:pt>
    <dgm:pt modelId="{BA9CB559-163C-49A5-A11D-C392A62FFBFE}" type="pres">
      <dgm:prSet presAssocID="{CF17D0AA-0771-497A-88BE-C0F27D564732}" presName="circleA" presStyleLbl="node1" presStyleIdx="6" presStyleCnt="7"/>
      <dgm:spPr/>
    </dgm:pt>
    <dgm:pt modelId="{6AA115EB-5234-4250-960D-FDB4D175D475}" type="pres">
      <dgm:prSet presAssocID="{CF17D0AA-0771-497A-88BE-C0F27D564732}" presName="spaceA" presStyleCnt="0"/>
      <dgm:spPr/>
    </dgm:pt>
  </dgm:ptLst>
  <dgm:cxnLst>
    <dgm:cxn modelId="{0E729F11-B565-46FC-B339-BCE5E4D3B095}" srcId="{646400B9-C889-40BC-BBFD-E3B3DF10A25D}" destId="{35ACF2B9-060D-4D3F-8A05-7B60BCADE82B}" srcOrd="5" destOrd="0" parTransId="{349EC240-861D-428E-90C4-4BD810B42C6F}" sibTransId="{E37A8510-6BC6-42A6-A318-B789519D1073}"/>
    <dgm:cxn modelId="{8CD4242F-9F5D-4524-B137-DE333F673429}" type="presOf" srcId="{CF17D0AA-0771-497A-88BE-C0F27D564732}" destId="{F37BBA26-B2C7-4C6D-B81F-F13EB42AE894}" srcOrd="0" destOrd="0" presId="urn:microsoft.com/office/officeart/2005/8/layout/hProcess11"/>
    <dgm:cxn modelId="{CB524331-ADCE-4BFD-A9AC-CE833631D505}" type="presOf" srcId="{749D2E44-A0EA-405D-97D4-681C21A23508}" destId="{827A1FC4-9A04-4EF2-A7D1-BF3FD690950C}" srcOrd="0" destOrd="0" presId="urn:microsoft.com/office/officeart/2005/8/layout/hProcess11"/>
    <dgm:cxn modelId="{F739FA6C-8586-40E8-A491-136DFDA1BE57}" type="presOf" srcId="{646400B9-C889-40BC-BBFD-E3B3DF10A25D}" destId="{9E5D5834-8726-4CB7-8439-6456A929EFC2}" srcOrd="0" destOrd="0" presId="urn:microsoft.com/office/officeart/2005/8/layout/hProcess11"/>
    <dgm:cxn modelId="{9FB9BC6E-9476-409C-8CBE-73EA6EEB53C5}" srcId="{646400B9-C889-40BC-BBFD-E3B3DF10A25D}" destId="{6A427A49-8C21-43AE-8FDB-EF62A42B57CC}" srcOrd="2" destOrd="0" parTransId="{90033429-2B06-4FD4-9E78-A247028C6BAA}" sibTransId="{2B5696FF-657E-45C6-B5AE-8357F5B65C36}"/>
    <dgm:cxn modelId="{8604575A-6DD4-41A2-B83B-ACF2701D7443}" srcId="{646400B9-C889-40BC-BBFD-E3B3DF10A25D}" destId="{CF17D0AA-0771-497A-88BE-C0F27D564732}" srcOrd="6" destOrd="0" parTransId="{D325462A-DB9A-4C0C-A18A-0C5391ED7DA1}" sibTransId="{5079D9A3-9B4C-4CCC-A86D-0173521382C5}"/>
    <dgm:cxn modelId="{0532489B-C48A-42F9-BE68-C797D356BF06}" type="presOf" srcId="{770B6BF0-6595-4428-A2EE-0309860F4D82}" destId="{E9BEF1E9-C8BB-4F12-954B-8388CA6D841D}" srcOrd="0" destOrd="0" presId="urn:microsoft.com/office/officeart/2005/8/layout/hProcess11"/>
    <dgm:cxn modelId="{9A4DA1A1-9A32-497D-9E10-6FC1594F67CC}" type="presOf" srcId="{6A427A49-8C21-43AE-8FDB-EF62A42B57CC}" destId="{7F78A55A-9161-4562-9D41-370363637511}" srcOrd="0" destOrd="0" presId="urn:microsoft.com/office/officeart/2005/8/layout/hProcess11"/>
    <dgm:cxn modelId="{FFAC8AC7-8008-4E4E-8C6D-99AE41B68402}" type="presOf" srcId="{892B5469-BF47-4211-8E77-EEAD49746BFA}" destId="{06FE90FA-B760-45DE-9A16-E8F792CE244C}" srcOrd="0" destOrd="0" presId="urn:microsoft.com/office/officeart/2005/8/layout/hProcess11"/>
    <dgm:cxn modelId="{D6601CC8-7C7D-4005-A53A-31EA92527E5C}" srcId="{646400B9-C889-40BC-BBFD-E3B3DF10A25D}" destId="{892B5469-BF47-4211-8E77-EEAD49746BFA}" srcOrd="1" destOrd="0" parTransId="{576D1021-3109-4A8C-9334-9263136970EC}" sibTransId="{AA759045-20E9-46E5-8719-1FF474C2A253}"/>
    <dgm:cxn modelId="{E4201DCF-6CB0-42FE-BA95-C9A0D044CEE4}" srcId="{646400B9-C889-40BC-BBFD-E3B3DF10A25D}" destId="{6562E5BD-4CD2-4F54-9478-D48B008293D8}" srcOrd="4" destOrd="0" parTransId="{0130252A-3E96-40D6-99F1-25E94C49EEDF}" sibTransId="{7D166FBB-5DAA-496E-A3B5-BD4E4043026B}"/>
    <dgm:cxn modelId="{A3578CDA-E074-48A4-82AF-C589284084F5}" type="presOf" srcId="{35ACF2B9-060D-4D3F-8A05-7B60BCADE82B}" destId="{2688A219-1362-451A-BF00-0A17FBF9BFFB}" srcOrd="0" destOrd="0" presId="urn:microsoft.com/office/officeart/2005/8/layout/hProcess11"/>
    <dgm:cxn modelId="{6A0309E2-88F6-45B3-BB11-D9DF287C8040}" type="presOf" srcId="{6562E5BD-4CD2-4F54-9478-D48B008293D8}" destId="{5083C969-4689-4187-B692-0A1A57EF8C83}" srcOrd="0" destOrd="0" presId="urn:microsoft.com/office/officeart/2005/8/layout/hProcess11"/>
    <dgm:cxn modelId="{B6C720F0-DE03-4C15-830B-1A0186BDE51F}" srcId="{646400B9-C889-40BC-BBFD-E3B3DF10A25D}" destId="{770B6BF0-6595-4428-A2EE-0309860F4D82}" srcOrd="0" destOrd="0" parTransId="{2C3905D5-B5FF-490B-9166-BE4E304BDDFA}" sibTransId="{528CC038-6A10-439D-B1CC-6E2AEA992D0B}"/>
    <dgm:cxn modelId="{0DE723F0-49BC-45D0-A5E0-73AA85F959A0}" srcId="{646400B9-C889-40BC-BBFD-E3B3DF10A25D}" destId="{749D2E44-A0EA-405D-97D4-681C21A23508}" srcOrd="3" destOrd="0" parTransId="{501E4BB8-D6C3-44BF-A67F-FC11D8FFCBF9}" sibTransId="{44953D7B-0190-4082-B9F9-786468C2C223}"/>
    <dgm:cxn modelId="{357F347D-257E-40D1-BD1F-7BBCD8D99B2C}" type="presParOf" srcId="{9E5D5834-8726-4CB7-8439-6456A929EFC2}" destId="{3FE62960-A0AB-43DC-B671-06A0EF6C24F6}" srcOrd="0" destOrd="0" presId="urn:microsoft.com/office/officeart/2005/8/layout/hProcess11"/>
    <dgm:cxn modelId="{E929A185-A37B-41A3-96A7-D97168062B71}" type="presParOf" srcId="{9E5D5834-8726-4CB7-8439-6456A929EFC2}" destId="{95063F85-56F0-406C-BA90-32C7E6A29A01}" srcOrd="1" destOrd="0" presId="urn:microsoft.com/office/officeart/2005/8/layout/hProcess11"/>
    <dgm:cxn modelId="{59927295-09E8-48AF-BC86-CC1770F2E2E7}" type="presParOf" srcId="{95063F85-56F0-406C-BA90-32C7E6A29A01}" destId="{9EDE0FEB-6159-479A-822B-54719DCCC4B6}" srcOrd="0" destOrd="0" presId="urn:microsoft.com/office/officeart/2005/8/layout/hProcess11"/>
    <dgm:cxn modelId="{20F59D37-8525-4C50-B7B0-3F84A7F6C57D}" type="presParOf" srcId="{9EDE0FEB-6159-479A-822B-54719DCCC4B6}" destId="{E9BEF1E9-C8BB-4F12-954B-8388CA6D841D}" srcOrd="0" destOrd="0" presId="urn:microsoft.com/office/officeart/2005/8/layout/hProcess11"/>
    <dgm:cxn modelId="{CDDAE942-3400-4952-B3BF-382694C31C19}" type="presParOf" srcId="{9EDE0FEB-6159-479A-822B-54719DCCC4B6}" destId="{CFAC4C80-0101-4DC9-BE3A-C8EFE2C96FEF}" srcOrd="1" destOrd="0" presId="urn:microsoft.com/office/officeart/2005/8/layout/hProcess11"/>
    <dgm:cxn modelId="{ED4DB4D1-640B-4F70-94E9-0B7185E62F0B}" type="presParOf" srcId="{9EDE0FEB-6159-479A-822B-54719DCCC4B6}" destId="{6A07F18F-FAFD-476F-BF5E-8B74220AE04F}" srcOrd="2" destOrd="0" presId="urn:microsoft.com/office/officeart/2005/8/layout/hProcess11"/>
    <dgm:cxn modelId="{7F224B7B-6B49-4938-B9EE-8B19B298B7D1}" type="presParOf" srcId="{95063F85-56F0-406C-BA90-32C7E6A29A01}" destId="{D8EBDEA2-E366-40A8-8874-2931C892795F}" srcOrd="1" destOrd="0" presId="urn:microsoft.com/office/officeart/2005/8/layout/hProcess11"/>
    <dgm:cxn modelId="{4B3044C4-FD05-4A00-A7C9-088CA139085E}" type="presParOf" srcId="{95063F85-56F0-406C-BA90-32C7E6A29A01}" destId="{C1BE28C3-1C39-4362-8B09-DC41E7FC0049}" srcOrd="2" destOrd="0" presId="urn:microsoft.com/office/officeart/2005/8/layout/hProcess11"/>
    <dgm:cxn modelId="{A9C30C61-43A5-4906-8712-EF3C8D304C1F}" type="presParOf" srcId="{C1BE28C3-1C39-4362-8B09-DC41E7FC0049}" destId="{06FE90FA-B760-45DE-9A16-E8F792CE244C}" srcOrd="0" destOrd="0" presId="urn:microsoft.com/office/officeart/2005/8/layout/hProcess11"/>
    <dgm:cxn modelId="{646CE73A-8C71-407F-A356-A27219874A21}" type="presParOf" srcId="{C1BE28C3-1C39-4362-8B09-DC41E7FC0049}" destId="{D12AC453-6651-47DC-8AF3-DF9D929DA883}" srcOrd="1" destOrd="0" presId="urn:microsoft.com/office/officeart/2005/8/layout/hProcess11"/>
    <dgm:cxn modelId="{898B194A-A7D2-4EC1-9E77-9DA984478E96}" type="presParOf" srcId="{C1BE28C3-1C39-4362-8B09-DC41E7FC0049}" destId="{FE5122DE-7678-4FEF-8254-72BB49F66746}" srcOrd="2" destOrd="0" presId="urn:microsoft.com/office/officeart/2005/8/layout/hProcess11"/>
    <dgm:cxn modelId="{35D0EA7D-C881-42FC-ABCC-2B5B07B6D725}" type="presParOf" srcId="{95063F85-56F0-406C-BA90-32C7E6A29A01}" destId="{6DD094AA-7624-4839-B61B-32534A08D771}" srcOrd="3" destOrd="0" presId="urn:microsoft.com/office/officeart/2005/8/layout/hProcess11"/>
    <dgm:cxn modelId="{59FAC253-5919-4957-A039-BB410EE9B45B}" type="presParOf" srcId="{95063F85-56F0-406C-BA90-32C7E6A29A01}" destId="{4F4C6CDF-7CCA-4922-8F8D-252B2094E54C}" srcOrd="4" destOrd="0" presId="urn:microsoft.com/office/officeart/2005/8/layout/hProcess11"/>
    <dgm:cxn modelId="{B58E5977-CD1F-41FD-8232-9BF3689C657B}" type="presParOf" srcId="{4F4C6CDF-7CCA-4922-8F8D-252B2094E54C}" destId="{7F78A55A-9161-4562-9D41-370363637511}" srcOrd="0" destOrd="0" presId="urn:microsoft.com/office/officeart/2005/8/layout/hProcess11"/>
    <dgm:cxn modelId="{0837BC1C-9AB4-467F-B50A-C15732582188}" type="presParOf" srcId="{4F4C6CDF-7CCA-4922-8F8D-252B2094E54C}" destId="{E5A8912F-67A2-4EF4-B027-E06DC76F3C97}" srcOrd="1" destOrd="0" presId="urn:microsoft.com/office/officeart/2005/8/layout/hProcess11"/>
    <dgm:cxn modelId="{27A6E886-2DCB-4AAB-B5A5-841CEDF2DC17}" type="presParOf" srcId="{4F4C6CDF-7CCA-4922-8F8D-252B2094E54C}" destId="{2F70C408-74D1-4065-936B-C03293536AD4}" srcOrd="2" destOrd="0" presId="urn:microsoft.com/office/officeart/2005/8/layout/hProcess11"/>
    <dgm:cxn modelId="{C5096496-FB08-4E15-9EDD-5B8C13D57DB3}" type="presParOf" srcId="{95063F85-56F0-406C-BA90-32C7E6A29A01}" destId="{57A421DF-A54E-4AA3-A5CC-5B9530FA9886}" srcOrd="5" destOrd="0" presId="urn:microsoft.com/office/officeart/2005/8/layout/hProcess11"/>
    <dgm:cxn modelId="{2A7214C2-5606-4956-ACF0-5DD7B04AA4F1}" type="presParOf" srcId="{95063F85-56F0-406C-BA90-32C7E6A29A01}" destId="{9FE544F1-AAB8-4076-97F6-BF14363D04A3}" srcOrd="6" destOrd="0" presId="urn:microsoft.com/office/officeart/2005/8/layout/hProcess11"/>
    <dgm:cxn modelId="{A50D8C02-91A7-4EDA-AB51-536F6FB336DC}" type="presParOf" srcId="{9FE544F1-AAB8-4076-97F6-BF14363D04A3}" destId="{827A1FC4-9A04-4EF2-A7D1-BF3FD690950C}" srcOrd="0" destOrd="0" presId="urn:microsoft.com/office/officeart/2005/8/layout/hProcess11"/>
    <dgm:cxn modelId="{061377C1-C79F-45CC-A390-06E420EEE6D5}" type="presParOf" srcId="{9FE544F1-AAB8-4076-97F6-BF14363D04A3}" destId="{A7A4D96D-8072-4150-94FC-E6459AFF94EF}" srcOrd="1" destOrd="0" presId="urn:microsoft.com/office/officeart/2005/8/layout/hProcess11"/>
    <dgm:cxn modelId="{5FCE54EF-D7B2-450F-BCF1-4EF2F093B280}" type="presParOf" srcId="{9FE544F1-AAB8-4076-97F6-BF14363D04A3}" destId="{E6D95267-CC2C-4D57-AD24-D43B65FCCB60}" srcOrd="2" destOrd="0" presId="urn:microsoft.com/office/officeart/2005/8/layout/hProcess11"/>
    <dgm:cxn modelId="{C62FAC43-E2C7-477E-A53C-DDA3DBAA584E}" type="presParOf" srcId="{95063F85-56F0-406C-BA90-32C7E6A29A01}" destId="{669CB8C2-9D7B-4535-AB5F-9D744BBCCFBE}" srcOrd="7" destOrd="0" presId="urn:microsoft.com/office/officeart/2005/8/layout/hProcess11"/>
    <dgm:cxn modelId="{DDD24303-243D-4391-BF57-53D5075AA57E}" type="presParOf" srcId="{95063F85-56F0-406C-BA90-32C7E6A29A01}" destId="{2640FD4B-CF5C-452E-9947-ED0AC657B7A7}" srcOrd="8" destOrd="0" presId="urn:microsoft.com/office/officeart/2005/8/layout/hProcess11"/>
    <dgm:cxn modelId="{9F839657-F844-42B3-8BF1-A10B00044126}" type="presParOf" srcId="{2640FD4B-CF5C-452E-9947-ED0AC657B7A7}" destId="{5083C969-4689-4187-B692-0A1A57EF8C83}" srcOrd="0" destOrd="0" presId="urn:microsoft.com/office/officeart/2005/8/layout/hProcess11"/>
    <dgm:cxn modelId="{4E2A1AE6-04E6-43EA-9306-24AD1E51A79B}" type="presParOf" srcId="{2640FD4B-CF5C-452E-9947-ED0AC657B7A7}" destId="{7C005B7F-2863-4FF1-8E91-81F22F3D6F6C}" srcOrd="1" destOrd="0" presId="urn:microsoft.com/office/officeart/2005/8/layout/hProcess11"/>
    <dgm:cxn modelId="{994CA9B6-A4E5-4249-8ECE-C9D9862416FA}" type="presParOf" srcId="{2640FD4B-CF5C-452E-9947-ED0AC657B7A7}" destId="{6F9553A4-6C18-4DD9-9425-0C1953014A05}" srcOrd="2" destOrd="0" presId="urn:microsoft.com/office/officeart/2005/8/layout/hProcess11"/>
    <dgm:cxn modelId="{01598117-11BD-4088-8C17-A7496DCC2C87}" type="presParOf" srcId="{95063F85-56F0-406C-BA90-32C7E6A29A01}" destId="{5F585C40-7941-4ED0-9CF2-A5084F78F588}" srcOrd="9" destOrd="0" presId="urn:microsoft.com/office/officeart/2005/8/layout/hProcess11"/>
    <dgm:cxn modelId="{A0AE0CD6-3D1F-4AE2-A008-81AF7B07D594}" type="presParOf" srcId="{95063F85-56F0-406C-BA90-32C7E6A29A01}" destId="{99879C93-46AF-471D-9B57-04147F62AAA5}" srcOrd="10" destOrd="0" presId="urn:microsoft.com/office/officeart/2005/8/layout/hProcess11"/>
    <dgm:cxn modelId="{3BC47DCE-4A82-4962-8E12-45D4E6B21433}" type="presParOf" srcId="{99879C93-46AF-471D-9B57-04147F62AAA5}" destId="{2688A219-1362-451A-BF00-0A17FBF9BFFB}" srcOrd="0" destOrd="0" presId="urn:microsoft.com/office/officeart/2005/8/layout/hProcess11"/>
    <dgm:cxn modelId="{57654C37-97E5-4D68-8F29-6382E22D4B8A}" type="presParOf" srcId="{99879C93-46AF-471D-9B57-04147F62AAA5}" destId="{2A8A6E13-124C-43CF-B6F1-D5C618C62768}" srcOrd="1" destOrd="0" presId="urn:microsoft.com/office/officeart/2005/8/layout/hProcess11"/>
    <dgm:cxn modelId="{5B14705C-84E8-452C-8F90-B532B4DBF9F6}" type="presParOf" srcId="{99879C93-46AF-471D-9B57-04147F62AAA5}" destId="{0C07A34A-285E-4659-9A9C-3BA194D24D64}" srcOrd="2" destOrd="0" presId="urn:microsoft.com/office/officeart/2005/8/layout/hProcess11"/>
    <dgm:cxn modelId="{F43B1ECA-4B44-48B5-AEEB-D2B1E41E3CEF}" type="presParOf" srcId="{95063F85-56F0-406C-BA90-32C7E6A29A01}" destId="{3C235D4C-91FC-4582-A821-5AA34A632FE9}" srcOrd="11" destOrd="0" presId="urn:microsoft.com/office/officeart/2005/8/layout/hProcess11"/>
    <dgm:cxn modelId="{ACDF1DD0-FFAC-411B-BA2D-FCD0D0442E27}" type="presParOf" srcId="{95063F85-56F0-406C-BA90-32C7E6A29A01}" destId="{2A9EFB2D-8F29-49B0-88FF-6BF60DA7685A}" srcOrd="12" destOrd="0" presId="urn:microsoft.com/office/officeart/2005/8/layout/hProcess11"/>
    <dgm:cxn modelId="{231EE0BC-9091-4CB1-ACBC-8B579A677E68}" type="presParOf" srcId="{2A9EFB2D-8F29-49B0-88FF-6BF60DA7685A}" destId="{F37BBA26-B2C7-4C6D-B81F-F13EB42AE894}" srcOrd="0" destOrd="0" presId="urn:microsoft.com/office/officeart/2005/8/layout/hProcess11"/>
    <dgm:cxn modelId="{68F19DED-4B6B-4624-B483-4EFB3990C718}" type="presParOf" srcId="{2A9EFB2D-8F29-49B0-88FF-6BF60DA7685A}" destId="{BA9CB559-163C-49A5-A11D-C392A62FFBFE}" srcOrd="1" destOrd="0" presId="urn:microsoft.com/office/officeart/2005/8/layout/hProcess11"/>
    <dgm:cxn modelId="{D1BDE1DD-CF16-4B63-A016-BF022A442C3B}" type="presParOf" srcId="{2A9EFB2D-8F29-49B0-88FF-6BF60DA7685A}" destId="{6AA115EB-5234-4250-960D-FDB4D175D475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C7AE4ED-36AA-4F38-934F-E1658598F398}" type="doc">
      <dgm:prSet loTypeId="urn:microsoft.com/office/officeart/2005/8/layout/bProcess3" loCatId="process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7E77DA51-1C24-4259-9577-F5416DD1E00B}">
      <dgm:prSet phldrT="[Text]" custT="1"/>
      <dgm:spPr/>
      <dgm:t>
        <a:bodyPr/>
        <a:lstStyle/>
        <a:p>
          <a:r>
            <a:rPr lang="en-IN" sz="1600"/>
            <a:t>Electrolyser</a:t>
          </a:r>
          <a:endParaRPr lang="en-IN" sz="1600" dirty="0"/>
        </a:p>
      </dgm:t>
    </dgm:pt>
    <dgm:pt modelId="{1C63A7B1-790B-49C7-8F31-B15679E79A93}" type="parTrans" cxnId="{6C8D2B74-A9EB-4D32-90BE-9DD7583B2EC4}">
      <dgm:prSet/>
      <dgm:spPr/>
      <dgm:t>
        <a:bodyPr/>
        <a:lstStyle/>
        <a:p>
          <a:endParaRPr lang="en-IN"/>
        </a:p>
      </dgm:t>
    </dgm:pt>
    <dgm:pt modelId="{6BB6E700-79BE-49BA-A805-B2F68AEB3874}" type="sibTrans" cxnId="{6C8D2B74-A9EB-4D32-90BE-9DD7583B2EC4}">
      <dgm:prSet/>
      <dgm:spPr/>
      <dgm:t>
        <a:bodyPr/>
        <a:lstStyle/>
        <a:p>
          <a:endParaRPr lang="en-IN"/>
        </a:p>
      </dgm:t>
    </dgm:pt>
    <dgm:pt modelId="{ED239F6A-AD15-4E61-93D5-3CFE4A439EA6}">
      <dgm:prSet phldrT="[Text]" custT="1"/>
      <dgm:spPr/>
      <dgm:t>
        <a:bodyPr/>
        <a:lstStyle/>
        <a:p>
          <a:r>
            <a:rPr lang="en-IN" sz="1600"/>
            <a:t>Low Pressure Storage (350 Bar)</a:t>
          </a:r>
          <a:endParaRPr lang="en-IN" sz="1600" dirty="0"/>
        </a:p>
      </dgm:t>
    </dgm:pt>
    <dgm:pt modelId="{BD654A70-A585-4B71-BDCC-34F4D1FC400C}" type="parTrans" cxnId="{0E7F45E1-C4A9-4D5E-B2BF-C258381E25DF}">
      <dgm:prSet/>
      <dgm:spPr/>
      <dgm:t>
        <a:bodyPr/>
        <a:lstStyle/>
        <a:p>
          <a:endParaRPr lang="en-IN"/>
        </a:p>
      </dgm:t>
    </dgm:pt>
    <dgm:pt modelId="{5350C930-2BD0-4487-888F-F55F45C80214}" type="sibTrans" cxnId="{0E7F45E1-C4A9-4D5E-B2BF-C258381E25DF}">
      <dgm:prSet/>
      <dgm:spPr/>
      <dgm:t>
        <a:bodyPr/>
        <a:lstStyle/>
        <a:p>
          <a:endParaRPr lang="en-IN"/>
        </a:p>
      </dgm:t>
    </dgm:pt>
    <dgm:pt modelId="{F8E3A178-272D-4FE4-A906-E504270B6967}">
      <dgm:prSet phldrT="[Text]" custT="1"/>
      <dgm:spPr/>
      <dgm:t>
        <a:bodyPr/>
        <a:lstStyle/>
        <a:p>
          <a:r>
            <a:rPr lang="en-IN" sz="1600"/>
            <a:t>Compressor unit</a:t>
          </a:r>
          <a:endParaRPr lang="en-IN" sz="1600" dirty="0"/>
        </a:p>
      </dgm:t>
    </dgm:pt>
    <dgm:pt modelId="{12831D05-472F-46F4-96FF-F80348C3D351}" type="parTrans" cxnId="{1CA5336C-37AE-4609-93F8-1FB62E421C93}">
      <dgm:prSet/>
      <dgm:spPr/>
      <dgm:t>
        <a:bodyPr/>
        <a:lstStyle/>
        <a:p>
          <a:endParaRPr lang="en-IN"/>
        </a:p>
      </dgm:t>
    </dgm:pt>
    <dgm:pt modelId="{866460C6-3877-49EE-B1B6-3A654BD8FD98}" type="sibTrans" cxnId="{1CA5336C-37AE-4609-93F8-1FB62E421C93}">
      <dgm:prSet/>
      <dgm:spPr/>
      <dgm:t>
        <a:bodyPr/>
        <a:lstStyle/>
        <a:p>
          <a:endParaRPr lang="en-IN"/>
        </a:p>
      </dgm:t>
    </dgm:pt>
    <dgm:pt modelId="{87B7E257-3705-47FB-AA5D-F8509696B1DC}">
      <dgm:prSet phldrT="[Text]" custT="1"/>
      <dgm:spPr/>
      <dgm:t>
        <a:bodyPr/>
        <a:lstStyle/>
        <a:p>
          <a:r>
            <a:rPr lang="en-IN" sz="1600"/>
            <a:t>High Pressure Buffer storage</a:t>
          </a:r>
          <a:endParaRPr lang="en-IN" sz="1600" dirty="0"/>
        </a:p>
      </dgm:t>
    </dgm:pt>
    <dgm:pt modelId="{D45159DB-2AB5-4D96-88BE-EF6CBA6F288A}" type="parTrans" cxnId="{0A5BAEAF-BB2C-4205-978D-94E06A22CBC1}">
      <dgm:prSet/>
      <dgm:spPr/>
      <dgm:t>
        <a:bodyPr/>
        <a:lstStyle/>
        <a:p>
          <a:endParaRPr lang="en-IN"/>
        </a:p>
      </dgm:t>
    </dgm:pt>
    <dgm:pt modelId="{645A6E9F-F002-469A-BF92-652FDE25B7D6}" type="sibTrans" cxnId="{0A5BAEAF-BB2C-4205-978D-94E06A22CBC1}">
      <dgm:prSet/>
      <dgm:spPr/>
      <dgm:t>
        <a:bodyPr/>
        <a:lstStyle/>
        <a:p>
          <a:endParaRPr lang="en-IN"/>
        </a:p>
      </dgm:t>
    </dgm:pt>
    <dgm:pt modelId="{DF1F6441-5313-4CE1-A276-77C7C375256F}">
      <dgm:prSet phldrT="[Text]" custT="1"/>
      <dgm:spPr/>
      <dgm:t>
        <a:bodyPr/>
        <a:lstStyle/>
        <a:p>
          <a:r>
            <a:rPr lang="en-IN" sz="1600" dirty="0"/>
            <a:t>Dispensing Unit</a:t>
          </a:r>
        </a:p>
      </dgm:t>
    </dgm:pt>
    <dgm:pt modelId="{F36C366C-C600-4267-A3ED-5F84F9EE2E40}" type="parTrans" cxnId="{ABDC190D-6024-4A55-8D6D-0048CD2FE57B}">
      <dgm:prSet/>
      <dgm:spPr/>
      <dgm:t>
        <a:bodyPr/>
        <a:lstStyle/>
        <a:p>
          <a:endParaRPr lang="en-IN"/>
        </a:p>
      </dgm:t>
    </dgm:pt>
    <dgm:pt modelId="{4FD16048-1B5F-4D7F-9AB3-49360C0D3EDE}" type="sibTrans" cxnId="{ABDC190D-6024-4A55-8D6D-0048CD2FE57B}">
      <dgm:prSet/>
      <dgm:spPr/>
      <dgm:t>
        <a:bodyPr/>
        <a:lstStyle/>
        <a:p>
          <a:endParaRPr lang="en-IN"/>
        </a:p>
      </dgm:t>
    </dgm:pt>
    <dgm:pt modelId="{F6EC7ED2-9069-404C-A86B-CECD8E6A17B4}" type="pres">
      <dgm:prSet presAssocID="{EC7AE4ED-36AA-4F38-934F-E1658598F398}" presName="Name0" presStyleCnt="0">
        <dgm:presLayoutVars>
          <dgm:dir/>
          <dgm:resizeHandles val="exact"/>
        </dgm:presLayoutVars>
      </dgm:prSet>
      <dgm:spPr/>
    </dgm:pt>
    <dgm:pt modelId="{1F1E1388-11D4-4BCF-B0B2-C556B2017FC0}" type="pres">
      <dgm:prSet presAssocID="{7E77DA51-1C24-4259-9577-F5416DD1E00B}" presName="node" presStyleLbl="node1" presStyleIdx="0" presStyleCnt="5">
        <dgm:presLayoutVars>
          <dgm:bulletEnabled val="1"/>
        </dgm:presLayoutVars>
      </dgm:prSet>
      <dgm:spPr/>
    </dgm:pt>
    <dgm:pt modelId="{92622FFD-B397-46B6-B5C1-75EAFEFE0651}" type="pres">
      <dgm:prSet presAssocID="{6BB6E700-79BE-49BA-A805-B2F68AEB3874}" presName="sibTrans" presStyleLbl="sibTrans1D1" presStyleIdx="0" presStyleCnt="4"/>
      <dgm:spPr/>
    </dgm:pt>
    <dgm:pt modelId="{09DF2B55-7995-49AE-BDCB-59330C9E1605}" type="pres">
      <dgm:prSet presAssocID="{6BB6E700-79BE-49BA-A805-B2F68AEB3874}" presName="connectorText" presStyleLbl="sibTrans1D1" presStyleIdx="0" presStyleCnt="4"/>
      <dgm:spPr/>
    </dgm:pt>
    <dgm:pt modelId="{71BBA1CE-B8F6-47D0-B074-1E62C86D6123}" type="pres">
      <dgm:prSet presAssocID="{ED239F6A-AD15-4E61-93D5-3CFE4A439EA6}" presName="node" presStyleLbl="node1" presStyleIdx="1" presStyleCnt="5">
        <dgm:presLayoutVars>
          <dgm:bulletEnabled val="1"/>
        </dgm:presLayoutVars>
      </dgm:prSet>
      <dgm:spPr/>
    </dgm:pt>
    <dgm:pt modelId="{5D0FF93E-5DF1-4E2D-98FC-00FDA5B2C89A}" type="pres">
      <dgm:prSet presAssocID="{5350C930-2BD0-4487-888F-F55F45C80214}" presName="sibTrans" presStyleLbl="sibTrans1D1" presStyleIdx="1" presStyleCnt="4"/>
      <dgm:spPr/>
    </dgm:pt>
    <dgm:pt modelId="{00348DF3-FC49-4B1F-90B3-309B39B352F1}" type="pres">
      <dgm:prSet presAssocID="{5350C930-2BD0-4487-888F-F55F45C80214}" presName="connectorText" presStyleLbl="sibTrans1D1" presStyleIdx="1" presStyleCnt="4"/>
      <dgm:spPr/>
    </dgm:pt>
    <dgm:pt modelId="{6F5344D4-C159-4AE1-88C2-008E70B73658}" type="pres">
      <dgm:prSet presAssocID="{F8E3A178-272D-4FE4-A906-E504270B6967}" presName="node" presStyleLbl="node1" presStyleIdx="2" presStyleCnt="5">
        <dgm:presLayoutVars>
          <dgm:bulletEnabled val="1"/>
        </dgm:presLayoutVars>
      </dgm:prSet>
      <dgm:spPr/>
    </dgm:pt>
    <dgm:pt modelId="{5D58EB8E-D52D-4B5F-AAD6-2FB1B8E710F8}" type="pres">
      <dgm:prSet presAssocID="{866460C6-3877-49EE-B1B6-3A654BD8FD98}" presName="sibTrans" presStyleLbl="sibTrans1D1" presStyleIdx="2" presStyleCnt="4"/>
      <dgm:spPr/>
    </dgm:pt>
    <dgm:pt modelId="{A0ADAA06-C647-4638-A92F-D12CB525B5FC}" type="pres">
      <dgm:prSet presAssocID="{866460C6-3877-49EE-B1B6-3A654BD8FD98}" presName="connectorText" presStyleLbl="sibTrans1D1" presStyleIdx="2" presStyleCnt="4"/>
      <dgm:spPr/>
    </dgm:pt>
    <dgm:pt modelId="{0B0BDD8B-9B4A-488F-8EED-BC129207A685}" type="pres">
      <dgm:prSet presAssocID="{87B7E257-3705-47FB-AA5D-F8509696B1DC}" presName="node" presStyleLbl="node1" presStyleIdx="3" presStyleCnt="5">
        <dgm:presLayoutVars>
          <dgm:bulletEnabled val="1"/>
        </dgm:presLayoutVars>
      </dgm:prSet>
      <dgm:spPr/>
    </dgm:pt>
    <dgm:pt modelId="{7FAFA673-EA23-4E2B-BCF7-A3B37CC1CF12}" type="pres">
      <dgm:prSet presAssocID="{645A6E9F-F002-469A-BF92-652FDE25B7D6}" presName="sibTrans" presStyleLbl="sibTrans1D1" presStyleIdx="3" presStyleCnt="4"/>
      <dgm:spPr/>
    </dgm:pt>
    <dgm:pt modelId="{FCC7FE48-D57F-4903-8F0A-9C20A7301191}" type="pres">
      <dgm:prSet presAssocID="{645A6E9F-F002-469A-BF92-652FDE25B7D6}" presName="connectorText" presStyleLbl="sibTrans1D1" presStyleIdx="3" presStyleCnt="4"/>
      <dgm:spPr/>
    </dgm:pt>
    <dgm:pt modelId="{36580BD7-B12E-4EDE-BC10-8191FB50DC7D}" type="pres">
      <dgm:prSet presAssocID="{DF1F6441-5313-4CE1-A276-77C7C375256F}" presName="node" presStyleLbl="node1" presStyleIdx="4" presStyleCnt="5">
        <dgm:presLayoutVars>
          <dgm:bulletEnabled val="1"/>
        </dgm:presLayoutVars>
      </dgm:prSet>
      <dgm:spPr/>
    </dgm:pt>
  </dgm:ptLst>
  <dgm:cxnLst>
    <dgm:cxn modelId="{ABDC190D-6024-4A55-8D6D-0048CD2FE57B}" srcId="{EC7AE4ED-36AA-4F38-934F-E1658598F398}" destId="{DF1F6441-5313-4CE1-A276-77C7C375256F}" srcOrd="4" destOrd="0" parTransId="{F36C366C-C600-4267-A3ED-5F84F9EE2E40}" sibTransId="{4FD16048-1B5F-4D7F-9AB3-49360C0D3EDE}"/>
    <dgm:cxn modelId="{90D5E013-997C-4A08-8508-5BD35C978193}" type="presOf" srcId="{7E77DA51-1C24-4259-9577-F5416DD1E00B}" destId="{1F1E1388-11D4-4BCF-B0B2-C556B2017FC0}" srcOrd="0" destOrd="0" presId="urn:microsoft.com/office/officeart/2005/8/layout/bProcess3"/>
    <dgm:cxn modelId="{C47CA72E-F34F-47A2-8F7B-D60E762F703A}" type="presOf" srcId="{866460C6-3877-49EE-B1B6-3A654BD8FD98}" destId="{A0ADAA06-C647-4638-A92F-D12CB525B5FC}" srcOrd="1" destOrd="0" presId="urn:microsoft.com/office/officeart/2005/8/layout/bProcess3"/>
    <dgm:cxn modelId="{EF56FB40-0094-4ED6-8172-8F90CDCCD6AE}" type="presOf" srcId="{5350C930-2BD0-4487-888F-F55F45C80214}" destId="{5D0FF93E-5DF1-4E2D-98FC-00FDA5B2C89A}" srcOrd="0" destOrd="0" presId="urn:microsoft.com/office/officeart/2005/8/layout/bProcess3"/>
    <dgm:cxn modelId="{1CA5336C-37AE-4609-93F8-1FB62E421C93}" srcId="{EC7AE4ED-36AA-4F38-934F-E1658598F398}" destId="{F8E3A178-272D-4FE4-A906-E504270B6967}" srcOrd="2" destOrd="0" parTransId="{12831D05-472F-46F4-96FF-F80348C3D351}" sibTransId="{866460C6-3877-49EE-B1B6-3A654BD8FD98}"/>
    <dgm:cxn modelId="{0D90936C-11FF-4FAF-BFD2-CE10342DDD66}" type="presOf" srcId="{DF1F6441-5313-4CE1-A276-77C7C375256F}" destId="{36580BD7-B12E-4EDE-BC10-8191FB50DC7D}" srcOrd="0" destOrd="0" presId="urn:microsoft.com/office/officeart/2005/8/layout/bProcess3"/>
    <dgm:cxn modelId="{616D5E4E-DA84-4497-A119-5A5678551BBA}" type="presOf" srcId="{87B7E257-3705-47FB-AA5D-F8509696B1DC}" destId="{0B0BDD8B-9B4A-488F-8EED-BC129207A685}" srcOrd="0" destOrd="0" presId="urn:microsoft.com/office/officeart/2005/8/layout/bProcess3"/>
    <dgm:cxn modelId="{985A6A70-C440-495C-9165-77F407FE8230}" type="presOf" srcId="{645A6E9F-F002-469A-BF92-652FDE25B7D6}" destId="{FCC7FE48-D57F-4903-8F0A-9C20A7301191}" srcOrd="1" destOrd="0" presId="urn:microsoft.com/office/officeart/2005/8/layout/bProcess3"/>
    <dgm:cxn modelId="{6C8D2B74-A9EB-4D32-90BE-9DD7583B2EC4}" srcId="{EC7AE4ED-36AA-4F38-934F-E1658598F398}" destId="{7E77DA51-1C24-4259-9577-F5416DD1E00B}" srcOrd="0" destOrd="0" parTransId="{1C63A7B1-790B-49C7-8F31-B15679E79A93}" sibTransId="{6BB6E700-79BE-49BA-A805-B2F68AEB3874}"/>
    <dgm:cxn modelId="{259C077D-1BFA-4B06-A57D-9300417C5CCA}" type="presOf" srcId="{6BB6E700-79BE-49BA-A805-B2F68AEB3874}" destId="{09DF2B55-7995-49AE-BDCB-59330C9E1605}" srcOrd="1" destOrd="0" presId="urn:microsoft.com/office/officeart/2005/8/layout/bProcess3"/>
    <dgm:cxn modelId="{9DA4F7A3-C0A6-4682-AE1E-D5C37517B051}" type="presOf" srcId="{F8E3A178-272D-4FE4-A906-E504270B6967}" destId="{6F5344D4-C159-4AE1-88C2-008E70B73658}" srcOrd="0" destOrd="0" presId="urn:microsoft.com/office/officeart/2005/8/layout/bProcess3"/>
    <dgm:cxn modelId="{0A5BAEAF-BB2C-4205-978D-94E06A22CBC1}" srcId="{EC7AE4ED-36AA-4F38-934F-E1658598F398}" destId="{87B7E257-3705-47FB-AA5D-F8509696B1DC}" srcOrd="3" destOrd="0" parTransId="{D45159DB-2AB5-4D96-88BE-EF6CBA6F288A}" sibTransId="{645A6E9F-F002-469A-BF92-652FDE25B7D6}"/>
    <dgm:cxn modelId="{4940EDB2-ECF5-4A91-B76E-28EF8E385F50}" type="presOf" srcId="{ED239F6A-AD15-4E61-93D5-3CFE4A439EA6}" destId="{71BBA1CE-B8F6-47D0-B074-1E62C86D6123}" srcOrd="0" destOrd="0" presId="urn:microsoft.com/office/officeart/2005/8/layout/bProcess3"/>
    <dgm:cxn modelId="{264A35C6-F157-41FF-8F12-56209C833CE5}" type="presOf" srcId="{645A6E9F-F002-469A-BF92-652FDE25B7D6}" destId="{7FAFA673-EA23-4E2B-BCF7-A3B37CC1CF12}" srcOrd="0" destOrd="0" presId="urn:microsoft.com/office/officeart/2005/8/layout/bProcess3"/>
    <dgm:cxn modelId="{FD086ACB-4C84-489C-8716-B53A518FEA6B}" type="presOf" srcId="{866460C6-3877-49EE-B1B6-3A654BD8FD98}" destId="{5D58EB8E-D52D-4B5F-AAD6-2FB1B8E710F8}" srcOrd="0" destOrd="0" presId="urn:microsoft.com/office/officeart/2005/8/layout/bProcess3"/>
    <dgm:cxn modelId="{0BEDC4CB-57AF-49A1-8307-FDA31A6A9678}" type="presOf" srcId="{6BB6E700-79BE-49BA-A805-B2F68AEB3874}" destId="{92622FFD-B397-46B6-B5C1-75EAFEFE0651}" srcOrd="0" destOrd="0" presId="urn:microsoft.com/office/officeart/2005/8/layout/bProcess3"/>
    <dgm:cxn modelId="{C538C0E0-B9FE-4E50-AC79-0CB59760DAD8}" type="presOf" srcId="{5350C930-2BD0-4487-888F-F55F45C80214}" destId="{00348DF3-FC49-4B1F-90B3-309B39B352F1}" srcOrd="1" destOrd="0" presId="urn:microsoft.com/office/officeart/2005/8/layout/bProcess3"/>
    <dgm:cxn modelId="{0E7F45E1-C4A9-4D5E-B2BF-C258381E25DF}" srcId="{EC7AE4ED-36AA-4F38-934F-E1658598F398}" destId="{ED239F6A-AD15-4E61-93D5-3CFE4A439EA6}" srcOrd="1" destOrd="0" parTransId="{BD654A70-A585-4B71-BDCC-34F4D1FC400C}" sibTransId="{5350C930-2BD0-4487-888F-F55F45C80214}"/>
    <dgm:cxn modelId="{CED2F3E6-4FD2-4B89-823F-061D56282CB7}" type="presOf" srcId="{EC7AE4ED-36AA-4F38-934F-E1658598F398}" destId="{F6EC7ED2-9069-404C-A86B-CECD8E6A17B4}" srcOrd="0" destOrd="0" presId="urn:microsoft.com/office/officeart/2005/8/layout/bProcess3"/>
    <dgm:cxn modelId="{CD7BBD69-D2C3-4B35-8C54-24AA7DE517B8}" type="presParOf" srcId="{F6EC7ED2-9069-404C-A86B-CECD8E6A17B4}" destId="{1F1E1388-11D4-4BCF-B0B2-C556B2017FC0}" srcOrd="0" destOrd="0" presId="urn:microsoft.com/office/officeart/2005/8/layout/bProcess3"/>
    <dgm:cxn modelId="{F15DC173-1462-4EDA-8C8D-87C88C534DA1}" type="presParOf" srcId="{F6EC7ED2-9069-404C-A86B-CECD8E6A17B4}" destId="{92622FFD-B397-46B6-B5C1-75EAFEFE0651}" srcOrd="1" destOrd="0" presId="urn:microsoft.com/office/officeart/2005/8/layout/bProcess3"/>
    <dgm:cxn modelId="{FDAA0FFC-25A7-4D3D-AC54-5F01566AF871}" type="presParOf" srcId="{92622FFD-B397-46B6-B5C1-75EAFEFE0651}" destId="{09DF2B55-7995-49AE-BDCB-59330C9E1605}" srcOrd="0" destOrd="0" presId="urn:microsoft.com/office/officeart/2005/8/layout/bProcess3"/>
    <dgm:cxn modelId="{B7776AC7-51C6-4C35-A752-B1B90D2A1D89}" type="presParOf" srcId="{F6EC7ED2-9069-404C-A86B-CECD8E6A17B4}" destId="{71BBA1CE-B8F6-47D0-B074-1E62C86D6123}" srcOrd="2" destOrd="0" presId="urn:microsoft.com/office/officeart/2005/8/layout/bProcess3"/>
    <dgm:cxn modelId="{0D720ED7-7132-4223-AB5C-5AE12EFA6A91}" type="presParOf" srcId="{F6EC7ED2-9069-404C-A86B-CECD8E6A17B4}" destId="{5D0FF93E-5DF1-4E2D-98FC-00FDA5B2C89A}" srcOrd="3" destOrd="0" presId="urn:microsoft.com/office/officeart/2005/8/layout/bProcess3"/>
    <dgm:cxn modelId="{05A67ABE-51D5-49B4-9997-F124F41FB65E}" type="presParOf" srcId="{5D0FF93E-5DF1-4E2D-98FC-00FDA5B2C89A}" destId="{00348DF3-FC49-4B1F-90B3-309B39B352F1}" srcOrd="0" destOrd="0" presId="urn:microsoft.com/office/officeart/2005/8/layout/bProcess3"/>
    <dgm:cxn modelId="{B38E44AA-3255-4681-839F-3B8A3653CDD4}" type="presParOf" srcId="{F6EC7ED2-9069-404C-A86B-CECD8E6A17B4}" destId="{6F5344D4-C159-4AE1-88C2-008E70B73658}" srcOrd="4" destOrd="0" presId="urn:microsoft.com/office/officeart/2005/8/layout/bProcess3"/>
    <dgm:cxn modelId="{757207DC-0161-4D3C-A47C-58F3B3FC7A1A}" type="presParOf" srcId="{F6EC7ED2-9069-404C-A86B-CECD8E6A17B4}" destId="{5D58EB8E-D52D-4B5F-AAD6-2FB1B8E710F8}" srcOrd="5" destOrd="0" presId="urn:microsoft.com/office/officeart/2005/8/layout/bProcess3"/>
    <dgm:cxn modelId="{1D5D935B-3300-476E-B81A-B2A8B869F236}" type="presParOf" srcId="{5D58EB8E-D52D-4B5F-AAD6-2FB1B8E710F8}" destId="{A0ADAA06-C647-4638-A92F-D12CB525B5FC}" srcOrd="0" destOrd="0" presId="urn:microsoft.com/office/officeart/2005/8/layout/bProcess3"/>
    <dgm:cxn modelId="{EF64BF95-0D3C-443C-86E2-91C7CA8B9C1E}" type="presParOf" srcId="{F6EC7ED2-9069-404C-A86B-CECD8E6A17B4}" destId="{0B0BDD8B-9B4A-488F-8EED-BC129207A685}" srcOrd="6" destOrd="0" presId="urn:microsoft.com/office/officeart/2005/8/layout/bProcess3"/>
    <dgm:cxn modelId="{AF230D8B-D122-43FF-AFD6-604869114D83}" type="presParOf" srcId="{F6EC7ED2-9069-404C-A86B-CECD8E6A17B4}" destId="{7FAFA673-EA23-4E2B-BCF7-A3B37CC1CF12}" srcOrd="7" destOrd="0" presId="urn:microsoft.com/office/officeart/2005/8/layout/bProcess3"/>
    <dgm:cxn modelId="{3D41F644-A7D2-4ED4-ABC6-0F23C70EBDC0}" type="presParOf" srcId="{7FAFA673-EA23-4E2B-BCF7-A3B37CC1CF12}" destId="{FCC7FE48-D57F-4903-8F0A-9C20A7301191}" srcOrd="0" destOrd="0" presId="urn:microsoft.com/office/officeart/2005/8/layout/bProcess3"/>
    <dgm:cxn modelId="{3615BBAF-F5E9-41B0-BF72-5A929D192A31}" type="presParOf" srcId="{F6EC7ED2-9069-404C-A86B-CECD8E6A17B4}" destId="{36580BD7-B12E-4EDE-BC10-8191FB50DC7D}" srcOrd="8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741EB51-C6CA-4166-80C7-131AE897A87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719AF0C-B356-4DD6-B9CA-19125B8DE8D6}">
      <dgm:prSet phldrT="[Text]" custT="1"/>
      <dgm:spPr>
        <a:noFill/>
        <a:ln>
          <a:noFill/>
        </a:ln>
      </dgm:spPr>
      <dgm:t>
        <a:bodyPr/>
        <a:lstStyle/>
        <a:p>
          <a:r>
            <a:rPr lang="en-US" sz="4800" dirty="0"/>
            <a:t>Safety Studies</a:t>
          </a:r>
        </a:p>
      </dgm:t>
    </dgm:pt>
    <dgm:pt modelId="{572B71FC-C00C-489A-84FB-75DF3680E94A}" type="parTrans" cxnId="{22D3E526-8EE8-440D-9E0F-914F79321FCB}">
      <dgm:prSet/>
      <dgm:spPr/>
      <dgm:t>
        <a:bodyPr/>
        <a:lstStyle/>
        <a:p>
          <a:endParaRPr lang="en-US"/>
        </a:p>
      </dgm:t>
    </dgm:pt>
    <dgm:pt modelId="{C13AC143-4C39-4663-8606-246915422AD4}" type="sibTrans" cxnId="{22D3E526-8EE8-440D-9E0F-914F79321FCB}">
      <dgm:prSet/>
      <dgm:spPr/>
      <dgm:t>
        <a:bodyPr/>
        <a:lstStyle/>
        <a:p>
          <a:endParaRPr lang="en-US"/>
        </a:p>
      </dgm:t>
    </dgm:pt>
    <dgm:pt modelId="{18365075-943C-42CA-9142-9EECE9FD8F1E}">
      <dgm:prSet phldrT="[Text]" custT="1"/>
      <dgm:spPr>
        <a:noFill/>
        <a:ln w="12700" cap="flat" cmpd="sng" algn="ctr">
          <a:noFill/>
          <a:prstDash val="solid"/>
          <a:miter lim="800000"/>
        </a:ln>
        <a:effectLst/>
      </dgm:spPr>
      <dgm:t>
        <a:bodyPr spcFirstLastPara="0" vert="horz" wrap="square" lIns="41275" tIns="41275" rIns="41275" bIns="41275" numCol="1" spcCol="1270" anchor="ctr" anchorCtr="0"/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Qualitative</a:t>
          </a:r>
        </a:p>
      </dgm:t>
    </dgm:pt>
    <dgm:pt modelId="{58E47F47-15C6-4E96-80FE-3C80293638E2}" type="parTrans" cxnId="{84F6C8AF-5F69-4A8B-9CAC-A194DD0B1C1F}">
      <dgm:prSet/>
      <dgm:spPr/>
      <dgm:t>
        <a:bodyPr/>
        <a:lstStyle/>
        <a:p>
          <a:endParaRPr lang="en-US"/>
        </a:p>
      </dgm:t>
    </dgm:pt>
    <dgm:pt modelId="{D65828E4-9C98-4F7D-8A9E-5C4D87D9A3F3}" type="sibTrans" cxnId="{84F6C8AF-5F69-4A8B-9CAC-A194DD0B1C1F}">
      <dgm:prSet/>
      <dgm:spPr/>
      <dgm:t>
        <a:bodyPr/>
        <a:lstStyle/>
        <a:p>
          <a:endParaRPr lang="en-US"/>
        </a:p>
      </dgm:t>
    </dgm:pt>
    <dgm:pt modelId="{FA7D27CB-A0FA-44CC-ABDD-7DE7E8D5CFDA}">
      <dgm:prSet phldrT="[Text]" custT="1"/>
      <dgm:spPr>
        <a:noFill/>
        <a:ln w="12700" cap="flat" cmpd="sng" algn="ctr">
          <a:noFill/>
          <a:prstDash val="solid"/>
          <a:miter lim="800000"/>
        </a:ln>
        <a:effectLst/>
      </dgm:spPr>
      <dgm:t>
        <a:bodyPr spcFirstLastPara="0" vert="horz" wrap="square" lIns="41275" tIns="41275" rIns="41275" bIns="41275" numCol="1" spcCol="1270" anchor="ctr" anchorCtr="0"/>
        <a:lstStyle/>
        <a:p>
          <a:r>
            <a:rPr lang="en-US" sz="16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Quantitative</a:t>
          </a:r>
        </a:p>
      </dgm:t>
    </dgm:pt>
    <dgm:pt modelId="{A8FE6C77-69A7-4634-A805-AE660F8A6B5B}" type="parTrans" cxnId="{B6EECCEB-344E-4836-9D63-F124560B73BB}">
      <dgm:prSet/>
      <dgm:spPr/>
      <dgm:t>
        <a:bodyPr/>
        <a:lstStyle/>
        <a:p>
          <a:endParaRPr lang="en-US"/>
        </a:p>
      </dgm:t>
    </dgm:pt>
    <dgm:pt modelId="{41477161-FFE9-499F-A9C5-31AAE109B6F3}" type="sibTrans" cxnId="{B6EECCEB-344E-4836-9D63-F124560B73BB}">
      <dgm:prSet/>
      <dgm:spPr/>
      <dgm:t>
        <a:bodyPr/>
        <a:lstStyle/>
        <a:p>
          <a:endParaRPr lang="en-US"/>
        </a:p>
      </dgm:t>
    </dgm:pt>
    <dgm:pt modelId="{BA020160-829D-4395-AF84-BAD3A2863F55}">
      <dgm:prSet custT="1"/>
      <dgm:spPr>
        <a:noFill/>
        <a:ln w="12700" cap="flat" cmpd="sng" algn="ctr">
          <a:noFill/>
          <a:prstDash val="solid"/>
          <a:miter lim="800000"/>
        </a:ln>
        <a:effectLst/>
      </dgm:spPr>
      <dgm:t>
        <a:bodyPr spcFirstLastPara="0" vert="horz" wrap="square" lIns="41275" tIns="41275" rIns="41275" bIns="41275" numCol="1" spcCol="1270" anchor="ctr" anchorCtr="0"/>
        <a:lstStyle/>
        <a:p>
          <a:pPr algn="l"/>
          <a:r>
            <a:rPr lang="en-US" sz="1400" kern="1200" dirty="0"/>
            <a:t>HAZID (Hazard Identification)</a:t>
          </a:r>
        </a:p>
        <a:p>
          <a:pPr algn="l"/>
          <a:r>
            <a:rPr lang="en-US" sz="14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HAZOP</a:t>
          </a:r>
          <a:r>
            <a:rPr lang="en-US" sz="1400" kern="1200" dirty="0"/>
            <a:t> (Hazard &amp; Operability)</a:t>
          </a:r>
        </a:p>
        <a:p>
          <a:pPr algn="l"/>
          <a:r>
            <a:rPr lang="en-US" sz="1400" kern="1200" dirty="0"/>
            <a:t>SIL Classification</a:t>
          </a:r>
        </a:p>
        <a:p>
          <a:pPr algn="l"/>
          <a:r>
            <a:rPr lang="en-US" sz="1400" kern="1200" dirty="0"/>
            <a:t>Bow Tie Study</a:t>
          </a:r>
        </a:p>
        <a:p>
          <a:pPr algn="l"/>
          <a:r>
            <a:rPr lang="en-US" sz="1400" kern="1200" dirty="0"/>
            <a:t>FMEA (Failure Mode Effect Analysis)</a:t>
          </a:r>
        </a:p>
        <a:p>
          <a:pPr algn="l"/>
          <a:r>
            <a:rPr lang="en-US" sz="1400" kern="1200" dirty="0"/>
            <a:t>SAFOP (Systems Safe Operability</a:t>
          </a:r>
        </a:p>
        <a:p>
          <a:pPr algn="l"/>
          <a:r>
            <a:rPr lang="en-US" sz="1400" kern="1200" dirty="0"/>
            <a:t>SIL Classification</a:t>
          </a:r>
        </a:p>
      </dgm:t>
    </dgm:pt>
    <dgm:pt modelId="{3DA4E715-9A9B-4E34-B776-77BFE9814F82}" type="parTrans" cxnId="{A2637EB4-255D-4BD6-BB69-E128AC2CBF7B}">
      <dgm:prSet/>
      <dgm:spPr/>
      <dgm:t>
        <a:bodyPr/>
        <a:lstStyle/>
        <a:p>
          <a:endParaRPr lang="en-US"/>
        </a:p>
      </dgm:t>
    </dgm:pt>
    <dgm:pt modelId="{7A4E6127-994D-4FD5-B944-69900208F0B1}" type="sibTrans" cxnId="{A2637EB4-255D-4BD6-BB69-E128AC2CBF7B}">
      <dgm:prSet/>
      <dgm:spPr/>
      <dgm:t>
        <a:bodyPr/>
        <a:lstStyle/>
        <a:p>
          <a:endParaRPr lang="en-US"/>
        </a:p>
      </dgm:t>
    </dgm:pt>
    <dgm:pt modelId="{DEDA363C-099D-44C2-8B42-7B02D30A7B02}">
      <dgm:prSet custT="1"/>
      <dgm:spPr>
        <a:noFill/>
        <a:ln w="12700" cap="flat" cmpd="sng" algn="ctr">
          <a:noFill/>
          <a:prstDash val="solid"/>
          <a:miter lim="800000"/>
        </a:ln>
        <a:effectLst/>
      </dgm:spPr>
      <dgm:t>
        <a:bodyPr spcFirstLastPara="0" vert="horz" wrap="square" lIns="41275" tIns="41275" rIns="41275" bIns="41275" numCol="1" spcCol="1270" anchor="ctr" anchorCtr="0"/>
        <a:lstStyle/>
        <a:p>
          <a:pPr algn="l"/>
          <a:r>
            <a:rPr lang="en-US" sz="1400" kern="1200" dirty="0"/>
            <a:t>Consequence Analysis (Fire, Explosion &amp; Toxic Hazards</a:t>
          </a:r>
        </a:p>
        <a:p>
          <a:pPr algn="l"/>
          <a:r>
            <a:rPr lang="en-US" sz="1400" kern="1200" dirty="0"/>
            <a:t>Quantitative Risk Assessment (QRA)</a:t>
          </a:r>
        </a:p>
        <a:p>
          <a:pPr algn="l"/>
          <a:r>
            <a:rPr lang="en-US" sz="1400" kern="1200" dirty="0"/>
            <a:t>Escape </a:t>
          </a:r>
          <a:r>
            <a:rPr lang="en-US" sz="14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Evacuation</a:t>
          </a:r>
          <a:r>
            <a:rPr lang="en-US" sz="1400" kern="1200" dirty="0"/>
            <a:t> and Rescue Analysis (EERA)</a:t>
          </a:r>
        </a:p>
        <a:p>
          <a:pPr algn="l"/>
          <a:r>
            <a:rPr lang="en-US" sz="1400" kern="1200" dirty="0"/>
            <a:t>Emergency System Survivability Analysis (ESSA)</a:t>
          </a:r>
        </a:p>
        <a:p>
          <a:pPr algn="l"/>
          <a:r>
            <a:rPr lang="en-US" sz="1400" kern="1200" dirty="0"/>
            <a:t>Flare / Vent </a:t>
          </a:r>
          <a:r>
            <a:rPr lang="en-US" sz="14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Dispersion</a:t>
          </a:r>
          <a:r>
            <a:rPr lang="en-US" sz="1400" kern="1200" dirty="0"/>
            <a:t> / Radiation study</a:t>
          </a:r>
        </a:p>
        <a:p>
          <a:pPr algn="l"/>
          <a:r>
            <a:rPr lang="en-US" sz="1400" kern="1200" dirty="0"/>
            <a:t>SIL Verification study</a:t>
          </a:r>
        </a:p>
        <a:p>
          <a:pPr algn="l"/>
          <a:r>
            <a:rPr lang="en-US" sz="1400" kern="1200" dirty="0"/>
            <a:t>Reliability, Availability, and Maintainability (RAM)</a:t>
          </a:r>
        </a:p>
      </dgm:t>
    </dgm:pt>
    <dgm:pt modelId="{A6660EB9-55D5-4407-89BE-240E51AE19D0}" type="parTrans" cxnId="{E3A4BEB0-019A-4952-9FA6-F0302B287738}">
      <dgm:prSet/>
      <dgm:spPr/>
      <dgm:t>
        <a:bodyPr/>
        <a:lstStyle/>
        <a:p>
          <a:endParaRPr lang="en-US"/>
        </a:p>
      </dgm:t>
    </dgm:pt>
    <dgm:pt modelId="{E375F11E-BDFF-44C1-ABE2-ADC340F8FD2F}" type="sibTrans" cxnId="{E3A4BEB0-019A-4952-9FA6-F0302B287738}">
      <dgm:prSet/>
      <dgm:spPr/>
      <dgm:t>
        <a:bodyPr/>
        <a:lstStyle/>
        <a:p>
          <a:endParaRPr lang="en-US"/>
        </a:p>
      </dgm:t>
    </dgm:pt>
    <dgm:pt modelId="{FACAAE38-408E-4F52-AC9C-0C10C7FEC6BE}" type="pres">
      <dgm:prSet presAssocID="{A741EB51-C6CA-4166-80C7-131AE897A87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9A4C211F-C563-4781-8ECF-2BE442C3906B}" type="pres">
      <dgm:prSet presAssocID="{4719AF0C-B356-4DD6-B9CA-19125B8DE8D6}" presName="root1" presStyleCnt="0"/>
      <dgm:spPr/>
    </dgm:pt>
    <dgm:pt modelId="{F3669509-B8CC-4506-8772-4C4DDE0CD546}" type="pres">
      <dgm:prSet presAssocID="{4719AF0C-B356-4DD6-B9CA-19125B8DE8D6}" presName="LevelOneTextNode" presStyleLbl="node0" presStyleIdx="0" presStyleCnt="1" custLinFactNeighborX="-87824" custLinFactNeighborY="-98">
        <dgm:presLayoutVars>
          <dgm:chPref val="3"/>
        </dgm:presLayoutVars>
      </dgm:prSet>
      <dgm:spPr/>
    </dgm:pt>
    <dgm:pt modelId="{B7D0B364-7752-4479-9BA9-5D28A5863066}" type="pres">
      <dgm:prSet presAssocID="{4719AF0C-B356-4DD6-B9CA-19125B8DE8D6}" presName="level2hierChild" presStyleCnt="0"/>
      <dgm:spPr/>
    </dgm:pt>
    <dgm:pt modelId="{420A87E6-89C3-4DD2-A4C1-322F6B83BC23}" type="pres">
      <dgm:prSet presAssocID="{58E47F47-15C6-4E96-80FE-3C80293638E2}" presName="conn2-1" presStyleLbl="parChTrans1D2" presStyleIdx="0" presStyleCnt="2"/>
      <dgm:spPr/>
    </dgm:pt>
    <dgm:pt modelId="{1E8E466C-4F59-42D2-968F-031182E49229}" type="pres">
      <dgm:prSet presAssocID="{58E47F47-15C6-4E96-80FE-3C80293638E2}" presName="connTx" presStyleLbl="parChTrans1D2" presStyleIdx="0" presStyleCnt="2"/>
      <dgm:spPr/>
    </dgm:pt>
    <dgm:pt modelId="{02616888-D09B-4F9A-B16B-4FF3509909F0}" type="pres">
      <dgm:prSet presAssocID="{18365075-943C-42CA-9142-9EECE9FD8F1E}" presName="root2" presStyleCnt="0"/>
      <dgm:spPr/>
    </dgm:pt>
    <dgm:pt modelId="{C62A0C03-00B5-40BA-8EF2-CDD6DA4E9AA2}" type="pres">
      <dgm:prSet presAssocID="{18365075-943C-42CA-9142-9EECE9FD8F1E}" presName="LevelTwoTextNode" presStyleLbl="node2" presStyleIdx="0" presStyleCnt="2" custFlipHor="1" custScaleX="50419" custLinFactNeighborX="-5107" custLinFactNeighborY="-49172">
        <dgm:presLayoutVars>
          <dgm:chPref val="3"/>
        </dgm:presLayoutVars>
      </dgm:prSet>
      <dgm:spPr>
        <a:xfrm>
          <a:off x="2602390" y="907626"/>
          <a:ext cx="3376913" cy="1029546"/>
        </a:xfrm>
        <a:prstGeom prst="rect">
          <a:avLst/>
        </a:prstGeom>
      </dgm:spPr>
    </dgm:pt>
    <dgm:pt modelId="{C605871E-AAF4-402E-9BA2-19F991A1B98C}" type="pres">
      <dgm:prSet presAssocID="{18365075-943C-42CA-9142-9EECE9FD8F1E}" presName="level3hierChild" presStyleCnt="0"/>
      <dgm:spPr/>
    </dgm:pt>
    <dgm:pt modelId="{219922D6-5F14-4F87-9500-69E2801DD641}" type="pres">
      <dgm:prSet presAssocID="{3DA4E715-9A9B-4E34-B776-77BFE9814F82}" presName="conn2-1" presStyleLbl="parChTrans1D3" presStyleIdx="0" presStyleCnt="2"/>
      <dgm:spPr/>
    </dgm:pt>
    <dgm:pt modelId="{E73F5251-3222-413D-9A5E-78FA9E23DF51}" type="pres">
      <dgm:prSet presAssocID="{3DA4E715-9A9B-4E34-B776-77BFE9814F82}" presName="connTx" presStyleLbl="parChTrans1D3" presStyleIdx="0" presStyleCnt="2"/>
      <dgm:spPr/>
    </dgm:pt>
    <dgm:pt modelId="{86F82B61-A665-48D3-9A8A-161ECFB4D84C}" type="pres">
      <dgm:prSet presAssocID="{BA020160-829D-4395-AF84-BAD3A2863F55}" presName="root2" presStyleCnt="0"/>
      <dgm:spPr/>
    </dgm:pt>
    <dgm:pt modelId="{9EE0D19B-7FFA-4562-BACD-96069904DD78}" type="pres">
      <dgm:prSet presAssocID="{BA020160-829D-4395-AF84-BAD3A2863F55}" presName="LevelTwoTextNode" presStyleLbl="node3" presStyleIdx="0" presStyleCnt="2" custScaleY="211732" custLinFactNeighborX="2061" custLinFactNeighborY="-68527">
        <dgm:presLayoutVars>
          <dgm:chPref val="3"/>
        </dgm:presLayoutVars>
      </dgm:prSet>
      <dgm:spPr>
        <a:xfrm>
          <a:off x="3632156" y="981454"/>
          <a:ext cx="3238539" cy="987359"/>
        </a:xfrm>
        <a:prstGeom prst="rect">
          <a:avLst/>
        </a:prstGeom>
      </dgm:spPr>
    </dgm:pt>
    <dgm:pt modelId="{3D2970CF-8CC9-4ABB-AE0D-683D681724EE}" type="pres">
      <dgm:prSet presAssocID="{BA020160-829D-4395-AF84-BAD3A2863F55}" presName="level3hierChild" presStyleCnt="0"/>
      <dgm:spPr/>
    </dgm:pt>
    <dgm:pt modelId="{4CDE25F4-8D6D-4D63-8E27-79689136B6E7}" type="pres">
      <dgm:prSet presAssocID="{A8FE6C77-69A7-4634-A805-AE660F8A6B5B}" presName="conn2-1" presStyleLbl="parChTrans1D2" presStyleIdx="1" presStyleCnt="2"/>
      <dgm:spPr/>
    </dgm:pt>
    <dgm:pt modelId="{DE458FE7-FAE2-43A6-8492-8AAD0EA31AC1}" type="pres">
      <dgm:prSet presAssocID="{A8FE6C77-69A7-4634-A805-AE660F8A6B5B}" presName="connTx" presStyleLbl="parChTrans1D2" presStyleIdx="1" presStyleCnt="2"/>
      <dgm:spPr/>
    </dgm:pt>
    <dgm:pt modelId="{B2A64DA2-B2D8-45B5-AE25-80DFD9BDCC24}" type="pres">
      <dgm:prSet presAssocID="{FA7D27CB-A0FA-44CC-ABDD-7DE7E8D5CFDA}" presName="root2" presStyleCnt="0"/>
      <dgm:spPr/>
    </dgm:pt>
    <dgm:pt modelId="{46DEFA1E-42B4-49CF-AC8A-F06CB8904771}" type="pres">
      <dgm:prSet presAssocID="{FA7D27CB-A0FA-44CC-ABDD-7DE7E8D5CFDA}" presName="LevelTwoTextNode" presStyleLbl="node2" presStyleIdx="1" presStyleCnt="2" custScaleX="49345" custLinFactNeighborX="-4589" custLinFactNeighborY="2360">
        <dgm:presLayoutVars>
          <dgm:chPref val="3"/>
        </dgm:presLayoutVars>
      </dgm:prSet>
      <dgm:spPr>
        <a:xfrm>
          <a:off x="2604022" y="3479986"/>
          <a:ext cx="3370320" cy="1027536"/>
        </a:xfrm>
        <a:prstGeom prst="rect">
          <a:avLst/>
        </a:prstGeom>
      </dgm:spPr>
    </dgm:pt>
    <dgm:pt modelId="{64429398-884D-4ABA-9B0E-D5DCF4D04925}" type="pres">
      <dgm:prSet presAssocID="{FA7D27CB-A0FA-44CC-ABDD-7DE7E8D5CFDA}" presName="level3hierChild" presStyleCnt="0"/>
      <dgm:spPr/>
    </dgm:pt>
    <dgm:pt modelId="{E541C863-E6AB-4601-AFEC-810F2CCE6DA7}" type="pres">
      <dgm:prSet presAssocID="{A6660EB9-55D5-4407-89BE-240E51AE19D0}" presName="conn2-1" presStyleLbl="parChTrans1D3" presStyleIdx="1" presStyleCnt="2"/>
      <dgm:spPr/>
    </dgm:pt>
    <dgm:pt modelId="{D3305343-D134-4E8E-B761-49844DFD8F14}" type="pres">
      <dgm:prSet presAssocID="{A6660EB9-55D5-4407-89BE-240E51AE19D0}" presName="connTx" presStyleLbl="parChTrans1D3" presStyleIdx="1" presStyleCnt="2"/>
      <dgm:spPr/>
    </dgm:pt>
    <dgm:pt modelId="{26A79A6F-E46B-4CED-8BBB-94565FB5875A}" type="pres">
      <dgm:prSet presAssocID="{DEDA363C-099D-44C2-8B42-7B02D30A7B02}" presName="root2" presStyleCnt="0"/>
      <dgm:spPr/>
    </dgm:pt>
    <dgm:pt modelId="{14E39DB5-F4CC-475A-85F5-32AB5711957F}" type="pres">
      <dgm:prSet presAssocID="{DEDA363C-099D-44C2-8B42-7B02D30A7B02}" presName="LevelTwoTextNode" presStyleLbl="node3" presStyleIdx="1" presStyleCnt="2" custScaleX="126938" custScaleY="249253" custLinFactNeighborY="2521">
        <dgm:presLayoutVars>
          <dgm:chPref val="3"/>
        </dgm:presLayoutVars>
      </dgm:prSet>
      <dgm:spPr>
        <a:xfrm>
          <a:off x="3382530" y="2998126"/>
          <a:ext cx="3238539" cy="987359"/>
        </a:xfrm>
        <a:prstGeom prst="rect">
          <a:avLst/>
        </a:prstGeom>
      </dgm:spPr>
    </dgm:pt>
    <dgm:pt modelId="{8B580D11-118B-4F83-AB4C-7B25E62EE18B}" type="pres">
      <dgm:prSet presAssocID="{DEDA363C-099D-44C2-8B42-7B02D30A7B02}" presName="level3hierChild" presStyleCnt="0"/>
      <dgm:spPr/>
    </dgm:pt>
  </dgm:ptLst>
  <dgm:cxnLst>
    <dgm:cxn modelId="{22D3E526-8EE8-440D-9E0F-914F79321FCB}" srcId="{A741EB51-C6CA-4166-80C7-131AE897A872}" destId="{4719AF0C-B356-4DD6-B9CA-19125B8DE8D6}" srcOrd="0" destOrd="0" parTransId="{572B71FC-C00C-489A-84FB-75DF3680E94A}" sibTransId="{C13AC143-4C39-4663-8606-246915422AD4}"/>
    <dgm:cxn modelId="{0B946D30-A8EC-499A-84C3-446EEFD519F0}" type="presOf" srcId="{A8FE6C77-69A7-4634-A805-AE660F8A6B5B}" destId="{DE458FE7-FAE2-43A6-8492-8AAD0EA31AC1}" srcOrd="1" destOrd="0" presId="urn:microsoft.com/office/officeart/2008/layout/HorizontalMultiLevelHierarchy"/>
    <dgm:cxn modelId="{B1F50037-70B6-47F1-B067-BBBB1C1072EB}" type="presOf" srcId="{A6660EB9-55D5-4407-89BE-240E51AE19D0}" destId="{E541C863-E6AB-4601-AFEC-810F2CCE6DA7}" srcOrd="0" destOrd="0" presId="urn:microsoft.com/office/officeart/2008/layout/HorizontalMultiLevelHierarchy"/>
    <dgm:cxn modelId="{1F2B0F62-FF67-426C-9B63-3F1747EC4911}" type="presOf" srcId="{A741EB51-C6CA-4166-80C7-131AE897A872}" destId="{FACAAE38-408E-4F52-AC9C-0C10C7FEC6BE}" srcOrd="0" destOrd="0" presId="urn:microsoft.com/office/officeart/2008/layout/HorizontalMultiLevelHierarchy"/>
    <dgm:cxn modelId="{E9A78C63-4DA6-4C03-A483-D19D15EF8889}" type="presOf" srcId="{DEDA363C-099D-44C2-8B42-7B02D30A7B02}" destId="{14E39DB5-F4CC-475A-85F5-32AB5711957F}" srcOrd="0" destOrd="0" presId="urn:microsoft.com/office/officeart/2008/layout/HorizontalMultiLevelHierarchy"/>
    <dgm:cxn modelId="{B5321859-2D3E-47EF-ABB5-400A06D6800D}" type="presOf" srcId="{A6660EB9-55D5-4407-89BE-240E51AE19D0}" destId="{D3305343-D134-4E8E-B761-49844DFD8F14}" srcOrd="1" destOrd="0" presId="urn:microsoft.com/office/officeart/2008/layout/HorizontalMultiLevelHierarchy"/>
    <dgm:cxn modelId="{E777E17F-3D40-41B7-8A74-614BA300E281}" type="presOf" srcId="{58E47F47-15C6-4E96-80FE-3C80293638E2}" destId="{1E8E466C-4F59-42D2-968F-031182E49229}" srcOrd="1" destOrd="0" presId="urn:microsoft.com/office/officeart/2008/layout/HorizontalMultiLevelHierarchy"/>
    <dgm:cxn modelId="{A5886E87-DBC8-4934-A989-ECEB5BA3D578}" type="presOf" srcId="{4719AF0C-B356-4DD6-B9CA-19125B8DE8D6}" destId="{F3669509-B8CC-4506-8772-4C4DDE0CD546}" srcOrd="0" destOrd="0" presId="urn:microsoft.com/office/officeart/2008/layout/HorizontalMultiLevelHierarchy"/>
    <dgm:cxn modelId="{C475FE8A-C9D4-42CD-AE56-9916F3744145}" type="presOf" srcId="{FA7D27CB-A0FA-44CC-ABDD-7DE7E8D5CFDA}" destId="{46DEFA1E-42B4-49CF-AC8A-F06CB8904771}" srcOrd="0" destOrd="0" presId="urn:microsoft.com/office/officeart/2008/layout/HorizontalMultiLevelHierarchy"/>
    <dgm:cxn modelId="{931B569A-90B8-417E-804D-04095C21432F}" type="presOf" srcId="{A8FE6C77-69A7-4634-A805-AE660F8A6B5B}" destId="{4CDE25F4-8D6D-4D63-8E27-79689136B6E7}" srcOrd="0" destOrd="0" presId="urn:microsoft.com/office/officeart/2008/layout/HorizontalMultiLevelHierarchy"/>
    <dgm:cxn modelId="{84F6C8AF-5F69-4A8B-9CAC-A194DD0B1C1F}" srcId="{4719AF0C-B356-4DD6-B9CA-19125B8DE8D6}" destId="{18365075-943C-42CA-9142-9EECE9FD8F1E}" srcOrd="0" destOrd="0" parTransId="{58E47F47-15C6-4E96-80FE-3C80293638E2}" sibTransId="{D65828E4-9C98-4F7D-8A9E-5C4D87D9A3F3}"/>
    <dgm:cxn modelId="{E3A4BEB0-019A-4952-9FA6-F0302B287738}" srcId="{FA7D27CB-A0FA-44CC-ABDD-7DE7E8D5CFDA}" destId="{DEDA363C-099D-44C2-8B42-7B02D30A7B02}" srcOrd="0" destOrd="0" parTransId="{A6660EB9-55D5-4407-89BE-240E51AE19D0}" sibTransId="{E375F11E-BDFF-44C1-ABE2-ADC340F8FD2F}"/>
    <dgm:cxn modelId="{A2637EB4-255D-4BD6-BB69-E128AC2CBF7B}" srcId="{18365075-943C-42CA-9142-9EECE9FD8F1E}" destId="{BA020160-829D-4395-AF84-BAD3A2863F55}" srcOrd="0" destOrd="0" parTransId="{3DA4E715-9A9B-4E34-B776-77BFE9814F82}" sibTransId="{7A4E6127-994D-4FD5-B944-69900208F0B1}"/>
    <dgm:cxn modelId="{6B84B7BA-3EC2-4EE0-9AC9-86DA9107BE76}" type="presOf" srcId="{58E47F47-15C6-4E96-80FE-3C80293638E2}" destId="{420A87E6-89C3-4DD2-A4C1-322F6B83BC23}" srcOrd="0" destOrd="0" presId="urn:microsoft.com/office/officeart/2008/layout/HorizontalMultiLevelHierarchy"/>
    <dgm:cxn modelId="{288D09D3-3177-4869-B7ED-7C6507CE21AA}" type="presOf" srcId="{3DA4E715-9A9B-4E34-B776-77BFE9814F82}" destId="{219922D6-5F14-4F87-9500-69E2801DD641}" srcOrd="0" destOrd="0" presId="urn:microsoft.com/office/officeart/2008/layout/HorizontalMultiLevelHierarchy"/>
    <dgm:cxn modelId="{B6EECCEB-344E-4836-9D63-F124560B73BB}" srcId="{4719AF0C-B356-4DD6-B9CA-19125B8DE8D6}" destId="{FA7D27CB-A0FA-44CC-ABDD-7DE7E8D5CFDA}" srcOrd="1" destOrd="0" parTransId="{A8FE6C77-69A7-4634-A805-AE660F8A6B5B}" sibTransId="{41477161-FFE9-499F-A9C5-31AAE109B6F3}"/>
    <dgm:cxn modelId="{31B85DF4-ECB7-4AB4-BD99-92B193F3E93F}" type="presOf" srcId="{BA020160-829D-4395-AF84-BAD3A2863F55}" destId="{9EE0D19B-7FFA-4562-BACD-96069904DD78}" srcOrd="0" destOrd="0" presId="urn:microsoft.com/office/officeart/2008/layout/HorizontalMultiLevelHierarchy"/>
    <dgm:cxn modelId="{E2CABFF6-D2C6-40A3-BAB9-9C5C2181B277}" type="presOf" srcId="{18365075-943C-42CA-9142-9EECE9FD8F1E}" destId="{C62A0C03-00B5-40BA-8EF2-CDD6DA4E9AA2}" srcOrd="0" destOrd="0" presId="urn:microsoft.com/office/officeart/2008/layout/HorizontalMultiLevelHierarchy"/>
    <dgm:cxn modelId="{9F83C6FB-FBCD-4C59-AEBC-7E03AB148EFA}" type="presOf" srcId="{3DA4E715-9A9B-4E34-B776-77BFE9814F82}" destId="{E73F5251-3222-413D-9A5E-78FA9E23DF51}" srcOrd="1" destOrd="0" presId="urn:microsoft.com/office/officeart/2008/layout/HorizontalMultiLevelHierarchy"/>
    <dgm:cxn modelId="{F20BC0BB-906D-4747-8053-8A4205B59D4B}" type="presParOf" srcId="{FACAAE38-408E-4F52-AC9C-0C10C7FEC6BE}" destId="{9A4C211F-C563-4781-8ECF-2BE442C3906B}" srcOrd="0" destOrd="0" presId="urn:microsoft.com/office/officeart/2008/layout/HorizontalMultiLevelHierarchy"/>
    <dgm:cxn modelId="{4B126CD8-060E-424D-B200-449E3BAAE9CC}" type="presParOf" srcId="{9A4C211F-C563-4781-8ECF-2BE442C3906B}" destId="{F3669509-B8CC-4506-8772-4C4DDE0CD546}" srcOrd="0" destOrd="0" presId="urn:microsoft.com/office/officeart/2008/layout/HorizontalMultiLevelHierarchy"/>
    <dgm:cxn modelId="{66A98917-3E8F-4586-BEAE-5B56E7CAE50C}" type="presParOf" srcId="{9A4C211F-C563-4781-8ECF-2BE442C3906B}" destId="{B7D0B364-7752-4479-9BA9-5D28A5863066}" srcOrd="1" destOrd="0" presId="urn:microsoft.com/office/officeart/2008/layout/HorizontalMultiLevelHierarchy"/>
    <dgm:cxn modelId="{3468BC78-E6E6-4DEE-91AC-A637BDB0617E}" type="presParOf" srcId="{B7D0B364-7752-4479-9BA9-5D28A5863066}" destId="{420A87E6-89C3-4DD2-A4C1-322F6B83BC23}" srcOrd="0" destOrd="0" presId="urn:microsoft.com/office/officeart/2008/layout/HorizontalMultiLevelHierarchy"/>
    <dgm:cxn modelId="{C5C5B7AA-A4A9-42DD-86E1-79728DB4CDA6}" type="presParOf" srcId="{420A87E6-89C3-4DD2-A4C1-322F6B83BC23}" destId="{1E8E466C-4F59-42D2-968F-031182E49229}" srcOrd="0" destOrd="0" presId="urn:microsoft.com/office/officeart/2008/layout/HorizontalMultiLevelHierarchy"/>
    <dgm:cxn modelId="{52C6F195-160C-4090-A030-56E662B837BB}" type="presParOf" srcId="{B7D0B364-7752-4479-9BA9-5D28A5863066}" destId="{02616888-D09B-4F9A-B16B-4FF3509909F0}" srcOrd="1" destOrd="0" presId="urn:microsoft.com/office/officeart/2008/layout/HorizontalMultiLevelHierarchy"/>
    <dgm:cxn modelId="{9950894A-321E-492A-8F5B-620A29C9DB3D}" type="presParOf" srcId="{02616888-D09B-4F9A-B16B-4FF3509909F0}" destId="{C62A0C03-00B5-40BA-8EF2-CDD6DA4E9AA2}" srcOrd="0" destOrd="0" presId="urn:microsoft.com/office/officeart/2008/layout/HorizontalMultiLevelHierarchy"/>
    <dgm:cxn modelId="{45913EBE-D97E-41BA-ADB5-5E99854230F0}" type="presParOf" srcId="{02616888-D09B-4F9A-B16B-4FF3509909F0}" destId="{C605871E-AAF4-402E-9BA2-19F991A1B98C}" srcOrd="1" destOrd="0" presId="urn:microsoft.com/office/officeart/2008/layout/HorizontalMultiLevelHierarchy"/>
    <dgm:cxn modelId="{62950802-738B-4A7B-A7E1-59D03BDE5B26}" type="presParOf" srcId="{C605871E-AAF4-402E-9BA2-19F991A1B98C}" destId="{219922D6-5F14-4F87-9500-69E2801DD641}" srcOrd="0" destOrd="0" presId="urn:microsoft.com/office/officeart/2008/layout/HorizontalMultiLevelHierarchy"/>
    <dgm:cxn modelId="{FF9F40A1-7703-46B4-AD2B-94644BB20CF2}" type="presParOf" srcId="{219922D6-5F14-4F87-9500-69E2801DD641}" destId="{E73F5251-3222-413D-9A5E-78FA9E23DF51}" srcOrd="0" destOrd="0" presId="urn:microsoft.com/office/officeart/2008/layout/HorizontalMultiLevelHierarchy"/>
    <dgm:cxn modelId="{568FDEA8-C8EC-468F-BF98-2896F5C5390A}" type="presParOf" srcId="{C605871E-AAF4-402E-9BA2-19F991A1B98C}" destId="{86F82B61-A665-48D3-9A8A-161ECFB4D84C}" srcOrd="1" destOrd="0" presId="urn:microsoft.com/office/officeart/2008/layout/HorizontalMultiLevelHierarchy"/>
    <dgm:cxn modelId="{32818EAC-88BA-4722-9713-945FE927A148}" type="presParOf" srcId="{86F82B61-A665-48D3-9A8A-161ECFB4D84C}" destId="{9EE0D19B-7FFA-4562-BACD-96069904DD78}" srcOrd="0" destOrd="0" presId="urn:microsoft.com/office/officeart/2008/layout/HorizontalMultiLevelHierarchy"/>
    <dgm:cxn modelId="{E988847D-074D-45DE-9199-533BFBC1C43C}" type="presParOf" srcId="{86F82B61-A665-48D3-9A8A-161ECFB4D84C}" destId="{3D2970CF-8CC9-4ABB-AE0D-683D681724EE}" srcOrd="1" destOrd="0" presId="urn:microsoft.com/office/officeart/2008/layout/HorizontalMultiLevelHierarchy"/>
    <dgm:cxn modelId="{488506BB-5543-4535-8E92-EF4236B845E7}" type="presParOf" srcId="{B7D0B364-7752-4479-9BA9-5D28A5863066}" destId="{4CDE25F4-8D6D-4D63-8E27-79689136B6E7}" srcOrd="2" destOrd="0" presId="urn:microsoft.com/office/officeart/2008/layout/HorizontalMultiLevelHierarchy"/>
    <dgm:cxn modelId="{022B516F-2D83-42B0-98E8-D6B6E5CDB39E}" type="presParOf" srcId="{4CDE25F4-8D6D-4D63-8E27-79689136B6E7}" destId="{DE458FE7-FAE2-43A6-8492-8AAD0EA31AC1}" srcOrd="0" destOrd="0" presId="urn:microsoft.com/office/officeart/2008/layout/HorizontalMultiLevelHierarchy"/>
    <dgm:cxn modelId="{BCB15A52-477B-43AF-88ED-C96F0A5FC1C5}" type="presParOf" srcId="{B7D0B364-7752-4479-9BA9-5D28A5863066}" destId="{B2A64DA2-B2D8-45B5-AE25-80DFD9BDCC24}" srcOrd="3" destOrd="0" presId="urn:microsoft.com/office/officeart/2008/layout/HorizontalMultiLevelHierarchy"/>
    <dgm:cxn modelId="{4BA4AC83-55E8-486A-A8C2-C4175AD6B3C1}" type="presParOf" srcId="{B2A64DA2-B2D8-45B5-AE25-80DFD9BDCC24}" destId="{46DEFA1E-42B4-49CF-AC8A-F06CB8904771}" srcOrd="0" destOrd="0" presId="urn:microsoft.com/office/officeart/2008/layout/HorizontalMultiLevelHierarchy"/>
    <dgm:cxn modelId="{1CE64F5D-BAED-4348-A8C0-73401E5005CB}" type="presParOf" srcId="{B2A64DA2-B2D8-45B5-AE25-80DFD9BDCC24}" destId="{64429398-884D-4ABA-9B0E-D5DCF4D04925}" srcOrd="1" destOrd="0" presId="urn:microsoft.com/office/officeart/2008/layout/HorizontalMultiLevelHierarchy"/>
    <dgm:cxn modelId="{12588FB3-8853-4F85-A071-736027DC5024}" type="presParOf" srcId="{64429398-884D-4ABA-9B0E-D5DCF4D04925}" destId="{E541C863-E6AB-4601-AFEC-810F2CCE6DA7}" srcOrd="0" destOrd="0" presId="urn:microsoft.com/office/officeart/2008/layout/HorizontalMultiLevelHierarchy"/>
    <dgm:cxn modelId="{BE27A568-2CA8-4F5B-97D5-60C2D6E7225B}" type="presParOf" srcId="{E541C863-E6AB-4601-AFEC-810F2CCE6DA7}" destId="{D3305343-D134-4E8E-B761-49844DFD8F14}" srcOrd="0" destOrd="0" presId="urn:microsoft.com/office/officeart/2008/layout/HorizontalMultiLevelHierarchy"/>
    <dgm:cxn modelId="{D57EF1A2-0329-49EC-9381-6B2FB5A6A944}" type="presParOf" srcId="{64429398-884D-4ABA-9B0E-D5DCF4D04925}" destId="{26A79A6F-E46B-4CED-8BBB-94565FB5875A}" srcOrd="1" destOrd="0" presId="urn:microsoft.com/office/officeart/2008/layout/HorizontalMultiLevelHierarchy"/>
    <dgm:cxn modelId="{6418F3F2-FAB3-4D12-A01A-F4E19D92383A}" type="presParOf" srcId="{26A79A6F-E46B-4CED-8BBB-94565FB5875A}" destId="{14E39DB5-F4CC-475A-85F5-32AB5711957F}" srcOrd="0" destOrd="0" presId="urn:microsoft.com/office/officeart/2008/layout/HorizontalMultiLevelHierarchy"/>
    <dgm:cxn modelId="{CDD748C7-BEF4-4D54-BA23-0BA8D470DEEC}" type="presParOf" srcId="{26A79A6F-E46B-4CED-8BBB-94565FB5875A}" destId="{8B580D11-118B-4F83-AB4C-7B25E62EE18B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E62960-A0AB-43DC-B671-06A0EF6C24F6}">
      <dsp:nvSpPr>
        <dsp:cNvPr id="0" name=""/>
        <dsp:cNvSpPr/>
      </dsp:nvSpPr>
      <dsp:spPr>
        <a:xfrm>
          <a:off x="0" y="573070"/>
          <a:ext cx="11249007" cy="764094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BEF1E9-C8BB-4F12-954B-8388CA6D841D}">
      <dsp:nvSpPr>
        <dsp:cNvPr id="0" name=""/>
        <dsp:cNvSpPr/>
      </dsp:nvSpPr>
      <dsp:spPr>
        <a:xfrm>
          <a:off x="865" y="0"/>
          <a:ext cx="1386626" cy="764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Compliance and Certification</a:t>
          </a:r>
        </a:p>
      </dsp:txBody>
      <dsp:txXfrm>
        <a:off x="865" y="0"/>
        <a:ext cx="1386626" cy="764094"/>
      </dsp:txXfrm>
    </dsp:sp>
    <dsp:sp modelId="{CFAC4C80-0101-4DC9-BE3A-C8EFE2C96FEF}">
      <dsp:nvSpPr>
        <dsp:cNvPr id="0" name=""/>
        <dsp:cNvSpPr/>
      </dsp:nvSpPr>
      <dsp:spPr>
        <a:xfrm>
          <a:off x="598666" y="859606"/>
          <a:ext cx="191023" cy="191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FE90FA-B760-45DE-9A16-E8F792CE244C}">
      <dsp:nvSpPr>
        <dsp:cNvPr id="0" name=""/>
        <dsp:cNvSpPr/>
      </dsp:nvSpPr>
      <dsp:spPr>
        <a:xfrm>
          <a:off x="1456823" y="1146141"/>
          <a:ext cx="1386626" cy="764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Risk Analysis</a:t>
          </a:r>
        </a:p>
      </dsp:txBody>
      <dsp:txXfrm>
        <a:off x="1456823" y="1146141"/>
        <a:ext cx="1386626" cy="764094"/>
      </dsp:txXfrm>
    </dsp:sp>
    <dsp:sp modelId="{D12AC453-6651-47DC-8AF3-DF9D929DA883}">
      <dsp:nvSpPr>
        <dsp:cNvPr id="0" name=""/>
        <dsp:cNvSpPr/>
      </dsp:nvSpPr>
      <dsp:spPr>
        <a:xfrm>
          <a:off x="2054624" y="859606"/>
          <a:ext cx="191023" cy="191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78A55A-9161-4562-9D41-370363637511}">
      <dsp:nvSpPr>
        <dsp:cNvPr id="0" name=""/>
        <dsp:cNvSpPr/>
      </dsp:nvSpPr>
      <dsp:spPr>
        <a:xfrm>
          <a:off x="2912781" y="0"/>
          <a:ext cx="1386626" cy="764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Reliability &amp; Asset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erformance</a:t>
          </a:r>
        </a:p>
      </dsp:txBody>
      <dsp:txXfrm>
        <a:off x="2912781" y="0"/>
        <a:ext cx="1386626" cy="764094"/>
      </dsp:txXfrm>
    </dsp:sp>
    <dsp:sp modelId="{E5A8912F-67A2-4EF4-B027-E06DC76F3C97}">
      <dsp:nvSpPr>
        <dsp:cNvPr id="0" name=""/>
        <dsp:cNvSpPr/>
      </dsp:nvSpPr>
      <dsp:spPr>
        <a:xfrm>
          <a:off x="3510583" y="859606"/>
          <a:ext cx="191023" cy="191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7A1FC4-9A04-4EF2-A7D1-BF3FD690950C}">
      <dsp:nvSpPr>
        <dsp:cNvPr id="0" name=""/>
        <dsp:cNvSpPr/>
      </dsp:nvSpPr>
      <dsp:spPr>
        <a:xfrm>
          <a:off x="4368739" y="1146141"/>
          <a:ext cx="1386626" cy="764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Business Assurance </a:t>
          </a:r>
        </a:p>
      </dsp:txBody>
      <dsp:txXfrm>
        <a:off x="4368739" y="1146141"/>
        <a:ext cx="1386626" cy="764094"/>
      </dsp:txXfrm>
    </dsp:sp>
    <dsp:sp modelId="{A7A4D96D-8072-4150-94FC-E6459AFF94EF}">
      <dsp:nvSpPr>
        <dsp:cNvPr id="0" name=""/>
        <dsp:cNvSpPr/>
      </dsp:nvSpPr>
      <dsp:spPr>
        <a:xfrm>
          <a:off x="4966541" y="859606"/>
          <a:ext cx="191023" cy="191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83C969-4689-4187-B692-0A1A57EF8C83}">
      <dsp:nvSpPr>
        <dsp:cNvPr id="0" name=""/>
        <dsp:cNvSpPr/>
      </dsp:nvSpPr>
      <dsp:spPr>
        <a:xfrm>
          <a:off x="5824697" y="0"/>
          <a:ext cx="1386626" cy="764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Process Safety Studies </a:t>
          </a:r>
        </a:p>
      </dsp:txBody>
      <dsp:txXfrm>
        <a:off x="5824697" y="0"/>
        <a:ext cx="1386626" cy="764094"/>
      </dsp:txXfrm>
    </dsp:sp>
    <dsp:sp modelId="{7C005B7F-2863-4FF1-8E91-81F22F3D6F6C}">
      <dsp:nvSpPr>
        <dsp:cNvPr id="0" name=""/>
        <dsp:cNvSpPr/>
      </dsp:nvSpPr>
      <dsp:spPr>
        <a:xfrm>
          <a:off x="6422499" y="859606"/>
          <a:ext cx="191023" cy="191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88A219-1362-451A-BF00-0A17FBF9BFFB}">
      <dsp:nvSpPr>
        <dsp:cNvPr id="0" name=""/>
        <dsp:cNvSpPr/>
      </dsp:nvSpPr>
      <dsp:spPr>
        <a:xfrm>
          <a:off x="7280656" y="1146141"/>
          <a:ext cx="1386626" cy="764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Environmental Impact Assessment</a:t>
          </a:r>
        </a:p>
      </dsp:txBody>
      <dsp:txXfrm>
        <a:off x="7280656" y="1146141"/>
        <a:ext cx="1386626" cy="764094"/>
      </dsp:txXfrm>
    </dsp:sp>
    <dsp:sp modelId="{2A8A6E13-124C-43CF-B6F1-D5C618C62768}">
      <dsp:nvSpPr>
        <dsp:cNvPr id="0" name=""/>
        <dsp:cNvSpPr/>
      </dsp:nvSpPr>
      <dsp:spPr>
        <a:xfrm>
          <a:off x="7878457" y="859606"/>
          <a:ext cx="191023" cy="191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7BBA26-B2C7-4C6D-B81F-F13EB42AE894}">
      <dsp:nvSpPr>
        <dsp:cNvPr id="0" name=""/>
        <dsp:cNvSpPr/>
      </dsp:nvSpPr>
      <dsp:spPr>
        <a:xfrm>
          <a:off x="8736614" y="0"/>
          <a:ext cx="1386626" cy="764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Consulting Training</a:t>
          </a:r>
        </a:p>
      </dsp:txBody>
      <dsp:txXfrm>
        <a:off x="8736614" y="0"/>
        <a:ext cx="1386626" cy="764094"/>
      </dsp:txXfrm>
    </dsp:sp>
    <dsp:sp modelId="{BA9CB559-163C-49A5-A11D-C392A62FFBFE}">
      <dsp:nvSpPr>
        <dsp:cNvPr id="0" name=""/>
        <dsp:cNvSpPr/>
      </dsp:nvSpPr>
      <dsp:spPr>
        <a:xfrm>
          <a:off x="9334415" y="859606"/>
          <a:ext cx="191023" cy="1910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622FFD-B397-46B6-B5C1-75EAFEFE0651}">
      <dsp:nvSpPr>
        <dsp:cNvPr id="0" name=""/>
        <dsp:cNvSpPr/>
      </dsp:nvSpPr>
      <dsp:spPr>
        <a:xfrm>
          <a:off x="1523224" y="887882"/>
          <a:ext cx="91440" cy="30913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9133"/>
              </a:lnTo>
            </a:path>
          </a:pathLst>
        </a:custGeom>
        <a:noFill/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560450" y="1040748"/>
        <a:ext cx="16986" cy="3400"/>
      </dsp:txXfrm>
    </dsp:sp>
    <dsp:sp modelId="{1F1E1388-11D4-4BCF-B0B2-C556B2017FC0}">
      <dsp:nvSpPr>
        <dsp:cNvPr id="0" name=""/>
        <dsp:cNvSpPr/>
      </dsp:nvSpPr>
      <dsp:spPr>
        <a:xfrm>
          <a:off x="830393" y="3421"/>
          <a:ext cx="1477101" cy="88626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Electrolyser</a:t>
          </a:r>
          <a:endParaRPr lang="en-IN" sz="1600" kern="1200" dirty="0"/>
        </a:p>
      </dsp:txBody>
      <dsp:txXfrm>
        <a:off x="830393" y="3421"/>
        <a:ext cx="1477101" cy="886261"/>
      </dsp:txXfrm>
    </dsp:sp>
    <dsp:sp modelId="{5D0FF93E-5DF1-4E2D-98FC-00FDA5B2C89A}">
      <dsp:nvSpPr>
        <dsp:cNvPr id="0" name=""/>
        <dsp:cNvSpPr/>
      </dsp:nvSpPr>
      <dsp:spPr>
        <a:xfrm>
          <a:off x="1523224" y="2113876"/>
          <a:ext cx="91440" cy="30913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9133"/>
              </a:lnTo>
            </a:path>
          </a:pathLst>
        </a:custGeom>
        <a:noFill/>
        <a:ln w="6350" cap="flat" cmpd="sng" algn="ctr">
          <a:solidFill>
            <a:schemeClr val="accent4">
              <a:hueOff val="-2120287"/>
              <a:satOff val="9309"/>
              <a:lumOff val="2157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560450" y="2266743"/>
        <a:ext cx="16986" cy="3400"/>
      </dsp:txXfrm>
    </dsp:sp>
    <dsp:sp modelId="{71BBA1CE-B8F6-47D0-B074-1E62C86D6123}">
      <dsp:nvSpPr>
        <dsp:cNvPr id="0" name=""/>
        <dsp:cNvSpPr/>
      </dsp:nvSpPr>
      <dsp:spPr>
        <a:xfrm>
          <a:off x="830393" y="1229415"/>
          <a:ext cx="1477101" cy="886261"/>
        </a:xfrm>
        <a:prstGeom prst="rect">
          <a:avLst/>
        </a:prstGeom>
        <a:solidFill>
          <a:schemeClr val="accent4">
            <a:hueOff val="-1590215"/>
            <a:satOff val="6981"/>
            <a:lumOff val="1618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Low Pressure Storage (350 Bar)</a:t>
          </a:r>
          <a:endParaRPr lang="en-IN" sz="1600" kern="1200" dirty="0"/>
        </a:p>
      </dsp:txBody>
      <dsp:txXfrm>
        <a:off x="830393" y="1229415"/>
        <a:ext cx="1477101" cy="886261"/>
      </dsp:txXfrm>
    </dsp:sp>
    <dsp:sp modelId="{5D58EB8E-D52D-4B5F-AAD6-2FB1B8E710F8}">
      <dsp:nvSpPr>
        <dsp:cNvPr id="0" name=""/>
        <dsp:cNvSpPr/>
      </dsp:nvSpPr>
      <dsp:spPr>
        <a:xfrm>
          <a:off x="1523224" y="3339871"/>
          <a:ext cx="91440" cy="30913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9133"/>
              </a:lnTo>
            </a:path>
          </a:pathLst>
        </a:custGeom>
        <a:noFill/>
        <a:ln w="6350" cap="flat" cmpd="sng" algn="ctr">
          <a:solidFill>
            <a:schemeClr val="accent4">
              <a:hueOff val="-4240574"/>
              <a:satOff val="18617"/>
              <a:lumOff val="4314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560450" y="3492737"/>
        <a:ext cx="16986" cy="3400"/>
      </dsp:txXfrm>
    </dsp:sp>
    <dsp:sp modelId="{6F5344D4-C159-4AE1-88C2-008E70B73658}">
      <dsp:nvSpPr>
        <dsp:cNvPr id="0" name=""/>
        <dsp:cNvSpPr/>
      </dsp:nvSpPr>
      <dsp:spPr>
        <a:xfrm>
          <a:off x="830393" y="2455410"/>
          <a:ext cx="1477101" cy="886261"/>
        </a:xfrm>
        <a:prstGeom prst="rect">
          <a:avLst/>
        </a:prstGeom>
        <a:solidFill>
          <a:schemeClr val="accent4">
            <a:hueOff val="-3180430"/>
            <a:satOff val="13963"/>
            <a:lumOff val="3235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Compressor unit</a:t>
          </a:r>
          <a:endParaRPr lang="en-IN" sz="1600" kern="1200" dirty="0"/>
        </a:p>
      </dsp:txBody>
      <dsp:txXfrm>
        <a:off x="830393" y="2455410"/>
        <a:ext cx="1477101" cy="886261"/>
      </dsp:txXfrm>
    </dsp:sp>
    <dsp:sp modelId="{7FAFA673-EA23-4E2B-BCF7-A3B37CC1CF12}">
      <dsp:nvSpPr>
        <dsp:cNvPr id="0" name=""/>
        <dsp:cNvSpPr/>
      </dsp:nvSpPr>
      <dsp:spPr>
        <a:xfrm>
          <a:off x="1523224" y="4565866"/>
          <a:ext cx="91440" cy="30913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9133"/>
              </a:lnTo>
            </a:path>
          </a:pathLst>
        </a:custGeom>
        <a:noFill/>
        <a:ln w="6350" cap="flat" cmpd="sng" algn="ctr">
          <a:solidFill>
            <a:schemeClr val="accent4">
              <a:hueOff val="-6360861"/>
              <a:satOff val="27926"/>
              <a:lumOff val="6471"/>
              <a:alphaOff val="0"/>
            </a:schemeClr>
          </a:solidFill>
          <a:prstDash val="solid"/>
          <a:miter lim="800000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500" kern="1200"/>
        </a:p>
      </dsp:txBody>
      <dsp:txXfrm>
        <a:off x="1560450" y="4718732"/>
        <a:ext cx="16986" cy="3400"/>
      </dsp:txXfrm>
    </dsp:sp>
    <dsp:sp modelId="{0B0BDD8B-9B4A-488F-8EED-BC129207A685}">
      <dsp:nvSpPr>
        <dsp:cNvPr id="0" name=""/>
        <dsp:cNvSpPr/>
      </dsp:nvSpPr>
      <dsp:spPr>
        <a:xfrm>
          <a:off x="830393" y="3681405"/>
          <a:ext cx="1477101" cy="886261"/>
        </a:xfrm>
        <a:prstGeom prst="rect">
          <a:avLst/>
        </a:prstGeom>
        <a:solidFill>
          <a:schemeClr val="accent4">
            <a:hueOff val="-4770645"/>
            <a:satOff val="20944"/>
            <a:lumOff val="4853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/>
            <a:t>High Pressure Buffer storage</a:t>
          </a:r>
          <a:endParaRPr lang="en-IN" sz="1600" kern="1200" dirty="0"/>
        </a:p>
      </dsp:txBody>
      <dsp:txXfrm>
        <a:off x="830393" y="3681405"/>
        <a:ext cx="1477101" cy="886261"/>
      </dsp:txXfrm>
    </dsp:sp>
    <dsp:sp modelId="{36580BD7-B12E-4EDE-BC10-8191FB50DC7D}">
      <dsp:nvSpPr>
        <dsp:cNvPr id="0" name=""/>
        <dsp:cNvSpPr/>
      </dsp:nvSpPr>
      <dsp:spPr>
        <a:xfrm>
          <a:off x="830393" y="4907399"/>
          <a:ext cx="1477101" cy="886261"/>
        </a:xfrm>
        <a:prstGeom prst="rect">
          <a:avLst/>
        </a:prstGeom>
        <a:solidFill>
          <a:schemeClr val="accent4">
            <a:hueOff val="-6360861"/>
            <a:satOff val="27926"/>
            <a:lumOff val="6471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kern="1200" dirty="0"/>
            <a:t>Dispensing Unit</a:t>
          </a:r>
        </a:p>
      </dsp:txBody>
      <dsp:txXfrm>
        <a:off x="830393" y="4907399"/>
        <a:ext cx="1477101" cy="8862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41C863-E6AB-4601-AFEC-810F2CCE6DA7}">
      <dsp:nvSpPr>
        <dsp:cNvPr id="0" name=""/>
        <dsp:cNvSpPr/>
      </dsp:nvSpPr>
      <dsp:spPr>
        <a:xfrm>
          <a:off x="2864115" y="3727853"/>
          <a:ext cx="73771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68856" y="45720"/>
              </a:lnTo>
              <a:lnTo>
                <a:pt x="368856" y="47192"/>
              </a:lnTo>
              <a:lnTo>
                <a:pt x="737712" y="4719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214528" y="3755130"/>
        <a:ext cx="36885" cy="36885"/>
      </dsp:txXfrm>
    </dsp:sp>
    <dsp:sp modelId="{4CDE25F4-8D6D-4D63-8E27-79689136B6E7}">
      <dsp:nvSpPr>
        <dsp:cNvPr id="0" name=""/>
        <dsp:cNvSpPr/>
      </dsp:nvSpPr>
      <dsp:spPr>
        <a:xfrm>
          <a:off x="914687" y="2578790"/>
          <a:ext cx="468992" cy="11947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4496" y="0"/>
              </a:lnTo>
              <a:lnTo>
                <a:pt x="234496" y="1194783"/>
              </a:lnTo>
              <a:lnTo>
                <a:pt x="468992" y="11947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117094" y="3144093"/>
        <a:ext cx="64176" cy="64176"/>
      </dsp:txXfrm>
    </dsp:sp>
    <dsp:sp modelId="{219922D6-5F14-4F87-9500-69E2801DD641}">
      <dsp:nvSpPr>
        <dsp:cNvPr id="0" name=""/>
        <dsp:cNvSpPr/>
      </dsp:nvSpPr>
      <dsp:spPr>
        <a:xfrm>
          <a:off x="2880796" y="919539"/>
          <a:ext cx="81508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07543" y="45720"/>
              </a:lnTo>
              <a:lnTo>
                <a:pt x="407543" y="48802"/>
              </a:lnTo>
              <a:lnTo>
                <a:pt x="815087" y="4880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267962" y="944882"/>
        <a:ext cx="40754" cy="40754"/>
      </dsp:txXfrm>
    </dsp:sp>
    <dsp:sp modelId="{420A87E6-89C3-4DD2-A4C1-322F6B83BC23}">
      <dsp:nvSpPr>
        <dsp:cNvPr id="0" name=""/>
        <dsp:cNvSpPr/>
      </dsp:nvSpPr>
      <dsp:spPr>
        <a:xfrm>
          <a:off x="914687" y="965259"/>
          <a:ext cx="453451" cy="1613530"/>
        </a:xfrm>
        <a:custGeom>
          <a:avLst/>
          <a:gdLst/>
          <a:ahLst/>
          <a:cxnLst/>
          <a:rect l="0" t="0" r="0" b="0"/>
          <a:pathLst>
            <a:path>
              <a:moveTo>
                <a:pt x="0" y="1613530"/>
              </a:moveTo>
              <a:lnTo>
                <a:pt x="226725" y="1613530"/>
              </a:lnTo>
              <a:lnTo>
                <a:pt x="226725" y="0"/>
              </a:lnTo>
              <a:lnTo>
                <a:pt x="45345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099511" y="1730124"/>
        <a:ext cx="83801" cy="83801"/>
      </dsp:txXfrm>
    </dsp:sp>
    <dsp:sp modelId="{F3669509-B8CC-4506-8772-4C4DDE0CD546}">
      <dsp:nvSpPr>
        <dsp:cNvPr id="0" name=""/>
        <dsp:cNvSpPr/>
      </dsp:nvSpPr>
      <dsp:spPr>
        <a:xfrm rot="16200000">
          <a:off x="-1949727" y="2121447"/>
          <a:ext cx="4814142" cy="91468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 dirty="0"/>
            <a:t>Safety Studies</a:t>
          </a:r>
        </a:p>
      </dsp:txBody>
      <dsp:txXfrm>
        <a:off x="-1949727" y="2121447"/>
        <a:ext cx="4814142" cy="914687"/>
      </dsp:txXfrm>
    </dsp:sp>
    <dsp:sp modelId="{C62A0C03-00B5-40BA-8EF2-CDD6DA4E9AA2}">
      <dsp:nvSpPr>
        <dsp:cNvPr id="0" name=""/>
        <dsp:cNvSpPr/>
      </dsp:nvSpPr>
      <dsp:spPr>
        <a:xfrm flipH="1">
          <a:off x="1368138" y="507916"/>
          <a:ext cx="1512657" cy="91468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Qualitative</a:t>
          </a:r>
        </a:p>
      </dsp:txBody>
      <dsp:txXfrm>
        <a:off x="1368138" y="507916"/>
        <a:ext cx="1512657" cy="914687"/>
      </dsp:txXfrm>
    </dsp:sp>
    <dsp:sp modelId="{9EE0D19B-7FFA-4562-BACD-96069904DD78}">
      <dsp:nvSpPr>
        <dsp:cNvPr id="0" name=""/>
        <dsp:cNvSpPr/>
      </dsp:nvSpPr>
      <dsp:spPr>
        <a:xfrm>
          <a:off x="3695883" y="0"/>
          <a:ext cx="3000173" cy="1936685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HAZID (Hazard Identification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HAZOP</a:t>
          </a:r>
          <a:r>
            <a:rPr lang="en-US" sz="1400" kern="1200" dirty="0"/>
            <a:t> (Hazard &amp; Operability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L Classification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ow Tie Study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FMEA (Failure Mode Effect Analysis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AFOP (Systems Safe Operability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L Classification</a:t>
          </a:r>
        </a:p>
      </dsp:txBody>
      <dsp:txXfrm>
        <a:off x="3695883" y="0"/>
        <a:ext cx="3000173" cy="1936685"/>
      </dsp:txXfrm>
    </dsp:sp>
    <dsp:sp modelId="{46DEFA1E-42B4-49CF-AC8A-F06CB8904771}">
      <dsp:nvSpPr>
        <dsp:cNvPr id="0" name=""/>
        <dsp:cNvSpPr/>
      </dsp:nvSpPr>
      <dsp:spPr>
        <a:xfrm>
          <a:off x="1383679" y="3316230"/>
          <a:ext cx="1480435" cy="91468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Quantitative</a:t>
          </a:r>
        </a:p>
      </dsp:txBody>
      <dsp:txXfrm>
        <a:off x="1383679" y="3316230"/>
        <a:ext cx="1480435" cy="914687"/>
      </dsp:txXfrm>
    </dsp:sp>
    <dsp:sp modelId="{14E39DB5-F4CC-475A-85F5-32AB5711957F}">
      <dsp:nvSpPr>
        <dsp:cNvPr id="0" name=""/>
        <dsp:cNvSpPr/>
      </dsp:nvSpPr>
      <dsp:spPr>
        <a:xfrm>
          <a:off x="3601827" y="2635103"/>
          <a:ext cx="3808360" cy="2279885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275" tIns="41275" rIns="41275" bIns="41275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nsequence Analysis (Fire, Explosion &amp; Toxic Hazards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Quantitative Risk Assessment (QRA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scape </a:t>
          </a:r>
          <a:r>
            <a:rPr lang="en-US" sz="14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Evacuation</a:t>
          </a:r>
          <a:r>
            <a:rPr lang="en-US" sz="1400" kern="1200" dirty="0"/>
            <a:t> and Rescue Analysis (EERA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mergency System Survivability Analysis (ESSA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Flare / Vent </a:t>
          </a:r>
          <a:r>
            <a:rPr lang="en-US" sz="1400" kern="1200" dirty="0">
              <a:solidFill>
                <a:srgbClr val="FFFFFF"/>
              </a:solidFill>
              <a:latin typeface="Source Sans Pro"/>
              <a:ea typeface="+mn-ea"/>
              <a:cs typeface="+mn-cs"/>
            </a:rPr>
            <a:t>Dispersion</a:t>
          </a:r>
          <a:r>
            <a:rPr lang="en-US" sz="1400" kern="1200" dirty="0"/>
            <a:t> / Radiation study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L Verification study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Reliability, Availability, and Maintainability (RAM)</a:t>
          </a:r>
        </a:p>
      </dsp:txBody>
      <dsp:txXfrm>
        <a:off x="3601827" y="2635103"/>
        <a:ext cx="3808360" cy="22798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9AC7AF4-7FA9-4434-A1FD-4883CED7F80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B7B8E7-3A87-4577-8F61-1A197BC66FF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4DD8280-E5AE-4C38-978D-19ABFB4900DA}" type="datetimeFigureOut">
              <a:rPr lang="en-GB"/>
              <a:pPr>
                <a:defRPr/>
              </a:pPr>
              <a:t>25/08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3932EC-98CC-414F-9E6C-579014F55E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B3CA35-43DE-413F-9790-06683BA1933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1D04DCF-41C7-44FC-B755-4D6D04070D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488E190-6840-47FC-A93F-EB3DA3B63DF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3515FC-3A55-4A11-9469-4F1F1822FA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524D489-BD87-4F7B-8AC5-A6B3874FB7C5}" type="datetimeFigureOut">
              <a:rPr lang="en-GB"/>
              <a:pPr>
                <a:defRPr/>
              </a:pPr>
              <a:t>25/08/2022</a:t>
            </a:fld>
            <a:endParaRPr lang="en-GB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FDF5A34-CD86-43F8-BA7A-F288A0394EF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17115FB-A6EC-471F-855D-A4DD9DA4FC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09CFBB-C44E-4F8F-85B4-948EC0E590A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B12A56-814F-43CC-B0A0-34F467C821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9983985-83C3-463D-B508-46C7099E260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S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7D96DA-53AF-41F1-8334-6CAEDADDB9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91210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983985-83C3-463D-B508-46C7099E2605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80643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Nil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D96DA-53AF-41F1-8334-6CAEDADDB9B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6178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9C1D27-52A8-476E-9901-128077AD9B3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0948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And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D96DA-53AF-41F1-8334-6CAEDADDB9B7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0452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il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7D96DA-53AF-41F1-8334-6CAEDADDB9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6612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il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7D96DA-53AF-41F1-8334-6CAEDADDB9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5377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d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983985-83C3-463D-B508-46C7099E2605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8052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D96DA-53AF-41F1-8334-6CAEDADDB9B7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584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SL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we operate in 120 countr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delivered by global player with extensive rea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>
                <a:latin typeface="+mn-lt"/>
              </a:rPr>
              <a:t>can support our clients in almost every country </a:t>
            </a: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D96DA-53AF-41F1-8334-6CAEDADDB9B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7793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L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D96DA-53AF-41F1-8334-6CAEDADDB9B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6739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d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983985-83C3-463D-B508-46C7099E2605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886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983985-83C3-463D-B508-46C7099E2605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0251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il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983985-83C3-463D-B508-46C7099E2605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2183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983985-83C3-463D-B508-46C7099E2605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89735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And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D96DA-53AF-41F1-8334-6CAEDADDB9B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93944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d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983985-83C3-463D-B508-46C7099E2605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207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outdoor, nature, rock, cave&#10;&#10;Description automatically generated">
            <a:extLst>
              <a:ext uri="{FF2B5EF4-FFF2-40B4-BE49-F238E27FC236}">
                <a16:creationId xmlns:a16="http://schemas.microsoft.com/office/drawing/2014/main" id="{C7685800-F19D-441A-B846-84C501A8B8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" t="21748" r="12320" b="4291"/>
          <a:stretch>
            <a:fillRect/>
          </a:stretch>
        </p:blipFill>
        <p:spPr bwMode="auto">
          <a:xfrm>
            <a:off x="-47625" y="-26988"/>
            <a:ext cx="122301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phic 7">
            <a:extLst>
              <a:ext uri="{FF2B5EF4-FFF2-40B4-BE49-F238E27FC236}">
                <a16:creationId xmlns:a16="http://schemas.microsoft.com/office/drawing/2014/main" id="{2B436896-AF40-417C-942D-05FCA6FCD4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2"/>
          <a:stretch>
            <a:fillRect/>
          </a:stretch>
        </p:blipFill>
        <p:spPr bwMode="auto">
          <a:xfrm>
            <a:off x="-47625" y="-117475"/>
            <a:ext cx="7496175" cy="713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Text, logo&#10;&#10;Description automatically generated">
            <a:extLst>
              <a:ext uri="{FF2B5EF4-FFF2-40B4-BE49-F238E27FC236}">
                <a16:creationId xmlns:a16="http://schemas.microsoft.com/office/drawing/2014/main" id="{30E9CF7A-EFBD-407E-975F-285ADCB15B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027113"/>
            <a:ext cx="1006475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phic 9">
            <a:extLst>
              <a:ext uri="{FF2B5EF4-FFF2-40B4-BE49-F238E27FC236}">
                <a16:creationId xmlns:a16="http://schemas.microsoft.com/office/drawing/2014/main" id="{473B3B7F-B8AD-4063-A507-EA3F192381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865"/>
          <a:stretch>
            <a:fillRect/>
          </a:stretch>
        </p:blipFill>
        <p:spPr bwMode="auto">
          <a:xfrm>
            <a:off x="10728325" y="733425"/>
            <a:ext cx="1463675" cy="545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725" y="5415844"/>
            <a:ext cx="4151313" cy="799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6725" y="5095415"/>
            <a:ext cx="4150359" cy="320429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026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gradFill rotWithShape="1">
          <a:gsLst>
            <a:gs pos="0">
              <a:srgbClr val="4B4C5D"/>
            </a:gs>
            <a:gs pos="50000">
              <a:srgbClr val="272941"/>
            </a:gs>
            <a:gs pos="100000">
              <a:srgbClr val="070A2A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6">
            <a:extLst>
              <a:ext uri="{FF2B5EF4-FFF2-40B4-BE49-F238E27FC236}">
                <a16:creationId xmlns:a16="http://schemas.microsoft.com/office/drawing/2014/main" id="{1775DBAB-9976-4EC1-B565-2C0780EA1C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38"/>
          <a:stretch>
            <a:fillRect/>
          </a:stretch>
        </p:blipFill>
        <p:spPr bwMode="auto">
          <a:xfrm>
            <a:off x="0" y="-663575"/>
            <a:ext cx="7620000" cy="824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phic 7">
            <a:extLst>
              <a:ext uri="{FF2B5EF4-FFF2-40B4-BE49-F238E27FC236}">
                <a16:creationId xmlns:a16="http://schemas.microsoft.com/office/drawing/2014/main" id="{A8CCBA0B-4559-4510-9114-C1C7D150AE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865"/>
          <a:stretch>
            <a:fillRect/>
          </a:stretch>
        </p:blipFill>
        <p:spPr bwMode="auto">
          <a:xfrm>
            <a:off x="10728325" y="1414463"/>
            <a:ext cx="1463675" cy="545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7359" y="1815534"/>
            <a:ext cx="4150359" cy="306871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019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8C1789E-85F1-457D-934A-E919F58A1815}"/>
              </a:ext>
            </a:extLst>
          </p:cNvPr>
          <p:cNvSpPr/>
          <p:nvPr userDrawn="1"/>
        </p:nvSpPr>
        <p:spPr>
          <a:xfrm>
            <a:off x="0" y="6234113"/>
            <a:ext cx="12190413" cy="623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B2A2D7ED-E24F-42A1-B71C-216FBACE1673}"/>
              </a:ext>
            </a:extLst>
          </p:cNvPr>
          <p:cNvSpPr/>
          <p:nvPr userDrawn="1"/>
        </p:nvSpPr>
        <p:spPr>
          <a:xfrm>
            <a:off x="11839575" y="6226175"/>
            <a:ext cx="360363" cy="63182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FF30D472-9CAF-4583-B91C-3B75ACBF6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194425"/>
            <a:ext cx="8080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48DBBB2-F886-4B32-AF9B-42FA25DEF860}"/>
              </a:ext>
            </a:extLst>
          </p:cNvPr>
          <p:cNvSpPr/>
          <p:nvPr userDrawn="1"/>
        </p:nvSpPr>
        <p:spPr>
          <a:xfrm>
            <a:off x="7380288" y="-25400"/>
            <a:ext cx="4811712" cy="6219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1" name="Picture 10" descr="A picture containing building, wooden, metal, stone&#10;&#10;Description automatically generated">
            <a:extLst>
              <a:ext uri="{FF2B5EF4-FFF2-40B4-BE49-F238E27FC236}">
                <a16:creationId xmlns:a16="http://schemas.microsoft.com/office/drawing/2014/main" id="{4FF1446B-3165-4239-84F8-EE3B585A46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-14288"/>
            <a:ext cx="4811713" cy="6248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C146DB2-8D17-4712-829D-16BF293EB9C6}"/>
              </a:ext>
            </a:extLst>
          </p:cNvPr>
          <p:cNvSpPr txBox="1">
            <a:spLocks/>
          </p:cNvSpPr>
          <p:nvPr userDrawn="1"/>
        </p:nvSpPr>
        <p:spPr>
          <a:xfrm>
            <a:off x="9326563" y="6415088"/>
            <a:ext cx="2398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bg1"/>
                </a:solidFill>
                <a:latin typeface="Lato Black" panose="020F0A0202020403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/>
              <a:t>Title of presentation here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6211734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7359" y="1170045"/>
            <a:ext cx="6211735" cy="3551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n-lt"/>
                <a:ea typeface="Source Sans Pro Black" panose="020B08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406" y="1944166"/>
            <a:ext cx="6212689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66406" y="3110400"/>
            <a:ext cx="6212689" cy="1013264"/>
          </a:xfrm>
          <a:prstGeom prst="rect">
            <a:avLst/>
          </a:prstGeom>
        </p:spPr>
        <p:txBody>
          <a:bodyPr numCol="2" spcCol="180000">
            <a:noAutofit/>
          </a:bodyPr>
          <a:lstStyle>
            <a:lvl1pPr>
              <a:defRPr lang="en-GB" sz="1100" dirty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406" y="4226616"/>
            <a:ext cx="6211733" cy="1411134"/>
          </a:xfrm>
          <a:prstGeom prst="rect">
            <a:avLst/>
          </a:prstGeom>
        </p:spPr>
        <p:txBody>
          <a:bodyPr numCol="2" spcCol="180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722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D3EE5BA-7820-476C-8590-E230238C318C}"/>
              </a:ext>
            </a:extLst>
          </p:cNvPr>
          <p:cNvSpPr/>
          <p:nvPr userDrawn="1"/>
        </p:nvSpPr>
        <p:spPr>
          <a:xfrm>
            <a:off x="7380288" y="0"/>
            <a:ext cx="4811712" cy="6219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49F4AD-6F2D-47FC-9866-F91CA4AE85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77" r="24377"/>
          <a:stretch>
            <a:fillRect/>
          </a:stretch>
        </p:blipFill>
        <p:spPr bwMode="auto">
          <a:xfrm>
            <a:off x="7378700" y="-14288"/>
            <a:ext cx="4811713" cy="6248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FA5A9A0-3011-48FA-B152-13A201E3F356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AB92D9DD-C763-4472-804F-A141AEFA22CB}"/>
              </a:ext>
            </a:extLst>
          </p:cNvPr>
          <p:cNvSpPr/>
          <p:nvPr userDrawn="1"/>
        </p:nvSpPr>
        <p:spPr>
          <a:xfrm>
            <a:off x="11839575" y="6226175"/>
            <a:ext cx="360363" cy="63182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8DF33491-A3EF-472A-804D-3667FC5171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194425"/>
            <a:ext cx="8080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6210779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60" y="1170045"/>
            <a:ext cx="6210778" cy="3551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n-lt"/>
                <a:ea typeface="Source Sans Pro Black" panose="020B08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406" y="1944000"/>
            <a:ext cx="6212689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406" y="3110400"/>
            <a:ext cx="6211733" cy="1411134"/>
          </a:xfrm>
          <a:prstGeom prst="rect">
            <a:avLst/>
          </a:prstGeom>
        </p:spPr>
        <p:txBody>
          <a:bodyPr numCol="2" spcCol="180000">
            <a:no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466406" y="4669843"/>
            <a:ext cx="6212689" cy="1013264"/>
          </a:xfrm>
          <a:prstGeom prst="rect">
            <a:avLst/>
          </a:prstGeom>
        </p:spPr>
        <p:txBody>
          <a:bodyPr numCol="2"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7CB449A-1B39-4C4B-ABAC-DCC8D16D89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355013" y="6415088"/>
            <a:ext cx="3370262" cy="365125"/>
          </a:xfrm>
        </p:spPr>
        <p:txBody>
          <a:bodyPr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>
              <a:defRPr/>
            </a:pPr>
            <a:r>
              <a:rPr lang="en-GB"/>
              <a:t>Title of presentation here </a:t>
            </a:r>
          </a:p>
        </p:txBody>
      </p:sp>
    </p:spTree>
    <p:extLst>
      <p:ext uri="{BB962C8B-B14F-4D97-AF65-F5344CB8AC3E}">
        <p14:creationId xmlns:p14="http://schemas.microsoft.com/office/powerpoint/2010/main" val="1624711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062D908-9FC8-4423-8071-A260A397B2B7}"/>
              </a:ext>
            </a:extLst>
          </p:cNvPr>
          <p:cNvSpPr/>
          <p:nvPr userDrawn="1"/>
        </p:nvSpPr>
        <p:spPr>
          <a:xfrm>
            <a:off x="7380288" y="0"/>
            <a:ext cx="4811712" cy="6219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5E0DA8-3DD3-4E0C-979C-071502B5CD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93" r="24393"/>
          <a:stretch>
            <a:fillRect/>
          </a:stretch>
        </p:blipFill>
        <p:spPr bwMode="auto">
          <a:xfrm>
            <a:off x="7378700" y="-14288"/>
            <a:ext cx="4811713" cy="6248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6C2504F-EE21-42DB-9C87-A78CC7417DA6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24FBB5F4-5963-41F1-BB0E-F46F6AF30E61}"/>
              </a:ext>
            </a:extLst>
          </p:cNvPr>
          <p:cNvSpPr/>
          <p:nvPr userDrawn="1"/>
        </p:nvSpPr>
        <p:spPr>
          <a:xfrm>
            <a:off x="11839575" y="6226175"/>
            <a:ext cx="360363" cy="63182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3B5D3A3-122B-48DF-A4B3-33F8B4503E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194425"/>
            <a:ext cx="8080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6210779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59" y="1170045"/>
            <a:ext cx="6210779" cy="3551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n-lt"/>
                <a:ea typeface="Source Sans Pro Black" panose="020B08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406" y="1944166"/>
            <a:ext cx="6212689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406" y="3109911"/>
            <a:ext cx="6211733" cy="1411134"/>
          </a:xfrm>
          <a:prstGeom prst="rect">
            <a:avLst/>
          </a:prstGeom>
        </p:spPr>
        <p:txBody>
          <a:bodyPr numCol="2" spcCol="180000">
            <a:noAutofit/>
          </a:bodyPr>
          <a:lstStyle>
            <a:lvl1pPr marL="285750" indent="-285750">
              <a:spcBef>
                <a:spcPts val="0"/>
              </a:spcBef>
              <a:spcAft>
                <a:spcPts val="9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466406" y="4669843"/>
            <a:ext cx="6212689" cy="1013264"/>
          </a:xfrm>
          <a:prstGeom prst="rect">
            <a:avLst/>
          </a:prstGeom>
        </p:spPr>
        <p:txBody>
          <a:bodyPr numCol="2"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9773443-9755-488A-A09E-BCEDEF470D8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8355013" y="6415088"/>
            <a:ext cx="3370262" cy="365125"/>
          </a:xfrm>
        </p:spPr>
        <p:txBody>
          <a:bodyPr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>
              <a:defRPr/>
            </a:pPr>
            <a:r>
              <a:rPr lang="en-GB"/>
              <a:t>Title of presentation here </a:t>
            </a:r>
          </a:p>
        </p:txBody>
      </p:sp>
    </p:spTree>
    <p:extLst>
      <p:ext uri="{BB962C8B-B14F-4D97-AF65-F5344CB8AC3E}">
        <p14:creationId xmlns:p14="http://schemas.microsoft.com/office/powerpoint/2010/main" val="2787760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EF5C98B-FE50-421C-91AE-4061334EFFF5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5" name="Rectangle 10">
            <a:extLst>
              <a:ext uri="{FF2B5EF4-FFF2-40B4-BE49-F238E27FC236}">
                <a16:creationId xmlns:a16="http://schemas.microsoft.com/office/drawing/2014/main" id="{E5EDBE15-AAD6-4DD3-B6CF-AAB3FE33BC00}"/>
              </a:ext>
            </a:extLst>
          </p:cNvPr>
          <p:cNvSpPr/>
          <p:nvPr userDrawn="1"/>
        </p:nvSpPr>
        <p:spPr>
          <a:xfrm>
            <a:off x="11839575" y="6226175"/>
            <a:ext cx="360363" cy="63182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6" name="Picture 8" descr="Logo&#10;&#10;Description automatically generated">
            <a:extLst>
              <a:ext uri="{FF2B5EF4-FFF2-40B4-BE49-F238E27FC236}">
                <a16:creationId xmlns:a16="http://schemas.microsoft.com/office/drawing/2014/main" id="{307751AF-54D1-48B8-ADEF-5675BFDC4B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194425"/>
            <a:ext cx="8080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10188199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60" y="1170045"/>
            <a:ext cx="10188198" cy="3551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n-lt"/>
                <a:ea typeface="Source Sans Pro Black" panose="020B08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407" y="1944000"/>
            <a:ext cx="4931556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466406" y="4669843"/>
            <a:ext cx="4923741" cy="1013264"/>
          </a:xfrm>
          <a:prstGeom prst="rect">
            <a:avLst/>
          </a:prstGeom>
        </p:spPr>
        <p:txBody>
          <a:bodyPr numCol="2"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58591" y="3105573"/>
            <a:ext cx="4931556" cy="1411134"/>
          </a:xfrm>
          <a:prstGeom prst="rect">
            <a:avLst/>
          </a:prstGeom>
        </p:spPr>
        <p:txBody>
          <a:bodyPr numCol="1" spcCol="180000">
            <a:no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5731818" y="3105573"/>
            <a:ext cx="4931556" cy="1411134"/>
          </a:xfrm>
          <a:prstGeom prst="rect">
            <a:avLst/>
          </a:prstGeom>
        </p:spPr>
        <p:txBody>
          <a:bodyPr numCol="1" spcCol="180000">
            <a:no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5724002" y="1948954"/>
            <a:ext cx="4931556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5739633" y="4678571"/>
            <a:ext cx="4923741" cy="1013264"/>
          </a:xfrm>
          <a:prstGeom prst="rect">
            <a:avLst/>
          </a:prstGeom>
        </p:spPr>
        <p:txBody>
          <a:bodyPr numCol="2"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F40D324E-D8D7-4536-94D8-D4A404E2C5E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8355013" y="6415088"/>
            <a:ext cx="3370262" cy="365125"/>
          </a:xfrm>
        </p:spPr>
        <p:txBody>
          <a:bodyPr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>
              <a:defRPr/>
            </a:pPr>
            <a:r>
              <a:rPr lang="en-GB"/>
              <a:t>Title of presentation here </a:t>
            </a:r>
          </a:p>
        </p:txBody>
      </p:sp>
    </p:spTree>
    <p:extLst>
      <p:ext uri="{BB962C8B-B14F-4D97-AF65-F5344CB8AC3E}">
        <p14:creationId xmlns:p14="http://schemas.microsoft.com/office/powerpoint/2010/main" val="4024151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6">
            <a:extLst>
              <a:ext uri="{FF2B5EF4-FFF2-40B4-BE49-F238E27FC236}">
                <a16:creationId xmlns:a16="http://schemas.microsoft.com/office/drawing/2014/main" id="{8E132A77-591F-48F7-BE33-1D93154949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688" y="1335088"/>
            <a:ext cx="690562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1F1E1C9-5C72-43F6-94A5-C76D2AAFAFDC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391674-BBF4-4626-8630-6A233241ACBD}"/>
              </a:ext>
            </a:extLst>
          </p:cNvPr>
          <p:cNvSpPr/>
          <p:nvPr userDrawn="1"/>
        </p:nvSpPr>
        <p:spPr>
          <a:xfrm>
            <a:off x="11839575" y="6226175"/>
            <a:ext cx="360363" cy="63182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2" name="Picture 9" descr="Logo&#10;&#10;Description automatically generated">
            <a:extLst>
              <a:ext uri="{FF2B5EF4-FFF2-40B4-BE49-F238E27FC236}">
                <a16:creationId xmlns:a16="http://schemas.microsoft.com/office/drawing/2014/main" id="{7FB345D5-E429-4E41-BEA2-7625AA36F7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194425"/>
            <a:ext cx="8080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6210779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>
          <a:xfrm>
            <a:off x="467360" y="1170045"/>
            <a:ext cx="6210778" cy="3551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406" y="1944166"/>
            <a:ext cx="6212689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6406" y="3109911"/>
            <a:ext cx="6211733" cy="1411134"/>
          </a:xfrm>
          <a:prstGeom prst="rect">
            <a:avLst/>
          </a:prstGeom>
        </p:spPr>
        <p:txBody>
          <a:bodyPr numCol="2" spcCol="180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466406" y="4669843"/>
            <a:ext cx="6212689" cy="1013264"/>
          </a:xfrm>
          <a:prstGeom prst="rect">
            <a:avLst/>
          </a:prstGeom>
        </p:spPr>
        <p:txBody>
          <a:bodyPr numCol="2" spcCol="180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7680960" y="1970013"/>
            <a:ext cx="3926124" cy="228472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2800">
                <a:solidFill>
                  <a:schemeClr val="tx2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7739963" y="4351437"/>
            <a:ext cx="3926124" cy="244007"/>
          </a:xfrm>
          <a:prstGeom prst="rect">
            <a:avLst/>
          </a:prstGeom>
        </p:spPr>
        <p:txBody>
          <a:bodyPr numCol="2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3DB5223-E87E-48FF-B362-59DF6ACB96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8355013" y="6415088"/>
            <a:ext cx="3370262" cy="365125"/>
          </a:xfrm>
        </p:spPr>
        <p:txBody>
          <a:bodyPr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>
              <a:defRPr/>
            </a:pPr>
            <a:r>
              <a:rPr lang="en-GB"/>
              <a:t>Title of presentation here</a:t>
            </a:r>
          </a:p>
        </p:txBody>
      </p:sp>
    </p:spTree>
    <p:extLst>
      <p:ext uri="{BB962C8B-B14F-4D97-AF65-F5344CB8AC3E}">
        <p14:creationId xmlns:p14="http://schemas.microsoft.com/office/powerpoint/2010/main" val="3886172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Graphs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B0D830-930E-48DD-9AD1-25A90EF1C01C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5608B76E-3022-4836-98CA-AFF5383041CD}"/>
              </a:ext>
            </a:extLst>
          </p:cNvPr>
          <p:cNvSpPr/>
          <p:nvPr userDrawn="1"/>
        </p:nvSpPr>
        <p:spPr>
          <a:xfrm>
            <a:off x="11839575" y="6226175"/>
            <a:ext cx="360363" cy="63182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8" name="Picture 8" descr="Logo&#10;&#10;Description automatically generated">
            <a:extLst>
              <a:ext uri="{FF2B5EF4-FFF2-40B4-BE49-F238E27FC236}">
                <a16:creationId xmlns:a16="http://schemas.microsoft.com/office/drawing/2014/main" id="{86F3694B-1E8F-4218-977A-0B77C4AEAE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194425"/>
            <a:ext cx="8080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11257280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157163" y="2378716"/>
            <a:ext cx="1647579" cy="4016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57163" y="2818837"/>
            <a:ext cx="1654813" cy="597235"/>
          </a:xfrm>
          <a:prstGeom prst="rect">
            <a:avLst/>
          </a:prstGeom>
        </p:spPr>
        <p:txBody>
          <a:bodyPr numCol="2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7659394" y="2378716"/>
            <a:ext cx="1654813" cy="597235"/>
          </a:xfrm>
          <a:prstGeom prst="rect">
            <a:avLst/>
          </a:prstGeom>
        </p:spPr>
        <p:txBody>
          <a:bodyPr numCol="2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7359" y="2579552"/>
            <a:ext cx="2603763" cy="2528476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16" name="Chart Placeholder 3"/>
          <p:cNvSpPr>
            <a:spLocks noGrp="1"/>
          </p:cNvSpPr>
          <p:nvPr>
            <p:ph type="chart" sz="quarter" idx="16"/>
          </p:nvPr>
        </p:nvSpPr>
        <p:spPr>
          <a:xfrm>
            <a:off x="4928287" y="2581200"/>
            <a:ext cx="2603763" cy="2528476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7"/>
          </p:nvPr>
        </p:nvSpPr>
        <p:spPr>
          <a:xfrm>
            <a:off x="9120880" y="2581200"/>
            <a:ext cx="2603763" cy="2528476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6E1EE34-2F5B-4B17-B91D-5A37F0A992E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8355013" y="6415088"/>
            <a:ext cx="3370262" cy="365125"/>
          </a:xfrm>
        </p:spPr>
        <p:txBody>
          <a:bodyPr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>
              <a:defRPr/>
            </a:pPr>
            <a:r>
              <a:rPr lang="en-GB"/>
              <a:t>Title of presentation here</a:t>
            </a:r>
          </a:p>
        </p:txBody>
      </p:sp>
    </p:spTree>
    <p:extLst>
      <p:ext uri="{BB962C8B-B14F-4D97-AF65-F5344CB8AC3E}">
        <p14:creationId xmlns:p14="http://schemas.microsoft.com/office/powerpoint/2010/main" val="256663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EBE03CC-0A8A-4026-A2E4-672DA3FF6304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62D9B502-8C3F-4DFF-B8C1-79AC4013D557}"/>
              </a:ext>
            </a:extLst>
          </p:cNvPr>
          <p:cNvSpPr/>
          <p:nvPr userDrawn="1"/>
        </p:nvSpPr>
        <p:spPr>
          <a:xfrm>
            <a:off x="11839575" y="6226175"/>
            <a:ext cx="360363" cy="63182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7" name="Picture 8" descr="Logo&#10;&#10;Description automatically generated">
            <a:extLst>
              <a:ext uri="{FF2B5EF4-FFF2-40B4-BE49-F238E27FC236}">
                <a16:creationId xmlns:a16="http://schemas.microsoft.com/office/drawing/2014/main" id="{EDA1A20D-0FC0-466A-B8B8-BE0E478CFB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194425"/>
            <a:ext cx="808037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11199178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4"/>
          </p:nvPr>
        </p:nvSpPr>
        <p:spPr>
          <a:xfrm>
            <a:off x="467361" y="1709738"/>
            <a:ext cx="11199178" cy="3978275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9EE6B58-39A2-4C90-A7C8-EE273700B0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355013" y="6415088"/>
            <a:ext cx="3370262" cy="365125"/>
          </a:xfrm>
        </p:spPr>
        <p:txBody>
          <a:bodyPr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>
              <a:defRPr/>
            </a:pPr>
            <a:r>
              <a:rPr lang="en-GB"/>
              <a:t>Title of presentation here</a:t>
            </a:r>
          </a:p>
        </p:txBody>
      </p:sp>
    </p:spTree>
    <p:extLst>
      <p:ext uri="{BB962C8B-B14F-4D97-AF65-F5344CB8AC3E}">
        <p14:creationId xmlns:p14="http://schemas.microsoft.com/office/powerpoint/2010/main" val="1578798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>
            <a:extLst>
              <a:ext uri="{FF2B5EF4-FFF2-40B4-BE49-F238E27FC236}">
                <a16:creationId xmlns:a16="http://schemas.microsoft.com/office/drawing/2014/main" id="{706254F8-F307-4441-9C07-2D0986C17DFA}"/>
              </a:ext>
            </a:extLst>
          </p:cNvPr>
          <p:cNvSpPr/>
          <p:nvPr userDrawn="1"/>
        </p:nvSpPr>
        <p:spPr>
          <a:xfrm>
            <a:off x="-101600" y="492125"/>
            <a:ext cx="6877050" cy="5843588"/>
          </a:xfrm>
          <a:custGeom>
            <a:avLst/>
            <a:gdLst>
              <a:gd name="connsiteX0" fmla="*/ 0 w 4536527"/>
              <a:gd name="connsiteY0" fmla="*/ 0 h 5082803"/>
              <a:gd name="connsiteX1" fmla="*/ 4536527 w 4536527"/>
              <a:gd name="connsiteY1" fmla="*/ 0 h 5082803"/>
              <a:gd name="connsiteX2" fmla="*/ 4536527 w 4536527"/>
              <a:gd name="connsiteY2" fmla="*/ 5082803 h 5082803"/>
              <a:gd name="connsiteX3" fmla="*/ 0 w 4536527"/>
              <a:gd name="connsiteY3" fmla="*/ 5082803 h 5082803"/>
              <a:gd name="connsiteX4" fmla="*/ 0 w 4536527"/>
              <a:gd name="connsiteY4" fmla="*/ 0 h 5082803"/>
              <a:gd name="connsiteX0" fmla="*/ 0 w 4536527"/>
              <a:gd name="connsiteY0" fmla="*/ 0 h 5082803"/>
              <a:gd name="connsiteX1" fmla="*/ 4536527 w 4536527"/>
              <a:gd name="connsiteY1" fmla="*/ 0 h 5082803"/>
              <a:gd name="connsiteX2" fmla="*/ 2720340 w 4536527"/>
              <a:gd name="connsiteY2" fmla="*/ 5070190 h 5082803"/>
              <a:gd name="connsiteX3" fmla="*/ 0 w 4536527"/>
              <a:gd name="connsiteY3" fmla="*/ 5082803 h 5082803"/>
              <a:gd name="connsiteX4" fmla="*/ 0 w 4536527"/>
              <a:gd name="connsiteY4" fmla="*/ 0 h 5082803"/>
              <a:gd name="connsiteX0" fmla="*/ 0 w 4536527"/>
              <a:gd name="connsiteY0" fmla="*/ 0 h 5082803"/>
              <a:gd name="connsiteX1" fmla="*/ 4536527 w 4536527"/>
              <a:gd name="connsiteY1" fmla="*/ 0 h 5082803"/>
              <a:gd name="connsiteX2" fmla="*/ 3044349 w 4536527"/>
              <a:gd name="connsiteY2" fmla="*/ 5063884 h 5082803"/>
              <a:gd name="connsiteX3" fmla="*/ 0 w 4536527"/>
              <a:gd name="connsiteY3" fmla="*/ 5082803 h 5082803"/>
              <a:gd name="connsiteX4" fmla="*/ 0 w 4536527"/>
              <a:gd name="connsiteY4" fmla="*/ 0 h 5082803"/>
              <a:gd name="connsiteX0" fmla="*/ 11775 w 4548302"/>
              <a:gd name="connsiteY0" fmla="*/ 0 h 5067319"/>
              <a:gd name="connsiteX1" fmla="*/ 4548302 w 4548302"/>
              <a:gd name="connsiteY1" fmla="*/ 0 h 5067319"/>
              <a:gd name="connsiteX2" fmla="*/ 3056124 w 4548302"/>
              <a:gd name="connsiteY2" fmla="*/ 5063884 h 5067319"/>
              <a:gd name="connsiteX3" fmla="*/ 0 w 4548302"/>
              <a:gd name="connsiteY3" fmla="*/ 5067319 h 5067319"/>
              <a:gd name="connsiteX4" fmla="*/ 11775 w 4548302"/>
              <a:gd name="connsiteY4" fmla="*/ 0 h 5067319"/>
              <a:gd name="connsiteX0" fmla="*/ 11775 w 4536527"/>
              <a:gd name="connsiteY0" fmla="*/ 0 h 5067319"/>
              <a:gd name="connsiteX1" fmla="*/ 4536527 w 4536527"/>
              <a:gd name="connsiteY1" fmla="*/ 0 h 5067319"/>
              <a:gd name="connsiteX2" fmla="*/ 3056124 w 4536527"/>
              <a:gd name="connsiteY2" fmla="*/ 5063884 h 5067319"/>
              <a:gd name="connsiteX3" fmla="*/ 0 w 4536527"/>
              <a:gd name="connsiteY3" fmla="*/ 5067319 h 5067319"/>
              <a:gd name="connsiteX4" fmla="*/ 11775 w 4536527"/>
              <a:gd name="connsiteY4" fmla="*/ 0 h 5067319"/>
              <a:gd name="connsiteX0" fmla="*/ 11775 w 4483541"/>
              <a:gd name="connsiteY0" fmla="*/ 0 h 5067319"/>
              <a:gd name="connsiteX1" fmla="*/ 4483541 w 4483541"/>
              <a:gd name="connsiteY1" fmla="*/ 15485 h 5067319"/>
              <a:gd name="connsiteX2" fmla="*/ 3056124 w 4483541"/>
              <a:gd name="connsiteY2" fmla="*/ 5063884 h 5067319"/>
              <a:gd name="connsiteX3" fmla="*/ 0 w 4483541"/>
              <a:gd name="connsiteY3" fmla="*/ 5067319 h 5067319"/>
              <a:gd name="connsiteX4" fmla="*/ 11775 w 4483541"/>
              <a:gd name="connsiteY4" fmla="*/ 0 h 5067319"/>
              <a:gd name="connsiteX0" fmla="*/ 11775 w 4483541"/>
              <a:gd name="connsiteY0" fmla="*/ 0 h 5071627"/>
              <a:gd name="connsiteX1" fmla="*/ 4483541 w 4483541"/>
              <a:gd name="connsiteY1" fmla="*/ 15485 h 5071627"/>
              <a:gd name="connsiteX2" fmla="*/ 3009025 w 4483541"/>
              <a:gd name="connsiteY2" fmla="*/ 5071627 h 5071627"/>
              <a:gd name="connsiteX3" fmla="*/ 0 w 4483541"/>
              <a:gd name="connsiteY3" fmla="*/ 5067319 h 5071627"/>
              <a:gd name="connsiteX4" fmla="*/ 11775 w 4483541"/>
              <a:gd name="connsiteY4" fmla="*/ 0 h 5071627"/>
              <a:gd name="connsiteX0" fmla="*/ 0 w 4489428"/>
              <a:gd name="connsiteY0" fmla="*/ 204 h 5056142"/>
              <a:gd name="connsiteX1" fmla="*/ 4489428 w 4489428"/>
              <a:gd name="connsiteY1" fmla="*/ 0 h 5056142"/>
              <a:gd name="connsiteX2" fmla="*/ 3014912 w 4489428"/>
              <a:gd name="connsiteY2" fmla="*/ 5056142 h 5056142"/>
              <a:gd name="connsiteX3" fmla="*/ 5887 w 4489428"/>
              <a:gd name="connsiteY3" fmla="*/ 5051834 h 5056142"/>
              <a:gd name="connsiteX4" fmla="*/ 0 w 4489428"/>
              <a:gd name="connsiteY4" fmla="*/ 204 h 5056142"/>
              <a:gd name="connsiteX0" fmla="*/ 0 w 4471766"/>
              <a:gd name="connsiteY0" fmla="*/ 8049 h 5063987"/>
              <a:gd name="connsiteX1" fmla="*/ 4471766 w 4471766"/>
              <a:gd name="connsiteY1" fmla="*/ 0 h 5063987"/>
              <a:gd name="connsiteX2" fmla="*/ 3014912 w 4471766"/>
              <a:gd name="connsiteY2" fmla="*/ 5063987 h 5063987"/>
              <a:gd name="connsiteX3" fmla="*/ 5887 w 4471766"/>
              <a:gd name="connsiteY3" fmla="*/ 5059679 h 5063987"/>
              <a:gd name="connsiteX4" fmla="*/ 0 w 4471766"/>
              <a:gd name="connsiteY4" fmla="*/ 8049 h 5063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71766" h="5063987">
                <a:moveTo>
                  <a:pt x="0" y="8049"/>
                </a:moveTo>
                <a:lnTo>
                  <a:pt x="4471766" y="0"/>
                </a:lnTo>
                <a:lnTo>
                  <a:pt x="3014912" y="5063987"/>
                </a:lnTo>
                <a:lnTo>
                  <a:pt x="5887" y="5059679"/>
                </a:lnTo>
                <a:cubicBezTo>
                  <a:pt x="3925" y="3375802"/>
                  <a:pt x="1962" y="1691926"/>
                  <a:pt x="0" y="8049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6F67F8EE-D86A-444C-AEE9-0C1DD93297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2625" y="5380038"/>
            <a:ext cx="1006475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79C711F-E585-44CB-8B20-073765B105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3713" y="6259513"/>
            <a:ext cx="1350962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598129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7360" y="2934930"/>
            <a:ext cx="4150360" cy="3908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6405" y="4944112"/>
            <a:ext cx="4151313" cy="39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6404" y="4637241"/>
            <a:ext cx="4150359" cy="3908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Lato Black" panose="020F0A02020204030203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66406" y="5250984"/>
            <a:ext cx="4150359" cy="390831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Lato Black" panose="020F0A02020204030203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0830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72606C-1F53-4292-8E44-C4F3DC8954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72606C-1F53-4292-8E44-C4F3DC8954E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DB8DBEA-FBB8-413A-9F79-57A037D21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GB" sz="3120" b="1"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57553" y="1787001"/>
            <a:ext cx="11207728" cy="4423862"/>
          </a:xfrm>
          <a:prstGeom prst="rect">
            <a:avLst/>
          </a:prstGeom>
        </p:spPr>
        <p:txBody>
          <a:bodyPr rIns="45720"/>
          <a:lstStyle>
            <a:lvl1pPr marL="287998" indent="-287998">
              <a:buClr>
                <a:srgbClr val="000000"/>
              </a:buClr>
              <a:buSzPct val="91000"/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1pPr>
            <a:lvl2pPr marL="630896" indent="-342900">
              <a:buClr>
                <a:srgbClr val="000000"/>
              </a:buClr>
              <a:buFont typeface="Source Sans Pro" panose="020B0503030403020204" pitchFamily="34" charset="0"/>
              <a:buChar char="−"/>
              <a:defRPr sz="1681">
                <a:latin typeface="+mn-lt"/>
                <a:cs typeface="Arial" pitchFamily="34" charset="0"/>
              </a:defRPr>
            </a:lvl2pPr>
            <a:lvl3pPr marL="863992" indent="-287998">
              <a:buClr>
                <a:srgbClr val="000000"/>
              </a:buClr>
              <a:buSzPct val="105000"/>
              <a:buFont typeface="Arial" panose="020B0604020202020204" pitchFamily="34" charset="0"/>
              <a:buChar char="•"/>
              <a:defRPr sz="1681">
                <a:latin typeface="+mn-lt"/>
                <a:cs typeface="Arial" pitchFamily="34" charset="0"/>
              </a:defRPr>
            </a:lvl3pPr>
            <a:lvl4pPr marL="1151988" indent="-287998">
              <a:buClr>
                <a:srgbClr val="000000"/>
              </a:buClr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4pPr>
            <a:lvl5pPr marL="1439986" indent="-287998">
              <a:buClr>
                <a:srgbClr val="000000"/>
              </a:buClr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/>
          </p:nvPr>
        </p:nvSpPr>
        <p:spPr bwMode="auto">
          <a:xfrm>
            <a:off x="557552" y="6245594"/>
            <a:ext cx="10712014" cy="322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noAutofit/>
          </a:bodyPr>
          <a:lstStyle>
            <a:lvl1pPr marL="758224" marR="0" indent="-758224" algn="l" defTabSz="10744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497CB"/>
              </a:buClr>
              <a:buSzTx/>
              <a:buFont typeface="Wingdings" pitchFamily="2" charset="2"/>
              <a:buNone/>
              <a:tabLst>
                <a:tab pos="640111" algn="r"/>
              </a:tabLst>
              <a:defRPr kumimoji="1" lang="en-US" sz="1201" kern="1200" baseline="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Wingdings" pitchFamily="2" charset="2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473" y="177661"/>
            <a:ext cx="10957793" cy="8255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GB" sz="3120" b="1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57553" y="1418561"/>
            <a:ext cx="10957792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lang="en-US" sz="1681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557553" y="1141742"/>
            <a:ext cx="10957792" cy="276834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 kumimoji="1" lang="en-GB" sz="2160" b="1" cap="small" baseline="0" dirty="0">
                <a:solidFill>
                  <a:schemeClr val="tx2"/>
                </a:solidFill>
                <a:latin typeface="Graphik" panose="020B050303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126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grass, tree, plant, green&#10;&#10;Description automatically generated">
            <a:extLst>
              <a:ext uri="{FF2B5EF4-FFF2-40B4-BE49-F238E27FC236}">
                <a16:creationId xmlns:a16="http://schemas.microsoft.com/office/drawing/2014/main" id="{7059B469-264B-4166-98EF-4547EB900F0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7" r="18735" b="29279"/>
          <a:stretch>
            <a:fillRect/>
          </a:stretch>
        </p:blipFill>
        <p:spPr bwMode="auto">
          <a:xfrm>
            <a:off x="-14288" y="0"/>
            <a:ext cx="122062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phic 7">
            <a:extLst>
              <a:ext uri="{FF2B5EF4-FFF2-40B4-BE49-F238E27FC236}">
                <a16:creationId xmlns:a16="http://schemas.microsoft.com/office/drawing/2014/main" id="{1D66603A-109A-4F88-9EB2-1C9C786FD4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32"/>
          <a:stretch>
            <a:fillRect/>
          </a:stretch>
        </p:blipFill>
        <p:spPr bwMode="auto">
          <a:xfrm>
            <a:off x="-47625" y="-117475"/>
            <a:ext cx="7496175" cy="713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phic 8">
            <a:extLst>
              <a:ext uri="{FF2B5EF4-FFF2-40B4-BE49-F238E27FC236}">
                <a16:creationId xmlns:a16="http://schemas.microsoft.com/office/drawing/2014/main" id="{046F63BD-1A1A-4BCA-B7A3-8DA770C6FB0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865"/>
          <a:stretch>
            <a:fillRect/>
          </a:stretch>
        </p:blipFill>
        <p:spPr bwMode="auto">
          <a:xfrm>
            <a:off x="10728325" y="733425"/>
            <a:ext cx="1463675" cy="545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 descr="Text, logo&#10;&#10;Description automatically generated">
            <a:extLst>
              <a:ext uri="{FF2B5EF4-FFF2-40B4-BE49-F238E27FC236}">
                <a16:creationId xmlns:a16="http://schemas.microsoft.com/office/drawing/2014/main" id="{2C8989AA-0394-4597-8415-1348E0951F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027113"/>
            <a:ext cx="1006475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725" y="5415844"/>
            <a:ext cx="4151313" cy="799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6725" y="5063885"/>
            <a:ext cx="4150359" cy="35600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4243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6" hidden="1">
            <a:extLst>
              <a:ext uri="{FF2B5EF4-FFF2-40B4-BE49-F238E27FC236}">
                <a16:creationId xmlns:a16="http://schemas.microsoft.com/office/drawing/2014/main" id="{5AC2C7CA-4501-4341-B319-9363AF9EE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" name="Object 6" hidden="1">
                        <a:extLst>
                          <a:ext uri="{FF2B5EF4-FFF2-40B4-BE49-F238E27FC236}">
                            <a16:creationId xmlns:a16="http://schemas.microsoft.com/office/drawing/2014/main" id="{5AC2C7CA-4501-4341-B319-9363AF9EE3F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7EA301E9-9A25-469C-B3E6-3CC33792BC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GB" sz="3120" b="1"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58166" y="1787001"/>
            <a:ext cx="5574030" cy="4423862"/>
          </a:xfrm>
          <a:prstGeom prst="rect">
            <a:avLst/>
          </a:prstGeom>
        </p:spPr>
        <p:txBody>
          <a:bodyPr rIns="45720"/>
          <a:lstStyle>
            <a:lvl1pPr marL="287998" indent="-287998">
              <a:buClr>
                <a:srgbClr val="000000"/>
              </a:buClr>
              <a:buSzPct val="91000"/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1pPr>
            <a:lvl2pPr marL="630896" indent="-342900">
              <a:buClr>
                <a:srgbClr val="000000"/>
              </a:buClr>
              <a:buFont typeface="Source Sans Pro" panose="020B0503030403020204" pitchFamily="34" charset="0"/>
              <a:buChar char="−"/>
              <a:defRPr sz="1681">
                <a:latin typeface="+mn-lt"/>
                <a:cs typeface="Arial" pitchFamily="34" charset="0"/>
              </a:defRPr>
            </a:lvl2pPr>
            <a:lvl3pPr marL="863992" indent="-287998">
              <a:buClr>
                <a:srgbClr val="000000"/>
              </a:buClr>
              <a:buSzPct val="105000"/>
              <a:buFont typeface="Arial" panose="020B0604020202020204" pitchFamily="34" charset="0"/>
              <a:buChar char="•"/>
              <a:defRPr sz="1681">
                <a:latin typeface="+mn-lt"/>
                <a:cs typeface="Arial" pitchFamily="34" charset="0"/>
              </a:defRPr>
            </a:lvl3pPr>
            <a:lvl4pPr marL="1151988" indent="-287998">
              <a:buClr>
                <a:srgbClr val="000000"/>
              </a:buClr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4pPr>
            <a:lvl5pPr marL="1439986" indent="-287998">
              <a:buClr>
                <a:srgbClr val="000000"/>
              </a:buClr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/>
          </p:nvPr>
        </p:nvSpPr>
        <p:spPr bwMode="auto">
          <a:xfrm>
            <a:off x="557552" y="6245594"/>
            <a:ext cx="10712014" cy="322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noAutofit/>
          </a:bodyPr>
          <a:lstStyle>
            <a:lvl1pPr marL="758224" marR="0" indent="-758224" algn="l" defTabSz="10744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497CB"/>
              </a:buClr>
              <a:buSzTx/>
              <a:buFont typeface="Wingdings" pitchFamily="2" charset="2"/>
              <a:buNone/>
              <a:tabLst>
                <a:tab pos="640111" algn="r"/>
              </a:tabLst>
              <a:defRPr kumimoji="1" lang="en-US" sz="1201" kern="1200" baseline="0" dirty="0" smtClean="0">
                <a:solidFill>
                  <a:srgbClr val="000000"/>
                </a:solidFill>
                <a:latin typeface="+mn-lt"/>
                <a:ea typeface="+mn-ea"/>
                <a:cs typeface="+mn-cs"/>
                <a:sym typeface="Wingdings" pitchFamily="2" charset="2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473" y="177661"/>
            <a:ext cx="10957793" cy="8255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 lang="en-GB" sz="3120" b="1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58166" y="1418561"/>
            <a:ext cx="557403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lang="en-US" sz="1681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558166" y="1131291"/>
            <a:ext cx="5574030" cy="274321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 kumimoji="1" lang="en-GB" sz="2160" b="1" cap="small" baseline="0" dirty="0">
                <a:solidFill>
                  <a:schemeClr val="tx2"/>
                </a:solidFill>
                <a:latin typeface="Graphik" panose="020B050303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21"/>
          </p:nvPr>
        </p:nvSpPr>
        <p:spPr>
          <a:xfrm>
            <a:off x="6276814" y="1787001"/>
            <a:ext cx="5573814" cy="4423862"/>
          </a:xfrm>
          <a:prstGeom prst="rect">
            <a:avLst/>
          </a:prstGeom>
        </p:spPr>
        <p:txBody>
          <a:bodyPr rIns="45720"/>
          <a:lstStyle>
            <a:lvl1pPr marL="287998" indent="-287998">
              <a:buClr>
                <a:srgbClr val="000000"/>
              </a:buClr>
              <a:buSzPct val="91000"/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1pPr>
            <a:lvl2pPr marL="630896" indent="-342900">
              <a:buClr>
                <a:srgbClr val="000000"/>
              </a:buClr>
              <a:buFont typeface="Source Sans Pro" panose="020B0503030403020204" pitchFamily="34" charset="0"/>
              <a:buChar char="−"/>
              <a:defRPr sz="1681">
                <a:latin typeface="+mn-lt"/>
                <a:cs typeface="Arial" pitchFamily="34" charset="0"/>
              </a:defRPr>
            </a:lvl2pPr>
            <a:lvl3pPr marL="863992" indent="-287998">
              <a:buClr>
                <a:srgbClr val="000000"/>
              </a:buClr>
              <a:buSzPct val="105000"/>
              <a:buFont typeface="Arial" panose="020B0604020202020204" pitchFamily="34" charset="0"/>
              <a:buChar char="•"/>
              <a:defRPr sz="1681">
                <a:latin typeface="+mn-lt"/>
                <a:cs typeface="Arial" pitchFamily="34" charset="0"/>
              </a:defRPr>
            </a:lvl3pPr>
            <a:lvl4pPr marL="1151988" indent="-287998">
              <a:buClr>
                <a:srgbClr val="000000"/>
              </a:buClr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4pPr>
            <a:lvl5pPr marL="1439986" indent="-287998">
              <a:buClr>
                <a:srgbClr val="000000"/>
              </a:buClr>
              <a:buFont typeface="Wingdings" panose="05000000000000000000" pitchFamily="2" charset="2"/>
              <a:buChar char="§"/>
              <a:defRPr sz="1681"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6276814" y="1418561"/>
            <a:ext cx="5574030" cy="2743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lang="en-US" sz="1681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6276814" y="1131291"/>
            <a:ext cx="5574030" cy="274321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Tx/>
              <a:buFontTx/>
              <a:buNone/>
              <a:defRPr kumimoji="1" lang="en-GB" sz="2160" b="1" cap="small" baseline="0" dirty="0">
                <a:solidFill>
                  <a:schemeClr val="tx2"/>
                </a:solidFill>
                <a:latin typeface="Graphik" panose="020B0503030202060203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71826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-12531" y="0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3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816000"/>
            <a:ext cx="6129338" cy="2020697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0D481A7-9EEC-430C-8A81-141246176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2124000"/>
            <a:ext cx="5419090" cy="1305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B7376AF-CBBC-44A8-9814-206F9629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1421E3C-EFB1-4278-80B9-1DC85DD83F8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39AD16C-673B-4C10-9EC7-EA0AD6D08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8101359" cy="10429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2081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DEC4AE-0E7C-4CAA-990A-600C47283B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7360" y="566420"/>
            <a:ext cx="6210779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 dirty="0"/>
              <a:t>Header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61853F-D752-4764-9739-CA18B7FD3A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59" y="1170045"/>
            <a:ext cx="6210779" cy="3551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accent2"/>
                </a:solidFill>
                <a:latin typeface="+mn-lt"/>
                <a:ea typeface="Source Sans Pro Black" panose="020B08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er</a:t>
            </a:r>
            <a:endParaRPr lang="en-GB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5330C48-080C-4D29-94B8-4E8A9EB285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6406" y="1944000"/>
            <a:ext cx="10189153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Text goes her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6C8F3158-698B-45A8-8ACD-102A689027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6406" y="3110400"/>
            <a:ext cx="10189153" cy="1411134"/>
          </a:xfrm>
          <a:prstGeom prst="rect">
            <a:avLst/>
          </a:prstGeom>
        </p:spPr>
        <p:txBody>
          <a:bodyPr numCol="1" spcCol="180000">
            <a:no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1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d dddddddddddddddddddddddddddddddddddddddddddddddddddddddddddddddddddddddddddddddddddddddddddddddddddddddddddddddddddddddddddddddddddddddddddddddddddddddddddddddddddddddddddddddddddddddddddddddddddddddddddddddddddddddddddddddddddd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8C73C264-B8B5-42F6-BC70-D7E96512B6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406" y="4669843"/>
            <a:ext cx="10189153" cy="101326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ull out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5F5602F-96E4-4CF8-BFC7-8E5A01FC2984}"/>
              </a:ext>
            </a:extLst>
          </p:cNvPr>
          <p:cNvSpPr/>
          <p:nvPr userDrawn="1"/>
        </p:nvSpPr>
        <p:spPr>
          <a:xfrm>
            <a:off x="0" y="6233458"/>
            <a:ext cx="12192000" cy="62454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437A1995-E88F-4EFE-971D-B2EC68F5E01A}"/>
              </a:ext>
            </a:extLst>
          </p:cNvPr>
          <p:cNvSpPr/>
          <p:nvPr userDrawn="1"/>
        </p:nvSpPr>
        <p:spPr>
          <a:xfrm>
            <a:off x="11840301" y="6226638"/>
            <a:ext cx="360000" cy="631362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4" name="Picture 33" descr="Logo&#10;&#10;Description automatically generated">
            <a:extLst>
              <a:ext uri="{FF2B5EF4-FFF2-40B4-BE49-F238E27FC236}">
                <a16:creationId xmlns:a16="http://schemas.microsoft.com/office/drawing/2014/main" id="{593CAD7E-8C54-4B4B-84BA-51FD21818E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266" y="6193946"/>
            <a:ext cx="808547" cy="807408"/>
          </a:xfrm>
          <a:prstGeom prst="rect">
            <a:avLst/>
          </a:prstGeom>
        </p:spPr>
      </p:pic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99ACF6C4-A033-47E6-AD6D-B559C2E6EC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54354" y="6414586"/>
            <a:ext cx="33702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GB"/>
              <a:t>Title of presentation her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3455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Sales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Freeform: Shape 198">
            <a:extLst>
              <a:ext uri="{FF2B5EF4-FFF2-40B4-BE49-F238E27FC236}">
                <a16:creationId xmlns:a16="http://schemas.microsoft.com/office/drawing/2014/main" id="{59B66789-6EEC-4384-B986-2B909B573154}"/>
              </a:ext>
            </a:extLst>
          </p:cNvPr>
          <p:cNvSpPr/>
          <p:nvPr userDrawn="1"/>
        </p:nvSpPr>
        <p:spPr>
          <a:xfrm>
            <a:off x="0" y="3623882"/>
            <a:ext cx="12192000" cy="3234118"/>
          </a:xfrm>
          <a:custGeom>
            <a:avLst/>
            <a:gdLst>
              <a:gd name="connsiteX0" fmla="*/ 6168546 w 12192000"/>
              <a:gd name="connsiteY0" fmla="*/ 0 h 3234118"/>
              <a:gd name="connsiteX1" fmla="*/ 12075104 w 12192000"/>
              <a:gd name="connsiteY1" fmla="*/ 1967115 h 3234118"/>
              <a:gd name="connsiteX2" fmla="*/ 12192000 w 12192000"/>
              <a:gd name="connsiteY2" fmla="*/ 2104144 h 3234118"/>
              <a:gd name="connsiteX3" fmla="*/ 12192000 w 12192000"/>
              <a:gd name="connsiteY3" fmla="*/ 3234118 h 3234118"/>
              <a:gd name="connsiteX4" fmla="*/ 0 w 12192000"/>
              <a:gd name="connsiteY4" fmla="*/ 3234118 h 3234118"/>
              <a:gd name="connsiteX5" fmla="*/ 0 w 12192000"/>
              <a:gd name="connsiteY5" fmla="*/ 2299682 h 3234118"/>
              <a:gd name="connsiteX6" fmla="*/ 13436 w 12192000"/>
              <a:gd name="connsiteY6" fmla="*/ 2278639 h 3234118"/>
              <a:gd name="connsiteX7" fmla="*/ 6168546 w 12192000"/>
              <a:gd name="connsiteY7" fmla="*/ 0 h 323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234118">
                <a:moveTo>
                  <a:pt x="6168546" y="0"/>
                </a:moveTo>
                <a:cubicBezTo>
                  <a:pt x="8769682" y="0"/>
                  <a:pt x="11016835" y="803192"/>
                  <a:pt x="12075104" y="1967115"/>
                </a:cubicBezTo>
                <a:lnTo>
                  <a:pt x="12192000" y="2104144"/>
                </a:lnTo>
                <a:lnTo>
                  <a:pt x="12192000" y="3234118"/>
                </a:lnTo>
                <a:lnTo>
                  <a:pt x="0" y="3234118"/>
                </a:lnTo>
                <a:lnTo>
                  <a:pt x="0" y="2299682"/>
                </a:lnTo>
                <a:lnTo>
                  <a:pt x="13436" y="2278639"/>
                </a:lnTo>
                <a:cubicBezTo>
                  <a:pt x="932125" y="948951"/>
                  <a:pt x="3341224" y="0"/>
                  <a:pt x="6168546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alpha val="0"/>
                </a:schemeClr>
              </a:gs>
              <a:gs pos="44000">
                <a:schemeClr val="accent5">
                  <a:alpha val="28000"/>
                </a:schemeClr>
              </a:gs>
              <a:gs pos="100000">
                <a:schemeClr val="tx2">
                  <a:alpha val="56000"/>
                </a:schemeClr>
              </a:gs>
            </a:gsLst>
            <a:lin ang="162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grpSp>
        <p:nvGrpSpPr>
          <p:cNvPr id="565" name="Group 564">
            <a:extLst>
              <a:ext uri="{FF2B5EF4-FFF2-40B4-BE49-F238E27FC236}">
                <a16:creationId xmlns:a16="http://schemas.microsoft.com/office/drawing/2014/main" id="{0BEFE5A9-599B-43EA-ACBD-4012195BC44E}"/>
              </a:ext>
            </a:extLst>
          </p:cNvPr>
          <p:cNvGrpSpPr/>
          <p:nvPr userDrawn="1"/>
        </p:nvGrpSpPr>
        <p:grpSpPr>
          <a:xfrm>
            <a:off x="442913" y="3789040"/>
            <a:ext cx="11306175" cy="2736304"/>
            <a:chOff x="294219" y="2997195"/>
            <a:chExt cx="11604033" cy="3746625"/>
          </a:xfrm>
        </p:grpSpPr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7B059B3-EE88-4410-BE4F-77E28E7B562D}"/>
                </a:ext>
              </a:extLst>
            </p:cNvPr>
            <p:cNvSpPr/>
            <p:nvPr/>
          </p:nvSpPr>
          <p:spPr>
            <a:xfrm>
              <a:off x="6142252" y="5144897"/>
              <a:ext cx="335616" cy="217795"/>
            </a:xfrm>
            <a:custGeom>
              <a:avLst/>
              <a:gdLst>
                <a:gd name="connsiteX0" fmla="*/ 118402 w 335616"/>
                <a:gd name="connsiteY0" fmla="*/ 208045 h 217795"/>
                <a:gd name="connsiteX1" fmla="*/ 129401 w 335616"/>
                <a:gd name="connsiteY1" fmla="*/ 201361 h 217795"/>
                <a:gd name="connsiteX2" fmla="*/ 138291 w 335616"/>
                <a:gd name="connsiteY2" fmla="*/ 212624 h 217795"/>
                <a:gd name="connsiteX3" fmla="*/ 176079 w 335616"/>
                <a:gd name="connsiteY3" fmla="*/ 216802 h 217795"/>
                <a:gd name="connsiteX4" fmla="*/ 195887 w 335616"/>
                <a:gd name="connsiteY4" fmla="*/ 191835 h 217795"/>
                <a:gd name="connsiteX5" fmla="*/ 199946 w 335616"/>
                <a:gd name="connsiteY5" fmla="*/ 99854 h 217795"/>
                <a:gd name="connsiteX6" fmla="*/ 201205 w 335616"/>
                <a:gd name="connsiteY6" fmla="*/ 91832 h 217795"/>
                <a:gd name="connsiteX7" fmla="*/ 226735 w 335616"/>
                <a:gd name="connsiteY7" fmla="*/ 87153 h 217795"/>
                <a:gd name="connsiteX8" fmla="*/ 228887 w 335616"/>
                <a:gd name="connsiteY8" fmla="*/ 43334 h 217795"/>
                <a:gd name="connsiteX9" fmla="*/ 229577 w 335616"/>
                <a:gd name="connsiteY9" fmla="*/ 28929 h 217795"/>
                <a:gd name="connsiteX10" fmla="*/ 257990 w 335616"/>
                <a:gd name="connsiteY10" fmla="*/ 26923 h 217795"/>
                <a:gd name="connsiteX11" fmla="*/ 292085 w 335616"/>
                <a:gd name="connsiteY11" fmla="*/ 28427 h 217795"/>
                <a:gd name="connsiteX12" fmla="*/ 306332 w 335616"/>
                <a:gd name="connsiteY12" fmla="*/ 25854 h 217795"/>
                <a:gd name="connsiteX13" fmla="*/ 335557 w 335616"/>
                <a:gd name="connsiteY13" fmla="*/ 22144 h 217795"/>
                <a:gd name="connsiteX14" fmla="*/ 308970 w 335616"/>
                <a:gd name="connsiteY14" fmla="*/ 16027 h 217795"/>
                <a:gd name="connsiteX15" fmla="*/ 274266 w 335616"/>
                <a:gd name="connsiteY15" fmla="*/ 18801 h 217795"/>
                <a:gd name="connsiteX16" fmla="*/ 190732 w 335616"/>
                <a:gd name="connsiteY16" fmla="*/ 16562 h 217795"/>
                <a:gd name="connsiteX17" fmla="*/ 170722 w 335616"/>
                <a:gd name="connsiteY17" fmla="*/ 11181 h 217795"/>
                <a:gd name="connsiteX18" fmla="*/ 150995 w 335616"/>
                <a:gd name="connsiteY18" fmla="*/ 10111 h 217795"/>
                <a:gd name="connsiteX19" fmla="*/ 71967 w 335616"/>
                <a:gd name="connsiteY19" fmla="*/ 8574 h 217795"/>
                <a:gd name="connsiteX20" fmla="*/ 48749 w 335616"/>
                <a:gd name="connsiteY20" fmla="*/ 2324 h 217795"/>
                <a:gd name="connsiteX21" fmla="*/ 23259 w 335616"/>
                <a:gd name="connsiteY21" fmla="*/ 3126 h 217795"/>
                <a:gd name="connsiteX22" fmla="*/ 12259 w 335616"/>
                <a:gd name="connsiteY22" fmla="*/ 853 h 217795"/>
                <a:gd name="connsiteX23" fmla="*/ 82 w 335616"/>
                <a:gd name="connsiteY23" fmla="*/ 5365 h 217795"/>
                <a:gd name="connsiteX24" fmla="*/ 25288 w 335616"/>
                <a:gd name="connsiteY24" fmla="*/ 38789 h 217795"/>
                <a:gd name="connsiteX25" fmla="*/ 52078 w 335616"/>
                <a:gd name="connsiteY25" fmla="*/ 79465 h 217795"/>
                <a:gd name="connsiteX26" fmla="*/ 66284 w 335616"/>
                <a:gd name="connsiteY26" fmla="*/ 116231 h 217795"/>
                <a:gd name="connsiteX27" fmla="*/ 75660 w 335616"/>
                <a:gd name="connsiteY27" fmla="*/ 154000 h 217795"/>
                <a:gd name="connsiteX28" fmla="*/ 84103 w 335616"/>
                <a:gd name="connsiteY28" fmla="*/ 186621 h 217795"/>
                <a:gd name="connsiteX29" fmla="*/ 100055 w 335616"/>
                <a:gd name="connsiteY29" fmla="*/ 201795 h 217795"/>
                <a:gd name="connsiteX30" fmla="*/ 118645 w 335616"/>
                <a:gd name="connsiteY30" fmla="*/ 207879 h 217795"/>
                <a:gd name="connsiteX31" fmla="*/ 118402 w 335616"/>
                <a:gd name="connsiteY31" fmla="*/ 208045 h 21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5616" h="217795">
                  <a:moveTo>
                    <a:pt x="118402" y="208045"/>
                  </a:moveTo>
                  <a:cubicBezTo>
                    <a:pt x="119457" y="203834"/>
                    <a:pt x="124206" y="200926"/>
                    <a:pt x="129401" y="201361"/>
                  </a:cubicBezTo>
                  <a:cubicBezTo>
                    <a:pt x="135774" y="202497"/>
                    <a:pt x="135814" y="209483"/>
                    <a:pt x="138291" y="212624"/>
                  </a:cubicBezTo>
                  <a:cubicBezTo>
                    <a:pt x="142350" y="217505"/>
                    <a:pt x="168854" y="218240"/>
                    <a:pt x="176079" y="216802"/>
                  </a:cubicBezTo>
                  <a:cubicBezTo>
                    <a:pt x="195644" y="212926"/>
                    <a:pt x="195441" y="202865"/>
                    <a:pt x="195887" y="191835"/>
                  </a:cubicBezTo>
                  <a:lnTo>
                    <a:pt x="199946" y="99854"/>
                  </a:lnTo>
                  <a:cubicBezTo>
                    <a:pt x="199946" y="98383"/>
                    <a:pt x="198810" y="92901"/>
                    <a:pt x="201205" y="91832"/>
                  </a:cubicBezTo>
                  <a:cubicBezTo>
                    <a:pt x="206481" y="89526"/>
                    <a:pt x="226452" y="93570"/>
                    <a:pt x="226735" y="87153"/>
                  </a:cubicBezTo>
                  <a:cubicBezTo>
                    <a:pt x="227466" y="72546"/>
                    <a:pt x="228197" y="57950"/>
                    <a:pt x="228887" y="43334"/>
                  </a:cubicBezTo>
                  <a:cubicBezTo>
                    <a:pt x="229130" y="38521"/>
                    <a:pt x="229374" y="33742"/>
                    <a:pt x="229577" y="28929"/>
                  </a:cubicBezTo>
                  <a:cubicBezTo>
                    <a:pt x="229577" y="28728"/>
                    <a:pt x="254580" y="27625"/>
                    <a:pt x="257990" y="26923"/>
                  </a:cubicBezTo>
                  <a:cubicBezTo>
                    <a:pt x="272886" y="23581"/>
                    <a:pt x="280761" y="20005"/>
                    <a:pt x="292085" y="28427"/>
                  </a:cubicBezTo>
                  <a:cubicBezTo>
                    <a:pt x="298093" y="32873"/>
                    <a:pt x="300934" y="28126"/>
                    <a:pt x="306332" y="25854"/>
                  </a:cubicBezTo>
                  <a:cubicBezTo>
                    <a:pt x="314450" y="22511"/>
                    <a:pt x="326262" y="23113"/>
                    <a:pt x="335557" y="22144"/>
                  </a:cubicBezTo>
                  <a:cubicBezTo>
                    <a:pt x="329550" y="14423"/>
                    <a:pt x="322893" y="15459"/>
                    <a:pt x="308970" y="16027"/>
                  </a:cubicBezTo>
                  <a:cubicBezTo>
                    <a:pt x="297362" y="16462"/>
                    <a:pt x="285753" y="17387"/>
                    <a:pt x="274266" y="18801"/>
                  </a:cubicBezTo>
                  <a:cubicBezTo>
                    <a:pt x="247152" y="21977"/>
                    <a:pt x="218536" y="16261"/>
                    <a:pt x="190732" y="16562"/>
                  </a:cubicBezTo>
                  <a:cubicBezTo>
                    <a:pt x="179124" y="16562"/>
                    <a:pt x="178880" y="16796"/>
                    <a:pt x="170722" y="11181"/>
                  </a:cubicBezTo>
                  <a:cubicBezTo>
                    <a:pt x="167556" y="9008"/>
                    <a:pt x="155216" y="10178"/>
                    <a:pt x="150995" y="10111"/>
                  </a:cubicBezTo>
                  <a:cubicBezTo>
                    <a:pt x="124977" y="9509"/>
                    <a:pt x="97822" y="10546"/>
                    <a:pt x="71967" y="8574"/>
                  </a:cubicBezTo>
                  <a:cubicBezTo>
                    <a:pt x="62793" y="7872"/>
                    <a:pt x="57071" y="4228"/>
                    <a:pt x="48749" y="2324"/>
                  </a:cubicBezTo>
                  <a:cubicBezTo>
                    <a:pt x="42742" y="953"/>
                    <a:pt x="26141" y="5398"/>
                    <a:pt x="23259" y="3126"/>
                  </a:cubicBezTo>
                  <a:cubicBezTo>
                    <a:pt x="20377" y="853"/>
                    <a:pt x="18551" y="-1988"/>
                    <a:pt x="12259" y="853"/>
                  </a:cubicBezTo>
                  <a:cubicBezTo>
                    <a:pt x="12259" y="853"/>
                    <a:pt x="-729" y="6535"/>
                    <a:pt x="82" y="5365"/>
                  </a:cubicBezTo>
                  <a:cubicBezTo>
                    <a:pt x="-1907" y="17197"/>
                    <a:pt x="17536" y="29196"/>
                    <a:pt x="25288" y="38789"/>
                  </a:cubicBezTo>
                  <a:cubicBezTo>
                    <a:pt x="35802" y="52158"/>
                    <a:pt x="41078" y="66430"/>
                    <a:pt x="52078" y="79465"/>
                  </a:cubicBezTo>
                  <a:cubicBezTo>
                    <a:pt x="63078" y="92500"/>
                    <a:pt x="68598" y="101090"/>
                    <a:pt x="66284" y="116231"/>
                  </a:cubicBezTo>
                  <a:cubicBezTo>
                    <a:pt x="64376" y="128564"/>
                    <a:pt x="73185" y="141666"/>
                    <a:pt x="75660" y="154000"/>
                  </a:cubicBezTo>
                  <a:cubicBezTo>
                    <a:pt x="77852" y="164929"/>
                    <a:pt x="78096" y="176193"/>
                    <a:pt x="84103" y="186621"/>
                  </a:cubicBezTo>
                  <a:cubicBezTo>
                    <a:pt x="87634" y="192738"/>
                    <a:pt x="94332" y="196648"/>
                    <a:pt x="100055" y="201795"/>
                  </a:cubicBezTo>
                  <a:cubicBezTo>
                    <a:pt x="101110" y="202731"/>
                    <a:pt x="118402" y="216502"/>
                    <a:pt x="118645" y="207879"/>
                  </a:cubicBezTo>
                  <a:cubicBezTo>
                    <a:pt x="118483" y="204503"/>
                    <a:pt x="118320" y="210719"/>
                    <a:pt x="118402" y="20804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FA0EF274-7609-406F-8B5D-ED250021128C}"/>
                </a:ext>
              </a:extLst>
            </p:cNvPr>
            <p:cNvSpPr/>
            <p:nvPr/>
          </p:nvSpPr>
          <p:spPr>
            <a:xfrm>
              <a:off x="6477665" y="5136101"/>
              <a:ext cx="209571" cy="121020"/>
            </a:xfrm>
            <a:custGeom>
              <a:avLst/>
              <a:gdLst>
                <a:gd name="connsiteX0" fmla="*/ 143019 w 209571"/>
                <a:gd name="connsiteY0" fmla="*/ 6373 h 121020"/>
                <a:gd name="connsiteX1" fmla="*/ 117773 w 209571"/>
                <a:gd name="connsiteY1" fmla="*/ -312 h 121020"/>
                <a:gd name="connsiteX2" fmla="*/ 86843 w 209571"/>
                <a:gd name="connsiteY2" fmla="*/ 15197 h 121020"/>
                <a:gd name="connsiteX3" fmla="*/ 65047 w 209571"/>
                <a:gd name="connsiteY3" fmla="*/ 22751 h 121020"/>
                <a:gd name="connsiteX4" fmla="*/ 49135 w 209571"/>
                <a:gd name="connsiteY4" fmla="*/ 34516 h 121020"/>
                <a:gd name="connsiteX5" fmla="*/ -60 w 209571"/>
                <a:gd name="connsiteY5" fmla="*/ 31173 h 121020"/>
                <a:gd name="connsiteX6" fmla="*/ 16176 w 209571"/>
                <a:gd name="connsiteY6" fmla="*/ 43540 h 121020"/>
                <a:gd name="connsiteX7" fmla="*/ 24659 w 209571"/>
                <a:gd name="connsiteY7" fmla="*/ 61388 h 121020"/>
                <a:gd name="connsiteX8" fmla="*/ 61840 w 209571"/>
                <a:gd name="connsiteY8" fmla="*/ 89364 h 121020"/>
                <a:gd name="connsiteX9" fmla="*/ 86194 w 209571"/>
                <a:gd name="connsiteY9" fmla="*/ 102900 h 121020"/>
                <a:gd name="connsiteX10" fmla="*/ 100157 w 209571"/>
                <a:gd name="connsiteY10" fmla="*/ 112092 h 121020"/>
                <a:gd name="connsiteX11" fmla="*/ 121304 w 209571"/>
                <a:gd name="connsiteY11" fmla="*/ 115133 h 121020"/>
                <a:gd name="connsiteX12" fmla="*/ 150488 w 209571"/>
                <a:gd name="connsiteY12" fmla="*/ 120682 h 121020"/>
                <a:gd name="connsiteX13" fmla="*/ 178657 w 209571"/>
                <a:gd name="connsiteY13" fmla="*/ 105340 h 121020"/>
                <a:gd name="connsiteX14" fmla="*/ 183853 w 209571"/>
                <a:gd name="connsiteY14" fmla="*/ 94143 h 121020"/>
                <a:gd name="connsiteX15" fmla="*/ 193797 w 209571"/>
                <a:gd name="connsiteY15" fmla="*/ 86322 h 121020"/>
                <a:gd name="connsiteX16" fmla="*/ 200819 w 209571"/>
                <a:gd name="connsiteY16" fmla="*/ 76295 h 121020"/>
                <a:gd name="connsiteX17" fmla="*/ 196760 w 209571"/>
                <a:gd name="connsiteY17" fmla="*/ 59015 h 121020"/>
                <a:gd name="connsiteX18" fmla="*/ 206380 w 209571"/>
                <a:gd name="connsiteY18" fmla="*/ 23219 h 121020"/>
                <a:gd name="connsiteX19" fmla="*/ 172204 w 209571"/>
                <a:gd name="connsiteY19" fmla="*/ 12389 h 121020"/>
                <a:gd name="connsiteX20" fmla="*/ 143019 w 209571"/>
                <a:gd name="connsiteY20" fmla="*/ 6373 h 12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571" h="121020">
                  <a:moveTo>
                    <a:pt x="143019" y="6373"/>
                  </a:moveTo>
                  <a:cubicBezTo>
                    <a:pt x="142248" y="-2217"/>
                    <a:pt x="127352" y="89"/>
                    <a:pt x="117773" y="-312"/>
                  </a:cubicBezTo>
                  <a:cubicBezTo>
                    <a:pt x="101780" y="-980"/>
                    <a:pt x="99426" y="10985"/>
                    <a:pt x="86843" y="15197"/>
                  </a:cubicBezTo>
                  <a:cubicBezTo>
                    <a:pt x="78725" y="17871"/>
                    <a:pt x="71500" y="18539"/>
                    <a:pt x="65047" y="22751"/>
                  </a:cubicBezTo>
                  <a:cubicBezTo>
                    <a:pt x="59526" y="26494"/>
                    <a:pt x="55224" y="31140"/>
                    <a:pt x="49135" y="34516"/>
                  </a:cubicBezTo>
                  <a:cubicBezTo>
                    <a:pt x="40206" y="39496"/>
                    <a:pt x="12604" y="29636"/>
                    <a:pt x="-60" y="31173"/>
                  </a:cubicBezTo>
                  <a:cubicBezTo>
                    <a:pt x="3594" y="35853"/>
                    <a:pt x="14228" y="39262"/>
                    <a:pt x="16176" y="43540"/>
                  </a:cubicBezTo>
                  <a:cubicBezTo>
                    <a:pt x="18896" y="49255"/>
                    <a:pt x="18450" y="56575"/>
                    <a:pt x="24659" y="61388"/>
                  </a:cubicBezTo>
                  <a:cubicBezTo>
                    <a:pt x="35660" y="69911"/>
                    <a:pt x="63058" y="74758"/>
                    <a:pt x="61840" y="89364"/>
                  </a:cubicBezTo>
                  <a:cubicBezTo>
                    <a:pt x="61069" y="98823"/>
                    <a:pt x="75803" y="101329"/>
                    <a:pt x="86194" y="102900"/>
                  </a:cubicBezTo>
                  <a:cubicBezTo>
                    <a:pt x="96585" y="104471"/>
                    <a:pt x="93906" y="111156"/>
                    <a:pt x="100157" y="112092"/>
                  </a:cubicBezTo>
                  <a:cubicBezTo>
                    <a:pt x="104824" y="112794"/>
                    <a:pt x="118625" y="111824"/>
                    <a:pt x="121304" y="115133"/>
                  </a:cubicBezTo>
                  <a:cubicBezTo>
                    <a:pt x="125363" y="120013"/>
                    <a:pt x="143872" y="117774"/>
                    <a:pt x="150488" y="120682"/>
                  </a:cubicBezTo>
                  <a:cubicBezTo>
                    <a:pt x="159783" y="115702"/>
                    <a:pt x="170783" y="111256"/>
                    <a:pt x="178657" y="105340"/>
                  </a:cubicBezTo>
                  <a:cubicBezTo>
                    <a:pt x="182716" y="102232"/>
                    <a:pt x="183122" y="98121"/>
                    <a:pt x="183853" y="94143"/>
                  </a:cubicBezTo>
                  <a:cubicBezTo>
                    <a:pt x="184664" y="89598"/>
                    <a:pt x="189089" y="88963"/>
                    <a:pt x="193797" y="86322"/>
                  </a:cubicBezTo>
                  <a:cubicBezTo>
                    <a:pt x="200616" y="82545"/>
                    <a:pt x="203498" y="80941"/>
                    <a:pt x="200819" y="76295"/>
                  </a:cubicBezTo>
                  <a:cubicBezTo>
                    <a:pt x="198749" y="72518"/>
                    <a:pt x="192701" y="61823"/>
                    <a:pt x="196760" y="59015"/>
                  </a:cubicBezTo>
                  <a:cubicBezTo>
                    <a:pt x="202808" y="54804"/>
                    <a:pt x="215351" y="27931"/>
                    <a:pt x="206380" y="23219"/>
                  </a:cubicBezTo>
                  <a:cubicBezTo>
                    <a:pt x="197410" y="18506"/>
                    <a:pt x="182026" y="15865"/>
                    <a:pt x="172204" y="12389"/>
                  </a:cubicBezTo>
                  <a:cubicBezTo>
                    <a:pt x="162827" y="9328"/>
                    <a:pt x="153045" y="7305"/>
                    <a:pt x="143019" y="637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E8BD3EE8-AF33-4F48-98D0-4958509CB29E}"/>
                </a:ext>
              </a:extLst>
            </p:cNvPr>
            <p:cNvSpPr/>
            <p:nvPr/>
          </p:nvSpPr>
          <p:spPr>
            <a:xfrm>
              <a:off x="6340472" y="5167479"/>
              <a:ext cx="233256" cy="159093"/>
            </a:xfrm>
            <a:custGeom>
              <a:avLst/>
              <a:gdLst>
                <a:gd name="connsiteX0" fmla="*/ 216405 w 233256"/>
                <a:gd name="connsiteY0" fmla="*/ 70787 h 159093"/>
                <a:gd name="connsiteX1" fmla="*/ 188885 w 233256"/>
                <a:gd name="connsiteY1" fmla="*/ 42845 h 159093"/>
                <a:gd name="connsiteX2" fmla="*/ 164532 w 233256"/>
                <a:gd name="connsiteY2" fmla="*/ 31213 h 159093"/>
                <a:gd name="connsiteX3" fmla="*/ 155277 w 233256"/>
                <a:gd name="connsiteY3" fmla="*/ 16707 h 159093"/>
                <a:gd name="connsiteX4" fmla="*/ 148620 w 233256"/>
                <a:gd name="connsiteY4" fmla="*/ 9020 h 159093"/>
                <a:gd name="connsiteX5" fmla="*/ 137255 w 233256"/>
                <a:gd name="connsiteY5" fmla="*/ -339 h 159093"/>
                <a:gd name="connsiteX6" fmla="*/ 119355 w 233256"/>
                <a:gd name="connsiteY6" fmla="*/ 1032 h 159093"/>
                <a:gd name="connsiteX7" fmla="*/ 93784 w 233256"/>
                <a:gd name="connsiteY7" fmla="*/ 5945 h 159093"/>
                <a:gd name="connsiteX8" fmla="*/ 69186 w 233256"/>
                <a:gd name="connsiteY8" fmla="*/ 2302 h 159093"/>
                <a:gd name="connsiteX9" fmla="*/ 31438 w 233256"/>
                <a:gd name="connsiteY9" fmla="*/ 6446 h 159093"/>
                <a:gd name="connsiteX10" fmla="*/ 30139 w 233256"/>
                <a:gd name="connsiteY10" fmla="*/ 32985 h 159093"/>
                <a:gd name="connsiteX11" fmla="*/ 28678 w 233256"/>
                <a:gd name="connsiteY11" fmla="*/ 63701 h 159093"/>
                <a:gd name="connsiteX12" fmla="*/ 2010 w 233256"/>
                <a:gd name="connsiteY12" fmla="*/ 72725 h 159093"/>
                <a:gd name="connsiteX13" fmla="*/ -60 w 233256"/>
                <a:gd name="connsiteY13" fmla="*/ 120521 h 159093"/>
                <a:gd name="connsiteX14" fmla="*/ 17312 w 233256"/>
                <a:gd name="connsiteY14" fmla="*/ 136731 h 159093"/>
                <a:gd name="connsiteX15" fmla="*/ 19342 w 233256"/>
                <a:gd name="connsiteY15" fmla="*/ 145622 h 159093"/>
                <a:gd name="connsiteX16" fmla="*/ 13862 w 233256"/>
                <a:gd name="connsiteY16" fmla="*/ 149466 h 159093"/>
                <a:gd name="connsiteX17" fmla="*/ 53722 w 233256"/>
                <a:gd name="connsiteY17" fmla="*/ 151237 h 159093"/>
                <a:gd name="connsiteX18" fmla="*/ 68943 w 233256"/>
                <a:gd name="connsiteY18" fmla="*/ 138068 h 159093"/>
                <a:gd name="connsiteX19" fmla="*/ 86315 w 233256"/>
                <a:gd name="connsiteY19" fmla="*/ 131919 h 159093"/>
                <a:gd name="connsiteX20" fmla="*/ 137580 w 233256"/>
                <a:gd name="connsiteY20" fmla="*/ 137801 h 159093"/>
                <a:gd name="connsiteX21" fmla="*/ 147362 w 233256"/>
                <a:gd name="connsiteY21" fmla="*/ 121691 h 159093"/>
                <a:gd name="connsiteX22" fmla="*/ 174882 w 233256"/>
                <a:gd name="connsiteY22" fmla="*/ 111831 h 159093"/>
                <a:gd name="connsiteX23" fmla="*/ 196192 w 233256"/>
                <a:gd name="connsiteY23" fmla="*/ 99264 h 159093"/>
                <a:gd name="connsiteX24" fmla="*/ 217623 w 233256"/>
                <a:gd name="connsiteY24" fmla="*/ 88401 h 159093"/>
                <a:gd name="connsiteX25" fmla="*/ 216527 w 233256"/>
                <a:gd name="connsiteY25" fmla="*/ 70787 h 1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33256" h="159093">
                  <a:moveTo>
                    <a:pt x="216405" y="70787"/>
                  </a:moveTo>
                  <a:cubicBezTo>
                    <a:pt x="199236" y="70185"/>
                    <a:pt x="196111" y="50398"/>
                    <a:pt x="188885" y="42845"/>
                  </a:cubicBezTo>
                  <a:cubicBezTo>
                    <a:pt x="183893" y="37630"/>
                    <a:pt x="172650" y="33920"/>
                    <a:pt x="164532" y="31213"/>
                  </a:cubicBezTo>
                  <a:cubicBezTo>
                    <a:pt x="157672" y="28907"/>
                    <a:pt x="156414" y="20919"/>
                    <a:pt x="155277" y="16707"/>
                  </a:cubicBezTo>
                  <a:cubicBezTo>
                    <a:pt x="154912" y="13338"/>
                    <a:pt x="152355" y="10394"/>
                    <a:pt x="148620" y="9020"/>
                  </a:cubicBezTo>
                  <a:cubicBezTo>
                    <a:pt x="144074" y="6597"/>
                    <a:pt x="140218" y="3405"/>
                    <a:pt x="137255" y="-339"/>
                  </a:cubicBezTo>
                  <a:cubicBezTo>
                    <a:pt x="131329" y="554"/>
                    <a:pt x="125362" y="1012"/>
                    <a:pt x="119355" y="1032"/>
                  </a:cubicBezTo>
                  <a:cubicBezTo>
                    <a:pt x="109492" y="597"/>
                    <a:pt x="101049" y="11360"/>
                    <a:pt x="93784" y="5945"/>
                  </a:cubicBezTo>
                  <a:cubicBezTo>
                    <a:pt x="85098" y="-506"/>
                    <a:pt x="81607" y="-405"/>
                    <a:pt x="69186" y="2302"/>
                  </a:cubicBezTo>
                  <a:cubicBezTo>
                    <a:pt x="65655" y="3037"/>
                    <a:pt x="31397" y="7884"/>
                    <a:pt x="31438" y="6446"/>
                  </a:cubicBezTo>
                  <a:cubicBezTo>
                    <a:pt x="31032" y="15304"/>
                    <a:pt x="30585" y="24127"/>
                    <a:pt x="30139" y="32985"/>
                  </a:cubicBezTo>
                  <a:lnTo>
                    <a:pt x="28678" y="63701"/>
                  </a:lnTo>
                  <a:cubicBezTo>
                    <a:pt x="28191" y="73461"/>
                    <a:pt x="2416" y="63400"/>
                    <a:pt x="2010" y="72725"/>
                  </a:cubicBezTo>
                  <a:lnTo>
                    <a:pt x="-60" y="120521"/>
                  </a:lnTo>
                  <a:cubicBezTo>
                    <a:pt x="11833" y="123863"/>
                    <a:pt x="13862" y="129011"/>
                    <a:pt x="17312" y="136731"/>
                  </a:cubicBezTo>
                  <a:cubicBezTo>
                    <a:pt x="18327" y="139038"/>
                    <a:pt x="20722" y="143115"/>
                    <a:pt x="19342" y="145622"/>
                  </a:cubicBezTo>
                  <a:cubicBezTo>
                    <a:pt x="17962" y="148129"/>
                    <a:pt x="13984" y="146859"/>
                    <a:pt x="13862" y="149466"/>
                  </a:cubicBezTo>
                  <a:cubicBezTo>
                    <a:pt x="13132" y="165108"/>
                    <a:pt x="42275" y="157655"/>
                    <a:pt x="53722" y="151237"/>
                  </a:cubicBezTo>
                  <a:cubicBezTo>
                    <a:pt x="60541" y="147360"/>
                    <a:pt x="66792" y="144018"/>
                    <a:pt x="68943" y="138068"/>
                  </a:cubicBezTo>
                  <a:cubicBezTo>
                    <a:pt x="71094" y="132119"/>
                    <a:pt x="77061" y="127473"/>
                    <a:pt x="86315" y="131919"/>
                  </a:cubicBezTo>
                  <a:cubicBezTo>
                    <a:pt x="97437" y="137233"/>
                    <a:pt x="125647" y="146257"/>
                    <a:pt x="137580" y="137801"/>
                  </a:cubicBezTo>
                  <a:cubicBezTo>
                    <a:pt x="143100" y="133891"/>
                    <a:pt x="140218" y="123964"/>
                    <a:pt x="147362" y="121691"/>
                  </a:cubicBezTo>
                  <a:cubicBezTo>
                    <a:pt x="155480" y="119151"/>
                    <a:pt x="174151" y="121223"/>
                    <a:pt x="174882" y="111831"/>
                  </a:cubicBezTo>
                  <a:cubicBezTo>
                    <a:pt x="175694" y="101603"/>
                    <a:pt x="185557" y="102539"/>
                    <a:pt x="196192" y="99264"/>
                  </a:cubicBezTo>
                  <a:cubicBezTo>
                    <a:pt x="205730" y="96356"/>
                    <a:pt x="206988" y="89236"/>
                    <a:pt x="217623" y="88401"/>
                  </a:cubicBezTo>
                  <a:cubicBezTo>
                    <a:pt x="237471" y="86897"/>
                    <a:pt x="239663" y="71689"/>
                    <a:pt x="216527" y="707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1784FCDA-7CD8-4456-8777-7D4CE5BA1D6D}"/>
                </a:ext>
              </a:extLst>
            </p:cNvPr>
            <p:cNvSpPr/>
            <p:nvPr/>
          </p:nvSpPr>
          <p:spPr>
            <a:xfrm>
              <a:off x="6608164" y="5318598"/>
              <a:ext cx="34440" cy="28994"/>
            </a:xfrm>
            <a:custGeom>
              <a:avLst/>
              <a:gdLst>
                <a:gd name="connsiteX0" fmla="*/ 18609 w 34440"/>
                <a:gd name="connsiteY0" fmla="*/ -316 h 28994"/>
                <a:gd name="connsiteX1" fmla="*/ 749 w 34440"/>
                <a:gd name="connsiteY1" fmla="*/ 9477 h 28994"/>
                <a:gd name="connsiteX2" fmla="*/ 10937 w 34440"/>
                <a:gd name="connsiteY2" fmla="*/ 26490 h 28994"/>
                <a:gd name="connsiteX3" fmla="*/ 18609 w 34440"/>
                <a:gd name="connsiteY3" fmla="*/ -316 h 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40" h="28994">
                  <a:moveTo>
                    <a:pt x="18609" y="-316"/>
                  </a:moveTo>
                  <a:cubicBezTo>
                    <a:pt x="11709" y="-784"/>
                    <a:pt x="3631" y="6035"/>
                    <a:pt x="749" y="9477"/>
                  </a:cubicBezTo>
                  <a:cubicBezTo>
                    <a:pt x="-2782" y="13655"/>
                    <a:pt x="6107" y="23783"/>
                    <a:pt x="10937" y="26490"/>
                  </a:cubicBezTo>
                  <a:cubicBezTo>
                    <a:pt x="31070" y="37720"/>
                    <a:pt x="47914" y="1723"/>
                    <a:pt x="18609" y="-31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F9C9F9EF-110C-4DB9-BF02-1A5553B48765}"/>
                </a:ext>
              </a:extLst>
            </p:cNvPr>
            <p:cNvSpPr/>
            <p:nvPr/>
          </p:nvSpPr>
          <p:spPr>
            <a:xfrm>
              <a:off x="6513175" y="5364063"/>
              <a:ext cx="55100" cy="38722"/>
            </a:xfrm>
            <a:custGeom>
              <a:avLst/>
              <a:gdLst>
                <a:gd name="connsiteX0" fmla="*/ 39724 w 55100"/>
                <a:gd name="connsiteY0" fmla="*/ 2282 h 38722"/>
                <a:gd name="connsiteX1" fmla="*/ 5832 w 55100"/>
                <a:gd name="connsiteY1" fmla="*/ 15084 h 38722"/>
                <a:gd name="connsiteX2" fmla="*/ 10743 w 55100"/>
                <a:gd name="connsiteY2" fmla="*/ 36508 h 38722"/>
                <a:gd name="connsiteX3" fmla="*/ 22555 w 55100"/>
                <a:gd name="connsiteY3" fmla="*/ 37210 h 38722"/>
                <a:gd name="connsiteX4" fmla="*/ 41226 w 55100"/>
                <a:gd name="connsiteY4" fmla="*/ 29322 h 38722"/>
                <a:gd name="connsiteX5" fmla="*/ 55027 w 55100"/>
                <a:gd name="connsiteY5" fmla="*/ 16320 h 38722"/>
                <a:gd name="connsiteX6" fmla="*/ 39724 w 55100"/>
                <a:gd name="connsiteY6" fmla="*/ 2282 h 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100" h="38722">
                  <a:moveTo>
                    <a:pt x="39724" y="2282"/>
                  </a:moveTo>
                  <a:cubicBezTo>
                    <a:pt x="33636" y="-7310"/>
                    <a:pt x="8795" y="12309"/>
                    <a:pt x="5832" y="15084"/>
                  </a:cubicBezTo>
                  <a:cubicBezTo>
                    <a:pt x="-5290" y="24676"/>
                    <a:pt x="1042" y="26013"/>
                    <a:pt x="10743" y="36508"/>
                  </a:cubicBezTo>
                  <a:cubicBezTo>
                    <a:pt x="12529" y="38480"/>
                    <a:pt x="21134" y="39182"/>
                    <a:pt x="22555" y="37210"/>
                  </a:cubicBezTo>
                  <a:cubicBezTo>
                    <a:pt x="28278" y="29389"/>
                    <a:pt x="29090" y="28586"/>
                    <a:pt x="41226" y="29322"/>
                  </a:cubicBezTo>
                  <a:cubicBezTo>
                    <a:pt x="44960" y="29556"/>
                    <a:pt x="54783" y="18927"/>
                    <a:pt x="55027" y="16320"/>
                  </a:cubicBezTo>
                  <a:cubicBezTo>
                    <a:pt x="55514" y="10906"/>
                    <a:pt x="42850" y="6928"/>
                    <a:pt x="39724" y="22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16E4AFAB-DCDE-4371-9438-B0BDD1DC6AD8}"/>
                </a:ext>
              </a:extLst>
            </p:cNvPr>
            <p:cNvSpPr/>
            <p:nvPr/>
          </p:nvSpPr>
          <p:spPr>
            <a:xfrm>
              <a:off x="6249875" y="5246793"/>
              <a:ext cx="411255" cy="228285"/>
            </a:xfrm>
            <a:custGeom>
              <a:avLst/>
              <a:gdLst>
                <a:gd name="connsiteX0" fmla="*/ 391997 w 411255"/>
                <a:gd name="connsiteY0" fmla="*/ 94083 h 228285"/>
                <a:gd name="connsiteX1" fmla="*/ 377953 w 411255"/>
                <a:gd name="connsiteY1" fmla="*/ 99865 h 228285"/>
                <a:gd name="connsiteX2" fmla="*/ 359647 w 411255"/>
                <a:gd name="connsiteY2" fmla="*/ 86496 h 228285"/>
                <a:gd name="connsiteX3" fmla="*/ 366994 w 411255"/>
                <a:gd name="connsiteY3" fmla="*/ 74831 h 228285"/>
                <a:gd name="connsiteX4" fmla="*/ 391023 w 411255"/>
                <a:gd name="connsiteY4" fmla="*/ 77337 h 228285"/>
                <a:gd name="connsiteX5" fmla="*/ 395082 w 411255"/>
                <a:gd name="connsiteY5" fmla="*/ 51033 h 228285"/>
                <a:gd name="connsiteX6" fmla="*/ 383636 w 411255"/>
                <a:gd name="connsiteY6" fmla="*/ 24863 h 228285"/>
                <a:gd name="connsiteX7" fmla="*/ 362245 w 411255"/>
                <a:gd name="connsiteY7" fmla="*/ 7081 h 228285"/>
                <a:gd name="connsiteX8" fmla="*/ 324862 w 411255"/>
                <a:gd name="connsiteY8" fmla="*/ -339 h 228285"/>
                <a:gd name="connsiteX9" fmla="*/ 296164 w 411255"/>
                <a:gd name="connsiteY9" fmla="*/ 15304 h 228285"/>
                <a:gd name="connsiteX10" fmla="*/ 272703 w 411255"/>
                <a:gd name="connsiteY10" fmla="*/ 22289 h 228285"/>
                <a:gd name="connsiteX11" fmla="*/ 260039 w 411255"/>
                <a:gd name="connsiteY11" fmla="*/ 37764 h 228285"/>
                <a:gd name="connsiteX12" fmla="*/ 237878 w 411255"/>
                <a:gd name="connsiteY12" fmla="*/ 42209 h 228285"/>
                <a:gd name="connsiteX13" fmla="*/ 230044 w 411255"/>
                <a:gd name="connsiteY13" fmla="*/ 56448 h 228285"/>
                <a:gd name="connsiteX14" fmla="*/ 186491 w 411255"/>
                <a:gd name="connsiteY14" fmla="*/ 57016 h 228285"/>
                <a:gd name="connsiteX15" fmla="*/ 158809 w 411255"/>
                <a:gd name="connsiteY15" fmla="*/ 60793 h 228285"/>
                <a:gd name="connsiteX16" fmla="*/ 125078 w 411255"/>
                <a:gd name="connsiteY16" fmla="*/ 79343 h 228285"/>
                <a:gd name="connsiteX17" fmla="*/ 104784 w 411255"/>
                <a:gd name="connsiteY17" fmla="*/ 76836 h 228285"/>
                <a:gd name="connsiteX18" fmla="*/ 107828 w 411255"/>
                <a:gd name="connsiteY18" fmla="*/ 67778 h 228285"/>
                <a:gd name="connsiteX19" fmla="*/ 90537 w 411255"/>
                <a:gd name="connsiteY19" fmla="*/ 41040 h 228285"/>
                <a:gd name="connsiteX20" fmla="*/ 88304 w 411255"/>
                <a:gd name="connsiteY20" fmla="*/ 92178 h 228285"/>
                <a:gd name="connsiteX21" fmla="*/ 73165 w 411255"/>
                <a:gd name="connsiteY21" fmla="*/ 112499 h 228285"/>
                <a:gd name="connsiteX22" fmla="*/ 30789 w 411255"/>
                <a:gd name="connsiteY22" fmla="*/ 110661 h 228285"/>
                <a:gd name="connsiteX23" fmla="*/ 18084 w 411255"/>
                <a:gd name="connsiteY23" fmla="*/ 99665 h 228285"/>
                <a:gd name="connsiteX24" fmla="*/ -60 w 411255"/>
                <a:gd name="connsiteY24" fmla="*/ 107553 h 228285"/>
                <a:gd name="connsiteX25" fmla="*/ 20479 w 411255"/>
                <a:gd name="connsiteY25" fmla="*/ 139606 h 228285"/>
                <a:gd name="connsiteX26" fmla="*/ 39921 w 411255"/>
                <a:gd name="connsiteY26" fmla="*/ 166612 h 228285"/>
                <a:gd name="connsiteX27" fmla="*/ 44995 w 411255"/>
                <a:gd name="connsiteY27" fmla="*/ 178277 h 228285"/>
                <a:gd name="connsiteX28" fmla="*/ 37121 w 411255"/>
                <a:gd name="connsiteY28" fmla="*/ 186131 h 228285"/>
                <a:gd name="connsiteX29" fmla="*/ 44954 w 411255"/>
                <a:gd name="connsiteY29" fmla="*/ 210798 h 228285"/>
                <a:gd name="connsiteX30" fmla="*/ 67725 w 411255"/>
                <a:gd name="connsiteY30" fmla="*/ 222797 h 228285"/>
                <a:gd name="connsiteX31" fmla="*/ 96138 w 411255"/>
                <a:gd name="connsiteY31" fmla="*/ 222563 h 228285"/>
                <a:gd name="connsiteX32" fmla="*/ 134292 w 411255"/>
                <a:gd name="connsiteY32" fmla="*/ 217483 h 228285"/>
                <a:gd name="connsiteX33" fmla="*/ 186044 w 411255"/>
                <a:gd name="connsiteY33" fmla="*/ 218753 h 228285"/>
                <a:gd name="connsiteX34" fmla="*/ 202646 w 411255"/>
                <a:gd name="connsiteY34" fmla="*/ 216413 h 228285"/>
                <a:gd name="connsiteX35" fmla="*/ 217014 w 411255"/>
                <a:gd name="connsiteY35" fmla="*/ 217048 h 228285"/>
                <a:gd name="connsiteX36" fmla="*/ 223712 w 411255"/>
                <a:gd name="connsiteY36" fmla="*/ 210932 h 228285"/>
                <a:gd name="connsiteX37" fmla="*/ 242870 w 411255"/>
                <a:gd name="connsiteY37" fmla="*/ 210932 h 228285"/>
                <a:gd name="connsiteX38" fmla="*/ 312563 w 411255"/>
                <a:gd name="connsiteY38" fmla="*/ 179514 h 228285"/>
                <a:gd name="connsiteX39" fmla="*/ 365654 w 411255"/>
                <a:gd name="connsiteY39" fmla="*/ 138904 h 228285"/>
                <a:gd name="connsiteX40" fmla="*/ 396178 w 411255"/>
                <a:gd name="connsiteY40" fmla="*/ 121356 h 228285"/>
                <a:gd name="connsiteX41" fmla="*/ 411196 w 411255"/>
                <a:gd name="connsiteY41" fmla="*/ 94283 h 228285"/>
                <a:gd name="connsiteX42" fmla="*/ 391997 w 411255"/>
                <a:gd name="connsiteY42" fmla="*/ 94083 h 228285"/>
                <a:gd name="connsiteX43" fmla="*/ 308463 w 411255"/>
                <a:gd name="connsiteY43" fmla="*/ 145154 h 228285"/>
                <a:gd name="connsiteX44" fmla="*/ 294135 w 411255"/>
                <a:gd name="connsiteY44" fmla="*/ 145956 h 228285"/>
                <a:gd name="connsiteX45" fmla="*/ 279847 w 411255"/>
                <a:gd name="connsiteY45" fmla="*/ 155081 h 228285"/>
                <a:gd name="connsiteX46" fmla="*/ 261622 w 411255"/>
                <a:gd name="connsiteY46" fmla="*/ 138803 h 228285"/>
                <a:gd name="connsiteX47" fmla="*/ 298438 w 411255"/>
                <a:gd name="connsiteY47" fmla="*/ 118081 h 228285"/>
                <a:gd name="connsiteX48" fmla="*/ 315283 w 411255"/>
                <a:gd name="connsiteY48" fmla="*/ 129111 h 228285"/>
                <a:gd name="connsiteX49" fmla="*/ 308463 w 411255"/>
                <a:gd name="connsiteY49" fmla="*/ 145154 h 22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11255" h="228285">
                  <a:moveTo>
                    <a:pt x="391997" y="94083"/>
                  </a:moveTo>
                  <a:cubicBezTo>
                    <a:pt x="389074" y="91576"/>
                    <a:pt x="386720" y="100233"/>
                    <a:pt x="377953" y="99865"/>
                  </a:cubicBezTo>
                  <a:cubicBezTo>
                    <a:pt x="366750" y="99397"/>
                    <a:pt x="362732" y="93180"/>
                    <a:pt x="359647" y="86496"/>
                  </a:cubicBezTo>
                  <a:cubicBezTo>
                    <a:pt x="357090" y="81148"/>
                    <a:pt x="361108" y="78374"/>
                    <a:pt x="366994" y="74831"/>
                  </a:cubicBezTo>
                  <a:cubicBezTo>
                    <a:pt x="376289" y="69216"/>
                    <a:pt x="382012" y="72458"/>
                    <a:pt x="391023" y="77337"/>
                  </a:cubicBezTo>
                  <a:cubicBezTo>
                    <a:pt x="391023" y="68514"/>
                    <a:pt x="395082" y="59924"/>
                    <a:pt x="395082" y="51033"/>
                  </a:cubicBezTo>
                  <a:cubicBezTo>
                    <a:pt x="395082" y="42143"/>
                    <a:pt x="386071" y="33653"/>
                    <a:pt x="383636" y="24863"/>
                  </a:cubicBezTo>
                  <a:cubicBezTo>
                    <a:pt x="380186" y="12362"/>
                    <a:pt x="382093" y="9421"/>
                    <a:pt x="362245" y="7081"/>
                  </a:cubicBezTo>
                  <a:cubicBezTo>
                    <a:pt x="357902" y="6580"/>
                    <a:pt x="324862" y="-71"/>
                    <a:pt x="324862" y="-339"/>
                  </a:cubicBezTo>
                  <a:cubicBezTo>
                    <a:pt x="315566" y="7482"/>
                    <a:pt x="305013" y="8418"/>
                    <a:pt x="296164" y="15304"/>
                  </a:cubicBezTo>
                  <a:cubicBezTo>
                    <a:pt x="289346" y="20618"/>
                    <a:pt x="279929" y="18646"/>
                    <a:pt x="272703" y="22289"/>
                  </a:cubicBezTo>
                  <a:cubicBezTo>
                    <a:pt x="264585" y="26266"/>
                    <a:pt x="267711" y="33686"/>
                    <a:pt x="260039" y="37764"/>
                  </a:cubicBezTo>
                  <a:cubicBezTo>
                    <a:pt x="252368" y="41842"/>
                    <a:pt x="245265" y="39870"/>
                    <a:pt x="237878" y="42209"/>
                  </a:cubicBezTo>
                  <a:cubicBezTo>
                    <a:pt x="231911" y="44081"/>
                    <a:pt x="232844" y="52905"/>
                    <a:pt x="230044" y="56448"/>
                  </a:cubicBezTo>
                  <a:cubicBezTo>
                    <a:pt x="223671" y="64403"/>
                    <a:pt x="195867" y="60893"/>
                    <a:pt x="186491" y="57016"/>
                  </a:cubicBezTo>
                  <a:cubicBezTo>
                    <a:pt x="173218" y="51434"/>
                    <a:pt x="161894" y="46989"/>
                    <a:pt x="158809" y="60793"/>
                  </a:cubicBezTo>
                  <a:cubicBezTo>
                    <a:pt x="157348" y="67210"/>
                    <a:pt x="134455" y="79644"/>
                    <a:pt x="125078" y="79343"/>
                  </a:cubicBezTo>
                  <a:cubicBezTo>
                    <a:pt x="121019" y="79343"/>
                    <a:pt x="107950" y="78942"/>
                    <a:pt x="104784" y="76836"/>
                  </a:cubicBezTo>
                  <a:cubicBezTo>
                    <a:pt x="101618" y="74731"/>
                    <a:pt x="104297" y="68848"/>
                    <a:pt x="107828" y="67778"/>
                  </a:cubicBezTo>
                  <a:cubicBezTo>
                    <a:pt x="120492" y="64035"/>
                    <a:pt x="98452" y="43179"/>
                    <a:pt x="90537" y="41040"/>
                  </a:cubicBezTo>
                  <a:cubicBezTo>
                    <a:pt x="89766" y="58085"/>
                    <a:pt x="88995" y="75132"/>
                    <a:pt x="88304" y="92178"/>
                  </a:cubicBezTo>
                  <a:cubicBezTo>
                    <a:pt x="87817" y="103575"/>
                    <a:pt x="87330" y="105848"/>
                    <a:pt x="73165" y="112499"/>
                  </a:cubicBezTo>
                  <a:cubicBezTo>
                    <a:pt x="65574" y="116042"/>
                    <a:pt x="36065" y="117212"/>
                    <a:pt x="30789" y="110661"/>
                  </a:cubicBezTo>
                  <a:cubicBezTo>
                    <a:pt x="28231" y="107319"/>
                    <a:pt x="27055" y="97292"/>
                    <a:pt x="18084" y="99665"/>
                  </a:cubicBezTo>
                  <a:cubicBezTo>
                    <a:pt x="7166" y="102740"/>
                    <a:pt x="14471" y="108756"/>
                    <a:pt x="-60" y="107553"/>
                  </a:cubicBezTo>
                  <a:cubicBezTo>
                    <a:pt x="8221" y="117546"/>
                    <a:pt x="15121" y="128308"/>
                    <a:pt x="20479" y="139606"/>
                  </a:cubicBezTo>
                  <a:cubicBezTo>
                    <a:pt x="25634" y="149065"/>
                    <a:pt x="34198" y="157354"/>
                    <a:pt x="39921" y="166612"/>
                  </a:cubicBezTo>
                  <a:cubicBezTo>
                    <a:pt x="42154" y="170322"/>
                    <a:pt x="43859" y="174232"/>
                    <a:pt x="44995" y="178277"/>
                  </a:cubicBezTo>
                  <a:cubicBezTo>
                    <a:pt x="46781" y="184694"/>
                    <a:pt x="43047" y="183391"/>
                    <a:pt x="37121" y="186131"/>
                  </a:cubicBezTo>
                  <a:cubicBezTo>
                    <a:pt x="29977" y="189474"/>
                    <a:pt x="44589" y="205484"/>
                    <a:pt x="44954" y="210798"/>
                  </a:cubicBezTo>
                  <a:cubicBezTo>
                    <a:pt x="45320" y="216112"/>
                    <a:pt x="63220" y="219020"/>
                    <a:pt x="67725" y="222797"/>
                  </a:cubicBezTo>
                  <a:cubicBezTo>
                    <a:pt x="79902" y="233158"/>
                    <a:pt x="82257" y="225103"/>
                    <a:pt x="96138" y="222563"/>
                  </a:cubicBezTo>
                  <a:cubicBezTo>
                    <a:pt x="110020" y="220023"/>
                    <a:pt x="121141" y="221728"/>
                    <a:pt x="134292" y="217483"/>
                  </a:cubicBezTo>
                  <a:cubicBezTo>
                    <a:pt x="152315" y="211634"/>
                    <a:pt x="168185" y="217182"/>
                    <a:pt x="186044" y="218753"/>
                  </a:cubicBezTo>
                  <a:cubicBezTo>
                    <a:pt x="191727" y="219221"/>
                    <a:pt x="197491" y="218419"/>
                    <a:pt x="202646" y="216413"/>
                  </a:cubicBezTo>
                  <a:cubicBezTo>
                    <a:pt x="207273" y="214642"/>
                    <a:pt x="212834" y="218920"/>
                    <a:pt x="217014" y="217048"/>
                  </a:cubicBezTo>
                  <a:cubicBezTo>
                    <a:pt x="221195" y="215176"/>
                    <a:pt x="218151" y="211968"/>
                    <a:pt x="223712" y="210932"/>
                  </a:cubicBezTo>
                  <a:cubicBezTo>
                    <a:pt x="230044" y="209762"/>
                    <a:pt x="236538" y="211701"/>
                    <a:pt x="242870" y="210932"/>
                  </a:cubicBezTo>
                  <a:cubicBezTo>
                    <a:pt x="269294" y="208024"/>
                    <a:pt x="294135" y="191680"/>
                    <a:pt x="312563" y="179514"/>
                  </a:cubicBezTo>
                  <a:cubicBezTo>
                    <a:pt x="331802" y="166712"/>
                    <a:pt x="347389" y="152206"/>
                    <a:pt x="365654" y="138904"/>
                  </a:cubicBezTo>
                  <a:cubicBezTo>
                    <a:pt x="375233" y="132353"/>
                    <a:pt x="385421" y="126504"/>
                    <a:pt x="396178" y="121356"/>
                  </a:cubicBezTo>
                  <a:cubicBezTo>
                    <a:pt x="406528" y="116109"/>
                    <a:pt x="408882" y="102205"/>
                    <a:pt x="411196" y="94283"/>
                  </a:cubicBezTo>
                  <a:cubicBezTo>
                    <a:pt x="404823" y="93849"/>
                    <a:pt x="398410" y="93782"/>
                    <a:pt x="391997" y="94083"/>
                  </a:cubicBezTo>
                  <a:close/>
                  <a:moveTo>
                    <a:pt x="308463" y="145154"/>
                  </a:moveTo>
                  <a:cubicBezTo>
                    <a:pt x="308179" y="148296"/>
                    <a:pt x="296936" y="145421"/>
                    <a:pt x="294135" y="145956"/>
                  </a:cubicBezTo>
                  <a:cubicBezTo>
                    <a:pt x="284678" y="147828"/>
                    <a:pt x="291091" y="156819"/>
                    <a:pt x="279847" y="155081"/>
                  </a:cubicBezTo>
                  <a:cubicBezTo>
                    <a:pt x="274327" y="154245"/>
                    <a:pt x="258335" y="141511"/>
                    <a:pt x="261622" y="138803"/>
                  </a:cubicBezTo>
                  <a:cubicBezTo>
                    <a:pt x="271527" y="130682"/>
                    <a:pt x="280172" y="118281"/>
                    <a:pt x="298438" y="118081"/>
                  </a:cubicBezTo>
                  <a:cubicBezTo>
                    <a:pt x="304039" y="118081"/>
                    <a:pt x="311913" y="126337"/>
                    <a:pt x="315283" y="129111"/>
                  </a:cubicBezTo>
                  <a:cubicBezTo>
                    <a:pt x="323928" y="136330"/>
                    <a:pt x="308869" y="138503"/>
                    <a:pt x="308463" y="14515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35A7566A-2739-48B1-AB90-2A04B5A908C2}"/>
                </a:ext>
              </a:extLst>
            </p:cNvPr>
            <p:cNvSpPr/>
            <p:nvPr/>
          </p:nvSpPr>
          <p:spPr>
            <a:xfrm>
              <a:off x="6141988" y="4950998"/>
              <a:ext cx="316738" cy="214593"/>
            </a:xfrm>
            <a:custGeom>
              <a:avLst/>
              <a:gdLst>
                <a:gd name="connsiteX0" fmla="*/ 17719 w 316738"/>
                <a:gd name="connsiteY0" fmla="*/ 193782 h 214593"/>
                <a:gd name="connsiteX1" fmla="*/ 25430 w 316738"/>
                <a:gd name="connsiteY1" fmla="*/ 197859 h 214593"/>
                <a:gd name="connsiteX2" fmla="*/ 48810 w 316738"/>
                <a:gd name="connsiteY2" fmla="*/ 196322 h 214593"/>
                <a:gd name="connsiteX3" fmla="*/ 87411 w 316738"/>
                <a:gd name="connsiteY3" fmla="*/ 203007 h 214593"/>
                <a:gd name="connsiteX4" fmla="*/ 164532 w 316738"/>
                <a:gd name="connsiteY4" fmla="*/ 204477 h 214593"/>
                <a:gd name="connsiteX5" fmla="*/ 177926 w 316738"/>
                <a:gd name="connsiteY5" fmla="*/ 210159 h 214593"/>
                <a:gd name="connsiteX6" fmla="*/ 205000 w 316738"/>
                <a:gd name="connsiteY6" fmla="*/ 210594 h 214593"/>
                <a:gd name="connsiteX7" fmla="*/ 240678 w 316738"/>
                <a:gd name="connsiteY7" fmla="*/ 213401 h 214593"/>
                <a:gd name="connsiteX8" fmla="*/ 285327 w 316738"/>
                <a:gd name="connsiteY8" fmla="*/ 211530 h 214593"/>
                <a:gd name="connsiteX9" fmla="*/ 257280 w 316738"/>
                <a:gd name="connsiteY9" fmla="*/ 177137 h 214593"/>
                <a:gd name="connsiteX10" fmla="*/ 262393 w 316738"/>
                <a:gd name="connsiteY10" fmla="*/ 127235 h 214593"/>
                <a:gd name="connsiteX11" fmla="*/ 301522 w 316738"/>
                <a:gd name="connsiteY11" fmla="*/ 129608 h 214593"/>
                <a:gd name="connsiteX12" fmla="*/ 312928 w 316738"/>
                <a:gd name="connsiteY12" fmla="*/ 110256 h 214593"/>
                <a:gd name="connsiteX13" fmla="*/ 316541 w 316738"/>
                <a:gd name="connsiteY13" fmla="*/ 94781 h 214593"/>
                <a:gd name="connsiteX14" fmla="*/ 301725 w 316738"/>
                <a:gd name="connsiteY14" fmla="*/ 92575 h 214593"/>
                <a:gd name="connsiteX15" fmla="*/ 280659 w 316738"/>
                <a:gd name="connsiteY15" fmla="*/ 92575 h 214593"/>
                <a:gd name="connsiteX16" fmla="*/ 271161 w 316738"/>
                <a:gd name="connsiteY16" fmla="*/ 95917 h 214593"/>
                <a:gd name="connsiteX17" fmla="*/ 271729 w 316738"/>
                <a:gd name="connsiteY17" fmla="*/ 79740 h 214593"/>
                <a:gd name="connsiteX18" fmla="*/ 258010 w 316738"/>
                <a:gd name="connsiteY18" fmla="*/ 64733 h 214593"/>
                <a:gd name="connsiteX19" fmla="*/ 264585 w 316738"/>
                <a:gd name="connsiteY19" fmla="*/ 47286 h 214593"/>
                <a:gd name="connsiteX20" fmla="*/ 260202 w 316738"/>
                <a:gd name="connsiteY20" fmla="*/ 30407 h 214593"/>
                <a:gd name="connsiteX21" fmla="*/ 235848 w 316738"/>
                <a:gd name="connsiteY21" fmla="*/ 27065 h 214593"/>
                <a:gd name="connsiteX22" fmla="*/ 200697 w 316738"/>
                <a:gd name="connsiteY22" fmla="*/ 29772 h 214593"/>
                <a:gd name="connsiteX23" fmla="*/ 185598 w 316738"/>
                <a:gd name="connsiteY23" fmla="*/ 37426 h 214593"/>
                <a:gd name="connsiteX24" fmla="*/ 146713 w 316738"/>
                <a:gd name="connsiteY24" fmla="*/ 36123 h 214593"/>
                <a:gd name="connsiteX25" fmla="*/ 129909 w 316738"/>
                <a:gd name="connsiteY25" fmla="*/ 18742 h 214593"/>
                <a:gd name="connsiteX26" fmla="*/ 125850 w 316738"/>
                <a:gd name="connsiteY26" fmla="*/ 1195 h 214593"/>
                <a:gd name="connsiteX27" fmla="*/ 87046 w 316738"/>
                <a:gd name="connsiteY27" fmla="*/ 326 h 214593"/>
                <a:gd name="connsiteX28" fmla="*/ 38338 w 316738"/>
                <a:gd name="connsiteY28" fmla="*/ -8 h 214593"/>
                <a:gd name="connsiteX29" fmla="*/ 40043 w 316738"/>
                <a:gd name="connsiteY29" fmla="*/ 34351 h 214593"/>
                <a:gd name="connsiteX30" fmla="*/ 45685 w 316738"/>
                <a:gd name="connsiteY30" fmla="*/ 72187 h 214593"/>
                <a:gd name="connsiteX31" fmla="*/ 41626 w 316738"/>
                <a:gd name="connsiteY31" fmla="*/ 116339 h 214593"/>
                <a:gd name="connsiteX32" fmla="*/ 22792 w 316738"/>
                <a:gd name="connsiteY32" fmla="*/ 136627 h 214593"/>
                <a:gd name="connsiteX33" fmla="*/ 14675 w 316738"/>
                <a:gd name="connsiteY33" fmla="*/ 160224 h 214593"/>
                <a:gd name="connsiteX34" fmla="*/ -60 w 316738"/>
                <a:gd name="connsiteY34" fmla="*/ 199464 h 214593"/>
                <a:gd name="connsiteX35" fmla="*/ 17719 w 316738"/>
                <a:gd name="connsiteY35" fmla="*/ 193782 h 2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6738" h="214593">
                  <a:moveTo>
                    <a:pt x="17719" y="193782"/>
                  </a:moveTo>
                  <a:cubicBezTo>
                    <a:pt x="22508" y="193782"/>
                    <a:pt x="21331" y="197592"/>
                    <a:pt x="25430" y="197859"/>
                  </a:cubicBezTo>
                  <a:cubicBezTo>
                    <a:pt x="33548" y="198327"/>
                    <a:pt x="39718" y="194250"/>
                    <a:pt x="48810" y="196322"/>
                  </a:cubicBezTo>
                  <a:cubicBezTo>
                    <a:pt x="62895" y="199664"/>
                    <a:pt x="72149" y="202739"/>
                    <a:pt x="87411" y="203007"/>
                  </a:cubicBezTo>
                  <a:cubicBezTo>
                    <a:pt x="113145" y="203384"/>
                    <a:pt x="138838" y="203876"/>
                    <a:pt x="164532" y="204477"/>
                  </a:cubicBezTo>
                  <a:cubicBezTo>
                    <a:pt x="171554" y="204477"/>
                    <a:pt x="172893" y="206717"/>
                    <a:pt x="177926" y="210159"/>
                  </a:cubicBezTo>
                  <a:cubicBezTo>
                    <a:pt x="181539" y="212666"/>
                    <a:pt x="199926" y="210560"/>
                    <a:pt x="205000" y="210594"/>
                  </a:cubicBezTo>
                  <a:cubicBezTo>
                    <a:pt x="216974" y="210631"/>
                    <a:pt x="228907" y="211570"/>
                    <a:pt x="240678" y="213401"/>
                  </a:cubicBezTo>
                  <a:cubicBezTo>
                    <a:pt x="255615" y="215674"/>
                    <a:pt x="270755" y="212833"/>
                    <a:pt x="285327" y="211530"/>
                  </a:cubicBezTo>
                  <a:cubicBezTo>
                    <a:pt x="274449" y="200968"/>
                    <a:pt x="255980" y="189971"/>
                    <a:pt x="257280" y="177137"/>
                  </a:cubicBezTo>
                  <a:lnTo>
                    <a:pt x="262393" y="127235"/>
                  </a:lnTo>
                  <a:cubicBezTo>
                    <a:pt x="275423" y="128004"/>
                    <a:pt x="288493" y="128773"/>
                    <a:pt x="301522" y="129608"/>
                  </a:cubicBezTo>
                  <a:cubicBezTo>
                    <a:pt x="312197" y="130310"/>
                    <a:pt x="312157" y="113565"/>
                    <a:pt x="312928" y="110256"/>
                  </a:cubicBezTo>
                  <a:cubicBezTo>
                    <a:pt x="314105" y="105109"/>
                    <a:pt x="315323" y="99928"/>
                    <a:pt x="316541" y="94781"/>
                  </a:cubicBezTo>
                  <a:cubicBezTo>
                    <a:pt x="317961" y="88731"/>
                    <a:pt x="308138" y="92274"/>
                    <a:pt x="301725" y="92575"/>
                  </a:cubicBezTo>
                  <a:cubicBezTo>
                    <a:pt x="295312" y="92876"/>
                    <a:pt x="286667" y="90804"/>
                    <a:pt x="280659" y="92575"/>
                  </a:cubicBezTo>
                  <a:cubicBezTo>
                    <a:pt x="277940" y="93444"/>
                    <a:pt x="274814" y="96686"/>
                    <a:pt x="271161" y="95917"/>
                  </a:cubicBezTo>
                  <a:cubicBezTo>
                    <a:pt x="264464" y="94614"/>
                    <a:pt x="272866" y="82715"/>
                    <a:pt x="271729" y="79740"/>
                  </a:cubicBezTo>
                  <a:cubicBezTo>
                    <a:pt x="269497" y="74125"/>
                    <a:pt x="257564" y="70181"/>
                    <a:pt x="258010" y="64733"/>
                  </a:cubicBezTo>
                  <a:cubicBezTo>
                    <a:pt x="258497" y="58717"/>
                    <a:pt x="262962" y="53169"/>
                    <a:pt x="264585" y="47286"/>
                  </a:cubicBezTo>
                  <a:cubicBezTo>
                    <a:pt x="265965" y="42306"/>
                    <a:pt x="259918" y="36056"/>
                    <a:pt x="260202" y="30407"/>
                  </a:cubicBezTo>
                  <a:cubicBezTo>
                    <a:pt x="260486" y="24759"/>
                    <a:pt x="241937" y="28001"/>
                    <a:pt x="235848" y="27065"/>
                  </a:cubicBezTo>
                  <a:cubicBezTo>
                    <a:pt x="223671" y="24792"/>
                    <a:pt x="206583" y="15534"/>
                    <a:pt x="200697" y="29772"/>
                  </a:cubicBezTo>
                  <a:cubicBezTo>
                    <a:pt x="197410" y="37693"/>
                    <a:pt x="197897" y="36791"/>
                    <a:pt x="185598" y="37426"/>
                  </a:cubicBezTo>
                  <a:cubicBezTo>
                    <a:pt x="173299" y="38061"/>
                    <a:pt x="155358" y="44111"/>
                    <a:pt x="146713" y="36123"/>
                  </a:cubicBezTo>
                  <a:cubicBezTo>
                    <a:pt x="142654" y="32546"/>
                    <a:pt x="130883" y="22753"/>
                    <a:pt x="129909" y="18742"/>
                  </a:cubicBezTo>
                  <a:cubicBezTo>
                    <a:pt x="128813" y="14197"/>
                    <a:pt x="133968" y="4805"/>
                    <a:pt x="125850" y="1195"/>
                  </a:cubicBezTo>
                  <a:cubicBezTo>
                    <a:pt x="119436" y="-1713"/>
                    <a:pt x="94758" y="426"/>
                    <a:pt x="87046" y="326"/>
                  </a:cubicBezTo>
                  <a:cubicBezTo>
                    <a:pt x="70810" y="25"/>
                    <a:pt x="54331" y="-610"/>
                    <a:pt x="38338" y="-8"/>
                  </a:cubicBezTo>
                  <a:cubicBezTo>
                    <a:pt x="7653" y="1195"/>
                    <a:pt x="32940" y="24792"/>
                    <a:pt x="40043" y="34351"/>
                  </a:cubicBezTo>
                  <a:cubicBezTo>
                    <a:pt x="49541" y="47152"/>
                    <a:pt x="37607" y="58383"/>
                    <a:pt x="45685" y="72187"/>
                  </a:cubicBezTo>
                  <a:cubicBezTo>
                    <a:pt x="55751" y="89400"/>
                    <a:pt x="62449" y="101399"/>
                    <a:pt x="41626" y="116339"/>
                  </a:cubicBezTo>
                  <a:cubicBezTo>
                    <a:pt x="33630" y="121894"/>
                    <a:pt x="27217" y="128820"/>
                    <a:pt x="22792" y="136627"/>
                  </a:cubicBezTo>
                  <a:cubicBezTo>
                    <a:pt x="18490" y="144315"/>
                    <a:pt x="19545" y="152771"/>
                    <a:pt x="14675" y="160224"/>
                  </a:cubicBezTo>
                  <a:cubicBezTo>
                    <a:pt x="6232" y="173594"/>
                    <a:pt x="752" y="184457"/>
                    <a:pt x="-60" y="199464"/>
                  </a:cubicBezTo>
                  <a:cubicBezTo>
                    <a:pt x="8180" y="199063"/>
                    <a:pt x="10453" y="193748"/>
                    <a:pt x="17719" y="1937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8F3EBD05-B453-4631-8A0F-E96ACD54503F}"/>
                </a:ext>
              </a:extLst>
            </p:cNvPr>
            <p:cNvSpPr/>
            <p:nvPr/>
          </p:nvSpPr>
          <p:spPr>
            <a:xfrm>
              <a:off x="6399514" y="5007139"/>
              <a:ext cx="315259" cy="164009"/>
            </a:xfrm>
            <a:custGeom>
              <a:avLst/>
              <a:gdLst>
                <a:gd name="connsiteX0" fmla="*/ 247431 w 315259"/>
                <a:gd name="connsiteY0" fmla="*/ 7523 h 164009"/>
                <a:gd name="connsiteX1" fmla="*/ 224701 w 315259"/>
                <a:gd name="connsiteY1" fmla="*/ 471 h 164009"/>
                <a:gd name="connsiteX2" fmla="*/ 191418 w 315259"/>
                <a:gd name="connsiteY2" fmla="*/ 872 h 164009"/>
                <a:gd name="connsiteX3" fmla="*/ 189470 w 315259"/>
                <a:gd name="connsiteY3" fmla="*/ 8894 h 164009"/>
                <a:gd name="connsiteX4" fmla="*/ 180378 w 315259"/>
                <a:gd name="connsiteY4" fmla="*/ 17417 h 164009"/>
                <a:gd name="connsiteX5" fmla="*/ 184437 w 315259"/>
                <a:gd name="connsiteY5" fmla="*/ 23667 h 164009"/>
                <a:gd name="connsiteX6" fmla="*/ 181595 w 315259"/>
                <a:gd name="connsiteY6" fmla="*/ 33327 h 164009"/>
                <a:gd name="connsiteX7" fmla="*/ 179241 w 315259"/>
                <a:gd name="connsiteY7" fmla="*/ 61436 h 164009"/>
                <a:gd name="connsiteX8" fmla="*/ 204406 w 315259"/>
                <a:gd name="connsiteY8" fmla="*/ 66783 h 164009"/>
                <a:gd name="connsiteX9" fmla="*/ 208465 w 315259"/>
                <a:gd name="connsiteY9" fmla="*/ 82693 h 164009"/>
                <a:gd name="connsiteX10" fmla="*/ 176481 w 315259"/>
                <a:gd name="connsiteY10" fmla="*/ 71964 h 164009"/>
                <a:gd name="connsiteX11" fmla="*/ 156186 w 315259"/>
                <a:gd name="connsiteY11" fmla="*/ 65279 h 164009"/>
                <a:gd name="connsiteX12" fmla="*/ 134998 w 315259"/>
                <a:gd name="connsiteY12" fmla="*/ 54818 h 164009"/>
                <a:gd name="connsiteX13" fmla="*/ 116570 w 315259"/>
                <a:gd name="connsiteY13" fmla="*/ 58160 h 164009"/>
                <a:gd name="connsiteX14" fmla="*/ 92216 w 315259"/>
                <a:gd name="connsiteY14" fmla="*/ 50573 h 164009"/>
                <a:gd name="connsiteX15" fmla="*/ 77604 w 315259"/>
                <a:gd name="connsiteY15" fmla="*/ 43888 h 164009"/>
                <a:gd name="connsiteX16" fmla="*/ 60110 w 315259"/>
                <a:gd name="connsiteY16" fmla="*/ 35900 h 164009"/>
                <a:gd name="connsiteX17" fmla="*/ 52357 w 315259"/>
                <a:gd name="connsiteY17" fmla="*/ 69157 h 164009"/>
                <a:gd name="connsiteX18" fmla="*/ 5314 w 315259"/>
                <a:gd name="connsiteY18" fmla="*/ 71129 h 164009"/>
                <a:gd name="connsiteX19" fmla="*/ -4 w 315259"/>
                <a:gd name="connsiteY19" fmla="*/ 122935 h 164009"/>
                <a:gd name="connsiteX20" fmla="*/ 11240 w 315259"/>
                <a:gd name="connsiteY20" fmla="*/ 138945 h 164009"/>
                <a:gd name="connsiteX21" fmla="*/ 25609 w 315259"/>
                <a:gd name="connsiteY21" fmla="*/ 152849 h 164009"/>
                <a:gd name="connsiteX22" fmla="*/ 43955 w 315259"/>
                <a:gd name="connsiteY22" fmla="*/ 154320 h 164009"/>
                <a:gd name="connsiteX23" fmla="*/ 73748 w 315259"/>
                <a:gd name="connsiteY23" fmla="*/ 154621 h 164009"/>
                <a:gd name="connsiteX24" fmla="*/ 78456 w 315259"/>
                <a:gd name="connsiteY24" fmla="*/ 160102 h 164009"/>
                <a:gd name="connsiteX25" fmla="*/ 94977 w 315259"/>
                <a:gd name="connsiteY25" fmla="*/ 159935 h 164009"/>
                <a:gd name="connsiteX26" fmla="*/ 140031 w 315259"/>
                <a:gd name="connsiteY26" fmla="*/ 154387 h 164009"/>
                <a:gd name="connsiteX27" fmla="*/ 165359 w 315259"/>
                <a:gd name="connsiteY27" fmla="*/ 144360 h 164009"/>
                <a:gd name="connsiteX28" fmla="*/ 180865 w 315259"/>
                <a:gd name="connsiteY28" fmla="*/ 132895 h 164009"/>
                <a:gd name="connsiteX29" fmla="*/ 219709 w 315259"/>
                <a:gd name="connsiteY29" fmla="*/ 129820 h 164009"/>
                <a:gd name="connsiteX30" fmla="*/ 234078 w 315259"/>
                <a:gd name="connsiteY30" fmla="*/ 113777 h 164009"/>
                <a:gd name="connsiteX31" fmla="*/ 290903 w 315259"/>
                <a:gd name="connsiteY31" fmla="*/ 104987 h 164009"/>
                <a:gd name="connsiteX32" fmla="*/ 291837 w 315259"/>
                <a:gd name="connsiteY32" fmla="*/ 86537 h 164009"/>
                <a:gd name="connsiteX33" fmla="*/ 294232 w 315259"/>
                <a:gd name="connsiteY33" fmla="*/ 79852 h 164009"/>
                <a:gd name="connsiteX34" fmla="*/ 305312 w 315259"/>
                <a:gd name="connsiteY34" fmla="*/ 78883 h 164009"/>
                <a:gd name="connsiteX35" fmla="*/ 301903 w 315259"/>
                <a:gd name="connsiteY35" fmla="*/ 70560 h 164009"/>
                <a:gd name="connsiteX36" fmla="*/ 304176 w 315259"/>
                <a:gd name="connsiteY36" fmla="*/ 53848 h 164009"/>
                <a:gd name="connsiteX37" fmla="*/ 313430 w 315259"/>
                <a:gd name="connsiteY37" fmla="*/ 39142 h 164009"/>
                <a:gd name="connsiteX38" fmla="*/ 288062 w 315259"/>
                <a:gd name="connsiteY38" fmla="*/ 20358 h 164009"/>
                <a:gd name="connsiteX39" fmla="*/ 247431 w 315259"/>
                <a:gd name="connsiteY39" fmla="*/ 7523 h 164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5259" h="164009">
                  <a:moveTo>
                    <a:pt x="247431" y="7523"/>
                  </a:moveTo>
                  <a:cubicBezTo>
                    <a:pt x="237325" y="6822"/>
                    <a:pt x="234240" y="-1367"/>
                    <a:pt x="224701" y="471"/>
                  </a:cubicBezTo>
                  <a:cubicBezTo>
                    <a:pt x="217152" y="1942"/>
                    <a:pt x="196288" y="-2303"/>
                    <a:pt x="191418" y="872"/>
                  </a:cubicBezTo>
                  <a:cubicBezTo>
                    <a:pt x="188536" y="2710"/>
                    <a:pt x="190444" y="6621"/>
                    <a:pt x="189470" y="8894"/>
                  </a:cubicBezTo>
                  <a:cubicBezTo>
                    <a:pt x="187927" y="12470"/>
                    <a:pt x="180174" y="13139"/>
                    <a:pt x="180378" y="17417"/>
                  </a:cubicBezTo>
                  <a:cubicBezTo>
                    <a:pt x="180378" y="20057"/>
                    <a:pt x="184437" y="20592"/>
                    <a:pt x="184437" y="23667"/>
                  </a:cubicBezTo>
                  <a:cubicBezTo>
                    <a:pt x="183909" y="26959"/>
                    <a:pt x="182975" y="30198"/>
                    <a:pt x="181595" y="33327"/>
                  </a:cubicBezTo>
                  <a:cubicBezTo>
                    <a:pt x="177536" y="45058"/>
                    <a:pt x="169743" y="50306"/>
                    <a:pt x="179241" y="61436"/>
                  </a:cubicBezTo>
                  <a:cubicBezTo>
                    <a:pt x="185735" y="69090"/>
                    <a:pt x="192635" y="70560"/>
                    <a:pt x="204406" y="66783"/>
                  </a:cubicBezTo>
                  <a:cubicBezTo>
                    <a:pt x="214067" y="63708"/>
                    <a:pt x="210211" y="80153"/>
                    <a:pt x="208465" y="82693"/>
                  </a:cubicBezTo>
                  <a:cubicBezTo>
                    <a:pt x="199130" y="95093"/>
                    <a:pt x="178794" y="80019"/>
                    <a:pt x="176481" y="71964"/>
                  </a:cubicBezTo>
                  <a:cubicBezTo>
                    <a:pt x="174695" y="65580"/>
                    <a:pt x="165197" y="65915"/>
                    <a:pt x="156186" y="65279"/>
                  </a:cubicBezTo>
                  <a:cubicBezTo>
                    <a:pt x="147175" y="64644"/>
                    <a:pt x="144009" y="49370"/>
                    <a:pt x="134998" y="54818"/>
                  </a:cubicBezTo>
                  <a:cubicBezTo>
                    <a:pt x="129153" y="58160"/>
                    <a:pt x="126636" y="60968"/>
                    <a:pt x="116570" y="58160"/>
                  </a:cubicBezTo>
                  <a:cubicBezTo>
                    <a:pt x="111050" y="56523"/>
                    <a:pt x="94530" y="53715"/>
                    <a:pt x="92216" y="50573"/>
                  </a:cubicBezTo>
                  <a:cubicBezTo>
                    <a:pt x="87386" y="44289"/>
                    <a:pt x="92216" y="41348"/>
                    <a:pt x="77604" y="43888"/>
                  </a:cubicBezTo>
                  <a:cubicBezTo>
                    <a:pt x="66036" y="45860"/>
                    <a:pt x="68918" y="39042"/>
                    <a:pt x="60110" y="35900"/>
                  </a:cubicBezTo>
                  <a:cubicBezTo>
                    <a:pt x="57390" y="47040"/>
                    <a:pt x="54833" y="58127"/>
                    <a:pt x="52357" y="69157"/>
                  </a:cubicBezTo>
                  <a:cubicBezTo>
                    <a:pt x="50328" y="77813"/>
                    <a:pt x="13594" y="71563"/>
                    <a:pt x="5314" y="71129"/>
                  </a:cubicBezTo>
                  <a:cubicBezTo>
                    <a:pt x="3528" y="88375"/>
                    <a:pt x="1742" y="105645"/>
                    <a:pt x="-4" y="122935"/>
                  </a:cubicBezTo>
                  <a:cubicBezTo>
                    <a:pt x="-694" y="129620"/>
                    <a:pt x="5111" y="132962"/>
                    <a:pt x="11240" y="138945"/>
                  </a:cubicBezTo>
                  <a:lnTo>
                    <a:pt x="25609" y="152849"/>
                  </a:lnTo>
                  <a:cubicBezTo>
                    <a:pt x="30033" y="157127"/>
                    <a:pt x="36487" y="154721"/>
                    <a:pt x="43955" y="154320"/>
                  </a:cubicBezTo>
                  <a:cubicBezTo>
                    <a:pt x="53291" y="153852"/>
                    <a:pt x="64494" y="152849"/>
                    <a:pt x="73748" y="154621"/>
                  </a:cubicBezTo>
                  <a:cubicBezTo>
                    <a:pt x="77807" y="155423"/>
                    <a:pt x="76549" y="157629"/>
                    <a:pt x="78456" y="160102"/>
                  </a:cubicBezTo>
                  <a:cubicBezTo>
                    <a:pt x="83896" y="159180"/>
                    <a:pt x="89497" y="159123"/>
                    <a:pt x="94977" y="159935"/>
                  </a:cubicBezTo>
                  <a:cubicBezTo>
                    <a:pt x="118925" y="164848"/>
                    <a:pt x="123836" y="166620"/>
                    <a:pt x="140031" y="154387"/>
                  </a:cubicBezTo>
                  <a:cubicBezTo>
                    <a:pt x="147784" y="148538"/>
                    <a:pt x="155171" y="147702"/>
                    <a:pt x="165359" y="144360"/>
                  </a:cubicBezTo>
                  <a:cubicBezTo>
                    <a:pt x="175547" y="141017"/>
                    <a:pt x="175872" y="138176"/>
                    <a:pt x="180865" y="132895"/>
                  </a:cubicBezTo>
                  <a:cubicBezTo>
                    <a:pt x="187359" y="126044"/>
                    <a:pt x="209277" y="129352"/>
                    <a:pt x="219709" y="129820"/>
                  </a:cubicBezTo>
                  <a:cubicBezTo>
                    <a:pt x="215122" y="116083"/>
                    <a:pt x="213661" y="117153"/>
                    <a:pt x="234078" y="113777"/>
                  </a:cubicBezTo>
                  <a:cubicBezTo>
                    <a:pt x="252018" y="110802"/>
                    <a:pt x="272272" y="105454"/>
                    <a:pt x="290903" y="104987"/>
                  </a:cubicBezTo>
                  <a:cubicBezTo>
                    <a:pt x="285789" y="96831"/>
                    <a:pt x="289807" y="94960"/>
                    <a:pt x="291837" y="86537"/>
                  </a:cubicBezTo>
                  <a:cubicBezTo>
                    <a:pt x="292121" y="85300"/>
                    <a:pt x="291837" y="80554"/>
                    <a:pt x="294232" y="79852"/>
                  </a:cubicBezTo>
                  <a:cubicBezTo>
                    <a:pt x="296626" y="79150"/>
                    <a:pt x="304541" y="80287"/>
                    <a:pt x="305312" y="78883"/>
                  </a:cubicBezTo>
                  <a:cubicBezTo>
                    <a:pt x="305800" y="78047"/>
                    <a:pt x="301984" y="71931"/>
                    <a:pt x="301903" y="70560"/>
                  </a:cubicBezTo>
                  <a:cubicBezTo>
                    <a:pt x="301579" y="64925"/>
                    <a:pt x="302349" y="59283"/>
                    <a:pt x="304176" y="53848"/>
                  </a:cubicBezTo>
                  <a:cubicBezTo>
                    <a:pt x="307301" y="44423"/>
                    <a:pt x="319763" y="51275"/>
                    <a:pt x="313430" y="39142"/>
                  </a:cubicBezTo>
                  <a:cubicBezTo>
                    <a:pt x="308195" y="29115"/>
                    <a:pt x="302837" y="25372"/>
                    <a:pt x="288062" y="20358"/>
                  </a:cubicBezTo>
                  <a:cubicBezTo>
                    <a:pt x="277062" y="16381"/>
                    <a:pt x="258919" y="8292"/>
                    <a:pt x="247431" y="752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9C757150-7DD9-4E63-A1F5-A79B83B8964D}"/>
                </a:ext>
              </a:extLst>
            </p:cNvPr>
            <p:cNvSpPr/>
            <p:nvPr/>
          </p:nvSpPr>
          <p:spPr>
            <a:xfrm>
              <a:off x="6601734" y="4884983"/>
              <a:ext cx="53704" cy="26171"/>
            </a:xfrm>
            <a:custGeom>
              <a:avLst/>
              <a:gdLst>
                <a:gd name="connsiteX0" fmla="*/ 46389 w 53704"/>
                <a:gd name="connsiteY0" fmla="*/ -339 h 26171"/>
                <a:gd name="connsiteX1" fmla="*/ 6855 w 53704"/>
                <a:gd name="connsiteY1" fmla="*/ 10925 h 26171"/>
                <a:gd name="connsiteX2" fmla="*/ -45 w 53704"/>
                <a:gd name="connsiteY2" fmla="*/ 18880 h 26171"/>
                <a:gd name="connsiteX3" fmla="*/ 20615 w 53704"/>
                <a:gd name="connsiteY3" fmla="*/ 25832 h 26171"/>
                <a:gd name="connsiteX4" fmla="*/ 28733 w 53704"/>
                <a:gd name="connsiteY4" fmla="*/ 20885 h 26171"/>
                <a:gd name="connsiteX5" fmla="*/ 44684 w 53704"/>
                <a:gd name="connsiteY5" fmla="*/ 21453 h 26171"/>
                <a:gd name="connsiteX6" fmla="*/ 46389 w 53704"/>
                <a:gd name="connsiteY6" fmla="*/ -339 h 2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704" h="26171">
                  <a:moveTo>
                    <a:pt x="46389" y="-339"/>
                  </a:moveTo>
                  <a:cubicBezTo>
                    <a:pt x="32304" y="1098"/>
                    <a:pt x="8884" y="597"/>
                    <a:pt x="6855" y="10925"/>
                  </a:cubicBezTo>
                  <a:cubicBezTo>
                    <a:pt x="6002" y="15270"/>
                    <a:pt x="360" y="14267"/>
                    <a:pt x="-45" y="18880"/>
                  </a:cubicBezTo>
                  <a:cubicBezTo>
                    <a:pt x="-573" y="24829"/>
                    <a:pt x="13795" y="25865"/>
                    <a:pt x="20615" y="25832"/>
                  </a:cubicBezTo>
                  <a:cubicBezTo>
                    <a:pt x="28124" y="25832"/>
                    <a:pt x="25810" y="21587"/>
                    <a:pt x="28733" y="20885"/>
                  </a:cubicBezTo>
                  <a:cubicBezTo>
                    <a:pt x="32467" y="20083"/>
                    <a:pt x="40463" y="21654"/>
                    <a:pt x="44684" y="21453"/>
                  </a:cubicBezTo>
                  <a:cubicBezTo>
                    <a:pt x="61894" y="20618"/>
                    <a:pt x="49596" y="6112"/>
                    <a:pt x="46389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9AEA8002-7241-4F51-9E84-182D75E1CBAD}"/>
                </a:ext>
              </a:extLst>
            </p:cNvPr>
            <p:cNvSpPr/>
            <p:nvPr/>
          </p:nvSpPr>
          <p:spPr>
            <a:xfrm>
              <a:off x="6942382" y="4705688"/>
              <a:ext cx="327730" cy="214122"/>
            </a:xfrm>
            <a:custGeom>
              <a:avLst/>
              <a:gdLst>
                <a:gd name="connsiteX0" fmla="*/ 93738 w 327730"/>
                <a:gd name="connsiteY0" fmla="*/ 28216 h 214122"/>
                <a:gd name="connsiteX1" fmla="*/ 117199 w 327730"/>
                <a:gd name="connsiteY1" fmla="*/ 42254 h 214122"/>
                <a:gd name="connsiteX2" fmla="*/ 166719 w 327730"/>
                <a:gd name="connsiteY2" fmla="*/ 59233 h 214122"/>
                <a:gd name="connsiteX3" fmla="*/ 204995 w 327730"/>
                <a:gd name="connsiteY3" fmla="*/ 69261 h 214122"/>
                <a:gd name="connsiteX4" fmla="*/ 207552 w 327730"/>
                <a:gd name="connsiteY4" fmla="*/ 76881 h 214122"/>
                <a:gd name="connsiteX5" fmla="*/ 148534 w 327730"/>
                <a:gd name="connsiteY5" fmla="*/ 101982 h 214122"/>
                <a:gd name="connsiteX6" fmla="*/ 126494 w 327730"/>
                <a:gd name="connsiteY6" fmla="*/ 111541 h 214122"/>
                <a:gd name="connsiteX7" fmla="*/ 79816 w 327730"/>
                <a:gd name="connsiteY7" fmla="*/ 111541 h 214122"/>
                <a:gd name="connsiteX8" fmla="*/ 50754 w 327730"/>
                <a:gd name="connsiteY8" fmla="*/ 116889 h 214122"/>
                <a:gd name="connsiteX9" fmla="*/ 22341 w 327730"/>
                <a:gd name="connsiteY9" fmla="*/ 126916 h 214122"/>
                <a:gd name="connsiteX10" fmla="*/ 5618 w 327730"/>
                <a:gd name="connsiteY10" fmla="*/ 146669 h 214122"/>
                <a:gd name="connsiteX11" fmla="*/ 260 w 327730"/>
                <a:gd name="connsiteY11" fmla="*/ 188415 h 214122"/>
                <a:gd name="connsiteX12" fmla="*/ 10610 w 327730"/>
                <a:gd name="connsiteY12" fmla="*/ 213784 h 214122"/>
                <a:gd name="connsiteX13" fmla="*/ 97391 w 327730"/>
                <a:gd name="connsiteY13" fmla="*/ 172807 h 214122"/>
                <a:gd name="connsiteX14" fmla="*/ 171590 w 327730"/>
                <a:gd name="connsiteY14" fmla="*/ 149410 h 214122"/>
                <a:gd name="connsiteX15" fmla="*/ 221150 w 327730"/>
                <a:gd name="connsiteY15" fmla="*/ 124309 h 214122"/>
                <a:gd name="connsiteX16" fmla="*/ 252891 w 327730"/>
                <a:gd name="connsiteY16" fmla="*/ 97570 h 214122"/>
                <a:gd name="connsiteX17" fmla="*/ 311300 w 327730"/>
                <a:gd name="connsiteY17" fmla="*/ 51914 h 214122"/>
                <a:gd name="connsiteX18" fmla="*/ 327536 w 327730"/>
                <a:gd name="connsiteY18" fmla="*/ 19894 h 214122"/>
                <a:gd name="connsiteX19" fmla="*/ 303506 w 327730"/>
                <a:gd name="connsiteY19" fmla="*/ 17922 h 214122"/>
                <a:gd name="connsiteX20" fmla="*/ 199515 w 327730"/>
                <a:gd name="connsiteY20" fmla="*/ 16451 h 214122"/>
                <a:gd name="connsiteX21" fmla="*/ 157626 w 327730"/>
                <a:gd name="connsiteY21" fmla="*/ 17086 h 214122"/>
                <a:gd name="connsiteX22" fmla="*/ 121096 w 327730"/>
                <a:gd name="connsiteY22" fmla="*/ 17086 h 214122"/>
                <a:gd name="connsiteX23" fmla="*/ 86392 w 327730"/>
                <a:gd name="connsiteY23" fmla="*/ 3516 h 214122"/>
                <a:gd name="connsiteX24" fmla="*/ 93941 w 327730"/>
                <a:gd name="connsiteY24" fmla="*/ 28183 h 21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27730" h="214122">
                  <a:moveTo>
                    <a:pt x="93738" y="28216"/>
                  </a:moveTo>
                  <a:cubicBezTo>
                    <a:pt x="103399" y="32327"/>
                    <a:pt x="105915" y="38778"/>
                    <a:pt x="117199" y="42254"/>
                  </a:cubicBezTo>
                  <a:cubicBezTo>
                    <a:pt x="134044" y="47468"/>
                    <a:pt x="150605" y="53150"/>
                    <a:pt x="166719" y="59233"/>
                  </a:cubicBezTo>
                  <a:cubicBezTo>
                    <a:pt x="178855" y="64006"/>
                    <a:pt x="191722" y="67382"/>
                    <a:pt x="204995" y="69261"/>
                  </a:cubicBezTo>
                  <a:cubicBezTo>
                    <a:pt x="219526" y="71099"/>
                    <a:pt x="215629" y="73639"/>
                    <a:pt x="207552" y="76881"/>
                  </a:cubicBezTo>
                  <a:cubicBezTo>
                    <a:pt x="187501" y="84936"/>
                    <a:pt x="167977" y="93593"/>
                    <a:pt x="148534" y="101982"/>
                  </a:cubicBezTo>
                  <a:cubicBezTo>
                    <a:pt x="141512" y="105662"/>
                    <a:pt x="134166" y="108861"/>
                    <a:pt x="126494" y="111541"/>
                  </a:cubicBezTo>
                  <a:cubicBezTo>
                    <a:pt x="112694" y="115352"/>
                    <a:pt x="95281" y="107330"/>
                    <a:pt x="79816" y="111541"/>
                  </a:cubicBezTo>
                  <a:cubicBezTo>
                    <a:pt x="68045" y="114650"/>
                    <a:pt x="63824" y="117023"/>
                    <a:pt x="50754" y="116889"/>
                  </a:cubicBezTo>
                  <a:cubicBezTo>
                    <a:pt x="34518" y="116722"/>
                    <a:pt x="32285" y="120031"/>
                    <a:pt x="22341" y="126916"/>
                  </a:cubicBezTo>
                  <a:cubicBezTo>
                    <a:pt x="12397" y="133801"/>
                    <a:pt x="6795" y="137244"/>
                    <a:pt x="5618" y="146669"/>
                  </a:cubicBezTo>
                  <a:lnTo>
                    <a:pt x="260" y="188415"/>
                  </a:lnTo>
                  <a:cubicBezTo>
                    <a:pt x="-1161" y="199412"/>
                    <a:pt x="2127" y="203122"/>
                    <a:pt x="10610" y="213784"/>
                  </a:cubicBezTo>
                  <a:cubicBezTo>
                    <a:pt x="34964" y="198309"/>
                    <a:pt x="67436" y="184137"/>
                    <a:pt x="97391" y="172807"/>
                  </a:cubicBezTo>
                  <a:cubicBezTo>
                    <a:pt x="121502" y="163649"/>
                    <a:pt x="148047" y="159872"/>
                    <a:pt x="171590" y="149410"/>
                  </a:cubicBezTo>
                  <a:cubicBezTo>
                    <a:pt x="188718" y="141880"/>
                    <a:pt x="205279" y="133497"/>
                    <a:pt x="221150" y="124309"/>
                  </a:cubicBezTo>
                  <a:cubicBezTo>
                    <a:pt x="235600" y="116020"/>
                    <a:pt x="242013" y="107196"/>
                    <a:pt x="252891" y="97570"/>
                  </a:cubicBezTo>
                  <a:cubicBezTo>
                    <a:pt x="268761" y="83599"/>
                    <a:pt x="308743" y="70831"/>
                    <a:pt x="311300" y="51914"/>
                  </a:cubicBezTo>
                  <a:cubicBezTo>
                    <a:pt x="312802" y="40650"/>
                    <a:pt x="329321" y="31860"/>
                    <a:pt x="327536" y="19894"/>
                  </a:cubicBezTo>
                  <a:cubicBezTo>
                    <a:pt x="325749" y="7928"/>
                    <a:pt x="310934" y="16551"/>
                    <a:pt x="303506" y="17922"/>
                  </a:cubicBezTo>
                  <a:cubicBezTo>
                    <a:pt x="270750" y="24606"/>
                    <a:pt x="230445" y="8764"/>
                    <a:pt x="199515" y="16451"/>
                  </a:cubicBezTo>
                  <a:cubicBezTo>
                    <a:pt x="187338" y="19493"/>
                    <a:pt x="166800" y="12474"/>
                    <a:pt x="157626" y="17086"/>
                  </a:cubicBezTo>
                  <a:cubicBezTo>
                    <a:pt x="148453" y="21699"/>
                    <a:pt x="131203" y="20830"/>
                    <a:pt x="121096" y="17086"/>
                  </a:cubicBezTo>
                  <a:cubicBezTo>
                    <a:pt x="104129" y="10903"/>
                    <a:pt x="107133" y="-8516"/>
                    <a:pt x="86392" y="3516"/>
                  </a:cubicBezTo>
                  <a:cubicBezTo>
                    <a:pt x="75839" y="9666"/>
                    <a:pt x="79938" y="22200"/>
                    <a:pt x="93941" y="2818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D3B0EE78-FC35-4391-96E5-C41E560B907B}"/>
                </a:ext>
              </a:extLst>
            </p:cNvPr>
            <p:cNvSpPr/>
            <p:nvPr/>
          </p:nvSpPr>
          <p:spPr>
            <a:xfrm>
              <a:off x="5384867" y="4221478"/>
              <a:ext cx="360714" cy="171476"/>
            </a:xfrm>
            <a:custGeom>
              <a:avLst/>
              <a:gdLst>
                <a:gd name="connsiteX0" fmla="*/ 135835 w 360714"/>
                <a:gd name="connsiteY0" fmla="*/ 167127 h 171476"/>
                <a:gd name="connsiteX1" fmla="*/ 142370 w 360714"/>
                <a:gd name="connsiteY1" fmla="*/ 138750 h 171476"/>
                <a:gd name="connsiteX2" fmla="*/ 184624 w 360714"/>
                <a:gd name="connsiteY2" fmla="*/ 122039 h 171476"/>
                <a:gd name="connsiteX3" fmla="*/ 200860 w 360714"/>
                <a:gd name="connsiteY3" fmla="*/ 116758 h 171476"/>
                <a:gd name="connsiteX4" fmla="*/ 226472 w 360714"/>
                <a:gd name="connsiteY4" fmla="*/ 113616 h 171476"/>
                <a:gd name="connsiteX5" fmla="*/ 242992 w 360714"/>
                <a:gd name="connsiteY5" fmla="*/ 100246 h 171476"/>
                <a:gd name="connsiteX6" fmla="*/ 272298 w 360714"/>
                <a:gd name="connsiteY6" fmla="*/ 93796 h 171476"/>
                <a:gd name="connsiteX7" fmla="*/ 281349 w 360714"/>
                <a:gd name="connsiteY7" fmla="*/ 84437 h 171476"/>
                <a:gd name="connsiteX8" fmla="*/ 290969 w 360714"/>
                <a:gd name="connsiteY8" fmla="*/ 75513 h 171476"/>
                <a:gd name="connsiteX9" fmla="*/ 312076 w 360714"/>
                <a:gd name="connsiteY9" fmla="*/ 67023 h 171476"/>
                <a:gd name="connsiteX10" fmla="*/ 343086 w 360714"/>
                <a:gd name="connsiteY10" fmla="*/ 65419 h 171476"/>
                <a:gd name="connsiteX11" fmla="*/ 351204 w 360714"/>
                <a:gd name="connsiteY11" fmla="*/ 48206 h 171476"/>
                <a:gd name="connsiteX12" fmla="*/ 344466 w 360714"/>
                <a:gd name="connsiteY12" fmla="*/ 35872 h 171476"/>
                <a:gd name="connsiteX13" fmla="*/ 331680 w 360714"/>
                <a:gd name="connsiteY13" fmla="*/ 12476 h 171476"/>
                <a:gd name="connsiteX14" fmla="*/ 264139 w 360714"/>
                <a:gd name="connsiteY14" fmla="*/ 9134 h 171476"/>
                <a:gd name="connsiteX15" fmla="*/ 231667 w 360714"/>
                <a:gd name="connsiteY15" fmla="*/ 2950 h 171476"/>
                <a:gd name="connsiteX16" fmla="*/ 204675 w 360714"/>
                <a:gd name="connsiteY16" fmla="*/ 3518 h 171476"/>
                <a:gd name="connsiteX17" fmla="*/ 180037 w 360714"/>
                <a:gd name="connsiteY17" fmla="*/ 35371 h 171476"/>
                <a:gd name="connsiteX18" fmla="*/ 156333 w 360714"/>
                <a:gd name="connsiteY18" fmla="*/ 47838 h 171476"/>
                <a:gd name="connsiteX19" fmla="*/ 122684 w 360714"/>
                <a:gd name="connsiteY19" fmla="*/ 56395 h 171476"/>
                <a:gd name="connsiteX20" fmla="*/ 91349 w 360714"/>
                <a:gd name="connsiteY20" fmla="*/ 88682 h 171476"/>
                <a:gd name="connsiteX21" fmla="*/ 96747 w 360714"/>
                <a:gd name="connsiteY21" fmla="*/ 118362 h 171476"/>
                <a:gd name="connsiteX22" fmla="*/ 59364 w 360714"/>
                <a:gd name="connsiteY22" fmla="*/ 145101 h 171476"/>
                <a:gd name="connsiteX23" fmla="*/ 39719 w 360714"/>
                <a:gd name="connsiteY23" fmla="*/ 157467 h 171476"/>
                <a:gd name="connsiteX24" fmla="*/ -60 w 360714"/>
                <a:gd name="connsiteY24" fmla="*/ 171138 h 171476"/>
                <a:gd name="connsiteX25" fmla="*/ 86031 w 360714"/>
                <a:gd name="connsiteY25" fmla="*/ 164253 h 171476"/>
                <a:gd name="connsiteX26" fmla="*/ 135754 w 360714"/>
                <a:gd name="connsiteY26" fmla="*/ 167227 h 171476"/>
                <a:gd name="connsiteX27" fmla="*/ 135835 w 360714"/>
                <a:gd name="connsiteY27" fmla="*/ 167127 h 17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0714" h="171476">
                  <a:moveTo>
                    <a:pt x="135835" y="167127"/>
                  </a:moveTo>
                  <a:cubicBezTo>
                    <a:pt x="134292" y="156632"/>
                    <a:pt x="126053" y="146271"/>
                    <a:pt x="142370" y="138750"/>
                  </a:cubicBezTo>
                  <a:cubicBezTo>
                    <a:pt x="153370" y="133703"/>
                    <a:pt x="170499" y="123710"/>
                    <a:pt x="184624" y="122039"/>
                  </a:cubicBezTo>
                  <a:cubicBezTo>
                    <a:pt x="196517" y="120568"/>
                    <a:pt x="193716" y="120902"/>
                    <a:pt x="200860" y="116758"/>
                  </a:cubicBezTo>
                  <a:cubicBezTo>
                    <a:pt x="206339" y="113415"/>
                    <a:pt x="219450" y="114819"/>
                    <a:pt x="226472" y="113616"/>
                  </a:cubicBezTo>
                  <a:cubicBezTo>
                    <a:pt x="242261" y="110908"/>
                    <a:pt x="235442" y="105427"/>
                    <a:pt x="242992" y="100246"/>
                  </a:cubicBezTo>
                  <a:cubicBezTo>
                    <a:pt x="250542" y="95066"/>
                    <a:pt x="265276" y="99578"/>
                    <a:pt x="272298" y="93796"/>
                  </a:cubicBezTo>
                  <a:cubicBezTo>
                    <a:pt x="278021" y="89116"/>
                    <a:pt x="282161" y="91322"/>
                    <a:pt x="281349" y="84437"/>
                  </a:cubicBezTo>
                  <a:cubicBezTo>
                    <a:pt x="280659" y="78320"/>
                    <a:pt x="279929" y="76048"/>
                    <a:pt x="290969" y="75513"/>
                  </a:cubicBezTo>
                  <a:cubicBezTo>
                    <a:pt x="304607" y="74811"/>
                    <a:pt x="303146" y="68628"/>
                    <a:pt x="312076" y="67023"/>
                  </a:cubicBezTo>
                  <a:cubicBezTo>
                    <a:pt x="322345" y="65670"/>
                    <a:pt x="332695" y="65132"/>
                    <a:pt x="343086" y="65419"/>
                  </a:cubicBezTo>
                  <a:cubicBezTo>
                    <a:pt x="363381" y="65218"/>
                    <a:pt x="366100" y="55592"/>
                    <a:pt x="351204" y="48206"/>
                  </a:cubicBezTo>
                  <a:cubicBezTo>
                    <a:pt x="343086" y="44195"/>
                    <a:pt x="343898" y="42658"/>
                    <a:pt x="344466" y="35872"/>
                  </a:cubicBezTo>
                  <a:cubicBezTo>
                    <a:pt x="345319" y="26146"/>
                    <a:pt x="340407" y="20264"/>
                    <a:pt x="331680" y="12476"/>
                  </a:cubicBezTo>
                  <a:cubicBezTo>
                    <a:pt x="321533" y="3051"/>
                    <a:pt x="281795" y="7897"/>
                    <a:pt x="264139" y="9134"/>
                  </a:cubicBezTo>
                  <a:cubicBezTo>
                    <a:pt x="248918" y="10237"/>
                    <a:pt x="242789" y="7630"/>
                    <a:pt x="231667" y="2950"/>
                  </a:cubicBezTo>
                  <a:cubicBezTo>
                    <a:pt x="223549" y="-392"/>
                    <a:pt x="211372" y="-2598"/>
                    <a:pt x="204675" y="3518"/>
                  </a:cubicBezTo>
                  <a:cubicBezTo>
                    <a:pt x="193675" y="13545"/>
                    <a:pt x="189251" y="25043"/>
                    <a:pt x="180037" y="35371"/>
                  </a:cubicBezTo>
                  <a:cubicBezTo>
                    <a:pt x="175045" y="40953"/>
                    <a:pt x="166034" y="44830"/>
                    <a:pt x="156333" y="47838"/>
                  </a:cubicBezTo>
                  <a:cubicBezTo>
                    <a:pt x="146632" y="50846"/>
                    <a:pt x="128650" y="51481"/>
                    <a:pt x="122684" y="56395"/>
                  </a:cubicBezTo>
                  <a:cubicBezTo>
                    <a:pt x="111400" y="66589"/>
                    <a:pt x="100928" y="77375"/>
                    <a:pt x="91349" y="88682"/>
                  </a:cubicBezTo>
                  <a:cubicBezTo>
                    <a:pt x="80917" y="99946"/>
                    <a:pt x="102957" y="108736"/>
                    <a:pt x="96747" y="118362"/>
                  </a:cubicBezTo>
                  <a:cubicBezTo>
                    <a:pt x="89725" y="129458"/>
                    <a:pt x="74057" y="137146"/>
                    <a:pt x="59364" y="145101"/>
                  </a:cubicBezTo>
                  <a:cubicBezTo>
                    <a:pt x="52261" y="148944"/>
                    <a:pt x="47187" y="153791"/>
                    <a:pt x="39719" y="157467"/>
                  </a:cubicBezTo>
                  <a:cubicBezTo>
                    <a:pt x="27542" y="163551"/>
                    <a:pt x="10981" y="163952"/>
                    <a:pt x="-60" y="171138"/>
                  </a:cubicBezTo>
                  <a:cubicBezTo>
                    <a:pt x="28597" y="168688"/>
                    <a:pt x="57294" y="166392"/>
                    <a:pt x="86031" y="164253"/>
                  </a:cubicBezTo>
                  <a:cubicBezTo>
                    <a:pt x="104784" y="162849"/>
                    <a:pt x="124754" y="158470"/>
                    <a:pt x="135754" y="167227"/>
                  </a:cubicBezTo>
                  <a:cubicBezTo>
                    <a:pt x="134374" y="156030"/>
                    <a:pt x="131695" y="163818"/>
                    <a:pt x="135835" y="16712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842CB471-11B1-41A6-8B03-3991489D6EB1}"/>
                </a:ext>
              </a:extLst>
            </p:cNvPr>
            <p:cNvSpPr/>
            <p:nvPr/>
          </p:nvSpPr>
          <p:spPr>
            <a:xfrm>
              <a:off x="6013656" y="4177341"/>
              <a:ext cx="130254" cy="136433"/>
            </a:xfrm>
            <a:custGeom>
              <a:avLst/>
              <a:gdLst>
                <a:gd name="connsiteX0" fmla="*/ 31303 w 130254"/>
                <a:gd name="connsiteY0" fmla="*/ 33050 h 136433"/>
                <a:gd name="connsiteX1" fmla="*/ 6381 w 130254"/>
                <a:gd name="connsiteY1" fmla="*/ 61560 h 136433"/>
                <a:gd name="connsiteX2" fmla="*/ 21683 w 130254"/>
                <a:gd name="connsiteY2" fmla="*/ 82550 h 136433"/>
                <a:gd name="connsiteX3" fmla="*/ 29801 w 130254"/>
                <a:gd name="connsiteY3" fmla="*/ 93045 h 136433"/>
                <a:gd name="connsiteX4" fmla="*/ 52369 w 130254"/>
                <a:gd name="connsiteY4" fmla="*/ 101468 h 136433"/>
                <a:gd name="connsiteX5" fmla="*/ 70026 w 130254"/>
                <a:gd name="connsiteY5" fmla="*/ 136095 h 136433"/>
                <a:gd name="connsiteX6" fmla="*/ 87682 w 130254"/>
                <a:gd name="connsiteY6" fmla="*/ 122124 h 136433"/>
                <a:gd name="connsiteX7" fmla="*/ 90929 w 130254"/>
                <a:gd name="connsiteY7" fmla="*/ 108754 h 136433"/>
                <a:gd name="connsiteX8" fmla="*/ 109316 w 130254"/>
                <a:gd name="connsiteY8" fmla="*/ 98727 h 136433"/>
                <a:gd name="connsiteX9" fmla="*/ 126567 w 130254"/>
                <a:gd name="connsiteY9" fmla="*/ 94081 h 136433"/>
                <a:gd name="connsiteX10" fmla="*/ 118449 w 130254"/>
                <a:gd name="connsiteY10" fmla="*/ 76835 h 136433"/>
                <a:gd name="connsiteX11" fmla="*/ 104121 w 130254"/>
                <a:gd name="connsiteY11" fmla="*/ 69080 h 136433"/>
                <a:gd name="connsiteX12" fmla="*/ 81959 w 130254"/>
                <a:gd name="connsiteY12" fmla="*/ 66139 h 136433"/>
                <a:gd name="connsiteX13" fmla="*/ 96368 w 130254"/>
                <a:gd name="connsiteY13" fmla="*/ 54274 h 136433"/>
                <a:gd name="connsiteX14" fmla="*/ 114268 w 130254"/>
                <a:gd name="connsiteY14" fmla="*/ 41840 h 136433"/>
                <a:gd name="connsiteX15" fmla="*/ 99291 w 130254"/>
                <a:gd name="connsiteY15" fmla="*/ 25128 h 136433"/>
                <a:gd name="connsiteX16" fmla="*/ 114755 w 130254"/>
                <a:gd name="connsiteY16" fmla="*/ 9954 h 136433"/>
                <a:gd name="connsiteX17" fmla="*/ 97545 w 130254"/>
                <a:gd name="connsiteY17" fmla="*/ 9386 h 136433"/>
                <a:gd name="connsiteX18" fmla="*/ 82203 w 130254"/>
                <a:gd name="connsiteY18" fmla="*/ 528 h 136433"/>
                <a:gd name="connsiteX19" fmla="*/ 52653 w 130254"/>
                <a:gd name="connsiteY19" fmla="*/ 1999 h 136433"/>
                <a:gd name="connsiteX20" fmla="*/ 29233 w 130254"/>
                <a:gd name="connsiteY20" fmla="*/ 15369 h 136433"/>
                <a:gd name="connsiteX21" fmla="*/ 31262 w 130254"/>
                <a:gd name="connsiteY21" fmla="*/ 33050 h 136433"/>
                <a:gd name="connsiteX22" fmla="*/ 31303 w 130254"/>
                <a:gd name="connsiteY22" fmla="*/ 33050 h 136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0254" h="136433">
                  <a:moveTo>
                    <a:pt x="31303" y="33050"/>
                  </a:moveTo>
                  <a:cubicBezTo>
                    <a:pt x="42506" y="41974"/>
                    <a:pt x="18152" y="56212"/>
                    <a:pt x="6381" y="61560"/>
                  </a:cubicBezTo>
                  <a:cubicBezTo>
                    <a:pt x="-10220" y="69147"/>
                    <a:pt x="9060" y="77102"/>
                    <a:pt x="21683" y="82550"/>
                  </a:cubicBezTo>
                  <a:cubicBezTo>
                    <a:pt x="28786" y="85625"/>
                    <a:pt x="24849" y="90237"/>
                    <a:pt x="29801" y="93045"/>
                  </a:cubicBezTo>
                  <a:cubicBezTo>
                    <a:pt x="36173" y="96655"/>
                    <a:pt x="46727" y="97357"/>
                    <a:pt x="52369" y="101468"/>
                  </a:cubicBezTo>
                  <a:cubicBezTo>
                    <a:pt x="65723" y="111094"/>
                    <a:pt x="57929" y="127271"/>
                    <a:pt x="70026" y="136095"/>
                  </a:cubicBezTo>
                  <a:cubicBezTo>
                    <a:pt x="80011" y="132284"/>
                    <a:pt x="85003" y="128708"/>
                    <a:pt x="87682" y="122124"/>
                  </a:cubicBezTo>
                  <a:cubicBezTo>
                    <a:pt x="89468" y="117812"/>
                    <a:pt x="84069" y="112096"/>
                    <a:pt x="90929" y="108754"/>
                  </a:cubicBezTo>
                  <a:cubicBezTo>
                    <a:pt x="97789" y="105412"/>
                    <a:pt x="103106" y="102069"/>
                    <a:pt x="109316" y="98727"/>
                  </a:cubicBezTo>
                  <a:cubicBezTo>
                    <a:pt x="114187" y="96220"/>
                    <a:pt x="122954" y="96688"/>
                    <a:pt x="126567" y="94081"/>
                  </a:cubicBezTo>
                  <a:cubicBezTo>
                    <a:pt x="136227" y="87229"/>
                    <a:pt x="124172" y="81514"/>
                    <a:pt x="118449" y="76835"/>
                  </a:cubicBezTo>
                  <a:cubicBezTo>
                    <a:pt x="116623" y="75331"/>
                    <a:pt x="111468" y="64234"/>
                    <a:pt x="104121" y="69080"/>
                  </a:cubicBezTo>
                  <a:cubicBezTo>
                    <a:pt x="98600" y="72690"/>
                    <a:pt x="85693" y="69080"/>
                    <a:pt x="81959" y="66139"/>
                  </a:cubicBezTo>
                  <a:cubicBezTo>
                    <a:pt x="73191" y="59454"/>
                    <a:pt x="88291" y="56780"/>
                    <a:pt x="96368" y="54274"/>
                  </a:cubicBezTo>
                  <a:cubicBezTo>
                    <a:pt x="105298" y="51533"/>
                    <a:pt x="112604" y="47589"/>
                    <a:pt x="114268" y="41840"/>
                  </a:cubicBezTo>
                  <a:cubicBezTo>
                    <a:pt x="116866" y="33317"/>
                    <a:pt x="105866" y="31378"/>
                    <a:pt x="99291" y="25128"/>
                  </a:cubicBezTo>
                  <a:cubicBezTo>
                    <a:pt x="92715" y="18878"/>
                    <a:pt x="112442" y="15101"/>
                    <a:pt x="114755" y="9954"/>
                  </a:cubicBezTo>
                  <a:cubicBezTo>
                    <a:pt x="117759" y="3269"/>
                    <a:pt x="100833" y="9653"/>
                    <a:pt x="97545" y="9386"/>
                  </a:cubicBezTo>
                  <a:cubicBezTo>
                    <a:pt x="90361" y="8784"/>
                    <a:pt x="91213" y="1932"/>
                    <a:pt x="82203" y="528"/>
                  </a:cubicBezTo>
                  <a:cubicBezTo>
                    <a:pt x="72339" y="-1006"/>
                    <a:pt x="62192" y="-498"/>
                    <a:pt x="52653" y="1999"/>
                  </a:cubicBezTo>
                  <a:cubicBezTo>
                    <a:pt x="36782" y="6612"/>
                    <a:pt x="31059" y="5141"/>
                    <a:pt x="29233" y="15369"/>
                  </a:cubicBezTo>
                  <a:cubicBezTo>
                    <a:pt x="28299" y="20382"/>
                    <a:pt x="25661" y="28537"/>
                    <a:pt x="31262" y="33050"/>
                  </a:cubicBezTo>
                  <a:cubicBezTo>
                    <a:pt x="38812" y="39033"/>
                    <a:pt x="26310" y="29039"/>
                    <a:pt x="31303" y="330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AD6CB395-4E2A-45E6-BFB6-AA9D56F3C849}"/>
                </a:ext>
              </a:extLst>
            </p:cNvPr>
            <p:cNvSpPr/>
            <p:nvPr/>
          </p:nvSpPr>
          <p:spPr>
            <a:xfrm>
              <a:off x="5516142" y="4181838"/>
              <a:ext cx="639650" cy="342371"/>
            </a:xfrm>
            <a:custGeom>
              <a:avLst/>
              <a:gdLst>
                <a:gd name="connsiteX0" fmla="*/ 213394 w 639650"/>
                <a:gd name="connsiteY0" fmla="*/ 71368 h 342371"/>
                <a:gd name="connsiteX1" fmla="*/ 216438 w 639650"/>
                <a:gd name="connsiteY1" fmla="*/ 86810 h 342371"/>
                <a:gd name="connsiteX2" fmla="*/ 229468 w 639650"/>
                <a:gd name="connsiteY2" fmla="*/ 100915 h 342371"/>
                <a:gd name="connsiteX3" fmla="*/ 178203 w 639650"/>
                <a:gd name="connsiteY3" fmla="*/ 107265 h 342371"/>
                <a:gd name="connsiteX4" fmla="*/ 168298 w 639650"/>
                <a:gd name="connsiteY4" fmla="*/ 113950 h 342371"/>
                <a:gd name="connsiteX5" fmla="*/ 151576 w 639650"/>
                <a:gd name="connsiteY5" fmla="*/ 115788 h 342371"/>
                <a:gd name="connsiteX6" fmla="*/ 146705 w 639650"/>
                <a:gd name="connsiteY6" fmla="*/ 130929 h 342371"/>
                <a:gd name="connsiteX7" fmla="*/ 138100 w 639650"/>
                <a:gd name="connsiteY7" fmla="*/ 135374 h 342371"/>
                <a:gd name="connsiteX8" fmla="*/ 121012 w 639650"/>
                <a:gd name="connsiteY8" fmla="*/ 137681 h 342371"/>
                <a:gd name="connsiteX9" fmla="*/ 101691 w 639650"/>
                <a:gd name="connsiteY9" fmla="*/ 151585 h 342371"/>
                <a:gd name="connsiteX10" fmla="*/ 72913 w 639650"/>
                <a:gd name="connsiteY10" fmla="*/ 155362 h 342371"/>
                <a:gd name="connsiteX11" fmla="*/ 67108 w 639650"/>
                <a:gd name="connsiteY11" fmla="*/ 160141 h 342371"/>
                <a:gd name="connsiteX12" fmla="*/ 53348 w 639650"/>
                <a:gd name="connsiteY12" fmla="*/ 161712 h 342371"/>
                <a:gd name="connsiteX13" fmla="*/ 4316 w 639650"/>
                <a:gd name="connsiteY13" fmla="*/ 181766 h 342371"/>
                <a:gd name="connsiteX14" fmla="*/ 12434 w 639650"/>
                <a:gd name="connsiteY14" fmla="*/ 209842 h 342371"/>
                <a:gd name="connsiteX15" fmla="*/ 35935 w 639650"/>
                <a:gd name="connsiteY15" fmla="*/ 216527 h 342371"/>
                <a:gd name="connsiteX16" fmla="*/ 241726 w 639650"/>
                <a:gd name="connsiteY16" fmla="*/ 280032 h 342371"/>
                <a:gd name="connsiteX17" fmla="*/ 309592 w 639650"/>
                <a:gd name="connsiteY17" fmla="*/ 303428 h 342371"/>
                <a:gd name="connsiteX18" fmla="*/ 337436 w 639650"/>
                <a:gd name="connsiteY18" fmla="*/ 319806 h 342371"/>
                <a:gd name="connsiteX19" fmla="*/ 381233 w 639650"/>
                <a:gd name="connsiteY19" fmla="*/ 342033 h 342371"/>
                <a:gd name="connsiteX20" fmla="*/ 461763 w 639650"/>
                <a:gd name="connsiteY20" fmla="*/ 325655 h 342371"/>
                <a:gd name="connsiteX21" fmla="*/ 517290 w 639650"/>
                <a:gd name="connsiteY21" fmla="*/ 299819 h 342371"/>
                <a:gd name="connsiteX22" fmla="*/ 605369 w 639650"/>
                <a:gd name="connsiteY22" fmla="*/ 268100 h 342371"/>
                <a:gd name="connsiteX23" fmla="*/ 637029 w 639650"/>
                <a:gd name="connsiteY23" fmla="*/ 257003 h 342371"/>
                <a:gd name="connsiteX24" fmla="*/ 636826 w 639650"/>
                <a:gd name="connsiteY24" fmla="*/ 251722 h 342371"/>
                <a:gd name="connsiteX25" fmla="*/ 613325 w 639650"/>
                <a:gd name="connsiteY25" fmla="*/ 239890 h 342371"/>
                <a:gd name="connsiteX26" fmla="*/ 583045 w 639650"/>
                <a:gd name="connsiteY26" fmla="*/ 234041 h 342371"/>
                <a:gd name="connsiteX27" fmla="*/ 572126 w 639650"/>
                <a:gd name="connsiteY27" fmla="*/ 214221 h 342371"/>
                <a:gd name="connsiteX28" fmla="*/ 569447 w 639650"/>
                <a:gd name="connsiteY28" fmla="*/ 202456 h 342371"/>
                <a:gd name="connsiteX29" fmla="*/ 571152 w 639650"/>
                <a:gd name="connsiteY29" fmla="*/ 187682 h 342371"/>
                <a:gd name="connsiteX30" fmla="*/ 574277 w 639650"/>
                <a:gd name="connsiteY30" fmla="*/ 168798 h 342371"/>
                <a:gd name="connsiteX31" fmla="*/ 571274 w 639650"/>
                <a:gd name="connsiteY31" fmla="*/ 146705 h 342371"/>
                <a:gd name="connsiteX32" fmla="*/ 563156 w 639650"/>
                <a:gd name="connsiteY32" fmla="*/ 133603 h 342371"/>
                <a:gd name="connsiteX33" fmla="*/ 561329 w 639650"/>
                <a:gd name="connsiteY33" fmla="*/ 114719 h 342371"/>
                <a:gd name="connsiteX34" fmla="*/ 551872 w 639650"/>
                <a:gd name="connsiteY34" fmla="*/ 98675 h 342371"/>
                <a:gd name="connsiteX35" fmla="*/ 527518 w 639650"/>
                <a:gd name="connsiteY35" fmla="*/ 88648 h 342371"/>
                <a:gd name="connsiteX36" fmla="*/ 519400 w 639650"/>
                <a:gd name="connsiteY36" fmla="*/ 78153 h 342371"/>
                <a:gd name="connsiteX37" fmla="*/ 498131 w 639650"/>
                <a:gd name="connsiteY37" fmla="*/ 64784 h 342371"/>
                <a:gd name="connsiteX38" fmla="*/ 527315 w 639650"/>
                <a:gd name="connsiteY38" fmla="*/ 42557 h 342371"/>
                <a:gd name="connsiteX39" fmla="*/ 527315 w 639650"/>
                <a:gd name="connsiteY39" fmla="*/ 26447 h 342371"/>
                <a:gd name="connsiteX40" fmla="*/ 529020 w 639650"/>
                <a:gd name="connsiteY40" fmla="*/ 2014 h 342371"/>
                <a:gd name="connsiteX41" fmla="*/ 481327 w 639650"/>
                <a:gd name="connsiteY41" fmla="*/ 176 h 342371"/>
                <a:gd name="connsiteX42" fmla="*/ 438424 w 639650"/>
                <a:gd name="connsiteY42" fmla="*/ 7128 h 342371"/>
                <a:gd name="connsiteX43" fmla="*/ 412892 w 639650"/>
                <a:gd name="connsiteY43" fmla="*/ 5925 h 342371"/>
                <a:gd name="connsiteX44" fmla="*/ 367108 w 639650"/>
                <a:gd name="connsiteY44" fmla="*/ 8599 h 342371"/>
                <a:gd name="connsiteX45" fmla="*/ 282397 w 639650"/>
                <a:gd name="connsiteY45" fmla="*/ 19929 h 342371"/>
                <a:gd name="connsiteX46" fmla="*/ 251020 w 639650"/>
                <a:gd name="connsiteY46" fmla="*/ 30458 h 342371"/>
                <a:gd name="connsiteX47" fmla="*/ 197807 w 639650"/>
                <a:gd name="connsiteY47" fmla="*/ 49108 h 342371"/>
                <a:gd name="connsiteX48" fmla="*/ 213394 w 639650"/>
                <a:gd name="connsiteY48" fmla="*/ 71368 h 3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39650" h="342371">
                  <a:moveTo>
                    <a:pt x="213394" y="71368"/>
                  </a:moveTo>
                  <a:cubicBezTo>
                    <a:pt x="213394" y="73674"/>
                    <a:pt x="209335" y="86476"/>
                    <a:pt x="216438" y="86810"/>
                  </a:cubicBezTo>
                  <a:cubicBezTo>
                    <a:pt x="224556" y="87178"/>
                    <a:pt x="230685" y="97104"/>
                    <a:pt x="229468" y="100915"/>
                  </a:cubicBezTo>
                  <a:cubicBezTo>
                    <a:pt x="226748" y="109605"/>
                    <a:pt x="188878" y="102786"/>
                    <a:pt x="178203" y="107265"/>
                  </a:cubicBezTo>
                  <a:cubicBezTo>
                    <a:pt x="172277" y="109805"/>
                    <a:pt x="177431" y="111543"/>
                    <a:pt x="168298" y="113950"/>
                  </a:cubicBezTo>
                  <a:cubicBezTo>
                    <a:pt x="164240" y="114953"/>
                    <a:pt x="155107" y="114418"/>
                    <a:pt x="151576" y="115788"/>
                  </a:cubicBezTo>
                  <a:cubicBezTo>
                    <a:pt x="145487" y="118195"/>
                    <a:pt x="155878" y="130461"/>
                    <a:pt x="146705" y="130929"/>
                  </a:cubicBezTo>
                  <a:cubicBezTo>
                    <a:pt x="142240" y="131163"/>
                    <a:pt x="141063" y="134037"/>
                    <a:pt x="138100" y="135374"/>
                  </a:cubicBezTo>
                  <a:cubicBezTo>
                    <a:pt x="133595" y="137413"/>
                    <a:pt x="126207" y="137146"/>
                    <a:pt x="121012" y="137681"/>
                  </a:cubicBezTo>
                  <a:cubicBezTo>
                    <a:pt x="105547" y="139285"/>
                    <a:pt x="113502" y="147206"/>
                    <a:pt x="101691" y="151585"/>
                  </a:cubicBezTo>
                  <a:cubicBezTo>
                    <a:pt x="92761" y="154927"/>
                    <a:pt x="82452" y="153523"/>
                    <a:pt x="72913" y="155362"/>
                  </a:cubicBezTo>
                  <a:cubicBezTo>
                    <a:pt x="66865" y="156498"/>
                    <a:pt x="70721" y="158336"/>
                    <a:pt x="67108" y="160141"/>
                  </a:cubicBezTo>
                  <a:cubicBezTo>
                    <a:pt x="63496" y="161946"/>
                    <a:pt x="57204" y="161244"/>
                    <a:pt x="53348" y="161712"/>
                  </a:cubicBezTo>
                  <a:cubicBezTo>
                    <a:pt x="37518" y="163718"/>
                    <a:pt x="15884" y="175650"/>
                    <a:pt x="4316" y="181766"/>
                  </a:cubicBezTo>
                  <a:cubicBezTo>
                    <a:pt x="-5223" y="186914"/>
                    <a:pt x="2368" y="207235"/>
                    <a:pt x="12434" y="209842"/>
                  </a:cubicBezTo>
                  <a:cubicBezTo>
                    <a:pt x="20552" y="211948"/>
                    <a:pt x="28142" y="214221"/>
                    <a:pt x="35935" y="216527"/>
                  </a:cubicBezTo>
                  <a:cubicBezTo>
                    <a:pt x="105669" y="236581"/>
                    <a:pt x="174266" y="257748"/>
                    <a:pt x="241726" y="280032"/>
                  </a:cubicBezTo>
                  <a:cubicBezTo>
                    <a:pt x="264537" y="287552"/>
                    <a:pt x="287714" y="294905"/>
                    <a:pt x="309592" y="303428"/>
                  </a:cubicBezTo>
                  <a:cubicBezTo>
                    <a:pt x="320632" y="307640"/>
                    <a:pt x="324569" y="318837"/>
                    <a:pt x="337436" y="319806"/>
                  </a:cubicBezTo>
                  <a:cubicBezTo>
                    <a:pt x="361466" y="321577"/>
                    <a:pt x="379974" y="327092"/>
                    <a:pt x="381233" y="342033"/>
                  </a:cubicBezTo>
                  <a:cubicBezTo>
                    <a:pt x="406479" y="338122"/>
                    <a:pt x="441184" y="335615"/>
                    <a:pt x="461763" y="325655"/>
                  </a:cubicBezTo>
                  <a:cubicBezTo>
                    <a:pt x="479866" y="316898"/>
                    <a:pt x="497319" y="307138"/>
                    <a:pt x="517290" y="299819"/>
                  </a:cubicBezTo>
                  <a:cubicBezTo>
                    <a:pt x="546473" y="289080"/>
                    <a:pt x="575820" y="278504"/>
                    <a:pt x="605369" y="268100"/>
                  </a:cubicBezTo>
                  <a:cubicBezTo>
                    <a:pt x="615882" y="264399"/>
                    <a:pt x="626435" y="260703"/>
                    <a:pt x="637029" y="257003"/>
                  </a:cubicBezTo>
                  <a:cubicBezTo>
                    <a:pt x="641088" y="255532"/>
                    <a:pt x="639789" y="257003"/>
                    <a:pt x="636826" y="251722"/>
                  </a:cubicBezTo>
                  <a:cubicBezTo>
                    <a:pt x="631631" y="242731"/>
                    <a:pt x="626557" y="243466"/>
                    <a:pt x="613325" y="239890"/>
                  </a:cubicBezTo>
                  <a:cubicBezTo>
                    <a:pt x="603705" y="237283"/>
                    <a:pt x="590716" y="238887"/>
                    <a:pt x="583045" y="234041"/>
                  </a:cubicBezTo>
                  <a:cubicBezTo>
                    <a:pt x="575373" y="229194"/>
                    <a:pt x="581381" y="220471"/>
                    <a:pt x="572126" y="214221"/>
                  </a:cubicBezTo>
                  <a:cubicBezTo>
                    <a:pt x="565185" y="209575"/>
                    <a:pt x="560315" y="207536"/>
                    <a:pt x="569447" y="202456"/>
                  </a:cubicBezTo>
                  <a:cubicBezTo>
                    <a:pt x="579473" y="197008"/>
                    <a:pt x="574196" y="195102"/>
                    <a:pt x="571152" y="187682"/>
                  </a:cubicBezTo>
                  <a:cubicBezTo>
                    <a:pt x="568108" y="180262"/>
                    <a:pt x="581259" y="176452"/>
                    <a:pt x="574277" y="168798"/>
                  </a:cubicBezTo>
                  <a:cubicBezTo>
                    <a:pt x="568027" y="161913"/>
                    <a:pt x="579473" y="154827"/>
                    <a:pt x="571274" y="146705"/>
                  </a:cubicBezTo>
                  <a:cubicBezTo>
                    <a:pt x="568351" y="143831"/>
                    <a:pt x="556540" y="136845"/>
                    <a:pt x="563156" y="133603"/>
                  </a:cubicBezTo>
                  <a:cubicBezTo>
                    <a:pt x="569772" y="130361"/>
                    <a:pt x="563602" y="119999"/>
                    <a:pt x="561329" y="114719"/>
                  </a:cubicBezTo>
                  <a:cubicBezTo>
                    <a:pt x="559178" y="109007"/>
                    <a:pt x="556012" y="103595"/>
                    <a:pt x="551872" y="98675"/>
                  </a:cubicBezTo>
                  <a:cubicBezTo>
                    <a:pt x="546920" y="93294"/>
                    <a:pt x="534662" y="92726"/>
                    <a:pt x="527518" y="88648"/>
                  </a:cubicBezTo>
                  <a:cubicBezTo>
                    <a:pt x="522566" y="85841"/>
                    <a:pt x="526503" y="81228"/>
                    <a:pt x="519400" y="78153"/>
                  </a:cubicBezTo>
                  <a:cubicBezTo>
                    <a:pt x="509415" y="73842"/>
                    <a:pt x="501865" y="72204"/>
                    <a:pt x="498131" y="64784"/>
                  </a:cubicBezTo>
                  <a:cubicBezTo>
                    <a:pt x="493585" y="55893"/>
                    <a:pt x="519441" y="49910"/>
                    <a:pt x="527315" y="42557"/>
                  </a:cubicBezTo>
                  <a:cubicBezTo>
                    <a:pt x="534013" y="36240"/>
                    <a:pt x="530359" y="32530"/>
                    <a:pt x="527315" y="26447"/>
                  </a:cubicBezTo>
                  <a:cubicBezTo>
                    <a:pt x="523581" y="18826"/>
                    <a:pt x="526990" y="9735"/>
                    <a:pt x="529020" y="2014"/>
                  </a:cubicBezTo>
                  <a:cubicBezTo>
                    <a:pt x="511769" y="2014"/>
                    <a:pt x="498659" y="-1662"/>
                    <a:pt x="481327" y="176"/>
                  </a:cubicBezTo>
                  <a:cubicBezTo>
                    <a:pt x="465944" y="1780"/>
                    <a:pt x="453280" y="4588"/>
                    <a:pt x="438424" y="7128"/>
                  </a:cubicBezTo>
                  <a:cubicBezTo>
                    <a:pt x="428520" y="8799"/>
                    <a:pt x="422472" y="5958"/>
                    <a:pt x="412892" y="5925"/>
                  </a:cubicBezTo>
                  <a:cubicBezTo>
                    <a:pt x="397590" y="6162"/>
                    <a:pt x="382288" y="7055"/>
                    <a:pt x="367108" y="8599"/>
                  </a:cubicBezTo>
                  <a:cubicBezTo>
                    <a:pt x="342104" y="10671"/>
                    <a:pt x="302570" y="10471"/>
                    <a:pt x="282397" y="19929"/>
                  </a:cubicBezTo>
                  <a:cubicBezTo>
                    <a:pt x="270910" y="25311"/>
                    <a:pt x="265552" y="28319"/>
                    <a:pt x="251020" y="30458"/>
                  </a:cubicBezTo>
                  <a:cubicBezTo>
                    <a:pt x="231375" y="33366"/>
                    <a:pt x="215342" y="48139"/>
                    <a:pt x="197807" y="49108"/>
                  </a:cubicBezTo>
                  <a:cubicBezTo>
                    <a:pt x="204748" y="56796"/>
                    <a:pt x="212785" y="61943"/>
                    <a:pt x="213394" y="7136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498EF536-09DB-4514-905C-C6F023C405AC}"/>
                </a:ext>
              </a:extLst>
            </p:cNvPr>
            <p:cNvSpPr/>
            <p:nvPr/>
          </p:nvSpPr>
          <p:spPr>
            <a:xfrm>
              <a:off x="6077206" y="4259695"/>
              <a:ext cx="467370" cy="256659"/>
            </a:xfrm>
            <a:custGeom>
              <a:avLst/>
              <a:gdLst>
                <a:gd name="connsiteX0" fmla="*/ 51165 w 467370"/>
                <a:gd name="connsiteY0" fmla="*/ 13866 h 256659"/>
                <a:gd name="connsiteX1" fmla="*/ 24660 w 467370"/>
                <a:gd name="connsiteY1" fmla="*/ 33920 h 256659"/>
                <a:gd name="connsiteX2" fmla="*/ 306 w 467370"/>
                <a:gd name="connsiteY2" fmla="*/ 59356 h 256659"/>
                <a:gd name="connsiteX3" fmla="*/ 15689 w 467370"/>
                <a:gd name="connsiteY3" fmla="*/ 77171 h 256659"/>
                <a:gd name="connsiteX4" fmla="*/ 12970 w 467370"/>
                <a:gd name="connsiteY4" fmla="*/ 84357 h 256659"/>
                <a:gd name="connsiteX5" fmla="*/ 15811 w 467370"/>
                <a:gd name="connsiteY5" fmla="*/ 95721 h 256659"/>
                <a:gd name="connsiteX6" fmla="*/ 10941 w 467370"/>
                <a:gd name="connsiteY6" fmla="*/ 102405 h 256659"/>
                <a:gd name="connsiteX7" fmla="*/ 10941 w 467370"/>
                <a:gd name="connsiteY7" fmla="*/ 113001 h 256659"/>
                <a:gd name="connsiteX8" fmla="*/ 15487 w 467370"/>
                <a:gd name="connsiteY8" fmla="*/ 120788 h 256659"/>
                <a:gd name="connsiteX9" fmla="*/ 4121 w 467370"/>
                <a:gd name="connsiteY9" fmla="*/ 127039 h 256659"/>
                <a:gd name="connsiteX10" fmla="*/ 15852 w 467370"/>
                <a:gd name="connsiteY10" fmla="*/ 139907 h 256659"/>
                <a:gd name="connsiteX11" fmla="*/ 21818 w 467370"/>
                <a:gd name="connsiteY11" fmla="*/ 156050 h 256659"/>
                <a:gd name="connsiteX12" fmla="*/ 72961 w 467370"/>
                <a:gd name="connsiteY12" fmla="*/ 169754 h 256659"/>
                <a:gd name="connsiteX13" fmla="*/ 88304 w 467370"/>
                <a:gd name="connsiteY13" fmla="*/ 178645 h 256659"/>
                <a:gd name="connsiteX14" fmla="*/ 117610 w 467370"/>
                <a:gd name="connsiteY14" fmla="*/ 181987 h 256659"/>
                <a:gd name="connsiteX15" fmla="*/ 152883 w 467370"/>
                <a:gd name="connsiteY15" fmla="*/ 190878 h 256659"/>
                <a:gd name="connsiteX16" fmla="*/ 202037 w 467370"/>
                <a:gd name="connsiteY16" fmla="*/ 182655 h 256659"/>
                <a:gd name="connsiteX17" fmla="*/ 277778 w 467370"/>
                <a:gd name="connsiteY17" fmla="*/ 207690 h 256659"/>
                <a:gd name="connsiteX18" fmla="*/ 417934 w 467370"/>
                <a:gd name="connsiteY18" fmla="*/ 256321 h 256659"/>
                <a:gd name="connsiteX19" fmla="*/ 441801 w 467370"/>
                <a:gd name="connsiteY19" fmla="*/ 248366 h 256659"/>
                <a:gd name="connsiteX20" fmla="*/ 446509 w 467370"/>
                <a:gd name="connsiteY20" fmla="*/ 242517 h 256659"/>
                <a:gd name="connsiteX21" fmla="*/ 450284 w 467370"/>
                <a:gd name="connsiteY21" fmla="*/ 188271 h 256659"/>
                <a:gd name="connsiteX22" fmla="*/ 455195 w 467370"/>
                <a:gd name="connsiteY22" fmla="*/ 117847 h 256659"/>
                <a:gd name="connsiteX23" fmla="*/ 456657 w 467370"/>
                <a:gd name="connsiteY23" fmla="*/ 72625 h 256659"/>
                <a:gd name="connsiteX24" fmla="*/ 459458 w 467370"/>
                <a:gd name="connsiteY24" fmla="*/ 56414 h 256659"/>
                <a:gd name="connsiteX25" fmla="*/ 462299 w 467370"/>
                <a:gd name="connsiteY25" fmla="*/ 39970 h 256659"/>
                <a:gd name="connsiteX26" fmla="*/ 463476 w 467370"/>
                <a:gd name="connsiteY26" fmla="*/ 28539 h 256659"/>
                <a:gd name="connsiteX27" fmla="*/ 425768 w 467370"/>
                <a:gd name="connsiteY27" fmla="*/ 22891 h 256659"/>
                <a:gd name="connsiteX28" fmla="*/ 372190 w 467370"/>
                <a:gd name="connsiteY28" fmla="*/ 7416 h 256659"/>
                <a:gd name="connsiteX29" fmla="*/ 309072 w 467370"/>
                <a:gd name="connsiteY29" fmla="*/ 24729 h 256659"/>
                <a:gd name="connsiteX30" fmla="*/ 315526 w 467370"/>
                <a:gd name="connsiteY30" fmla="*/ 43413 h 256659"/>
                <a:gd name="connsiteX31" fmla="*/ 278995 w 467370"/>
                <a:gd name="connsiteY31" fmla="*/ 50966 h 256659"/>
                <a:gd name="connsiteX32" fmla="*/ 237716 w 467370"/>
                <a:gd name="connsiteY32" fmla="*/ 36728 h 256659"/>
                <a:gd name="connsiteX33" fmla="*/ 191484 w 467370"/>
                <a:gd name="connsiteY33" fmla="*/ 31213 h 256659"/>
                <a:gd name="connsiteX34" fmla="*/ 177602 w 467370"/>
                <a:gd name="connsiteY34" fmla="*/ 17844 h 256659"/>
                <a:gd name="connsiteX35" fmla="*/ 147485 w 467370"/>
                <a:gd name="connsiteY35" fmla="*/ 8819 h 256659"/>
                <a:gd name="connsiteX36" fmla="*/ 109980 w 467370"/>
                <a:gd name="connsiteY36" fmla="*/ 3438 h 256659"/>
                <a:gd name="connsiteX37" fmla="*/ 65331 w 467370"/>
                <a:gd name="connsiteY37" fmla="*/ -339 h 256659"/>
                <a:gd name="connsiteX38" fmla="*/ 51043 w 467370"/>
                <a:gd name="connsiteY38" fmla="*/ 13799 h 25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7370" h="256659">
                  <a:moveTo>
                    <a:pt x="51165" y="13866"/>
                  </a:moveTo>
                  <a:cubicBezTo>
                    <a:pt x="42357" y="15905"/>
                    <a:pt x="19180" y="27904"/>
                    <a:pt x="24660" y="33920"/>
                  </a:cubicBezTo>
                  <a:cubicBezTo>
                    <a:pt x="35295" y="45719"/>
                    <a:pt x="-4240" y="52972"/>
                    <a:pt x="306" y="59356"/>
                  </a:cubicBezTo>
                  <a:cubicBezTo>
                    <a:pt x="4852" y="65740"/>
                    <a:pt x="15446" y="70386"/>
                    <a:pt x="15689" y="77171"/>
                  </a:cubicBezTo>
                  <a:cubicBezTo>
                    <a:pt x="15405" y="79697"/>
                    <a:pt x="14472" y="82147"/>
                    <a:pt x="12970" y="84357"/>
                  </a:cubicBezTo>
                  <a:cubicBezTo>
                    <a:pt x="10494" y="89103"/>
                    <a:pt x="15202" y="91041"/>
                    <a:pt x="15811" y="95721"/>
                  </a:cubicBezTo>
                  <a:cubicBezTo>
                    <a:pt x="15689" y="98488"/>
                    <a:pt x="13863" y="101012"/>
                    <a:pt x="10941" y="102405"/>
                  </a:cubicBezTo>
                  <a:cubicBezTo>
                    <a:pt x="6232" y="105748"/>
                    <a:pt x="10941" y="109592"/>
                    <a:pt x="10941" y="113001"/>
                  </a:cubicBezTo>
                  <a:cubicBezTo>
                    <a:pt x="10941" y="114438"/>
                    <a:pt x="17394" y="119685"/>
                    <a:pt x="15487" y="120788"/>
                  </a:cubicBezTo>
                  <a:cubicBezTo>
                    <a:pt x="11550" y="122667"/>
                    <a:pt x="7734" y="124752"/>
                    <a:pt x="4121" y="127039"/>
                  </a:cubicBezTo>
                  <a:cubicBezTo>
                    <a:pt x="-1480" y="131317"/>
                    <a:pt x="12239" y="136798"/>
                    <a:pt x="15852" y="139907"/>
                  </a:cubicBezTo>
                  <a:cubicBezTo>
                    <a:pt x="21859" y="144954"/>
                    <a:pt x="15081" y="151806"/>
                    <a:pt x="21818" y="156050"/>
                  </a:cubicBezTo>
                  <a:cubicBezTo>
                    <a:pt x="34889" y="164306"/>
                    <a:pt x="64032" y="158022"/>
                    <a:pt x="72961" y="169754"/>
                  </a:cubicBezTo>
                  <a:cubicBezTo>
                    <a:pt x="78360" y="176840"/>
                    <a:pt x="75113" y="178076"/>
                    <a:pt x="88304" y="178645"/>
                  </a:cubicBezTo>
                  <a:cubicBezTo>
                    <a:pt x="98209" y="178835"/>
                    <a:pt x="108031" y="179955"/>
                    <a:pt x="117610" y="181987"/>
                  </a:cubicBezTo>
                  <a:cubicBezTo>
                    <a:pt x="137905" y="187034"/>
                    <a:pt x="132751" y="196794"/>
                    <a:pt x="152883" y="190878"/>
                  </a:cubicBezTo>
                  <a:cubicBezTo>
                    <a:pt x="169768" y="185931"/>
                    <a:pt x="184543" y="176973"/>
                    <a:pt x="202037" y="182655"/>
                  </a:cubicBezTo>
                  <a:cubicBezTo>
                    <a:pt x="227406" y="190878"/>
                    <a:pt x="252652" y="199223"/>
                    <a:pt x="277778" y="207690"/>
                  </a:cubicBezTo>
                  <a:cubicBezTo>
                    <a:pt x="324862" y="223532"/>
                    <a:pt x="371581" y="239743"/>
                    <a:pt x="417934" y="256321"/>
                  </a:cubicBezTo>
                  <a:cubicBezTo>
                    <a:pt x="418665" y="244757"/>
                    <a:pt x="421993" y="247464"/>
                    <a:pt x="441801" y="248366"/>
                  </a:cubicBezTo>
                  <a:cubicBezTo>
                    <a:pt x="448620" y="248700"/>
                    <a:pt x="446306" y="246127"/>
                    <a:pt x="446509" y="242517"/>
                  </a:cubicBezTo>
                  <a:lnTo>
                    <a:pt x="450284" y="188271"/>
                  </a:lnTo>
                  <a:cubicBezTo>
                    <a:pt x="451908" y="164784"/>
                    <a:pt x="453531" y="141310"/>
                    <a:pt x="455195" y="117847"/>
                  </a:cubicBezTo>
                  <a:cubicBezTo>
                    <a:pt x="456210" y="103207"/>
                    <a:pt x="460432" y="87331"/>
                    <a:pt x="456657" y="72625"/>
                  </a:cubicBezTo>
                  <a:cubicBezTo>
                    <a:pt x="455277" y="67210"/>
                    <a:pt x="452070" y="60793"/>
                    <a:pt x="459458" y="56414"/>
                  </a:cubicBezTo>
                  <a:cubicBezTo>
                    <a:pt x="466845" y="52036"/>
                    <a:pt x="460432" y="45485"/>
                    <a:pt x="462299" y="39970"/>
                  </a:cubicBezTo>
                  <a:cubicBezTo>
                    <a:pt x="463638" y="36093"/>
                    <a:pt x="472122" y="31514"/>
                    <a:pt x="463476" y="28539"/>
                  </a:cubicBezTo>
                  <a:cubicBezTo>
                    <a:pt x="452963" y="24896"/>
                    <a:pt x="437417" y="24361"/>
                    <a:pt x="425768" y="22891"/>
                  </a:cubicBezTo>
                  <a:cubicBezTo>
                    <a:pt x="402997" y="20016"/>
                    <a:pt x="398492" y="7482"/>
                    <a:pt x="372190" y="7416"/>
                  </a:cubicBezTo>
                  <a:cubicBezTo>
                    <a:pt x="356238" y="7416"/>
                    <a:pt x="310331" y="12897"/>
                    <a:pt x="309072" y="24729"/>
                  </a:cubicBezTo>
                  <a:cubicBezTo>
                    <a:pt x="308382" y="31146"/>
                    <a:pt x="318408" y="36928"/>
                    <a:pt x="315526" y="43413"/>
                  </a:cubicBezTo>
                  <a:cubicBezTo>
                    <a:pt x="311751" y="51869"/>
                    <a:pt x="291822" y="53440"/>
                    <a:pt x="278995" y="50966"/>
                  </a:cubicBezTo>
                  <a:cubicBezTo>
                    <a:pt x="263774" y="47892"/>
                    <a:pt x="253343" y="40004"/>
                    <a:pt x="237716" y="36728"/>
                  </a:cubicBezTo>
                  <a:cubicBezTo>
                    <a:pt x="222860" y="33620"/>
                    <a:pt x="205528" y="34990"/>
                    <a:pt x="191484" y="31213"/>
                  </a:cubicBezTo>
                  <a:cubicBezTo>
                    <a:pt x="178860" y="27871"/>
                    <a:pt x="179835" y="24161"/>
                    <a:pt x="177602" y="17844"/>
                  </a:cubicBezTo>
                  <a:cubicBezTo>
                    <a:pt x="175370" y="11527"/>
                    <a:pt x="156536" y="10892"/>
                    <a:pt x="147485" y="8819"/>
                  </a:cubicBezTo>
                  <a:cubicBezTo>
                    <a:pt x="135389" y="5454"/>
                    <a:pt x="122725" y="3639"/>
                    <a:pt x="109980" y="3438"/>
                  </a:cubicBezTo>
                  <a:cubicBezTo>
                    <a:pt x="93744" y="3705"/>
                    <a:pt x="80065" y="4842"/>
                    <a:pt x="65331" y="-339"/>
                  </a:cubicBezTo>
                  <a:cubicBezTo>
                    <a:pt x="63423" y="9254"/>
                    <a:pt x="66021" y="10257"/>
                    <a:pt x="51043" y="1379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3FF35FC3-16B8-469D-8A89-9538855F481B}"/>
                </a:ext>
              </a:extLst>
            </p:cNvPr>
            <p:cNvSpPr/>
            <p:nvPr/>
          </p:nvSpPr>
          <p:spPr>
            <a:xfrm>
              <a:off x="5313835" y="4644906"/>
              <a:ext cx="83371" cy="18712"/>
            </a:xfrm>
            <a:custGeom>
              <a:avLst/>
              <a:gdLst>
                <a:gd name="connsiteX0" fmla="*/ 40733 w 83371"/>
                <a:gd name="connsiteY0" fmla="*/ 7878 h 18712"/>
                <a:gd name="connsiteX1" fmla="*/ 60297 w 83371"/>
                <a:gd name="connsiteY1" fmla="*/ 9015 h 18712"/>
                <a:gd name="connsiteX2" fmla="*/ 83312 w 83371"/>
                <a:gd name="connsiteY2" fmla="*/ 5038 h 18712"/>
                <a:gd name="connsiteX3" fmla="*/ 50515 w 83371"/>
                <a:gd name="connsiteY3" fmla="*/ 693 h 18712"/>
                <a:gd name="connsiteX4" fmla="*/ 25187 w 83371"/>
                <a:gd name="connsiteY4" fmla="*/ 5004 h 18712"/>
                <a:gd name="connsiteX5" fmla="*/ -60 w 83371"/>
                <a:gd name="connsiteY5" fmla="*/ 18374 h 18712"/>
                <a:gd name="connsiteX6" fmla="*/ 40530 w 83371"/>
                <a:gd name="connsiteY6" fmla="*/ 7979 h 18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371" h="18712">
                  <a:moveTo>
                    <a:pt x="40733" y="7878"/>
                  </a:moveTo>
                  <a:cubicBezTo>
                    <a:pt x="45685" y="4536"/>
                    <a:pt x="55386" y="8213"/>
                    <a:pt x="60297" y="9015"/>
                  </a:cubicBezTo>
                  <a:cubicBezTo>
                    <a:pt x="68293" y="9961"/>
                    <a:pt x="76452" y="8554"/>
                    <a:pt x="83312" y="5038"/>
                  </a:cubicBezTo>
                  <a:cubicBezTo>
                    <a:pt x="69674" y="4302"/>
                    <a:pt x="61880" y="5338"/>
                    <a:pt x="50515" y="693"/>
                  </a:cubicBezTo>
                  <a:cubicBezTo>
                    <a:pt x="42113" y="-2650"/>
                    <a:pt x="33386" y="3032"/>
                    <a:pt x="25187" y="5004"/>
                  </a:cubicBezTo>
                  <a:cubicBezTo>
                    <a:pt x="7409" y="9249"/>
                    <a:pt x="1036" y="4804"/>
                    <a:pt x="-60" y="18374"/>
                  </a:cubicBezTo>
                  <a:cubicBezTo>
                    <a:pt x="12645" y="15031"/>
                    <a:pt x="30951" y="14496"/>
                    <a:pt x="40530" y="797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D9F897A4-B6A3-46CA-AD90-16EBED89B400}"/>
                </a:ext>
              </a:extLst>
            </p:cNvPr>
            <p:cNvSpPr/>
            <p:nvPr/>
          </p:nvSpPr>
          <p:spPr>
            <a:xfrm>
              <a:off x="5298334" y="4596601"/>
              <a:ext cx="169879" cy="77210"/>
            </a:xfrm>
            <a:custGeom>
              <a:avLst/>
              <a:gdLst>
                <a:gd name="connsiteX0" fmla="*/ 38252 w 169879"/>
                <a:gd name="connsiteY0" fmla="*/ 76839 h 77210"/>
                <a:gd name="connsiteX1" fmla="*/ 57208 w 169879"/>
                <a:gd name="connsiteY1" fmla="*/ 71057 h 77210"/>
                <a:gd name="connsiteX2" fmla="*/ 90248 w 169879"/>
                <a:gd name="connsiteY2" fmla="*/ 66578 h 77210"/>
                <a:gd name="connsiteX3" fmla="*/ 113465 w 169879"/>
                <a:gd name="connsiteY3" fmla="*/ 65308 h 77210"/>
                <a:gd name="connsiteX4" fmla="*/ 141229 w 169879"/>
                <a:gd name="connsiteY4" fmla="*/ 69319 h 77210"/>
                <a:gd name="connsiteX5" fmla="*/ 169641 w 169879"/>
                <a:gd name="connsiteY5" fmla="*/ 56952 h 77210"/>
                <a:gd name="connsiteX6" fmla="*/ 147317 w 169879"/>
                <a:gd name="connsiteY6" fmla="*/ 38335 h 77210"/>
                <a:gd name="connsiteX7" fmla="*/ 138834 w 169879"/>
                <a:gd name="connsiteY7" fmla="*/ 27573 h 77210"/>
                <a:gd name="connsiteX8" fmla="*/ 110015 w 169879"/>
                <a:gd name="connsiteY8" fmla="*/ 14504 h 77210"/>
                <a:gd name="connsiteX9" fmla="*/ 92480 w 169879"/>
                <a:gd name="connsiteY9" fmla="*/ 6349 h 77210"/>
                <a:gd name="connsiteX10" fmla="*/ 60577 w 169879"/>
                <a:gd name="connsiteY10" fmla="*/ 132 h 77210"/>
                <a:gd name="connsiteX11" fmla="*/ 29607 w 169879"/>
                <a:gd name="connsiteY11" fmla="*/ 5279 h 77210"/>
                <a:gd name="connsiteX12" fmla="*/ 6024 w 169879"/>
                <a:gd name="connsiteY12" fmla="*/ 15774 h 77210"/>
                <a:gd name="connsiteX13" fmla="*/ 4238 w 169879"/>
                <a:gd name="connsiteY13" fmla="*/ 45521 h 77210"/>
                <a:gd name="connsiteX14" fmla="*/ 40769 w 169879"/>
                <a:gd name="connsiteY14" fmla="*/ 53309 h 77210"/>
                <a:gd name="connsiteX15" fmla="*/ 73241 w 169879"/>
                <a:gd name="connsiteY15" fmla="*/ 52039 h 77210"/>
                <a:gd name="connsiteX16" fmla="*/ 99015 w 169879"/>
                <a:gd name="connsiteY16" fmla="*/ 53342 h 77210"/>
                <a:gd name="connsiteX17" fmla="*/ 70602 w 169879"/>
                <a:gd name="connsiteY17" fmla="*/ 56217 h 77210"/>
                <a:gd name="connsiteX18" fmla="*/ 41540 w 169879"/>
                <a:gd name="connsiteY18" fmla="*/ 61398 h 77210"/>
                <a:gd name="connsiteX19" fmla="*/ 16537 w 169879"/>
                <a:gd name="connsiteY19" fmla="*/ 70689 h 77210"/>
                <a:gd name="connsiteX20" fmla="*/ 30134 w 169879"/>
                <a:gd name="connsiteY20" fmla="*/ 74633 h 77210"/>
                <a:gd name="connsiteX21" fmla="*/ 38536 w 169879"/>
                <a:gd name="connsiteY21" fmla="*/ 76839 h 77210"/>
                <a:gd name="connsiteX22" fmla="*/ 38252 w 169879"/>
                <a:gd name="connsiteY22" fmla="*/ 76839 h 7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9879" h="77210">
                  <a:moveTo>
                    <a:pt x="38252" y="76839"/>
                  </a:moveTo>
                  <a:cubicBezTo>
                    <a:pt x="45639" y="76572"/>
                    <a:pt x="50429" y="71993"/>
                    <a:pt x="57208" y="71057"/>
                  </a:cubicBezTo>
                  <a:lnTo>
                    <a:pt x="90248" y="66578"/>
                  </a:lnTo>
                  <a:cubicBezTo>
                    <a:pt x="97838" y="65051"/>
                    <a:pt x="105712" y="64620"/>
                    <a:pt x="113465" y="65308"/>
                  </a:cubicBezTo>
                  <a:cubicBezTo>
                    <a:pt x="124302" y="66277"/>
                    <a:pt x="129173" y="69720"/>
                    <a:pt x="141229" y="69319"/>
                  </a:cubicBezTo>
                  <a:cubicBezTo>
                    <a:pt x="159129" y="68751"/>
                    <a:pt x="171468" y="68149"/>
                    <a:pt x="169641" y="56952"/>
                  </a:cubicBezTo>
                  <a:cubicBezTo>
                    <a:pt x="168302" y="48329"/>
                    <a:pt x="149996" y="46758"/>
                    <a:pt x="147317" y="38335"/>
                  </a:cubicBezTo>
                  <a:cubicBezTo>
                    <a:pt x="145856" y="33790"/>
                    <a:pt x="142325" y="31651"/>
                    <a:pt x="138834" y="27573"/>
                  </a:cubicBezTo>
                  <a:cubicBezTo>
                    <a:pt x="132258" y="20153"/>
                    <a:pt x="118782" y="20286"/>
                    <a:pt x="110015" y="14504"/>
                  </a:cubicBezTo>
                  <a:cubicBezTo>
                    <a:pt x="102790" y="9725"/>
                    <a:pt x="104129" y="5346"/>
                    <a:pt x="92480" y="6349"/>
                  </a:cubicBezTo>
                  <a:cubicBezTo>
                    <a:pt x="81481" y="7318"/>
                    <a:pt x="75676" y="-2575"/>
                    <a:pt x="60577" y="132"/>
                  </a:cubicBezTo>
                  <a:cubicBezTo>
                    <a:pt x="50429" y="2522"/>
                    <a:pt x="40079" y="4243"/>
                    <a:pt x="29607" y="5279"/>
                  </a:cubicBezTo>
                  <a:cubicBezTo>
                    <a:pt x="12194" y="6382"/>
                    <a:pt x="19175" y="12633"/>
                    <a:pt x="6024" y="15774"/>
                  </a:cubicBezTo>
                  <a:cubicBezTo>
                    <a:pt x="5497" y="26670"/>
                    <a:pt x="-6153" y="35829"/>
                    <a:pt x="4238" y="45521"/>
                  </a:cubicBezTo>
                  <a:cubicBezTo>
                    <a:pt x="13736" y="54613"/>
                    <a:pt x="21732" y="57821"/>
                    <a:pt x="40769" y="53309"/>
                  </a:cubicBezTo>
                  <a:cubicBezTo>
                    <a:pt x="58101" y="49198"/>
                    <a:pt x="58060" y="46624"/>
                    <a:pt x="73241" y="52039"/>
                  </a:cubicBezTo>
                  <a:cubicBezTo>
                    <a:pt x="80709" y="54679"/>
                    <a:pt x="90532" y="52874"/>
                    <a:pt x="99015" y="53342"/>
                  </a:cubicBezTo>
                  <a:cubicBezTo>
                    <a:pt x="90451" y="57534"/>
                    <a:pt x="80141" y="58573"/>
                    <a:pt x="70602" y="56217"/>
                  </a:cubicBezTo>
                  <a:cubicBezTo>
                    <a:pt x="58182" y="53543"/>
                    <a:pt x="53230" y="58623"/>
                    <a:pt x="41540" y="61398"/>
                  </a:cubicBezTo>
                  <a:cubicBezTo>
                    <a:pt x="33138" y="63403"/>
                    <a:pt x="13127" y="63904"/>
                    <a:pt x="16537" y="70689"/>
                  </a:cubicBezTo>
                  <a:cubicBezTo>
                    <a:pt x="19337" y="76171"/>
                    <a:pt x="22747" y="75335"/>
                    <a:pt x="30134" y="74633"/>
                  </a:cubicBezTo>
                  <a:cubicBezTo>
                    <a:pt x="35167" y="74132"/>
                    <a:pt x="34680" y="76973"/>
                    <a:pt x="38536" y="76839"/>
                  </a:cubicBezTo>
                  <a:cubicBezTo>
                    <a:pt x="43610" y="76639"/>
                    <a:pt x="33584" y="76973"/>
                    <a:pt x="38252" y="768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DA278160-AB92-46E2-AE95-AC9603EC2A0C}"/>
                </a:ext>
              </a:extLst>
            </p:cNvPr>
            <p:cNvSpPr/>
            <p:nvPr/>
          </p:nvSpPr>
          <p:spPr>
            <a:xfrm>
              <a:off x="5321506" y="4662856"/>
              <a:ext cx="78725" cy="30793"/>
            </a:xfrm>
            <a:custGeom>
              <a:avLst/>
              <a:gdLst>
                <a:gd name="connsiteX0" fmla="*/ 45157 w 78725"/>
                <a:gd name="connsiteY0" fmla="*/ 28567 h 30793"/>
                <a:gd name="connsiteX1" fmla="*/ 76249 w 78725"/>
                <a:gd name="connsiteY1" fmla="*/ 13058 h 30793"/>
                <a:gd name="connsiteX2" fmla="*/ 66995 w 78725"/>
                <a:gd name="connsiteY2" fmla="*/ 324 h 30793"/>
                <a:gd name="connsiteX3" fmla="*/ 30748 w 78725"/>
                <a:gd name="connsiteY3" fmla="*/ 5237 h 30793"/>
                <a:gd name="connsiteX4" fmla="*/ 14999 w 78725"/>
                <a:gd name="connsiteY4" fmla="*/ 10585 h 30793"/>
                <a:gd name="connsiteX5" fmla="*/ -60 w 78725"/>
                <a:gd name="connsiteY5" fmla="*/ 9615 h 30793"/>
                <a:gd name="connsiteX6" fmla="*/ 30626 w 78725"/>
                <a:gd name="connsiteY6" fmla="*/ 18907 h 30793"/>
                <a:gd name="connsiteX7" fmla="*/ 45157 w 78725"/>
                <a:gd name="connsiteY7" fmla="*/ 28567 h 30793"/>
                <a:gd name="connsiteX8" fmla="*/ 45157 w 78725"/>
                <a:gd name="connsiteY8" fmla="*/ 28567 h 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725" h="30793">
                  <a:moveTo>
                    <a:pt x="45157" y="28567"/>
                  </a:moveTo>
                  <a:cubicBezTo>
                    <a:pt x="50759" y="25592"/>
                    <a:pt x="78847" y="15197"/>
                    <a:pt x="76249" y="13058"/>
                  </a:cubicBezTo>
                  <a:cubicBezTo>
                    <a:pt x="68131" y="7075"/>
                    <a:pt x="91754" y="-3019"/>
                    <a:pt x="66995" y="324"/>
                  </a:cubicBezTo>
                  <a:cubicBezTo>
                    <a:pt x="55711" y="1828"/>
                    <a:pt x="41423" y="2362"/>
                    <a:pt x="30748" y="5237"/>
                  </a:cubicBezTo>
                  <a:cubicBezTo>
                    <a:pt x="25350" y="6674"/>
                    <a:pt x="21493" y="10351"/>
                    <a:pt x="14999" y="10585"/>
                  </a:cubicBezTo>
                  <a:cubicBezTo>
                    <a:pt x="8505" y="10818"/>
                    <a:pt x="10616" y="6975"/>
                    <a:pt x="-60" y="9615"/>
                  </a:cubicBezTo>
                  <a:cubicBezTo>
                    <a:pt x="10128" y="15464"/>
                    <a:pt x="19626" y="14796"/>
                    <a:pt x="30626" y="18907"/>
                  </a:cubicBezTo>
                  <a:cubicBezTo>
                    <a:pt x="35578" y="20779"/>
                    <a:pt x="32331" y="35619"/>
                    <a:pt x="45157" y="28567"/>
                  </a:cubicBezTo>
                  <a:cubicBezTo>
                    <a:pt x="51246" y="25358"/>
                    <a:pt x="44508" y="28934"/>
                    <a:pt x="45157" y="2856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C4B6C112-5851-4B6E-B680-77075FCB2E6D}"/>
                </a:ext>
              </a:extLst>
            </p:cNvPr>
            <p:cNvSpPr/>
            <p:nvPr/>
          </p:nvSpPr>
          <p:spPr>
            <a:xfrm>
              <a:off x="6221627" y="4663985"/>
              <a:ext cx="348298" cy="141382"/>
            </a:xfrm>
            <a:custGeom>
              <a:avLst/>
              <a:gdLst>
                <a:gd name="connsiteX0" fmla="*/ 323764 w 348298"/>
                <a:gd name="connsiteY0" fmla="*/ 86731 h 141382"/>
                <a:gd name="connsiteX1" fmla="*/ 307081 w 348298"/>
                <a:gd name="connsiteY1" fmla="*/ 71022 h 141382"/>
                <a:gd name="connsiteX2" fmla="*/ 290845 w 348298"/>
                <a:gd name="connsiteY2" fmla="*/ 57351 h 141382"/>
                <a:gd name="connsiteX3" fmla="*/ 266816 w 348298"/>
                <a:gd name="connsiteY3" fmla="*/ 46321 h 141382"/>
                <a:gd name="connsiteX4" fmla="*/ 257684 w 348298"/>
                <a:gd name="connsiteY4" fmla="*/ 40238 h 141382"/>
                <a:gd name="connsiteX5" fmla="*/ 253625 w 348298"/>
                <a:gd name="connsiteY5" fmla="*/ 22657 h 141382"/>
                <a:gd name="connsiteX6" fmla="*/ 213684 w 348298"/>
                <a:gd name="connsiteY6" fmla="*/ 364 h 141382"/>
                <a:gd name="connsiteX7" fmla="*/ 195013 w 348298"/>
                <a:gd name="connsiteY7" fmla="*/ 12630 h 141382"/>
                <a:gd name="connsiteX8" fmla="*/ 165951 w 348298"/>
                <a:gd name="connsiteY8" fmla="*/ 28808 h 141382"/>
                <a:gd name="connsiteX9" fmla="*/ 133113 w 348298"/>
                <a:gd name="connsiteY9" fmla="*/ 32150 h 141382"/>
                <a:gd name="connsiteX10" fmla="*/ 122723 w 348298"/>
                <a:gd name="connsiteY10" fmla="*/ 41776 h 141382"/>
                <a:gd name="connsiteX11" fmla="*/ 68657 w 348298"/>
                <a:gd name="connsiteY11" fmla="*/ 52471 h 141382"/>
                <a:gd name="connsiteX12" fmla="*/ 49661 w 348298"/>
                <a:gd name="connsiteY12" fmla="*/ 52471 h 141382"/>
                <a:gd name="connsiteX13" fmla="*/ 27864 w 348298"/>
                <a:gd name="connsiteY13" fmla="*/ 55814 h 141382"/>
                <a:gd name="connsiteX14" fmla="*/ 4282 w 348298"/>
                <a:gd name="connsiteY14" fmla="*/ 104512 h 141382"/>
                <a:gd name="connsiteX15" fmla="*/ 43532 w 348298"/>
                <a:gd name="connsiteY15" fmla="*/ 141044 h 141382"/>
                <a:gd name="connsiteX16" fmla="*/ 50960 w 348298"/>
                <a:gd name="connsiteY16" fmla="*/ 127675 h 141382"/>
                <a:gd name="connsiteX17" fmla="*/ 66668 w 348298"/>
                <a:gd name="connsiteY17" fmla="*/ 125067 h 141382"/>
                <a:gd name="connsiteX18" fmla="*/ 103199 w 348298"/>
                <a:gd name="connsiteY18" fmla="*/ 125903 h 141382"/>
                <a:gd name="connsiteX19" fmla="*/ 108760 w 348298"/>
                <a:gd name="connsiteY19" fmla="*/ 110929 h 141382"/>
                <a:gd name="connsiteX20" fmla="*/ 149796 w 348298"/>
                <a:gd name="connsiteY20" fmla="*/ 106651 h 141382"/>
                <a:gd name="connsiteX21" fmla="*/ 208326 w 348298"/>
                <a:gd name="connsiteY21" fmla="*/ 119452 h 141382"/>
                <a:gd name="connsiteX22" fmla="*/ 230529 w 348298"/>
                <a:gd name="connsiteY22" fmla="*/ 108991 h 141382"/>
                <a:gd name="connsiteX23" fmla="*/ 255776 w 348298"/>
                <a:gd name="connsiteY23" fmla="*/ 106618 h 141382"/>
                <a:gd name="connsiteX24" fmla="*/ 288775 w 348298"/>
                <a:gd name="connsiteY24" fmla="*/ 107654 h 141382"/>
                <a:gd name="connsiteX25" fmla="*/ 302048 w 348298"/>
                <a:gd name="connsiteY25" fmla="*/ 102540 h 141382"/>
                <a:gd name="connsiteX26" fmla="*/ 323885 w 348298"/>
                <a:gd name="connsiteY26" fmla="*/ 107019 h 141382"/>
                <a:gd name="connsiteX27" fmla="*/ 348239 w 348298"/>
                <a:gd name="connsiteY27" fmla="*/ 107219 h 141382"/>
                <a:gd name="connsiteX28" fmla="*/ 342069 w 348298"/>
                <a:gd name="connsiteY28" fmla="*/ 96357 h 141382"/>
                <a:gd name="connsiteX29" fmla="*/ 323358 w 348298"/>
                <a:gd name="connsiteY29" fmla="*/ 86931 h 141382"/>
                <a:gd name="connsiteX30" fmla="*/ 323764 w 348298"/>
                <a:gd name="connsiteY30" fmla="*/ 86731 h 14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8298" h="141382">
                  <a:moveTo>
                    <a:pt x="323764" y="86731"/>
                  </a:moveTo>
                  <a:cubicBezTo>
                    <a:pt x="324291" y="79778"/>
                    <a:pt x="315646" y="75199"/>
                    <a:pt x="307081" y="71022"/>
                  </a:cubicBezTo>
                  <a:cubicBezTo>
                    <a:pt x="298517" y="66844"/>
                    <a:pt x="297868" y="62532"/>
                    <a:pt x="290845" y="57351"/>
                  </a:cubicBezTo>
                  <a:cubicBezTo>
                    <a:pt x="283823" y="52171"/>
                    <a:pt x="278019" y="47892"/>
                    <a:pt x="266816" y="46321"/>
                  </a:cubicBezTo>
                  <a:cubicBezTo>
                    <a:pt x="260200" y="45386"/>
                    <a:pt x="263001" y="40940"/>
                    <a:pt x="257684" y="40238"/>
                  </a:cubicBezTo>
                  <a:cubicBezTo>
                    <a:pt x="232437" y="36896"/>
                    <a:pt x="261093" y="33219"/>
                    <a:pt x="253625" y="22657"/>
                  </a:cubicBezTo>
                  <a:cubicBezTo>
                    <a:pt x="247292" y="13667"/>
                    <a:pt x="234101" y="-4081"/>
                    <a:pt x="213684" y="364"/>
                  </a:cubicBezTo>
                  <a:cubicBezTo>
                    <a:pt x="200695" y="3305"/>
                    <a:pt x="202928" y="8352"/>
                    <a:pt x="195013" y="12630"/>
                  </a:cubicBezTo>
                  <a:cubicBezTo>
                    <a:pt x="184947" y="17530"/>
                    <a:pt x="175246" y="22932"/>
                    <a:pt x="165951" y="28808"/>
                  </a:cubicBezTo>
                  <a:cubicBezTo>
                    <a:pt x="158279" y="34122"/>
                    <a:pt x="143505" y="32150"/>
                    <a:pt x="133113" y="32150"/>
                  </a:cubicBezTo>
                  <a:cubicBezTo>
                    <a:pt x="115173" y="31849"/>
                    <a:pt x="129866" y="38534"/>
                    <a:pt x="122723" y="41776"/>
                  </a:cubicBezTo>
                  <a:cubicBezTo>
                    <a:pt x="105675" y="49597"/>
                    <a:pt x="85907" y="46956"/>
                    <a:pt x="68657" y="52471"/>
                  </a:cubicBezTo>
                  <a:cubicBezTo>
                    <a:pt x="58104" y="55814"/>
                    <a:pt x="58794" y="51068"/>
                    <a:pt x="49661" y="52471"/>
                  </a:cubicBezTo>
                  <a:cubicBezTo>
                    <a:pt x="42680" y="53441"/>
                    <a:pt x="35577" y="63234"/>
                    <a:pt x="27864" y="55814"/>
                  </a:cubicBezTo>
                  <a:cubicBezTo>
                    <a:pt x="4485" y="68114"/>
                    <a:pt x="-6921" y="86497"/>
                    <a:pt x="4282" y="104512"/>
                  </a:cubicBezTo>
                  <a:cubicBezTo>
                    <a:pt x="11953" y="116845"/>
                    <a:pt x="22628" y="133891"/>
                    <a:pt x="43532" y="141044"/>
                  </a:cubicBezTo>
                  <a:cubicBezTo>
                    <a:pt x="48078" y="136766"/>
                    <a:pt x="51406" y="133056"/>
                    <a:pt x="50960" y="127675"/>
                  </a:cubicBezTo>
                  <a:cubicBezTo>
                    <a:pt x="50960" y="125769"/>
                    <a:pt x="63542" y="125468"/>
                    <a:pt x="66668" y="125067"/>
                  </a:cubicBezTo>
                  <a:cubicBezTo>
                    <a:pt x="80306" y="123263"/>
                    <a:pt x="89358" y="124332"/>
                    <a:pt x="103199" y="125903"/>
                  </a:cubicBezTo>
                  <a:cubicBezTo>
                    <a:pt x="103199" y="119686"/>
                    <a:pt x="101575" y="115375"/>
                    <a:pt x="108760" y="110929"/>
                  </a:cubicBezTo>
                  <a:cubicBezTo>
                    <a:pt x="120936" y="103442"/>
                    <a:pt x="134778" y="97560"/>
                    <a:pt x="149796" y="106651"/>
                  </a:cubicBezTo>
                  <a:cubicBezTo>
                    <a:pt x="164814" y="115742"/>
                    <a:pt x="187828" y="116277"/>
                    <a:pt x="208326" y="119452"/>
                  </a:cubicBezTo>
                  <a:cubicBezTo>
                    <a:pt x="214496" y="120421"/>
                    <a:pt x="213725" y="106083"/>
                    <a:pt x="230529" y="108991"/>
                  </a:cubicBezTo>
                  <a:cubicBezTo>
                    <a:pt x="240595" y="110695"/>
                    <a:pt x="246400" y="108155"/>
                    <a:pt x="255776" y="106618"/>
                  </a:cubicBezTo>
                  <a:cubicBezTo>
                    <a:pt x="268277" y="104612"/>
                    <a:pt x="276923" y="107553"/>
                    <a:pt x="288775" y="107654"/>
                  </a:cubicBezTo>
                  <a:cubicBezTo>
                    <a:pt x="295107" y="107654"/>
                    <a:pt x="295432" y="102707"/>
                    <a:pt x="302048" y="102540"/>
                  </a:cubicBezTo>
                  <a:cubicBezTo>
                    <a:pt x="309598" y="102821"/>
                    <a:pt x="317026" y="104341"/>
                    <a:pt x="323885" y="107019"/>
                  </a:cubicBezTo>
                  <a:cubicBezTo>
                    <a:pt x="330948" y="109392"/>
                    <a:pt x="340689" y="107587"/>
                    <a:pt x="348239" y="107219"/>
                  </a:cubicBezTo>
                  <a:cubicBezTo>
                    <a:pt x="346494" y="104178"/>
                    <a:pt x="345398" y="98863"/>
                    <a:pt x="342069" y="96357"/>
                  </a:cubicBezTo>
                  <a:cubicBezTo>
                    <a:pt x="338741" y="93850"/>
                    <a:pt x="322992" y="91677"/>
                    <a:pt x="323358" y="86931"/>
                  </a:cubicBezTo>
                  <a:cubicBezTo>
                    <a:pt x="323967" y="83589"/>
                    <a:pt x="323520" y="89872"/>
                    <a:pt x="323764" y="8673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4FBF566B-0C85-49E6-98EC-2DD533961A42}"/>
                </a:ext>
              </a:extLst>
            </p:cNvPr>
            <p:cNvSpPr/>
            <p:nvPr/>
          </p:nvSpPr>
          <p:spPr>
            <a:xfrm>
              <a:off x="5885260" y="4612799"/>
              <a:ext cx="341831" cy="162926"/>
            </a:xfrm>
            <a:custGeom>
              <a:avLst/>
              <a:gdLst>
                <a:gd name="connsiteX0" fmla="*/ 210355 w 341831"/>
                <a:gd name="connsiteY0" fmla="*/ 117663 h 162926"/>
                <a:gd name="connsiteX1" fmla="*/ 231543 w 341831"/>
                <a:gd name="connsiteY1" fmla="*/ 115557 h 162926"/>
                <a:gd name="connsiteX2" fmla="*/ 249484 w 341831"/>
                <a:gd name="connsiteY2" fmla="*/ 126420 h 162926"/>
                <a:gd name="connsiteX3" fmla="*/ 280454 w 341831"/>
                <a:gd name="connsiteY3" fmla="*/ 92562 h 162926"/>
                <a:gd name="connsiteX4" fmla="*/ 294660 w 341831"/>
                <a:gd name="connsiteY4" fmla="*/ 80997 h 162926"/>
                <a:gd name="connsiteX5" fmla="*/ 305132 w 341831"/>
                <a:gd name="connsiteY5" fmla="*/ 60943 h 162926"/>
                <a:gd name="connsiteX6" fmla="*/ 334073 w 341831"/>
                <a:gd name="connsiteY6" fmla="*/ 40354 h 162926"/>
                <a:gd name="connsiteX7" fmla="*/ 332895 w 341831"/>
                <a:gd name="connsiteY7" fmla="*/ 24712 h 162926"/>
                <a:gd name="connsiteX8" fmla="*/ 326523 w 341831"/>
                <a:gd name="connsiteY8" fmla="*/ 17091 h 162926"/>
                <a:gd name="connsiteX9" fmla="*/ 320231 w 341831"/>
                <a:gd name="connsiteY9" fmla="*/ 5794 h 162926"/>
                <a:gd name="connsiteX10" fmla="*/ 299003 w 341831"/>
                <a:gd name="connsiteY10" fmla="*/ 3287 h 162926"/>
                <a:gd name="connsiteX11" fmla="*/ 266531 w 341831"/>
                <a:gd name="connsiteY11" fmla="*/ 8167 h 162926"/>
                <a:gd name="connsiteX12" fmla="*/ 234344 w 341831"/>
                <a:gd name="connsiteY12" fmla="*/ 6262 h 162926"/>
                <a:gd name="connsiteX13" fmla="*/ 218676 w 341831"/>
                <a:gd name="connsiteY13" fmla="*/ 6997 h 162926"/>
                <a:gd name="connsiteX14" fmla="*/ 198137 w 341831"/>
                <a:gd name="connsiteY14" fmla="*/ 15253 h 162926"/>
                <a:gd name="connsiteX15" fmla="*/ 134412 w 341831"/>
                <a:gd name="connsiteY15" fmla="*/ 9972 h 162926"/>
                <a:gd name="connsiteX16" fmla="*/ 111113 w 341831"/>
                <a:gd name="connsiteY16" fmla="*/ 3287 h 162926"/>
                <a:gd name="connsiteX17" fmla="*/ 77099 w 341831"/>
                <a:gd name="connsiteY17" fmla="*/ 1315 h 162926"/>
                <a:gd name="connsiteX18" fmla="*/ 47793 w 341831"/>
                <a:gd name="connsiteY18" fmla="*/ 2953 h 162926"/>
                <a:gd name="connsiteX19" fmla="*/ 37199 w 341831"/>
                <a:gd name="connsiteY19" fmla="*/ 17826 h 162926"/>
                <a:gd name="connsiteX20" fmla="*/ 26889 w 341831"/>
                <a:gd name="connsiteY20" fmla="*/ 55328 h 162926"/>
                <a:gd name="connsiteX21" fmla="*/ 5823 w 341831"/>
                <a:gd name="connsiteY21" fmla="*/ 84172 h 162926"/>
                <a:gd name="connsiteX22" fmla="*/ 15037 w 341831"/>
                <a:gd name="connsiteY22" fmla="*/ 126988 h 162926"/>
                <a:gd name="connsiteX23" fmla="*/ 79981 w 341831"/>
                <a:gd name="connsiteY23" fmla="*/ 143031 h 162926"/>
                <a:gd name="connsiteX24" fmla="*/ 94390 w 341831"/>
                <a:gd name="connsiteY24" fmla="*/ 160545 h 162926"/>
                <a:gd name="connsiteX25" fmla="*/ 127430 w 341831"/>
                <a:gd name="connsiteY25" fmla="*/ 158105 h 162926"/>
                <a:gd name="connsiteX26" fmla="*/ 158238 w 341831"/>
                <a:gd name="connsiteY26" fmla="*/ 156802 h 162926"/>
                <a:gd name="connsiteX27" fmla="*/ 176097 w 341831"/>
                <a:gd name="connsiteY27" fmla="*/ 142162 h 162926"/>
                <a:gd name="connsiteX28" fmla="*/ 204510 w 341831"/>
                <a:gd name="connsiteY28" fmla="*/ 120571 h 162926"/>
                <a:gd name="connsiteX29" fmla="*/ 210314 w 341831"/>
                <a:gd name="connsiteY29" fmla="*/ 117830 h 162926"/>
                <a:gd name="connsiteX30" fmla="*/ 210355 w 341831"/>
                <a:gd name="connsiteY30" fmla="*/ 117663 h 16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1831" h="162926">
                  <a:moveTo>
                    <a:pt x="210355" y="117663"/>
                  </a:moveTo>
                  <a:cubicBezTo>
                    <a:pt x="217336" y="116463"/>
                    <a:pt x="224440" y="115758"/>
                    <a:pt x="231543" y="115557"/>
                  </a:cubicBezTo>
                  <a:cubicBezTo>
                    <a:pt x="238890" y="116025"/>
                    <a:pt x="247779" y="126486"/>
                    <a:pt x="249484" y="126420"/>
                  </a:cubicBezTo>
                  <a:cubicBezTo>
                    <a:pt x="257602" y="126019"/>
                    <a:pt x="278180" y="97274"/>
                    <a:pt x="280454" y="92562"/>
                  </a:cubicBezTo>
                  <a:cubicBezTo>
                    <a:pt x="282402" y="88517"/>
                    <a:pt x="294619" y="84272"/>
                    <a:pt x="294660" y="80997"/>
                  </a:cubicBezTo>
                  <a:cubicBezTo>
                    <a:pt x="294660" y="73510"/>
                    <a:pt x="307527" y="68263"/>
                    <a:pt x="305132" y="60943"/>
                  </a:cubicBezTo>
                  <a:cubicBezTo>
                    <a:pt x="302332" y="52453"/>
                    <a:pt x="323113" y="42393"/>
                    <a:pt x="334073" y="40354"/>
                  </a:cubicBezTo>
                  <a:cubicBezTo>
                    <a:pt x="347954" y="37747"/>
                    <a:pt x="340242" y="27954"/>
                    <a:pt x="332895" y="24712"/>
                  </a:cubicBezTo>
                  <a:cubicBezTo>
                    <a:pt x="328065" y="22573"/>
                    <a:pt x="326117" y="20467"/>
                    <a:pt x="326523" y="17091"/>
                  </a:cubicBezTo>
                  <a:cubicBezTo>
                    <a:pt x="327416" y="9471"/>
                    <a:pt x="325752" y="11810"/>
                    <a:pt x="320231" y="5794"/>
                  </a:cubicBezTo>
                  <a:cubicBezTo>
                    <a:pt x="314711" y="-222"/>
                    <a:pt x="307689" y="-2696"/>
                    <a:pt x="299003" y="3287"/>
                  </a:cubicBezTo>
                  <a:cubicBezTo>
                    <a:pt x="288896" y="10239"/>
                    <a:pt x="281712" y="12345"/>
                    <a:pt x="266531" y="8167"/>
                  </a:cubicBezTo>
                  <a:cubicBezTo>
                    <a:pt x="256100" y="5293"/>
                    <a:pt x="245668" y="6061"/>
                    <a:pt x="234344" y="6262"/>
                  </a:cubicBezTo>
                  <a:cubicBezTo>
                    <a:pt x="229107" y="5881"/>
                    <a:pt x="223831" y="6128"/>
                    <a:pt x="218676" y="6997"/>
                  </a:cubicBezTo>
                  <a:cubicBezTo>
                    <a:pt x="211167" y="9270"/>
                    <a:pt x="206824" y="14350"/>
                    <a:pt x="198137" y="15253"/>
                  </a:cubicBezTo>
                  <a:cubicBezTo>
                    <a:pt x="172850" y="17826"/>
                    <a:pt x="158725" y="4089"/>
                    <a:pt x="134412" y="9972"/>
                  </a:cubicBezTo>
                  <a:cubicBezTo>
                    <a:pt x="117607" y="14050"/>
                    <a:pt x="121261" y="9805"/>
                    <a:pt x="111113" y="3287"/>
                  </a:cubicBezTo>
                  <a:cubicBezTo>
                    <a:pt x="105836" y="-55"/>
                    <a:pt x="82700" y="-1860"/>
                    <a:pt x="77099" y="1315"/>
                  </a:cubicBezTo>
                  <a:cubicBezTo>
                    <a:pt x="69346" y="5694"/>
                    <a:pt x="57494" y="1649"/>
                    <a:pt x="47793" y="2953"/>
                  </a:cubicBezTo>
                  <a:cubicBezTo>
                    <a:pt x="35251" y="4624"/>
                    <a:pt x="43734" y="13916"/>
                    <a:pt x="37199" y="17826"/>
                  </a:cubicBezTo>
                  <a:cubicBezTo>
                    <a:pt x="17838" y="29892"/>
                    <a:pt x="26077" y="40855"/>
                    <a:pt x="26889" y="55328"/>
                  </a:cubicBezTo>
                  <a:cubicBezTo>
                    <a:pt x="27620" y="67995"/>
                    <a:pt x="16295" y="74179"/>
                    <a:pt x="5823" y="84172"/>
                  </a:cubicBezTo>
                  <a:cubicBezTo>
                    <a:pt x="-3391" y="92963"/>
                    <a:pt x="-2822" y="121272"/>
                    <a:pt x="15037" y="126988"/>
                  </a:cubicBezTo>
                  <a:cubicBezTo>
                    <a:pt x="38336" y="134408"/>
                    <a:pt x="63745" y="126754"/>
                    <a:pt x="79981" y="143031"/>
                  </a:cubicBezTo>
                  <a:cubicBezTo>
                    <a:pt x="85947" y="149047"/>
                    <a:pt x="85014" y="155231"/>
                    <a:pt x="94390" y="160545"/>
                  </a:cubicBezTo>
                  <a:cubicBezTo>
                    <a:pt x="104497" y="166227"/>
                    <a:pt x="116268" y="158272"/>
                    <a:pt x="127430" y="158105"/>
                  </a:cubicBezTo>
                  <a:cubicBezTo>
                    <a:pt x="137740" y="158222"/>
                    <a:pt x="148009" y="157788"/>
                    <a:pt x="158238" y="156802"/>
                  </a:cubicBezTo>
                  <a:cubicBezTo>
                    <a:pt x="172241" y="155064"/>
                    <a:pt x="173013" y="150317"/>
                    <a:pt x="176097" y="142162"/>
                  </a:cubicBezTo>
                  <a:cubicBezTo>
                    <a:pt x="179629" y="132837"/>
                    <a:pt x="192942" y="127021"/>
                    <a:pt x="204510" y="120571"/>
                  </a:cubicBezTo>
                  <a:cubicBezTo>
                    <a:pt x="206255" y="119384"/>
                    <a:pt x="208204" y="118458"/>
                    <a:pt x="210314" y="117830"/>
                  </a:cubicBezTo>
                  <a:cubicBezTo>
                    <a:pt x="213927" y="117161"/>
                    <a:pt x="207148" y="118197"/>
                    <a:pt x="210355" y="11766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40595E2F-5959-4D06-893B-1012D2412E08}"/>
                </a:ext>
              </a:extLst>
            </p:cNvPr>
            <p:cNvSpPr/>
            <p:nvPr/>
          </p:nvSpPr>
          <p:spPr>
            <a:xfrm>
              <a:off x="5826564" y="4637285"/>
              <a:ext cx="86802" cy="106884"/>
            </a:xfrm>
            <a:custGeom>
              <a:avLst/>
              <a:gdLst>
                <a:gd name="connsiteX0" fmla="*/ 59932 w 86802"/>
                <a:gd name="connsiteY0" fmla="*/ 67674 h 106884"/>
                <a:gd name="connsiteX1" fmla="*/ 83840 w 86802"/>
                <a:gd name="connsiteY1" fmla="*/ 42974 h 106884"/>
                <a:gd name="connsiteX2" fmla="*/ 80999 w 86802"/>
                <a:gd name="connsiteY2" fmla="*/ 9049 h 106884"/>
                <a:gd name="connsiteX3" fmla="*/ 65980 w 86802"/>
                <a:gd name="connsiteY3" fmla="*/ 2632 h 106884"/>
                <a:gd name="connsiteX4" fmla="*/ 51530 w 86802"/>
                <a:gd name="connsiteY4" fmla="*/ 12425 h 106884"/>
                <a:gd name="connsiteX5" fmla="*/ 24660 w 86802"/>
                <a:gd name="connsiteY5" fmla="*/ 19845 h 106884"/>
                <a:gd name="connsiteX6" fmla="*/ -60 w 86802"/>
                <a:gd name="connsiteY6" fmla="*/ 27532 h 106884"/>
                <a:gd name="connsiteX7" fmla="*/ 9560 w 86802"/>
                <a:gd name="connsiteY7" fmla="*/ 40902 h 106884"/>
                <a:gd name="connsiteX8" fmla="*/ 21413 w 86802"/>
                <a:gd name="connsiteY8" fmla="*/ 45314 h 106884"/>
                <a:gd name="connsiteX9" fmla="*/ 22914 w 86802"/>
                <a:gd name="connsiteY9" fmla="*/ 55341 h 106884"/>
                <a:gd name="connsiteX10" fmla="*/ 28760 w 86802"/>
                <a:gd name="connsiteY10" fmla="*/ 77768 h 106884"/>
                <a:gd name="connsiteX11" fmla="*/ 32291 w 86802"/>
                <a:gd name="connsiteY11" fmla="*/ 106546 h 106884"/>
                <a:gd name="connsiteX12" fmla="*/ 70770 w 86802"/>
                <a:gd name="connsiteY12" fmla="*/ 100663 h 106884"/>
                <a:gd name="connsiteX13" fmla="*/ 59932 w 86802"/>
                <a:gd name="connsiteY13" fmla="*/ 67473 h 106884"/>
                <a:gd name="connsiteX14" fmla="*/ 59932 w 86802"/>
                <a:gd name="connsiteY14" fmla="*/ 67674 h 10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802" h="106884">
                  <a:moveTo>
                    <a:pt x="59932" y="67674"/>
                  </a:moveTo>
                  <a:cubicBezTo>
                    <a:pt x="61759" y="57948"/>
                    <a:pt x="78035" y="51731"/>
                    <a:pt x="83840" y="42974"/>
                  </a:cubicBezTo>
                  <a:cubicBezTo>
                    <a:pt x="90456" y="32947"/>
                    <a:pt x="84124" y="19009"/>
                    <a:pt x="80999" y="9049"/>
                  </a:cubicBezTo>
                  <a:cubicBezTo>
                    <a:pt x="70851" y="12926"/>
                    <a:pt x="68822" y="5439"/>
                    <a:pt x="65980" y="2632"/>
                  </a:cubicBezTo>
                  <a:cubicBezTo>
                    <a:pt x="54737" y="-7596"/>
                    <a:pt x="52139" y="11823"/>
                    <a:pt x="51530" y="12425"/>
                  </a:cubicBezTo>
                  <a:cubicBezTo>
                    <a:pt x="46010" y="17773"/>
                    <a:pt x="34117" y="19109"/>
                    <a:pt x="24660" y="19845"/>
                  </a:cubicBezTo>
                  <a:cubicBezTo>
                    <a:pt x="14187" y="20513"/>
                    <a:pt x="10088" y="27566"/>
                    <a:pt x="-60" y="27532"/>
                  </a:cubicBezTo>
                  <a:cubicBezTo>
                    <a:pt x="671" y="32546"/>
                    <a:pt x="1077" y="38495"/>
                    <a:pt x="9560" y="40902"/>
                  </a:cubicBezTo>
                  <a:cubicBezTo>
                    <a:pt x="13619" y="42071"/>
                    <a:pt x="18977" y="42907"/>
                    <a:pt x="21413" y="45314"/>
                  </a:cubicBezTo>
                  <a:cubicBezTo>
                    <a:pt x="24497" y="48355"/>
                    <a:pt x="18409" y="53068"/>
                    <a:pt x="22914" y="55341"/>
                  </a:cubicBezTo>
                  <a:cubicBezTo>
                    <a:pt x="30667" y="59585"/>
                    <a:pt x="27907" y="72052"/>
                    <a:pt x="28760" y="77768"/>
                  </a:cubicBezTo>
                  <a:cubicBezTo>
                    <a:pt x="30261" y="87327"/>
                    <a:pt x="31235" y="96953"/>
                    <a:pt x="32291" y="106546"/>
                  </a:cubicBezTo>
                  <a:cubicBezTo>
                    <a:pt x="36837" y="105844"/>
                    <a:pt x="69796" y="99861"/>
                    <a:pt x="70770" y="100663"/>
                  </a:cubicBezTo>
                  <a:cubicBezTo>
                    <a:pt x="63910" y="89232"/>
                    <a:pt x="57538" y="80341"/>
                    <a:pt x="59932" y="67473"/>
                  </a:cubicBezTo>
                  <a:cubicBezTo>
                    <a:pt x="61515" y="59285"/>
                    <a:pt x="58390" y="76030"/>
                    <a:pt x="59932" y="676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DCFB06AF-70E4-46D1-8C48-FCF8C423E17E}"/>
                </a:ext>
              </a:extLst>
            </p:cNvPr>
            <p:cNvSpPr/>
            <p:nvPr/>
          </p:nvSpPr>
          <p:spPr>
            <a:xfrm>
              <a:off x="5800993" y="4663223"/>
              <a:ext cx="57799" cy="87998"/>
            </a:xfrm>
            <a:custGeom>
              <a:avLst/>
              <a:gdLst>
                <a:gd name="connsiteX0" fmla="*/ 48486 w 57799"/>
                <a:gd name="connsiteY0" fmla="*/ 29603 h 87998"/>
                <a:gd name="connsiteX1" fmla="*/ 46984 w 57799"/>
                <a:gd name="connsiteY1" fmla="*/ 19576 h 87998"/>
                <a:gd name="connsiteX2" fmla="*/ 32534 w 57799"/>
                <a:gd name="connsiteY2" fmla="*/ 14261 h 87998"/>
                <a:gd name="connsiteX3" fmla="*/ 26324 w 57799"/>
                <a:gd name="connsiteY3" fmla="*/ 6039 h 87998"/>
                <a:gd name="connsiteX4" fmla="*/ -60 w 57799"/>
                <a:gd name="connsiteY4" fmla="*/ 825 h 87998"/>
                <a:gd name="connsiteX5" fmla="*/ 13619 w 57799"/>
                <a:gd name="connsiteY5" fmla="*/ 17738 h 87998"/>
                <a:gd name="connsiteX6" fmla="*/ 13619 w 57799"/>
                <a:gd name="connsiteY6" fmla="*/ 39129 h 87998"/>
                <a:gd name="connsiteX7" fmla="*/ 24091 w 57799"/>
                <a:gd name="connsiteY7" fmla="*/ 63194 h 87998"/>
                <a:gd name="connsiteX8" fmla="*/ 36268 w 57799"/>
                <a:gd name="connsiteY8" fmla="*/ 87660 h 87998"/>
                <a:gd name="connsiteX9" fmla="*/ 57740 w 57799"/>
                <a:gd name="connsiteY9" fmla="*/ 80975 h 87998"/>
                <a:gd name="connsiteX10" fmla="*/ 55711 w 57799"/>
                <a:gd name="connsiteY10" fmla="*/ 63394 h 87998"/>
                <a:gd name="connsiteX11" fmla="*/ 48364 w 57799"/>
                <a:gd name="connsiteY11" fmla="*/ 29770 h 87998"/>
                <a:gd name="connsiteX12" fmla="*/ 48486 w 57799"/>
                <a:gd name="connsiteY12" fmla="*/ 29603 h 8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799" h="87998">
                  <a:moveTo>
                    <a:pt x="48486" y="29603"/>
                  </a:moveTo>
                  <a:cubicBezTo>
                    <a:pt x="43980" y="27196"/>
                    <a:pt x="50069" y="22484"/>
                    <a:pt x="46984" y="19576"/>
                  </a:cubicBezTo>
                  <a:cubicBezTo>
                    <a:pt x="43899" y="16668"/>
                    <a:pt x="36999" y="16233"/>
                    <a:pt x="32534" y="14261"/>
                  </a:cubicBezTo>
                  <a:cubicBezTo>
                    <a:pt x="28962" y="12530"/>
                    <a:pt x="26608" y="9455"/>
                    <a:pt x="26324" y="6039"/>
                  </a:cubicBezTo>
                  <a:cubicBezTo>
                    <a:pt x="25106" y="1026"/>
                    <a:pt x="9479" y="-2183"/>
                    <a:pt x="-60" y="825"/>
                  </a:cubicBezTo>
                  <a:cubicBezTo>
                    <a:pt x="2376" y="7777"/>
                    <a:pt x="11712" y="11588"/>
                    <a:pt x="13619" y="17738"/>
                  </a:cubicBezTo>
                  <a:cubicBezTo>
                    <a:pt x="15771" y="24623"/>
                    <a:pt x="12604" y="32143"/>
                    <a:pt x="13619" y="39129"/>
                  </a:cubicBezTo>
                  <a:cubicBezTo>
                    <a:pt x="14918" y="47418"/>
                    <a:pt x="22305" y="54838"/>
                    <a:pt x="24091" y="63194"/>
                  </a:cubicBezTo>
                  <a:cubicBezTo>
                    <a:pt x="25431" y="72098"/>
                    <a:pt x="29611" y="80547"/>
                    <a:pt x="36268" y="87660"/>
                  </a:cubicBezTo>
                  <a:cubicBezTo>
                    <a:pt x="43047" y="84661"/>
                    <a:pt x="50272" y="82412"/>
                    <a:pt x="57740" y="80975"/>
                  </a:cubicBezTo>
                  <a:cubicBezTo>
                    <a:pt x="57091" y="75126"/>
                    <a:pt x="56441" y="69243"/>
                    <a:pt x="55711" y="63394"/>
                  </a:cubicBezTo>
                  <a:cubicBezTo>
                    <a:pt x="54737" y="55372"/>
                    <a:pt x="58309" y="35218"/>
                    <a:pt x="48364" y="29770"/>
                  </a:cubicBezTo>
                  <a:cubicBezTo>
                    <a:pt x="43209" y="26762"/>
                    <a:pt x="53722" y="32477"/>
                    <a:pt x="48486" y="2960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7FB9EEC9-562C-4E5B-98CF-1104973D1DAC}"/>
                </a:ext>
              </a:extLst>
            </p:cNvPr>
            <p:cNvSpPr/>
            <p:nvPr/>
          </p:nvSpPr>
          <p:spPr>
            <a:xfrm>
              <a:off x="6057146" y="4623042"/>
              <a:ext cx="208169" cy="196998"/>
            </a:xfrm>
            <a:custGeom>
              <a:avLst/>
              <a:gdLst>
                <a:gd name="connsiteX0" fmla="*/ 85879 w 208169"/>
                <a:gd name="connsiteY0" fmla="*/ 186098 h 196998"/>
                <a:gd name="connsiteX1" fmla="*/ 200625 w 208169"/>
                <a:gd name="connsiteY1" fmla="*/ 196660 h 196998"/>
                <a:gd name="connsiteX2" fmla="*/ 202980 w 208169"/>
                <a:gd name="connsiteY2" fmla="*/ 189307 h 196998"/>
                <a:gd name="connsiteX3" fmla="*/ 205050 w 208169"/>
                <a:gd name="connsiteY3" fmla="*/ 185296 h 196998"/>
                <a:gd name="connsiteX4" fmla="*/ 203183 w 208169"/>
                <a:gd name="connsiteY4" fmla="*/ 178611 h 196998"/>
                <a:gd name="connsiteX5" fmla="*/ 179722 w 208169"/>
                <a:gd name="connsiteY5" fmla="*/ 162334 h 196998"/>
                <a:gd name="connsiteX6" fmla="*/ 179073 w 208169"/>
                <a:gd name="connsiteY6" fmla="*/ 158190 h 196998"/>
                <a:gd name="connsiteX7" fmla="*/ 168763 w 208169"/>
                <a:gd name="connsiteY7" fmla="*/ 145021 h 196998"/>
                <a:gd name="connsiteX8" fmla="*/ 164704 w 208169"/>
                <a:gd name="connsiteY8" fmla="*/ 121190 h 196998"/>
                <a:gd name="connsiteX9" fmla="*/ 192548 w 208169"/>
                <a:gd name="connsiteY9" fmla="*/ 96322 h 196998"/>
                <a:gd name="connsiteX10" fmla="*/ 167058 w 208169"/>
                <a:gd name="connsiteY10" fmla="*/ 72257 h 196998"/>
                <a:gd name="connsiteX11" fmla="*/ 155693 w 208169"/>
                <a:gd name="connsiteY11" fmla="*/ 55546 h 196998"/>
                <a:gd name="connsiteX12" fmla="*/ 192224 w 208169"/>
                <a:gd name="connsiteY12" fmla="*/ 53808 h 196998"/>
                <a:gd name="connsiteX13" fmla="*/ 182076 w 208169"/>
                <a:gd name="connsiteY13" fmla="*/ 42611 h 196998"/>
                <a:gd name="connsiteX14" fmla="*/ 178382 w 208169"/>
                <a:gd name="connsiteY14" fmla="*/ 23827 h 196998"/>
                <a:gd name="connsiteX15" fmla="*/ 156667 w 208169"/>
                <a:gd name="connsiteY15" fmla="*/ -339 h 196998"/>
                <a:gd name="connsiteX16" fmla="*/ 166652 w 208169"/>
                <a:gd name="connsiteY16" fmla="*/ 16039 h 196998"/>
                <a:gd name="connsiteX17" fmla="*/ 157885 w 208169"/>
                <a:gd name="connsiteY17" fmla="*/ 30545 h 196998"/>
                <a:gd name="connsiteX18" fmla="*/ 133531 w 208169"/>
                <a:gd name="connsiteY18" fmla="*/ 53172 h 196998"/>
                <a:gd name="connsiteX19" fmla="*/ 123180 w 208169"/>
                <a:gd name="connsiteY19" fmla="*/ 70586 h 196998"/>
                <a:gd name="connsiteX20" fmla="*/ 108974 w 208169"/>
                <a:gd name="connsiteY20" fmla="*/ 82151 h 196998"/>
                <a:gd name="connsiteX21" fmla="*/ 78004 w 208169"/>
                <a:gd name="connsiteY21" fmla="*/ 116009 h 196998"/>
                <a:gd name="connsiteX22" fmla="*/ 69886 w 208169"/>
                <a:gd name="connsiteY22" fmla="*/ 108355 h 196998"/>
                <a:gd name="connsiteX23" fmla="*/ 49591 w 208169"/>
                <a:gd name="connsiteY23" fmla="*/ 107118 h 196998"/>
                <a:gd name="connsiteX24" fmla="*/ 23086 w 208169"/>
                <a:gd name="connsiteY24" fmla="*/ 115775 h 196998"/>
                <a:gd name="connsiteX25" fmla="*/ 6120 w 208169"/>
                <a:gd name="connsiteY25" fmla="*/ 126738 h 196998"/>
                <a:gd name="connsiteX26" fmla="*/ 883 w 208169"/>
                <a:gd name="connsiteY26" fmla="*/ 139673 h 196998"/>
                <a:gd name="connsiteX27" fmla="*/ 10179 w 208169"/>
                <a:gd name="connsiteY27" fmla="*/ 153778 h 196998"/>
                <a:gd name="connsiteX28" fmla="*/ 38591 w 208169"/>
                <a:gd name="connsiteY28" fmla="*/ 164072 h 196998"/>
                <a:gd name="connsiteX29" fmla="*/ 35020 w 208169"/>
                <a:gd name="connsiteY29" fmla="*/ 188204 h 196998"/>
                <a:gd name="connsiteX30" fmla="*/ 85879 w 208169"/>
                <a:gd name="connsiteY30" fmla="*/ 186098 h 19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8169" h="196998">
                  <a:moveTo>
                    <a:pt x="85879" y="186098"/>
                  </a:moveTo>
                  <a:cubicBezTo>
                    <a:pt x="126143" y="187468"/>
                    <a:pt x="164095" y="185095"/>
                    <a:pt x="200625" y="196660"/>
                  </a:cubicBezTo>
                  <a:cubicBezTo>
                    <a:pt x="201153" y="194157"/>
                    <a:pt x="201925" y="191697"/>
                    <a:pt x="202980" y="189307"/>
                  </a:cubicBezTo>
                  <a:lnTo>
                    <a:pt x="205050" y="185296"/>
                  </a:lnTo>
                  <a:cubicBezTo>
                    <a:pt x="209637" y="182555"/>
                    <a:pt x="209109" y="180349"/>
                    <a:pt x="203183" y="178611"/>
                  </a:cubicBezTo>
                  <a:cubicBezTo>
                    <a:pt x="200625" y="172796"/>
                    <a:pt x="184917" y="167949"/>
                    <a:pt x="179722" y="162334"/>
                  </a:cubicBezTo>
                  <a:cubicBezTo>
                    <a:pt x="178586" y="161097"/>
                    <a:pt x="179316" y="159560"/>
                    <a:pt x="179073" y="158190"/>
                  </a:cubicBezTo>
                  <a:cubicBezTo>
                    <a:pt x="178139" y="152975"/>
                    <a:pt x="171685" y="149700"/>
                    <a:pt x="168763" y="145021"/>
                  </a:cubicBezTo>
                  <a:cubicBezTo>
                    <a:pt x="165840" y="140341"/>
                    <a:pt x="160929" y="125835"/>
                    <a:pt x="164704" y="121190"/>
                  </a:cubicBezTo>
                  <a:cubicBezTo>
                    <a:pt x="171685" y="111330"/>
                    <a:pt x="181183" y="102843"/>
                    <a:pt x="192548" y="96322"/>
                  </a:cubicBezTo>
                  <a:cubicBezTo>
                    <a:pt x="182685" y="86897"/>
                    <a:pt x="182401" y="79611"/>
                    <a:pt x="167058" y="72257"/>
                  </a:cubicBezTo>
                  <a:cubicBezTo>
                    <a:pt x="163364" y="70453"/>
                    <a:pt x="144003" y="59122"/>
                    <a:pt x="155693" y="55546"/>
                  </a:cubicBezTo>
                  <a:cubicBezTo>
                    <a:pt x="161335" y="53808"/>
                    <a:pt x="190965" y="57250"/>
                    <a:pt x="192224" y="53808"/>
                  </a:cubicBezTo>
                  <a:cubicBezTo>
                    <a:pt x="192548" y="52905"/>
                    <a:pt x="182928" y="44182"/>
                    <a:pt x="182076" y="42611"/>
                  </a:cubicBezTo>
                  <a:cubicBezTo>
                    <a:pt x="178788" y="36294"/>
                    <a:pt x="180858" y="30077"/>
                    <a:pt x="178382" y="23827"/>
                  </a:cubicBezTo>
                  <a:cubicBezTo>
                    <a:pt x="175135" y="15671"/>
                    <a:pt x="175460" y="1332"/>
                    <a:pt x="156667" y="-339"/>
                  </a:cubicBezTo>
                  <a:cubicBezTo>
                    <a:pt x="153826" y="6346"/>
                    <a:pt x="153258" y="13231"/>
                    <a:pt x="166652" y="16039"/>
                  </a:cubicBezTo>
                  <a:cubicBezTo>
                    <a:pt x="178220" y="18412"/>
                    <a:pt x="166003" y="29609"/>
                    <a:pt x="157885" y="30545"/>
                  </a:cubicBezTo>
                  <a:cubicBezTo>
                    <a:pt x="143678" y="32183"/>
                    <a:pt x="135317" y="45753"/>
                    <a:pt x="133531" y="53172"/>
                  </a:cubicBezTo>
                  <a:cubicBezTo>
                    <a:pt x="131745" y="60593"/>
                    <a:pt x="123262" y="62966"/>
                    <a:pt x="123180" y="70586"/>
                  </a:cubicBezTo>
                  <a:cubicBezTo>
                    <a:pt x="123180" y="73929"/>
                    <a:pt x="111003" y="78107"/>
                    <a:pt x="108974" y="82151"/>
                  </a:cubicBezTo>
                  <a:cubicBezTo>
                    <a:pt x="106701" y="86864"/>
                    <a:pt x="86284" y="115574"/>
                    <a:pt x="78004" y="116009"/>
                  </a:cubicBezTo>
                  <a:cubicBezTo>
                    <a:pt x="77517" y="116009"/>
                    <a:pt x="70941" y="108890"/>
                    <a:pt x="69886" y="108355"/>
                  </a:cubicBezTo>
                  <a:cubicBezTo>
                    <a:pt x="61525" y="103642"/>
                    <a:pt x="58724" y="106383"/>
                    <a:pt x="49591" y="107118"/>
                  </a:cubicBezTo>
                  <a:cubicBezTo>
                    <a:pt x="35872" y="108221"/>
                    <a:pt x="33355" y="109625"/>
                    <a:pt x="23086" y="115775"/>
                  </a:cubicBezTo>
                  <a:cubicBezTo>
                    <a:pt x="19027" y="118215"/>
                    <a:pt x="7134" y="123161"/>
                    <a:pt x="6120" y="126738"/>
                  </a:cubicBezTo>
                  <a:cubicBezTo>
                    <a:pt x="4821" y="131163"/>
                    <a:pt x="3075" y="135492"/>
                    <a:pt x="883" y="139673"/>
                  </a:cubicBezTo>
                  <a:cubicBezTo>
                    <a:pt x="-2445" y="146123"/>
                    <a:pt x="3603" y="148263"/>
                    <a:pt x="10179" y="153778"/>
                  </a:cubicBezTo>
                  <a:cubicBezTo>
                    <a:pt x="19636" y="161799"/>
                    <a:pt x="32503" y="151271"/>
                    <a:pt x="38591" y="164072"/>
                  </a:cubicBezTo>
                  <a:cubicBezTo>
                    <a:pt x="42245" y="172060"/>
                    <a:pt x="29661" y="181653"/>
                    <a:pt x="35020" y="188204"/>
                  </a:cubicBezTo>
                  <a:cubicBezTo>
                    <a:pt x="41189" y="192348"/>
                    <a:pt x="76421" y="187803"/>
                    <a:pt x="85879" y="18609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1409D406-74F6-44C3-89EC-9301754B1DF2}"/>
                </a:ext>
              </a:extLst>
            </p:cNvPr>
            <p:cNvSpPr/>
            <p:nvPr/>
          </p:nvSpPr>
          <p:spPr>
            <a:xfrm>
              <a:off x="5565001" y="4681453"/>
              <a:ext cx="170453" cy="108306"/>
            </a:xfrm>
            <a:custGeom>
              <a:avLst/>
              <a:gdLst>
                <a:gd name="connsiteX0" fmla="*/ 163804 w 170453"/>
                <a:gd name="connsiteY0" fmla="*/ 82566 h 108306"/>
                <a:gd name="connsiteX1" fmla="*/ 168391 w 170453"/>
                <a:gd name="connsiteY1" fmla="*/ 38112 h 108306"/>
                <a:gd name="connsiteX2" fmla="*/ 160801 w 170453"/>
                <a:gd name="connsiteY2" fmla="*/ 12911 h 108306"/>
                <a:gd name="connsiteX3" fmla="*/ 122606 w 170453"/>
                <a:gd name="connsiteY3" fmla="*/ 10137 h 108306"/>
                <a:gd name="connsiteX4" fmla="*/ 92529 w 170453"/>
                <a:gd name="connsiteY4" fmla="*/ 6594 h 108306"/>
                <a:gd name="connsiteX5" fmla="*/ 59732 w 170453"/>
                <a:gd name="connsiteY5" fmla="*/ 4655 h 108306"/>
                <a:gd name="connsiteX6" fmla="*/ 37976 w 170453"/>
                <a:gd name="connsiteY6" fmla="*/ 9201 h 108306"/>
                <a:gd name="connsiteX7" fmla="*/ 21537 w 170453"/>
                <a:gd name="connsiteY7" fmla="*/ 5859 h 108306"/>
                <a:gd name="connsiteX8" fmla="*/ 4774 w 170453"/>
                <a:gd name="connsiteY8" fmla="*/ 9936 h 108306"/>
                <a:gd name="connsiteX9" fmla="*/ 17478 w 170453"/>
                <a:gd name="connsiteY9" fmla="*/ 37110 h 108306"/>
                <a:gd name="connsiteX10" fmla="*/ 7493 w 170453"/>
                <a:gd name="connsiteY10" fmla="*/ 41756 h 108306"/>
                <a:gd name="connsiteX11" fmla="*/ 5504 w 170453"/>
                <a:gd name="connsiteY11" fmla="*/ 55426 h 108306"/>
                <a:gd name="connsiteX12" fmla="*/ 2176 w 170453"/>
                <a:gd name="connsiteY12" fmla="*/ 70868 h 108306"/>
                <a:gd name="connsiteX13" fmla="*/ 9158 w 170453"/>
                <a:gd name="connsiteY13" fmla="*/ 80226 h 108306"/>
                <a:gd name="connsiteX14" fmla="*/ 31685 w 170453"/>
                <a:gd name="connsiteY14" fmla="*/ 88950 h 108306"/>
                <a:gd name="connsiteX15" fmla="*/ 25677 w 170453"/>
                <a:gd name="connsiteY15" fmla="*/ 107968 h 108306"/>
                <a:gd name="connsiteX16" fmla="*/ 82828 w 170453"/>
                <a:gd name="connsiteY16" fmla="*/ 96737 h 108306"/>
                <a:gd name="connsiteX17" fmla="*/ 164008 w 170453"/>
                <a:gd name="connsiteY17" fmla="*/ 91055 h 108306"/>
                <a:gd name="connsiteX18" fmla="*/ 164008 w 170453"/>
                <a:gd name="connsiteY18" fmla="*/ 82666 h 10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0453" h="108306">
                  <a:moveTo>
                    <a:pt x="163804" y="82566"/>
                  </a:moveTo>
                  <a:cubicBezTo>
                    <a:pt x="144159" y="68695"/>
                    <a:pt x="153251" y="52217"/>
                    <a:pt x="168391" y="38112"/>
                  </a:cubicBezTo>
                  <a:cubicBezTo>
                    <a:pt x="174723" y="32196"/>
                    <a:pt x="164332" y="18259"/>
                    <a:pt x="160801" y="12911"/>
                  </a:cubicBezTo>
                  <a:cubicBezTo>
                    <a:pt x="155118" y="4522"/>
                    <a:pt x="134214" y="5391"/>
                    <a:pt x="122606" y="10137"/>
                  </a:cubicBezTo>
                  <a:cubicBezTo>
                    <a:pt x="110997" y="14883"/>
                    <a:pt x="101174" y="13981"/>
                    <a:pt x="92529" y="6594"/>
                  </a:cubicBezTo>
                  <a:cubicBezTo>
                    <a:pt x="85060" y="177"/>
                    <a:pt x="60057" y="5357"/>
                    <a:pt x="59732" y="4655"/>
                  </a:cubicBezTo>
                  <a:cubicBezTo>
                    <a:pt x="53968" y="-7477"/>
                    <a:pt x="47028" y="5892"/>
                    <a:pt x="37976" y="9201"/>
                  </a:cubicBezTo>
                  <a:cubicBezTo>
                    <a:pt x="29858" y="12176"/>
                    <a:pt x="27951" y="7196"/>
                    <a:pt x="21537" y="5859"/>
                  </a:cubicBezTo>
                  <a:cubicBezTo>
                    <a:pt x="13095" y="3987"/>
                    <a:pt x="14313" y="13312"/>
                    <a:pt x="4774" y="9936"/>
                  </a:cubicBezTo>
                  <a:cubicBezTo>
                    <a:pt x="1892" y="20465"/>
                    <a:pt x="8833" y="28587"/>
                    <a:pt x="17478" y="37110"/>
                  </a:cubicBezTo>
                  <a:cubicBezTo>
                    <a:pt x="23486" y="43193"/>
                    <a:pt x="12283" y="41054"/>
                    <a:pt x="7493" y="41756"/>
                  </a:cubicBezTo>
                  <a:cubicBezTo>
                    <a:pt x="593" y="42691"/>
                    <a:pt x="11187" y="51783"/>
                    <a:pt x="5504" y="55426"/>
                  </a:cubicBezTo>
                  <a:cubicBezTo>
                    <a:pt x="-2248" y="60306"/>
                    <a:pt x="2947" y="65085"/>
                    <a:pt x="2176" y="70868"/>
                  </a:cubicBezTo>
                  <a:cubicBezTo>
                    <a:pt x="1162" y="78655"/>
                    <a:pt x="-5089" y="75881"/>
                    <a:pt x="9158" y="80226"/>
                  </a:cubicBezTo>
                  <a:cubicBezTo>
                    <a:pt x="16463" y="82432"/>
                    <a:pt x="27869" y="84137"/>
                    <a:pt x="31685" y="88950"/>
                  </a:cubicBezTo>
                  <a:cubicBezTo>
                    <a:pt x="35500" y="93763"/>
                    <a:pt x="26936" y="103088"/>
                    <a:pt x="25677" y="107968"/>
                  </a:cubicBezTo>
                  <a:cubicBezTo>
                    <a:pt x="44958" y="106965"/>
                    <a:pt x="64603" y="100581"/>
                    <a:pt x="82828" y="96737"/>
                  </a:cubicBezTo>
                  <a:cubicBezTo>
                    <a:pt x="109658" y="91156"/>
                    <a:pt x="136203" y="87646"/>
                    <a:pt x="164008" y="91055"/>
                  </a:cubicBezTo>
                  <a:cubicBezTo>
                    <a:pt x="165671" y="88425"/>
                    <a:pt x="165671" y="85297"/>
                    <a:pt x="164008" y="8266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43030F28-DC9F-4502-A625-042B97919DD5}"/>
                </a:ext>
              </a:extLst>
            </p:cNvPr>
            <p:cNvSpPr/>
            <p:nvPr/>
          </p:nvSpPr>
          <p:spPr>
            <a:xfrm>
              <a:off x="5715378" y="4664254"/>
              <a:ext cx="122064" cy="110842"/>
            </a:xfrm>
            <a:custGeom>
              <a:avLst/>
              <a:gdLst>
                <a:gd name="connsiteX0" fmla="*/ 101588 w 122064"/>
                <a:gd name="connsiteY0" fmla="*/ 44115 h 110842"/>
                <a:gd name="connsiteX1" fmla="*/ 99640 w 122064"/>
                <a:gd name="connsiteY1" fmla="*/ 20350 h 110842"/>
                <a:gd name="connsiteX2" fmla="*/ 85556 w 122064"/>
                <a:gd name="connsiteY2" fmla="*/ -339 h 110842"/>
                <a:gd name="connsiteX3" fmla="*/ 75530 w 122064"/>
                <a:gd name="connsiteY3" fmla="*/ 3505 h 110842"/>
                <a:gd name="connsiteX4" fmla="*/ 57143 w 122064"/>
                <a:gd name="connsiteY4" fmla="*/ 2870 h 110842"/>
                <a:gd name="connsiteX5" fmla="*/ 10546 w 122064"/>
                <a:gd name="connsiteY5" fmla="*/ 5009 h 110842"/>
                <a:gd name="connsiteX6" fmla="*/ 19638 w 122064"/>
                <a:gd name="connsiteY6" fmla="*/ 52504 h 110842"/>
                <a:gd name="connsiteX7" fmla="*/ 9247 w 122064"/>
                <a:gd name="connsiteY7" fmla="*/ 66943 h 110842"/>
                <a:gd name="connsiteX8" fmla="*/ -8 w 122064"/>
                <a:gd name="connsiteY8" fmla="*/ 81482 h 110842"/>
                <a:gd name="connsiteX9" fmla="*/ 8922 w 122064"/>
                <a:gd name="connsiteY9" fmla="*/ 95420 h 110842"/>
                <a:gd name="connsiteX10" fmla="*/ 21464 w 122064"/>
                <a:gd name="connsiteY10" fmla="*/ 109257 h 110842"/>
                <a:gd name="connsiteX11" fmla="*/ 64571 w 122064"/>
                <a:gd name="connsiteY11" fmla="*/ 104177 h 110842"/>
                <a:gd name="connsiteX12" fmla="*/ 122005 w 122064"/>
                <a:gd name="connsiteY12" fmla="*/ 86496 h 110842"/>
                <a:gd name="connsiteX13" fmla="*/ 101710 w 122064"/>
                <a:gd name="connsiteY13" fmla="*/ 44115 h 11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064" h="110842">
                  <a:moveTo>
                    <a:pt x="101588" y="44115"/>
                  </a:moveTo>
                  <a:cubicBezTo>
                    <a:pt x="96353" y="37129"/>
                    <a:pt x="99194" y="27804"/>
                    <a:pt x="99640" y="20350"/>
                  </a:cubicBezTo>
                  <a:cubicBezTo>
                    <a:pt x="100087" y="12897"/>
                    <a:pt x="88316" y="7416"/>
                    <a:pt x="85556" y="-339"/>
                  </a:cubicBezTo>
                  <a:cubicBezTo>
                    <a:pt x="78696" y="1767"/>
                    <a:pt x="82917" y="4407"/>
                    <a:pt x="75530" y="3505"/>
                  </a:cubicBezTo>
                  <a:cubicBezTo>
                    <a:pt x="69442" y="2940"/>
                    <a:pt x="63272" y="2730"/>
                    <a:pt x="57143" y="2870"/>
                  </a:cubicBezTo>
                  <a:cubicBezTo>
                    <a:pt x="41557" y="2529"/>
                    <a:pt x="25970" y="3244"/>
                    <a:pt x="10546" y="5009"/>
                  </a:cubicBezTo>
                  <a:cubicBezTo>
                    <a:pt x="-2605" y="6814"/>
                    <a:pt x="19192" y="45585"/>
                    <a:pt x="19638" y="52504"/>
                  </a:cubicBezTo>
                  <a:cubicBezTo>
                    <a:pt x="19881" y="56281"/>
                    <a:pt x="10830" y="62531"/>
                    <a:pt x="9247" y="66943"/>
                  </a:cubicBezTo>
                  <a:cubicBezTo>
                    <a:pt x="7420" y="71856"/>
                    <a:pt x="682" y="76536"/>
                    <a:pt x="-8" y="81482"/>
                  </a:cubicBezTo>
                  <a:cubicBezTo>
                    <a:pt x="-698" y="86429"/>
                    <a:pt x="5675" y="91743"/>
                    <a:pt x="8922" y="95420"/>
                  </a:cubicBezTo>
                  <a:cubicBezTo>
                    <a:pt x="14320" y="101503"/>
                    <a:pt x="11114" y="107586"/>
                    <a:pt x="21464" y="109257"/>
                  </a:cubicBezTo>
                  <a:cubicBezTo>
                    <a:pt x="39730" y="112232"/>
                    <a:pt x="46955" y="109625"/>
                    <a:pt x="64571" y="104177"/>
                  </a:cubicBezTo>
                  <a:cubicBezTo>
                    <a:pt x="83445" y="98294"/>
                    <a:pt x="103821" y="92980"/>
                    <a:pt x="122005" y="86496"/>
                  </a:cubicBezTo>
                  <a:cubicBezTo>
                    <a:pt x="109301" y="73126"/>
                    <a:pt x="111980" y="57952"/>
                    <a:pt x="101710" y="4411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3A7F2ECC-066E-49ED-A67F-94ABC2729259}"/>
                </a:ext>
              </a:extLst>
            </p:cNvPr>
            <p:cNvSpPr/>
            <p:nvPr/>
          </p:nvSpPr>
          <p:spPr>
            <a:xfrm>
              <a:off x="5363720" y="4655981"/>
              <a:ext cx="220179" cy="90441"/>
            </a:xfrm>
            <a:custGeom>
              <a:avLst/>
              <a:gdLst>
                <a:gd name="connsiteX0" fmla="*/ 75924 w 220179"/>
                <a:gd name="connsiteY0" fmla="*/ 54159 h 90441"/>
                <a:gd name="connsiteX1" fmla="*/ 110507 w 220179"/>
                <a:gd name="connsiteY1" fmla="*/ 46806 h 90441"/>
                <a:gd name="connsiteX2" fmla="*/ 132263 w 220179"/>
                <a:gd name="connsiteY2" fmla="*/ 57969 h 90441"/>
                <a:gd name="connsiteX3" fmla="*/ 141436 w 220179"/>
                <a:gd name="connsiteY3" fmla="*/ 72976 h 90441"/>
                <a:gd name="connsiteX4" fmla="*/ 169403 w 220179"/>
                <a:gd name="connsiteY4" fmla="*/ 75784 h 90441"/>
                <a:gd name="connsiteX5" fmla="*/ 182919 w 220179"/>
                <a:gd name="connsiteY5" fmla="*/ 89721 h 90441"/>
                <a:gd name="connsiteX6" fmla="*/ 194081 w 220179"/>
                <a:gd name="connsiteY6" fmla="*/ 81366 h 90441"/>
                <a:gd name="connsiteX7" fmla="*/ 202645 w 220179"/>
                <a:gd name="connsiteY7" fmla="*/ 84340 h 90441"/>
                <a:gd name="connsiteX8" fmla="*/ 210236 w 220179"/>
                <a:gd name="connsiteY8" fmla="*/ 76319 h 90441"/>
                <a:gd name="connsiteX9" fmla="*/ 206177 w 220179"/>
                <a:gd name="connsiteY9" fmla="*/ 68698 h 90441"/>
                <a:gd name="connsiteX10" fmla="*/ 216202 w 220179"/>
                <a:gd name="connsiteY10" fmla="*/ 60242 h 90441"/>
                <a:gd name="connsiteX11" fmla="*/ 213564 w 220179"/>
                <a:gd name="connsiteY11" fmla="*/ 53791 h 90441"/>
                <a:gd name="connsiteX12" fmla="*/ 204919 w 220179"/>
                <a:gd name="connsiteY12" fmla="*/ 47106 h 90441"/>
                <a:gd name="connsiteX13" fmla="*/ 206095 w 220179"/>
                <a:gd name="connsiteY13" fmla="*/ 35375 h 90441"/>
                <a:gd name="connsiteX14" fmla="*/ 198952 w 220179"/>
                <a:gd name="connsiteY14" fmla="*/ 27520 h 90441"/>
                <a:gd name="connsiteX15" fmla="*/ 190225 w 220179"/>
                <a:gd name="connsiteY15" fmla="*/ 23075 h 90441"/>
                <a:gd name="connsiteX16" fmla="*/ 194284 w 220179"/>
                <a:gd name="connsiteY16" fmla="*/ 17192 h 90441"/>
                <a:gd name="connsiteX17" fmla="*/ 184137 w 220179"/>
                <a:gd name="connsiteY17" fmla="*/ 12780 h 90441"/>
                <a:gd name="connsiteX18" fmla="*/ 175653 w 220179"/>
                <a:gd name="connsiteY18" fmla="*/ 2285 h 90441"/>
                <a:gd name="connsiteX19" fmla="*/ 156779 w 220179"/>
                <a:gd name="connsiteY19" fmla="*/ 6229 h 90441"/>
                <a:gd name="connsiteX20" fmla="*/ 132993 w 220179"/>
                <a:gd name="connsiteY20" fmla="*/ 7466 h 90441"/>
                <a:gd name="connsiteX21" fmla="*/ 124875 w 220179"/>
                <a:gd name="connsiteY21" fmla="*/ 11510 h 90441"/>
                <a:gd name="connsiteX22" fmla="*/ 114322 w 220179"/>
                <a:gd name="connsiteY22" fmla="*/ 12279 h 90441"/>
                <a:gd name="connsiteX23" fmla="*/ 105068 w 220179"/>
                <a:gd name="connsiteY23" fmla="*/ 5594 h 90441"/>
                <a:gd name="connsiteX24" fmla="*/ 38014 w 220179"/>
                <a:gd name="connsiteY24" fmla="*/ 5327 h 90441"/>
                <a:gd name="connsiteX25" fmla="*/ 33955 w 220179"/>
                <a:gd name="connsiteY25" fmla="*/ 19966 h 90441"/>
                <a:gd name="connsiteX26" fmla="*/ 12117 w 220179"/>
                <a:gd name="connsiteY26" fmla="*/ 30194 h 90441"/>
                <a:gd name="connsiteX27" fmla="*/ -60 w 220179"/>
                <a:gd name="connsiteY27" fmla="*/ 37547 h 90441"/>
                <a:gd name="connsiteX28" fmla="*/ 16501 w 220179"/>
                <a:gd name="connsiteY28" fmla="*/ 48042 h 90441"/>
                <a:gd name="connsiteX29" fmla="*/ 57618 w 220179"/>
                <a:gd name="connsiteY29" fmla="*/ 68564 h 90441"/>
                <a:gd name="connsiteX30" fmla="*/ 75762 w 220179"/>
                <a:gd name="connsiteY30" fmla="*/ 54192 h 90441"/>
                <a:gd name="connsiteX31" fmla="*/ 75924 w 220179"/>
                <a:gd name="connsiteY31" fmla="*/ 54159 h 9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0179" h="90441">
                  <a:moveTo>
                    <a:pt x="75924" y="54159"/>
                  </a:moveTo>
                  <a:cubicBezTo>
                    <a:pt x="75924" y="51485"/>
                    <a:pt x="105027" y="47240"/>
                    <a:pt x="110507" y="46806"/>
                  </a:cubicBezTo>
                  <a:cubicBezTo>
                    <a:pt x="118625" y="46170"/>
                    <a:pt x="128650" y="54760"/>
                    <a:pt x="132263" y="57969"/>
                  </a:cubicBezTo>
                  <a:cubicBezTo>
                    <a:pt x="136890" y="62047"/>
                    <a:pt x="138514" y="68297"/>
                    <a:pt x="141436" y="72976"/>
                  </a:cubicBezTo>
                  <a:cubicBezTo>
                    <a:pt x="155074" y="70068"/>
                    <a:pt x="163761" y="66626"/>
                    <a:pt x="169403" y="75784"/>
                  </a:cubicBezTo>
                  <a:cubicBezTo>
                    <a:pt x="171594" y="79360"/>
                    <a:pt x="170296" y="92496"/>
                    <a:pt x="182919" y="89721"/>
                  </a:cubicBezTo>
                  <a:cubicBezTo>
                    <a:pt x="188642" y="88518"/>
                    <a:pt x="189048" y="83304"/>
                    <a:pt x="194081" y="81366"/>
                  </a:cubicBezTo>
                  <a:cubicBezTo>
                    <a:pt x="194325" y="81366"/>
                    <a:pt x="202199" y="84240"/>
                    <a:pt x="202645" y="84340"/>
                  </a:cubicBezTo>
                  <a:cubicBezTo>
                    <a:pt x="204229" y="81633"/>
                    <a:pt x="211819" y="79494"/>
                    <a:pt x="210236" y="76319"/>
                  </a:cubicBezTo>
                  <a:cubicBezTo>
                    <a:pt x="208978" y="73812"/>
                    <a:pt x="203985" y="71773"/>
                    <a:pt x="206177" y="68698"/>
                  </a:cubicBezTo>
                  <a:cubicBezTo>
                    <a:pt x="209424" y="64052"/>
                    <a:pt x="228095" y="70135"/>
                    <a:pt x="216202" y="60242"/>
                  </a:cubicBezTo>
                  <a:cubicBezTo>
                    <a:pt x="212874" y="57434"/>
                    <a:pt x="214254" y="56900"/>
                    <a:pt x="213564" y="53791"/>
                  </a:cubicBezTo>
                  <a:cubicBezTo>
                    <a:pt x="212712" y="50048"/>
                    <a:pt x="206583" y="50148"/>
                    <a:pt x="204919" y="47106"/>
                  </a:cubicBezTo>
                  <a:cubicBezTo>
                    <a:pt x="203254" y="44065"/>
                    <a:pt x="204919" y="38985"/>
                    <a:pt x="206095" y="35375"/>
                  </a:cubicBezTo>
                  <a:cubicBezTo>
                    <a:pt x="200819" y="33536"/>
                    <a:pt x="200170" y="30829"/>
                    <a:pt x="198952" y="27520"/>
                  </a:cubicBezTo>
                  <a:cubicBezTo>
                    <a:pt x="197328" y="23208"/>
                    <a:pt x="192823" y="26016"/>
                    <a:pt x="190225" y="23075"/>
                  </a:cubicBezTo>
                  <a:cubicBezTo>
                    <a:pt x="187627" y="20134"/>
                    <a:pt x="195583" y="18329"/>
                    <a:pt x="194284" y="17192"/>
                  </a:cubicBezTo>
                  <a:cubicBezTo>
                    <a:pt x="192255" y="15220"/>
                    <a:pt x="186856" y="14452"/>
                    <a:pt x="184137" y="12780"/>
                  </a:cubicBezTo>
                  <a:cubicBezTo>
                    <a:pt x="180078" y="10307"/>
                    <a:pt x="179266" y="5260"/>
                    <a:pt x="175653" y="2285"/>
                  </a:cubicBezTo>
                  <a:cubicBezTo>
                    <a:pt x="168266" y="-3831"/>
                    <a:pt x="163476" y="2118"/>
                    <a:pt x="156779" y="6229"/>
                  </a:cubicBezTo>
                  <a:cubicBezTo>
                    <a:pt x="147362" y="11878"/>
                    <a:pt x="142410" y="4658"/>
                    <a:pt x="132993" y="7466"/>
                  </a:cubicBezTo>
                  <a:cubicBezTo>
                    <a:pt x="128934" y="8669"/>
                    <a:pt x="130517" y="12212"/>
                    <a:pt x="124875" y="11510"/>
                  </a:cubicBezTo>
                  <a:cubicBezTo>
                    <a:pt x="121344" y="11076"/>
                    <a:pt x="117042" y="9672"/>
                    <a:pt x="114322" y="12279"/>
                  </a:cubicBezTo>
                  <a:cubicBezTo>
                    <a:pt x="109086" y="17192"/>
                    <a:pt x="105189" y="7666"/>
                    <a:pt x="105068" y="5594"/>
                  </a:cubicBezTo>
                  <a:cubicBezTo>
                    <a:pt x="77507" y="13649"/>
                    <a:pt x="63342" y="6096"/>
                    <a:pt x="38014" y="5327"/>
                  </a:cubicBezTo>
                  <a:cubicBezTo>
                    <a:pt x="40124" y="12446"/>
                    <a:pt x="25837" y="13816"/>
                    <a:pt x="33955" y="19966"/>
                  </a:cubicBezTo>
                  <a:cubicBezTo>
                    <a:pt x="38744" y="23643"/>
                    <a:pt x="16785" y="27587"/>
                    <a:pt x="12117" y="30194"/>
                  </a:cubicBezTo>
                  <a:cubicBezTo>
                    <a:pt x="7815" y="32347"/>
                    <a:pt x="3715" y="34807"/>
                    <a:pt x="-60" y="37547"/>
                  </a:cubicBezTo>
                  <a:cubicBezTo>
                    <a:pt x="7206" y="40154"/>
                    <a:pt x="10372" y="44767"/>
                    <a:pt x="16501" y="48042"/>
                  </a:cubicBezTo>
                  <a:cubicBezTo>
                    <a:pt x="30423" y="55462"/>
                    <a:pt x="47349" y="58404"/>
                    <a:pt x="57618" y="68564"/>
                  </a:cubicBezTo>
                  <a:cubicBezTo>
                    <a:pt x="62814" y="65222"/>
                    <a:pt x="75600" y="59039"/>
                    <a:pt x="75762" y="54192"/>
                  </a:cubicBezTo>
                  <a:cubicBezTo>
                    <a:pt x="76046" y="49981"/>
                    <a:pt x="75843" y="57033"/>
                    <a:pt x="75924" y="5415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BD021212-5950-418F-BCF1-3157ABAD3711}"/>
                </a:ext>
              </a:extLst>
            </p:cNvPr>
            <p:cNvSpPr/>
            <p:nvPr/>
          </p:nvSpPr>
          <p:spPr>
            <a:xfrm>
              <a:off x="5477923" y="4725595"/>
              <a:ext cx="118376" cy="64026"/>
            </a:xfrm>
            <a:custGeom>
              <a:avLst/>
              <a:gdLst>
                <a:gd name="connsiteX0" fmla="*/ 96235 w 118376"/>
                <a:gd name="connsiteY0" fmla="*/ 35984 h 64026"/>
                <a:gd name="connsiteX1" fmla="*/ 88117 w 118376"/>
                <a:gd name="connsiteY1" fmla="*/ 19071 h 64026"/>
                <a:gd name="connsiteX2" fmla="*/ 64738 w 118376"/>
                <a:gd name="connsiteY2" fmla="*/ 20141 h 64026"/>
                <a:gd name="connsiteX3" fmla="*/ 47650 w 118376"/>
                <a:gd name="connsiteY3" fmla="*/ -315 h 64026"/>
                <a:gd name="connsiteX4" fmla="*/ 27355 w 118376"/>
                <a:gd name="connsiteY4" fmla="*/ 3362 h 64026"/>
                <a:gd name="connsiteX5" fmla="*/ 19237 w 118376"/>
                <a:gd name="connsiteY5" fmla="*/ 17266 h 64026"/>
                <a:gd name="connsiteX6" fmla="*/ 1174 w 118376"/>
                <a:gd name="connsiteY6" fmla="*/ 27628 h 64026"/>
                <a:gd name="connsiteX7" fmla="*/ 21672 w 118376"/>
                <a:gd name="connsiteY7" fmla="*/ 38356 h 64026"/>
                <a:gd name="connsiteX8" fmla="*/ 77280 w 118376"/>
                <a:gd name="connsiteY8" fmla="*/ 56505 h 64026"/>
                <a:gd name="connsiteX9" fmla="*/ 101350 w 118376"/>
                <a:gd name="connsiteY9" fmla="*/ 62756 h 64026"/>
                <a:gd name="connsiteX10" fmla="*/ 116165 w 118376"/>
                <a:gd name="connsiteY10" fmla="*/ 55269 h 64026"/>
                <a:gd name="connsiteX11" fmla="*/ 96317 w 118376"/>
                <a:gd name="connsiteY11" fmla="*/ 35984 h 64026"/>
                <a:gd name="connsiteX12" fmla="*/ 96235 w 118376"/>
                <a:gd name="connsiteY12" fmla="*/ 35984 h 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376" h="64026">
                  <a:moveTo>
                    <a:pt x="96235" y="35984"/>
                  </a:moveTo>
                  <a:cubicBezTo>
                    <a:pt x="79674" y="30937"/>
                    <a:pt x="91568" y="29867"/>
                    <a:pt x="88117" y="19071"/>
                  </a:cubicBezTo>
                  <a:cubicBezTo>
                    <a:pt x="83044" y="2928"/>
                    <a:pt x="76509" y="22046"/>
                    <a:pt x="64738" y="20141"/>
                  </a:cubicBezTo>
                  <a:cubicBezTo>
                    <a:pt x="53738" y="18403"/>
                    <a:pt x="59055" y="-1117"/>
                    <a:pt x="47650" y="-315"/>
                  </a:cubicBezTo>
                  <a:cubicBezTo>
                    <a:pt x="40790" y="471"/>
                    <a:pt x="34011" y="1701"/>
                    <a:pt x="27355" y="3362"/>
                  </a:cubicBezTo>
                  <a:cubicBezTo>
                    <a:pt x="30236" y="7908"/>
                    <a:pt x="24838" y="14091"/>
                    <a:pt x="19237" y="17266"/>
                  </a:cubicBezTo>
                  <a:cubicBezTo>
                    <a:pt x="13635" y="20441"/>
                    <a:pt x="5152" y="23316"/>
                    <a:pt x="1174" y="27628"/>
                  </a:cubicBezTo>
                  <a:cubicBezTo>
                    <a:pt x="-4914" y="34312"/>
                    <a:pt x="13067" y="35716"/>
                    <a:pt x="21672" y="38356"/>
                  </a:cubicBezTo>
                  <a:cubicBezTo>
                    <a:pt x="40465" y="44172"/>
                    <a:pt x="58203" y="50924"/>
                    <a:pt x="77280" y="56505"/>
                  </a:cubicBezTo>
                  <a:cubicBezTo>
                    <a:pt x="85114" y="58812"/>
                    <a:pt x="93069" y="61051"/>
                    <a:pt x="101350" y="62756"/>
                  </a:cubicBezTo>
                  <a:cubicBezTo>
                    <a:pt x="114866" y="65496"/>
                    <a:pt x="112471" y="61953"/>
                    <a:pt x="116165" y="55269"/>
                  </a:cubicBezTo>
                  <a:cubicBezTo>
                    <a:pt x="122943" y="43002"/>
                    <a:pt x="112999" y="41031"/>
                    <a:pt x="96317" y="35984"/>
                  </a:cubicBezTo>
                  <a:cubicBezTo>
                    <a:pt x="87062" y="33176"/>
                    <a:pt x="105449" y="38758"/>
                    <a:pt x="96235" y="3598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129B09FF-685B-473F-8777-AE32CC8DD6BD}"/>
                </a:ext>
              </a:extLst>
            </p:cNvPr>
            <p:cNvSpPr/>
            <p:nvPr/>
          </p:nvSpPr>
          <p:spPr>
            <a:xfrm>
              <a:off x="5423580" y="4703095"/>
              <a:ext cx="80456" cy="54210"/>
            </a:xfrm>
            <a:custGeom>
              <a:avLst/>
              <a:gdLst>
                <a:gd name="connsiteX0" fmla="*/ 79749 w 80456"/>
                <a:gd name="connsiteY0" fmla="*/ 34687 h 54210"/>
                <a:gd name="connsiteX1" fmla="*/ 69196 w 80456"/>
                <a:gd name="connsiteY1" fmla="*/ 8282 h 54210"/>
                <a:gd name="connsiteX2" fmla="*/ 50647 w 80456"/>
                <a:gd name="connsiteY2" fmla="*/ -308 h 54210"/>
                <a:gd name="connsiteX3" fmla="*/ 36522 w 80456"/>
                <a:gd name="connsiteY3" fmla="*/ 3034 h 54210"/>
                <a:gd name="connsiteX4" fmla="*/ 17931 w 80456"/>
                <a:gd name="connsiteY4" fmla="*/ 4271 h 54210"/>
                <a:gd name="connsiteX5" fmla="*/ 2751 w 80456"/>
                <a:gd name="connsiteY5" fmla="*/ 18242 h 54210"/>
                <a:gd name="connsiteX6" fmla="*/ 9042 w 80456"/>
                <a:gd name="connsiteY6" fmla="*/ 35255 h 54210"/>
                <a:gd name="connsiteX7" fmla="*/ 52351 w 80456"/>
                <a:gd name="connsiteY7" fmla="*/ 53872 h 54210"/>
                <a:gd name="connsiteX8" fmla="*/ 79749 w 80456"/>
                <a:gd name="connsiteY8" fmla="*/ 34586 h 54210"/>
                <a:gd name="connsiteX9" fmla="*/ 79749 w 80456"/>
                <a:gd name="connsiteY9" fmla="*/ 34687 h 54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456" h="54210">
                  <a:moveTo>
                    <a:pt x="79749" y="34687"/>
                  </a:moveTo>
                  <a:cubicBezTo>
                    <a:pt x="82063" y="24970"/>
                    <a:pt x="78086" y="14957"/>
                    <a:pt x="69196" y="8282"/>
                  </a:cubicBezTo>
                  <a:cubicBezTo>
                    <a:pt x="65746" y="5742"/>
                    <a:pt x="57466" y="-843"/>
                    <a:pt x="50647" y="-308"/>
                  </a:cubicBezTo>
                  <a:cubicBezTo>
                    <a:pt x="45857" y="508"/>
                    <a:pt x="41108" y="1624"/>
                    <a:pt x="36522" y="3034"/>
                  </a:cubicBezTo>
                  <a:cubicBezTo>
                    <a:pt x="30920" y="4405"/>
                    <a:pt x="22762" y="2366"/>
                    <a:pt x="17931" y="4271"/>
                  </a:cubicBezTo>
                  <a:cubicBezTo>
                    <a:pt x="13872" y="5942"/>
                    <a:pt x="7134" y="15435"/>
                    <a:pt x="2751" y="18242"/>
                  </a:cubicBezTo>
                  <a:cubicBezTo>
                    <a:pt x="-4555" y="22988"/>
                    <a:pt x="4131" y="30007"/>
                    <a:pt x="9042" y="35255"/>
                  </a:cubicBezTo>
                  <a:cubicBezTo>
                    <a:pt x="18134" y="45014"/>
                    <a:pt x="36115" y="49259"/>
                    <a:pt x="52351" y="53872"/>
                  </a:cubicBezTo>
                  <a:cubicBezTo>
                    <a:pt x="57466" y="46719"/>
                    <a:pt x="77964" y="41538"/>
                    <a:pt x="79749" y="34586"/>
                  </a:cubicBezTo>
                  <a:cubicBezTo>
                    <a:pt x="80602" y="31210"/>
                    <a:pt x="78857" y="38163"/>
                    <a:pt x="79749" y="346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11161687-DF8B-4A21-A932-503BA3B4A570}"/>
                </a:ext>
              </a:extLst>
            </p:cNvPr>
            <p:cNvSpPr/>
            <p:nvPr/>
          </p:nvSpPr>
          <p:spPr>
            <a:xfrm>
              <a:off x="5282134" y="4383762"/>
              <a:ext cx="242770" cy="135500"/>
            </a:xfrm>
            <a:custGeom>
              <a:avLst/>
              <a:gdLst>
                <a:gd name="connsiteX0" fmla="*/ 114282 w 242770"/>
                <a:gd name="connsiteY0" fmla="*/ 97827 h 135500"/>
                <a:gd name="connsiteX1" fmla="*/ 140422 w 242770"/>
                <a:gd name="connsiteY1" fmla="*/ 85561 h 135500"/>
                <a:gd name="connsiteX2" fmla="*/ 142776 w 242770"/>
                <a:gd name="connsiteY2" fmla="*/ 71824 h 135500"/>
                <a:gd name="connsiteX3" fmla="*/ 138717 w 242770"/>
                <a:gd name="connsiteY3" fmla="*/ 37163 h 135500"/>
                <a:gd name="connsiteX4" fmla="*/ 230247 w 242770"/>
                <a:gd name="connsiteY4" fmla="*/ 30646 h 135500"/>
                <a:gd name="connsiteX5" fmla="*/ 238690 w 242770"/>
                <a:gd name="connsiteY5" fmla="*/ 4976 h 135500"/>
                <a:gd name="connsiteX6" fmla="*/ 188967 w 242770"/>
                <a:gd name="connsiteY6" fmla="*/ 2002 h 135500"/>
                <a:gd name="connsiteX7" fmla="*/ 102876 w 242770"/>
                <a:gd name="connsiteY7" fmla="*/ 8887 h 135500"/>
                <a:gd name="connsiteX8" fmla="*/ 86356 w 242770"/>
                <a:gd name="connsiteY8" fmla="*/ 28306 h 135500"/>
                <a:gd name="connsiteX9" fmla="*/ 61678 w 242770"/>
                <a:gd name="connsiteY9" fmla="*/ 47190 h 135500"/>
                <a:gd name="connsiteX10" fmla="*/ 37324 w 242770"/>
                <a:gd name="connsiteY10" fmla="*/ 82018 h 135500"/>
                <a:gd name="connsiteX11" fmla="*/ -60 w 242770"/>
                <a:gd name="connsiteY11" fmla="*/ 135161 h 135500"/>
                <a:gd name="connsiteX12" fmla="*/ 87046 w 242770"/>
                <a:gd name="connsiteY12" fmla="*/ 127006 h 135500"/>
                <a:gd name="connsiteX13" fmla="*/ 117570 w 242770"/>
                <a:gd name="connsiteY13" fmla="*/ 124366 h 135500"/>
                <a:gd name="connsiteX14" fmla="*/ 114241 w 242770"/>
                <a:gd name="connsiteY14" fmla="*/ 97827 h 13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70" h="135500">
                  <a:moveTo>
                    <a:pt x="114282" y="97827"/>
                  </a:moveTo>
                  <a:cubicBezTo>
                    <a:pt x="113714" y="93616"/>
                    <a:pt x="135551" y="87800"/>
                    <a:pt x="140422" y="85561"/>
                  </a:cubicBezTo>
                  <a:cubicBezTo>
                    <a:pt x="146876" y="82219"/>
                    <a:pt x="143263" y="75868"/>
                    <a:pt x="142776" y="71824"/>
                  </a:cubicBezTo>
                  <a:cubicBezTo>
                    <a:pt x="141396" y="60259"/>
                    <a:pt x="139975" y="48695"/>
                    <a:pt x="138717" y="37163"/>
                  </a:cubicBezTo>
                  <a:cubicBezTo>
                    <a:pt x="169241" y="35024"/>
                    <a:pt x="199602" y="33153"/>
                    <a:pt x="230247" y="30646"/>
                  </a:cubicBezTo>
                  <a:cubicBezTo>
                    <a:pt x="250826" y="28941"/>
                    <a:pt x="240029" y="13934"/>
                    <a:pt x="238690" y="4976"/>
                  </a:cubicBezTo>
                  <a:cubicBezTo>
                    <a:pt x="227690" y="-3780"/>
                    <a:pt x="207720" y="598"/>
                    <a:pt x="188967" y="2002"/>
                  </a:cubicBezTo>
                  <a:cubicBezTo>
                    <a:pt x="160230" y="4231"/>
                    <a:pt x="131533" y="6524"/>
                    <a:pt x="102876" y="8887"/>
                  </a:cubicBezTo>
                  <a:cubicBezTo>
                    <a:pt x="93663" y="14870"/>
                    <a:pt x="92526" y="21722"/>
                    <a:pt x="86356" y="28306"/>
                  </a:cubicBezTo>
                  <a:cubicBezTo>
                    <a:pt x="80186" y="34891"/>
                    <a:pt x="69430" y="40807"/>
                    <a:pt x="61678" y="47190"/>
                  </a:cubicBezTo>
                  <a:cubicBezTo>
                    <a:pt x="49257" y="57452"/>
                    <a:pt x="48120" y="70754"/>
                    <a:pt x="37324" y="82018"/>
                  </a:cubicBezTo>
                  <a:cubicBezTo>
                    <a:pt x="22265" y="97961"/>
                    <a:pt x="144" y="117046"/>
                    <a:pt x="-60" y="135161"/>
                  </a:cubicBezTo>
                  <a:cubicBezTo>
                    <a:pt x="28962" y="132287"/>
                    <a:pt x="58025" y="129570"/>
                    <a:pt x="87046" y="127006"/>
                  </a:cubicBezTo>
                  <a:cubicBezTo>
                    <a:pt x="91754" y="126571"/>
                    <a:pt x="114160" y="126538"/>
                    <a:pt x="117570" y="124366"/>
                  </a:cubicBezTo>
                  <a:cubicBezTo>
                    <a:pt x="122116" y="121424"/>
                    <a:pt x="114769" y="102072"/>
                    <a:pt x="114241" y="9782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3D7D16EA-DC61-4323-9296-EA2DE70D43E1}"/>
                </a:ext>
              </a:extLst>
            </p:cNvPr>
            <p:cNvSpPr/>
            <p:nvPr/>
          </p:nvSpPr>
          <p:spPr>
            <a:xfrm>
              <a:off x="5282418" y="4389077"/>
              <a:ext cx="356516" cy="233063"/>
            </a:xfrm>
            <a:custGeom>
              <a:avLst/>
              <a:gdLst>
                <a:gd name="connsiteX0" fmla="*/ 38744 w 356516"/>
                <a:gd name="connsiteY0" fmla="*/ 213004 h 233063"/>
                <a:gd name="connsiteX1" fmla="*/ 88142 w 356516"/>
                <a:gd name="connsiteY1" fmla="*/ 207222 h 233063"/>
                <a:gd name="connsiteX2" fmla="*/ 108437 w 356516"/>
                <a:gd name="connsiteY2" fmla="*/ 213907 h 233063"/>
                <a:gd name="connsiteX3" fmla="*/ 119923 w 356516"/>
                <a:gd name="connsiteY3" fmla="*/ 217249 h 233063"/>
                <a:gd name="connsiteX4" fmla="*/ 164572 w 356516"/>
                <a:gd name="connsiteY4" fmla="*/ 231554 h 233063"/>
                <a:gd name="connsiteX5" fmla="*/ 173218 w 356516"/>
                <a:gd name="connsiteY5" fmla="*/ 219956 h 233063"/>
                <a:gd name="connsiteX6" fmla="*/ 199642 w 356516"/>
                <a:gd name="connsiteY6" fmla="*/ 221026 h 233063"/>
                <a:gd name="connsiteX7" fmla="*/ 226797 w 356516"/>
                <a:gd name="connsiteY7" fmla="*/ 217683 h 233063"/>
                <a:gd name="connsiteX8" fmla="*/ 240029 w 356516"/>
                <a:gd name="connsiteY8" fmla="*/ 214141 h 233063"/>
                <a:gd name="connsiteX9" fmla="*/ 275504 w 356516"/>
                <a:gd name="connsiteY9" fmla="*/ 211834 h 233063"/>
                <a:gd name="connsiteX10" fmla="*/ 356034 w 356516"/>
                <a:gd name="connsiteY10" fmla="*/ 202309 h 233063"/>
                <a:gd name="connsiteX11" fmla="*/ 343857 w 356516"/>
                <a:gd name="connsiteY11" fmla="*/ 177642 h 233063"/>
                <a:gd name="connsiteX12" fmla="*/ 329854 w 356516"/>
                <a:gd name="connsiteY12" fmla="*/ 127172 h 233063"/>
                <a:gd name="connsiteX13" fmla="*/ 304729 w 356516"/>
                <a:gd name="connsiteY13" fmla="*/ 37931 h 233063"/>
                <a:gd name="connsiteX14" fmla="*/ 355710 w 356516"/>
                <a:gd name="connsiteY14" fmla="*/ 34923 h 233063"/>
                <a:gd name="connsiteX15" fmla="*/ 275099 w 356516"/>
                <a:gd name="connsiteY15" fmla="*/ 10858 h 233063"/>
                <a:gd name="connsiteX16" fmla="*/ 238568 w 356516"/>
                <a:gd name="connsiteY16" fmla="*/ -339 h 233063"/>
                <a:gd name="connsiteX17" fmla="*/ 238243 w 356516"/>
                <a:gd name="connsiteY17" fmla="*/ 24562 h 233063"/>
                <a:gd name="connsiteX18" fmla="*/ 207557 w 356516"/>
                <a:gd name="connsiteY18" fmla="*/ 27002 h 233063"/>
                <a:gd name="connsiteX19" fmla="*/ 138555 w 356516"/>
                <a:gd name="connsiteY19" fmla="*/ 31848 h 233063"/>
                <a:gd name="connsiteX20" fmla="*/ 143547 w 356516"/>
                <a:gd name="connsiteY20" fmla="*/ 73461 h 233063"/>
                <a:gd name="connsiteX21" fmla="*/ 121832 w 356516"/>
                <a:gd name="connsiteY21" fmla="*/ 87666 h 233063"/>
                <a:gd name="connsiteX22" fmla="*/ 116473 w 356516"/>
                <a:gd name="connsiteY22" fmla="*/ 110260 h 233063"/>
                <a:gd name="connsiteX23" fmla="*/ 112780 w 356516"/>
                <a:gd name="connsiteY23" fmla="*/ 119452 h 233063"/>
                <a:gd name="connsiteX24" fmla="*/ 71987 w 356516"/>
                <a:gd name="connsiteY24" fmla="*/ 123028 h 233063"/>
                <a:gd name="connsiteX25" fmla="*/ -60 w 356516"/>
                <a:gd name="connsiteY25" fmla="*/ 129713 h 233063"/>
                <a:gd name="connsiteX26" fmla="*/ 16176 w 356516"/>
                <a:gd name="connsiteY26" fmla="*/ 145656 h 233063"/>
                <a:gd name="connsiteX27" fmla="*/ 25228 w 356516"/>
                <a:gd name="connsiteY27" fmla="*/ 169654 h 233063"/>
                <a:gd name="connsiteX28" fmla="*/ 33670 w 356516"/>
                <a:gd name="connsiteY28" fmla="*/ 195891 h 233063"/>
                <a:gd name="connsiteX29" fmla="*/ 22346 w 356516"/>
                <a:gd name="connsiteY29" fmla="*/ 223299 h 233063"/>
                <a:gd name="connsiteX30" fmla="*/ 39150 w 356516"/>
                <a:gd name="connsiteY30" fmla="*/ 213004 h 23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6516" h="233063">
                  <a:moveTo>
                    <a:pt x="38744" y="213004"/>
                  </a:moveTo>
                  <a:cubicBezTo>
                    <a:pt x="52788" y="213272"/>
                    <a:pt x="75843" y="204882"/>
                    <a:pt x="88142" y="207222"/>
                  </a:cubicBezTo>
                  <a:cubicBezTo>
                    <a:pt x="94677" y="208492"/>
                    <a:pt x="101821" y="214441"/>
                    <a:pt x="108437" y="213907"/>
                  </a:cubicBezTo>
                  <a:cubicBezTo>
                    <a:pt x="117204" y="213138"/>
                    <a:pt x="115621" y="213272"/>
                    <a:pt x="119923" y="217249"/>
                  </a:cubicBezTo>
                  <a:cubicBezTo>
                    <a:pt x="127027" y="223934"/>
                    <a:pt x="152395" y="236635"/>
                    <a:pt x="164572" y="231554"/>
                  </a:cubicBezTo>
                  <a:cubicBezTo>
                    <a:pt x="171554" y="228646"/>
                    <a:pt x="165181" y="222062"/>
                    <a:pt x="173218" y="219956"/>
                  </a:cubicBezTo>
                  <a:cubicBezTo>
                    <a:pt x="182229" y="217550"/>
                    <a:pt x="194731" y="229983"/>
                    <a:pt x="199642" y="221026"/>
                  </a:cubicBezTo>
                  <a:cubicBezTo>
                    <a:pt x="202686" y="215544"/>
                    <a:pt x="219084" y="219188"/>
                    <a:pt x="226797" y="217683"/>
                  </a:cubicBezTo>
                  <a:cubicBezTo>
                    <a:pt x="231099" y="216203"/>
                    <a:pt x="235524" y="215016"/>
                    <a:pt x="240029" y="214141"/>
                  </a:cubicBezTo>
                  <a:lnTo>
                    <a:pt x="275504" y="211834"/>
                  </a:lnTo>
                  <a:cubicBezTo>
                    <a:pt x="288290" y="210898"/>
                    <a:pt x="353558" y="211600"/>
                    <a:pt x="356034" y="202309"/>
                  </a:cubicBezTo>
                  <a:cubicBezTo>
                    <a:pt x="358875" y="191546"/>
                    <a:pt x="346577" y="187669"/>
                    <a:pt x="343857" y="177642"/>
                  </a:cubicBezTo>
                  <a:cubicBezTo>
                    <a:pt x="339230" y="160796"/>
                    <a:pt x="334562" y="143974"/>
                    <a:pt x="329854" y="127172"/>
                  </a:cubicBezTo>
                  <a:cubicBezTo>
                    <a:pt x="321574" y="97382"/>
                    <a:pt x="313212" y="67635"/>
                    <a:pt x="304729" y="37931"/>
                  </a:cubicBezTo>
                  <a:cubicBezTo>
                    <a:pt x="321736" y="36862"/>
                    <a:pt x="338702" y="35859"/>
                    <a:pt x="355710" y="34923"/>
                  </a:cubicBezTo>
                  <a:cubicBezTo>
                    <a:pt x="329001" y="26725"/>
                    <a:pt x="302131" y="18703"/>
                    <a:pt x="275099" y="10858"/>
                  </a:cubicBezTo>
                  <a:cubicBezTo>
                    <a:pt x="265438" y="8051"/>
                    <a:pt x="245062" y="4909"/>
                    <a:pt x="238568" y="-339"/>
                  </a:cubicBezTo>
                  <a:cubicBezTo>
                    <a:pt x="239014" y="2736"/>
                    <a:pt x="245427" y="23693"/>
                    <a:pt x="238243" y="24562"/>
                  </a:cubicBezTo>
                  <a:cubicBezTo>
                    <a:pt x="228136" y="25765"/>
                    <a:pt x="217948" y="26300"/>
                    <a:pt x="207557" y="27002"/>
                  </a:cubicBezTo>
                  <a:lnTo>
                    <a:pt x="138555" y="31848"/>
                  </a:lnTo>
                  <a:lnTo>
                    <a:pt x="143547" y="73461"/>
                  </a:lnTo>
                  <a:cubicBezTo>
                    <a:pt x="144480" y="81248"/>
                    <a:pt x="132263" y="83488"/>
                    <a:pt x="121832" y="87666"/>
                  </a:cubicBezTo>
                  <a:cubicBezTo>
                    <a:pt x="109127" y="92913"/>
                    <a:pt x="115540" y="102773"/>
                    <a:pt x="116473" y="110260"/>
                  </a:cubicBezTo>
                  <a:cubicBezTo>
                    <a:pt x="117001" y="114572"/>
                    <a:pt x="121263" y="118750"/>
                    <a:pt x="112780" y="119452"/>
                  </a:cubicBezTo>
                  <a:lnTo>
                    <a:pt x="71987" y="123028"/>
                  </a:lnTo>
                  <a:cubicBezTo>
                    <a:pt x="47958" y="125257"/>
                    <a:pt x="23929" y="127483"/>
                    <a:pt x="-60" y="129713"/>
                  </a:cubicBezTo>
                  <a:cubicBezTo>
                    <a:pt x="-60" y="137233"/>
                    <a:pt x="6557" y="141544"/>
                    <a:pt x="16176" y="145656"/>
                  </a:cubicBezTo>
                  <a:cubicBezTo>
                    <a:pt x="29368" y="151371"/>
                    <a:pt x="19099" y="161732"/>
                    <a:pt x="25228" y="169654"/>
                  </a:cubicBezTo>
                  <a:cubicBezTo>
                    <a:pt x="32859" y="179681"/>
                    <a:pt x="39921" y="183758"/>
                    <a:pt x="33670" y="195891"/>
                  </a:cubicBezTo>
                  <a:cubicBezTo>
                    <a:pt x="28556" y="205918"/>
                    <a:pt x="22792" y="212603"/>
                    <a:pt x="22346" y="223299"/>
                  </a:cubicBezTo>
                  <a:cubicBezTo>
                    <a:pt x="30707" y="221293"/>
                    <a:pt x="29246" y="212804"/>
                    <a:pt x="39150" y="21300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96A95437-53F1-49A9-8243-0299C13A6BD0}"/>
                </a:ext>
              </a:extLst>
            </p:cNvPr>
            <p:cNvSpPr/>
            <p:nvPr/>
          </p:nvSpPr>
          <p:spPr>
            <a:xfrm>
              <a:off x="5644096" y="4597126"/>
              <a:ext cx="234543" cy="98251"/>
            </a:xfrm>
            <a:custGeom>
              <a:avLst/>
              <a:gdLst>
                <a:gd name="connsiteX0" fmla="*/ 234324 w 234543"/>
                <a:gd name="connsiteY0" fmla="*/ 49475 h 98251"/>
                <a:gd name="connsiteX1" fmla="*/ 220685 w 234543"/>
                <a:gd name="connsiteY1" fmla="*/ 41153 h 98251"/>
                <a:gd name="connsiteX2" fmla="*/ 216626 w 234543"/>
                <a:gd name="connsiteY2" fmla="*/ 37476 h 98251"/>
                <a:gd name="connsiteX3" fmla="*/ 197103 w 234543"/>
                <a:gd name="connsiteY3" fmla="*/ 34468 h 98251"/>
                <a:gd name="connsiteX4" fmla="*/ 188132 w 234543"/>
                <a:gd name="connsiteY4" fmla="*/ 30223 h 98251"/>
                <a:gd name="connsiteX5" fmla="*/ 173520 w 234543"/>
                <a:gd name="connsiteY5" fmla="*/ 18458 h 98251"/>
                <a:gd name="connsiteX6" fmla="*/ 162520 w 234543"/>
                <a:gd name="connsiteY6" fmla="*/ -125 h 98251"/>
                <a:gd name="connsiteX7" fmla="*/ 122824 w 234543"/>
                <a:gd name="connsiteY7" fmla="*/ 5189 h 98251"/>
                <a:gd name="connsiteX8" fmla="*/ 99525 w 234543"/>
                <a:gd name="connsiteY8" fmla="*/ 10938 h 98251"/>
                <a:gd name="connsiteX9" fmla="*/ 87064 w 234543"/>
                <a:gd name="connsiteY9" fmla="*/ 16386 h 98251"/>
                <a:gd name="connsiteX10" fmla="*/ 62710 w 234543"/>
                <a:gd name="connsiteY10" fmla="*/ 26613 h 98251"/>
                <a:gd name="connsiteX11" fmla="*/ 48910 w 234543"/>
                <a:gd name="connsiteY11" fmla="*/ 31861 h 98251"/>
                <a:gd name="connsiteX12" fmla="*/ 36733 w 234543"/>
                <a:gd name="connsiteY12" fmla="*/ 33398 h 98251"/>
                <a:gd name="connsiteX13" fmla="*/ 31497 w 234543"/>
                <a:gd name="connsiteY13" fmla="*/ 46066 h 98251"/>
                <a:gd name="connsiteX14" fmla="*/ 19320 w 234543"/>
                <a:gd name="connsiteY14" fmla="*/ 59201 h 98251"/>
                <a:gd name="connsiteX15" fmla="*/ 3084 w 234543"/>
                <a:gd name="connsiteY15" fmla="*/ 61675 h 98251"/>
                <a:gd name="connsiteX16" fmla="*/ 729 w 234543"/>
                <a:gd name="connsiteY16" fmla="*/ 81729 h 98251"/>
                <a:gd name="connsiteX17" fmla="*/ 13312 w 234543"/>
                <a:gd name="connsiteY17" fmla="*/ 90853 h 98251"/>
                <a:gd name="connsiteX18" fmla="*/ 26991 w 234543"/>
                <a:gd name="connsiteY18" fmla="*/ 97304 h 98251"/>
                <a:gd name="connsiteX19" fmla="*/ 60112 w 234543"/>
                <a:gd name="connsiteY19" fmla="*/ 91021 h 98251"/>
                <a:gd name="connsiteX20" fmla="*/ 81178 w 234543"/>
                <a:gd name="connsiteY20" fmla="*/ 86141 h 98251"/>
                <a:gd name="connsiteX21" fmla="*/ 81706 w 234543"/>
                <a:gd name="connsiteY21" fmla="*/ 72069 h 98251"/>
                <a:gd name="connsiteX22" fmla="*/ 118237 w 234543"/>
                <a:gd name="connsiteY22" fmla="*/ 69997 h 98251"/>
                <a:gd name="connsiteX23" fmla="*/ 146650 w 234543"/>
                <a:gd name="connsiteY23" fmla="*/ 70565 h 98251"/>
                <a:gd name="connsiteX24" fmla="*/ 167229 w 234543"/>
                <a:gd name="connsiteY24" fmla="*/ 66621 h 98251"/>
                <a:gd name="connsiteX25" fmla="*/ 190771 w 234543"/>
                <a:gd name="connsiteY25" fmla="*/ 65685 h 98251"/>
                <a:gd name="connsiteX26" fmla="*/ 207007 w 234543"/>
                <a:gd name="connsiteY26" fmla="*/ 59937 h 98251"/>
                <a:gd name="connsiteX27" fmla="*/ 234202 w 234543"/>
                <a:gd name="connsiteY27" fmla="*/ 49408 h 98251"/>
                <a:gd name="connsiteX28" fmla="*/ 234324 w 234543"/>
                <a:gd name="connsiteY28" fmla="*/ 49475 h 9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4543" h="98251">
                  <a:moveTo>
                    <a:pt x="234324" y="49475"/>
                  </a:moveTo>
                  <a:cubicBezTo>
                    <a:pt x="225800" y="45197"/>
                    <a:pt x="220929" y="48740"/>
                    <a:pt x="220685" y="41153"/>
                  </a:cubicBezTo>
                  <a:cubicBezTo>
                    <a:pt x="220685" y="39247"/>
                    <a:pt x="221741" y="36407"/>
                    <a:pt x="216626" y="37476"/>
                  </a:cubicBezTo>
                  <a:cubicBezTo>
                    <a:pt x="206276" y="39682"/>
                    <a:pt x="204166" y="38813"/>
                    <a:pt x="197103" y="34468"/>
                  </a:cubicBezTo>
                  <a:cubicBezTo>
                    <a:pt x="193409" y="32195"/>
                    <a:pt x="189391" y="33966"/>
                    <a:pt x="188132" y="30223"/>
                  </a:cubicBezTo>
                  <a:cubicBezTo>
                    <a:pt x="186103" y="24073"/>
                    <a:pt x="182572" y="22001"/>
                    <a:pt x="173520" y="18458"/>
                  </a:cubicBezTo>
                  <a:cubicBezTo>
                    <a:pt x="165443" y="14805"/>
                    <a:pt x="161059" y="7361"/>
                    <a:pt x="162520" y="-125"/>
                  </a:cubicBezTo>
                  <a:cubicBezTo>
                    <a:pt x="142226" y="476"/>
                    <a:pt x="140683" y="-2933"/>
                    <a:pt x="122824" y="5189"/>
                  </a:cubicBezTo>
                  <a:cubicBezTo>
                    <a:pt x="115639" y="8531"/>
                    <a:pt x="106588" y="8164"/>
                    <a:pt x="99525" y="10938"/>
                  </a:cubicBezTo>
                  <a:cubicBezTo>
                    <a:pt x="93802" y="13144"/>
                    <a:pt x="97942" y="17622"/>
                    <a:pt x="87064" y="16386"/>
                  </a:cubicBezTo>
                  <a:cubicBezTo>
                    <a:pt x="76835" y="15182"/>
                    <a:pt x="69245" y="22536"/>
                    <a:pt x="62710" y="26613"/>
                  </a:cubicBezTo>
                  <a:cubicBezTo>
                    <a:pt x="56175" y="30691"/>
                    <a:pt x="61736" y="35237"/>
                    <a:pt x="48910" y="31861"/>
                  </a:cubicBezTo>
                  <a:cubicBezTo>
                    <a:pt x="42781" y="30256"/>
                    <a:pt x="39046" y="28719"/>
                    <a:pt x="36733" y="33398"/>
                  </a:cubicBezTo>
                  <a:cubicBezTo>
                    <a:pt x="34419" y="38078"/>
                    <a:pt x="35312" y="41855"/>
                    <a:pt x="31497" y="46066"/>
                  </a:cubicBezTo>
                  <a:cubicBezTo>
                    <a:pt x="27681" y="50277"/>
                    <a:pt x="26951" y="56661"/>
                    <a:pt x="19320" y="59201"/>
                  </a:cubicBezTo>
                  <a:cubicBezTo>
                    <a:pt x="14205" y="60873"/>
                    <a:pt x="8239" y="60171"/>
                    <a:pt x="3084" y="61675"/>
                  </a:cubicBezTo>
                  <a:cubicBezTo>
                    <a:pt x="6169" y="60739"/>
                    <a:pt x="1460" y="80258"/>
                    <a:pt x="729" y="81729"/>
                  </a:cubicBezTo>
                  <a:cubicBezTo>
                    <a:pt x="-2923" y="89483"/>
                    <a:pt x="6940" y="85439"/>
                    <a:pt x="13312" y="90853"/>
                  </a:cubicBezTo>
                  <a:cubicBezTo>
                    <a:pt x="17250" y="93811"/>
                    <a:pt x="21917" y="96017"/>
                    <a:pt x="26991" y="97304"/>
                  </a:cubicBezTo>
                  <a:cubicBezTo>
                    <a:pt x="37788" y="100212"/>
                    <a:pt x="48341" y="91789"/>
                    <a:pt x="60112" y="91021"/>
                  </a:cubicBezTo>
                  <a:cubicBezTo>
                    <a:pt x="70057" y="90385"/>
                    <a:pt x="87632" y="97271"/>
                    <a:pt x="81178" y="86141"/>
                  </a:cubicBezTo>
                  <a:cubicBezTo>
                    <a:pt x="78743" y="81896"/>
                    <a:pt x="70097" y="73674"/>
                    <a:pt x="81706" y="72069"/>
                  </a:cubicBezTo>
                  <a:cubicBezTo>
                    <a:pt x="93802" y="70676"/>
                    <a:pt x="106019" y="69984"/>
                    <a:pt x="118237" y="69997"/>
                  </a:cubicBezTo>
                  <a:cubicBezTo>
                    <a:pt x="127694" y="69553"/>
                    <a:pt x="137233" y="69743"/>
                    <a:pt x="146650" y="70565"/>
                  </a:cubicBezTo>
                  <a:cubicBezTo>
                    <a:pt x="154768" y="71568"/>
                    <a:pt x="154768" y="65619"/>
                    <a:pt x="167229" y="66621"/>
                  </a:cubicBezTo>
                  <a:cubicBezTo>
                    <a:pt x="174738" y="67223"/>
                    <a:pt x="184277" y="69128"/>
                    <a:pt x="190771" y="65685"/>
                  </a:cubicBezTo>
                  <a:cubicBezTo>
                    <a:pt x="196494" y="62644"/>
                    <a:pt x="199132" y="60438"/>
                    <a:pt x="207007" y="59937"/>
                  </a:cubicBezTo>
                  <a:cubicBezTo>
                    <a:pt x="214881" y="59435"/>
                    <a:pt x="237246" y="56594"/>
                    <a:pt x="234202" y="49408"/>
                  </a:cubicBezTo>
                  <a:cubicBezTo>
                    <a:pt x="229818" y="47236"/>
                    <a:pt x="234324" y="49542"/>
                    <a:pt x="234324" y="4947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7321B146-F510-49E2-AB2A-702157FF2EE8}"/>
                </a:ext>
              </a:extLst>
            </p:cNvPr>
            <p:cNvSpPr/>
            <p:nvPr/>
          </p:nvSpPr>
          <p:spPr>
            <a:xfrm>
              <a:off x="5806005" y="4438655"/>
              <a:ext cx="455408" cy="208423"/>
            </a:xfrm>
            <a:custGeom>
              <a:avLst/>
              <a:gdLst>
                <a:gd name="connsiteX0" fmla="*/ 437600 w 455408"/>
                <a:gd name="connsiteY0" fmla="*/ 30400 h 208423"/>
                <a:gd name="connsiteX1" fmla="*/ 436302 w 455408"/>
                <a:gd name="connsiteY1" fmla="*/ 8474 h 208423"/>
                <a:gd name="connsiteX2" fmla="*/ 409269 w 455408"/>
                <a:gd name="connsiteY2" fmla="*/ 13053 h 208423"/>
                <a:gd name="connsiteX3" fmla="*/ 356096 w 455408"/>
                <a:gd name="connsiteY3" fmla="*/ -316 h 208423"/>
                <a:gd name="connsiteX4" fmla="*/ 298012 w 455408"/>
                <a:gd name="connsiteY4" fmla="*/ 17432 h 208423"/>
                <a:gd name="connsiteX5" fmla="*/ 169424 w 455408"/>
                <a:gd name="connsiteY5" fmla="*/ 69974 h 208423"/>
                <a:gd name="connsiteX6" fmla="*/ 138697 w 455408"/>
                <a:gd name="connsiteY6" fmla="*/ 77427 h 208423"/>
                <a:gd name="connsiteX7" fmla="*/ 116413 w 455408"/>
                <a:gd name="connsiteY7" fmla="*/ 81438 h 208423"/>
                <a:gd name="connsiteX8" fmla="*/ 117225 w 455408"/>
                <a:gd name="connsiteY8" fmla="*/ 97247 h 208423"/>
                <a:gd name="connsiteX9" fmla="*/ 84388 w 455408"/>
                <a:gd name="connsiteY9" fmla="*/ 147984 h 208423"/>
                <a:gd name="connsiteX10" fmla="*/ 23503 w 455408"/>
                <a:gd name="connsiteY10" fmla="*/ 155505 h 208423"/>
                <a:gd name="connsiteX11" fmla="*/ -38 w 455408"/>
                <a:gd name="connsiteY11" fmla="*/ 162390 h 208423"/>
                <a:gd name="connsiteX12" fmla="*/ 8080 w 455408"/>
                <a:gd name="connsiteY12" fmla="*/ 174824 h 208423"/>
                <a:gd name="connsiteX13" fmla="*/ 26061 w 455408"/>
                <a:gd name="connsiteY13" fmla="*/ 188795 h 208423"/>
                <a:gd name="connsiteX14" fmla="*/ 43027 w 455408"/>
                <a:gd name="connsiteY14" fmla="*/ 197518 h 208423"/>
                <a:gd name="connsiteX15" fmla="*/ 58532 w 455408"/>
                <a:gd name="connsiteY15" fmla="*/ 199724 h 208423"/>
                <a:gd name="connsiteX16" fmla="*/ 72171 w 455408"/>
                <a:gd name="connsiteY16" fmla="*/ 208047 h 208423"/>
                <a:gd name="connsiteX17" fmla="*/ 82196 w 455408"/>
                <a:gd name="connsiteY17" fmla="*/ 199858 h 208423"/>
                <a:gd name="connsiteX18" fmla="*/ 91979 w 455408"/>
                <a:gd name="connsiteY18" fmla="*/ 207679 h 208423"/>
                <a:gd name="connsiteX19" fmla="*/ 116333 w 455408"/>
                <a:gd name="connsiteY19" fmla="*/ 191903 h 208423"/>
                <a:gd name="connsiteX20" fmla="*/ 138982 w 455408"/>
                <a:gd name="connsiteY20" fmla="*/ 176829 h 208423"/>
                <a:gd name="connsiteX21" fmla="*/ 156232 w 455408"/>
                <a:gd name="connsiteY21" fmla="*/ 175392 h 208423"/>
                <a:gd name="connsiteX22" fmla="*/ 172468 w 455408"/>
                <a:gd name="connsiteY22" fmla="*/ 175225 h 208423"/>
                <a:gd name="connsiteX23" fmla="*/ 193006 w 455408"/>
                <a:gd name="connsiteY23" fmla="*/ 179904 h 208423"/>
                <a:gd name="connsiteX24" fmla="*/ 206685 w 455408"/>
                <a:gd name="connsiteY24" fmla="*/ 186187 h 208423"/>
                <a:gd name="connsiteX25" fmla="*/ 249507 w 455408"/>
                <a:gd name="connsiteY25" fmla="*/ 187625 h 208423"/>
                <a:gd name="connsiteX26" fmla="*/ 291964 w 455408"/>
                <a:gd name="connsiteY26" fmla="*/ 183547 h 208423"/>
                <a:gd name="connsiteX27" fmla="*/ 340672 w 455408"/>
                <a:gd name="connsiteY27" fmla="*/ 180940 h 208423"/>
                <a:gd name="connsiteX28" fmla="*/ 381952 w 455408"/>
                <a:gd name="connsiteY28" fmla="*/ 175024 h 208423"/>
                <a:gd name="connsiteX29" fmla="*/ 390070 w 455408"/>
                <a:gd name="connsiteY29" fmla="*/ 173620 h 208423"/>
                <a:gd name="connsiteX30" fmla="*/ 390760 w 455408"/>
                <a:gd name="connsiteY30" fmla="*/ 163994 h 208423"/>
                <a:gd name="connsiteX31" fmla="*/ 396605 w 455408"/>
                <a:gd name="connsiteY31" fmla="*/ 153566 h 208423"/>
                <a:gd name="connsiteX32" fmla="*/ 443242 w 455408"/>
                <a:gd name="connsiteY32" fmla="*/ 120142 h 208423"/>
                <a:gd name="connsiteX33" fmla="*/ 448560 w 455408"/>
                <a:gd name="connsiteY33" fmla="*/ 82173 h 208423"/>
                <a:gd name="connsiteX34" fmla="*/ 455216 w 455408"/>
                <a:gd name="connsiteY34" fmla="*/ 55902 h 208423"/>
                <a:gd name="connsiteX35" fmla="*/ 437600 w 455408"/>
                <a:gd name="connsiteY35" fmla="*/ 30400 h 208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55408" h="208423">
                  <a:moveTo>
                    <a:pt x="437600" y="30400"/>
                  </a:moveTo>
                  <a:cubicBezTo>
                    <a:pt x="437600" y="23080"/>
                    <a:pt x="436829" y="15761"/>
                    <a:pt x="436302" y="8474"/>
                  </a:cubicBezTo>
                  <a:cubicBezTo>
                    <a:pt x="428184" y="10814"/>
                    <a:pt x="415438" y="17599"/>
                    <a:pt x="409269" y="13053"/>
                  </a:cubicBezTo>
                  <a:cubicBezTo>
                    <a:pt x="395468" y="3026"/>
                    <a:pt x="377568" y="319"/>
                    <a:pt x="356096" y="-316"/>
                  </a:cubicBezTo>
                  <a:cubicBezTo>
                    <a:pt x="337019" y="-951"/>
                    <a:pt x="313355" y="11950"/>
                    <a:pt x="298012" y="17432"/>
                  </a:cubicBezTo>
                  <a:cubicBezTo>
                    <a:pt x="253850" y="32693"/>
                    <a:pt x="210906" y="50244"/>
                    <a:pt x="169424" y="69974"/>
                  </a:cubicBezTo>
                  <a:cubicBezTo>
                    <a:pt x="161306" y="73951"/>
                    <a:pt x="148683" y="75388"/>
                    <a:pt x="138697" y="77427"/>
                  </a:cubicBezTo>
                  <a:cubicBezTo>
                    <a:pt x="131310" y="78965"/>
                    <a:pt x="123963" y="80335"/>
                    <a:pt x="116413" y="81438"/>
                  </a:cubicBezTo>
                  <a:cubicBezTo>
                    <a:pt x="116738" y="86719"/>
                    <a:pt x="117022" y="91966"/>
                    <a:pt x="117225" y="97247"/>
                  </a:cubicBezTo>
                  <a:cubicBezTo>
                    <a:pt x="117915" y="113224"/>
                    <a:pt x="122868" y="144809"/>
                    <a:pt x="84388" y="147984"/>
                  </a:cubicBezTo>
                  <a:cubicBezTo>
                    <a:pt x="66407" y="149455"/>
                    <a:pt x="38846" y="149622"/>
                    <a:pt x="23503" y="155505"/>
                  </a:cubicBezTo>
                  <a:cubicBezTo>
                    <a:pt x="14331" y="159081"/>
                    <a:pt x="530" y="155237"/>
                    <a:pt x="-38" y="162390"/>
                  </a:cubicBezTo>
                  <a:cubicBezTo>
                    <a:pt x="-404" y="166902"/>
                    <a:pt x="4021" y="171113"/>
                    <a:pt x="8080" y="174824"/>
                  </a:cubicBezTo>
                  <a:cubicBezTo>
                    <a:pt x="14493" y="180873"/>
                    <a:pt x="23463" y="180940"/>
                    <a:pt x="26061" y="188795"/>
                  </a:cubicBezTo>
                  <a:cubicBezTo>
                    <a:pt x="26751" y="190867"/>
                    <a:pt x="39577" y="196883"/>
                    <a:pt x="43027" y="197518"/>
                  </a:cubicBezTo>
                  <a:cubicBezTo>
                    <a:pt x="51470" y="199089"/>
                    <a:pt x="58248" y="192137"/>
                    <a:pt x="58532" y="199724"/>
                  </a:cubicBezTo>
                  <a:cubicBezTo>
                    <a:pt x="58817" y="207311"/>
                    <a:pt x="63647" y="203768"/>
                    <a:pt x="72171" y="208047"/>
                  </a:cubicBezTo>
                  <a:cubicBezTo>
                    <a:pt x="70507" y="204270"/>
                    <a:pt x="73673" y="198621"/>
                    <a:pt x="82196" y="199858"/>
                  </a:cubicBezTo>
                  <a:cubicBezTo>
                    <a:pt x="89909" y="200994"/>
                    <a:pt x="85038" y="206075"/>
                    <a:pt x="91979" y="207679"/>
                  </a:cubicBezTo>
                  <a:cubicBezTo>
                    <a:pt x="104845" y="210620"/>
                    <a:pt x="108580" y="196783"/>
                    <a:pt x="116333" y="191903"/>
                  </a:cubicBezTo>
                  <a:cubicBezTo>
                    <a:pt x="127860" y="184750"/>
                    <a:pt x="112841" y="175559"/>
                    <a:pt x="138982" y="176829"/>
                  </a:cubicBezTo>
                  <a:cubicBezTo>
                    <a:pt x="145882" y="177163"/>
                    <a:pt x="150753" y="178467"/>
                    <a:pt x="156232" y="175392"/>
                  </a:cubicBezTo>
                  <a:cubicBezTo>
                    <a:pt x="163457" y="171314"/>
                    <a:pt x="164350" y="174322"/>
                    <a:pt x="172468" y="175225"/>
                  </a:cubicBezTo>
                  <a:cubicBezTo>
                    <a:pt x="180586" y="176127"/>
                    <a:pt x="188014" y="174690"/>
                    <a:pt x="193006" y="179904"/>
                  </a:cubicBezTo>
                  <a:cubicBezTo>
                    <a:pt x="195523" y="182544"/>
                    <a:pt x="199338" y="188861"/>
                    <a:pt x="206685" y="186187"/>
                  </a:cubicBezTo>
                  <a:cubicBezTo>
                    <a:pt x="223976" y="179837"/>
                    <a:pt x="233840" y="182310"/>
                    <a:pt x="249507" y="187625"/>
                  </a:cubicBezTo>
                  <a:cubicBezTo>
                    <a:pt x="263633" y="191923"/>
                    <a:pt x="279422" y="190406"/>
                    <a:pt x="291964" y="183547"/>
                  </a:cubicBezTo>
                  <a:cubicBezTo>
                    <a:pt x="300569" y="179202"/>
                    <a:pt x="330240" y="177899"/>
                    <a:pt x="340672" y="180940"/>
                  </a:cubicBezTo>
                  <a:cubicBezTo>
                    <a:pt x="362388" y="187357"/>
                    <a:pt x="366244" y="183313"/>
                    <a:pt x="381952" y="175024"/>
                  </a:cubicBezTo>
                  <a:cubicBezTo>
                    <a:pt x="384306" y="173620"/>
                    <a:pt x="387229" y="173109"/>
                    <a:pt x="390070" y="173620"/>
                  </a:cubicBezTo>
                  <a:cubicBezTo>
                    <a:pt x="390110" y="170405"/>
                    <a:pt x="390313" y="167190"/>
                    <a:pt x="390760" y="163994"/>
                  </a:cubicBezTo>
                  <a:cubicBezTo>
                    <a:pt x="391693" y="160385"/>
                    <a:pt x="395468" y="157309"/>
                    <a:pt x="396605" y="153566"/>
                  </a:cubicBezTo>
                  <a:cubicBezTo>
                    <a:pt x="400217" y="141400"/>
                    <a:pt x="427859" y="128031"/>
                    <a:pt x="443242" y="120142"/>
                  </a:cubicBezTo>
                  <a:cubicBezTo>
                    <a:pt x="453999" y="114761"/>
                    <a:pt x="448357" y="90061"/>
                    <a:pt x="448560" y="82173"/>
                  </a:cubicBezTo>
                  <a:cubicBezTo>
                    <a:pt x="448844" y="73550"/>
                    <a:pt x="456434" y="64058"/>
                    <a:pt x="455216" y="55902"/>
                  </a:cubicBezTo>
                  <a:cubicBezTo>
                    <a:pt x="453999" y="47747"/>
                    <a:pt x="437479" y="38054"/>
                    <a:pt x="437600" y="3040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C0E946D3-5DD6-430D-8C36-B357E6F72D5A}"/>
                </a:ext>
              </a:extLst>
            </p:cNvPr>
            <p:cNvSpPr/>
            <p:nvPr/>
          </p:nvSpPr>
          <p:spPr>
            <a:xfrm>
              <a:off x="6195863" y="4439773"/>
              <a:ext cx="299337" cy="282878"/>
            </a:xfrm>
            <a:custGeom>
              <a:avLst/>
              <a:gdLst>
                <a:gd name="connsiteX0" fmla="*/ 299278 w 299337"/>
                <a:gd name="connsiteY0" fmla="*/ 76343 h 282878"/>
                <a:gd name="connsiteX1" fmla="*/ 159121 w 299337"/>
                <a:gd name="connsiteY1" fmla="*/ 27712 h 282878"/>
                <a:gd name="connsiteX2" fmla="*/ 83381 w 299337"/>
                <a:gd name="connsiteY2" fmla="*/ 2678 h 282878"/>
                <a:gd name="connsiteX3" fmla="*/ 72624 w 299337"/>
                <a:gd name="connsiteY3" fmla="*/ -230 h 282878"/>
                <a:gd name="connsiteX4" fmla="*/ 53466 w 299337"/>
                <a:gd name="connsiteY4" fmla="*/ 5285 h 282878"/>
                <a:gd name="connsiteX5" fmla="*/ 47337 w 299337"/>
                <a:gd name="connsiteY5" fmla="*/ 20492 h 282878"/>
                <a:gd name="connsiteX6" fmla="*/ 52248 w 299337"/>
                <a:gd name="connsiteY6" fmla="*/ 34697 h 282878"/>
                <a:gd name="connsiteX7" fmla="*/ 62193 w 299337"/>
                <a:gd name="connsiteY7" fmla="*/ 50540 h 282878"/>
                <a:gd name="connsiteX8" fmla="*/ 58905 w 299337"/>
                <a:gd name="connsiteY8" fmla="*/ 83563 h 282878"/>
                <a:gd name="connsiteX9" fmla="*/ 56632 w 299337"/>
                <a:gd name="connsiteY9" fmla="*/ 113276 h 282878"/>
                <a:gd name="connsiteX10" fmla="*/ 36337 w 299337"/>
                <a:gd name="connsiteY10" fmla="*/ 128952 h 282878"/>
                <a:gd name="connsiteX11" fmla="*/ 14500 w 299337"/>
                <a:gd name="connsiteY11" fmla="*/ 182430 h 282878"/>
                <a:gd name="connsiteX12" fmla="*/ 33455 w 299337"/>
                <a:gd name="connsiteY12" fmla="*/ 191287 h 282878"/>
                <a:gd name="connsiteX13" fmla="*/ 38367 w 299337"/>
                <a:gd name="connsiteY13" fmla="*/ 204656 h 282878"/>
                <a:gd name="connsiteX14" fmla="*/ 41614 w 299337"/>
                <a:gd name="connsiteY14" fmla="*/ 222304 h 282878"/>
                <a:gd name="connsiteX15" fmla="*/ 53425 w 299337"/>
                <a:gd name="connsiteY15" fmla="*/ 237311 h 282878"/>
                <a:gd name="connsiteX16" fmla="*/ 15190 w 299337"/>
                <a:gd name="connsiteY16" fmla="*/ 240252 h 282878"/>
                <a:gd name="connsiteX17" fmla="*/ 42750 w 299337"/>
                <a:gd name="connsiteY17" fmla="*/ 263850 h 282878"/>
                <a:gd name="connsiteX18" fmla="*/ 72381 w 299337"/>
                <a:gd name="connsiteY18" fmla="*/ 277854 h 282878"/>
                <a:gd name="connsiteX19" fmla="*/ 84883 w 299337"/>
                <a:gd name="connsiteY19" fmla="*/ 278990 h 282878"/>
                <a:gd name="connsiteX20" fmla="*/ 104447 w 299337"/>
                <a:gd name="connsiteY20" fmla="*/ 274879 h 282878"/>
                <a:gd name="connsiteX21" fmla="*/ 144347 w 299337"/>
                <a:gd name="connsiteY21" fmla="*/ 267493 h 282878"/>
                <a:gd name="connsiteX22" fmla="*/ 147715 w 299337"/>
                <a:gd name="connsiteY22" fmla="*/ 258970 h 282878"/>
                <a:gd name="connsiteX23" fmla="*/ 170446 w 299337"/>
                <a:gd name="connsiteY23" fmla="*/ 256664 h 282878"/>
                <a:gd name="connsiteX24" fmla="*/ 217814 w 299337"/>
                <a:gd name="connsiteY24" fmla="*/ 238448 h 282878"/>
                <a:gd name="connsiteX25" fmla="*/ 227231 w 299337"/>
                <a:gd name="connsiteY25" fmla="*/ 229056 h 282878"/>
                <a:gd name="connsiteX26" fmla="*/ 256537 w 299337"/>
                <a:gd name="connsiteY26" fmla="*/ 225279 h 282878"/>
                <a:gd name="connsiteX27" fmla="*/ 259053 w 299337"/>
                <a:gd name="connsiteY27" fmla="*/ 218594 h 282878"/>
                <a:gd name="connsiteX28" fmla="*/ 249352 w 299337"/>
                <a:gd name="connsiteY28" fmla="*/ 211909 h 282878"/>
                <a:gd name="connsiteX29" fmla="*/ 245821 w 299337"/>
                <a:gd name="connsiteY29" fmla="*/ 194696 h 282878"/>
                <a:gd name="connsiteX30" fmla="*/ 238149 w 299337"/>
                <a:gd name="connsiteY30" fmla="*/ 183833 h 282878"/>
                <a:gd name="connsiteX31" fmla="*/ 236729 w 299337"/>
                <a:gd name="connsiteY31" fmla="*/ 174809 h 282878"/>
                <a:gd name="connsiteX32" fmla="*/ 247242 w 299337"/>
                <a:gd name="connsiteY32" fmla="*/ 169227 h 282878"/>
                <a:gd name="connsiteX33" fmla="*/ 254061 w 299337"/>
                <a:gd name="connsiteY33" fmla="*/ 159200 h 282878"/>
                <a:gd name="connsiteX34" fmla="*/ 266765 w 299337"/>
                <a:gd name="connsiteY34" fmla="*/ 147067 h 282878"/>
                <a:gd name="connsiteX35" fmla="*/ 295178 w 299337"/>
                <a:gd name="connsiteY35" fmla="*/ 135804 h 282878"/>
                <a:gd name="connsiteX36" fmla="*/ 296518 w 299337"/>
                <a:gd name="connsiteY36" fmla="*/ 119292 h 282878"/>
                <a:gd name="connsiteX37" fmla="*/ 299278 w 299337"/>
                <a:gd name="connsiteY37" fmla="*/ 76343 h 28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9337" h="282878">
                  <a:moveTo>
                    <a:pt x="299278" y="76343"/>
                  </a:moveTo>
                  <a:cubicBezTo>
                    <a:pt x="252924" y="59765"/>
                    <a:pt x="206205" y="43555"/>
                    <a:pt x="159121" y="27712"/>
                  </a:cubicBezTo>
                  <a:cubicBezTo>
                    <a:pt x="133996" y="19266"/>
                    <a:pt x="108749" y="10923"/>
                    <a:pt x="83381" y="2678"/>
                  </a:cubicBezTo>
                  <a:cubicBezTo>
                    <a:pt x="81229" y="1976"/>
                    <a:pt x="75263" y="-932"/>
                    <a:pt x="72624" y="-230"/>
                  </a:cubicBezTo>
                  <a:lnTo>
                    <a:pt x="53466" y="5285"/>
                  </a:lnTo>
                  <a:cubicBezTo>
                    <a:pt x="42385" y="8627"/>
                    <a:pt x="46891" y="13707"/>
                    <a:pt x="47337" y="20492"/>
                  </a:cubicBezTo>
                  <a:cubicBezTo>
                    <a:pt x="47662" y="25807"/>
                    <a:pt x="46687" y="30118"/>
                    <a:pt x="52248" y="34697"/>
                  </a:cubicBezTo>
                  <a:cubicBezTo>
                    <a:pt x="58621" y="39911"/>
                    <a:pt x="56794" y="45727"/>
                    <a:pt x="62193" y="50540"/>
                  </a:cubicBezTo>
                  <a:cubicBezTo>
                    <a:pt x="70757" y="58161"/>
                    <a:pt x="59189" y="73937"/>
                    <a:pt x="58905" y="83563"/>
                  </a:cubicBezTo>
                  <a:cubicBezTo>
                    <a:pt x="58864" y="93496"/>
                    <a:pt x="58093" y="103416"/>
                    <a:pt x="56632" y="113276"/>
                  </a:cubicBezTo>
                  <a:cubicBezTo>
                    <a:pt x="55333" y="120529"/>
                    <a:pt x="44699" y="123872"/>
                    <a:pt x="36337" y="128952"/>
                  </a:cubicBezTo>
                  <a:cubicBezTo>
                    <a:pt x="17422" y="140450"/>
                    <a:pt x="-21097" y="169060"/>
                    <a:pt x="14500" y="182430"/>
                  </a:cubicBezTo>
                  <a:cubicBezTo>
                    <a:pt x="22983" y="185772"/>
                    <a:pt x="28057" y="185003"/>
                    <a:pt x="33455" y="191287"/>
                  </a:cubicBezTo>
                  <a:cubicBezTo>
                    <a:pt x="37514" y="195833"/>
                    <a:pt x="36175" y="199910"/>
                    <a:pt x="38367" y="204656"/>
                  </a:cubicBezTo>
                  <a:cubicBezTo>
                    <a:pt x="41127" y="210539"/>
                    <a:pt x="39503" y="216388"/>
                    <a:pt x="41614" y="222304"/>
                  </a:cubicBezTo>
                  <a:cubicBezTo>
                    <a:pt x="42548" y="224911"/>
                    <a:pt x="53791" y="235874"/>
                    <a:pt x="53425" y="237311"/>
                  </a:cubicBezTo>
                  <a:cubicBezTo>
                    <a:pt x="51558" y="242124"/>
                    <a:pt x="15312" y="234203"/>
                    <a:pt x="15190" y="240252"/>
                  </a:cubicBezTo>
                  <a:cubicBezTo>
                    <a:pt x="15190" y="252987"/>
                    <a:pt x="32360" y="254123"/>
                    <a:pt x="42750" y="263850"/>
                  </a:cubicBezTo>
                  <a:cubicBezTo>
                    <a:pt x="49123" y="269799"/>
                    <a:pt x="54927" y="292126"/>
                    <a:pt x="72381" y="277854"/>
                  </a:cubicBezTo>
                  <a:cubicBezTo>
                    <a:pt x="76440" y="274512"/>
                    <a:pt x="80864" y="277854"/>
                    <a:pt x="84883" y="278990"/>
                  </a:cubicBezTo>
                  <a:cubicBezTo>
                    <a:pt x="88901" y="280127"/>
                    <a:pt x="99170" y="275381"/>
                    <a:pt x="104447" y="274879"/>
                  </a:cubicBezTo>
                  <a:cubicBezTo>
                    <a:pt x="118085" y="273950"/>
                    <a:pt x="131520" y="271463"/>
                    <a:pt x="144347" y="267493"/>
                  </a:cubicBezTo>
                  <a:cubicBezTo>
                    <a:pt x="153357" y="264585"/>
                    <a:pt x="146863" y="263415"/>
                    <a:pt x="147715" y="258970"/>
                  </a:cubicBezTo>
                  <a:cubicBezTo>
                    <a:pt x="148568" y="254524"/>
                    <a:pt x="166143" y="256563"/>
                    <a:pt x="170446" y="256664"/>
                  </a:cubicBezTo>
                  <a:cubicBezTo>
                    <a:pt x="191836" y="257131"/>
                    <a:pt x="202917" y="245935"/>
                    <a:pt x="217814" y="238448"/>
                  </a:cubicBezTo>
                  <a:cubicBezTo>
                    <a:pt x="223334" y="235673"/>
                    <a:pt x="222117" y="231763"/>
                    <a:pt x="227231" y="229056"/>
                  </a:cubicBezTo>
                  <a:cubicBezTo>
                    <a:pt x="237459" y="223574"/>
                    <a:pt x="244319" y="224477"/>
                    <a:pt x="256537" y="225279"/>
                  </a:cubicBezTo>
                  <a:cubicBezTo>
                    <a:pt x="254507" y="223674"/>
                    <a:pt x="258120" y="220198"/>
                    <a:pt x="259053" y="218594"/>
                  </a:cubicBezTo>
                  <a:cubicBezTo>
                    <a:pt x="259987" y="216990"/>
                    <a:pt x="251706" y="213982"/>
                    <a:pt x="249352" y="211909"/>
                  </a:cubicBezTo>
                  <a:cubicBezTo>
                    <a:pt x="242574" y="206461"/>
                    <a:pt x="251788" y="199543"/>
                    <a:pt x="245821" y="194696"/>
                  </a:cubicBezTo>
                  <a:cubicBezTo>
                    <a:pt x="241194" y="190919"/>
                    <a:pt x="224552" y="191020"/>
                    <a:pt x="238149" y="183833"/>
                  </a:cubicBezTo>
                  <a:cubicBezTo>
                    <a:pt x="242655" y="181494"/>
                    <a:pt x="238149" y="177383"/>
                    <a:pt x="236729" y="174809"/>
                  </a:cubicBezTo>
                  <a:cubicBezTo>
                    <a:pt x="233441" y="169561"/>
                    <a:pt x="244400" y="172737"/>
                    <a:pt x="247242" y="169227"/>
                  </a:cubicBezTo>
                  <a:cubicBezTo>
                    <a:pt x="249393" y="166620"/>
                    <a:pt x="247242" y="159702"/>
                    <a:pt x="254061" y="159200"/>
                  </a:cubicBezTo>
                  <a:cubicBezTo>
                    <a:pt x="267293" y="158198"/>
                    <a:pt x="261489" y="151513"/>
                    <a:pt x="266765" y="147067"/>
                  </a:cubicBezTo>
                  <a:cubicBezTo>
                    <a:pt x="274558" y="140383"/>
                    <a:pt x="292864" y="144494"/>
                    <a:pt x="295178" y="135804"/>
                  </a:cubicBezTo>
                  <a:cubicBezTo>
                    <a:pt x="296152" y="130339"/>
                    <a:pt x="296639" y="124817"/>
                    <a:pt x="296518" y="119292"/>
                  </a:cubicBezTo>
                  <a:cubicBezTo>
                    <a:pt x="297410" y="104964"/>
                    <a:pt x="298344" y="90648"/>
                    <a:pt x="299278" y="7634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78AC4A1C-E788-4A80-8E89-B3484528952C}"/>
                </a:ext>
              </a:extLst>
            </p:cNvPr>
            <p:cNvSpPr/>
            <p:nvPr/>
          </p:nvSpPr>
          <p:spPr>
            <a:xfrm>
              <a:off x="6524787" y="4291648"/>
              <a:ext cx="322605" cy="201383"/>
            </a:xfrm>
            <a:custGeom>
              <a:avLst/>
              <a:gdLst>
                <a:gd name="connsiteX0" fmla="*/ 315326 w 322605"/>
                <a:gd name="connsiteY0" fmla="*/ 59122 h 201383"/>
                <a:gd name="connsiteX1" fmla="*/ 296817 w 322605"/>
                <a:gd name="connsiteY1" fmla="*/ 27470 h 201383"/>
                <a:gd name="connsiteX2" fmla="*/ 268891 w 322605"/>
                <a:gd name="connsiteY2" fmla="*/ 26500 h 201383"/>
                <a:gd name="connsiteX3" fmla="*/ 222050 w 322605"/>
                <a:gd name="connsiteY3" fmla="*/ 19013 h 201383"/>
                <a:gd name="connsiteX4" fmla="*/ 162628 w 322605"/>
                <a:gd name="connsiteY4" fmla="*/ 18646 h 201383"/>
                <a:gd name="connsiteX5" fmla="*/ 138558 w 322605"/>
                <a:gd name="connsiteY5" fmla="*/ 23158 h 201383"/>
                <a:gd name="connsiteX6" fmla="*/ 98779 w 322605"/>
                <a:gd name="connsiteY6" fmla="*/ 13666 h 201383"/>
                <a:gd name="connsiteX7" fmla="*/ 20279 w 322605"/>
                <a:gd name="connsiteY7" fmla="*/ -339 h 201383"/>
                <a:gd name="connsiteX8" fmla="*/ 15490 w 322605"/>
                <a:gd name="connsiteY8" fmla="*/ 17443 h 201383"/>
                <a:gd name="connsiteX9" fmla="*/ 7372 w 322605"/>
                <a:gd name="connsiteY9" fmla="*/ 33319 h 201383"/>
                <a:gd name="connsiteX10" fmla="*/ 9198 w 322605"/>
                <a:gd name="connsiteY10" fmla="*/ 62932 h 201383"/>
                <a:gd name="connsiteX11" fmla="*/ 2663 w 322605"/>
                <a:gd name="connsiteY11" fmla="*/ 156919 h 201383"/>
                <a:gd name="connsiteX12" fmla="*/ 5951 w 322605"/>
                <a:gd name="connsiteY12" fmla="*/ 181084 h 201383"/>
                <a:gd name="connsiteX13" fmla="*/ 48449 w 322605"/>
                <a:gd name="connsiteY13" fmla="*/ 183224 h 201383"/>
                <a:gd name="connsiteX14" fmla="*/ 165590 w 322605"/>
                <a:gd name="connsiteY14" fmla="*/ 190142 h 201383"/>
                <a:gd name="connsiteX15" fmla="*/ 187387 w 322605"/>
                <a:gd name="connsiteY15" fmla="*/ 190343 h 201383"/>
                <a:gd name="connsiteX16" fmla="*/ 236095 w 322605"/>
                <a:gd name="connsiteY16" fmla="*/ 194086 h 201383"/>
                <a:gd name="connsiteX17" fmla="*/ 252331 w 322605"/>
                <a:gd name="connsiteY17" fmla="*/ 197830 h 201383"/>
                <a:gd name="connsiteX18" fmla="*/ 272626 w 322605"/>
                <a:gd name="connsiteY18" fmla="*/ 195958 h 201383"/>
                <a:gd name="connsiteX19" fmla="*/ 294260 w 322605"/>
                <a:gd name="connsiteY19" fmla="*/ 189474 h 201383"/>
                <a:gd name="connsiteX20" fmla="*/ 309644 w 322605"/>
                <a:gd name="connsiteY20" fmla="*/ 184561 h 201383"/>
                <a:gd name="connsiteX21" fmla="*/ 281718 w 322605"/>
                <a:gd name="connsiteY21" fmla="*/ 114772 h 201383"/>
                <a:gd name="connsiteX22" fmla="*/ 269297 w 322605"/>
                <a:gd name="connsiteY22" fmla="*/ 96322 h 201383"/>
                <a:gd name="connsiteX23" fmla="*/ 255821 w 322605"/>
                <a:gd name="connsiteY23" fmla="*/ 80513 h 201383"/>
                <a:gd name="connsiteX24" fmla="*/ 240032 w 322605"/>
                <a:gd name="connsiteY24" fmla="*/ 43747 h 201383"/>
                <a:gd name="connsiteX25" fmla="*/ 276116 w 322605"/>
                <a:gd name="connsiteY25" fmla="*/ 87198 h 201383"/>
                <a:gd name="connsiteX26" fmla="*/ 297020 w 322605"/>
                <a:gd name="connsiteY26" fmla="*/ 84290 h 201383"/>
                <a:gd name="connsiteX27" fmla="*/ 308223 w 322605"/>
                <a:gd name="connsiteY27" fmla="*/ 69984 h 201383"/>
                <a:gd name="connsiteX28" fmla="*/ 315326 w 322605"/>
                <a:gd name="connsiteY28" fmla="*/ 59122 h 20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2605" h="201383">
                  <a:moveTo>
                    <a:pt x="315326" y="59122"/>
                  </a:moveTo>
                  <a:cubicBezTo>
                    <a:pt x="309197" y="48560"/>
                    <a:pt x="303027" y="38008"/>
                    <a:pt x="296817" y="27470"/>
                  </a:cubicBezTo>
                  <a:cubicBezTo>
                    <a:pt x="289389" y="32684"/>
                    <a:pt x="279323" y="27470"/>
                    <a:pt x="268891" y="26500"/>
                  </a:cubicBezTo>
                  <a:cubicBezTo>
                    <a:pt x="249936" y="24729"/>
                    <a:pt x="239586" y="25230"/>
                    <a:pt x="222050" y="19013"/>
                  </a:cubicBezTo>
                  <a:cubicBezTo>
                    <a:pt x="206951" y="13599"/>
                    <a:pt x="177646" y="15437"/>
                    <a:pt x="162628" y="18646"/>
                  </a:cubicBezTo>
                  <a:cubicBezTo>
                    <a:pt x="153454" y="20584"/>
                    <a:pt x="150451" y="24161"/>
                    <a:pt x="138558" y="23158"/>
                  </a:cubicBezTo>
                  <a:cubicBezTo>
                    <a:pt x="124514" y="21955"/>
                    <a:pt x="111809" y="16774"/>
                    <a:pt x="98779" y="13666"/>
                  </a:cubicBezTo>
                  <a:cubicBezTo>
                    <a:pt x="80108" y="9153"/>
                    <a:pt x="32213" y="9387"/>
                    <a:pt x="20279" y="-339"/>
                  </a:cubicBezTo>
                  <a:cubicBezTo>
                    <a:pt x="15449" y="5878"/>
                    <a:pt x="13582" y="10658"/>
                    <a:pt x="15490" y="17443"/>
                  </a:cubicBezTo>
                  <a:cubicBezTo>
                    <a:pt x="17194" y="23659"/>
                    <a:pt x="6438" y="26868"/>
                    <a:pt x="7372" y="33319"/>
                  </a:cubicBezTo>
                  <a:cubicBezTo>
                    <a:pt x="8995" y="43132"/>
                    <a:pt x="9604" y="53035"/>
                    <a:pt x="9198" y="62932"/>
                  </a:cubicBezTo>
                  <a:cubicBezTo>
                    <a:pt x="7047" y="94283"/>
                    <a:pt x="4855" y="125611"/>
                    <a:pt x="2663" y="156919"/>
                  </a:cubicBezTo>
                  <a:cubicBezTo>
                    <a:pt x="2298" y="162167"/>
                    <a:pt x="-5008" y="180583"/>
                    <a:pt x="5951" y="181084"/>
                  </a:cubicBezTo>
                  <a:cubicBezTo>
                    <a:pt x="20116" y="181753"/>
                    <a:pt x="34363" y="182488"/>
                    <a:pt x="48449" y="183224"/>
                  </a:cubicBezTo>
                  <a:cubicBezTo>
                    <a:pt x="87536" y="185252"/>
                    <a:pt x="126584" y="187559"/>
                    <a:pt x="165590" y="190142"/>
                  </a:cubicBezTo>
                  <a:cubicBezTo>
                    <a:pt x="172734" y="190610"/>
                    <a:pt x="181096" y="192215"/>
                    <a:pt x="187387" y="190343"/>
                  </a:cubicBezTo>
                  <a:cubicBezTo>
                    <a:pt x="198103" y="187000"/>
                    <a:pt x="221442" y="192983"/>
                    <a:pt x="236095" y="194086"/>
                  </a:cubicBezTo>
                  <a:cubicBezTo>
                    <a:pt x="244984" y="194755"/>
                    <a:pt x="245999" y="194487"/>
                    <a:pt x="252331" y="197830"/>
                  </a:cubicBezTo>
                  <a:cubicBezTo>
                    <a:pt x="263858" y="204046"/>
                    <a:pt x="265928" y="200036"/>
                    <a:pt x="272626" y="195958"/>
                  </a:cubicBezTo>
                  <a:cubicBezTo>
                    <a:pt x="279323" y="191880"/>
                    <a:pt x="288862" y="195958"/>
                    <a:pt x="294260" y="189474"/>
                  </a:cubicBezTo>
                  <a:cubicBezTo>
                    <a:pt x="299009" y="183725"/>
                    <a:pt x="300024" y="185363"/>
                    <a:pt x="309644" y="184561"/>
                  </a:cubicBezTo>
                  <a:cubicBezTo>
                    <a:pt x="350233" y="181218"/>
                    <a:pt x="282124" y="124398"/>
                    <a:pt x="281718" y="114772"/>
                  </a:cubicBezTo>
                  <a:cubicBezTo>
                    <a:pt x="281718" y="108087"/>
                    <a:pt x="268080" y="103308"/>
                    <a:pt x="269297" y="96322"/>
                  </a:cubicBezTo>
                  <a:cubicBezTo>
                    <a:pt x="270434" y="90139"/>
                    <a:pt x="261707" y="85460"/>
                    <a:pt x="255821" y="80513"/>
                  </a:cubicBezTo>
                  <a:cubicBezTo>
                    <a:pt x="251762" y="77171"/>
                    <a:pt x="225988" y="45284"/>
                    <a:pt x="240032" y="43747"/>
                  </a:cubicBezTo>
                  <a:cubicBezTo>
                    <a:pt x="243157" y="43413"/>
                    <a:pt x="270799" y="83187"/>
                    <a:pt x="276116" y="87198"/>
                  </a:cubicBezTo>
                  <a:cubicBezTo>
                    <a:pt x="286020" y="94685"/>
                    <a:pt x="292352" y="90774"/>
                    <a:pt x="297020" y="84290"/>
                  </a:cubicBezTo>
                  <a:cubicBezTo>
                    <a:pt x="298359" y="82351"/>
                    <a:pt x="307573" y="68480"/>
                    <a:pt x="308223" y="69984"/>
                  </a:cubicBezTo>
                  <a:cubicBezTo>
                    <a:pt x="309522" y="65957"/>
                    <a:pt x="311957" y="62237"/>
                    <a:pt x="315326" y="5912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3E213CC7-088C-459B-878A-86467F4928C2}"/>
                </a:ext>
              </a:extLst>
            </p:cNvPr>
            <p:cNvSpPr/>
            <p:nvPr/>
          </p:nvSpPr>
          <p:spPr>
            <a:xfrm>
              <a:off x="6066398" y="4809203"/>
              <a:ext cx="152648" cy="107365"/>
            </a:xfrm>
            <a:custGeom>
              <a:avLst/>
              <a:gdLst>
                <a:gd name="connsiteX0" fmla="*/ 73379 w 152648"/>
                <a:gd name="connsiteY0" fmla="*/ 102013 h 107365"/>
                <a:gd name="connsiteX1" fmla="*/ 75774 w 152648"/>
                <a:gd name="connsiteY1" fmla="*/ 84834 h 107365"/>
                <a:gd name="connsiteX2" fmla="*/ 100818 w 152648"/>
                <a:gd name="connsiteY2" fmla="*/ 76277 h 107365"/>
                <a:gd name="connsiteX3" fmla="*/ 116120 w 152648"/>
                <a:gd name="connsiteY3" fmla="*/ 79920 h 107365"/>
                <a:gd name="connsiteX4" fmla="*/ 148348 w 152648"/>
                <a:gd name="connsiteY4" fmla="*/ 80823 h 107365"/>
                <a:gd name="connsiteX5" fmla="*/ 150662 w 152648"/>
                <a:gd name="connsiteY5" fmla="*/ 51911 h 107365"/>
                <a:gd name="connsiteX6" fmla="*/ 144817 w 152648"/>
                <a:gd name="connsiteY6" fmla="*/ 30654 h 107365"/>
                <a:gd name="connsiteX7" fmla="*/ 123629 w 152648"/>
                <a:gd name="connsiteY7" fmla="*/ 19424 h 107365"/>
                <a:gd name="connsiteX8" fmla="*/ 118596 w 152648"/>
                <a:gd name="connsiteY8" fmla="*/ 1375 h 107365"/>
                <a:gd name="connsiteX9" fmla="*/ 73948 w 152648"/>
                <a:gd name="connsiteY9" fmla="*/ 539 h 107365"/>
                <a:gd name="connsiteX10" fmla="*/ 70132 w 152648"/>
                <a:gd name="connsiteY10" fmla="*/ 22933 h 107365"/>
                <a:gd name="connsiteX11" fmla="*/ 38513 w 152648"/>
                <a:gd name="connsiteY11" fmla="*/ 23902 h 107365"/>
                <a:gd name="connsiteX12" fmla="*/ 18867 w 152648"/>
                <a:gd name="connsiteY12" fmla="*/ 25106 h 107365"/>
                <a:gd name="connsiteX13" fmla="*/ 24955 w 152648"/>
                <a:gd name="connsiteY13" fmla="*/ 37238 h 107365"/>
                <a:gd name="connsiteX14" fmla="*/ 13875 w 152648"/>
                <a:gd name="connsiteY14" fmla="*/ 41116 h 107365"/>
                <a:gd name="connsiteX15" fmla="*/ 6162 w 152648"/>
                <a:gd name="connsiteY15" fmla="*/ 50775 h 107365"/>
                <a:gd name="connsiteX16" fmla="*/ 9328 w 152648"/>
                <a:gd name="connsiteY16" fmla="*/ 66918 h 107365"/>
                <a:gd name="connsiteX17" fmla="*/ 60147 w 152648"/>
                <a:gd name="connsiteY17" fmla="*/ 107027 h 107365"/>
                <a:gd name="connsiteX18" fmla="*/ 73379 w 152648"/>
                <a:gd name="connsiteY18" fmla="*/ 102013 h 10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2648" h="107365">
                  <a:moveTo>
                    <a:pt x="73379" y="102013"/>
                  </a:moveTo>
                  <a:cubicBezTo>
                    <a:pt x="91320" y="102013"/>
                    <a:pt x="75287" y="90215"/>
                    <a:pt x="75774" y="84834"/>
                  </a:cubicBezTo>
                  <a:cubicBezTo>
                    <a:pt x="76423" y="77614"/>
                    <a:pt x="97205" y="84165"/>
                    <a:pt x="100818" y="76277"/>
                  </a:cubicBezTo>
                  <a:cubicBezTo>
                    <a:pt x="105242" y="66684"/>
                    <a:pt x="111899" y="75508"/>
                    <a:pt x="116120" y="79920"/>
                  </a:cubicBezTo>
                  <a:cubicBezTo>
                    <a:pt x="120341" y="84332"/>
                    <a:pt x="144533" y="86605"/>
                    <a:pt x="148348" y="80823"/>
                  </a:cubicBezTo>
                  <a:cubicBezTo>
                    <a:pt x="153057" y="71675"/>
                    <a:pt x="153869" y="61487"/>
                    <a:pt x="150662" y="51911"/>
                  </a:cubicBezTo>
                  <a:cubicBezTo>
                    <a:pt x="145913" y="39912"/>
                    <a:pt x="125050" y="42486"/>
                    <a:pt x="144817" y="30654"/>
                  </a:cubicBezTo>
                  <a:cubicBezTo>
                    <a:pt x="160810" y="21162"/>
                    <a:pt x="134954" y="17485"/>
                    <a:pt x="123629" y="19424"/>
                  </a:cubicBezTo>
                  <a:cubicBezTo>
                    <a:pt x="108489" y="22031"/>
                    <a:pt x="117419" y="6723"/>
                    <a:pt x="118596" y="1375"/>
                  </a:cubicBezTo>
                  <a:cubicBezTo>
                    <a:pt x="105242" y="1007"/>
                    <a:pt x="86977" y="-1700"/>
                    <a:pt x="73948" y="539"/>
                  </a:cubicBezTo>
                  <a:cubicBezTo>
                    <a:pt x="65221" y="2043"/>
                    <a:pt x="76545" y="18755"/>
                    <a:pt x="70132" y="22933"/>
                  </a:cubicBezTo>
                  <a:cubicBezTo>
                    <a:pt x="66844" y="25106"/>
                    <a:pt x="43546" y="23769"/>
                    <a:pt x="38513" y="23902"/>
                  </a:cubicBezTo>
                  <a:cubicBezTo>
                    <a:pt x="31815" y="24069"/>
                    <a:pt x="25524" y="24437"/>
                    <a:pt x="18867" y="25106"/>
                  </a:cubicBezTo>
                  <a:cubicBezTo>
                    <a:pt x="9734" y="33929"/>
                    <a:pt x="19963" y="29484"/>
                    <a:pt x="24955" y="37238"/>
                  </a:cubicBezTo>
                  <a:cubicBezTo>
                    <a:pt x="26457" y="39611"/>
                    <a:pt x="15782" y="40581"/>
                    <a:pt x="13875" y="41116"/>
                  </a:cubicBezTo>
                  <a:cubicBezTo>
                    <a:pt x="7664" y="42854"/>
                    <a:pt x="9816" y="47800"/>
                    <a:pt x="6162" y="50775"/>
                  </a:cubicBezTo>
                  <a:cubicBezTo>
                    <a:pt x="-3741" y="59031"/>
                    <a:pt x="-1184" y="58362"/>
                    <a:pt x="9328" y="66918"/>
                  </a:cubicBezTo>
                  <a:cubicBezTo>
                    <a:pt x="24875" y="79653"/>
                    <a:pt x="39446" y="96498"/>
                    <a:pt x="60147" y="107027"/>
                  </a:cubicBezTo>
                  <a:cubicBezTo>
                    <a:pt x="63435" y="103815"/>
                    <a:pt x="68265" y="101976"/>
                    <a:pt x="73379" y="10201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80EDBAAF-4649-40A6-BB94-6DA858A81E0E}"/>
                </a:ext>
              </a:extLst>
            </p:cNvPr>
            <p:cNvSpPr/>
            <p:nvPr/>
          </p:nvSpPr>
          <p:spPr>
            <a:xfrm>
              <a:off x="6079224" y="4810515"/>
              <a:ext cx="58975" cy="24131"/>
            </a:xfrm>
            <a:custGeom>
              <a:avLst/>
              <a:gdLst>
                <a:gd name="connsiteX0" fmla="*/ 57346 w 58975"/>
                <a:gd name="connsiteY0" fmla="*/ 21621 h 24131"/>
                <a:gd name="connsiteX1" fmla="*/ 58564 w 58975"/>
                <a:gd name="connsiteY1" fmla="*/ -339 h 24131"/>
                <a:gd name="connsiteX2" fmla="*/ 12495 w 58975"/>
                <a:gd name="connsiteY2" fmla="*/ 898 h 24131"/>
                <a:gd name="connsiteX3" fmla="*/ 6203 w 58975"/>
                <a:gd name="connsiteY3" fmla="*/ 12529 h 24131"/>
                <a:gd name="connsiteX4" fmla="*/ 6203 w 58975"/>
                <a:gd name="connsiteY4" fmla="*/ 23793 h 24131"/>
                <a:gd name="connsiteX5" fmla="*/ 57346 w 58975"/>
                <a:gd name="connsiteY5" fmla="*/ 21621 h 2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975" h="24131">
                  <a:moveTo>
                    <a:pt x="57346" y="21621"/>
                  </a:moveTo>
                  <a:cubicBezTo>
                    <a:pt x="58889" y="14374"/>
                    <a:pt x="59294" y="6995"/>
                    <a:pt x="58564" y="-339"/>
                  </a:cubicBezTo>
                  <a:cubicBezTo>
                    <a:pt x="44967" y="3004"/>
                    <a:pt x="26782" y="831"/>
                    <a:pt x="12495" y="898"/>
                  </a:cubicBezTo>
                  <a:cubicBezTo>
                    <a:pt x="15620" y="5544"/>
                    <a:pt x="15701" y="10557"/>
                    <a:pt x="6203" y="12529"/>
                  </a:cubicBezTo>
                  <a:cubicBezTo>
                    <a:pt x="-10033" y="15872"/>
                    <a:pt x="10993" y="19214"/>
                    <a:pt x="6203" y="23793"/>
                  </a:cubicBezTo>
                  <a:cubicBezTo>
                    <a:pt x="22967" y="22022"/>
                    <a:pt x="40258" y="22189"/>
                    <a:pt x="57346" y="2162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3519CC23-B5F0-408D-92F7-17FB60451A16}"/>
                </a:ext>
              </a:extLst>
            </p:cNvPr>
            <p:cNvSpPr/>
            <p:nvPr/>
          </p:nvSpPr>
          <p:spPr>
            <a:xfrm>
              <a:off x="6126482" y="4788559"/>
              <a:ext cx="199106" cy="147629"/>
            </a:xfrm>
            <a:custGeom>
              <a:avLst/>
              <a:gdLst>
                <a:gd name="connsiteX0" fmla="*/ 52586 w 199106"/>
                <a:gd name="connsiteY0" fmla="*/ 138634 h 147629"/>
                <a:gd name="connsiteX1" fmla="*/ 64763 w 199106"/>
                <a:gd name="connsiteY1" fmla="*/ 141976 h 147629"/>
                <a:gd name="connsiteX2" fmla="*/ 88710 w 199106"/>
                <a:gd name="connsiteY2" fmla="*/ 136896 h 147629"/>
                <a:gd name="connsiteX3" fmla="*/ 96220 w 199106"/>
                <a:gd name="connsiteY3" fmla="*/ 144583 h 147629"/>
                <a:gd name="connsiteX4" fmla="*/ 113754 w 199106"/>
                <a:gd name="connsiteY4" fmla="*/ 137899 h 147629"/>
                <a:gd name="connsiteX5" fmla="*/ 129179 w 199106"/>
                <a:gd name="connsiteY5" fmla="*/ 124997 h 147629"/>
                <a:gd name="connsiteX6" fmla="*/ 135632 w 199106"/>
                <a:gd name="connsiteY6" fmla="*/ 93245 h 147629"/>
                <a:gd name="connsiteX7" fmla="*/ 154060 w 199106"/>
                <a:gd name="connsiteY7" fmla="*/ 78973 h 147629"/>
                <a:gd name="connsiteX8" fmla="*/ 170012 w 199106"/>
                <a:gd name="connsiteY8" fmla="*/ 56445 h 147629"/>
                <a:gd name="connsiteX9" fmla="*/ 184381 w 199106"/>
                <a:gd name="connsiteY9" fmla="*/ 28102 h 147629"/>
                <a:gd name="connsiteX10" fmla="*/ 198506 w 199106"/>
                <a:gd name="connsiteY10" fmla="*/ 996 h 147629"/>
                <a:gd name="connsiteX11" fmla="*/ 160108 w 199106"/>
                <a:gd name="connsiteY11" fmla="*/ 461 h 147629"/>
                <a:gd name="connsiteX12" fmla="*/ 145455 w 199106"/>
                <a:gd name="connsiteY12" fmla="*/ 7981 h 147629"/>
                <a:gd name="connsiteX13" fmla="*/ 131248 w 199106"/>
                <a:gd name="connsiteY13" fmla="*/ 31378 h 147629"/>
                <a:gd name="connsiteX14" fmla="*/ 94312 w 199106"/>
                <a:gd name="connsiteY14" fmla="*/ 22387 h 147629"/>
                <a:gd name="connsiteX15" fmla="*/ 67319 w 199106"/>
                <a:gd name="connsiteY15" fmla="*/ 22387 h 147629"/>
                <a:gd name="connsiteX16" fmla="*/ 55508 w 199106"/>
                <a:gd name="connsiteY16" fmla="*/ 37661 h 147629"/>
                <a:gd name="connsiteX17" fmla="*/ 88629 w 199106"/>
                <a:gd name="connsiteY17" fmla="*/ 45750 h 147629"/>
                <a:gd name="connsiteX18" fmla="*/ 74220 w 199106"/>
                <a:gd name="connsiteY18" fmla="*/ 58852 h 147629"/>
                <a:gd name="connsiteX19" fmla="*/ 90456 w 199106"/>
                <a:gd name="connsiteY19" fmla="*/ 72689 h 147629"/>
                <a:gd name="connsiteX20" fmla="*/ 76168 w 199106"/>
                <a:gd name="connsiteY20" fmla="*/ 105210 h 147629"/>
                <a:gd name="connsiteX21" fmla="*/ 55873 w 199106"/>
                <a:gd name="connsiteY21" fmla="*/ 100698 h 147629"/>
                <a:gd name="connsiteX22" fmla="*/ 43291 w 199106"/>
                <a:gd name="connsiteY22" fmla="*/ 93044 h 147629"/>
                <a:gd name="connsiteX23" fmla="*/ 33873 w 199106"/>
                <a:gd name="connsiteY23" fmla="*/ 101768 h 147629"/>
                <a:gd name="connsiteX24" fmla="*/ 15527 w 199106"/>
                <a:gd name="connsiteY24" fmla="*/ 105611 h 147629"/>
                <a:gd name="connsiteX25" fmla="*/ 21291 w 199106"/>
                <a:gd name="connsiteY25" fmla="*/ 121120 h 147629"/>
                <a:gd name="connsiteX26" fmla="*/ -60 w 199106"/>
                <a:gd name="connsiteY26" fmla="*/ 127805 h 147629"/>
                <a:gd name="connsiteX27" fmla="*/ 26486 w 199106"/>
                <a:gd name="connsiteY27" fmla="*/ 147291 h 147629"/>
                <a:gd name="connsiteX28" fmla="*/ 52423 w 199106"/>
                <a:gd name="connsiteY28" fmla="*/ 138935 h 147629"/>
                <a:gd name="connsiteX29" fmla="*/ 52586 w 199106"/>
                <a:gd name="connsiteY29" fmla="*/ 138634 h 14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99106" h="147629">
                  <a:moveTo>
                    <a:pt x="52586" y="138634"/>
                  </a:moveTo>
                  <a:cubicBezTo>
                    <a:pt x="57050" y="139603"/>
                    <a:pt x="59323" y="142645"/>
                    <a:pt x="64763" y="141976"/>
                  </a:cubicBezTo>
                  <a:cubicBezTo>
                    <a:pt x="73327" y="140974"/>
                    <a:pt x="78685" y="134657"/>
                    <a:pt x="88710" y="136896"/>
                  </a:cubicBezTo>
                  <a:cubicBezTo>
                    <a:pt x="93256" y="137932"/>
                    <a:pt x="93337" y="144951"/>
                    <a:pt x="96220" y="144583"/>
                  </a:cubicBezTo>
                  <a:cubicBezTo>
                    <a:pt x="103201" y="143714"/>
                    <a:pt x="106083" y="138467"/>
                    <a:pt x="113754" y="137899"/>
                  </a:cubicBezTo>
                  <a:cubicBezTo>
                    <a:pt x="127758" y="136829"/>
                    <a:pt x="117529" y="127270"/>
                    <a:pt x="129179" y="124997"/>
                  </a:cubicBezTo>
                  <a:cubicBezTo>
                    <a:pt x="138067" y="123259"/>
                    <a:pt x="135145" y="98593"/>
                    <a:pt x="135632" y="93245"/>
                  </a:cubicBezTo>
                  <a:cubicBezTo>
                    <a:pt x="136322" y="85657"/>
                    <a:pt x="145820" y="83819"/>
                    <a:pt x="154060" y="78973"/>
                  </a:cubicBezTo>
                  <a:cubicBezTo>
                    <a:pt x="162299" y="74127"/>
                    <a:pt x="164370" y="63197"/>
                    <a:pt x="170012" y="56445"/>
                  </a:cubicBezTo>
                  <a:cubicBezTo>
                    <a:pt x="178130" y="46686"/>
                    <a:pt x="179226" y="38196"/>
                    <a:pt x="184381" y="28102"/>
                  </a:cubicBezTo>
                  <a:cubicBezTo>
                    <a:pt x="189536" y="18008"/>
                    <a:pt x="201753" y="13128"/>
                    <a:pt x="198506" y="996"/>
                  </a:cubicBezTo>
                  <a:cubicBezTo>
                    <a:pt x="184015" y="60"/>
                    <a:pt x="174680" y="-1177"/>
                    <a:pt x="160108" y="461"/>
                  </a:cubicBezTo>
                  <a:cubicBezTo>
                    <a:pt x="146551" y="1998"/>
                    <a:pt x="147931" y="661"/>
                    <a:pt x="145455" y="7981"/>
                  </a:cubicBezTo>
                  <a:cubicBezTo>
                    <a:pt x="142654" y="16203"/>
                    <a:pt x="132994" y="22387"/>
                    <a:pt x="131248" y="31378"/>
                  </a:cubicBezTo>
                  <a:cubicBezTo>
                    <a:pt x="120005" y="27801"/>
                    <a:pt x="106894" y="23256"/>
                    <a:pt x="94312" y="22387"/>
                  </a:cubicBezTo>
                  <a:cubicBezTo>
                    <a:pt x="85585" y="21785"/>
                    <a:pt x="76087" y="22387"/>
                    <a:pt x="67319" y="22387"/>
                  </a:cubicBezTo>
                  <a:cubicBezTo>
                    <a:pt x="53275" y="22052"/>
                    <a:pt x="56523" y="30241"/>
                    <a:pt x="55508" y="37661"/>
                  </a:cubicBezTo>
                  <a:cubicBezTo>
                    <a:pt x="54371" y="45683"/>
                    <a:pt x="87087" y="31679"/>
                    <a:pt x="88629" y="45750"/>
                  </a:cubicBezTo>
                  <a:cubicBezTo>
                    <a:pt x="89360" y="52635"/>
                    <a:pt x="73165" y="52435"/>
                    <a:pt x="74220" y="58852"/>
                  </a:cubicBezTo>
                  <a:cubicBezTo>
                    <a:pt x="75275" y="65269"/>
                    <a:pt x="88183" y="66673"/>
                    <a:pt x="90456" y="72689"/>
                  </a:cubicBezTo>
                  <a:cubicBezTo>
                    <a:pt x="93094" y="79374"/>
                    <a:pt x="96017" y="107985"/>
                    <a:pt x="76168" y="105210"/>
                  </a:cubicBezTo>
                  <a:cubicBezTo>
                    <a:pt x="70770" y="104475"/>
                    <a:pt x="58796" y="103673"/>
                    <a:pt x="55873" y="100698"/>
                  </a:cubicBezTo>
                  <a:cubicBezTo>
                    <a:pt x="54290" y="99060"/>
                    <a:pt x="48973" y="89434"/>
                    <a:pt x="43291" y="93044"/>
                  </a:cubicBezTo>
                  <a:cubicBezTo>
                    <a:pt x="39597" y="95417"/>
                    <a:pt x="41342" y="101835"/>
                    <a:pt x="33873" y="101768"/>
                  </a:cubicBezTo>
                  <a:cubicBezTo>
                    <a:pt x="28638" y="101768"/>
                    <a:pt x="15974" y="100564"/>
                    <a:pt x="15527" y="105611"/>
                  </a:cubicBezTo>
                  <a:cubicBezTo>
                    <a:pt x="15121" y="110124"/>
                    <a:pt x="25593" y="116842"/>
                    <a:pt x="21291" y="121120"/>
                  </a:cubicBezTo>
                  <a:cubicBezTo>
                    <a:pt x="16988" y="125398"/>
                    <a:pt x="5055" y="122591"/>
                    <a:pt x="-60" y="127805"/>
                  </a:cubicBezTo>
                  <a:cubicBezTo>
                    <a:pt x="10494" y="132544"/>
                    <a:pt x="19546" y="139209"/>
                    <a:pt x="26486" y="147291"/>
                  </a:cubicBezTo>
                  <a:cubicBezTo>
                    <a:pt x="31114" y="145352"/>
                    <a:pt x="45929" y="137598"/>
                    <a:pt x="52423" y="138935"/>
                  </a:cubicBezTo>
                  <a:cubicBezTo>
                    <a:pt x="57700" y="139737"/>
                    <a:pt x="49744" y="138066"/>
                    <a:pt x="52586" y="13863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BBD16363-2288-44A1-88E6-5422152967E1}"/>
                </a:ext>
              </a:extLst>
            </p:cNvPr>
            <p:cNvSpPr/>
            <p:nvPr/>
          </p:nvSpPr>
          <p:spPr>
            <a:xfrm>
              <a:off x="6429155" y="4471099"/>
              <a:ext cx="486444" cy="336473"/>
            </a:xfrm>
            <a:custGeom>
              <a:avLst/>
              <a:gdLst>
                <a:gd name="connsiteX0" fmla="*/ 398416 w 486444"/>
                <a:gd name="connsiteY0" fmla="*/ 4708 h 336473"/>
                <a:gd name="connsiteX1" fmla="*/ 385468 w 486444"/>
                <a:gd name="connsiteY1" fmla="*/ 13933 h 336473"/>
                <a:gd name="connsiteX2" fmla="*/ 364442 w 486444"/>
                <a:gd name="connsiteY2" fmla="*/ 20150 h 336473"/>
                <a:gd name="connsiteX3" fmla="*/ 343457 w 486444"/>
                <a:gd name="connsiteY3" fmla="*/ 15571 h 336473"/>
                <a:gd name="connsiteX4" fmla="*/ 316221 w 486444"/>
                <a:gd name="connsiteY4" fmla="*/ 13565 h 336473"/>
                <a:gd name="connsiteX5" fmla="*/ 299620 w 486444"/>
                <a:gd name="connsiteY5" fmla="*/ 10223 h 336473"/>
                <a:gd name="connsiteX6" fmla="*/ 278757 w 486444"/>
                <a:gd name="connsiteY6" fmla="*/ 12061 h 336473"/>
                <a:gd name="connsiteX7" fmla="*/ 241415 w 486444"/>
                <a:gd name="connsiteY7" fmla="*/ 9621 h 336473"/>
                <a:gd name="connsiteX8" fmla="*/ 118509 w 486444"/>
                <a:gd name="connsiteY8" fmla="*/ 2669 h 336473"/>
                <a:gd name="connsiteX9" fmla="*/ 96266 w 486444"/>
                <a:gd name="connsiteY9" fmla="*/ 7148 h 336473"/>
                <a:gd name="connsiteX10" fmla="*/ 94561 w 486444"/>
                <a:gd name="connsiteY10" fmla="*/ 31915 h 336473"/>
                <a:gd name="connsiteX11" fmla="*/ 85428 w 486444"/>
                <a:gd name="connsiteY11" fmla="*/ 36995 h 336473"/>
                <a:gd name="connsiteX12" fmla="*/ 65945 w 486444"/>
                <a:gd name="connsiteY12" fmla="*/ 45452 h 336473"/>
                <a:gd name="connsiteX13" fmla="*/ 63550 w 486444"/>
                <a:gd name="connsiteY13" fmla="*/ 82552 h 336473"/>
                <a:gd name="connsiteX14" fmla="*/ 62455 w 486444"/>
                <a:gd name="connsiteY14" fmla="*/ 101804 h 336473"/>
                <a:gd name="connsiteX15" fmla="*/ 50683 w 486444"/>
                <a:gd name="connsiteY15" fmla="*/ 110594 h 336473"/>
                <a:gd name="connsiteX16" fmla="*/ 29739 w 486444"/>
                <a:gd name="connsiteY16" fmla="*/ 124665 h 336473"/>
                <a:gd name="connsiteX17" fmla="*/ 15046 w 486444"/>
                <a:gd name="connsiteY17" fmla="*/ 135762 h 336473"/>
                <a:gd name="connsiteX18" fmla="*/ 3396 w 486444"/>
                <a:gd name="connsiteY18" fmla="*/ 143617 h 336473"/>
                <a:gd name="connsiteX19" fmla="*/ 190 w 486444"/>
                <a:gd name="connsiteY19" fmla="*/ 158791 h 336473"/>
                <a:gd name="connsiteX20" fmla="*/ 12367 w 486444"/>
                <a:gd name="connsiteY20" fmla="*/ 163504 h 336473"/>
                <a:gd name="connsiteX21" fmla="*/ 13381 w 486444"/>
                <a:gd name="connsiteY21" fmla="*/ 178043 h 336473"/>
                <a:gd name="connsiteX22" fmla="*/ 25558 w 486444"/>
                <a:gd name="connsiteY22" fmla="*/ 187234 h 336473"/>
                <a:gd name="connsiteX23" fmla="*/ 27101 w 486444"/>
                <a:gd name="connsiteY23" fmla="*/ 197262 h 336473"/>
                <a:gd name="connsiteX24" fmla="*/ 42606 w 486444"/>
                <a:gd name="connsiteY24" fmla="*/ 211065 h 336473"/>
                <a:gd name="connsiteX25" fmla="*/ 47680 w 486444"/>
                <a:gd name="connsiteY25" fmla="*/ 218653 h 336473"/>
                <a:gd name="connsiteX26" fmla="*/ 38222 w 486444"/>
                <a:gd name="connsiteY26" fmla="*/ 227944 h 336473"/>
                <a:gd name="connsiteX27" fmla="*/ 49953 w 486444"/>
                <a:gd name="connsiteY27" fmla="*/ 233325 h 336473"/>
                <a:gd name="connsiteX28" fmla="*/ 59085 w 486444"/>
                <a:gd name="connsiteY28" fmla="*/ 239409 h 336473"/>
                <a:gd name="connsiteX29" fmla="*/ 86808 w 486444"/>
                <a:gd name="connsiteY29" fmla="*/ 253213 h 336473"/>
                <a:gd name="connsiteX30" fmla="*/ 90502 w 486444"/>
                <a:gd name="connsiteY30" fmla="*/ 259530 h 336473"/>
                <a:gd name="connsiteX31" fmla="*/ 106373 w 486444"/>
                <a:gd name="connsiteY31" fmla="*/ 267719 h 336473"/>
                <a:gd name="connsiteX32" fmla="*/ 119686 w 486444"/>
                <a:gd name="connsiteY32" fmla="*/ 283060 h 336473"/>
                <a:gd name="connsiteX33" fmla="*/ 135191 w 486444"/>
                <a:gd name="connsiteY33" fmla="*/ 289979 h 336473"/>
                <a:gd name="connsiteX34" fmla="*/ 160885 w 486444"/>
                <a:gd name="connsiteY34" fmla="*/ 314077 h 336473"/>
                <a:gd name="connsiteX35" fmla="*/ 191002 w 486444"/>
                <a:gd name="connsiteY35" fmla="*/ 315548 h 336473"/>
                <a:gd name="connsiteX36" fmla="*/ 209267 w 486444"/>
                <a:gd name="connsiteY36" fmla="*/ 316550 h 336473"/>
                <a:gd name="connsiteX37" fmla="*/ 240237 w 486444"/>
                <a:gd name="connsiteY37" fmla="*/ 333496 h 336473"/>
                <a:gd name="connsiteX38" fmla="*/ 267067 w 486444"/>
                <a:gd name="connsiteY38" fmla="*/ 333997 h 336473"/>
                <a:gd name="connsiteX39" fmla="*/ 288661 w 486444"/>
                <a:gd name="connsiteY39" fmla="*/ 333496 h 336473"/>
                <a:gd name="connsiteX40" fmla="*/ 315085 w 486444"/>
                <a:gd name="connsiteY40" fmla="*/ 334566 h 336473"/>
                <a:gd name="connsiteX41" fmla="*/ 339439 w 486444"/>
                <a:gd name="connsiteY41" fmla="*/ 322667 h 336473"/>
                <a:gd name="connsiteX42" fmla="*/ 376700 w 486444"/>
                <a:gd name="connsiteY42" fmla="*/ 325742 h 336473"/>
                <a:gd name="connsiteX43" fmla="*/ 370409 w 486444"/>
                <a:gd name="connsiteY43" fmla="*/ 308763 h 336473"/>
                <a:gd name="connsiteX44" fmla="*/ 340413 w 486444"/>
                <a:gd name="connsiteY44" fmla="*/ 283026 h 336473"/>
                <a:gd name="connsiteX45" fmla="*/ 316506 w 486444"/>
                <a:gd name="connsiteY45" fmla="*/ 269089 h 336473"/>
                <a:gd name="connsiteX46" fmla="*/ 313827 w 486444"/>
                <a:gd name="connsiteY46" fmla="*/ 254149 h 336473"/>
                <a:gd name="connsiteX47" fmla="*/ 336923 w 486444"/>
                <a:gd name="connsiteY47" fmla="*/ 253179 h 336473"/>
                <a:gd name="connsiteX48" fmla="*/ 349099 w 486444"/>
                <a:gd name="connsiteY48" fmla="*/ 227276 h 336473"/>
                <a:gd name="connsiteX49" fmla="*/ 351250 w 486444"/>
                <a:gd name="connsiteY49" fmla="*/ 218653 h 336473"/>
                <a:gd name="connsiteX50" fmla="*/ 368623 w 486444"/>
                <a:gd name="connsiteY50" fmla="*/ 212603 h 336473"/>
                <a:gd name="connsiteX51" fmla="*/ 373737 w 486444"/>
                <a:gd name="connsiteY51" fmla="*/ 200637 h 336473"/>
                <a:gd name="connsiteX52" fmla="*/ 389202 w 486444"/>
                <a:gd name="connsiteY52" fmla="*/ 189975 h 336473"/>
                <a:gd name="connsiteX53" fmla="*/ 402028 w 486444"/>
                <a:gd name="connsiteY53" fmla="*/ 186633 h 336473"/>
                <a:gd name="connsiteX54" fmla="*/ 413718 w 486444"/>
                <a:gd name="connsiteY54" fmla="*/ 174968 h 336473"/>
                <a:gd name="connsiteX55" fmla="*/ 422201 w 486444"/>
                <a:gd name="connsiteY55" fmla="*/ 144887 h 336473"/>
                <a:gd name="connsiteX56" fmla="*/ 438681 w 486444"/>
                <a:gd name="connsiteY56" fmla="*/ 130214 h 336473"/>
                <a:gd name="connsiteX57" fmla="*/ 445135 w 486444"/>
                <a:gd name="connsiteY57" fmla="*/ 117981 h 336473"/>
                <a:gd name="connsiteX58" fmla="*/ 478580 w 486444"/>
                <a:gd name="connsiteY58" fmla="*/ 107787 h 336473"/>
                <a:gd name="connsiteX59" fmla="*/ 468352 w 486444"/>
                <a:gd name="connsiteY59" fmla="*/ 88735 h 336473"/>
                <a:gd name="connsiteX60" fmla="*/ 458407 w 486444"/>
                <a:gd name="connsiteY60" fmla="*/ 56782 h 336473"/>
                <a:gd name="connsiteX61" fmla="*/ 451710 w 486444"/>
                <a:gd name="connsiteY61" fmla="*/ 27804 h 336473"/>
                <a:gd name="connsiteX62" fmla="*/ 416113 w 486444"/>
                <a:gd name="connsiteY62" fmla="*/ -339 h 336473"/>
                <a:gd name="connsiteX63" fmla="*/ 398416 w 486444"/>
                <a:gd name="connsiteY63" fmla="*/ 4708 h 33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444" h="336473">
                  <a:moveTo>
                    <a:pt x="398416" y="4708"/>
                  </a:moveTo>
                  <a:cubicBezTo>
                    <a:pt x="391475" y="4140"/>
                    <a:pt x="389445" y="11894"/>
                    <a:pt x="385468" y="13933"/>
                  </a:cubicBezTo>
                  <a:cubicBezTo>
                    <a:pt x="378121" y="17677"/>
                    <a:pt x="370652" y="14334"/>
                    <a:pt x="364442" y="20150"/>
                  </a:cubicBezTo>
                  <a:cubicBezTo>
                    <a:pt x="358232" y="25966"/>
                    <a:pt x="348693" y="16808"/>
                    <a:pt x="343457" y="15571"/>
                  </a:cubicBezTo>
                  <a:cubicBezTo>
                    <a:pt x="335583" y="13833"/>
                    <a:pt x="324421" y="14134"/>
                    <a:pt x="316221" y="13565"/>
                  </a:cubicBezTo>
                  <a:cubicBezTo>
                    <a:pt x="310417" y="13722"/>
                    <a:pt x="304694" y="12566"/>
                    <a:pt x="299620" y="10223"/>
                  </a:cubicBezTo>
                  <a:cubicBezTo>
                    <a:pt x="290284" y="6145"/>
                    <a:pt x="286956" y="12630"/>
                    <a:pt x="278757" y="12061"/>
                  </a:cubicBezTo>
                  <a:lnTo>
                    <a:pt x="241415" y="9621"/>
                  </a:lnTo>
                  <a:cubicBezTo>
                    <a:pt x="200460" y="7015"/>
                    <a:pt x="159464" y="4698"/>
                    <a:pt x="118509" y="2669"/>
                  </a:cubicBezTo>
                  <a:cubicBezTo>
                    <a:pt x="104830" y="2001"/>
                    <a:pt x="96875" y="-1341"/>
                    <a:pt x="96266" y="7148"/>
                  </a:cubicBezTo>
                  <a:lnTo>
                    <a:pt x="94561" y="31915"/>
                  </a:lnTo>
                  <a:cubicBezTo>
                    <a:pt x="94155" y="37630"/>
                    <a:pt x="95616" y="37463"/>
                    <a:pt x="85428" y="36995"/>
                  </a:cubicBezTo>
                  <a:cubicBezTo>
                    <a:pt x="65864" y="36093"/>
                    <a:pt x="66635" y="34723"/>
                    <a:pt x="65945" y="45452"/>
                  </a:cubicBezTo>
                  <a:cubicBezTo>
                    <a:pt x="65174" y="57818"/>
                    <a:pt x="64362" y="70185"/>
                    <a:pt x="63550" y="82552"/>
                  </a:cubicBezTo>
                  <a:cubicBezTo>
                    <a:pt x="63144" y="88936"/>
                    <a:pt x="63550" y="95453"/>
                    <a:pt x="62455" y="101804"/>
                  </a:cubicBezTo>
                  <a:cubicBezTo>
                    <a:pt x="61359" y="108154"/>
                    <a:pt x="60222" y="109057"/>
                    <a:pt x="50683" y="110594"/>
                  </a:cubicBezTo>
                  <a:cubicBezTo>
                    <a:pt x="32661" y="113502"/>
                    <a:pt x="37248" y="116777"/>
                    <a:pt x="29739" y="124665"/>
                  </a:cubicBezTo>
                  <a:cubicBezTo>
                    <a:pt x="23975" y="130682"/>
                    <a:pt x="17562" y="127573"/>
                    <a:pt x="15046" y="135762"/>
                  </a:cubicBezTo>
                  <a:cubicBezTo>
                    <a:pt x="13503" y="141010"/>
                    <a:pt x="311" y="138670"/>
                    <a:pt x="3396" y="143617"/>
                  </a:cubicBezTo>
                  <a:cubicBezTo>
                    <a:pt x="8105" y="151137"/>
                    <a:pt x="-1718" y="152541"/>
                    <a:pt x="190" y="158791"/>
                  </a:cubicBezTo>
                  <a:cubicBezTo>
                    <a:pt x="1529" y="163103"/>
                    <a:pt x="9160" y="160796"/>
                    <a:pt x="12367" y="163504"/>
                  </a:cubicBezTo>
                  <a:cubicBezTo>
                    <a:pt x="17238" y="167481"/>
                    <a:pt x="10500" y="173531"/>
                    <a:pt x="13381" y="178043"/>
                  </a:cubicBezTo>
                  <a:cubicBezTo>
                    <a:pt x="15249" y="180951"/>
                    <a:pt x="26776" y="185095"/>
                    <a:pt x="25558" y="187234"/>
                  </a:cubicBezTo>
                  <a:cubicBezTo>
                    <a:pt x="22555" y="192616"/>
                    <a:pt x="21499" y="192716"/>
                    <a:pt x="27101" y="197262"/>
                  </a:cubicBezTo>
                  <a:cubicBezTo>
                    <a:pt x="32702" y="201807"/>
                    <a:pt x="40170" y="206186"/>
                    <a:pt x="42606" y="211065"/>
                  </a:cubicBezTo>
                  <a:cubicBezTo>
                    <a:pt x="43864" y="213672"/>
                    <a:pt x="46665" y="216012"/>
                    <a:pt x="47680" y="218653"/>
                  </a:cubicBezTo>
                  <a:cubicBezTo>
                    <a:pt x="50602" y="224970"/>
                    <a:pt x="43093" y="224067"/>
                    <a:pt x="38222" y="227944"/>
                  </a:cubicBezTo>
                  <a:cubicBezTo>
                    <a:pt x="33352" y="231821"/>
                    <a:pt x="46706" y="232924"/>
                    <a:pt x="49953" y="233325"/>
                  </a:cubicBezTo>
                  <a:cubicBezTo>
                    <a:pt x="55270" y="234027"/>
                    <a:pt x="52469" y="238473"/>
                    <a:pt x="59085" y="239409"/>
                  </a:cubicBezTo>
                  <a:cubicBezTo>
                    <a:pt x="71912" y="241214"/>
                    <a:pt x="79380" y="247129"/>
                    <a:pt x="86808" y="253213"/>
                  </a:cubicBezTo>
                  <a:cubicBezTo>
                    <a:pt x="89365" y="255285"/>
                    <a:pt x="88188" y="257591"/>
                    <a:pt x="90502" y="259530"/>
                  </a:cubicBezTo>
                  <a:cubicBezTo>
                    <a:pt x="94277" y="262872"/>
                    <a:pt x="101705" y="265078"/>
                    <a:pt x="106373" y="267719"/>
                  </a:cubicBezTo>
                  <a:cubicBezTo>
                    <a:pt x="114937" y="272598"/>
                    <a:pt x="112420" y="279116"/>
                    <a:pt x="119686" y="283060"/>
                  </a:cubicBezTo>
                  <a:cubicBezTo>
                    <a:pt x="123258" y="284998"/>
                    <a:pt x="133689" y="287372"/>
                    <a:pt x="135191" y="289979"/>
                  </a:cubicBezTo>
                  <a:cubicBezTo>
                    <a:pt x="139981" y="298334"/>
                    <a:pt x="147612" y="309197"/>
                    <a:pt x="160885" y="314077"/>
                  </a:cubicBezTo>
                  <a:cubicBezTo>
                    <a:pt x="172372" y="318255"/>
                    <a:pt x="180733" y="309999"/>
                    <a:pt x="191002" y="315548"/>
                  </a:cubicBezTo>
                  <a:cubicBezTo>
                    <a:pt x="195061" y="317653"/>
                    <a:pt x="202367" y="312740"/>
                    <a:pt x="209267" y="316550"/>
                  </a:cubicBezTo>
                  <a:cubicBezTo>
                    <a:pt x="215275" y="319893"/>
                    <a:pt x="233946" y="334398"/>
                    <a:pt x="240237" y="333496"/>
                  </a:cubicBezTo>
                  <a:cubicBezTo>
                    <a:pt x="249330" y="332193"/>
                    <a:pt x="258665" y="330154"/>
                    <a:pt x="267067" y="333997"/>
                  </a:cubicBezTo>
                  <a:cubicBezTo>
                    <a:pt x="276971" y="338576"/>
                    <a:pt x="277905" y="334532"/>
                    <a:pt x="288661" y="333496"/>
                  </a:cubicBezTo>
                  <a:cubicBezTo>
                    <a:pt x="293532" y="333028"/>
                    <a:pt x="313583" y="338777"/>
                    <a:pt x="315085" y="334566"/>
                  </a:cubicBezTo>
                  <a:cubicBezTo>
                    <a:pt x="316181" y="331524"/>
                    <a:pt x="333878" y="324204"/>
                    <a:pt x="339439" y="322667"/>
                  </a:cubicBezTo>
                  <a:cubicBezTo>
                    <a:pt x="355188" y="318188"/>
                    <a:pt x="362291" y="320828"/>
                    <a:pt x="376700" y="325742"/>
                  </a:cubicBezTo>
                  <a:cubicBezTo>
                    <a:pt x="380759" y="314846"/>
                    <a:pt x="385305" y="314378"/>
                    <a:pt x="370409" y="308763"/>
                  </a:cubicBezTo>
                  <a:cubicBezTo>
                    <a:pt x="355512" y="303147"/>
                    <a:pt x="351657" y="291082"/>
                    <a:pt x="340413" y="283026"/>
                  </a:cubicBezTo>
                  <a:cubicBezTo>
                    <a:pt x="331686" y="276776"/>
                    <a:pt x="329779" y="272298"/>
                    <a:pt x="316506" y="269089"/>
                  </a:cubicBezTo>
                  <a:cubicBezTo>
                    <a:pt x="303233" y="265880"/>
                    <a:pt x="303842" y="259062"/>
                    <a:pt x="313827" y="254149"/>
                  </a:cubicBezTo>
                  <a:cubicBezTo>
                    <a:pt x="319347" y="251474"/>
                    <a:pt x="334771" y="257023"/>
                    <a:pt x="336923" y="253179"/>
                  </a:cubicBezTo>
                  <a:cubicBezTo>
                    <a:pt x="341915" y="244155"/>
                    <a:pt x="339236" y="235064"/>
                    <a:pt x="349099" y="227276"/>
                  </a:cubicBezTo>
                  <a:cubicBezTo>
                    <a:pt x="353889" y="223499"/>
                    <a:pt x="349099" y="221460"/>
                    <a:pt x="351250" y="218653"/>
                  </a:cubicBezTo>
                  <a:cubicBezTo>
                    <a:pt x="354011" y="215076"/>
                    <a:pt x="365173" y="216346"/>
                    <a:pt x="368623" y="212603"/>
                  </a:cubicBezTo>
                  <a:cubicBezTo>
                    <a:pt x="372073" y="208859"/>
                    <a:pt x="370693" y="204381"/>
                    <a:pt x="373737" y="200637"/>
                  </a:cubicBezTo>
                  <a:cubicBezTo>
                    <a:pt x="376781" y="196894"/>
                    <a:pt x="384534" y="193117"/>
                    <a:pt x="389202" y="189975"/>
                  </a:cubicBezTo>
                  <a:cubicBezTo>
                    <a:pt x="393870" y="186833"/>
                    <a:pt x="396265" y="188337"/>
                    <a:pt x="402028" y="186633"/>
                  </a:cubicBezTo>
                  <a:cubicBezTo>
                    <a:pt x="409578" y="184226"/>
                    <a:pt x="409578" y="178879"/>
                    <a:pt x="413718" y="174968"/>
                  </a:cubicBezTo>
                  <a:cubicBezTo>
                    <a:pt x="425043" y="164172"/>
                    <a:pt x="418508" y="156652"/>
                    <a:pt x="422201" y="144887"/>
                  </a:cubicBezTo>
                  <a:cubicBezTo>
                    <a:pt x="424150" y="138570"/>
                    <a:pt x="434094" y="135662"/>
                    <a:pt x="438681" y="130214"/>
                  </a:cubicBezTo>
                  <a:cubicBezTo>
                    <a:pt x="441847" y="126437"/>
                    <a:pt x="438397" y="120187"/>
                    <a:pt x="445135" y="117981"/>
                  </a:cubicBezTo>
                  <a:cubicBezTo>
                    <a:pt x="455932" y="114204"/>
                    <a:pt x="468352" y="112265"/>
                    <a:pt x="478580" y="107787"/>
                  </a:cubicBezTo>
                  <a:cubicBezTo>
                    <a:pt x="496115" y="100099"/>
                    <a:pt x="480285" y="96055"/>
                    <a:pt x="468352" y="88735"/>
                  </a:cubicBezTo>
                  <a:cubicBezTo>
                    <a:pt x="454430" y="80212"/>
                    <a:pt x="458205" y="66742"/>
                    <a:pt x="458407" y="56782"/>
                  </a:cubicBezTo>
                  <a:cubicBezTo>
                    <a:pt x="458407" y="48259"/>
                    <a:pt x="458894" y="35959"/>
                    <a:pt x="451710" y="27804"/>
                  </a:cubicBezTo>
                  <a:cubicBezTo>
                    <a:pt x="442456" y="17309"/>
                    <a:pt x="418305" y="11727"/>
                    <a:pt x="416113" y="-339"/>
                  </a:cubicBezTo>
                  <a:cubicBezTo>
                    <a:pt x="409740" y="3405"/>
                    <a:pt x="408239" y="5510"/>
                    <a:pt x="398416" y="470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622F6494-40FB-4FDC-9CDC-40734A0329CF}"/>
                </a:ext>
              </a:extLst>
            </p:cNvPr>
            <p:cNvSpPr/>
            <p:nvPr/>
          </p:nvSpPr>
          <p:spPr>
            <a:xfrm>
              <a:off x="6995223" y="4679829"/>
              <a:ext cx="52754" cy="31250"/>
            </a:xfrm>
            <a:custGeom>
              <a:avLst/>
              <a:gdLst>
                <a:gd name="connsiteX0" fmla="*/ 20602 w 52754"/>
                <a:gd name="connsiteY0" fmla="*/ 1098 h 31250"/>
                <a:gd name="connsiteX1" fmla="*/ -17 w 52754"/>
                <a:gd name="connsiteY1" fmla="*/ 20518 h 31250"/>
                <a:gd name="connsiteX2" fmla="*/ 30953 w 52754"/>
                <a:gd name="connsiteY2" fmla="*/ 30912 h 31250"/>
                <a:gd name="connsiteX3" fmla="*/ 44226 w 52754"/>
                <a:gd name="connsiteY3" fmla="*/ 23893 h 31250"/>
                <a:gd name="connsiteX4" fmla="*/ 29451 w 52754"/>
                <a:gd name="connsiteY4" fmla="*/ 16941 h 31250"/>
                <a:gd name="connsiteX5" fmla="*/ 51572 w 52754"/>
                <a:gd name="connsiteY5" fmla="*/ 11393 h 31250"/>
                <a:gd name="connsiteX6" fmla="*/ 42927 w 52754"/>
                <a:gd name="connsiteY6" fmla="*/ -339 h 31250"/>
                <a:gd name="connsiteX7" fmla="*/ 20602 w 52754"/>
                <a:gd name="connsiteY7" fmla="*/ 1098 h 31250"/>
                <a:gd name="connsiteX8" fmla="*/ 20602 w 52754"/>
                <a:gd name="connsiteY8" fmla="*/ 1098 h 3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" h="31250">
                  <a:moveTo>
                    <a:pt x="20602" y="1098"/>
                  </a:moveTo>
                  <a:cubicBezTo>
                    <a:pt x="12484" y="7081"/>
                    <a:pt x="-910" y="11727"/>
                    <a:pt x="-17" y="20518"/>
                  </a:cubicBezTo>
                  <a:cubicBezTo>
                    <a:pt x="1160" y="32082"/>
                    <a:pt x="20278" y="23258"/>
                    <a:pt x="30953" y="30912"/>
                  </a:cubicBezTo>
                  <a:cubicBezTo>
                    <a:pt x="35174" y="28302"/>
                    <a:pt x="39599" y="25956"/>
                    <a:pt x="44226" y="23893"/>
                  </a:cubicBezTo>
                  <a:cubicBezTo>
                    <a:pt x="42440" y="23024"/>
                    <a:pt x="27300" y="19080"/>
                    <a:pt x="29451" y="16941"/>
                  </a:cubicBezTo>
                  <a:cubicBezTo>
                    <a:pt x="34078" y="12362"/>
                    <a:pt x="47229" y="14869"/>
                    <a:pt x="51572" y="11393"/>
                  </a:cubicBezTo>
                  <a:cubicBezTo>
                    <a:pt x="55916" y="7917"/>
                    <a:pt x="46499" y="2235"/>
                    <a:pt x="42927" y="-339"/>
                  </a:cubicBezTo>
                  <a:cubicBezTo>
                    <a:pt x="33388" y="1767"/>
                    <a:pt x="31481" y="3004"/>
                    <a:pt x="20602" y="1098"/>
                  </a:cubicBezTo>
                  <a:cubicBezTo>
                    <a:pt x="18695" y="2502"/>
                    <a:pt x="27503" y="2302"/>
                    <a:pt x="20602" y="109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CB6EE2CB-C747-4493-A8FE-C09C991BD207}"/>
                </a:ext>
              </a:extLst>
            </p:cNvPr>
            <p:cNvSpPr/>
            <p:nvPr/>
          </p:nvSpPr>
          <p:spPr>
            <a:xfrm>
              <a:off x="6850846" y="4573341"/>
              <a:ext cx="187363" cy="108264"/>
            </a:xfrm>
            <a:custGeom>
              <a:avLst/>
              <a:gdLst>
                <a:gd name="connsiteX0" fmla="*/ 37122 w 187363"/>
                <a:gd name="connsiteY0" fmla="*/ 11861 h 108264"/>
                <a:gd name="connsiteX1" fmla="*/ 20318 w 187363"/>
                <a:gd name="connsiteY1" fmla="*/ 17175 h 108264"/>
                <a:gd name="connsiteX2" fmla="*/ 12768 w 187363"/>
                <a:gd name="connsiteY2" fmla="*/ 31614 h 108264"/>
                <a:gd name="connsiteX3" fmla="*/ -17 w 187363"/>
                <a:gd name="connsiteY3" fmla="*/ 46287 h 108264"/>
                <a:gd name="connsiteX4" fmla="*/ 17071 w 187363"/>
                <a:gd name="connsiteY4" fmla="*/ 59657 h 108264"/>
                <a:gd name="connsiteX5" fmla="*/ 32576 w 187363"/>
                <a:gd name="connsiteY5" fmla="*/ 61094 h 108264"/>
                <a:gd name="connsiteX6" fmla="*/ 45849 w 187363"/>
                <a:gd name="connsiteY6" fmla="*/ 54409 h 108264"/>
                <a:gd name="connsiteX7" fmla="*/ 61273 w 187363"/>
                <a:gd name="connsiteY7" fmla="*/ 62531 h 108264"/>
                <a:gd name="connsiteX8" fmla="*/ 73815 w 187363"/>
                <a:gd name="connsiteY8" fmla="*/ 61462 h 108264"/>
                <a:gd name="connsiteX9" fmla="*/ 83272 w 187363"/>
                <a:gd name="connsiteY9" fmla="*/ 64136 h 108264"/>
                <a:gd name="connsiteX10" fmla="*/ 113634 w 187363"/>
                <a:gd name="connsiteY10" fmla="*/ 68581 h 108264"/>
                <a:gd name="connsiteX11" fmla="*/ 141479 w 187363"/>
                <a:gd name="connsiteY11" fmla="*/ 88635 h 108264"/>
                <a:gd name="connsiteX12" fmla="*/ 187304 w 187363"/>
                <a:gd name="connsiteY12" fmla="*/ 106416 h 108264"/>
                <a:gd name="connsiteX13" fmla="*/ 149515 w 187363"/>
                <a:gd name="connsiteY13" fmla="*/ 74497 h 108264"/>
                <a:gd name="connsiteX14" fmla="*/ 128936 w 187363"/>
                <a:gd name="connsiteY14" fmla="*/ 63032 h 108264"/>
                <a:gd name="connsiteX15" fmla="*/ 108641 w 187363"/>
                <a:gd name="connsiteY15" fmla="*/ 56114 h 108264"/>
                <a:gd name="connsiteX16" fmla="*/ 86195 w 187363"/>
                <a:gd name="connsiteY16" fmla="*/ 34856 h 108264"/>
                <a:gd name="connsiteX17" fmla="*/ 67240 w 187363"/>
                <a:gd name="connsiteY17" fmla="*/ -339 h 108264"/>
                <a:gd name="connsiteX18" fmla="*/ 37001 w 187363"/>
                <a:gd name="connsiteY18" fmla="*/ 12128 h 1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7363" h="108264">
                  <a:moveTo>
                    <a:pt x="37122" y="11861"/>
                  </a:moveTo>
                  <a:cubicBezTo>
                    <a:pt x="32251" y="14034"/>
                    <a:pt x="23687" y="13900"/>
                    <a:pt x="20318" y="17175"/>
                  </a:cubicBezTo>
                  <a:cubicBezTo>
                    <a:pt x="15812" y="21587"/>
                    <a:pt x="19141" y="26902"/>
                    <a:pt x="12768" y="31614"/>
                  </a:cubicBezTo>
                  <a:cubicBezTo>
                    <a:pt x="6396" y="36327"/>
                    <a:pt x="104" y="39235"/>
                    <a:pt x="-17" y="46287"/>
                  </a:cubicBezTo>
                  <a:cubicBezTo>
                    <a:pt x="-261" y="56916"/>
                    <a:pt x="-17" y="57651"/>
                    <a:pt x="17071" y="59657"/>
                  </a:cubicBezTo>
                  <a:cubicBezTo>
                    <a:pt x="22266" y="60225"/>
                    <a:pt x="29532" y="64202"/>
                    <a:pt x="32576" y="61094"/>
                  </a:cubicBezTo>
                  <a:cubicBezTo>
                    <a:pt x="35174" y="58487"/>
                    <a:pt x="37528" y="51267"/>
                    <a:pt x="45849" y="54409"/>
                  </a:cubicBezTo>
                  <a:cubicBezTo>
                    <a:pt x="51613" y="56515"/>
                    <a:pt x="54291" y="61595"/>
                    <a:pt x="61273" y="62531"/>
                  </a:cubicBezTo>
                  <a:cubicBezTo>
                    <a:pt x="65494" y="62484"/>
                    <a:pt x="69675" y="62127"/>
                    <a:pt x="73815" y="61462"/>
                  </a:cubicBezTo>
                  <a:cubicBezTo>
                    <a:pt x="77306" y="61462"/>
                    <a:pt x="79822" y="63668"/>
                    <a:pt x="83272" y="64136"/>
                  </a:cubicBezTo>
                  <a:cubicBezTo>
                    <a:pt x="93136" y="65439"/>
                    <a:pt x="105922" y="63868"/>
                    <a:pt x="113634" y="68581"/>
                  </a:cubicBezTo>
                  <a:cubicBezTo>
                    <a:pt x="123375" y="74834"/>
                    <a:pt x="132670" y="81529"/>
                    <a:pt x="141479" y="88635"/>
                  </a:cubicBezTo>
                  <a:cubicBezTo>
                    <a:pt x="157714" y="101069"/>
                    <a:pt x="161773" y="112031"/>
                    <a:pt x="187304" y="106416"/>
                  </a:cubicBezTo>
                  <a:cubicBezTo>
                    <a:pt x="173301" y="96389"/>
                    <a:pt x="163437" y="84591"/>
                    <a:pt x="149515" y="74497"/>
                  </a:cubicBezTo>
                  <a:cubicBezTo>
                    <a:pt x="143305" y="69928"/>
                    <a:pt x="136405" y="66071"/>
                    <a:pt x="128936" y="63032"/>
                  </a:cubicBezTo>
                  <a:cubicBezTo>
                    <a:pt x="122645" y="60526"/>
                    <a:pt x="112700" y="60091"/>
                    <a:pt x="108641" y="56114"/>
                  </a:cubicBezTo>
                  <a:cubicBezTo>
                    <a:pt x="101213" y="48961"/>
                    <a:pt x="91310" y="42744"/>
                    <a:pt x="86195" y="34856"/>
                  </a:cubicBezTo>
                  <a:cubicBezTo>
                    <a:pt x="78077" y="22389"/>
                    <a:pt x="80675" y="11460"/>
                    <a:pt x="67240" y="-339"/>
                  </a:cubicBezTo>
                  <a:cubicBezTo>
                    <a:pt x="58757" y="5845"/>
                    <a:pt x="46945" y="7516"/>
                    <a:pt x="37001" y="1212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C0F7627A-AFF3-4D6C-9CC6-EC940CDA07FA}"/>
                </a:ext>
              </a:extLst>
            </p:cNvPr>
            <p:cNvSpPr/>
            <p:nvPr/>
          </p:nvSpPr>
          <p:spPr>
            <a:xfrm>
              <a:off x="6734835" y="4627182"/>
              <a:ext cx="423569" cy="199254"/>
            </a:xfrm>
            <a:custGeom>
              <a:avLst/>
              <a:gdLst>
                <a:gd name="connsiteX0" fmla="*/ 26006 w 423569"/>
                <a:gd name="connsiteY0" fmla="*/ 118989 h 199254"/>
                <a:gd name="connsiteX1" fmla="*/ 46057 w 423569"/>
                <a:gd name="connsiteY1" fmla="*/ 136202 h 199254"/>
                <a:gd name="connsiteX2" fmla="*/ 69356 w 423569"/>
                <a:gd name="connsiteY2" fmla="*/ 153917 h 199254"/>
                <a:gd name="connsiteX3" fmla="*/ 71020 w 423569"/>
                <a:gd name="connsiteY3" fmla="*/ 169459 h 199254"/>
                <a:gd name="connsiteX4" fmla="*/ 99433 w 423569"/>
                <a:gd name="connsiteY4" fmla="*/ 175608 h 199254"/>
                <a:gd name="connsiteX5" fmla="*/ 126507 w 423569"/>
                <a:gd name="connsiteY5" fmla="*/ 188109 h 199254"/>
                <a:gd name="connsiteX6" fmla="*/ 153661 w 423569"/>
                <a:gd name="connsiteY6" fmla="*/ 194794 h 199254"/>
                <a:gd name="connsiteX7" fmla="*/ 177163 w 423569"/>
                <a:gd name="connsiteY7" fmla="*/ 198136 h 199254"/>
                <a:gd name="connsiteX8" fmla="*/ 214424 w 423569"/>
                <a:gd name="connsiteY8" fmla="*/ 190214 h 199254"/>
                <a:gd name="connsiteX9" fmla="*/ 224409 w 423569"/>
                <a:gd name="connsiteY9" fmla="*/ 196064 h 199254"/>
                <a:gd name="connsiteX10" fmla="*/ 244258 w 423569"/>
                <a:gd name="connsiteY10" fmla="*/ 195362 h 199254"/>
                <a:gd name="connsiteX11" fmla="*/ 273076 w 423569"/>
                <a:gd name="connsiteY11" fmla="*/ 194626 h 199254"/>
                <a:gd name="connsiteX12" fmla="*/ 306360 w 423569"/>
                <a:gd name="connsiteY12" fmla="*/ 188176 h 199254"/>
                <a:gd name="connsiteX13" fmla="*/ 338304 w 423569"/>
                <a:gd name="connsiteY13" fmla="*/ 188443 h 199254"/>
                <a:gd name="connsiteX14" fmla="*/ 420985 w 423569"/>
                <a:gd name="connsiteY14" fmla="*/ 153114 h 199254"/>
                <a:gd name="connsiteX15" fmla="*/ 409458 w 423569"/>
                <a:gd name="connsiteY15" fmla="*/ 147332 h 199254"/>
                <a:gd name="connsiteX16" fmla="*/ 374266 w 423569"/>
                <a:gd name="connsiteY16" fmla="*/ 137706 h 199254"/>
                <a:gd name="connsiteX17" fmla="*/ 311515 w 423569"/>
                <a:gd name="connsiteY17" fmla="*/ 114610 h 199254"/>
                <a:gd name="connsiteX18" fmla="*/ 292559 w 423569"/>
                <a:gd name="connsiteY18" fmla="*/ 98601 h 199254"/>
                <a:gd name="connsiteX19" fmla="*/ 285943 w 423569"/>
                <a:gd name="connsiteY19" fmla="*/ 89342 h 199254"/>
                <a:gd name="connsiteX20" fmla="*/ 286390 w 423569"/>
                <a:gd name="connsiteY20" fmla="*/ 80351 h 199254"/>
                <a:gd name="connsiteX21" fmla="*/ 261021 w 423569"/>
                <a:gd name="connsiteY21" fmla="*/ 76073 h 199254"/>
                <a:gd name="connsiteX22" fmla="*/ 277663 w 423569"/>
                <a:gd name="connsiteY22" fmla="*/ 56019 h 199254"/>
                <a:gd name="connsiteX23" fmla="*/ 226235 w 423569"/>
                <a:gd name="connsiteY23" fmla="*/ 12568 h 199254"/>
                <a:gd name="connsiteX24" fmla="*/ 199284 w 423569"/>
                <a:gd name="connsiteY24" fmla="*/ 9995 h 199254"/>
                <a:gd name="connsiteX25" fmla="*/ 189827 w 423569"/>
                <a:gd name="connsiteY25" fmla="*/ 7321 h 199254"/>
                <a:gd name="connsiteX26" fmla="*/ 172860 w 423569"/>
                <a:gd name="connsiteY26" fmla="*/ 6987 h 199254"/>
                <a:gd name="connsiteX27" fmla="*/ 151753 w 423569"/>
                <a:gd name="connsiteY27" fmla="*/ 3042 h 199254"/>
                <a:gd name="connsiteX28" fmla="*/ 117617 w 423569"/>
                <a:gd name="connsiteY28" fmla="*/ 4580 h 199254"/>
                <a:gd name="connsiteX29" fmla="*/ 105440 w 423569"/>
                <a:gd name="connsiteY29" fmla="*/ 21292 h 199254"/>
                <a:gd name="connsiteX30" fmla="*/ 79706 w 423569"/>
                <a:gd name="connsiteY30" fmla="*/ 36433 h 199254"/>
                <a:gd name="connsiteX31" fmla="*/ 68139 w 423569"/>
                <a:gd name="connsiteY31" fmla="*/ 44287 h 199254"/>
                <a:gd name="connsiteX32" fmla="*/ 63024 w 423569"/>
                <a:gd name="connsiteY32" fmla="*/ 56253 h 199254"/>
                <a:gd name="connsiteX33" fmla="*/ 48736 w 423569"/>
                <a:gd name="connsiteY33" fmla="*/ 60899 h 199254"/>
                <a:gd name="connsiteX34" fmla="*/ 46301 w 423569"/>
                <a:gd name="connsiteY34" fmla="*/ 68519 h 199254"/>
                <a:gd name="connsiteX35" fmla="*/ 33515 w 423569"/>
                <a:gd name="connsiteY35" fmla="*/ 90779 h 199254"/>
                <a:gd name="connsiteX36" fmla="*/ 15656 w 423569"/>
                <a:gd name="connsiteY36" fmla="*/ 96996 h 199254"/>
                <a:gd name="connsiteX37" fmla="*/ 394 w 423569"/>
                <a:gd name="connsiteY37" fmla="*/ 108527 h 199254"/>
                <a:gd name="connsiteX38" fmla="*/ 26006 w 423569"/>
                <a:gd name="connsiteY38" fmla="*/ 118922 h 199254"/>
                <a:gd name="connsiteX39" fmla="*/ 26006 w 423569"/>
                <a:gd name="connsiteY39" fmla="*/ 118989 h 199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23569" h="199254">
                  <a:moveTo>
                    <a:pt x="26006" y="118989"/>
                  </a:moveTo>
                  <a:cubicBezTo>
                    <a:pt x="29416" y="125440"/>
                    <a:pt x="40903" y="130152"/>
                    <a:pt x="46057" y="136202"/>
                  </a:cubicBezTo>
                  <a:cubicBezTo>
                    <a:pt x="52227" y="143488"/>
                    <a:pt x="55393" y="150507"/>
                    <a:pt x="69356" y="153917"/>
                  </a:cubicBezTo>
                  <a:cubicBezTo>
                    <a:pt x="81046" y="156791"/>
                    <a:pt x="73131" y="163442"/>
                    <a:pt x="71020" y="169459"/>
                  </a:cubicBezTo>
                  <a:cubicBezTo>
                    <a:pt x="80234" y="172259"/>
                    <a:pt x="89732" y="174318"/>
                    <a:pt x="99433" y="175608"/>
                  </a:cubicBezTo>
                  <a:cubicBezTo>
                    <a:pt x="109986" y="177480"/>
                    <a:pt x="117861" y="184132"/>
                    <a:pt x="126507" y="188109"/>
                  </a:cubicBezTo>
                  <a:cubicBezTo>
                    <a:pt x="135152" y="192086"/>
                    <a:pt x="143351" y="193022"/>
                    <a:pt x="153661" y="194794"/>
                  </a:cubicBezTo>
                  <a:cubicBezTo>
                    <a:pt x="160155" y="195963"/>
                    <a:pt x="171642" y="200776"/>
                    <a:pt x="177163" y="198136"/>
                  </a:cubicBezTo>
                  <a:cubicBezTo>
                    <a:pt x="185889" y="193791"/>
                    <a:pt x="201313" y="186839"/>
                    <a:pt x="214424" y="190214"/>
                  </a:cubicBezTo>
                  <a:cubicBezTo>
                    <a:pt x="219010" y="191351"/>
                    <a:pt x="218808" y="194827"/>
                    <a:pt x="224409" y="196064"/>
                  </a:cubicBezTo>
                  <a:cubicBezTo>
                    <a:pt x="230010" y="197300"/>
                    <a:pt x="239427" y="195495"/>
                    <a:pt x="244258" y="195362"/>
                  </a:cubicBezTo>
                  <a:cubicBezTo>
                    <a:pt x="252822" y="195128"/>
                    <a:pt x="265648" y="197100"/>
                    <a:pt x="273076" y="194626"/>
                  </a:cubicBezTo>
                  <a:cubicBezTo>
                    <a:pt x="283183" y="191284"/>
                    <a:pt x="293371" y="186738"/>
                    <a:pt x="306360" y="188176"/>
                  </a:cubicBezTo>
                  <a:cubicBezTo>
                    <a:pt x="317360" y="189412"/>
                    <a:pt x="328968" y="192822"/>
                    <a:pt x="338304" y="188443"/>
                  </a:cubicBezTo>
                  <a:cubicBezTo>
                    <a:pt x="365093" y="175455"/>
                    <a:pt x="392694" y="163663"/>
                    <a:pt x="420985" y="153114"/>
                  </a:cubicBezTo>
                  <a:cubicBezTo>
                    <a:pt x="429671" y="149772"/>
                    <a:pt x="413476" y="147934"/>
                    <a:pt x="409458" y="147332"/>
                  </a:cubicBezTo>
                  <a:cubicBezTo>
                    <a:pt x="397281" y="145330"/>
                    <a:pt x="385469" y="142095"/>
                    <a:pt x="374266" y="137706"/>
                  </a:cubicBezTo>
                  <a:cubicBezTo>
                    <a:pt x="356610" y="131021"/>
                    <a:pt x="324017" y="124905"/>
                    <a:pt x="311515" y="114610"/>
                  </a:cubicBezTo>
                  <a:cubicBezTo>
                    <a:pt x="305020" y="109263"/>
                    <a:pt x="297430" y="104583"/>
                    <a:pt x="292559" y="98601"/>
                  </a:cubicBezTo>
                  <a:cubicBezTo>
                    <a:pt x="290042" y="95676"/>
                    <a:pt x="287810" y="92581"/>
                    <a:pt x="285943" y="89342"/>
                  </a:cubicBezTo>
                  <a:cubicBezTo>
                    <a:pt x="282899" y="83727"/>
                    <a:pt x="298120" y="86401"/>
                    <a:pt x="286390" y="80351"/>
                  </a:cubicBezTo>
                  <a:cubicBezTo>
                    <a:pt x="279043" y="76508"/>
                    <a:pt x="263740" y="84362"/>
                    <a:pt x="261021" y="76073"/>
                  </a:cubicBezTo>
                  <a:cubicBezTo>
                    <a:pt x="257774" y="66313"/>
                    <a:pt x="268571" y="62470"/>
                    <a:pt x="277663" y="56019"/>
                  </a:cubicBezTo>
                  <a:cubicBezTo>
                    <a:pt x="286755" y="49568"/>
                    <a:pt x="238494" y="17782"/>
                    <a:pt x="226235" y="12568"/>
                  </a:cubicBezTo>
                  <a:cubicBezTo>
                    <a:pt x="219985" y="9794"/>
                    <a:pt x="206631" y="10964"/>
                    <a:pt x="199284" y="9995"/>
                  </a:cubicBezTo>
                  <a:cubicBezTo>
                    <a:pt x="195834" y="9527"/>
                    <a:pt x="193317" y="7354"/>
                    <a:pt x="189827" y="7321"/>
                  </a:cubicBezTo>
                  <a:cubicBezTo>
                    <a:pt x="183738" y="7321"/>
                    <a:pt x="178705" y="9961"/>
                    <a:pt x="172860" y="6987"/>
                  </a:cubicBezTo>
                  <a:cubicBezTo>
                    <a:pt x="167015" y="4012"/>
                    <a:pt x="157477" y="-5280"/>
                    <a:pt x="151753" y="3042"/>
                  </a:cubicBezTo>
                  <a:cubicBezTo>
                    <a:pt x="146030" y="11365"/>
                    <a:pt x="132636" y="5248"/>
                    <a:pt x="117617" y="4580"/>
                  </a:cubicBezTo>
                  <a:cubicBezTo>
                    <a:pt x="116724" y="11265"/>
                    <a:pt x="110149" y="15510"/>
                    <a:pt x="105440" y="21292"/>
                  </a:cubicBezTo>
                  <a:cubicBezTo>
                    <a:pt x="98581" y="29781"/>
                    <a:pt x="88961" y="29514"/>
                    <a:pt x="79706" y="36433"/>
                  </a:cubicBezTo>
                  <a:cubicBezTo>
                    <a:pt x="76297" y="39006"/>
                    <a:pt x="70574" y="41312"/>
                    <a:pt x="68139" y="44287"/>
                  </a:cubicBezTo>
                  <a:cubicBezTo>
                    <a:pt x="65094" y="48031"/>
                    <a:pt x="66352" y="52643"/>
                    <a:pt x="63024" y="56253"/>
                  </a:cubicBezTo>
                  <a:cubicBezTo>
                    <a:pt x="60304" y="59228"/>
                    <a:pt x="53445" y="59595"/>
                    <a:pt x="48736" y="60899"/>
                  </a:cubicBezTo>
                  <a:cubicBezTo>
                    <a:pt x="42607" y="62537"/>
                    <a:pt x="49305" y="65478"/>
                    <a:pt x="46301" y="68519"/>
                  </a:cubicBezTo>
                  <a:cubicBezTo>
                    <a:pt x="39685" y="74866"/>
                    <a:pt x="35302" y="82554"/>
                    <a:pt x="33515" y="90779"/>
                  </a:cubicBezTo>
                  <a:cubicBezTo>
                    <a:pt x="30877" y="99737"/>
                    <a:pt x="29172" y="97464"/>
                    <a:pt x="15656" y="96996"/>
                  </a:cubicBezTo>
                  <a:cubicBezTo>
                    <a:pt x="8715" y="96695"/>
                    <a:pt x="-2447" y="104416"/>
                    <a:pt x="394" y="108527"/>
                  </a:cubicBezTo>
                  <a:cubicBezTo>
                    <a:pt x="4453" y="114443"/>
                    <a:pt x="22516" y="112338"/>
                    <a:pt x="26006" y="118922"/>
                  </a:cubicBezTo>
                  <a:cubicBezTo>
                    <a:pt x="28929" y="124537"/>
                    <a:pt x="23084" y="113474"/>
                    <a:pt x="26006" y="11898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F1B039A1-1C5F-4C0C-87EB-F7D0B24D7CC9}"/>
                </a:ext>
              </a:extLst>
            </p:cNvPr>
            <p:cNvSpPr/>
            <p:nvPr/>
          </p:nvSpPr>
          <p:spPr>
            <a:xfrm>
              <a:off x="6855555" y="4258324"/>
              <a:ext cx="45401" cy="29986"/>
            </a:xfrm>
            <a:custGeom>
              <a:avLst/>
              <a:gdLst>
                <a:gd name="connsiteX0" fmla="*/ 40165 w 45401"/>
                <a:gd name="connsiteY0" fmla="*/ 13800 h 29986"/>
                <a:gd name="connsiteX1" fmla="*/ 33914 w 45401"/>
                <a:gd name="connsiteY1" fmla="*/ 129 h 29986"/>
                <a:gd name="connsiteX2" fmla="*/ 22305 w 45401"/>
                <a:gd name="connsiteY2" fmla="*/ 6814 h 29986"/>
                <a:gd name="connsiteX3" fmla="*/ -60 w 45401"/>
                <a:gd name="connsiteY3" fmla="*/ 24997 h 29986"/>
                <a:gd name="connsiteX4" fmla="*/ 14147 w 45401"/>
                <a:gd name="connsiteY4" fmla="*/ 29643 h 29986"/>
                <a:gd name="connsiteX5" fmla="*/ 40165 w 45401"/>
                <a:gd name="connsiteY5" fmla="*/ 13800 h 2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01" h="29986">
                  <a:moveTo>
                    <a:pt x="40165" y="13800"/>
                  </a:moveTo>
                  <a:cubicBezTo>
                    <a:pt x="49988" y="10190"/>
                    <a:pt x="44670" y="2102"/>
                    <a:pt x="33914" y="129"/>
                  </a:cubicBezTo>
                  <a:cubicBezTo>
                    <a:pt x="23158" y="-1842"/>
                    <a:pt x="26689" y="2803"/>
                    <a:pt x="22305" y="6814"/>
                  </a:cubicBezTo>
                  <a:cubicBezTo>
                    <a:pt x="15527" y="13131"/>
                    <a:pt x="6557" y="18613"/>
                    <a:pt x="-60" y="24997"/>
                  </a:cubicBezTo>
                  <a:cubicBezTo>
                    <a:pt x="2741" y="25899"/>
                    <a:pt x="11265" y="29810"/>
                    <a:pt x="14147" y="29643"/>
                  </a:cubicBezTo>
                  <a:cubicBezTo>
                    <a:pt x="21656" y="23165"/>
                    <a:pt x="30464" y="17804"/>
                    <a:pt x="40165" y="1380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65743EF4-B10A-4CCA-9207-9EBFE814A520}"/>
                </a:ext>
              </a:extLst>
            </p:cNvPr>
            <p:cNvSpPr/>
            <p:nvPr/>
          </p:nvSpPr>
          <p:spPr>
            <a:xfrm>
              <a:off x="6870995" y="4223293"/>
              <a:ext cx="223796" cy="82218"/>
            </a:xfrm>
            <a:custGeom>
              <a:avLst/>
              <a:gdLst>
                <a:gd name="connsiteX0" fmla="*/ 24725 w 223796"/>
                <a:gd name="connsiteY0" fmla="*/ 48831 h 82218"/>
                <a:gd name="connsiteX1" fmla="*/ 3253 w 223796"/>
                <a:gd name="connsiteY1" fmla="*/ 61264 h 82218"/>
                <a:gd name="connsiteX2" fmla="*/ 1670 w 223796"/>
                <a:gd name="connsiteY2" fmla="*/ 70422 h 82218"/>
                <a:gd name="connsiteX3" fmla="*/ 28987 w 223796"/>
                <a:gd name="connsiteY3" fmla="*/ 81853 h 82218"/>
                <a:gd name="connsiteX4" fmla="*/ 64625 w 223796"/>
                <a:gd name="connsiteY4" fmla="*/ 75168 h 82218"/>
                <a:gd name="connsiteX5" fmla="*/ 112602 w 223796"/>
                <a:gd name="connsiteY5" fmla="*/ 66980 h 82218"/>
                <a:gd name="connsiteX6" fmla="*/ 178439 w 223796"/>
                <a:gd name="connsiteY6" fmla="*/ 49399 h 82218"/>
                <a:gd name="connsiteX7" fmla="*/ 183553 w 223796"/>
                <a:gd name="connsiteY7" fmla="*/ 34258 h 82218"/>
                <a:gd name="connsiteX8" fmla="*/ 187206 w 223796"/>
                <a:gd name="connsiteY8" fmla="*/ 17546 h 82218"/>
                <a:gd name="connsiteX9" fmla="*/ 223737 w 223796"/>
                <a:gd name="connsiteY9" fmla="*/ 8789 h 82218"/>
                <a:gd name="connsiteX10" fmla="*/ 169550 w 223796"/>
                <a:gd name="connsiteY10" fmla="*/ 3909 h 82218"/>
                <a:gd name="connsiteX11" fmla="*/ 133668 w 223796"/>
                <a:gd name="connsiteY11" fmla="*/ 6917 h 82218"/>
                <a:gd name="connsiteX12" fmla="*/ 97909 w 223796"/>
                <a:gd name="connsiteY12" fmla="*/ 2806 h 82218"/>
                <a:gd name="connsiteX13" fmla="*/ 60566 w 223796"/>
                <a:gd name="connsiteY13" fmla="*/ 3675 h 82218"/>
                <a:gd name="connsiteX14" fmla="*/ 35928 w 223796"/>
                <a:gd name="connsiteY14" fmla="*/ 4845 h 82218"/>
                <a:gd name="connsiteX15" fmla="*/ 16485 w 223796"/>
                <a:gd name="connsiteY15" fmla="*/ 13468 h 82218"/>
                <a:gd name="connsiteX16" fmla="*/ 16729 w 223796"/>
                <a:gd name="connsiteY16" fmla="*/ 24766 h 82218"/>
                <a:gd name="connsiteX17" fmla="*/ 11168 w 223796"/>
                <a:gd name="connsiteY17" fmla="*/ 34358 h 82218"/>
                <a:gd name="connsiteX18" fmla="*/ 24522 w 223796"/>
                <a:gd name="connsiteY18" fmla="*/ 48831 h 82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3796" h="82218">
                  <a:moveTo>
                    <a:pt x="24725" y="48831"/>
                  </a:moveTo>
                  <a:cubicBezTo>
                    <a:pt x="16851" y="52079"/>
                    <a:pt x="9626" y="56267"/>
                    <a:pt x="3253" y="61264"/>
                  </a:cubicBezTo>
                  <a:cubicBezTo>
                    <a:pt x="-2104" y="65074"/>
                    <a:pt x="331" y="65475"/>
                    <a:pt x="1670" y="70422"/>
                  </a:cubicBezTo>
                  <a:cubicBezTo>
                    <a:pt x="2320" y="72695"/>
                    <a:pt x="24644" y="81619"/>
                    <a:pt x="28987" y="81853"/>
                  </a:cubicBezTo>
                  <a:cubicBezTo>
                    <a:pt x="37511" y="82321"/>
                    <a:pt x="55127" y="76572"/>
                    <a:pt x="64625" y="75168"/>
                  </a:cubicBezTo>
                  <a:cubicBezTo>
                    <a:pt x="80861" y="72929"/>
                    <a:pt x="96732" y="69820"/>
                    <a:pt x="112602" y="66980"/>
                  </a:cubicBezTo>
                  <a:cubicBezTo>
                    <a:pt x="132897" y="63303"/>
                    <a:pt x="170037" y="61832"/>
                    <a:pt x="178439" y="49399"/>
                  </a:cubicBezTo>
                  <a:cubicBezTo>
                    <a:pt x="181645" y="44586"/>
                    <a:pt x="175679" y="38335"/>
                    <a:pt x="183553" y="34258"/>
                  </a:cubicBezTo>
                  <a:cubicBezTo>
                    <a:pt x="191427" y="30180"/>
                    <a:pt x="176206" y="22125"/>
                    <a:pt x="187206" y="17546"/>
                  </a:cubicBezTo>
                  <a:cubicBezTo>
                    <a:pt x="196298" y="13635"/>
                    <a:pt x="213184" y="11697"/>
                    <a:pt x="223737" y="8789"/>
                  </a:cubicBezTo>
                  <a:cubicBezTo>
                    <a:pt x="209206" y="3709"/>
                    <a:pt x="185299" y="4110"/>
                    <a:pt x="169550" y="3909"/>
                  </a:cubicBezTo>
                  <a:cubicBezTo>
                    <a:pt x="156642" y="3709"/>
                    <a:pt x="147225" y="8254"/>
                    <a:pt x="133668" y="6917"/>
                  </a:cubicBezTo>
                  <a:cubicBezTo>
                    <a:pt x="125550" y="6115"/>
                    <a:pt x="103510" y="7552"/>
                    <a:pt x="97909" y="2806"/>
                  </a:cubicBezTo>
                  <a:cubicBezTo>
                    <a:pt x="91617" y="-2575"/>
                    <a:pt x="70470" y="4745"/>
                    <a:pt x="60566" y="3675"/>
                  </a:cubicBezTo>
                  <a:cubicBezTo>
                    <a:pt x="49648" y="2472"/>
                    <a:pt x="39297" y="-5383"/>
                    <a:pt x="35928" y="4845"/>
                  </a:cubicBezTo>
                  <a:cubicBezTo>
                    <a:pt x="34021" y="10661"/>
                    <a:pt x="27810" y="13602"/>
                    <a:pt x="16485" y="13468"/>
                  </a:cubicBezTo>
                  <a:cubicBezTo>
                    <a:pt x="13644" y="18448"/>
                    <a:pt x="16729" y="20153"/>
                    <a:pt x="16729" y="24766"/>
                  </a:cubicBezTo>
                  <a:cubicBezTo>
                    <a:pt x="16729" y="28108"/>
                    <a:pt x="12427" y="31149"/>
                    <a:pt x="11168" y="34358"/>
                  </a:cubicBezTo>
                  <a:cubicBezTo>
                    <a:pt x="23670" y="35127"/>
                    <a:pt x="38607" y="43650"/>
                    <a:pt x="24522" y="4883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10C6FABF-7C05-485A-951A-2E3C5E2E8958}"/>
                </a:ext>
              </a:extLst>
            </p:cNvPr>
            <p:cNvSpPr/>
            <p:nvPr/>
          </p:nvSpPr>
          <p:spPr>
            <a:xfrm>
              <a:off x="9582064" y="4891177"/>
              <a:ext cx="114017" cy="81248"/>
            </a:xfrm>
            <a:custGeom>
              <a:avLst/>
              <a:gdLst>
                <a:gd name="connsiteX0" fmla="*/ 57038 w 114017"/>
                <a:gd name="connsiteY0" fmla="*/ 620 h 81248"/>
                <a:gd name="connsiteX1" fmla="*/ 36175 w 114017"/>
                <a:gd name="connsiteY1" fmla="*/ 3060 h 81248"/>
                <a:gd name="connsiteX2" fmla="*/ 43765 w 114017"/>
                <a:gd name="connsiteY2" fmla="*/ 17165 h 81248"/>
                <a:gd name="connsiteX3" fmla="*/ 29518 w 114017"/>
                <a:gd name="connsiteY3" fmla="*/ 15794 h 81248"/>
                <a:gd name="connsiteX4" fmla="*/ 23389 w 114017"/>
                <a:gd name="connsiteY4" fmla="*/ 30634 h 81248"/>
                <a:gd name="connsiteX5" fmla="*/ 2363 w 114017"/>
                <a:gd name="connsiteY5" fmla="*/ 44806 h 81248"/>
                <a:gd name="connsiteX6" fmla="*/ 1105 w 114017"/>
                <a:gd name="connsiteY6" fmla="*/ 57707 h 81248"/>
                <a:gd name="connsiteX7" fmla="*/ 22699 w 114017"/>
                <a:gd name="connsiteY7" fmla="*/ 65829 h 81248"/>
                <a:gd name="connsiteX8" fmla="*/ 78956 w 114017"/>
                <a:gd name="connsiteY8" fmla="*/ 71678 h 81248"/>
                <a:gd name="connsiteX9" fmla="*/ 97384 w 114017"/>
                <a:gd name="connsiteY9" fmla="*/ 80101 h 81248"/>
                <a:gd name="connsiteX10" fmla="*/ 106719 w 114017"/>
                <a:gd name="connsiteY10" fmla="*/ 69807 h 81248"/>
                <a:gd name="connsiteX11" fmla="*/ 111185 w 114017"/>
                <a:gd name="connsiteY11" fmla="*/ 30367 h 81248"/>
                <a:gd name="connsiteX12" fmla="*/ 105298 w 114017"/>
                <a:gd name="connsiteY12" fmla="*/ 18769 h 81248"/>
                <a:gd name="connsiteX13" fmla="*/ 90768 w 114017"/>
                <a:gd name="connsiteY13" fmla="*/ 11416 h 81248"/>
                <a:gd name="connsiteX14" fmla="*/ 57038 w 114017"/>
                <a:gd name="connsiteY14" fmla="*/ 620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81248">
                  <a:moveTo>
                    <a:pt x="57038" y="620"/>
                  </a:moveTo>
                  <a:cubicBezTo>
                    <a:pt x="48635" y="1121"/>
                    <a:pt x="36540" y="-3124"/>
                    <a:pt x="36175" y="3060"/>
                  </a:cubicBezTo>
                  <a:cubicBezTo>
                    <a:pt x="35890" y="8274"/>
                    <a:pt x="44698" y="13455"/>
                    <a:pt x="43765" y="17165"/>
                  </a:cubicBezTo>
                  <a:cubicBezTo>
                    <a:pt x="42384" y="22646"/>
                    <a:pt x="34510" y="16596"/>
                    <a:pt x="29518" y="15794"/>
                  </a:cubicBezTo>
                  <a:cubicBezTo>
                    <a:pt x="19451" y="14157"/>
                    <a:pt x="22009" y="26757"/>
                    <a:pt x="23389" y="30634"/>
                  </a:cubicBezTo>
                  <a:cubicBezTo>
                    <a:pt x="26880" y="40026"/>
                    <a:pt x="-2305" y="37887"/>
                    <a:pt x="2363" y="44806"/>
                  </a:cubicBezTo>
                  <a:cubicBezTo>
                    <a:pt x="5123" y="48884"/>
                    <a:pt x="-2954" y="54833"/>
                    <a:pt x="1105" y="57707"/>
                  </a:cubicBezTo>
                  <a:cubicBezTo>
                    <a:pt x="7721" y="61371"/>
                    <a:pt x="15027" y="64115"/>
                    <a:pt x="22699" y="65829"/>
                  </a:cubicBezTo>
                  <a:cubicBezTo>
                    <a:pt x="44373" y="71912"/>
                    <a:pt x="58864" y="67902"/>
                    <a:pt x="78956" y="71678"/>
                  </a:cubicBezTo>
                  <a:cubicBezTo>
                    <a:pt x="86506" y="73116"/>
                    <a:pt x="90280" y="78363"/>
                    <a:pt x="97384" y="80101"/>
                  </a:cubicBezTo>
                  <a:cubicBezTo>
                    <a:pt x="110697" y="83644"/>
                    <a:pt x="106435" y="74687"/>
                    <a:pt x="106719" y="69807"/>
                  </a:cubicBezTo>
                  <a:cubicBezTo>
                    <a:pt x="107531" y="54465"/>
                    <a:pt x="119140" y="48081"/>
                    <a:pt x="111185" y="30367"/>
                  </a:cubicBezTo>
                  <a:cubicBezTo>
                    <a:pt x="109439" y="26523"/>
                    <a:pt x="107490" y="22646"/>
                    <a:pt x="105298" y="18769"/>
                  </a:cubicBezTo>
                  <a:cubicBezTo>
                    <a:pt x="100104" y="9577"/>
                    <a:pt x="101443" y="14524"/>
                    <a:pt x="90768" y="11416"/>
                  </a:cubicBezTo>
                  <a:cubicBezTo>
                    <a:pt x="80092" y="8307"/>
                    <a:pt x="67793" y="-48"/>
                    <a:pt x="57038" y="6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16F54669-20C4-4A03-876B-36D1EB4BEAA6}"/>
                </a:ext>
              </a:extLst>
            </p:cNvPr>
            <p:cNvSpPr/>
            <p:nvPr/>
          </p:nvSpPr>
          <p:spPr>
            <a:xfrm>
              <a:off x="8413553" y="4703992"/>
              <a:ext cx="112986" cy="117151"/>
            </a:xfrm>
            <a:custGeom>
              <a:avLst/>
              <a:gdLst>
                <a:gd name="connsiteX0" fmla="*/ 98411 w 112986"/>
                <a:gd name="connsiteY0" fmla="*/ 107020 h 117151"/>
                <a:gd name="connsiteX1" fmla="*/ 101699 w 112986"/>
                <a:gd name="connsiteY1" fmla="*/ 81752 h 117151"/>
                <a:gd name="connsiteX2" fmla="*/ 95245 w 112986"/>
                <a:gd name="connsiteY2" fmla="*/ 73463 h 117151"/>
                <a:gd name="connsiteX3" fmla="*/ 77548 w 112986"/>
                <a:gd name="connsiteY3" fmla="*/ 79713 h 117151"/>
                <a:gd name="connsiteX4" fmla="*/ 72677 w 112986"/>
                <a:gd name="connsiteY4" fmla="*/ 66878 h 117151"/>
                <a:gd name="connsiteX5" fmla="*/ 87654 w 112986"/>
                <a:gd name="connsiteY5" fmla="*/ 62834 h 117151"/>
                <a:gd name="connsiteX6" fmla="*/ 111725 w 112986"/>
                <a:gd name="connsiteY6" fmla="*/ 54110 h 117151"/>
                <a:gd name="connsiteX7" fmla="*/ 60622 w 112986"/>
                <a:gd name="connsiteY7" fmla="*/ 34056 h 117151"/>
                <a:gd name="connsiteX8" fmla="*/ 49947 w 112986"/>
                <a:gd name="connsiteY8" fmla="*/ 22324 h 117151"/>
                <a:gd name="connsiteX9" fmla="*/ 28799 w 112986"/>
                <a:gd name="connsiteY9" fmla="*/ 5980 h 117151"/>
                <a:gd name="connsiteX10" fmla="*/ 7449 w 112986"/>
                <a:gd name="connsiteY10" fmla="*/ 2638 h 117151"/>
                <a:gd name="connsiteX11" fmla="*/ 18733 w 112986"/>
                <a:gd name="connsiteY11" fmla="*/ 13534 h 117151"/>
                <a:gd name="connsiteX12" fmla="*/ 19788 w 112986"/>
                <a:gd name="connsiteY12" fmla="*/ 21823 h 117151"/>
                <a:gd name="connsiteX13" fmla="*/ 2497 w 112986"/>
                <a:gd name="connsiteY13" fmla="*/ 28173 h 117151"/>
                <a:gd name="connsiteX14" fmla="*/ -60 w 112986"/>
                <a:gd name="connsiteY14" fmla="*/ 81016 h 117151"/>
                <a:gd name="connsiteX15" fmla="*/ 32412 w 112986"/>
                <a:gd name="connsiteY15" fmla="*/ 86297 h 117151"/>
                <a:gd name="connsiteX16" fmla="*/ 57943 w 112986"/>
                <a:gd name="connsiteY16" fmla="*/ 79111 h 117151"/>
                <a:gd name="connsiteX17" fmla="*/ 73367 w 112986"/>
                <a:gd name="connsiteY17" fmla="*/ 116813 h 117151"/>
                <a:gd name="connsiteX18" fmla="*/ 86356 w 112986"/>
                <a:gd name="connsiteY18" fmla="*/ 114440 h 117151"/>
                <a:gd name="connsiteX19" fmla="*/ 98533 w 112986"/>
                <a:gd name="connsiteY19" fmla="*/ 107020 h 117151"/>
                <a:gd name="connsiteX20" fmla="*/ 98411 w 112986"/>
                <a:gd name="connsiteY20" fmla="*/ 107020 h 11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2986" h="117151">
                  <a:moveTo>
                    <a:pt x="98411" y="107020"/>
                  </a:moveTo>
                  <a:cubicBezTo>
                    <a:pt x="99345" y="98564"/>
                    <a:pt x="100887" y="90308"/>
                    <a:pt x="101699" y="81752"/>
                  </a:cubicBezTo>
                  <a:cubicBezTo>
                    <a:pt x="101983" y="78777"/>
                    <a:pt x="104093" y="69986"/>
                    <a:pt x="95245" y="73463"/>
                  </a:cubicBezTo>
                  <a:cubicBezTo>
                    <a:pt x="90090" y="75501"/>
                    <a:pt x="84854" y="79880"/>
                    <a:pt x="77548" y="79713"/>
                  </a:cubicBezTo>
                  <a:cubicBezTo>
                    <a:pt x="67522" y="79713"/>
                    <a:pt x="71176" y="69218"/>
                    <a:pt x="72677" y="66878"/>
                  </a:cubicBezTo>
                  <a:cubicBezTo>
                    <a:pt x="76046" y="61664"/>
                    <a:pt x="79375" y="62633"/>
                    <a:pt x="87654" y="62834"/>
                  </a:cubicBezTo>
                  <a:cubicBezTo>
                    <a:pt x="96787" y="62740"/>
                    <a:pt x="105474" y="59588"/>
                    <a:pt x="111725" y="54110"/>
                  </a:cubicBezTo>
                  <a:cubicBezTo>
                    <a:pt x="121507" y="45086"/>
                    <a:pt x="68618" y="37733"/>
                    <a:pt x="60622" y="34056"/>
                  </a:cubicBezTo>
                  <a:cubicBezTo>
                    <a:pt x="55304" y="31483"/>
                    <a:pt x="48445" y="26034"/>
                    <a:pt x="49947" y="22324"/>
                  </a:cubicBezTo>
                  <a:cubicBezTo>
                    <a:pt x="53722" y="13400"/>
                    <a:pt x="38582" y="11061"/>
                    <a:pt x="28799" y="5980"/>
                  </a:cubicBezTo>
                  <a:cubicBezTo>
                    <a:pt x="21250" y="2070"/>
                    <a:pt x="14633" y="-4047"/>
                    <a:pt x="7449" y="2638"/>
                  </a:cubicBezTo>
                  <a:cubicBezTo>
                    <a:pt x="3878" y="5980"/>
                    <a:pt x="14755" y="11094"/>
                    <a:pt x="18733" y="13534"/>
                  </a:cubicBezTo>
                  <a:cubicBezTo>
                    <a:pt x="23401" y="16475"/>
                    <a:pt x="27582" y="20586"/>
                    <a:pt x="19788" y="21823"/>
                  </a:cubicBezTo>
                  <a:cubicBezTo>
                    <a:pt x="9236" y="23528"/>
                    <a:pt x="5055" y="19283"/>
                    <a:pt x="2497" y="28173"/>
                  </a:cubicBezTo>
                  <a:cubicBezTo>
                    <a:pt x="-2373" y="45220"/>
                    <a:pt x="6556" y="64071"/>
                    <a:pt x="-60" y="81016"/>
                  </a:cubicBezTo>
                  <a:cubicBezTo>
                    <a:pt x="10574" y="82821"/>
                    <a:pt x="21777" y="84693"/>
                    <a:pt x="32412" y="86297"/>
                  </a:cubicBezTo>
                  <a:cubicBezTo>
                    <a:pt x="46741" y="88503"/>
                    <a:pt x="45441" y="79245"/>
                    <a:pt x="57943" y="79111"/>
                  </a:cubicBezTo>
                  <a:cubicBezTo>
                    <a:pt x="80268" y="78877"/>
                    <a:pt x="71054" y="110195"/>
                    <a:pt x="73367" y="116813"/>
                  </a:cubicBezTo>
                  <a:cubicBezTo>
                    <a:pt x="76695" y="116111"/>
                    <a:pt x="84327" y="116211"/>
                    <a:pt x="86356" y="114440"/>
                  </a:cubicBezTo>
                  <a:cubicBezTo>
                    <a:pt x="89603" y="111171"/>
                    <a:pt x="93783" y="108621"/>
                    <a:pt x="98533" y="107020"/>
                  </a:cubicBezTo>
                  <a:cubicBezTo>
                    <a:pt x="100278" y="89807"/>
                    <a:pt x="92282" y="108825"/>
                    <a:pt x="98411" y="1070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FC389DA1-176B-4CD8-92BA-83CF4E84914B}"/>
                </a:ext>
              </a:extLst>
            </p:cNvPr>
            <p:cNvSpPr/>
            <p:nvPr/>
          </p:nvSpPr>
          <p:spPr>
            <a:xfrm>
              <a:off x="7839479" y="4448072"/>
              <a:ext cx="840911" cy="486434"/>
            </a:xfrm>
            <a:custGeom>
              <a:avLst/>
              <a:gdLst>
                <a:gd name="connsiteX0" fmla="*/ 576166 w 840911"/>
                <a:gd name="connsiteY0" fmla="*/ 304550 h 486434"/>
                <a:gd name="connsiteX1" fmla="*/ 589723 w 840911"/>
                <a:gd name="connsiteY1" fmla="*/ 277811 h 486434"/>
                <a:gd name="connsiteX2" fmla="*/ 580834 w 840911"/>
                <a:gd name="connsiteY2" fmla="*/ 260230 h 486434"/>
                <a:gd name="connsiteX3" fmla="*/ 620612 w 840911"/>
                <a:gd name="connsiteY3" fmla="*/ 269388 h 486434"/>
                <a:gd name="connsiteX4" fmla="*/ 626904 w 840911"/>
                <a:gd name="connsiteY4" fmla="*/ 284428 h 486434"/>
                <a:gd name="connsiteX5" fmla="*/ 644519 w 840911"/>
                <a:gd name="connsiteY5" fmla="*/ 292350 h 486434"/>
                <a:gd name="connsiteX6" fmla="*/ 683242 w 840911"/>
                <a:gd name="connsiteY6" fmla="*/ 312036 h 486434"/>
                <a:gd name="connsiteX7" fmla="*/ 645412 w 840911"/>
                <a:gd name="connsiteY7" fmla="*/ 325606 h 486434"/>
                <a:gd name="connsiteX8" fmla="*/ 669320 w 840911"/>
                <a:gd name="connsiteY8" fmla="*/ 329450 h 486434"/>
                <a:gd name="connsiteX9" fmla="*/ 675976 w 840911"/>
                <a:gd name="connsiteY9" fmla="*/ 334163 h 486434"/>
                <a:gd name="connsiteX10" fmla="*/ 672486 w 840911"/>
                <a:gd name="connsiteY10" fmla="*/ 363007 h 486434"/>
                <a:gd name="connsiteX11" fmla="*/ 702522 w 840911"/>
                <a:gd name="connsiteY11" fmla="*/ 335767 h 486434"/>
                <a:gd name="connsiteX12" fmla="*/ 723872 w 840911"/>
                <a:gd name="connsiteY12" fmla="*/ 341516 h 486434"/>
                <a:gd name="connsiteX13" fmla="*/ 745669 w 840911"/>
                <a:gd name="connsiteY13" fmla="*/ 327512 h 486434"/>
                <a:gd name="connsiteX14" fmla="*/ 766451 w 840911"/>
                <a:gd name="connsiteY14" fmla="*/ 304416 h 486434"/>
                <a:gd name="connsiteX15" fmla="*/ 813129 w 840911"/>
                <a:gd name="connsiteY15" fmla="*/ 301073 h 486434"/>
                <a:gd name="connsiteX16" fmla="*/ 827823 w 840911"/>
                <a:gd name="connsiteY16" fmla="*/ 306755 h 486434"/>
                <a:gd name="connsiteX17" fmla="*/ 840852 w 840911"/>
                <a:gd name="connsiteY17" fmla="*/ 290044 h 486434"/>
                <a:gd name="connsiteX18" fmla="*/ 824616 w 840911"/>
                <a:gd name="connsiteY18" fmla="*/ 275972 h 486434"/>
                <a:gd name="connsiteX19" fmla="*/ 803956 w 840911"/>
                <a:gd name="connsiteY19" fmla="*/ 262035 h 486434"/>
                <a:gd name="connsiteX20" fmla="*/ 769130 w 840911"/>
                <a:gd name="connsiteY20" fmla="*/ 252008 h 486434"/>
                <a:gd name="connsiteX21" fmla="*/ 730975 w 840911"/>
                <a:gd name="connsiteY21" fmla="*/ 254147 h 486434"/>
                <a:gd name="connsiteX22" fmla="*/ 699274 w 840911"/>
                <a:gd name="connsiteY22" fmla="*/ 258057 h 486434"/>
                <a:gd name="connsiteX23" fmla="*/ 693389 w 840911"/>
                <a:gd name="connsiteY23" fmla="*/ 267516 h 486434"/>
                <a:gd name="connsiteX24" fmla="*/ 626944 w 840911"/>
                <a:gd name="connsiteY24" fmla="*/ 255383 h 486434"/>
                <a:gd name="connsiteX25" fmla="*/ 608272 w 840911"/>
                <a:gd name="connsiteY25" fmla="*/ 239474 h 486434"/>
                <a:gd name="connsiteX26" fmla="*/ 604213 w 840911"/>
                <a:gd name="connsiteY26" fmla="*/ 224701 h 486434"/>
                <a:gd name="connsiteX27" fmla="*/ 587978 w 840911"/>
                <a:gd name="connsiteY27" fmla="*/ 236766 h 486434"/>
                <a:gd name="connsiteX28" fmla="*/ 563624 w 840911"/>
                <a:gd name="connsiteY28" fmla="*/ 244053 h 486434"/>
                <a:gd name="connsiteX29" fmla="*/ 507570 w 840911"/>
                <a:gd name="connsiteY29" fmla="*/ 222896 h 486434"/>
                <a:gd name="connsiteX30" fmla="*/ 490806 w 840911"/>
                <a:gd name="connsiteY30" fmla="*/ 208022 h 486434"/>
                <a:gd name="connsiteX31" fmla="*/ 456507 w 840911"/>
                <a:gd name="connsiteY31" fmla="*/ 198697 h 486434"/>
                <a:gd name="connsiteX32" fmla="*/ 432153 w 840911"/>
                <a:gd name="connsiteY32" fmla="*/ 183356 h 486434"/>
                <a:gd name="connsiteX33" fmla="*/ 407556 w 840911"/>
                <a:gd name="connsiteY33" fmla="*/ 167546 h 486434"/>
                <a:gd name="connsiteX34" fmla="*/ 383771 w 840911"/>
                <a:gd name="connsiteY34" fmla="*/ 153675 h 486434"/>
                <a:gd name="connsiteX35" fmla="*/ 394649 w 840911"/>
                <a:gd name="connsiteY35" fmla="*/ 134256 h 486434"/>
                <a:gd name="connsiteX36" fmla="*/ 399520 w 840911"/>
                <a:gd name="connsiteY36" fmla="*/ 123394 h 486434"/>
                <a:gd name="connsiteX37" fmla="*/ 386206 w 840911"/>
                <a:gd name="connsiteY37" fmla="*/ 110024 h 486434"/>
                <a:gd name="connsiteX38" fmla="*/ 363516 w 840911"/>
                <a:gd name="connsiteY38" fmla="*/ 93981 h 486434"/>
                <a:gd name="connsiteX39" fmla="*/ 353856 w 840911"/>
                <a:gd name="connsiteY39" fmla="*/ 76534 h 486434"/>
                <a:gd name="connsiteX40" fmla="*/ 355317 w 840911"/>
                <a:gd name="connsiteY40" fmla="*/ 69642 h 486434"/>
                <a:gd name="connsiteX41" fmla="*/ 356129 w 840911"/>
                <a:gd name="connsiteY41" fmla="*/ 69247 h 486434"/>
                <a:gd name="connsiteX42" fmla="*/ 367656 w 840911"/>
                <a:gd name="connsiteY42" fmla="*/ 73592 h 486434"/>
                <a:gd name="connsiteX43" fmla="*/ 380645 w 840911"/>
                <a:gd name="connsiteY43" fmla="*/ 65337 h 486434"/>
                <a:gd name="connsiteX44" fmla="*/ 375247 w 840911"/>
                <a:gd name="connsiteY44" fmla="*/ 46954 h 486434"/>
                <a:gd name="connsiteX45" fmla="*/ 363882 w 840911"/>
                <a:gd name="connsiteY45" fmla="*/ 24226 h 486434"/>
                <a:gd name="connsiteX46" fmla="*/ 334941 w 840911"/>
                <a:gd name="connsiteY46" fmla="*/ 11792 h 486434"/>
                <a:gd name="connsiteX47" fmla="*/ 265939 w 840911"/>
                <a:gd name="connsiteY47" fmla="*/ 7046 h 486434"/>
                <a:gd name="connsiteX48" fmla="*/ 232452 w 840911"/>
                <a:gd name="connsiteY48" fmla="*/ 1063 h 486434"/>
                <a:gd name="connsiteX49" fmla="*/ 232452 w 840911"/>
                <a:gd name="connsiteY49" fmla="*/ 12929 h 486434"/>
                <a:gd name="connsiteX50" fmla="*/ 239109 w 840911"/>
                <a:gd name="connsiteY50" fmla="*/ 41539 h 486434"/>
                <a:gd name="connsiteX51" fmla="*/ 257617 w 840911"/>
                <a:gd name="connsiteY51" fmla="*/ 52536 h 486434"/>
                <a:gd name="connsiteX52" fmla="*/ 241869 w 840911"/>
                <a:gd name="connsiteY52" fmla="*/ 55109 h 486434"/>
                <a:gd name="connsiteX53" fmla="*/ 232858 w 840911"/>
                <a:gd name="connsiteY53" fmla="*/ 65604 h 486434"/>
                <a:gd name="connsiteX54" fmla="*/ 212319 w 840911"/>
                <a:gd name="connsiteY54" fmla="*/ 73091 h 486434"/>
                <a:gd name="connsiteX55" fmla="*/ 205216 w 840911"/>
                <a:gd name="connsiteY55" fmla="*/ 81146 h 486434"/>
                <a:gd name="connsiteX56" fmla="*/ 189468 w 840911"/>
                <a:gd name="connsiteY56" fmla="*/ 81815 h 486434"/>
                <a:gd name="connsiteX57" fmla="*/ 174165 w 840911"/>
                <a:gd name="connsiteY57" fmla="*/ 94148 h 486434"/>
                <a:gd name="connsiteX58" fmla="*/ 152734 w 840911"/>
                <a:gd name="connsiteY58" fmla="*/ 97056 h 486434"/>
                <a:gd name="connsiteX59" fmla="*/ 130247 w 840911"/>
                <a:gd name="connsiteY59" fmla="*/ 108353 h 486434"/>
                <a:gd name="connsiteX60" fmla="*/ 116609 w 840911"/>
                <a:gd name="connsiteY60" fmla="*/ 107183 h 486434"/>
                <a:gd name="connsiteX61" fmla="*/ 98262 w 840911"/>
                <a:gd name="connsiteY61" fmla="*/ 105880 h 486434"/>
                <a:gd name="connsiteX62" fmla="*/ 76628 w 840911"/>
                <a:gd name="connsiteY62" fmla="*/ 99964 h 486434"/>
                <a:gd name="connsiteX63" fmla="*/ 52274 w 840911"/>
                <a:gd name="connsiteY63" fmla="*/ 110191 h 486434"/>
                <a:gd name="connsiteX64" fmla="*/ 67495 w 840911"/>
                <a:gd name="connsiteY64" fmla="*/ 123327 h 486434"/>
                <a:gd name="connsiteX65" fmla="*/ 67292 w 840911"/>
                <a:gd name="connsiteY65" fmla="*/ 134256 h 486434"/>
                <a:gd name="connsiteX66" fmla="*/ 77967 w 840911"/>
                <a:gd name="connsiteY66" fmla="*/ 148829 h 486434"/>
                <a:gd name="connsiteX67" fmla="*/ 42451 w 840911"/>
                <a:gd name="connsiteY67" fmla="*/ 159324 h 486434"/>
                <a:gd name="connsiteX68" fmla="*/ 9046 w 840911"/>
                <a:gd name="connsiteY68" fmla="*/ 155982 h 486434"/>
                <a:gd name="connsiteX69" fmla="*/ 6326 w 840911"/>
                <a:gd name="connsiteY69" fmla="*/ 171523 h 486434"/>
                <a:gd name="connsiteX70" fmla="*/ 39813 w 840911"/>
                <a:gd name="connsiteY70" fmla="*/ 185294 h 486434"/>
                <a:gd name="connsiteX71" fmla="*/ 47931 w 840911"/>
                <a:gd name="connsiteY71" fmla="*/ 191444 h 486434"/>
                <a:gd name="connsiteX72" fmla="*/ 10304 w 840911"/>
                <a:gd name="connsiteY72" fmla="*/ 191812 h 486434"/>
                <a:gd name="connsiteX73" fmla="*/ 47119 w 840911"/>
                <a:gd name="connsiteY73" fmla="*/ 224701 h 486434"/>
                <a:gd name="connsiteX74" fmla="*/ 97978 w 840911"/>
                <a:gd name="connsiteY74" fmla="*/ 219754 h 486434"/>
                <a:gd name="connsiteX75" fmla="*/ 111251 w 840911"/>
                <a:gd name="connsiteY75" fmla="*/ 214874 h 486434"/>
                <a:gd name="connsiteX76" fmla="*/ 111616 w 840911"/>
                <a:gd name="connsiteY76" fmla="*/ 231853 h 486434"/>
                <a:gd name="connsiteX77" fmla="*/ 103498 w 840911"/>
                <a:gd name="connsiteY77" fmla="*/ 252877 h 486434"/>
                <a:gd name="connsiteX78" fmla="*/ 102930 w 840911"/>
                <a:gd name="connsiteY78" fmla="*/ 279615 h 486434"/>
                <a:gd name="connsiteX79" fmla="*/ 121398 w 840911"/>
                <a:gd name="connsiteY79" fmla="*/ 366216 h 486434"/>
                <a:gd name="connsiteX80" fmla="*/ 129516 w 840911"/>
                <a:gd name="connsiteY80" fmla="*/ 402715 h 486434"/>
                <a:gd name="connsiteX81" fmla="*/ 146361 w 840911"/>
                <a:gd name="connsiteY81" fmla="*/ 437141 h 486434"/>
                <a:gd name="connsiteX82" fmla="*/ 153952 w 840911"/>
                <a:gd name="connsiteY82" fmla="*/ 472236 h 486434"/>
                <a:gd name="connsiteX83" fmla="*/ 193161 w 840911"/>
                <a:gd name="connsiteY83" fmla="*/ 479622 h 486434"/>
                <a:gd name="connsiteX84" fmla="*/ 214836 w 840911"/>
                <a:gd name="connsiteY84" fmla="*/ 474408 h 486434"/>
                <a:gd name="connsiteX85" fmla="*/ 230382 w 840911"/>
                <a:gd name="connsiteY85" fmla="*/ 464013 h 486434"/>
                <a:gd name="connsiteX86" fmla="*/ 249378 w 840911"/>
                <a:gd name="connsiteY86" fmla="*/ 456827 h 486434"/>
                <a:gd name="connsiteX87" fmla="*/ 259160 w 840911"/>
                <a:gd name="connsiteY87" fmla="*/ 438912 h 486434"/>
                <a:gd name="connsiteX88" fmla="*/ 281444 w 840911"/>
                <a:gd name="connsiteY88" fmla="*/ 411338 h 486434"/>
                <a:gd name="connsiteX89" fmla="*/ 302023 w 840911"/>
                <a:gd name="connsiteY89" fmla="*/ 377513 h 486434"/>
                <a:gd name="connsiteX90" fmla="*/ 331694 w 840911"/>
                <a:gd name="connsiteY90" fmla="*/ 375708 h 486434"/>
                <a:gd name="connsiteX91" fmla="*/ 360553 w 840911"/>
                <a:gd name="connsiteY91" fmla="*/ 368756 h 486434"/>
                <a:gd name="connsiteX92" fmla="*/ 414172 w 840911"/>
                <a:gd name="connsiteY92" fmla="*/ 359899 h 486434"/>
                <a:gd name="connsiteX93" fmla="*/ 460851 w 840911"/>
                <a:gd name="connsiteY93" fmla="*/ 347566 h 486434"/>
                <a:gd name="connsiteX94" fmla="*/ 509558 w 840911"/>
                <a:gd name="connsiteY94" fmla="*/ 334731 h 486434"/>
                <a:gd name="connsiteX95" fmla="*/ 557738 w 840911"/>
                <a:gd name="connsiteY95" fmla="*/ 333327 h 486434"/>
                <a:gd name="connsiteX96" fmla="*/ 577140 w 840911"/>
                <a:gd name="connsiteY96" fmla="*/ 327044 h 486434"/>
                <a:gd name="connsiteX97" fmla="*/ 576612 w 840911"/>
                <a:gd name="connsiteY97" fmla="*/ 304850 h 486434"/>
                <a:gd name="connsiteX98" fmla="*/ 576166 w 840911"/>
                <a:gd name="connsiteY98" fmla="*/ 304550 h 486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840911" h="486434">
                  <a:moveTo>
                    <a:pt x="576166" y="304550"/>
                  </a:moveTo>
                  <a:cubicBezTo>
                    <a:pt x="573649" y="295826"/>
                    <a:pt x="570402" y="275438"/>
                    <a:pt x="589723" y="277811"/>
                  </a:cubicBezTo>
                  <a:cubicBezTo>
                    <a:pt x="613306" y="280652"/>
                    <a:pt x="581118" y="263305"/>
                    <a:pt x="580834" y="260230"/>
                  </a:cubicBezTo>
                  <a:cubicBezTo>
                    <a:pt x="579778" y="247729"/>
                    <a:pt x="616147" y="265979"/>
                    <a:pt x="620612" y="269388"/>
                  </a:cubicBezTo>
                  <a:cubicBezTo>
                    <a:pt x="627634" y="274602"/>
                    <a:pt x="621220" y="279081"/>
                    <a:pt x="626904" y="284428"/>
                  </a:cubicBezTo>
                  <a:cubicBezTo>
                    <a:pt x="632586" y="289776"/>
                    <a:pt x="636199" y="290278"/>
                    <a:pt x="644519" y="292350"/>
                  </a:cubicBezTo>
                  <a:cubicBezTo>
                    <a:pt x="656412" y="295258"/>
                    <a:pt x="697286" y="302778"/>
                    <a:pt x="683242" y="312036"/>
                  </a:cubicBezTo>
                  <a:cubicBezTo>
                    <a:pt x="671593" y="319623"/>
                    <a:pt x="649228" y="314577"/>
                    <a:pt x="645412" y="325606"/>
                  </a:cubicBezTo>
                  <a:cubicBezTo>
                    <a:pt x="640217" y="340614"/>
                    <a:pt x="660471" y="332926"/>
                    <a:pt x="669320" y="329450"/>
                  </a:cubicBezTo>
                  <a:cubicBezTo>
                    <a:pt x="675813" y="326910"/>
                    <a:pt x="676098" y="330720"/>
                    <a:pt x="675976" y="334163"/>
                  </a:cubicBezTo>
                  <a:cubicBezTo>
                    <a:pt x="675733" y="343922"/>
                    <a:pt x="673541" y="353381"/>
                    <a:pt x="672486" y="363007"/>
                  </a:cubicBezTo>
                  <a:cubicBezTo>
                    <a:pt x="688072" y="358562"/>
                    <a:pt x="695054" y="346296"/>
                    <a:pt x="702522" y="335767"/>
                  </a:cubicBezTo>
                  <a:cubicBezTo>
                    <a:pt x="705810" y="331155"/>
                    <a:pt x="717621" y="339711"/>
                    <a:pt x="723872" y="341516"/>
                  </a:cubicBezTo>
                  <a:cubicBezTo>
                    <a:pt x="729027" y="343053"/>
                    <a:pt x="743680" y="330219"/>
                    <a:pt x="745669" y="327512"/>
                  </a:cubicBezTo>
                  <a:cubicBezTo>
                    <a:pt x="751351" y="319891"/>
                    <a:pt x="756953" y="310399"/>
                    <a:pt x="766451" y="304416"/>
                  </a:cubicBezTo>
                  <a:cubicBezTo>
                    <a:pt x="772539" y="300539"/>
                    <a:pt x="802981" y="297330"/>
                    <a:pt x="813129" y="301073"/>
                  </a:cubicBezTo>
                  <a:cubicBezTo>
                    <a:pt x="812885" y="301073"/>
                    <a:pt x="833424" y="317250"/>
                    <a:pt x="827823" y="306755"/>
                  </a:cubicBezTo>
                  <a:cubicBezTo>
                    <a:pt x="820882" y="293921"/>
                    <a:pt x="834764" y="297865"/>
                    <a:pt x="840852" y="290044"/>
                  </a:cubicBezTo>
                  <a:cubicBezTo>
                    <a:pt x="833302" y="287433"/>
                    <a:pt x="827376" y="282330"/>
                    <a:pt x="824616" y="275972"/>
                  </a:cubicBezTo>
                  <a:cubicBezTo>
                    <a:pt x="819907" y="267850"/>
                    <a:pt x="820922" y="259929"/>
                    <a:pt x="803956" y="262035"/>
                  </a:cubicBezTo>
                  <a:cubicBezTo>
                    <a:pt x="794579" y="263204"/>
                    <a:pt x="781023" y="252208"/>
                    <a:pt x="769130" y="252008"/>
                  </a:cubicBezTo>
                  <a:cubicBezTo>
                    <a:pt x="761702" y="252008"/>
                    <a:pt x="735319" y="252008"/>
                    <a:pt x="730975" y="254147"/>
                  </a:cubicBezTo>
                  <a:cubicBezTo>
                    <a:pt x="721843" y="258993"/>
                    <a:pt x="711817" y="258659"/>
                    <a:pt x="699274" y="258057"/>
                  </a:cubicBezTo>
                  <a:cubicBezTo>
                    <a:pt x="688193" y="257523"/>
                    <a:pt x="694404" y="261700"/>
                    <a:pt x="693389" y="267516"/>
                  </a:cubicBezTo>
                  <a:cubicBezTo>
                    <a:pt x="691035" y="280886"/>
                    <a:pt x="640826" y="261232"/>
                    <a:pt x="626944" y="255383"/>
                  </a:cubicBezTo>
                  <a:cubicBezTo>
                    <a:pt x="617527" y="251372"/>
                    <a:pt x="607583" y="246125"/>
                    <a:pt x="608272" y="239474"/>
                  </a:cubicBezTo>
                  <a:cubicBezTo>
                    <a:pt x="608272" y="239140"/>
                    <a:pt x="615213" y="220222"/>
                    <a:pt x="604213" y="224701"/>
                  </a:cubicBezTo>
                  <a:cubicBezTo>
                    <a:pt x="593214" y="229179"/>
                    <a:pt x="589521" y="226205"/>
                    <a:pt x="587978" y="236766"/>
                  </a:cubicBezTo>
                  <a:cubicBezTo>
                    <a:pt x="586760" y="246125"/>
                    <a:pt x="578155" y="246593"/>
                    <a:pt x="563624" y="244053"/>
                  </a:cubicBezTo>
                  <a:cubicBezTo>
                    <a:pt x="540122" y="240009"/>
                    <a:pt x="527377" y="231853"/>
                    <a:pt x="507570" y="222896"/>
                  </a:cubicBezTo>
                  <a:cubicBezTo>
                    <a:pt x="495068" y="217280"/>
                    <a:pt x="497625" y="215442"/>
                    <a:pt x="490806" y="208022"/>
                  </a:cubicBezTo>
                  <a:cubicBezTo>
                    <a:pt x="482201" y="198630"/>
                    <a:pt x="469577" y="202273"/>
                    <a:pt x="456507" y="198697"/>
                  </a:cubicBezTo>
                  <a:cubicBezTo>
                    <a:pt x="447091" y="196123"/>
                    <a:pt x="441976" y="186798"/>
                    <a:pt x="432153" y="183356"/>
                  </a:cubicBezTo>
                  <a:cubicBezTo>
                    <a:pt x="419489" y="178944"/>
                    <a:pt x="417176" y="172493"/>
                    <a:pt x="407556" y="167546"/>
                  </a:cubicBezTo>
                  <a:cubicBezTo>
                    <a:pt x="398708" y="163001"/>
                    <a:pt x="392051" y="158422"/>
                    <a:pt x="383771" y="153675"/>
                  </a:cubicBezTo>
                  <a:cubicBezTo>
                    <a:pt x="373583" y="147893"/>
                    <a:pt x="385760" y="136395"/>
                    <a:pt x="394649" y="134256"/>
                  </a:cubicBezTo>
                  <a:cubicBezTo>
                    <a:pt x="405080" y="131750"/>
                    <a:pt x="408896" y="130914"/>
                    <a:pt x="399520" y="123394"/>
                  </a:cubicBezTo>
                  <a:cubicBezTo>
                    <a:pt x="394080" y="119115"/>
                    <a:pt x="392538" y="113935"/>
                    <a:pt x="386206" y="110024"/>
                  </a:cubicBezTo>
                  <a:cubicBezTo>
                    <a:pt x="377520" y="104576"/>
                    <a:pt x="371715" y="99997"/>
                    <a:pt x="363516" y="93981"/>
                  </a:cubicBezTo>
                  <a:cubicBezTo>
                    <a:pt x="353450" y="86795"/>
                    <a:pt x="359904" y="83954"/>
                    <a:pt x="353856" y="76534"/>
                  </a:cubicBezTo>
                  <a:cubicBezTo>
                    <a:pt x="351948" y="74298"/>
                    <a:pt x="352598" y="71213"/>
                    <a:pt x="355317" y="69642"/>
                  </a:cubicBezTo>
                  <a:cubicBezTo>
                    <a:pt x="355561" y="69495"/>
                    <a:pt x="355845" y="69361"/>
                    <a:pt x="356129" y="69247"/>
                  </a:cubicBezTo>
                  <a:cubicBezTo>
                    <a:pt x="360553" y="67576"/>
                    <a:pt x="364247" y="72222"/>
                    <a:pt x="367656" y="73592"/>
                  </a:cubicBezTo>
                  <a:cubicBezTo>
                    <a:pt x="382025" y="79575"/>
                    <a:pt x="385191" y="71721"/>
                    <a:pt x="380645" y="65337"/>
                  </a:cubicBezTo>
                  <a:cubicBezTo>
                    <a:pt x="375166" y="57716"/>
                    <a:pt x="369930" y="53505"/>
                    <a:pt x="375247" y="46954"/>
                  </a:cubicBezTo>
                  <a:cubicBezTo>
                    <a:pt x="383364" y="36927"/>
                    <a:pt x="369889" y="34587"/>
                    <a:pt x="363882" y="24226"/>
                  </a:cubicBezTo>
                  <a:cubicBezTo>
                    <a:pt x="357874" y="13864"/>
                    <a:pt x="349675" y="2267"/>
                    <a:pt x="334941" y="11792"/>
                  </a:cubicBezTo>
                  <a:cubicBezTo>
                    <a:pt x="320207" y="21318"/>
                    <a:pt x="286233" y="15803"/>
                    <a:pt x="265939" y="7046"/>
                  </a:cubicBezTo>
                  <a:cubicBezTo>
                    <a:pt x="255750" y="2567"/>
                    <a:pt x="242965" y="-2981"/>
                    <a:pt x="232452" y="1063"/>
                  </a:cubicBezTo>
                  <a:cubicBezTo>
                    <a:pt x="225551" y="3603"/>
                    <a:pt x="232452" y="8550"/>
                    <a:pt x="232452" y="12929"/>
                  </a:cubicBezTo>
                  <a:cubicBezTo>
                    <a:pt x="231843" y="20616"/>
                    <a:pt x="224334" y="34220"/>
                    <a:pt x="239109" y="41539"/>
                  </a:cubicBezTo>
                  <a:cubicBezTo>
                    <a:pt x="241909" y="42943"/>
                    <a:pt x="264761" y="48224"/>
                    <a:pt x="257617" y="52536"/>
                  </a:cubicBezTo>
                  <a:cubicBezTo>
                    <a:pt x="254451" y="54441"/>
                    <a:pt x="246090" y="52937"/>
                    <a:pt x="241869" y="55109"/>
                  </a:cubicBezTo>
                  <a:cubicBezTo>
                    <a:pt x="237363" y="57552"/>
                    <a:pt x="234156" y="61299"/>
                    <a:pt x="232858" y="65604"/>
                  </a:cubicBezTo>
                  <a:cubicBezTo>
                    <a:pt x="229164" y="75331"/>
                    <a:pt x="222386" y="68946"/>
                    <a:pt x="212319" y="73091"/>
                  </a:cubicBezTo>
                  <a:cubicBezTo>
                    <a:pt x="207611" y="74996"/>
                    <a:pt x="208910" y="78907"/>
                    <a:pt x="205216" y="81146"/>
                  </a:cubicBezTo>
                  <a:cubicBezTo>
                    <a:pt x="201523" y="83386"/>
                    <a:pt x="194744" y="81714"/>
                    <a:pt x="189468" y="81815"/>
                  </a:cubicBezTo>
                  <a:cubicBezTo>
                    <a:pt x="182689" y="81815"/>
                    <a:pt x="177291" y="91407"/>
                    <a:pt x="174165" y="94148"/>
                  </a:cubicBezTo>
                  <a:cubicBezTo>
                    <a:pt x="168685" y="98760"/>
                    <a:pt x="162313" y="96889"/>
                    <a:pt x="152734" y="97056"/>
                  </a:cubicBezTo>
                  <a:cubicBezTo>
                    <a:pt x="140029" y="97290"/>
                    <a:pt x="139867" y="105211"/>
                    <a:pt x="130247" y="108353"/>
                  </a:cubicBezTo>
                  <a:cubicBezTo>
                    <a:pt x="124970" y="110058"/>
                    <a:pt x="122129" y="109289"/>
                    <a:pt x="116609" y="107183"/>
                  </a:cubicBezTo>
                  <a:cubicBezTo>
                    <a:pt x="106746" y="103406"/>
                    <a:pt x="106461" y="106682"/>
                    <a:pt x="98262" y="105880"/>
                  </a:cubicBezTo>
                  <a:cubicBezTo>
                    <a:pt x="90063" y="105077"/>
                    <a:pt x="85274" y="97825"/>
                    <a:pt x="76628" y="99964"/>
                  </a:cubicBezTo>
                  <a:cubicBezTo>
                    <a:pt x="68875" y="101902"/>
                    <a:pt x="53857" y="104576"/>
                    <a:pt x="52274" y="110191"/>
                  </a:cubicBezTo>
                  <a:cubicBezTo>
                    <a:pt x="50772" y="115138"/>
                    <a:pt x="65466" y="118581"/>
                    <a:pt x="67495" y="123327"/>
                  </a:cubicBezTo>
                  <a:cubicBezTo>
                    <a:pt x="69078" y="126937"/>
                    <a:pt x="65993" y="130413"/>
                    <a:pt x="67292" y="134256"/>
                  </a:cubicBezTo>
                  <a:cubicBezTo>
                    <a:pt x="69119" y="139604"/>
                    <a:pt x="73868" y="143849"/>
                    <a:pt x="77967" y="148829"/>
                  </a:cubicBezTo>
                  <a:cubicBezTo>
                    <a:pt x="95299" y="170086"/>
                    <a:pt x="62584" y="161831"/>
                    <a:pt x="42451" y="159324"/>
                  </a:cubicBezTo>
                  <a:cubicBezTo>
                    <a:pt x="30274" y="157786"/>
                    <a:pt x="19478" y="151035"/>
                    <a:pt x="9046" y="155982"/>
                  </a:cubicBezTo>
                  <a:cubicBezTo>
                    <a:pt x="-3131" y="161797"/>
                    <a:pt x="-2116" y="162031"/>
                    <a:pt x="6326" y="171523"/>
                  </a:cubicBezTo>
                  <a:cubicBezTo>
                    <a:pt x="14201" y="180224"/>
                    <a:pt x="26621" y="185331"/>
                    <a:pt x="39813" y="185294"/>
                  </a:cubicBezTo>
                  <a:cubicBezTo>
                    <a:pt x="46104" y="185495"/>
                    <a:pt x="60108" y="189338"/>
                    <a:pt x="47931" y="191444"/>
                  </a:cubicBezTo>
                  <a:cubicBezTo>
                    <a:pt x="39813" y="192915"/>
                    <a:pt x="4744" y="184124"/>
                    <a:pt x="10304" y="191812"/>
                  </a:cubicBezTo>
                  <a:cubicBezTo>
                    <a:pt x="19721" y="204737"/>
                    <a:pt x="32222" y="215930"/>
                    <a:pt x="47119" y="224701"/>
                  </a:cubicBezTo>
                  <a:cubicBezTo>
                    <a:pt x="63355" y="234026"/>
                    <a:pt x="106746" y="225035"/>
                    <a:pt x="97978" y="219754"/>
                  </a:cubicBezTo>
                  <a:cubicBezTo>
                    <a:pt x="90916" y="215476"/>
                    <a:pt x="109262" y="209092"/>
                    <a:pt x="111251" y="214874"/>
                  </a:cubicBezTo>
                  <a:cubicBezTo>
                    <a:pt x="113037" y="219954"/>
                    <a:pt x="105406" y="226973"/>
                    <a:pt x="111616" y="231853"/>
                  </a:cubicBezTo>
                  <a:cubicBezTo>
                    <a:pt x="120708" y="239073"/>
                    <a:pt x="104959" y="246559"/>
                    <a:pt x="103498" y="252877"/>
                  </a:cubicBezTo>
                  <a:cubicBezTo>
                    <a:pt x="102159" y="261747"/>
                    <a:pt x="101956" y="270711"/>
                    <a:pt x="102930" y="279615"/>
                  </a:cubicBezTo>
                  <a:cubicBezTo>
                    <a:pt x="104310" y="308794"/>
                    <a:pt x="112428" y="336837"/>
                    <a:pt x="121398" y="366216"/>
                  </a:cubicBezTo>
                  <a:cubicBezTo>
                    <a:pt x="125132" y="378382"/>
                    <a:pt x="125457" y="390548"/>
                    <a:pt x="129516" y="402715"/>
                  </a:cubicBezTo>
                  <a:cubicBezTo>
                    <a:pt x="133575" y="414279"/>
                    <a:pt x="143601" y="425309"/>
                    <a:pt x="146361" y="437141"/>
                  </a:cubicBezTo>
                  <a:cubicBezTo>
                    <a:pt x="149324" y="449775"/>
                    <a:pt x="145225" y="459234"/>
                    <a:pt x="153952" y="472236"/>
                  </a:cubicBezTo>
                  <a:cubicBezTo>
                    <a:pt x="162070" y="484502"/>
                    <a:pt x="180010" y="492290"/>
                    <a:pt x="193161" y="479622"/>
                  </a:cubicBezTo>
                  <a:cubicBezTo>
                    <a:pt x="197220" y="475578"/>
                    <a:pt x="207570" y="475444"/>
                    <a:pt x="214836" y="474408"/>
                  </a:cubicBezTo>
                  <a:cubicBezTo>
                    <a:pt x="225146" y="472904"/>
                    <a:pt x="224090" y="468292"/>
                    <a:pt x="230382" y="464013"/>
                  </a:cubicBezTo>
                  <a:cubicBezTo>
                    <a:pt x="236673" y="459735"/>
                    <a:pt x="245846" y="464448"/>
                    <a:pt x="249378" y="456827"/>
                  </a:cubicBezTo>
                  <a:cubicBezTo>
                    <a:pt x="252260" y="450677"/>
                    <a:pt x="253762" y="444260"/>
                    <a:pt x="259160" y="438912"/>
                  </a:cubicBezTo>
                  <a:cubicBezTo>
                    <a:pt x="268820" y="429387"/>
                    <a:pt x="281687" y="424975"/>
                    <a:pt x="281444" y="411338"/>
                  </a:cubicBezTo>
                  <a:cubicBezTo>
                    <a:pt x="281444" y="401311"/>
                    <a:pt x="285908" y="381958"/>
                    <a:pt x="302023" y="377513"/>
                  </a:cubicBezTo>
                  <a:cubicBezTo>
                    <a:pt x="309735" y="375374"/>
                    <a:pt x="322642" y="378148"/>
                    <a:pt x="331694" y="375708"/>
                  </a:cubicBezTo>
                  <a:cubicBezTo>
                    <a:pt x="341070" y="372790"/>
                    <a:pt x="350731" y="370464"/>
                    <a:pt x="360553" y="368756"/>
                  </a:cubicBezTo>
                  <a:cubicBezTo>
                    <a:pt x="378900" y="366116"/>
                    <a:pt x="396759" y="363843"/>
                    <a:pt x="414172" y="359899"/>
                  </a:cubicBezTo>
                  <a:cubicBezTo>
                    <a:pt x="429596" y="356557"/>
                    <a:pt x="443843" y="348702"/>
                    <a:pt x="460851" y="347566"/>
                  </a:cubicBezTo>
                  <a:cubicBezTo>
                    <a:pt x="482201" y="346162"/>
                    <a:pt x="502617" y="348735"/>
                    <a:pt x="509558" y="334731"/>
                  </a:cubicBezTo>
                  <a:cubicBezTo>
                    <a:pt x="514957" y="323735"/>
                    <a:pt x="541706" y="329751"/>
                    <a:pt x="557738" y="333327"/>
                  </a:cubicBezTo>
                  <a:cubicBezTo>
                    <a:pt x="573771" y="336904"/>
                    <a:pt x="575394" y="337973"/>
                    <a:pt x="577140" y="327044"/>
                  </a:cubicBezTo>
                  <a:cubicBezTo>
                    <a:pt x="578560" y="319677"/>
                    <a:pt x="578398" y="312163"/>
                    <a:pt x="576612" y="304850"/>
                  </a:cubicBezTo>
                  <a:cubicBezTo>
                    <a:pt x="573812" y="296361"/>
                    <a:pt x="577871" y="310933"/>
                    <a:pt x="576166" y="3045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3B3E4CC4-6072-444B-9999-62F1B242D943}"/>
                </a:ext>
              </a:extLst>
            </p:cNvPr>
            <p:cNvSpPr/>
            <p:nvPr/>
          </p:nvSpPr>
          <p:spPr>
            <a:xfrm>
              <a:off x="8595882" y="4264621"/>
              <a:ext cx="937115" cy="380378"/>
            </a:xfrm>
            <a:custGeom>
              <a:avLst/>
              <a:gdLst>
                <a:gd name="connsiteX0" fmla="*/ 910125 w 937115"/>
                <a:gd name="connsiteY0" fmla="*/ 342541 h 380378"/>
                <a:gd name="connsiteX1" fmla="*/ 884148 w 937115"/>
                <a:gd name="connsiteY1" fmla="*/ 331712 h 380378"/>
                <a:gd name="connsiteX2" fmla="*/ 864137 w 937115"/>
                <a:gd name="connsiteY2" fmla="*/ 325628 h 380378"/>
                <a:gd name="connsiteX3" fmla="*/ 833492 w 937115"/>
                <a:gd name="connsiteY3" fmla="*/ 314064 h 380378"/>
                <a:gd name="connsiteX4" fmla="*/ 822938 w 937115"/>
                <a:gd name="connsiteY4" fmla="*/ 298956 h 380378"/>
                <a:gd name="connsiteX5" fmla="*/ 840758 w 937115"/>
                <a:gd name="connsiteY5" fmla="*/ 290968 h 380378"/>
                <a:gd name="connsiteX6" fmla="*/ 875259 w 937115"/>
                <a:gd name="connsiteY6" fmla="*/ 277599 h 380378"/>
                <a:gd name="connsiteX7" fmla="*/ 835846 w 937115"/>
                <a:gd name="connsiteY7" fmla="*/ 260887 h 380378"/>
                <a:gd name="connsiteX8" fmla="*/ 814253 w 937115"/>
                <a:gd name="connsiteY8" fmla="*/ 245880 h 380378"/>
                <a:gd name="connsiteX9" fmla="*/ 742003 w 937115"/>
                <a:gd name="connsiteY9" fmla="*/ 234683 h 380378"/>
                <a:gd name="connsiteX10" fmla="*/ 689601 w 937115"/>
                <a:gd name="connsiteY10" fmla="*/ 223586 h 380378"/>
                <a:gd name="connsiteX11" fmla="*/ 631355 w 937115"/>
                <a:gd name="connsiteY11" fmla="*/ 199454 h 380378"/>
                <a:gd name="connsiteX12" fmla="*/ 592551 w 937115"/>
                <a:gd name="connsiteY12" fmla="*/ 168136 h 380378"/>
                <a:gd name="connsiteX13" fmla="*/ 572459 w 937115"/>
                <a:gd name="connsiteY13" fmla="*/ 154466 h 380378"/>
                <a:gd name="connsiteX14" fmla="*/ 542666 w 937115"/>
                <a:gd name="connsiteY14" fmla="*/ 141398 h 380378"/>
                <a:gd name="connsiteX15" fmla="*/ 509586 w 937115"/>
                <a:gd name="connsiteY15" fmla="*/ 130368 h 380378"/>
                <a:gd name="connsiteX16" fmla="*/ 476302 w 937115"/>
                <a:gd name="connsiteY16" fmla="*/ 125555 h 380378"/>
                <a:gd name="connsiteX17" fmla="*/ 441313 w 937115"/>
                <a:gd name="connsiteY17" fmla="*/ 90661 h 380378"/>
                <a:gd name="connsiteX18" fmla="*/ 423454 w 937115"/>
                <a:gd name="connsiteY18" fmla="*/ 74918 h 380378"/>
                <a:gd name="connsiteX19" fmla="*/ 393417 w 937115"/>
                <a:gd name="connsiteY19" fmla="*/ 57972 h 380378"/>
                <a:gd name="connsiteX20" fmla="*/ 359809 w 937115"/>
                <a:gd name="connsiteY20" fmla="*/ 40024 h 380378"/>
                <a:gd name="connsiteX21" fmla="*/ 325187 w 937115"/>
                <a:gd name="connsiteY21" fmla="*/ 38018 h 380378"/>
                <a:gd name="connsiteX22" fmla="*/ 304892 w 937115"/>
                <a:gd name="connsiteY22" fmla="*/ 46107 h 380378"/>
                <a:gd name="connsiteX23" fmla="*/ 309762 w 937115"/>
                <a:gd name="connsiteY23" fmla="*/ 65158 h 380378"/>
                <a:gd name="connsiteX24" fmla="*/ 284434 w 937115"/>
                <a:gd name="connsiteY24" fmla="*/ 66963 h 380378"/>
                <a:gd name="connsiteX25" fmla="*/ 271161 w 937115"/>
                <a:gd name="connsiteY25" fmla="*/ 67431 h 380378"/>
                <a:gd name="connsiteX26" fmla="*/ 248350 w 937115"/>
                <a:gd name="connsiteY26" fmla="*/ 53560 h 380378"/>
                <a:gd name="connsiteX27" fmla="*/ 217380 w 937115"/>
                <a:gd name="connsiteY27" fmla="*/ 44703 h 380378"/>
                <a:gd name="connsiteX28" fmla="*/ 202849 w 937115"/>
                <a:gd name="connsiteY28" fmla="*/ 29295 h 380378"/>
                <a:gd name="connsiteX29" fmla="*/ 145171 w 937115"/>
                <a:gd name="connsiteY29" fmla="*/ 4194 h 380378"/>
                <a:gd name="connsiteX30" fmla="*/ 83353 w 937115"/>
                <a:gd name="connsiteY30" fmla="*/ 3625 h 380378"/>
                <a:gd name="connsiteX31" fmla="*/ 51367 w 937115"/>
                <a:gd name="connsiteY31" fmla="*/ 4829 h 380378"/>
                <a:gd name="connsiteX32" fmla="*/ 13295 w 937115"/>
                <a:gd name="connsiteY32" fmla="*/ -285 h 380378"/>
                <a:gd name="connsiteX33" fmla="*/ -60 w 937115"/>
                <a:gd name="connsiteY33" fmla="*/ -285 h 380378"/>
                <a:gd name="connsiteX34" fmla="*/ 41261 w 937115"/>
                <a:gd name="connsiteY34" fmla="*/ 38988 h 380378"/>
                <a:gd name="connsiteX35" fmla="*/ 63342 w 937115"/>
                <a:gd name="connsiteY35" fmla="*/ 57872 h 380378"/>
                <a:gd name="connsiteX36" fmla="*/ 71460 w 937115"/>
                <a:gd name="connsiteY36" fmla="*/ 83541 h 380378"/>
                <a:gd name="connsiteX37" fmla="*/ 70932 w 937115"/>
                <a:gd name="connsiteY37" fmla="*/ 112586 h 380378"/>
                <a:gd name="connsiteX38" fmla="*/ 134820 w 937115"/>
                <a:gd name="connsiteY38" fmla="*/ 141565 h 380378"/>
                <a:gd name="connsiteX39" fmla="*/ 172813 w 937115"/>
                <a:gd name="connsiteY39" fmla="*/ 178865 h 380378"/>
                <a:gd name="connsiteX40" fmla="*/ 182960 w 937115"/>
                <a:gd name="connsiteY40" fmla="*/ 200758 h 380378"/>
                <a:gd name="connsiteX41" fmla="*/ 221195 w 937115"/>
                <a:gd name="connsiteY41" fmla="*/ 215063 h 380378"/>
                <a:gd name="connsiteX42" fmla="*/ 289792 w 937115"/>
                <a:gd name="connsiteY42" fmla="*/ 237958 h 380378"/>
                <a:gd name="connsiteX43" fmla="*/ 321533 w 937115"/>
                <a:gd name="connsiteY43" fmla="*/ 250124 h 380378"/>
                <a:gd name="connsiteX44" fmla="*/ 361596 w 937115"/>
                <a:gd name="connsiteY44" fmla="*/ 272619 h 380378"/>
                <a:gd name="connsiteX45" fmla="*/ 390495 w 937115"/>
                <a:gd name="connsiteY45" fmla="*/ 288027 h 380378"/>
                <a:gd name="connsiteX46" fmla="*/ 420248 w 937115"/>
                <a:gd name="connsiteY46" fmla="*/ 304171 h 380378"/>
                <a:gd name="connsiteX47" fmla="*/ 450527 w 937115"/>
                <a:gd name="connsiteY47" fmla="*/ 309552 h 380378"/>
                <a:gd name="connsiteX48" fmla="*/ 511412 w 937115"/>
                <a:gd name="connsiteY48" fmla="*/ 316805 h 380378"/>
                <a:gd name="connsiteX49" fmla="*/ 590603 w 937115"/>
                <a:gd name="connsiteY49" fmla="*/ 342374 h 380378"/>
                <a:gd name="connsiteX50" fmla="*/ 633830 w 937115"/>
                <a:gd name="connsiteY50" fmla="*/ 341572 h 380378"/>
                <a:gd name="connsiteX51" fmla="*/ 658387 w 937115"/>
                <a:gd name="connsiteY51" fmla="*/ 333550 h 380378"/>
                <a:gd name="connsiteX52" fmla="*/ 665287 w 937115"/>
                <a:gd name="connsiteY52" fmla="*/ 317974 h 380378"/>
                <a:gd name="connsiteX53" fmla="*/ 694188 w 937115"/>
                <a:gd name="connsiteY53" fmla="*/ 328570 h 380378"/>
                <a:gd name="connsiteX54" fmla="*/ 739892 w 937115"/>
                <a:gd name="connsiteY54" fmla="*/ 342507 h 380378"/>
                <a:gd name="connsiteX55" fmla="*/ 788112 w 937115"/>
                <a:gd name="connsiteY55" fmla="*/ 352534 h 380378"/>
                <a:gd name="connsiteX56" fmla="*/ 822532 w 937115"/>
                <a:gd name="connsiteY56" fmla="*/ 350228 h 380378"/>
                <a:gd name="connsiteX57" fmla="*/ 870023 w 937115"/>
                <a:gd name="connsiteY57" fmla="*/ 358851 h 380378"/>
                <a:gd name="connsiteX58" fmla="*/ 910125 w 937115"/>
                <a:gd name="connsiteY58" fmla="*/ 371820 h 380378"/>
                <a:gd name="connsiteX59" fmla="*/ 936427 w 937115"/>
                <a:gd name="connsiteY59" fmla="*/ 375162 h 380378"/>
                <a:gd name="connsiteX60" fmla="*/ 910369 w 937115"/>
                <a:gd name="connsiteY60" fmla="*/ 342641 h 380378"/>
                <a:gd name="connsiteX61" fmla="*/ 910125 w 937115"/>
                <a:gd name="connsiteY61" fmla="*/ 342541 h 38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37115" h="380378">
                  <a:moveTo>
                    <a:pt x="910125" y="342541"/>
                  </a:moveTo>
                  <a:cubicBezTo>
                    <a:pt x="904646" y="335164"/>
                    <a:pt x="894620" y="330969"/>
                    <a:pt x="884148" y="331712"/>
                  </a:cubicBezTo>
                  <a:cubicBezTo>
                    <a:pt x="872986" y="333082"/>
                    <a:pt x="874975" y="332915"/>
                    <a:pt x="864137" y="325628"/>
                  </a:cubicBezTo>
                  <a:cubicBezTo>
                    <a:pt x="854680" y="319278"/>
                    <a:pt x="844776" y="316938"/>
                    <a:pt x="833492" y="314064"/>
                  </a:cubicBezTo>
                  <a:cubicBezTo>
                    <a:pt x="825374" y="312025"/>
                    <a:pt x="812954" y="299892"/>
                    <a:pt x="822938" y="298956"/>
                  </a:cubicBezTo>
                  <a:cubicBezTo>
                    <a:pt x="832923" y="298020"/>
                    <a:pt x="832761" y="294110"/>
                    <a:pt x="840758" y="290968"/>
                  </a:cubicBezTo>
                  <a:cubicBezTo>
                    <a:pt x="852244" y="286513"/>
                    <a:pt x="863731" y="282054"/>
                    <a:pt x="875259" y="277599"/>
                  </a:cubicBezTo>
                  <a:cubicBezTo>
                    <a:pt x="863082" y="269276"/>
                    <a:pt x="848470" y="268006"/>
                    <a:pt x="835846" y="260887"/>
                  </a:cubicBezTo>
                  <a:cubicBezTo>
                    <a:pt x="826430" y="255539"/>
                    <a:pt x="826632" y="250860"/>
                    <a:pt x="814253" y="245880"/>
                  </a:cubicBezTo>
                  <a:cubicBezTo>
                    <a:pt x="788437" y="235251"/>
                    <a:pt x="766641" y="240264"/>
                    <a:pt x="742003" y="234683"/>
                  </a:cubicBezTo>
                  <a:cubicBezTo>
                    <a:pt x="724874" y="230839"/>
                    <a:pt x="706243" y="227764"/>
                    <a:pt x="689601" y="223586"/>
                  </a:cubicBezTo>
                  <a:cubicBezTo>
                    <a:pt x="668008" y="218138"/>
                    <a:pt x="651203" y="207309"/>
                    <a:pt x="631355" y="199454"/>
                  </a:cubicBezTo>
                  <a:cubicBezTo>
                    <a:pt x="609680" y="190898"/>
                    <a:pt x="611060" y="177662"/>
                    <a:pt x="592551" y="168136"/>
                  </a:cubicBezTo>
                  <a:cubicBezTo>
                    <a:pt x="584149" y="163825"/>
                    <a:pt x="580983" y="158678"/>
                    <a:pt x="572459" y="154466"/>
                  </a:cubicBezTo>
                  <a:cubicBezTo>
                    <a:pt x="562474" y="149553"/>
                    <a:pt x="552732" y="146846"/>
                    <a:pt x="542666" y="141398"/>
                  </a:cubicBezTo>
                  <a:cubicBezTo>
                    <a:pt x="531829" y="135515"/>
                    <a:pt x="522047" y="133543"/>
                    <a:pt x="509586" y="130368"/>
                  </a:cubicBezTo>
                  <a:cubicBezTo>
                    <a:pt x="499276" y="127727"/>
                    <a:pt x="485232" y="130134"/>
                    <a:pt x="476302" y="125555"/>
                  </a:cubicBezTo>
                  <a:cubicBezTo>
                    <a:pt x="456007" y="115093"/>
                    <a:pt x="434210" y="104164"/>
                    <a:pt x="441313" y="90661"/>
                  </a:cubicBezTo>
                  <a:cubicBezTo>
                    <a:pt x="445169" y="83341"/>
                    <a:pt x="435022" y="80032"/>
                    <a:pt x="423454" y="74918"/>
                  </a:cubicBezTo>
                  <a:cubicBezTo>
                    <a:pt x="412536" y="70072"/>
                    <a:pt x="405230" y="61816"/>
                    <a:pt x="393417" y="57972"/>
                  </a:cubicBezTo>
                  <a:cubicBezTo>
                    <a:pt x="379698" y="53494"/>
                    <a:pt x="371418" y="46174"/>
                    <a:pt x="359809" y="40024"/>
                  </a:cubicBezTo>
                  <a:cubicBezTo>
                    <a:pt x="350637" y="35177"/>
                    <a:pt x="335455" y="37350"/>
                    <a:pt x="325187" y="38018"/>
                  </a:cubicBezTo>
                  <a:cubicBezTo>
                    <a:pt x="316297" y="38620"/>
                    <a:pt x="304323" y="40291"/>
                    <a:pt x="304892" y="46107"/>
                  </a:cubicBezTo>
                  <a:cubicBezTo>
                    <a:pt x="305460" y="51923"/>
                    <a:pt x="313010" y="60914"/>
                    <a:pt x="309762" y="65158"/>
                  </a:cubicBezTo>
                  <a:cubicBezTo>
                    <a:pt x="305175" y="71108"/>
                    <a:pt x="295393" y="67899"/>
                    <a:pt x="284434" y="66963"/>
                  </a:cubicBezTo>
                  <a:cubicBezTo>
                    <a:pt x="281065" y="66662"/>
                    <a:pt x="274328" y="68267"/>
                    <a:pt x="271161" y="67431"/>
                  </a:cubicBezTo>
                  <a:cubicBezTo>
                    <a:pt x="261744" y="64924"/>
                    <a:pt x="257036" y="57070"/>
                    <a:pt x="248350" y="53560"/>
                  </a:cubicBezTo>
                  <a:cubicBezTo>
                    <a:pt x="235524" y="48413"/>
                    <a:pt x="228705" y="52257"/>
                    <a:pt x="217380" y="44703"/>
                  </a:cubicBezTo>
                  <a:cubicBezTo>
                    <a:pt x="208085" y="38486"/>
                    <a:pt x="204188" y="36447"/>
                    <a:pt x="202849" y="29295"/>
                  </a:cubicBezTo>
                  <a:cubicBezTo>
                    <a:pt x="201712" y="23078"/>
                    <a:pt x="156699" y="6734"/>
                    <a:pt x="145171" y="4194"/>
                  </a:cubicBezTo>
                  <a:cubicBezTo>
                    <a:pt x="124105" y="-486"/>
                    <a:pt x="103404" y="4428"/>
                    <a:pt x="83353" y="3625"/>
                  </a:cubicBezTo>
                  <a:cubicBezTo>
                    <a:pt x="71379" y="3158"/>
                    <a:pt x="62449" y="5130"/>
                    <a:pt x="51367" y="4829"/>
                  </a:cubicBezTo>
                  <a:cubicBezTo>
                    <a:pt x="38785" y="4528"/>
                    <a:pt x="25958" y="718"/>
                    <a:pt x="13295" y="-285"/>
                  </a:cubicBezTo>
                  <a:cubicBezTo>
                    <a:pt x="7855" y="-720"/>
                    <a:pt x="5461" y="1687"/>
                    <a:pt x="-60" y="-285"/>
                  </a:cubicBezTo>
                  <a:cubicBezTo>
                    <a:pt x="1402" y="12115"/>
                    <a:pt x="17719" y="31400"/>
                    <a:pt x="41261" y="38988"/>
                  </a:cubicBezTo>
                  <a:cubicBezTo>
                    <a:pt x="51287" y="42330"/>
                    <a:pt x="64154" y="51923"/>
                    <a:pt x="63342" y="57872"/>
                  </a:cubicBezTo>
                  <a:cubicBezTo>
                    <a:pt x="61880" y="68300"/>
                    <a:pt x="80552" y="74316"/>
                    <a:pt x="71460" y="83541"/>
                  </a:cubicBezTo>
                  <a:cubicBezTo>
                    <a:pt x="60581" y="94471"/>
                    <a:pt x="41829" y="99184"/>
                    <a:pt x="70932" y="112586"/>
                  </a:cubicBezTo>
                  <a:cubicBezTo>
                    <a:pt x="90212" y="121444"/>
                    <a:pt x="123699" y="128529"/>
                    <a:pt x="134820" y="141565"/>
                  </a:cubicBezTo>
                  <a:cubicBezTo>
                    <a:pt x="146470" y="155168"/>
                    <a:pt x="173218" y="163658"/>
                    <a:pt x="172813" y="178865"/>
                  </a:cubicBezTo>
                  <a:cubicBezTo>
                    <a:pt x="172609" y="186319"/>
                    <a:pt x="182838" y="193806"/>
                    <a:pt x="182960" y="200758"/>
                  </a:cubicBezTo>
                  <a:cubicBezTo>
                    <a:pt x="182960" y="206072"/>
                    <a:pt x="214863" y="212556"/>
                    <a:pt x="221195" y="215063"/>
                  </a:cubicBezTo>
                  <a:cubicBezTo>
                    <a:pt x="243357" y="223753"/>
                    <a:pt x="267428" y="229502"/>
                    <a:pt x="289792" y="237958"/>
                  </a:cubicBezTo>
                  <a:cubicBezTo>
                    <a:pt x="300345" y="241936"/>
                    <a:pt x="311223" y="245813"/>
                    <a:pt x="321533" y="250124"/>
                  </a:cubicBezTo>
                  <a:cubicBezTo>
                    <a:pt x="336470" y="256442"/>
                    <a:pt x="346171" y="267906"/>
                    <a:pt x="361596" y="272619"/>
                  </a:cubicBezTo>
                  <a:cubicBezTo>
                    <a:pt x="374340" y="276529"/>
                    <a:pt x="379333" y="282646"/>
                    <a:pt x="390495" y="288027"/>
                  </a:cubicBezTo>
                  <a:cubicBezTo>
                    <a:pt x="404945" y="294712"/>
                    <a:pt x="409938" y="294912"/>
                    <a:pt x="420248" y="304171"/>
                  </a:cubicBezTo>
                  <a:cubicBezTo>
                    <a:pt x="427513" y="310855"/>
                    <a:pt x="441923" y="309485"/>
                    <a:pt x="450527" y="309552"/>
                  </a:cubicBezTo>
                  <a:cubicBezTo>
                    <a:pt x="470376" y="309552"/>
                    <a:pt x="490184" y="310086"/>
                    <a:pt x="511412" y="316805"/>
                  </a:cubicBezTo>
                  <a:cubicBezTo>
                    <a:pt x="540312" y="326063"/>
                    <a:pt x="559633" y="340435"/>
                    <a:pt x="590603" y="342374"/>
                  </a:cubicBezTo>
                  <a:cubicBezTo>
                    <a:pt x="605986" y="343376"/>
                    <a:pt x="618041" y="339766"/>
                    <a:pt x="633830" y="341572"/>
                  </a:cubicBezTo>
                  <a:cubicBezTo>
                    <a:pt x="647266" y="343109"/>
                    <a:pt x="661391" y="344379"/>
                    <a:pt x="658387" y="333550"/>
                  </a:cubicBezTo>
                  <a:cubicBezTo>
                    <a:pt x="656317" y="326163"/>
                    <a:pt x="651203" y="319211"/>
                    <a:pt x="665287" y="317974"/>
                  </a:cubicBezTo>
                  <a:cubicBezTo>
                    <a:pt x="676775" y="316972"/>
                    <a:pt x="685582" y="323055"/>
                    <a:pt x="694188" y="328570"/>
                  </a:cubicBezTo>
                  <a:cubicBezTo>
                    <a:pt x="707380" y="336885"/>
                    <a:pt x="723290" y="341742"/>
                    <a:pt x="739892" y="342507"/>
                  </a:cubicBezTo>
                  <a:cubicBezTo>
                    <a:pt x="757264" y="342808"/>
                    <a:pt x="770700" y="347086"/>
                    <a:pt x="788112" y="352534"/>
                  </a:cubicBezTo>
                  <a:cubicBezTo>
                    <a:pt x="803983" y="357681"/>
                    <a:pt x="810153" y="351365"/>
                    <a:pt x="822532" y="350228"/>
                  </a:cubicBezTo>
                  <a:cubicBezTo>
                    <a:pt x="839662" y="348657"/>
                    <a:pt x="852325" y="354339"/>
                    <a:pt x="870023" y="358851"/>
                  </a:cubicBezTo>
                  <a:cubicBezTo>
                    <a:pt x="885853" y="362929"/>
                    <a:pt x="895878" y="363798"/>
                    <a:pt x="910125" y="371820"/>
                  </a:cubicBezTo>
                  <a:cubicBezTo>
                    <a:pt x="916903" y="375597"/>
                    <a:pt x="941257" y="386192"/>
                    <a:pt x="936427" y="375162"/>
                  </a:cubicBezTo>
                  <a:cubicBezTo>
                    <a:pt x="931597" y="364132"/>
                    <a:pt x="917147" y="353537"/>
                    <a:pt x="910369" y="342641"/>
                  </a:cubicBezTo>
                  <a:cubicBezTo>
                    <a:pt x="903996" y="332748"/>
                    <a:pt x="916214" y="352367"/>
                    <a:pt x="910125" y="34254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A0CCB4A3-25E2-4750-B245-255917DDDB26}"/>
                </a:ext>
              </a:extLst>
            </p:cNvPr>
            <p:cNvSpPr/>
            <p:nvPr/>
          </p:nvSpPr>
          <p:spPr>
            <a:xfrm>
              <a:off x="6822397" y="4283659"/>
              <a:ext cx="46897" cy="70523"/>
            </a:xfrm>
            <a:custGeom>
              <a:avLst/>
              <a:gdLst>
                <a:gd name="connsiteX0" fmla="*/ 16011 w 46897"/>
                <a:gd name="connsiteY0" fmla="*/ 68948 h 70523"/>
                <a:gd name="connsiteX1" fmla="*/ 19055 w 46897"/>
                <a:gd name="connsiteY1" fmla="*/ 70185 h 70523"/>
                <a:gd name="connsiteX2" fmla="*/ 31922 w 46897"/>
                <a:gd name="connsiteY2" fmla="*/ 46387 h 70523"/>
                <a:gd name="connsiteX3" fmla="*/ 27213 w 46897"/>
                <a:gd name="connsiteY3" fmla="*/ 25030 h 70523"/>
                <a:gd name="connsiteX4" fmla="*/ 32125 w 46897"/>
                <a:gd name="connsiteY4" fmla="*/ 16340 h 70523"/>
                <a:gd name="connsiteX5" fmla="*/ 45438 w 46897"/>
                <a:gd name="connsiteY5" fmla="*/ 12362 h 70523"/>
                <a:gd name="connsiteX6" fmla="*/ 32937 w 46897"/>
                <a:gd name="connsiteY6" fmla="*/ -339 h 70523"/>
                <a:gd name="connsiteX7" fmla="*/ 12642 w 46897"/>
                <a:gd name="connsiteY7" fmla="*/ 24261 h 70523"/>
                <a:gd name="connsiteX8" fmla="*/ 465 w 46897"/>
                <a:gd name="connsiteY8" fmla="*/ 38366 h 70523"/>
                <a:gd name="connsiteX9" fmla="*/ 16011 w 46897"/>
                <a:gd name="connsiteY9" fmla="*/ 68948 h 7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897" h="70523">
                  <a:moveTo>
                    <a:pt x="16011" y="68948"/>
                  </a:moveTo>
                  <a:lnTo>
                    <a:pt x="19055" y="70185"/>
                  </a:lnTo>
                  <a:cubicBezTo>
                    <a:pt x="21653" y="63500"/>
                    <a:pt x="23114" y="51568"/>
                    <a:pt x="31922" y="46387"/>
                  </a:cubicBezTo>
                  <a:cubicBezTo>
                    <a:pt x="44707" y="38733"/>
                    <a:pt x="24656" y="33018"/>
                    <a:pt x="27213" y="25030"/>
                  </a:cubicBezTo>
                  <a:cubicBezTo>
                    <a:pt x="27904" y="21835"/>
                    <a:pt x="29608" y="18840"/>
                    <a:pt x="32125" y="16340"/>
                  </a:cubicBezTo>
                  <a:cubicBezTo>
                    <a:pt x="37320" y="11794"/>
                    <a:pt x="42881" y="19314"/>
                    <a:pt x="45438" y="12362"/>
                  </a:cubicBezTo>
                  <a:cubicBezTo>
                    <a:pt x="48726" y="3539"/>
                    <a:pt x="46859" y="4207"/>
                    <a:pt x="32937" y="-339"/>
                  </a:cubicBezTo>
                  <a:cubicBezTo>
                    <a:pt x="24819" y="7482"/>
                    <a:pt x="21287" y="16373"/>
                    <a:pt x="12642" y="24261"/>
                  </a:cubicBezTo>
                  <a:cubicBezTo>
                    <a:pt x="7852" y="28639"/>
                    <a:pt x="-2499" y="32985"/>
                    <a:pt x="465" y="38366"/>
                  </a:cubicBezTo>
                  <a:cubicBezTo>
                    <a:pt x="5619" y="46354"/>
                    <a:pt x="20394" y="61328"/>
                    <a:pt x="16011" y="6894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18ACAD52-4A38-4970-AA22-0DB6BCCC908D}"/>
                </a:ext>
              </a:extLst>
            </p:cNvPr>
            <p:cNvSpPr/>
            <p:nvPr/>
          </p:nvSpPr>
          <p:spPr>
            <a:xfrm>
              <a:off x="6843161" y="4288773"/>
              <a:ext cx="134529" cy="74737"/>
            </a:xfrm>
            <a:custGeom>
              <a:avLst/>
              <a:gdLst>
                <a:gd name="connsiteX0" fmla="*/ 128300 w 134529"/>
                <a:gd name="connsiteY0" fmla="*/ 3772 h 74737"/>
                <a:gd name="connsiteX1" fmla="*/ 87305 w 134529"/>
                <a:gd name="connsiteY1" fmla="*/ 10290 h 74737"/>
                <a:gd name="connsiteX2" fmla="*/ 56822 w 134529"/>
                <a:gd name="connsiteY2" fmla="*/ 16373 h 74737"/>
                <a:gd name="connsiteX3" fmla="*/ 27556 w 134529"/>
                <a:gd name="connsiteY3" fmla="*/ -339 h 74737"/>
                <a:gd name="connsiteX4" fmla="*/ 9372 w 134529"/>
                <a:gd name="connsiteY4" fmla="*/ 43112 h 74737"/>
                <a:gd name="connsiteX5" fmla="*/ 483 w 134529"/>
                <a:gd name="connsiteY5" fmla="*/ 60024 h 74737"/>
                <a:gd name="connsiteX6" fmla="*/ 19804 w 134529"/>
                <a:gd name="connsiteY6" fmla="*/ 72725 h 74737"/>
                <a:gd name="connsiteX7" fmla="*/ 56943 w 134529"/>
                <a:gd name="connsiteY7" fmla="*/ 62698 h 74737"/>
                <a:gd name="connsiteX8" fmla="*/ 91120 w 134529"/>
                <a:gd name="connsiteY8" fmla="*/ 55813 h 74737"/>
                <a:gd name="connsiteX9" fmla="*/ 68552 w 134529"/>
                <a:gd name="connsiteY9" fmla="*/ 39870 h 74737"/>
                <a:gd name="connsiteX10" fmla="*/ 100374 w 134529"/>
                <a:gd name="connsiteY10" fmla="*/ 31915 h 74737"/>
                <a:gd name="connsiteX11" fmla="*/ 134470 w 134529"/>
                <a:gd name="connsiteY11" fmla="*/ 29743 h 74737"/>
                <a:gd name="connsiteX12" fmla="*/ 128300 w 134529"/>
                <a:gd name="connsiteY12" fmla="*/ 3872 h 74737"/>
                <a:gd name="connsiteX13" fmla="*/ 128300 w 134529"/>
                <a:gd name="connsiteY13" fmla="*/ 3772 h 7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4529" h="74737">
                  <a:moveTo>
                    <a:pt x="128300" y="3772"/>
                  </a:moveTo>
                  <a:cubicBezTo>
                    <a:pt x="116123" y="5911"/>
                    <a:pt x="100577" y="10457"/>
                    <a:pt x="87305" y="10290"/>
                  </a:cubicBezTo>
                  <a:cubicBezTo>
                    <a:pt x="76670" y="10290"/>
                    <a:pt x="66157" y="16975"/>
                    <a:pt x="56822" y="16373"/>
                  </a:cubicBezTo>
                  <a:cubicBezTo>
                    <a:pt x="45497" y="15771"/>
                    <a:pt x="27191" y="5677"/>
                    <a:pt x="27556" y="-339"/>
                  </a:cubicBezTo>
                  <a:cubicBezTo>
                    <a:pt x="22726" y="14067"/>
                    <a:pt x="20088" y="30210"/>
                    <a:pt x="9372" y="43112"/>
                  </a:cubicBezTo>
                  <a:cubicBezTo>
                    <a:pt x="5516" y="48399"/>
                    <a:pt x="2513" y="54088"/>
                    <a:pt x="483" y="60024"/>
                  </a:cubicBezTo>
                  <a:cubicBezTo>
                    <a:pt x="-2602" y="67511"/>
                    <a:pt x="7952" y="69349"/>
                    <a:pt x="19804" y="72725"/>
                  </a:cubicBezTo>
                  <a:cubicBezTo>
                    <a:pt x="43062" y="79410"/>
                    <a:pt x="42696" y="64002"/>
                    <a:pt x="56943" y="62698"/>
                  </a:cubicBezTo>
                  <a:cubicBezTo>
                    <a:pt x="66644" y="61796"/>
                    <a:pt x="87670" y="63667"/>
                    <a:pt x="91120" y="55813"/>
                  </a:cubicBezTo>
                  <a:cubicBezTo>
                    <a:pt x="93149" y="51200"/>
                    <a:pt x="75290" y="41741"/>
                    <a:pt x="68552" y="39870"/>
                  </a:cubicBezTo>
                  <a:cubicBezTo>
                    <a:pt x="56903" y="36527"/>
                    <a:pt x="96681" y="31648"/>
                    <a:pt x="100374" y="31915"/>
                  </a:cubicBezTo>
                  <a:cubicBezTo>
                    <a:pt x="113201" y="32751"/>
                    <a:pt x="122496" y="28573"/>
                    <a:pt x="134470" y="29743"/>
                  </a:cubicBezTo>
                  <a:cubicBezTo>
                    <a:pt x="132359" y="21153"/>
                    <a:pt x="128584" y="12429"/>
                    <a:pt x="128300" y="3872"/>
                  </a:cubicBezTo>
                  <a:cubicBezTo>
                    <a:pt x="108167" y="7349"/>
                    <a:pt x="128422" y="6914"/>
                    <a:pt x="128300" y="377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0B3A3A74-930C-4848-A4C5-27BABC2AE530}"/>
                </a:ext>
              </a:extLst>
            </p:cNvPr>
            <p:cNvSpPr/>
            <p:nvPr/>
          </p:nvSpPr>
          <p:spPr>
            <a:xfrm>
              <a:off x="7961290" y="4271307"/>
              <a:ext cx="354072" cy="83448"/>
            </a:xfrm>
            <a:custGeom>
              <a:avLst/>
              <a:gdLst>
                <a:gd name="connsiteX0" fmla="*/ 330718 w 354072"/>
                <a:gd name="connsiteY0" fmla="*/ 63219 h 83448"/>
                <a:gd name="connsiteX1" fmla="*/ 290900 w 354072"/>
                <a:gd name="connsiteY1" fmla="*/ 47409 h 83448"/>
                <a:gd name="connsiteX2" fmla="*/ 235454 w 354072"/>
                <a:gd name="connsiteY2" fmla="*/ 31968 h 83448"/>
                <a:gd name="connsiteX3" fmla="*/ 188289 w 354072"/>
                <a:gd name="connsiteY3" fmla="*/ 16325 h 83448"/>
                <a:gd name="connsiteX4" fmla="*/ 147699 w 354072"/>
                <a:gd name="connsiteY4" fmla="*/ 16325 h 83448"/>
                <a:gd name="connsiteX5" fmla="*/ 95298 w 354072"/>
                <a:gd name="connsiteY5" fmla="*/ 817 h 83448"/>
                <a:gd name="connsiteX6" fmla="*/ 76099 w 354072"/>
                <a:gd name="connsiteY6" fmla="*/ 3725 h 83448"/>
                <a:gd name="connsiteX7" fmla="*/ 52557 w 354072"/>
                <a:gd name="connsiteY7" fmla="*/ 9273 h 83448"/>
                <a:gd name="connsiteX8" fmla="*/ 53328 w 354072"/>
                <a:gd name="connsiteY8" fmla="*/ 23411 h 83448"/>
                <a:gd name="connsiteX9" fmla="*/ 78088 w 354072"/>
                <a:gd name="connsiteY9" fmla="*/ 28057 h 83448"/>
                <a:gd name="connsiteX10" fmla="*/ 121316 w 354072"/>
                <a:gd name="connsiteY10" fmla="*/ 52323 h 83448"/>
                <a:gd name="connsiteX11" fmla="*/ 110397 w 354072"/>
                <a:gd name="connsiteY11" fmla="*/ 51721 h 83448"/>
                <a:gd name="connsiteX12" fmla="*/ 96678 w 354072"/>
                <a:gd name="connsiteY12" fmla="*/ 54729 h 83448"/>
                <a:gd name="connsiteX13" fmla="*/ 68265 w 354072"/>
                <a:gd name="connsiteY13" fmla="*/ 49816 h 83448"/>
                <a:gd name="connsiteX14" fmla="*/ 886 w 354072"/>
                <a:gd name="connsiteY14" fmla="*/ 46474 h 83448"/>
                <a:gd name="connsiteX15" fmla="*/ 21181 w 354072"/>
                <a:gd name="connsiteY15" fmla="*/ 53392 h 83448"/>
                <a:gd name="connsiteX16" fmla="*/ 55885 w 354072"/>
                <a:gd name="connsiteY16" fmla="*/ 62885 h 83448"/>
                <a:gd name="connsiteX17" fmla="*/ 85962 w 354072"/>
                <a:gd name="connsiteY17" fmla="*/ 72076 h 83448"/>
                <a:gd name="connsiteX18" fmla="*/ 118109 w 354072"/>
                <a:gd name="connsiteY18" fmla="*/ 79195 h 83448"/>
                <a:gd name="connsiteX19" fmla="*/ 141652 w 354072"/>
                <a:gd name="connsiteY19" fmla="*/ 79028 h 83448"/>
                <a:gd name="connsiteX20" fmla="*/ 172662 w 354072"/>
                <a:gd name="connsiteY20" fmla="*/ 71942 h 83448"/>
                <a:gd name="connsiteX21" fmla="*/ 206027 w 354072"/>
                <a:gd name="connsiteY21" fmla="*/ 78159 h 83448"/>
                <a:gd name="connsiteX22" fmla="*/ 236834 w 354072"/>
                <a:gd name="connsiteY22" fmla="*/ 78460 h 83448"/>
                <a:gd name="connsiteX23" fmla="*/ 274177 w 354072"/>
                <a:gd name="connsiteY23" fmla="*/ 82638 h 83448"/>
                <a:gd name="connsiteX24" fmla="*/ 313346 w 354072"/>
                <a:gd name="connsiteY24" fmla="*/ 78326 h 83448"/>
                <a:gd name="connsiteX25" fmla="*/ 350364 w 354072"/>
                <a:gd name="connsiteY25" fmla="*/ 77691 h 83448"/>
                <a:gd name="connsiteX26" fmla="*/ 330515 w 354072"/>
                <a:gd name="connsiteY26" fmla="*/ 63152 h 83448"/>
                <a:gd name="connsiteX27" fmla="*/ 330718 w 354072"/>
                <a:gd name="connsiteY27" fmla="*/ 63219 h 83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4072" h="83448">
                  <a:moveTo>
                    <a:pt x="330718" y="63219"/>
                  </a:moveTo>
                  <a:cubicBezTo>
                    <a:pt x="323372" y="55130"/>
                    <a:pt x="304132" y="51755"/>
                    <a:pt x="290900" y="47409"/>
                  </a:cubicBezTo>
                  <a:cubicBezTo>
                    <a:pt x="272837" y="41310"/>
                    <a:pt x="254329" y="36152"/>
                    <a:pt x="235454" y="31968"/>
                  </a:cubicBezTo>
                  <a:cubicBezTo>
                    <a:pt x="216174" y="27890"/>
                    <a:pt x="204890" y="25450"/>
                    <a:pt x="188289" y="16325"/>
                  </a:cubicBezTo>
                  <a:cubicBezTo>
                    <a:pt x="171688" y="7201"/>
                    <a:pt x="157644" y="9641"/>
                    <a:pt x="147699" y="16325"/>
                  </a:cubicBezTo>
                  <a:cubicBezTo>
                    <a:pt x="139581" y="22007"/>
                    <a:pt x="107110" y="3257"/>
                    <a:pt x="95298" y="817"/>
                  </a:cubicBezTo>
                  <a:cubicBezTo>
                    <a:pt x="83486" y="-1623"/>
                    <a:pt x="82309" y="15"/>
                    <a:pt x="76099" y="3725"/>
                  </a:cubicBezTo>
                  <a:cubicBezTo>
                    <a:pt x="69889" y="7435"/>
                    <a:pt x="58808" y="6198"/>
                    <a:pt x="52557" y="9273"/>
                  </a:cubicBezTo>
                  <a:cubicBezTo>
                    <a:pt x="40989" y="14922"/>
                    <a:pt x="45981" y="15590"/>
                    <a:pt x="53328" y="23411"/>
                  </a:cubicBezTo>
                  <a:cubicBezTo>
                    <a:pt x="57387" y="27623"/>
                    <a:pt x="73623" y="32269"/>
                    <a:pt x="78088" y="28057"/>
                  </a:cubicBezTo>
                  <a:cubicBezTo>
                    <a:pt x="82553" y="23846"/>
                    <a:pt x="125781" y="49716"/>
                    <a:pt x="121316" y="52323"/>
                  </a:cubicBezTo>
                  <a:cubicBezTo>
                    <a:pt x="119774" y="53225"/>
                    <a:pt x="112386" y="51788"/>
                    <a:pt x="110397" y="51721"/>
                  </a:cubicBezTo>
                  <a:cubicBezTo>
                    <a:pt x="103943" y="51487"/>
                    <a:pt x="102279" y="54361"/>
                    <a:pt x="96678" y="54729"/>
                  </a:cubicBezTo>
                  <a:cubicBezTo>
                    <a:pt x="87424" y="55364"/>
                    <a:pt x="78210" y="49716"/>
                    <a:pt x="68265" y="49816"/>
                  </a:cubicBezTo>
                  <a:cubicBezTo>
                    <a:pt x="47605" y="49816"/>
                    <a:pt x="15174" y="35945"/>
                    <a:pt x="886" y="46474"/>
                  </a:cubicBezTo>
                  <a:cubicBezTo>
                    <a:pt x="-4837" y="50685"/>
                    <a:pt x="17122" y="52690"/>
                    <a:pt x="21181" y="53392"/>
                  </a:cubicBezTo>
                  <a:cubicBezTo>
                    <a:pt x="32708" y="55364"/>
                    <a:pt x="45210" y="62283"/>
                    <a:pt x="55885" y="62885"/>
                  </a:cubicBezTo>
                  <a:cubicBezTo>
                    <a:pt x="70376" y="63687"/>
                    <a:pt x="72121" y="69569"/>
                    <a:pt x="85962" y="72076"/>
                  </a:cubicBezTo>
                  <a:cubicBezTo>
                    <a:pt x="96840" y="74048"/>
                    <a:pt x="106988" y="77357"/>
                    <a:pt x="118109" y="79195"/>
                  </a:cubicBezTo>
                  <a:cubicBezTo>
                    <a:pt x="127729" y="80833"/>
                    <a:pt x="136537" y="83975"/>
                    <a:pt x="141652" y="79028"/>
                  </a:cubicBezTo>
                  <a:cubicBezTo>
                    <a:pt x="149972" y="70940"/>
                    <a:pt x="156466" y="74616"/>
                    <a:pt x="172662" y="71942"/>
                  </a:cubicBezTo>
                  <a:cubicBezTo>
                    <a:pt x="184352" y="69790"/>
                    <a:pt x="196610" y="72073"/>
                    <a:pt x="206027" y="78159"/>
                  </a:cubicBezTo>
                  <a:cubicBezTo>
                    <a:pt x="213414" y="82738"/>
                    <a:pt x="230381" y="80599"/>
                    <a:pt x="236834" y="78460"/>
                  </a:cubicBezTo>
                  <a:cubicBezTo>
                    <a:pt x="250472" y="73948"/>
                    <a:pt x="259159" y="80198"/>
                    <a:pt x="274177" y="82638"/>
                  </a:cubicBezTo>
                  <a:cubicBezTo>
                    <a:pt x="288343" y="84978"/>
                    <a:pt x="298531" y="77825"/>
                    <a:pt x="313346" y="78326"/>
                  </a:cubicBezTo>
                  <a:cubicBezTo>
                    <a:pt x="325767" y="78761"/>
                    <a:pt x="337700" y="77424"/>
                    <a:pt x="350364" y="77691"/>
                  </a:cubicBezTo>
                  <a:cubicBezTo>
                    <a:pt x="364651" y="77958"/>
                    <a:pt x="332505" y="65324"/>
                    <a:pt x="330515" y="63152"/>
                  </a:cubicBezTo>
                  <a:cubicBezTo>
                    <a:pt x="321505" y="53192"/>
                    <a:pt x="338349" y="71842"/>
                    <a:pt x="330718" y="6321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A04EA380-5D6C-474D-ADE9-F3F2B7C7F11A}"/>
                </a:ext>
              </a:extLst>
            </p:cNvPr>
            <p:cNvSpPr/>
            <p:nvPr/>
          </p:nvSpPr>
          <p:spPr>
            <a:xfrm>
              <a:off x="7033704" y="4095635"/>
              <a:ext cx="209823" cy="72781"/>
            </a:xfrm>
            <a:custGeom>
              <a:avLst/>
              <a:gdLst>
                <a:gd name="connsiteX0" fmla="*/ 81729 w 209823"/>
                <a:gd name="connsiteY0" fmla="*/ 47307 h 72781"/>
                <a:gd name="connsiteX1" fmla="*/ 112293 w 209823"/>
                <a:gd name="connsiteY1" fmla="*/ 60676 h 72781"/>
                <a:gd name="connsiteX2" fmla="*/ 164410 w 209823"/>
                <a:gd name="connsiteY2" fmla="*/ 65590 h 72781"/>
                <a:gd name="connsiteX3" fmla="*/ 193229 w 209823"/>
                <a:gd name="connsiteY3" fmla="*/ 71071 h 72781"/>
                <a:gd name="connsiteX4" fmla="*/ 209465 w 209823"/>
                <a:gd name="connsiteY4" fmla="*/ 70001 h 72781"/>
                <a:gd name="connsiteX5" fmla="*/ 206908 w 209823"/>
                <a:gd name="connsiteY5" fmla="*/ 57668 h 72781"/>
                <a:gd name="connsiteX6" fmla="*/ 185598 w 209823"/>
                <a:gd name="connsiteY6" fmla="*/ 47173 h 72781"/>
                <a:gd name="connsiteX7" fmla="*/ 174923 w 209823"/>
                <a:gd name="connsiteY7" fmla="*/ 36478 h 72781"/>
                <a:gd name="connsiteX8" fmla="*/ 146510 w 209823"/>
                <a:gd name="connsiteY8" fmla="*/ 32667 h 72781"/>
                <a:gd name="connsiteX9" fmla="*/ 121791 w 209823"/>
                <a:gd name="connsiteY9" fmla="*/ 26885 h 72781"/>
                <a:gd name="connsiteX10" fmla="*/ 63788 w 209823"/>
                <a:gd name="connsiteY10" fmla="*/ 12179 h 72781"/>
                <a:gd name="connsiteX11" fmla="*/ -60 w 209823"/>
                <a:gd name="connsiteY11" fmla="*/ 915 h 72781"/>
                <a:gd name="connsiteX12" fmla="*/ 47024 w 209823"/>
                <a:gd name="connsiteY12" fmla="*/ 20501 h 72781"/>
                <a:gd name="connsiteX13" fmla="*/ 48283 w 209823"/>
                <a:gd name="connsiteY13" fmla="*/ 44299 h 72781"/>
                <a:gd name="connsiteX14" fmla="*/ 81526 w 209823"/>
                <a:gd name="connsiteY14" fmla="*/ 47340 h 72781"/>
                <a:gd name="connsiteX15" fmla="*/ 81729 w 209823"/>
                <a:gd name="connsiteY15" fmla="*/ 47307 h 7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823" h="72781">
                  <a:moveTo>
                    <a:pt x="81729" y="47307"/>
                  </a:moveTo>
                  <a:cubicBezTo>
                    <a:pt x="98330" y="45201"/>
                    <a:pt x="95408" y="60676"/>
                    <a:pt x="112293" y="60676"/>
                  </a:cubicBezTo>
                  <a:cubicBezTo>
                    <a:pt x="129868" y="60011"/>
                    <a:pt x="147484" y="61669"/>
                    <a:pt x="164410" y="65590"/>
                  </a:cubicBezTo>
                  <a:cubicBezTo>
                    <a:pt x="155156" y="54092"/>
                    <a:pt x="189495" y="70202"/>
                    <a:pt x="193229" y="71071"/>
                  </a:cubicBezTo>
                  <a:cubicBezTo>
                    <a:pt x="195543" y="71606"/>
                    <a:pt x="212184" y="74413"/>
                    <a:pt x="209465" y="70001"/>
                  </a:cubicBezTo>
                  <a:cubicBezTo>
                    <a:pt x="205406" y="63317"/>
                    <a:pt x="192580" y="63317"/>
                    <a:pt x="206908" y="57668"/>
                  </a:cubicBezTo>
                  <a:cubicBezTo>
                    <a:pt x="201550" y="55295"/>
                    <a:pt x="186856" y="50984"/>
                    <a:pt x="185598" y="47173"/>
                  </a:cubicBezTo>
                  <a:cubicBezTo>
                    <a:pt x="183366" y="40488"/>
                    <a:pt x="183000" y="40956"/>
                    <a:pt x="174923" y="36478"/>
                  </a:cubicBezTo>
                  <a:cubicBezTo>
                    <a:pt x="168794" y="33135"/>
                    <a:pt x="153938" y="32935"/>
                    <a:pt x="146510" y="32667"/>
                  </a:cubicBezTo>
                  <a:cubicBezTo>
                    <a:pt x="131654" y="32133"/>
                    <a:pt x="133927" y="32667"/>
                    <a:pt x="121791" y="26885"/>
                  </a:cubicBezTo>
                  <a:cubicBezTo>
                    <a:pt x="100441" y="16858"/>
                    <a:pt x="90009" y="15287"/>
                    <a:pt x="63788" y="12179"/>
                  </a:cubicBezTo>
                  <a:cubicBezTo>
                    <a:pt x="40043" y="9371"/>
                    <a:pt x="25755" y="-4533"/>
                    <a:pt x="-60" y="915"/>
                  </a:cubicBezTo>
                  <a:cubicBezTo>
                    <a:pt x="13579" y="6697"/>
                    <a:pt x="44914" y="9405"/>
                    <a:pt x="47024" y="20501"/>
                  </a:cubicBezTo>
                  <a:cubicBezTo>
                    <a:pt x="48851" y="30027"/>
                    <a:pt x="68740" y="37213"/>
                    <a:pt x="48283" y="44299"/>
                  </a:cubicBezTo>
                  <a:cubicBezTo>
                    <a:pt x="57821" y="45703"/>
                    <a:pt x="71947" y="48543"/>
                    <a:pt x="81526" y="47340"/>
                  </a:cubicBezTo>
                  <a:cubicBezTo>
                    <a:pt x="92485" y="45937"/>
                    <a:pt x="76655" y="47908"/>
                    <a:pt x="81729" y="473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C731A0D5-D2F3-413A-8C58-562D62EBC0D4}"/>
                </a:ext>
              </a:extLst>
            </p:cNvPr>
            <p:cNvSpPr/>
            <p:nvPr/>
          </p:nvSpPr>
          <p:spPr>
            <a:xfrm>
              <a:off x="6586881" y="4093371"/>
              <a:ext cx="582855" cy="150147"/>
            </a:xfrm>
            <a:custGeom>
              <a:avLst/>
              <a:gdLst>
                <a:gd name="connsiteX0" fmla="*/ 569669 w 582855"/>
                <a:gd name="connsiteY0" fmla="*/ 131994 h 150147"/>
                <a:gd name="connsiteX1" fmla="*/ 571577 w 582855"/>
                <a:gd name="connsiteY1" fmla="*/ 111939 h 150147"/>
                <a:gd name="connsiteX2" fmla="*/ 579694 w 582855"/>
                <a:gd name="connsiteY2" fmla="*/ 92854 h 150147"/>
                <a:gd name="connsiteX3" fmla="*/ 555341 w 582855"/>
                <a:gd name="connsiteY3" fmla="*/ 77045 h 150147"/>
                <a:gd name="connsiteX4" fmla="*/ 523113 w 582855"/>
                <a:gd name="connsiteY4" fmla="*/ 49704 h 150147"/>
                <a:gd name="connsiteX5" fmla="*/ 489667 w 582855"/>
                <a:gd name="connsiteY5" fmla="*/ 48201 h 150147"/>
                <a:gd name="connsiteX6" fmla="*/ 455449 w 582855"/>
                <a:gd name="connsiteY6" fmla="*/ 52445 h 150147"/>
                <a:gd name="connsiteX7" fmla="*/ 396026 w 582855"/>
                <a:gd name="connsiteY7" fmla="*/ 47499 h 150147"/>
                <a:gd name="connsiteX8" fmla="*/ 336440 w 582855"/>
                <a:gd name="connsiteY8" fmla="*/ 35733 h 150147"/>
                <a:gd name="connsiteX9" fmla="*/ 315049 w 582855"/>
                <a:gd name="connsiteY9" fmla="*/ 27344 h 150147"/>
                <a:gd name="connsiteX10" fmla="*/ 304821 w 582855"/>
                <a:gd name="connsiteY10" fmla="*/ 24838 h 150147"/>
                <a:gd name="connsiteX11" fmla="*/ 178424 w 582855"/>
                <a:gd name="connsiteY11" fmla="*/ 22464 h 150147"/>
                <a:gd name="connsiteX12" fmla="*/ 131259 w 582855"/>
                <a:gd name="connsiteY12" fmla="*/ 25439 h 150147"/>
                <a:gd name="connsiteX13" fmla="*/ 96067 w 582855"/>
                <a:gd name="connsiteY13" fmla="*/ 28347 h 150147"/>
                <a:gd name="connsiteX14" fmla="*/ 40013 w 582855"/>
                <a:gd name="connsiteY14" fmla="*/ 33962 h 150147"/>
                <a:gd name="connsiteX15" fmla="*/ 4173 w 582855"/>
                <a:gd name="connsiteY15" fmla="*/ 45527 h 150147"/>
                <a:gd name="connsiteX16" fmla="*/ 22032 w 582855"/>
                <a:gd name="connsiteY16" fmla="*/ 49905 h 150147"/>
                <a:gd name="connsiteX17" fmla="*/ 24751 w 582855"/>
                <a:gd name="connsiteY17" fmla="*/ 62339 h 150147"/>
                <a:gd name="connsiteX18" fmla="*/ 22844 w 582855"/>
                <a:gd name="connsiteY18" fmla="*/ 76343 h 150147"/>
                <a:gd name="connsiteX19" fmla="*/ 20124 w 582855"/>
                <a:gd name="connsiteY19" fmla="*/ 86136 h 150147"/>
                <a:gd name="connsiteX20" fmla="*/ 42530 w 582855"/>
                <a:gd name="connsiteY20" fmla="*/ 97835 h 150147"/>
                <a:gd name="connsiteX21" fmla="*/ 57142 w 582855"/>
                <a:gd name="connsiteY21" fmla="*/ 103283 h 150147"/>
                <a:gd name="connsiteX22" fmla="*/ 81902 w 582855"/>
                <a:gd name="connsiteY22" fmla="*/ 108998 h 150147"/>
                <a:gd name="connsiteX23" fmla="*/ 118960 w 582855"/>
                <a:gd name="connsiteY23" fmla="*/ 121699 h 150147"/>
                <a:gd name="connsiteX24" fmla="*/ 158089 w 582855"/>
                <a:gd name="connsiteY24" fmla="*/ 112708 h 150147"/>
                <a:gd name="connsiteX25" fmla="*/ 204564 w 582855"/>
                <a:gd name="connsiteY25" fmla="*/ 129988 h 150147"/>
                <a:gd name="connsiteX26" fmla="*/ 258833 w 582855"/>
                <a:gd name="connsiteY26" fmla="*/ 122134 h 150147"/>
                <a:gd name="connsiteX27" fmla="*/ 275515 w 582855"/>
                <a:gd name="connsiteY27" fmla="*/ 124841 h 150147"/>
                <a:gd name="connsiteX28" fmla="*/ 310706 w 582855"/>
                <a:gd name="connsiteY28" fmla="*/ 124841 h 150147"/>
                <a:gd name="connsiteX29" fmla="*/ 304334 w 582855"/>
                <a:gd name="connsiteY29" fmla="*/ 131526 h 150147"/>
                <a:gd name="connsiteX30" fmla="*/ 300599 w 582855"/>
                <a:gd name="connsiteY30" fmla="*/ 143558 h 150147"/>
                <a:gd name="connsiteX31" fmla="*/ 323411 w 582855"/>
                <a:gd name="connsiteY31" fmla="*/ 130489 h 150147"/>
                <a:gd name="connsiteX32" fmla="*/ 344680 w 582855"/>
                <a:gd name="connsiteY32" fmla="*/ 133832 h 150147"/>
                <a:gd name="connsiteX33" fmla="*/ 375609 w 582855"/>
                <a:gd name="connsiteY33" fmla="*/ 130824 h 150147"/>
                <a:gd name="connsiteX34" fmla="*/ 388882 w 582855"/>
                <a:gd name="connsiteY34" fmla="*/ 135269 h 150147"/>
                <a:gd name="connsiteX35" fmla="*/ 417782 w 582855"/>
                <a:gd name="connsiteY35" fmla="*/ 137074 h 150147"/>
                <a:gd name="connsiteX36" fmla="*/ 469818 w 582855"/>
                <a:gd name="connsiteY36" fmla="*/ 135603 h 150147"/>
                <a:gd name="connsiteX37" fmla="*/ 505496 w 582855"/>
                <a:gd name="connsiteY37" fmla="*/ 138277 h 150147"/>
                <a:gd name="connsiteX38" fmla="*/ 522138 w 582855"/>
                <a:gd name="connsiteY38" fmla="*/ 134567 h 150147"/>
                <a:gd name="connsiteX39" fmla="*/ 545071 w 582855"/>
                <a:gd name="connsiteY39" fmla="*/ 140550 h 150147"/>
                <a:gd name="connsiteX40" fmla="*/ 574783 w 582855"/>
                <a:gd name="connsiteY40" fmla="*/ 149407 h 150147"/>
                <a:gd name="connsiteX41" fmla="*/ 569466 w 582855"/>
                <a:gd name="connsiteY41" fmla="*/ 132227 h 150147"/>
                <a:gd name="connsiteX42" fmla="*/ 51459 w 582855"/>
                <a:gd name="connsiteY42" fmla="*/ 22264 h 150147"/>
                <a:gd name="connsiteX43" fmla="*/ 95702 w 582855"/>
                <a:gd name="connsiteY43" fmla="*/ 21228 h 150147"/>
                <a:gd name="connsiteX44" fmla="*/ 80481 w 582855"/>
                <a:gd name="connsiteY44" fmla="*/ 14376 h 150147"/>
                <a:gd name="connsiteX45" fmla="*/ 64245 w 582855"/>
                <a:gd name="connsiteY45" fmla="*/ 1474 h 150147"/>
                <a:gd name="connsiteX46" fmla="*/ 17445 w 582855"/>
                <a:gd name="connsiteY46" fmla="*/ 1675 h 150147"/>
                <a:gd name="connsiteX47" fmla="*/ 18947 w 582855"/>
                <a:gd name="connsiteY47" fmla="*/ 14242 h 150147"/>
                <a:gd name="connsiteX48" fmla="*/ 2711 w 582855"/>
                <a:gd name="connsiteY48" fmla="*/ 24604 h 150147"/>
                <a:gd name="connsiteX49" fmla="*/ 51419 w 582855"/>
                <a:gd name="connsiteY49" fmla="*/ 22264 h 15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82855" h="150147">
                  <a:moveTo>
                    <a:pt x="569669" y="131994"/>
                  </a:moveTo>
                  <a:cubicBezTo>
                    <a:pt x="565610" y="130991"/>
                    <a:pt x="573038" y="115282"/>
                    <a:pt x="571577" y="111939"/>
                  </a:cubicBezTo>
                  <a:cubicBezTo>
                    <a:pt x="568776" y="104800"/>
                    <a:pt x="572104" y="96992"/>
                    <a:pt x="579694" y="92854"/>
                  </a:cubicBezTo>
                  <a:cubicBezTo>
                    <a:pt x="593008" y="84666"/>
                    <a:pt x="559400" y="84365"/>
                    <a:pt x="555341" y="77045"/>
                  </a:cubicBezTo>
                  <a:cubicBezTo>
                    <a:pt x="549171" y="65547"/>
                    <a:pt x="551525" y="50874"/>
                    <a:pt x="523113" y="49704"/>
                  </a:cubicBezTo>
                  <a:cubicBezTo>
                    <a:pt x="511260" y="49237"/>
                    <a:pt x="499976" y="45593"/>
                    <a:pt x="489667" y="48201"/>
                  </a:cubicBezTo>
                  <a:cubicBezTo>
                    <a:pt x="478545" y="50828"/>
                    <a:pt x="467017" y="52255"/>
                    <a:pt x="455449" y="52445"/>
                  </a:cubicBezTo>
                  <a:cubicBezTo>
                    <a:pt x="436128" y="53014"/>
                    <a:pt x="415874" y="48267"/>
                    <a:pt x="396026" y="47499"/>
                  </a:cubicBezTo>
                  <a:cubicBezTo>
                    <a:pt x="374351" y="46663"/>
                    <a:pt x="356004" y="40814"/>
                    <a:pt x="336440" y="35733"/>
                  </a:cubicBezTo>
                  <a:cubicBezTo>
                    <a:pt x="327876" y="33528"/>
                    <a:pt x="325319" y="28247"/>
                    <a:pt x="315049" y="27344"/>
                  </a:cubicBezTo>
                  <a:cubicBezTo>
                    <a:pt x="311477" y="27097"/>
                    <a:pt x="307987" y="26241"/>
                    <a:pt x="304821" y="24838"/>
                  </a:cubicBezTo>
                  <a:cubicBezTo>
                    <a:pt x="269467" y="9697"/>
                    <a:pt x="212763" y="12504"/>
                    <a:pt x="178424" y="22464"/>
                  </a:cubicBezTo>
                  <a:cubicBezTo>
                    <a:pt x="162188" y="27144"/>
                    <a:pt x="150539" y="27411"/>
                    <a:pt x="131259" y="25439"/>
                  </a:cubicBezTo>
                  <a:cubicBezTo>
                    <a:pt x="114617" y="23768"/>
                    <a:pt x="101750" y="18988"/>
                    <a:pt x="96067" y="28347"/>
                  </a:cubicBezTo>
                  <a:cubicBezTo>
                    <a:pt x="89289" y="39444"/>
                    <a:pt x="56452" y="35032"/>
                    <a:pt x="40013" y="33962"/>
                  </a:cubicBezTo>
                  <a:cubicBezTo>
                    <a:pt x="33681" y="33594"/>
                    <a:pt x="-14377" y="36168"/>
                    <a:pt x="4173" y="45527"/>
                  </a:cubicBezTo>
                  <a:cubicBezTo>
                    <a:pt x="8515" y="47699"/>
                    <a:pt x="20611" y="45293"/>
                    <a:pt x="22032" y="49905"/>
                  </a:cubicBezTo>
                  <a:cubicBezTo>
                    <a:pt x="23533" y="53946"/>
                    <a:pt x="24427" y="58121"/>
                    <a:pt x="24751" y="62339"/>
                  </a:cubicBezTo>
                  <a:cubicBezTo>
                    <a:pt x="24142" y="67519"/>
                    <a:pt x="10545" y="70528"/>
                    <a:pt x="22844" y="76343"/>
                  </a:cubicBezTo>
                  <a:cubicBezTo>
                    <a:pt x="36482" y="82794"/>
                    <a:pt x="21423" y="82660"/>
                    <a:pt x="20124" y="86136"/>
                  </a:cubicBezTo>
                  <a:cubicBezTo>
                    <a:pt x="19678" y="87306"/>
                    <a:pt x="39242" y="96899"/>
                    <a:pt x="42530" y="97835"/>
                  </a:cubicBezTo>
                  <a:cubicBezTo>
                    <a:pt x="45817" y="98770"/>
                    <a:pt x="57345" y="100642"/>
                    <a:pt x="57142" y="103283"/>
                  </a:cubicBezTo>
                  <a:cubicBezTo>
                    <a:pt x="56614" y="109366"/>
                    <a:pt x="76341" y="105087"/>
                    <a:pt x="81902" y="108998"/>
                  </a:cubicBezTo>
                  <a:cubicBezTo>
                    <a:pt x="94728" y="117956"/>
                    <a:pt x="94485" y="124139"/>
                    <a:pt x="118960" y="121699"/>
                  </a:cubicBezTo>
                  <a:cubicBezTo>
                    <a:pt x="138362" y="119827"/>
                    <a:pt x="132436" y="109700"/>
                    <a:pt x="158089" y="112708"/>
                  </a:cubicBezTo>
                  <a:cubicBezTo>
                    <a:pt x="176070" y="114847"/>
                    <a:pt x="187476" y="129420"/>
                    <a:pt x="204564" y="129988"/>
                  </a:cubicBezTo>
                  <a:cubicBezTo>
                    <a:pt x="223154" y="130720"/>
                    <a:pt x="241663" y="128036"/>
                    <a:pt x="258833" y="122134"/>
                  </a:cubicBezTo>
                  <a:cubicBezTo>
                    <a:pt x="265692" y="119794"/>
                    <a:pt x="269345" y="122535"/>
                    <a:pt x="275515" y="124841"/>
                  </a:cubicBezTo>
                  <a:cubicBezTo>
                    <a:pt x="287692" y="129353"/>
                    <a:pt x="299463" y="120128"/>
                    <a:pt x="310706" y="124841"/>
                  </a:cubicBezTo>
                  <a:cubicBezTo>
                    <a:pt x="314440" y="126412"/>
                    <a:pt x="305552" y="130623"/>
                    <a:pt x="304334" y="131526"/>
                  </a:cubicBezTo>
                  <a:cubicBezTo>
                    <a:pt x="297961" y="135770"/>
                    <a:pt x="303319" y="138778"/>
                    <a:pt x="300599" y="143558"/>
                  </a:cubicBezTo>
                  <a:cubicBezTo>
                    <a:pt x="320894" y="143792"/>
                    <a:pt x="314319" y="136238"/>
                    <a:pt x="323411" y="130489"/>
                  </a:cubicBezTo>
                  <a:cubicBezTo>
                    <a:pt x="329458" y="126679"/>
                    <a:pt x="337739" y="132996"/>
                    <a:pt x="344680" y="133832"/>
                  </a:cubicBezTo>
                  <a:cubicBezTo>
                    <a:pt x="356167" y="135068"/>
                    <a:pt x="364975" y="131826"/>
                    <a:pt x="375609" y="130824"/>
                  </a:cubicBezTo>
                  <a:cubicBezTo>
                    <a:pt x="380683" y="130356"/>
                    <a:pt x="383727" y="134600"/>
                    <a:pt x="388882" y="135269"/>
                  </a:cubicBezTo>
                  <a:cubicBezTo>
                    <a:pt x="398380" y="136472"/>
                    <a:pt x="408203" y="136138"/>
                    <a:pt x="417782" y="137074"/>
                  </a:cubicBezTo>
                  <a:cubicBezTo>
                    <a:pt x="435358" y="138812"/>
                    <a:pt x="451268" y="134166"/>
                    <a:pt x="469818" y="135603"/>
                  </a:cubicBezTo>
                  <a:cubicBezTo>
                    <a:pt x="483700" y="136673"/>
                    <a:pt x="492751" y="134734"/>
                    <a:pt x="505496" y="138277"/>
                  </a:cubicBezTo>
                  <a:cubicBezTo>
                    <a:pt x="508825" y="139213"/>
                    <a:pt x="516415" y="134333"/>
                    <a:pt x="522138" y="134567"/>
                  </a:cubicBezTo>
                  <a:cubicBezTo>
                    <a:pt x="531920" y="135002"/>
                    <a:pt x="536548" y="138845"/>
                    <a:pt x="545071" y="140550"/>
                  </a:cubicBezTo>
                  <a:cubicBezTo>
                    <a:pt x="555868" y="142722"/>
                    <a:pt x="564027" y="146967"/>
                    <a:pt x="574783" y="149407"/>
                  </a:cubicBezTo>
                  <a:cubicBezTo>
                    <a:pt x="588868" y="152749"/>
                    <a:pt x="577137" y="134199"/>
                    <a:pt x="569466" y="132227"/>
                  </a:cubicBezTo>
                  <a:close/>
                  <a:moveTo>
                    <a:pt x="51459" y="22264"/>
                  </a:moveTo>
                  <a:cubicBezTo>
                    <a:pt x="56695" y="21495"/>
                    <a:pt x="96717" y="25606"/>
                    <a:pt x="95702" y="21228"/>
                  </a:cubicBezTo>
                  <a:cubicBezTo>
                    <a:pt x="94972" y="18353"/>
                    <a:pt x="84297" y="15713"/>
                    <a:pt x="80481" y="14376"/>
                  </a:cubicBezTo>
                  <a:cubicBezTo>
                    <a:pt x="70455" y="10833"/>
                    <a:pt x="66965" y="7691"/>
                    <a:pt x="64245" y="1474"/>
                  </a:cubicBezTo>
                  <a:cubicBezTo>
                    <a:pt x="58441" y="3145"/>
                    <a:pt x="17161" y="-3506"/>
                    <a:pt x="17445" y="1675"/>
                  </a:cubicBezTo>
                  <a:cubicBezTo>
                    <a:pt x="17648" y="5586"/>
                    <a:pt x="23696" y="10699"/>
                    <a:pt x="18947" y="14242"/>
                  </a:cubicBezTo>
                  <a:cubicBezTo>
                    <a:pt x="13914" y="18072"/>
                    <a:pt x="8475" y="21539"/>
                    <a:pt x="2711" y="24604"/>
                  </a:cubicBezTo>
                  <a:cubicBezTo>
                    <a:pt x="26497" y="35667"/>
                    <a:pt x="29663" y="25339"/>
                    <a:pt x="51419" y="2226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148B50A0-EF70-4261-87FA-706BCA838761}"/>
                </a:ext>
              </a:extLst>
            </p:cNvPr>
            <p:cNvSpPr/>
            <p:nvPr/>
          </p:nvSpPr>
          <p:spPr>
            <a:xfrm>
              <a:off x="8199897" y="4458334"/>
              <a:ext cx="65768" cy="37521"/>
            </a:xfrm>
            <a:custGeom>
              <a:avLst/>
              <a:gdLst>
                <a:gd name="connsiteX0" fmla="*/ 36503 w 65768"/>
                <a:gd name="connsiteY0" fmla="*/ 1664 h 37521"/>
                <a:gd name="connsiteX1" fmla="*/ 581 w 65768"/>
                <a:gd name="connsiteY1" fmla="*/ 6778 h 37521"/>
                <a:gd name="connsiteX2" fmla="*/ 15274 w 65768"/>
                <a:gd name="connsiteY2" fmla="*/ 35522 h 37521"/>
                <a:gd name="connsiteX3" fmla="*/ 63617 w 65768"/>
                <a:gd name="connsiteY3" fmla="*/ 27199 h 37521"/>
                <a:gd name="connsiteX4" fmla="*/ 36503 w 65768"/>
                <a:gd name="connsiteY4" fmla="*/ 1664 h 3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68" h="37521">
                  <a:moveTo>
                    <a:pt x="36503" y="1664"/>
                  </a:moveTo>
                  <a:cubicBezTo>
                    <a:pt x="25828" y="-1344"/>
                    <a:pt x="-4858" y="-1913"/>
                    <a:pt x="581" y="6778"/>
                  </a:cubicBezTo>
                  <a:cubicBezTo>
                    <a:pt x="6507" y="16236"/>
                    <a:pt x="21769" y="27300"/>
                    <a:pt x="15274" y="35522"/>
                  </a:cubicBezTo>
                  <a:cubicBezTo>
                    <a:pt x="36138" y="40168"/>
                    <a:pt x="50790" y="34319"/>
                    <a:pt x="63617" y="27199"/>
                  </a:cubicBezTo>
                  <a:cubicBezTo>
                    <a:pt x="73196" y="21885"/>
                    <a:pt x="47381" y="4672"/>
                    <a:pt x="36503" y="166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594B56DF-38CB-4895-BA15-279B052A9ACB}"/>
                </a:ext>
              </a:extLst>
            </p:cNvPr>
            <p:cNvSpPr/>
            <p:nvPr/>
          </p:nvSpPr>
          <p:spPr>
            <a:xfrm>
              <a:off x="9573297" y="4823195"/>
              <a:ext cx="236299" cy="81508"/>
            </a:xfrm>
            <a:custGeom>
              <a:avLst/>
              <a:gdLst>
                <a:gd name="connsiteX0" fmla="*/ 228812 w 236299"/>
                <a:gd name="connsiteY0" fmla="*/ 35112 h 81508"/>
                <a:gd name="connsiteX1" fmla="*/ 204093 w 236299"/>
                <a:gd name="connsiteY1" fmla="*/ 18400 h 81508"/>
                <a:gd name="connsiteX2" fmla="*/ 183433 w 236299"/>
                <a:gd name="connsiteY2" fmla="*/ 23213 h 81508"/>
                <a:gd name="connsiteX3" fmla="*/ 157861 w 236299"/>
                <a:gd name="connsiteY3" fmla="*/ 21642 h 81508"/>
                <a:gd name="connsiteX4" fmla="*/ 143209 w 236299"/>
                <a:gd name="connsiteY4" fmla="*/ 17564 h 81508"/>
                <a:gd name="connsiteX5" fmla="*/ 139880 w 236299"/>
                <a:gd name="connsiteY5" fmla="*/ 25118 h 81508"/>
                <a:gd name="connsiteX6" fmla="*/ 110412 w 236299"/>
                <a:gd name="connsiteY6" fmla="*/ 7437 h 81508"/>
                <a:gd name="connsiteX7" fmla="*/ 77940 w 236299"/>
                <a:gd name="connsiteY7" fmla="*/ 7437 h 81508"/>
                <a:gd name="connsiteX8" fmla="*/ 4351 w 236299"/>
                <a:gd name="connsiteY8" fmla="*/ 2390 h 81508"/>
                <a:gd name="connsiteX9" fmla="*/ 17380 w 236299"/>
                <a:gd name="connsiteY9" fmla="*/ 33040 h 81508"/>
                <a:gd name="connsiteX10" fmla="*/ 130 w 236299"/>
                <a:gd name="connsiteY10" fmla="*/ 37552 h 81508"/>
                <a:gd name="connsiteX11" fmla="*/ 6583 w 236299"/>
                <a:gd name="connsiteY11" fmla="*/ 52759 h 81508"/>
                <a:gd name="connsiteX12" fmla="*/ 25173 w 236299"/>
                <a:gd name="connsiteY12" fmla="*/ 56536 h 81508"/>
                <a:gd name="connsiteX13" fmla="*/ 52937 w 236299"/>
                <a:gd name="connsiteY13" fmla="*/ 68201 h 81508"/>
                <a:gd name="connsiteX14" fmla="*/ 78021 w 236299"/>
                <a:gd name="connsiteY14" fmla="*/ 71142 h 81508"/>
                <a:gd name="connsiteX15" fmla="*/ 110493 w 236299"/>
                <a:gd name="connsiteY15" fmla="*/ 81169 h 81508"/>
                <a:gd name="connsiteX16" fmla="*/ 94257 w 236299"/>
                <a:gd name="connsiteY16" fmla="*/ 48281 h 81508"/>
                <a:gd name="connsiteX17" fmla="*/ 144832 w 236299"/>
                <a:gd name="connsiteY17" fmla="*/ 52091 h 81508"/>
                <a:gd name="connsiteX18" fmla="*/ 181728 w 236299"/>
                <a:gd name="connsiteY18" fmla="*/ 49451 h 81508"/>
                <a:gd name="connsiteX19" fmla="*/ 236240 w 236299"/>
                <a:gd name="connsiteY19" fmla="*/ 39423 h 81508"/>
                <a:gd name="connsiteX20" fmla="*/ 228771 w 236299"/>
                <a:gd name="connsiteY20" fmla="*/ 35179 h 81508"/>
                <a:gd name="connsiteX21" fmla="*/ 228812 w 236299"/>
                <a:gd name="connsiteY21" fmla="*/ 35112 h 8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6299" h="81508">
                  <a:moveTo>
                    <a:pt x="228812" y="35112"/>
                  </a:moveTo>
                  <a:cubicBezTo>
                    <a:pt x="217934" y="32304"/>
                    <a:pt x="214200" y="18400"/>
                    <a:pt x="204093" y="18400"/>
                  </a:cubicBezTo>
                  <a:cubicBezTo>
                    <a:pt x="197153" y="18400"/>
                    <a:pt x="192159" y="27191"/>
                    <a:pt x="183433" y="23213"/>
                  </a:cubicBezTo>
                  <a:cubicBezTo>
                    <a:pt x="174706" y="19236"/>
                    <a:pt x="168049" y="25319"/>
                    <a:pt x="157861" y="21642"/>
                  </a:cubicBezTo>
                  <a:cubicBezTo>
                    <a:pt x="155223" y="20673"/>
                    <a:pt x="146050" y="16595"/>
                    <a:pt x="143209" y="17564"/>
                  </a:cubicBezTo>
                  <a:cubicBezTo>
                    <a:pt x="140368" y="18534"/>
                    <a:pt x="146780" y="27090"/>
                    <a:pt x="139880" y="25118"/>
                  </a:cubicBezTo>
                  <a:cubicBezTo>
                    <a:pt x="128433" y="21348"/>
                    <a:pt x="118286" y="15268"/>
                    <a:pt x="110412" y="7437"/>
                  </a:cubicBezTo>
                  <a:cubicBezTo>
                    <a:pt x="100793" y="-1420"/>
                    <a:pt x="86342" y="7437"/>
                    <a:pt x="77940" y="7437"/>
                  </a:cubicBezTo>
                  <a:cubicBezTo>
                    <a:pt x="55616" y="7437"/>
                    <a:pt x="20222" y="-5932"/>
                    <a:pt x="4351" y="2390"/>
                  </a:cubicBezTo>
                  <a:cubicBezTo>
                    <a:pt x="25580" y="12751"/>
                    <a:pt x="44007" y="31134"/>
                    <a:pt x="17380" y="33040"/>
                  </a:cubicBezTo>
                  <a:cubicBezTo>
                    <a:pt x="12956" y="33340"/>
                    <a:pt x="-1900" y="32638"/>
                    <a:pt x="130" y="37552"/>
                  </a:cubicBezTo>
                  <a:cubicBezTo>
                    <a:pt x="1753" y="41529"/>
                    <a:pt x="2686" y="49283"/>
                    <a:pt x="6583" y="52759"/>
                  </a:cubicBezTo>
                  <a:cubicBezTo>
                    <a:pt x="12469" y="58040"/>
                    <a:pt x="18192" y="53762"/>
                    <a:pt x="25173" y="56536"/>
                  </a:cubicBezTo>
                  <a:cubicBezTo>
                    <a:pt x="37675" y="61516"/>
                    <a:pt x="42018" y="67666"/>
                    <a:pt x="52937" y="68201"/>
                  </a:cubicBezTo>
                  <a:cubicBezTo>
                    <a:pt x="61338" y="68636"/>
                    <a:pt x="69173" y="68201"/>
                    <a:pt x="78021" y="71142"/>
                  </a:cubicBezTo>
                  <a:cubicBezTo>
                    <a:pt x="89509" y="74919"/>
                    <a:pt x="98843" y="80802"/>
                    <a:pt x="110493" y="81169"/>
                  </a:cubicBezTo>
                  <a:cubicBezTo>
                    <a:pt x="105744" y="73248"/>
                    <a:pt x="85003" y="53361"/>
                    <a:pt x="94257" y="48281"/>
                  </a:cubicBezTo>
                  <a:cubicBezTo>
                    <a:pt x="102781" y="43501"/>
                    <a:pt x="131640" y="51021"/>
                    <a:pt x="144832" y="52091"/>
                  </a:cubicBezTo>
                  <a:cubicBezTo>
                    <a:pt x="159323" y="53261"/>
                    <a:pt x="175030" y="56904"/>
                    <a:pt x="181728" y="49451"/>
                  </a:cubicBezTo>
                  <a:cubicBezTo>
                    <a:pt x="192281" y="37652"/>
                    <a:pt x="212535" y="38421"/>
                    <a:pt x="236240" y="39423"/>
                  </a:cubicBezTo>
                  <a:lnTo>
                    <a:pt x="228771" y="35179"/>
                  </a:lnTo>
                  <a:cubicBezTo>
                    <a:pt x="216352" y="31903"/>
                    <a:pt x="231166" y="35680"/>
                    <a:pt x="228812" y="3511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2634EA1B-7580-4051-8001-39C36FE5DC64}"/>
                </a:ext>
              </a:extLst>
            </p:cNvPr>
            <p:cNvSpPr/>
            <p:nvPr/>
          </p:nvSpPr>
          <p:spPr>
            <a:xfrm>
              <a:off x="8220183" y="4580534"/>
              <a:ext cx="212447" cy="113527"/>
            </a:xfrm>
            <a:custGeom>
              <a:avLst/>
              <a:gdLst>
                <a:gd name="connsiteX0" fmla="*/ 212266 w 212447"/>
                <a:gd name="connsiteY0" fmla="*/ 93374 h 113527"/>
                <a:gd name="connsiteX1" fmla="*/ 143020 w 212447"/>
                <a:gd name="connsiteY1" fmla="*/ 65599 h 113527"/>
                <a:gd name="connsiteX2" fmla="*/ 83069 w 212447"/>
                <a:gd name="connsiteY2" fmla="*/ 22850 h 113527"/>
                <a:gd name="connsiteX3" fmla="*/ 61191 w 212447"/>
                <a:gd name="connsiteY3" fmla="*/ 5169 h 113527"/>
                <a:gd name="connsiteX4" fmla="*/ 31154 w 212447"/>
                <a:gd name="connsiteY4" fmla="*/ 356 h 113527"/>
                <a:gd name="connsiteX5" fmla="*/ 4324 w 212447"/>
                <a:gd name="connsiteY5" fmla="*/ 8812 h 113527"/>
                <a:gd name="connsiteX6" fmla="*/ 13092 w 212447"/>
                <a:gd name="connsiteY6" fmla="*/ 28165 h 113527"/>
                <a:gd name="connsiteX7" fmla="*/ 65859 w 212447"/>
                <a:gd name="connsiteY7" fmla="*/ 59215 h 113527"/>
                <a:gd name="connsiteX8" fmla="*/ 92445 w 212447"/>
                <a:gd name="connsiteY8" fmla="*/ 68240 h 113527"/>
                <a:gd name="connsiteX9" fmla="*/ 115297 w 212447"/>
                <a:gd name="connsiteY9" fmla="*/ 84116 h 113527"/>
                <a:gd name="connsiteX10" fmla="*/ 170905 w 212447"/>
                <a:gd name="connsiteY10" fmla="*/ 108916 h 113527"/>
                <a:gd name="connsiteX11" fmla="*/ 200860 w 212447"/>
                <a:gd name="connsiteY11" fmla="*/ 112726 h 113527"/>
                <a:gd name="connsiteX12" fmla="*/ 212388 w 212447"/>
                <a:gd name="connsiteY12" fmla="*/ 93374 h 113527"/>
                <a:gd name="connsiteX13" fmla="*/ 212266 w 212447"/>
                <a:gd name="connsiteY13" fmla="*/ 93374 h 11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447" h="113527">
                  <a:moveTo>
                    <a:pt x="212266" y="93374"/>
                  </a:moveTo>
                  <a:cubicBezTo>
                    <a:pt x="188196" y="85907"/>
                    <a:pt x="165020" y="76609"/>
                    <a:pt x="143020" y="65599"/>
                  </a:cubicBezTo>
                  <a:cubicBezTo>
                    <a:pt x="119883" y="53233"/>
                    <a:pt x="102105" y="37289"/>
                    <a:pt x="83069" y="22850"/>
                  </a:cubicBezTo>
                  <a:cubicBezTo>
                    <a:pt x="75722" y="17269"/>
                    <a:pt x="69309" y="10350"/>
                    <a:pt x="61191" y="5169"/>
                  </a:cubicBezTo>
                  <a:cubicBezTo>
                    <a:pt x="49014" y="-2652"/>
                    <a:pt x="43778" y="2696"/>
                    <a:pt x="31154" y="356"/>
                  </a:cubicBezTo>
                  <a:cubicBezTo>
                    <a:pt x="16867" y="-2251"/>
                    <a:pt x="10007" y="2896"/>
                    <a:pt x="4324" y="8812"/>
                  </a:cubicBezTo>
                  <a:cubicBezTo>
                    <a:pt x="-3793" y="17068"/>
                    <a:pt x="-505" y="19876"/>
                    <a:pt x="13092" y="28165"/>
                  </a:cubicBezTo>
                  <a:cubicBezTo>
                    <a:pt x="30140" y="38526"/>
                    <a:pt x="50556" y="47818"/>
                    <a:pt x="65859" y="59215"/>
                  </a:cubicBezTo>
                  <a:cubicBezTo>
                    <a:pt x="75032" y="66101"/>
                    <a:pt x="78807" y="66970"/>
                    <a:pt x="92445" y="68240"/>
                  </a:cubicBezTo>
                  <a:cubicBezTo>
                    <a:pt x="110873" y="69944"/>
                    <a:pt x="106489" y="76796"/>
                    <a:pt x="115297" y="84116"/>
                  </a:cubicBezTo>
                  <a:cubicBezTo>
                    <a:pt x="125810" y="92839"/>
                    <a:pt x="154913" y="105139"/>
                    <a:pt x="170905" y="108916"/>
                  </a:cubicBezTo>
                  <a:cubicBezTo>
                    <a:pt x="179023" y="110888"/>
                    <a:pt x="193148" y="114464"/>
                    <a:pt x="200860" y="112726"/>
                  </a:cubicBezTo>
                  <a:cubicBezTo>
                    <a:pt x="213037" y="109952"/>
                    <a:pt x="201510" y="96015"/>
                    <a:pt x="212388" y="93374"/>
                  </a:cubicBezTo>
                  <a:cubicBezTo>
                    <a:pt x="210318" y="92706"/>
                    <a:pt x="210764" y="93742"/>
                    <a:pt x="212266" y="933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676AF6CB-520E-482D-80C8-EEC031F8D195}"/>
                </a:ext>
              </a:extLst>
            </p:cNvPr>
            <p:cNvSpPr/>
            <p:nvPr/>
          </p:nvSpPr>
          <p:spPr>
            <a:xfrm>
              <a:off x="8488924" y="4737662"/>
              <a:ext cx="245491" cy="308176"/>
            </a:xfrm>
            <a:custGeom>
              <a:avLst/>
              <a:gdLst>
                <a:gd name="connsiteX0" fmla="*/ 125571 w 245491"/>
                <a:gd name="connsiteY0" fmla="*/ 288130 h 308176"/>
                <a:gd name="connsiteX1" fmla="*/ 122242 w 245491"/>
                <a:gd name="connsiteY1" fmla="*/ 276298 h 308176"/>
                <a:gd name="connsiteX2" fmla="*/ 125449 w 245491"/>
                <a:gd name="connsiteY2" fmla="*/ 259385 h 308176"/>
                <a:gd name="connsiteX3" fmla="*/ 113718 w 245491"/>
                <a:gd name="connsiteY3" fmla="*/ 237393 h 308176"/>
                <a:gd name="connsiteX4" fmla="*/ 124961 w 245491"/>
                <a:gd name="connsiteY4" fmla="*/ 225962 h 308176"/>
                <a:gd name="connsiteX5" fmla="*/ 131415 w 245491"/>
                <a:gd name="connsiteY5" fmla="*/ 220614 h 308176"/>
                <a:gd name="connsiteX6" fmla="*/ 132024 w 245491"/>
                <a:gd name="connsiteY6" fmla="*/ 208047 h 308176"/>
                <a:gd name="connsiteX7" fmla="*/ 118467 w 245491"/>
                <a:gd name="connsiteY7" fmla="*/ 179770 h 308176"/>
                <a:gd name="connsiteX8" fmla="*/ 134703 w 245491"/>
                <a:gd name="connsiteY8" fmla="*/ 157911 h 308176"/>
                <a:gd name="connsiteX9" fmla="*/ 176754 w 245491"/>
                <a:gd name="connsiteY9" fmla="*/ 159215 h 308176"/>
                <a:gd name="connsiteX10" fmla="*/ 218075 w 245491"/>
                <a:gd name="connsiteY10" fmla="*/ 158847 h 308176"/>
                <a:gd name="connsiteX11" fmla="*/ 245432 w 245491"/>
                <a:gd name="connsiteY11" fmla="*/ 148987 h 308176"/>
                <a:gd name="connsiteX12" fmla="*/ 217019 w 245491"/>
                <a:gd name="connsiteY12" fmla="*/ 140464 h 308176"/>
                <a:gd name="connsiteX13" fmla="*/ 203462 w 245491"/>
                <a:gd name="connsiteY13" fmla="*/ 125992 h 308176"/>
                <a:gd name="connsiteX14" fmla="*/ 209510 w 245491"/>
                <a:gd name="connsiteY14" fmla="*/ 110015 h 308176"/>
                <a:gd name="connsiteX15" fmla="*/ 196481 w 245491"/>
                <a:gd name="connsiteY15" fmla="*/ 90663 h 308176"/>
                <a:gd name="connsiteX16" fmla="*/ 183816 w 245491"/>
                <a:gd name="connsiteY16" fmla="*/ 80034 h 308176"/>
                <a:gd name="connsiteX17" fmla="*/ 171639 w 245491"/>
                <a:gd name="connsiteY17" fmla="*/ 71244 h 308176"/>
                <a:gd name="connsiteX18" fmla="*/ 221119 w 245491"/>
                <a:gd name="connsiteY18" fmla="*/ 41163 h 308176"/>
                <a:gd name="connsiteX19" fmla="*/ 219535 w 245491"/>
                <a:gd name="connsiteY19" fmla="*/ 22613 h 308176"/>
                <a:gd name="connsiteX20" fmla="*/ 211093 w 245491"/>
                <a:gd name="connsiteY20" fmla="*/ 4831 h 308176"/>
                <a:gd name="connsiteX21" fmla="*/ 178621 w 245491"/>
                <a:gd name="connsiteY21" fmla="*/ 17031 h 308176"/>
                <a:gd name="connsiteX22" fmla="*/ 166079 w 245491"/>
                <a:gd name="connsiteY22" fmla="*/ 13120 h 308176"/>
                <a:gd name="connsiteX23" fmla="*/ 133607 w 245491"/>
                <a:gd name="connsiteY23" fmla="*/ 11917 h 308176"/>
                <a:gd name="connsiteX24" fmla="*/ 86279 w 245491"/>
                <a:gd name="connsiteY24" fmla="*/ 45775 h 308176"/>
                <a:gd name="connsiteX25" fmla="*/ 70937 w 245491"/>
                <a:gd name="connsiteY25" fmla="*/ 50588 h 308176"/>
                <a:gd name="connsiteX26" fmla="*/ 53483 w 245491"/>
                <a:gd name="connsiteY26" fmla="*/ 46210 h 308176"/>
                <a:gd name="connsiteX27" fmla="*/ 28318 w 245491"/>
                <a:gd name="connsiteY27" fmla="*/ 73149 h 308176"/>
                <a:gd name="connsiteX28" fmla="*/ 11269 w 245491"/>
                <a:gd name="connsiteY28" fmla="*/ 80970 h 308176"/>
                <a:gd name="connsiteX29" fmla="*/ 3679 w 245491"/>
                <a:gd name="connsiteY29" fmla="*/ 93337 h 308176"/>
                <a:gd name="connsiteX30" fmla="*/ 27708 w 245491"/>
                <a:gd name="connsiteY30" fmla="*/ 116733 h 308176"/>
                <a:gd name="connsiteX31" fmla="*/ 35826 w 245491"/>
                <a:gd name="connsiteY31" fmla="*/ 145912 h 308176"/>
                <a:gd name="connsiteX32" fmla="*/ 24461 w 245491"/>
                <a:gd name="connsiteY32" fmla="*/ 171448 h 308176"/>
                <a:gd name="connsiteX33" fmla="*/ 28033 w 245491"/>
                <a:gd name="connsiteY33" fmla="*/ 186087 h 308176"/>
                <a:gd name="connsiteX34" fmla="*/ 61520 w 245491"/>
                <a:gd name="connsiteY34" fmla="*/ 191068 h 308176"/>
                <a:gd name="connsiteX35" fmla="*/ 91434 w 245491"/>
                <a:gd name="connsiteY35" fmla="*/ 182912 h 308176"/>
                <a:gd name="connsiteX36" fmla="*/ 98862 w 245491"/>
                <a:gd name="connsiteY36" fmla="*/ 224926 h 308176"/>
                <a:gd name="connsiteX37" fmla="*/ 96751 w 245491"/>
                <a:gd name="connsiteY37" fmla="*/ 248322 h 308176"/>
                <a:gd name="connsiteX38" fmla="*/ 104585 w 245491"/>
                <a:gd name="connsiteY38" fmla="*/ 273089 h 308176"/>
                <a:gd name="connsiteX39" fmla="*/ 96914 w 245491"/>
                <a:gd name="connsiteY39" fmla="*/ 285790 h 308176"/>
                <a:gd name="connsiteX40" fmla="*/ 90055 w 245491"/>
                <a:gd name="connsiteY40" fmla="*/ 307081 h 308176"/>
                <a:gd name="connsiteX41" fmla="*/ 125571 w 245491"/>
                <a:gd name="connsiteY41" fmla="*/ 288130 h 30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45491" h="308176">
                  <a:moveTo>
                    <a:pt x="125571" y="288130"/>
                  </a:moveTo>
                  <a:cubicBezTo>
                    <a:pt x="127600" y="283918"/>
                    <a:pt x="123216" y="280609"/>
                    <a:pt x="122242" y="276298"/>
                  </a:cubicBezTo>
                  <a:cubicBezTo>
                    <a:pt x="120902" y="270482"/>
                    <a:pt x="126585" y="265468"/>
                    <a:pt x="125449" y="259385"/>
                  </a:cubicBezTo>
                  <a:cubicBezTo>
                    <a:pt x="124068" y="251832"/>
                    <a:pt x="114651" y="245047"/>
                    <a:pt x="113718" y="237393"/>
                  </a:cubicBezTo>
                  <a:cubicBezTo>
                    <a:pt x="112906" y="230507"/>
                    <a:pt x="122161" y="231243"/>
                    <a:pt x="124961" y="225962"/>
                  </a:cubicBezTo>
                  <a:cubicBezTo>
                    <a:pt x="127234" y="221583"/>
                    <a:pt x="126260" y="222051"/>
                    <a:pt x="131415" y="220614"/>
                  </a:cubicBezTo>
                  <a:cubicBezTo>
                    <a:pt x="140142" y="218208"/>
                    <a:pt x="130116" y="212325"/>
                    <a:pt x="132024" y="208047"/>
                  </a:cubicBezTo>
                  <a:cubicBezTo>
                    <a:pt x="136083" y="198655"/>
                    <a:pt x="114205" y="188962"/>
                    <a:pt x="118467" y="179770"/>
                  </a:cubicBezTo>
                  <a:cubicBezTo>
                    <a:pt x="122079" y="172016"/>
                    <a:pt x="129020" y="164964"/>
                    <a:pt x="134703" y="157911"/>
                  </a:cubicBezTo>
                  <a:cubicBezTo>
                    <a:pt x="143064" y="147116"/>
                    <a:pt x="164577" y="164596"/>
                    <a:pt x="176754" y="159215"/>
                  </a:cubicBezTo>
                  <a:cubicBezTo>
                    <a:pt x="183005" y="156374"/>
                    <a:pt x="208576" y="158580"/>
                    <a:pt x="218075" y="158847"/>
                  </a:cubicBezTo>
                  <a:cubicBezTo>
                    <a:pt x="226193" y="159048"/>
                    <a:pt x="235812" y="145812"/>
                    <a:pt x="245432" y="148987"/>
                  </a:cubicBezTo>
                  <a:cubicBezTo>
                    <a:pt x="243808" y="144843"/>
                    <a:pt x="221890" y="147550"/>
                    <a:pt x="217019" y="140464"/>
                  </a:cubicBezTo>
                  <a:cubicBezTo>
                    <a:pt x="211296" y="132509"/>
                    <a:pt x="221402" y="131774"/>
                    <a:pt x="203462" y="125992"/>
                  </a:cubicBezTo>
                  <a:cubicBezTo>
                    <a:pt x="194329" y="123084"/>
                    <a:pt x="212960" y="114561"/>
                    <a:pt x="209510" y="110015"/>
                  </a:cubicBezTo>
                  <a:cubicBezTo>
                    <a:pt x="203421" y="102127"/>
                    <a:pt x="189581" y="100423"/>
                    <a:pt x="196481" y="90663"/>
                  </a:cubicBezTo>
                  <a:cubicBezTo>
                    <a:pt x="199930" y="85750"/>
                    <a:pt x="193274" y="83009"/>
                    <a:pt x="183816" y="80034"/>
                  </a:cubicBezTo>
                  <a:cubicBezTo>
                    <a:pt x="171639" y="76224"/>
                    <a:pt x="167946" y="79266"/>
                    <a:pt x="171639" y="71244"/>
                  </a:cubicBezTo>
                  <a:cubicBezTo>
                    <a:pt x="179352" y="55100"/>
                    <a:pt x="215233" y="58042"/>
                    <a:pt x="221119" y="41163"/>
                  </a:cubicBezTo>
                  <a:cubicBezTo>
                    <a:pt x="222661" y="36751"/>
                    <a:pt x="230616" y="26858"/>
                    <a:pt x="219535" y="22613"/>
                  </a:cubicBezTo>
                  <a:cubicBezTo>
                    <a:pt x="204802" y="16964"/>
                    <a:pt x="219535" y="11817"/>
                    <a:pt x="211093" y="4831"/>
                  </a:cubicBezTo>
                  <a:cubicBezTo>
                    <a:pt x="194857" y="-8538"/>
                    <a:pt x="173182" y="7104"/>
                    <a:pt x="178621" y="17031"/>
                  </a:cubicBezTo>
                  <a:cubicBezTo>
                    <a:pt x="182680" y="24184"/>
                    <a:pt x="166931" y="17031"/>
                    <a:pt x="166079" y="13120"/>
                  </a:cubicBezTo>
                  <a:cubicBezTo>
                    <a:pt x="164821" y="7505"/>
                    <a:pt x="137138" y="11683"/>
                    <a:pt x="133607" y="11917"/>
                  </a:cubicBezTo>
                  <a:cubicBezTo>
                    <a:pt x="105194" y="13689"/>
                    <a:pt x="103327" y="35314"/>
                    <a:pt x="86279" y="45775"/>
                  </a:cubicBezTo>
                  <a:cubicBezTo>
                    <a:pt x="81084" y="49118"/>
                    <a:pt x="80272" y="54298"/>
                    <a:pt x="70937" y="50588"/>
                  </a:cubicBezTo>
                  <a:cubicBezTo>
                    <a:pt x="65498" y="48449"/>
                    <a:pt x="56568" y="41931"/>
                    <a:pt x="53483" y="46210"/>
                  </a:cubicBezTo>
                  <a:cubicBezTo>
                    <a:pt x="51129" y="49552"/>
                    <a:pt x="34081" y="74887"/>
                    <a:pt x="28318" y="73149"/>
                  </a:cubicBezTo>
                  <a:cubicBezTo>
                    <a:pt x="21335" y="71077"/>
                    <a:pt x="13949" y="78597"/>
                    <a:pt x="11269" y="80970"/>
                  </a:cubicBezTo>
                  <a:cubicBezTo>
                    <a:pt x="4532" y="86987"/>
                    <a:pt x="-5616" y="80068"/>
                    <a:pt x="3679" y="93337"/>
                  </a:cubicBezTo>
                  <a:cubicBezTo>
                    <a:pt x="9687" y="101994"/>
                    <a:pt x="22309" y="107976"/>
                    <a:pt x="27708" y="116733"/>
                  </a:cubicBezTo>
                  <a:cubicBezTo>
                    <a:pt x="32863" y="125881"/>
                    <a:pt x="35623" y="135825"/>
                    <a:pt x="35826" y="145912"/>
                  </a:cubicBezTo>
                  <a:cubicBezTo>
                    <a:pt x="36557" y="155639"/>
                    <a:pt x="33837" y="164830"/>
                    <a:pt x="24461" y="171448"/>
                  </a:cubicBezTo>
                  <a:cubicBezTo>
                    <a:pt x="15085" y="178066"/>
                    <a:pt x="16546" y="178133"/>
                    <a:pt x="28033" y="186087"/>
                  </a:cubicBezTo>
                  <a:cubicBezTo>
                    <a:pt x="40616" y="194811"/>
                    <a:pt x="48693" y="193842"/>
                    <a:pt x="61520" y="191068"/>
                  </a:cubicBezTo>
                  <a:cubicBezTo>
                    <a:pt x="65010" y="190265"/>
                    <a:pt x="92855" y="184115"/>
                    <a:pt x="91434" y="182912"/>
                  </a:cubicBezTo>
                  <a:cubicBezTo>
                    <a:pt x="107143" y="196282"/>
                    <a:pt x="102394" y="212994"/>
                    <a:pt x="98862" y="224926"/>
                  </a:cubicBezTo>
                  <a:cubicBezTo>
                    <a:pt x="96021" y="232493"/>
                    <a:pt x="95291" y="240491"/>
                    <a:pt x="96751" y="248322"/>
                  </a:cubicBezTo>
                  <a:cubicBezTo>
                    <a:pt x="99106" y="257246"/>
                    <a:pt x="106494" y="264031"/>
                    <a:pt x="104585" y="273089"/>
                  </a:cubicBezTo>
                  <a:cubicBezTo>
                    <a:pt x="103530" y="278170"/>
                    <a:pt x="98822" y="281211"/>
                    <a:pt x="96914" y="285790"/>
                  </a:cubicBezTo>
                  <a:cubicBezTo>
                    <a:pt x="93707" y="293477"/>
                    <a:pt x="96386" y="300129"/>
                    <a:pt x="90055" y="307081"/>
                  </a:cubicBezTo>
                  <a:cubicBezTo>
                    <a:pt x="100932" y="311927"/>
                    <a:pt x="121024" y="292074"/>
                    <a:pt x="125571" y="28813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081A4634-DA5B-4CD1-A4F9-E27C988525AC}"/>
                </a:ext>
              </a:extLst>
            </p:cNvPr>
            <p:cNvSpPr/>
            <p:nvPr/>
          </p:nvSpPr>
          <p:spPr>
            <a:xfrm>
              <a:off x="8451389" y="4681739"/>
              <a:ext cx="85719" cy="39555"/>
            </a:xfrm>
            <a:custGeom>
              <a:avLst/>
              <a:gdLst>
                <a:gd name="connsiteX0" fmla="*/ 85660 w 85719"/>
                <a:gd name="connsiteY0" fmla="*/ 24122 h 39555"/>
                <a:gd name="connsiteX1" fmla="*/ 62483 w 85719"/>
                <a:gd name="connsiteY1" fmla="*/ 12691 h 39555"/>
                <a:gd name="connsiteX2" fmla="*/ 36100 w 85719"/>
                <a:gd name="connsiteY2" fmla="*/ 258 h 39555"/>
                <a:gd name="connsiteX3" fmla="*/ 6306 w 85719"/>
                <a:gd name="connsiteY3" fmla="*/ 16502 h 39555"/>
                <a:gd name="connsiteX4" fmla="*/ 62564 w 85719"/>
                <a:gd name="connsiteY4" fmla="*/ 36389 h 39555"/>
                <a:gd name="connsiteX5" fmla="*/ 85660 w 85719"/>
                <a:gd name="connsiteY5" fmla="*/ 24122 h 39555"/>
                <a:gd name="connsiteX6" fmla="*/ 85660 w 85719"/>
                <a:gd name="connsiteY6" fmla="*/ 24122 h 3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19" h="39555">
                  <a:moveTo>
                    <a:pt x="85660" y="24122"/>
                  </a:moveTo>
                  <a:cubicBezTo>
                    <a:pt x="79124" y="17437"/>
                    <a:pt x="73239" y="15232"/>
                    <a:pt x="62483" y="12691"/>
                  </a:cubicBezTo>
                  <a:cubicBezTo>
                    <a:pt x="51726" y="10151"/>
                    <a:pt x="46937" y="1929"/>
                    <a:pt x="36100" y="258"/>
                  </a:cubicBezTo>
                  <a:cubicBezTo>
                    <a:pt x="17428" y="-2617"/>
                    <a:pt x="-13460" y="5238"/>
                    <a:pt x="6306" y="16502"/>
                  </a:cubicBezTo>
                  <a:cubicBezTo>
                    <a:pt x="23313" y="26228"/>
                    <a:pt x="43487" y="29303"/>
                    <a:pt x="62564" y="36389"/>
                  </a:cubicBezTo>
                  <a:cubicBezTo>
                    <a:pt x="91707" y="47184"/>
                    <a:pt x="71534" y="23554"/>
                    <a:pt x="85660" y="24122"/>
                  </a:cubicBezTo>
                  <a:cubicBezTo>
                    <a:pt x="72102" y="10419"/>
                    <a:pt x="82737" y="23989"/>
                    <a:pt x="85660" y="2412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0D0EFF1F-CDE3-4A1D-A3E5-9BF668346FE8}"/>
                </a:ext>
              </a:extLst>
            </p:cNvPr>
            <p:cNvSpPr/>
            <p:nvPr/>
          </p:nvSpPr>
          <p:spPr>
            <a:xfrm>
              <a:off x="8734044" y="4882602"/>
              <a:ext cx="188707" cy="252818"/>
            </a:xfrm>
            <a:custGeom>
              <a:avLst/>
              <a:gdLst>
                <a:gd name="connsiteX0" fmla="*/ 183940 w 188707"/>
                <a:gd name="connsiteY0" fmla="*/ 66917 h 252818"/>
                <a:gd name="connsiteX1" fmla="*/ 166161 w 188707"/>
                <a:gd name="connsiteY1" fmla="*/ 42552 h 252818"/>
                <a:gd name="connsiteX2" fmla="*/ 152198 w 188707"/>
                <a:gd name="connsiteY2" fmla="*/ 29851 h 252818"/>
                <a:gd name="connsiteX3" fmla="*/ 137262 w 188707"/>
                <a:gd name="connsiteY3" fmla="*/ 17150 h 252818"/>
                <a:gd name="connsiteX4" fmla="*/ 113191 w 188707"/>
                <a:gd name="connsiteY4" fmla="*/ 18754 h 252818"/>
                <a:gd name="connsiteX5" fmla="*/ 86930 w 188707"/>
                <a:gd name="connsiteY5" fmla="*/ 12872 h 252818"/>
                <a:gd name="connsiteX6" fmla="*/ 76945 w 188707"/>
                <a:gd name="connsiteY6" fmla="*/ 7423 h 252818"/>
                <a:gd name="connsiteX7" fmla="*/ 64768 w 188707"/>
                <a:gd name="connsiteY7" fmla="*/ 6120 h 252818"/>
                <a:gd name="connsiteX8" fmla="*/ 51495 w 188707"/>
                <a:gd name="connsiteY8" fmla="*/ 104 h 252818"/>
                <a:gd name="connsiteX9" fmla="*/ 37654 w 188707"/>
                <a:gd name="connsiteY9" fmla="*/ 705 h 252818"/>
                <a:gd name="connsiteX10" fmla="*/ 67893 w 188707"/>
                <a:gd name="connsiteY10" fmla="*/ 43387 h 252818"/>
                <a:gd name="connsiteX11" fmla="*/ 89771 w 188707"/>
                <a:gd name="connsiteY11" fmla="*/ 53748 h 252818"/>
                <a:gd name="connsiteX12" fmla="*/ 86362 w 188707"/>
                <a:gd name="connsiteY12" fmla="*/ 70059 h 252818"/>
                <a:gd name="connsiteX13" fmla="*/ 90055 w 188707"/>
                <a:gd name="connsiteY13" fmla="*/ 92319 h 252818"/>
                <a:gd name="connsiteX14" fmla="*/ 114897 w 188707"/>
                <a:gd name="connsiteY14" fmla="*/ 144728 h 252818"/>
                <a:gd name="connsiteX15" fmla="*/ 127682 w 188707"/>
                <a:gd name="connsiteY15" fmla="*/ 170731 h 252818"/>
                <a:gd name="connsiteX16" fmla="*/ 117982 w 188707"/>
                <a:gd name="connsiteY16" fmla="*/ 198673 h 252818"/>
                <a:gd name="connsiteX17" fmla="*/ 104221 w 188707"/>
                <a:gd name="connsiteY17" fmla="*/ 213848 h 252818"/>
                <a:gd name="connsiteX18" fmla="*/ 80598 w 188707"/>
                <a:gd name="connsiteY18" fmla="*/ 220064 h 252818"/>
                <a:gd name="connsiteX19" fmla="*/ 53646 w 188707"/>
                <a:gd name="connsiteY19" fmla="*/ 213380 h 252818"/>
                <a:gd name="connsiteX20" fmla="*/ 55432 w 188707"/>
                <a:gd name="connsiteY20" fmla="*/ 229323 h 252818"/>
                <a:gd name="connsiteX21" fmla="*/ 31078 w 188707"/>
                <a:gd name="connsiteY21" fmla="*/ 219630 h 252818"/>
                <a:gd name="connsiteX22" fmla="*/ 3924 w 188707"/>
                <a:gd name="connsiteY22" fmla="*/ 220398 h 252818"/>
                <a:gd name="connsiteX23" fmla="*/ 5142 w 188707"/>
                <a:gd name="connsiteY23" fmla="*/ 235673 h 252818"/>
                <a:gd name="connsiteX24" fmla="*/ 9201 w 188707"/>
                <a:gd name="connsiteY24" fmla="*/ 251850 h 252818"/>
                <a:gd name="connsiteX25" fmla="*/ 42565 w 188707"/>
                <a:gd name="connsiteY25" fmla="*/ 248875 h 252818"/>
                <a:gd name="connsiteX26" fmla="*/ 48695 w 188707"/>
                <a:gd name="connsiteY26" fmla="*/ 245533 h 252818"/>
                <a:gd name="connsiteX27" fmla="*/ 60222 w 188707"/>
                <a:gd name="connsiteY27" fmla="*/ 239684 h 252818"/>
                <a:gd name="connsiteX28" fmla="*/ 89406 w 188707"/>
                <a:gd name="connsiteY28" fmla="*/ 246369 h 252818"/>
                <a:gd name="connsiteX29" fmla="*/ 132796 w 188707"/>
                <a:gd name="connsiteY29" fmla="*/ 246369 h 252818"/>
                <a:gd name="connsiteX30" fmla="*/ 164497 w 188707"/>
                <a:gd name="connsiteY30" fmla="*/ 199910 h 252818"/>
                <a:gd name="connsiteX31" fmla="*/ 155689 w 188707"/>
                <a:gd name="connsiteY31" fmla="*/ 164180 h 252818"/>
                <a:gd name="connsiteX32" fmla="*/ 140630 w 188707"/>
                <a:gd name="connsiteY32" fmla="*/ 150811 h 252818"/>
                <a:gd name="connsiteX33" fmla="*/ 121919 w 188707"/>
                <a:gd name="connsiteY33" fmla="*/ 127815 h 252818"/>
                <a:gd name="connsiteX34" fmla="*/ 124557 w 188707"/>
                <a:gd name="connsiteY34" fmla="*/ 80822 h 252818"/>
                <a:gd name="connsiteX35" fmla="*/ 138722 w 188707"/>
                <a:gd name="connsiteY35" fmla="*/ 79752 h 252818"/>
                <a:gd name="connsiteX36" fmla="*/ 149073 w 188707"/>
                <a:gd name="connsiteY36" fmla="*/ 71630 h 252818"/>
                <a:gd name="connsiteX37" fmla="*/ 166649 w 188707"/>
                <a:gd name="connsiteY37" fmla="*/ 73402 h 252818"/>
                <a:gd name="connsiteX38" fmla="*/ 188648 w 188707"/>
                <a:gd name="connsiteY38" fmla="*/ 71262 h 252818"/>
                <a:gd name="connsiteX39" fmla="*/ 184223 w 188707"/>
                <a:gd name="connsiteY39" fmla="*/ 66616 h 252818"/>
                <a:gd name="connsiteX40" fmla="*/ 183940 w 188707"/>
                <a:gd name="connsiteY40" fmla="*/ 66917 h 2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88707" h="252818">
                  <a:moveTo>
                    <a:pt x="183940" y="66917"/>
                  </a:moveTo>
                  <a:cubicBezTo>
                    <a:pt x="172696" y="61803"/>
                    <a:pt x="157759" y="48000"/>
                    <a:pt x="166161" y="42552"/>
                  </a:cubicBezTo>
                  <a:cubicBezTo>
                    <a:pt x="173305" y="37939"/>
                    <a:pt x="158327" y="33160"/>
                    <a:pt x="152198" y="29851"/>
                  </a:cubicBezTo>
                  <a:cubicBezTo>
                    <a:pt x="147531" y="27344"/>
                    <a:pt x="141443" y="18320"/>
                    <a:pt x="137262" y="17150"/>
                  </a:cubicBezTo>
                  <a:cubicBezTo>
                    <a:pt x="129266" y="15388"/>
                    <a:pt x="120741" y="15956"/>
                    <a:pt x="113191" y="18754"/>
                  </a:cubicBezTo>
                  <a:cubicBezTo>
                    <a:pt x="110391" y="19924"/>
                    <a:pt x="90745" y="14242"/>
                    <a:pt x="86930" y="12872"/>
                  </a:cubicBezTo>
                  <a:cubicBezTo>
                    <a:pt x="83399" y="11331"/>
                    <a:pt x="80030" y="9506"/>
                    <a:pt x="76945" y="7423"/>
                  </a:cubicBezTo>
                  <a:cubicBezTo>
                    <a:pt x="70613" y="3747"/>
                    <a:pt x="70531" y="7423"/>
                    <a:pt x="64768" y="6120"/>
                  </a:cubicBezTo>
                  <a:cubicBezTo>
                    <a:pt x="59694" y="5050"/>
                    <a:pt x="56406" y="1440"/>
                    <a:pt x="51495" y="104"/>
                  </a:cubicBezTo>
                  <a:cubicBezTo>
                    <a:pt x="46584" y="-1233"/>
                    <a:pt x="41916" y="906"/>
                    <a:pt x="37654" y="705"/>
                  </a:cubicBezTo>
                  <a:cubicBezTo>
                    <a:pt x="46096" y="12370"/>
                    <a:pt x="46503" y="36535"/>
                    <a:pt x="67893" y="43387"/>
                  </a:cubicBezTo>
                  <a:cubicBezTo>
                    <a:pt x="76011" y="45994"/>
                    <a:pt x="92003" y="44290"/>
                    <a:pt x="89771" y="53748"/>
                  </a:cubicBezTo>
                  <a:cubicBezTo>
                    <a:pt x="88837" y="57793"/>
                    <a:pt x="99147" y="72065"/>
                    <a:pt x="86362" y="70059"/>
                  </a:cubicBezTo>
                  <a:cubicBezTo>
                    <a:pt x="47517" y="64076"/>
                    <a:pt x="83723" y="80354"/>
                    <a:pt x="90055" y="92319"/>
                  </a:cubicBezTo>
                  <a:cubicBezTo>
                    <a:pt x="98783" y="108864"/>
                    <a:pt x="101055" y="128350"/>
                    <a:pt x="114897" y="144728"/>
                  </a:cubicBezTo>
                  <a:cubicBezTo>
                    <a:pt x="123582" y="154988"/>
                    <a:pt x="133284" y="160102"/>
                    <a:pt x="127682" y="170731"/>
                  </a:cubicBezTo>
                  <a:cubicBezTo>
                    <a:pt x="122730" y="180123"/>
                    <a:pt x="115505" y="187042"/>
                    <a:pt x="117982" y="198673"/>
                  </a:cubicBezTo>
                  <a:cubicBezTo>
                    <a:pt x="120254" y="208968"/>
                    <a:pt x="120904" y="213012"/>
                    <a:pt x="104221" y="213848"/>
                  </a:cubicBezTo>
                  <a:cubicBezTo>
                    <a:pt x="93140" y="214416"/>
                    <a:pt x="89447" y="217457"/>
                    <a:pt x="80598" y="220064"/>
                  </a:cubicBezTo>
                  <a:cubicBezTo>
                    <a:pt x="73819" y="222070"/>
                    <a:pt x="55351" y="210639"/>
                    <a:pt x="53646" y="213380"/>
                  </a:cubicBezTo>
                  <a:cubicBezTo>
                    <a:pt x="51292" y="217324"/>
                    <a:pt x="60912" y="226548"/>
                    <a:pt x="55432" y="229323"/>
                  </a:cubicBezTo>
                  <a:cubicBezTo>
                    <a:pt x="50683" y="231696"/>
                    <a:pt x="35340" y="221602"/>
                    <a:pt x="31078" y="219630"/>
                  </a:cubicBezTo>
                  <a:cubicBezTo>
                    <a:pt x="24300" y="216555"/>
                    <a:pt x="12164" y="220833"/>
                    <a:pt x="3924" y="220398"/>
                  </a:cubicBezTo>
                  <a:cubicBezTo>
                    <a:pt x="9972" y="231127"/>
                    <a:pt x="18739" y="229991"/>
                    <a:pt x="5142" y="235673"/>
                  </a:cubicBezTo>
                  <a:cubicBezTo>
                    <a:pt x="-2124" y="238715"/>
                    <a:pt x="-2651" y="255961"/>
                    <a:pt x="9201" y="251850"/>
                  </a:cubicBezTo>
                  <a:cubicBezTo>
                    <a:pt x="16831" y="249210"/>
                    <a:pt x="37614" y="252318"/>
                    <a:pt x="42565" y="248875"/>
                  </a:cubicBezTo>
                  <a:cubicBezTo>
                    <a:pt x="44229" y="247706"/>
                    <a:pt x="44027" y="243795"/>
                    <a:pt x="48695" y="245533"/>
                  </a:cubicBezTo>
                  <a:cubicBezTo>
                    <a:pt x="55067" y="248006"/>
                    <a:pt x="57137" y="241121"/>
                    <a:pt x="60222" y="239684"/>
                  </a:cubicBezTo>
                  <a:cubicBezTo>
                    <a:pt x="66230" y="236910"/>
                    <a:pt x="81369" y="245600"/>
                    <a:pt x="89406" y="246369"/>
                  </a:cubicBezTo>
                  <a:cubicBezTo>
                    <a:pt x="103775" y="248077"/>
                    <a:pt x="118427" y="248077"/>
                    <a:pt x="132796" y="246369"/>
                  </a:cubicBezTo>
                  <a:cubicBezTo>
                    <a:pt x="159261" y="242157"/>
                    <a:pt x="162792" y="215786"/>
                    <a:pt x="164497" y="199910"/>
                  </a:cubicBezTo>
                  <a:cubicBezTo>
                    <a:pt x="165715" y="188913"/>
                    <a:pt x="165106" y="175878"/>
                    <a:pt x="155689" y="164180"/>
                  </a:cubicBezTo>
                  <a:cubicBezTo>
                    <a:pt x="152158" y="159801"/>
                    <a:pt x="144770" y="155657"/>
                    <a:pt x="140630" y="150811"/>
                  </a:cubicBezTo>
                  <a:cubicBezTo>
                    <a:pt x="133933" y="143223"/>
                    <a:pt x="127926" y="135503"/>
                    <a:pt x="121919" y="127815"/>
                  </a:cubicBezTo>
                  <a:cubicBezTo>
                    <a:pt x="111812" y="114880"/>
                    <a:pt x="100528" y="84799"/>
                    <a:pt x="124557" y="80822"/>
                  </a:cubicBezTo>
                  <a:cubicBezTo>
                    <a:pt x="129062" y="80086"/>
                    <a:pt x="134136" y="80320"/>
                    <a:pt x="138722" y="79752"/>
                  </a:cubicBezTo>
                  <a:cubicBezTo>
                    <a:pt x="145622" y="78917"/>
                    <a:pt x="144080" y="73870"/>
                    <a:pt x="149073" y="71630"/>
                  </a:cubicBezTo>
                  <a:cubicBezTo>
                    <a:pt x="154065" y="69391"/>
                    <a:pt x="160560" y="72700"/>
                    <a:pt x="166649" y="73402"/>
                  </a:cubicBezTo>
                  <a:cubicBezTo>
                    <a:pt x="175538" y="74438"/>
                    <a:pt x="180814" y="70627"/>
                    <a:pt x="188648" y="71262"/>
                  </a:cubicBezTo>
                  <a:cubicBezTo>
                    <a:pt x="187674" y="69424"/>
                    <a:pt x="186172" y="67826"/>
                    <a:pt x="184223" y="66616"/>
                  </a:cubicBezTo>
                  <a:cubicBezTo>
                    <a:pt x="176552" y="63575"/>
                    <a:pt x="185319" y="67519"/>
                    <a:pt x="183940" y="6691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B41C57D5-76A4-4329-BBBA-28E8FB6A887E}"/>
                </a:ext>
              </a:extLst>
            </p:cNvPr>
            <p:cNvSpPr/>
            <p:nvPr/>
          </p:nvSpPr>
          <p:spPr>
            <a:xfrm>
              <a:off x="8702424" y="5027948"/>
              <a:ext cx="151933" cy="84654"/>
            </a:xfrm>
            <a:custGeom>
              <a:avLst/>
              <a:gdLst>
                <a:gd name="connsiteX0" fmla="*/ 55879 w 151933"/>
                <a:gd name="connsiteY0" fmla="*/ 73282 h 84654"/>
                <a:gd name="connsiteX1" fmla="*/ 86849 w 151933"/>
                <a:gd name="connsiteY1" fmla="*/ 84044 h 84654"/>
                <a:gd name="connsiteX2" fmla="*/ 100365 w 151933"/>
                <a:gd name="connsiteY2" fmla="*/ 73148 h 84654"/>
                <a:gd name="connsiteX3" fmla="*/ 135638 w 151933"/>
                <a:gd name="connsiteY3" fmla="*/ 68469 h 84654"/>
                <a:gd name="connsiteX4" fmla="*/ 151873 w 151933"/>
                <a:gd name="connsiteY4" fmla="*/ 35714 h 84654"/>
                <a:gd name="connsiteX5" fmla="*/ 110838 w 151933"/>
                <a:gd name="connsiteY5" fmla="*/ 27825 h 84654"/>
                <a:gd name="connsiteX6" fmla="*/ 88432 w 151933"/>
                <a:gd name="connsiteY6" fmla="*/ 17798 h 84654"/>
                <a:gd name="connsiteX7" fmla="*/ 46584 w 151933"/>
                <a:gd name="connsiteY7" fmla="*/ 2156 h 84654"/>
                <a:gd name="connsiteX8" fmla="*/ 1245 w 151933"/>
                <a:gd name="connsiteY8" fmla="*/ 8540 h 84654"/>
                <a:gd name="connsiteX9" fmla="*/ -54 w 151933"/>
                <a:gd name="connsiteY9" fmla="*/ 30199 h 84654"/>
                <a:gd name="connsiteX10" fmla="*/ 2665 w 151933"/>
                <a:gd name="connsiteY10" fmla="*/ 41195 h 84654"/>
                <a:gd name="connsiteX11" fmla="*/ 5304 w 151933"/>
                <a:gd name="connsiteY11" fmla="*/ 52158 h 84654"/>
                <a:gd name="connsiteX12" fmla="*/ 15371 w 151933"/>
                <a:gd name="connsiteY12" fmla="*/ 57840 h 84654"/>
                <a:gd name="connsiteX13" fmla="*/ 19633 w 151933"/>
                <a:gd name="connsiteY13" fmla="*/ 66731 h 84654"/>
                <a:gd name="connsiteX14" fmla="*/ 34042 w 151933"/>
                <a:gd name="connsiteY14" fmla="*/ 72011 h 84654"/>
                <a:gd name="connsiteX15" fmla="*/ 55879 w 151933"/>
                <a:gd name="connsiteY15" fmla="*/ 73282 h 8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933" h="84654">
                  <a:moveTo>
                    <a:pt x="55879" y="73282"/>
                  </a:moveTo>
                  <a:cubicBezTo>
                    <a:pt x="57787" y="69572"/>
                    <a:pt x="81451" y="86651"/>
                    <a:pt x="86849" y="84044"/>
                  </a:cubicBezTo>
                  <a:cubicBezTo>
                    <a:pt x="99026" y="77994"/>
                    <a:pt x="68705" y="60347"/>
                    <a:pt x="100365" y="73148"/>
                  </a:cubicBezTo>
                  <a:cubicBezTo>
                    <a:pt x="112542" y="77994"/>
                    <a:pt x="124192" y="69070"/>
                    <a:pt x="135638" y="68469"/>
                  </a:cubicBezTo>
                  <a:cubicBezTo>
                    <a:pt x="162265" y="67165"/>
                    <a:pt x="145298" y="48414"/>
                    <a:pt x="151873" y="35714"/>
                  </a:cubicBezTo>
                  <a:cubicBezTo>
                    <a:pt x="142092" y="36482"/>
                    <a:pt x="114572" y="20573"/>
                    <a:pt x="110838" y="27825"/>
                  </a:cubicBezTo>
                  <a:cubicBezTo>
                    <a:pt x="106008" y="37151"/>
                    <a:pt x="91842" y="23046"/>
                    <a:pt x="88432" y="17798"/>
                  </a:cubicBezTo>
                  <a:cubicBezTo>
                    <a:pt x="85022" y="12551"/>
                    <a:pt x="54824" y="4964"/>
                    <a:pt x="46584" y="2156"/>
                  </a:cubicBezTo>
                  <a:cubicBezTo>
                    <a:pt x="35422" y="-1687"/>
                    <a:pt x="-2124" y="-2155"/>
                    <a:pt x="1245" y="8540"/>
                  </a:cubicBezTo>
                  <a:cubicBezTo>
                    <a:pt x="3031" y="14122"/>
                    <a:pt x="5304" y="26455"/>
                    <a:pt x="-54" y="30199"/>
                  </a:cubicBezTo>
                  <a:cubicBezTo>
                    <a:pt x="1124" y="29530"/>
                    <a:pt x="3356" y="39758"/>
                    <a:pt x="2665" y="41195"/>
                  </a:cubicBezTo>
                  <a:cubicBezTo>
                    <a:pt x="1083" y="44537"/>
                    <a:pt x="-3788" y="49451"/>
                    <a:pt x="5304" y="52158"/>
                  </a:cubicBezTo>
                  <a:cubicBezTo>
                    <a:pt x="10175" y="53595"/>
                    <a:pt x="20647" y="53963"/>
                    <a:pt x="15371" y="57840"/>
                  </a:cubicBezTo>
                  <a:cubicBezTo>
                    <a:pt x="11312" y="60881"/>
                    <a:pt x="11555" y="64825"/>
                    <a:pt x="19633" y="66731"/>
                  </a:cubicBezTo>
                  <a:cubicBezTo>
                    <a:pt x="23245" y="67600"/>
                    <a:pt x="33433" y="68335"/>
                    <a:pt x="34042" y="72011"/>
                  </a:cubicBezTo>
                  <a:cubicBezTo>
                    <a:pt x="35137" y="77460"/>
                    <a:pt x="54093" y="76958"/>
                    <a:pt x="55879" y="732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B6C8B2E2-0CB9-4A72-8AFE-05B008455DCD}"/>
                </a:ext>
              </a:extLst>
            </p:cNvPr>
            <p:cNvSpPr/>
            <p:nvPr/>
          </p:nvSpPr>
          <p:spPr>
            <a:xfrm>
              <a:off x="8695328" y="4879335"/>
              <a:ext cx="168389" cy="184697"/>
            </a:xfrm>
            <a:custGeom>
              <a:avLst/>
              <a:gdLst>
                <a:gd name="connsiteX0" fmla="*/ 128852 w 168389"/>
                <a:gd name="connsiteY0" fmla="*/ 96923 h 184697"/>
                <a:gd name="connsiteX1" fmla="*/ 108233 w 168389"/>
                <a:gd name="connsiteY1" fmla="*/ 77270 h 184697"/>
                <a:gd name="connsiteX2" fmla="*/ 131207 w 168389"/>
                <a:gd name="connsiteY2" fmla="*/ 71956 h 184697"/>
                <a:gd name="connsiteX3" fmla="*/ 118259 w 168389"/>
                <a:gd name="connsiteY3" fmla="*/ 48025 h 184697"/>
                <a:gd name="connsiteX4" fmla="*/ 90617 w 168389"/>
                <a:gd name="connsiteY4" fmla="*/ 29174 h 184697"/>
                <a:gd name="connsiteX5" fmla="*/ 82499 w 168389"/>
                <a:gd name="connsiteY5" fmla="*/ 15804 h 184697"/>
                <a:gd name="connsiteX6" fmla="*/ 79779 w 168389"/>
                <a:gd name="connsiteY6" fmla="*/ 8685 h 184697"/>
                <a:gd name="connsiteX7" fmla="*/ 64964 w 168389"/>
                <a:gd name="connsiteY7" fmla="*/ 730 h 184697"/>
                <a:gd name="connsiteX8" fmla="*/ 56399 w 168389"/>
                <a:gd name="connsiteY8" fmla="*/ 17442 h 184697"/>
                <a:gd name="connsiteX9" fmla="*/ 37404 w 168389"/>
                <a:gd name="connsiteY9" fmla="*/ 7415 h 184697"/>
                <a:gd name="connsiteX10" fmla="*/ 5541 w 168389"/>
                <a:gd name="connsiteY10" fmla="*/ 16941 h 184697"/>
                <a:gd name="connsiteX11" fmla="*/ 11101 w 168389"/>
                <a:gd name="connsiteY11" fmla="*/ 38299 h 184697"/>
                <a:gd name="connsiteX12" fmla="*/ 12765 w 168389"/>
                <a:gd name="connsiteY12" fmla="*/ 61227 h 184697"/>
                <a:gd name="connsiteX13" fmla="*/ 8991 w 168389"/>
                <a:gd name="connsiteY13" fmla="*/ 75365 h 184697"/>
                <a:gd name="connsiteX14" fmla="*/ 35130 w 168389"/>
                <a:gd name="connsiteY14" fmla="*/ 73895 h 184697"/>
                <a:gd name="connsiteX15" fmla="*/ 51366 w 168389"/>
                <a:gd name="connsiteY15" fmla="*/ 82484 h 184697"/>
                <a:gd name="connsiteX16" fmla="*/ 90658 w 168389"/>
                <a:gd name="connsiteY16" fmla="*/ 88534 h 184697"/>
                <a:gd name="connsiteX17" fmla="*/ 107624 w 168389"/>
                <a:gd name="connsiteY17" fmla="*/ 116376 h 184697"/>
                <a:gd name="connsiteX18" fmla="*/ 99506 w 168389"/>
                <a:gd name="connsiteY18" fmla="*/ 125868 h 184697"/>
                <a:gd name="connsiteX19" fmla="*/ 108071 w 168389"/>
                <a:gd name="connsiteY19" fmla="*/ 135595 h 184697"/>
                <a:gd name="connsiteX20" fmla="*/ 98451 w 168389"/>
                <a:gd name="connsiteY20" fmla="*/ 169286 h 184697"/>
                <a:gd name="connsiteX21" fmla="*/ 108112 w 168389"/>
                <a:gd name="connsiteY21" fmla="*/ 179313 h 184697"/>
                <a:gd name="connsiteX22" fmla="*/ 125159 w 168389"/>
                <a:gd name="connsiteY22" fmla="*/ 174433 h 184697"/>
                <a:gd name="connsiteX23" fmla="*/ 151177 w 168389"/>
                <a:gd name="connsiteY23" fmla="*/ 184159 h 184697"/>
                <a:gd name="connsiteX24" fmla="*/ 168184 w 168389"/>
                <a:gd name="connsiteY24" fmla="*/ 169453 h 184697"/>
                <a:gd name="connsiteX25" fmla="*/ 148904 w 168389"/>
                <a:gd name="connsiteY25" fmla="*/ 136931 h 184697"/>
                <a:gd name="connsiteX26" fmla="*/ 129015 w 168389"/>
                <a:gd name="connsiteY26" fmla="*/ 97124 h 184697"/>
                <a:gd name="connsiteX27" fmla="*/ 128852 w 168389"/>
                <a:gd name="connsiteY27" fmla="*/ 96923 h 18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389" h="184697">
                  <a:moveTo>
                    <a:pt x="128852" y="96923"/>
                  </a:moveTo>
                  <a:cubicBezTo>
                    <a:pt x="131004" y="92812"/>
                    <a:pt x="112008" y="81214"/>
                    <a:pt x="108233" y="77270"/>
                  </a:cubicBezTo>
                  <a:cubicBezTo>
                    <a:pt x="96056" y="64402"/>
                    <a:pt x="128527" y="76869"/>
                    <a:pt x="131207" y="71956"/>
                  </a:cubicBezTo>
                  <a:cubicBezTo>
                    <a:pt x="133886" y="67043"/>
                    <a:pt x="129705" y="50364"/>
                    <a:pt x="118259" y="48025"/>
                  </a:cubicBezTo>
                  <a:cubicBezTo>
                    <a:pt x="98207" y="43914"/>
                    <a:pt x="95772" y="41674"/>
                    <a:pt x="90617" y="29174"/>
                  </a:cubicBezTo>
                  <a:cubicBezTo>
                    <a:pt x="88952" y="25196"/>
                    <a:pt x="80470" y="19414"/>
                    <a:pt x="82499" y="15804"/>
                  </a:cubicBezTo>
                  <a:cubicBezTo>
                    <a:pt x="82702" y="13237"/>
                    <a:pt x="81728" y="10701"/>
                    <a:pt x="79779" y="8685"/>
                  </a:cubicBezTo>
                  <a:cubicBezTo>
                    <a:pt x="74625" y="1265"/>
                    <a:pt x="69389" y="6178"/>
                    <a:pt x="64964" y="730"/>
                  </a:cubicBezTo>
                  <a:cubicBezTo>
                    <a:pt x="59931" y="-5486"/>
                    <a:pt x="56440" y="17442"/>
                    <a:pt x="56399" y="17442"/>
                  </a:cubicBezTo>
                  <a:cubicBezTo>
                    <a:pt x="50798" y="28405"/>
                    <a:pt x="41300" y="6513"/>
                    <a:pt x="37404" y="7415"/>
                  </a:cubicBezTo>
                  <a:cubicBezTo>
                    <a:pt x="25917" y="10390"/>
                    <a:pt x="18935" y="17442"/>
                    <a:pt x="5541" y="16941"/>
                  </a:cubicBezTo>
                  <a:cubicBezTo>
                    <a:pt x="11101" y="22957"/>
                    <a:pt x="1157" y="35758"/>
                    <a:pt x="11101" y="38299"/>
                  </a:cubicBezTo>
                  <a:cubicBezTo>
                    <a:pt x="34359" y="44315"/>
                    <a:pt x="16703" y="53072"/>
                    <a:pt x="12765" y="61227"/>
                  </a:cubicBezTo>
                  <a:cubicBezTo>
                    <a:pt x="11630" y="63533"/>
                    <a:pt x="-12887" y="75532"/>
                    <a:pt x="8991" y="75365"/>
                  </a:cubicBezTo>
                  <a:cubicBezTo>
                    <a:pt x="17839" y="75365"/>
                    <a:pt x="25877" y="73025"/>
                    <a:pt x="35130" y="73895"/>
                  </a:cubicBezTo>
                  <a:cubicBezTo>
                    <a:pt x="45684" y="74931"/>
                    <a:pt x="43939" y="79276"/>
                    <a:pt x="51366" y="82484"/>
                  </a:cubicBezTo>
                  <a:cubicBezTo>
                    <a:pt x="65452" y="88601"/>
                    <a:pt x="75112" y="77939"/>
                    <a:pt x="90658" y="88534"/>
                  </a:cubicBezTo>
                  <a:cubicBezTo>
                    <a:pt x="98207" y="93681"/>
                    <a:pt x="111683" y="111195"/>
                    <a:pt x="107624" y="116376"/>
                  </a:cubicBezTo>
                  <a:cubicBezTo>
                    <a:pt x="105148" y="119718"/>
                    <a:pt x="101048" y="122259"/>
                    <a:pt x="99506" y="125868"/>
                  </a:cubicBezTo>
                  <a:cubicBezTo>
                    <a:pt x="97964" y="129478"/>
                    <a:pt x="105513" y="132553"/>
                    <a:pt x="108071" y="135595"/>
                  </a:cubicBezTo>
                  <a:cubicBezTo>
                    <a:pt x="116189" y="145622"/>
                    <a:pt x="113104" y="166043"/>
                    <a:pt x="98451" y="169286"/>
                  </a:cubicBezTo>
                  <a:cubicBezTo>
                    <a:pt x="100399" y="170990"/>
                    <a:pt x="106975" y="178410"/>
                    <a:pt x="108112" y="179313"/>
                  </a:cubicBezTo>
                  <a:cubicBezTo>
                    <a:pt x="114443" y="183491"/>
                    <a:pt x="118989" y="173597"/>
                    <a:pt x="125159" y="174433"/>
                  </a:cubicBezTo>
                  <a:cubicBezTo>
                    <a:pt x="135022" y="175836"/>
                    <a:pt x="141111" y="182655"/>
                    <a:pt x="151177" y="184159"/>
                  </a:cubicBezTo>
                  <a:cubicBezTo>
                    <a:pt x="162786" y="185930"/>
                    <a:pt x="166967" y="175536"/>
                    <a:pt x="168184" y="169453"/>
                  </a:cubicBezTo>
                  <a:cubicBezTo>
                    <a:pt x="170051" y="160061"/>
                    <a:pt x="153531" y="146992"/>
                    <a:pt x="148904" y="136931"/>
                  </a:cubicBezTo>
                  <a:cubicBezTo>
                    <a:pt x="144277" y="126871"/>
                    <a:pt x="124144" y="106850"/>
                    <a:pt x="129015" y="97124"/>
                  </a:cubicBezTo>
                  <a:cubicBezTo>
                    <a:pt x="130923" y="92979"/>
                    <a:pt x="126864" y="100934"/>
                    <a:pt x="128852" y="9692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AC7969E0-299E-42DE-A3A8-FDE9F6559FB2}"/>
                </a:ext>
              </a:extLst>
            </p:cNvPr>
            <p:cNvSpPr/>
            <p:nvPr/>
          </p:nvSpPr>
          <p:spPr>
            <a:xfrm>
              <a:off x="8552051" y="4892623"/>
              <a:ext cx="255915" cy="257455"/>
            </a:xfrm>
            <a:custGeom>
              <a:avLst/>
              <a:gdLst>
                <a:gd name="connsiteX0" fmla="*/ 152958 w 255915"/>
                <a:gd name="connsiteY0" fmla="*/ 152087 h 257455"/>
                <a:gd name="connsiteX1" fmla="*/ 153648 w 255915"/>
                <a:gd name="connsiteY1" fmla="*/ 139486 h 257455"/>
                <a:gd name="connsiteX2" fmla="*/ 185308 w 255915"/>
                <a:gd name="connsiteY2" fmla="*/ 135108 h 257455"/>
                <a:gd name="connsiteX3" fmla="*/ 212625 w 255915"/>
                <a:gd name="connsiteY3" fmla="*/ 143497 h 257455"/>
                <a:gd name="connsiteX4" fmla="*/ 241565 w 255915"/>
                <a:gd name="connsiteY4" fmla="*/ 155931 h 257455"/>
                <a:gd name="connsiteX5" fmla="*/ 243960 w 255915"/>
                <a:gd name="connsiteY5" fmla="*/ 116056 h 257455"/>
                <a:gd name="connsiteX6" fmla="*/ 248506 w 255915"/>
                <a:gd name="connsiteY6" fmla="*/ 105494 h 257455"/>
                <a:gd name="connsiteX7" fmla="*/ 242824 w 255915"/>
                <a:gd name="connsiteY7" fmla="*/ 87446 h 257455"/>
                <a:gd name="connsiteX8" fmla="*/ 223544 w 255915"/>
                <a:gd name="connsiteY8" fmla="*/ 70734 h 257455"/>
                <a:gd name="connsiteX9" fmla="*/ 194400 w 255915"/>
                <a:gd name="connsiteY9" fmla="*/ 69096 h 257455"/>
                <a:gd name="connsiteX10" fmla="*/ 184253 w 255915"/>
                <a:gd name="connsiteY10" fmla="*/ 61743 h 257455"/>
                <a:gd name="connsiteX11" fmla="*/ 164363 w 255915"/>
                <a:gd name="connsiteY11" fmla="*/ 61074 h 257455"/>
                <a:gd name="connsiteX12" fmla="*/ 144068 w 255915"/>
                <a:gd name="connsiteY12" fmla="*/ 54657 h 257455"/>
                <a:gd name="connsiteX13" fmla="*/ 158234 w 255915"/>
                <a:gd name="connsiteY13" fmla="*/ 25779 h 257455"/>
                <a:gd name="connsiteX14" fmla="*/ 151050 w 255915"/>
                <a:gd name="connsiteY14" fmla="*/ 13747 h 257455"/>
                <a:gd name="connsiteX15" fmla="*/ 151050 w 255915"/>
                <a:gd name="connsiteY15" fmla="*/ 6460 h 257455"/>
                <a:gd name="connsiteX16" fmla="*/ 139726 w 255915"/>
                <a:gd name="connsiteY16" fmla="*/ 4956 h 257455"/>
                <a:gd name="connsiteX17" fmla="*/ 86553 w 255915"/>
                <a:gd name="connsiteY17" fmla="*/ 243 h 257455"/>
                <a:gd name="connsiteX18" fmla="*/ 55908 w 255915"/>
                <a:gd name="connsiteY18" fmla="*/ 23640 h 257455"/>
                <a:gd name="connsiteX19" fmla="*/ 68694 w 255915"/>
                <a:gd name="connsiteY19" fmla="*/ 53220 h 257455"/>
                <a:gd name="connsiteX20" fmla="*/ 68085 w 255915"/>
                <a:gd name="connsiteY20" fmla="*/ 65787 h 257455"/>
                <a:gd name="connsiteX21" fmla="*/ 55583 w 255915"/>
                <a:gd name="connsiteY21" fmla="*/ 75547 h 257455"/>
                <a:gd name="connsiteX22" fmla="*/ 53878 w 255915"/>
                <a:gd name="connsiteY22" fmla="*/ 91089 h 257455"/>
                <a:gd name="connsiteX23" fmla="*/ 60495 w 255915"/>
                <a:gd name="connsiteY23" fmla="*/ 115789 h 257455"/>
                <a:gd name="connsiteX24" fmla="*/ 62240 w 255915"/>
                <a:gd name="connsiteY24" fmla="*/ 133303 h 257455"/>
                <a:gd name="connsiteX25" fmla="*/ 52458 w 255915"/>
                <a:gd name="connsiteY25" fmla="*/ 141191 h 257455"/>
                <a:gd name="connsiteX26" fmla="*/ 20229 w 255915"/>
                <a:gd name="connsiteY26" fmla="*/ 159039 h 257455"/>
                <a:gd name="connsiteX27" fmla="*/ 949 w 255915"/>
                <a:gd name="connsiteY27" fmla="*/ 180029 h 257455"/>
                <a:gd name="connsiteX28" fmla="*/ 13126 w 255915"/>
                <a:gd name="connsiteY28" fmla="*/ 196741 h 257455"/>
                <a:gd name="connsiteX29" fmla="*/ 31513 w 255915"/>
                <a:gd name="connsiteY29" fmla="*/ 224917 h 257455"/>
                <a:gd name="connsiteX30" fmla="*/ 57734 w 255915"/>
                <a:gd name="connsiteY30" fmla="*/ 244637 h 257455"/>
                <a:gd name="connsiteX31" fmla="*/ 70520 w 255915"/>
                <a:gd name="connsiteY31" fmla="*/ 256168 h 257455"/>
                <a:gd name="connsiteX32" fmla="*/ 89110 w 255915"/>
                <a:gd name="connsiteY32" fmla="*/ 254397 h 257455"/>
                <a:gd name="connsiteX33" fmla="*/ 55583 w 255915"/>
                <a:gd name="connsiteY33" fmla="*/ 228259 h 257455"/>
                <a:gd name="connsiteX34" fmla="*/ 51524 w 255915"/>
                <a:gd name="connsiteY34" fmla="*/ 198178 h 257455"/>
                <a:gd name="connsiteX35" fmla="*/ 47465 w 255915"/>
                <a:gd name="connsiteY35" fmla="*/ 185043 h 257455"/>
                <a:gd name="connsiteX36" fmla="*/ 34882 w 255915"/>
                <a:gd name="connsiteY36" fmla="*/ 173578 h 257455"/>
                <a:gd name="connsiteX37" fmla="*/ 55989 w 255915"/>
                <a:gd name="connsiteY37" fmla="*/ 150182 h 257455"/>
                <a:gd name="connsiteX38" fmla="*/ 81479 w 255915"/>
                <a:gd name="connsiteY38" fmla="*/ 130696 h 257455"/>
                <a:gd name="connsiteX39" fmla="*/ 104129 w 255915"/>
                <a:gd name="connsiteY39" fmla="*/ 125381 h 257455"/>
                <a:gd name="connsiteX40" fmla="*/ 117604 w 255915"/>
                <a:gd name="connsiteY40" fmla="*/ 144299 h 257455"/>
                <a:gd name="connsiteX41" fmla="*/ 150076 w 255915"/>
                <a:gd name="connsiteY41" fmla="*/ 166091 h 257455"/>
                <a:gd name="connsiteX42" fmla="*/ 152958 w 255915"/>
                <a:gd name="connsiteY42" fmla="*/ 152087 h 25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5915" h="257455">
                  <a:moveTo>
                    <a:pt x="152958" y="152087"/>
                  </a:moveTo>
                  <a:cubicBezTo>
                    <a:pt x="154947" y="148109"/>
                    <a:pt x="148899" y="142428"/>
                    <a:pt x="153648" y="139486"/>
                  </a:cubicBezTo>
                  <a:cubicBezTo>
                    <a:pt x="160711" y="135308"/>
                    <a:pt x="174592" y="134239"/>
                    <a:pt x="185308" y="135108"/>
                  </a:cubicBezTo>
                  <a:cubicBezTo>
                    <a:pt x="196024" y="135977"/>
                    <a:pt x="202681" y="140756"/>
                    <a:pt x="212625" y="143497"/>
                  </a:cubicBezTo>
                  <a:cubicBezTo>
                    <a:pt x="225776" y="147140"/>
                    <a:pt x="232920" y="148143"/>
                    <a:pt x="241565" y="155931"/>
                  </a:cubicBezTo>
                  <a:cubicBezTo>
                    <a:pt x="258329" y="152221"/>
                    <a:pt x="261860" y="125849"/>
                    <a:pt x="243960" y="116056"/>
                  </a:cubicBezTo>
                  <a:cubicBezTo>
                    <a:pt x="238643" y="113115"/>
                    <a:pt x="246842" y="107232"/>
                    <a:pt x="248506" y="105494"/>
                  </a:cubicBezTo>
                  <a:cubicBezTo>
                    <a:pt x="255366" y="98275"/>
                    <a:pt x="249034" y="96136"/>
                    <a:pt x="242824" y="87446"/>
                  </a:cubicBezTo>
                  <a:cubicBezTo>
                    <a:pt x="237750" y="80393"/>
                    <a:pt x="236127" y="74343"/>
                    <a:pt x="223544" y="70734"/>
                  </a:cubicBezTo>
                  <a:cubicBezTo>
                    <a:pt x="212341" y="67392"/>
                    <a:pt x="205116" y="73742"/>
                    <a:pt x="194400" y="69096"/>
                  </a:cubicBezTo>
                  <a:cubicBezTo>
                    <a:pt x="189529" y="66957"/>
                    <a:pt x="189976" y="63648"/>
                    <a:pt x="184253" y="61743"/>
                  </a:cubicBezTo>
                  <a:cubicBezTo>
                    <a:pt x="177799" y="60098"/>
                    <a:pt x="170939" y="59868"/>
                    <a:pt x="164363" y="61074"/>
                  </a:cubicBezTo>
                  <a:cubicBezTo>
                    <a:pt x="158722" y="61643"/>
                    <a:pt x="135423" y="63347"/>
                    <a:pt x="144068" y="54657"/>
                  </a:cubicBezTo>
                  <a:cubicBezTo>
                    <a:pt x="148127" y="50680"/>
                    <a:pt x="183319" y="31027"/>
                    <a:pt x="158234" y="25779"/>
                  </a:cubicBezTo>
                  <a:cubicBezTo>
                    <a:pt x="147194" y="23506"/>
                    <a:pt x="148087" y="19094"/>
                    <a:pt x="151050" y="13747"/>
                  </a:cubicBezTo>
                  <a:cubicBezTo>
                    <a:pt x="152471" y="11206"/>
                    <a:pt x="153770" y="9468"/>
                    <a:pt x="151050" y="6460"/>
                  </a:cubicBezTo>
                  <a:cubicBezTo>
                    <a:pt x="146626" y="1146"/>
                    <a:pt x="145815" y="4789"/>
                    <a:pt x="139726" y="4956"/>
                  </a:cubicBezTo>
                  <a:cubicBezTo>
                    <a:pt x="121825" y="5698"/>
                    <a:pt x="103885" y="4107"/>
                    <a:pt x="86553" y="243"/>
                  </a:cubicBezTo>
                  <a:cubicBezTo>
                    <a:pt x="67759" y="-3968"/>
                    <a:pt x="60778" y="15786"/>
                    <a:pt x="55908" y="23640"/>
                  </a:cubicBezTo>
                  <a:cubicBezTo>
                    <a:pt x="50022" y="32999"/>
                    <a:pt x="72996" y="43694"/>
                    <a:pt x="68694" y="53220"/>
                  </a:cubicBezTo>
                  <a:cubicBezTo>
                    <a:pt x="66785" y="57498"/>
                    <a:pt x="76812" y="63247"/>
                    <a:pt x="68085" y="65787"/>
                  </a:cubicBezTo>
                  <a:cubicBezTo>
                    <a:pt x="61915" y="67492"/>
                    <a:pt x="63214" y="74577"/>
                    <a:pt x="55583" y="75547"/>
                  </a:cubicBezTo>
                  <a:cubicBezTo>
                    <a:pt x="46410" y="76750"/>
                    <a:pt x="50996" y="86644"/>
                    <a:pt x="53878" y="91089"/>
                  </a:cubicBezTo>
                  <a:cubicBezTo>
                    <a:pt x="60170" y="100615"/>
                    <a:pt x="64229" y="106764"/>
                    <a:pt x="60495" y="115789"/>
                  </a:cubicBezTo>
                  <a:cubicBezTo>
                    <a:pt x="57978" y="121772"/>
                    <a:pt x="64918" y="127755"/>
                    <a:pt x="62240" y="133303"/>
                  </a:cubicBezTo>
                  <a:cubicBezTo>
                    <a:pt x="61103" y="136177"/>
                    <a:pt x="55259" y="139118"/>
                    <a:pt x="52458" y="141191"/>
                  </a:cubicBezTo>
                  <a:cubicBezTo>
                    <a:pt x="42189" y="148778"/>
                    <a:pt x="27008" y="151218"/>
                    <a:pt x="20229" y="159039"/>
                  </a:cubicBezTo>
                  <a:cubicBezTo>
                    <a:pt x="14181" y="166091"/>
                    <a:pt x="6226" y="172642"/>
                    <a:pt x="949" y="180029"/>
                  </a:cubicBezTo>
                  <a:cubicBezTo>
                    <a:pt x="-3475" y="186246"/>
                    <a:pt x="7769" y="190357"/>
                    <a:pt x="13126" y="196741"/>
                  </a:cubicBezTo>
                  <a:cubicBezTo>
                    <a:pt x="20757" y="205421"/>
                    <a:pt x="26927" y="214896"/>
                    <a:pt x="31513" y="224917"/>
                  </a:cubicBezTo>
                  <a:cubicBezTo>
                    <a:pt x="35369" y="234309"/>
                    <a:pt x="55137" y="234075"/>
                    <a:pt x="57734" y="244637"/>
                  </a:cubicBezTo>
                  <a:cubicBezTo>
                    <a:pt x="59439" y="251589"/>
                    <a:pt x="57734" y="252458"/>
                    <a:pt x="70520" y="256168"/>
                  </a:cubicBezTo>
                  <a:cubicBezTo>
                    <a:pt x="82007" y="259510"/>
                    <a:pt x="78354" y="252826"/>
                    <a:pt x="89110" y="254397"/>
                  </a:cubicBezTo>
                  <a:cubicBezTo>
                    <a:pt x="82900" y="242130"/>
                    <a:pt x="64310" y="238186"/>
                    <a:pt x="55583" y="228259"/>
                  </a:cubicBezTo>
                  <a:cubicBezTo>
                    <a:pt x="46207" y="217631"/>
                    <a:pt x="56070" y="208706"/>
                    <a:pt x="51524" y="198178"/>
                  </a:cubicBezTo>
                  <a:cubicBezTo>
                    <a:pt x="49535" y="193766"/>
                    <a:pt x="52701" y="188987"/>
                    <a:pt x="47465" y="185043"/>
                  </a:cubicBezTo>
                  <a:cubicBezTo>
                    <a:pt x="42229" y="181098"/>
                    <a:pt x="33746" y="178358"/>
                    <a:pt x="34882" y="173578"/>
                  </a:cubicBezTo>
                  <a:cubicBezTo>
                    <a:pt x="36790" y="165356"/>
                    <a:pt x="48155" y="156031"/>
                    <a:pt x="55989" y="150182"/>
                  </a:cubicBezTo>
                  <a:cubicBezTo>
                    <a:pt x="63822" y="144332"/>
                    <a:pt x="76284" y="138651"/>
                    <a:pt x="81479" y="130696"/>
                  </a:cubicBezTo>
                  <a:cubicBezTo>
                    <a:pt x="85091" y="125281"/>
                    <a:pt x="88176" y="115956"/>
                    <a:pt x="104129" y="125381"/>
                  </a:cubicBezTo>
                  <a:cubicBezTo>
                    <a:pt x="113951" y="131231"/>
                    <a:pt x="102667" y="138550"/>
                    <a:pt x="117604" y="144299"/>
                  </a:cubicBezTo>
                  <a:cubicBezTo>
                    <a:pt x="134612" y="150984"/>
                    <a:pt x="137046" y="157234"/>
                    <a:pt x="150076" y="166091"/>
                  </a:cubicBezTo>
                  <a:cubicBezTo>
                    <a:pt x="154947" y="161613"/>
                    <a:pt x="150523" y="157167"/>
                    <a:pt x="152958" y="1520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1F678A35-8A5F-4127-B1D4-FB9046BA6AD0}"/>
                </a:ext>
              </a:extLst>
            </p:cNvPr>
            <p:cNvSpPr/>
            <p:nvPr/>
          </p:nvSpPr>
          <p:spPr>
            <a:xfrm>
              <a:off x="6228729" y="3797783"/>
              <a:ext cx="311866" cy="137635"/>
            </a:xfrm>
            <a:custGeom>
              <a:avLst/>
              <a:gdLst>
                <a:gd name="connsiteX0" fmla="*/ 3593 w 311866"/>
                <a:gd name="connsiteY0" fmla="*/ 24726 h 137635"/>
                <a:gd name="connsiteX1" fmla="*/ 710 w 311866"/>
                <a:gd name="connsiteY1" fmla="*/ 47755 h 137635"/>
                <a:gd name="connsiteX2" fmla="*/ 16946 w 311866"/>
                <a:gd name="connsiteY2" fmla="*/ 71352 h 137635"/>
                <a:gd name="connsiteX3" fmla="*/ 43695 w 311866"/>
                <a:gd name="connsiteY3" fmla="*/ 94214 h 137635"/>
                <a:gd name="connsiteX4" fmla="*/ 63990 w 311866"/>
                <a:gd name="connsiteY4" fmla="*/ 100899 h 137635"/>
                <a:gd name="connsiteX5" fmla="*/ 79455 w 311866"/>
                <a:gd name="connsiteY5" fmla="*/ 108152 h 137635"/>
                <a:gd name="connsiteX6" fmla="*/ 87329 w 311866"/>
                <a:gd name="connsiteY6" fmla="*/ 104809 h 137635"/>
                <a:gd name="connsiteX7" fmla="*/ 101008 w 311866"/>
                <a:gd name="connsiteY7" fmla="*/ 105578 h 137635"/>
                <a:gd name="connsiteX8" fmla="*/ 112576 w 311866"/>
                <a:gd name="connsiteY8" fmla="*/ 113199 h 137635"/>
                <a:gd name="connsiteX9" fmla="*/ 134697 w 311866"/>
                <a:gd name="connsiteY9" fmla="*/ 117377 h 137635"/>
                <a:gd name="connsiteX10" fmla="*/ 156575 w 311866"/>
                <a:gd name="connsiteY10" fmla="*/ 125766 h 137635"/>
                <a:gd name="connsiteX11" fmla="*/ 178331 w 311866"/>
                <a:gd name="connsiteY11" fmla="*/ 127738 h 137635"/>
                <a:gd name="connsiteX12" fmla="*/ 205323 w 311866"/>
                <a:gd name="connsiteY12" fmla="*/ 128306 h 137635"/>
                <a:gd name="connsiteX13" fmla="*/ 235441 w 311866"/>
                <a:gd name="connsiteY13" fmla="*/ 131180 h 137635"/>
                <a:gd name="connsiteX14" fmla="*/ 265640 w 311866"/>
                <a:gd name="connsiteY14" fmla="*/ 137297 h 137635"/>
                <a:gd name="connsiteX15" fmla="*/ 268684 w 311866"/>
                <a:gd name="connsiteY15" fmla="*/ 123694 h 137635"/>
                <a:gd name="connsiteX16" fmla="*/ 296529 w 311866"/>
                <a:gd name="connsiteY16" fmla="*/ 111060 h 137635"/>
                <a:gd name="connsiteX17" fmla="*/ 309274 w 311866"/>
                <a:gd name="connsiteY17" fmla="*/ 98292 h 137635"/>
                <a:gd name="connsiteX18" fmla="*/ 296772 w 311866"/>
                <a:gd name="connsiteY18" fmla="*/ 79541 h 137635"/>
                <a:gd name="connsiteX19" fmla="*/ 297543 w 311866"/>
                <a:gd name="connsiteY19" fmla="*/ 70650 h 137635"/>
                <a:gd name="connsiteX20" fmla="*/ 287680 w 311866"/>
                <a:gd name="connsiteY20" fmla="*/ 63966 h 137635"/>
                <a:gd name="connsiteX21" fmla="*/ 311790 w 311866"/>
                <a:gd name="connsiteY21" fmla="*/ 49326 h 137635"/>
                <a:gd name="connsiteX22" fmla="*/ 306879 w 311866"/>
                <a:gd name="connsiteY22" fmla="*/ 41305 h 137635"/>
                <a:gd name="connsiteX23" fmla="*/ 302536 w 311866"/>
                <a:gd name="connsiteY23" fmla="*/ 26030 h 137635"/>
                <a:gd name="connsiteX24" fmla="*/ 275990 w 311866"/>
                <a:gd name="connsiteY24" fmla="*/ 16905 h 137635"/>
                <a:gd name="connsiteX25" fmla="*/ 193674 w 311866"/>
                <a:gd name="connsiteY25" fmla="*/ 12560 h 137635"/>
                <a:gd name="connsiteX26" fmla="*/ 182106 w 311866"/>
                <a:gd name="connsiteY26" fmla="*/ 10388 h 137635"/>
                <a:gd name="connsiteX27" fmla="*/ 162136 w 311866"/>
                <a:gd name="connsiteY27" fmla="*/ 12126 h 137635"/>
                <a:gd name="connsiteX28" fmla="*/ 137782 w 311866"/>
                <a:gd name="connsiteY28" fmla="*/ 1029 h 137635"/>
                <a:gd name="connsiteX29" fmla="*/ 68779 w 311866"/>
                <a:gd name="connsiteY29" fmla="*/ 9118 h 137635"/>
                <a:gd name="connsiteX30" fmla="*/ 27419 w 311866"/>
                <a:gd name="connsiteY30" fmla="*/ 16270 h 137635"/>
                <a:gd name="connsiteX31" fmla="*/ 3511 w 311866"/>
                <a:gd name="connsiteY31" fmla="*/ 22621 h 137635"/>
                <a:gd name="connsiteX32" fmla="*/ 3511 w 311866"/>
                <a:gd name="connsiteY32" fmla="*/ 24693 h 137635"/>
                <a:gd name="connsiteX33" fmla="*/ 3593 w 311866"/>
                <a:gd name="connsiteY33" fmla="*/ 24726 h 13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11866" h="137635">
                  <a:moveTo>
                    <a:pt x="3593" y="24726"/>
                  </a:moveTo>
                  <a:cubicBezTo>
                    <a:pt x="7367" y="30041"/>
                    <a:pt x="-2862" y="45549"/>
                    <a:pt x="710" y="47755"/>
                  </a:cubicBezTo>
                  <a:cubicBezTo>
                    <a:pt x="12644" y="55209"/>
                    <a:pt x="14024" y="61659"/>
                    <a:pt x="16946" y="71352"/>
                  </a:cubicBezTo>
                  <a:cubicBezTo>
                    <a:pt x="19869" y="81045"/>
                    <a:pt x="25430" y="90571"/>
                    <a:pt x="43695" y="94214"/>
                  </a:cubicBezTo>
                  <a:cubicBezTo>
                    <a:pt x="50352" y="95584"/>
                    <a:pt x="60256" y="97323"/>
                    <a:pt x="63990" y="100899"/>
                  </a:cubicBezTo>
                  <a:cubicBezTo>
                    <a:pt x="67074" y="103706"/>
                    <a:pt x="70809" y="109054"/>
                    <a:pt x="79455" y="108152"/>
                  </a:cubicBezTo>
                  <a:lnTo>
                    <a:pt x="87329" y="104809"/>
                  </a:lnTo>
                  <a:cubicBezTo>
                    <a:pt x="91915" y="104813"/>
                    <a:pt x="96462" y="105070"/>
                    <a:pt x="101008" y="105578"/>
                  </a:cubicBezTo>
                  <a:cubicBezTo>
                    <a:pt x="110708" y="105812"/>
                    <a:pt x="105473" y="112029"/>
                    <a:pt x="112576" y="113199"/>
                  </a:cubicBezTo>
                  <a:cubicBezTo>
                    <a:pt x="119679" y="114368"/>
                    <a:pt x="129786" y="113199"/>
                    <a:pt x="134697" y="117377"/>
                  </a:cubicBezTo>
                  <a:cubicBezTo>
                    <a:pt x="139608" y="121555"/>
                    <a:pt x="143992" y="128406"/>
                    <a:pt x="156575" y="125766"/>
                  </a:cubicBezTo>
                  <a:cubicBezTo>
                    <a:pt x="164937" y="124028"/>
                    <a:pt x="169929" y="126835"/>
                    <a:pt x="178331" y="127738"/>
                  </a:cubicBezTo>
                  <a:cubicBezTo>
                    <a:pt x="187667" y="128774"/>
                    <a:pt x="196272" y="126668"/>
                    <a:pt x="205323" y="128306"/>
                  </a:cubicBezTo>
                  <a:cubicBezTo>
                    <a:pt x="215227" y="130144"/>
                    <a:pt x="225618" y="129476"/>
                    <a:pt x="235441" y="131180"/>
                  </a:cubicBezTo>
                  <a:cubicBezTo>
                    <a:pt x="246197" y="133019"/>
                    <a:pt x="254194" y="135960"/>
                    <a:pt x="265640" y="137297"/>
                  </a:cubicBezTo>
                  <a:cubicBezTo>
                    <a:pt x="270348" y="132718"/>
                    <a:pt x="260729" y="127738"/>
                    <a:pt x="268684" y="123694"/>
                  </a:cubicBezTo>
                  <a:cubicBezTo>
                    <a:pt x="277533" y="119248"/>
                    <a:pt x="288005" y="115672"/>
                    <a:pt x="296529" y="111060"/>
                  </a:cubicBezTo>
                  <a:cubicBezTo>
                    <a:pt x="305946" y="105979"/>
                    <a:pt x="316255" y="107082"/>
                    <a:pt x="309274" y="98292"/>
                  </a:cubicBezTo>
                  <a:cubicBezTo>
                    <a:pt x="303835" y="91607"/>
                    <a:pt x="296772" y="87128"/>
                    <a:pt x="296772" y="79541"/>
                  </a:cubicBezTo>
                  <a:cubicBezTo>
                    <a:pt x="296772" y="77268"/>
                    <a:pt x="299898" y="72856"/>
                    <a:pt x="297543" y="70650"/>
                  </a:cubicBezTo>
                  <a:cubicBezTo>
                    <a:pt x="295189" y="68444"/>
                    <a:pt x="287558" y="66573"/>
                    <a:pt x="287680" y="63966"/>
                  </a:cubicBezTo>
                  <a:cubicBezTo>
                    <a:pt x="288167" y="56412"/>
                    <a:pt x="312521" y="58651"/>
                    <a:pt x="311790" y="49326"/>
                  </a:cubicBezTo>
                  <a:cubicBezTo>
                    <a:pt x="311831" y="46154"/>
                    <a:pt x="310005" y="43163"/>
                    <a:pt x="306879" y="41305"/>
                  </a:cubicBezTo>
                  <a:cubicBezTo>
                    <a:pt x="296001" y="35823"/>
                    <a:pt x="306270" y="31578"/>
                    <a:pt x="302536" y="26030"/>
                  </a:cubicBezTo>
                  <a:cubicBezTo>
                    <a:pt x="298802" y="20482"/>
                    <a:pt x="277695" y="20248"/>
                    <a:pt x="275990" y="16905"/>
                  </a:cubicBezTo>
                  <a:cubicBezTo>
                    <a:pt x="249728" y="18309"/>
                    <a:pt x="219652" y="15401"/>
                    <a:pt x="193674" y="12560"/>
                  </a:cubicBezTo>
                  <a:cubicBezTo>
                    <a:pt x="189778" y="12045"/>
                    <a:pt x="185881" y="11320"/>
                    <a:pt x="182106" y="10388"/>
                  </a:cubicBezTo>
                  <a:cubicBezTo>
                    <a:pt x="166398" y="7045"/>
                    <a:pt x="174962" y="10154"/>
                    <a:pt x="162136" y="12126"/>
                  </a:cubicBezTo>
                  <a:cubicBezTo>
                    <a:pt x="137295" y="15936"/>
                    <a:pt x="147889" y="4071"/>
                    <a:pt x="137782" y="1029"/>
                  </a:cubicBezTo>
                  <a:cubicBezTo>
                    <a:pt x="122277" y="-3617"/>
                    <a:pt x="81362" y="4706"/>
                    <a:pt x="68779" y="9118"/>
                  </a:cubicBezTo>
                  <a:cubicBezTo>
                    <a:pt x="55628" y="13570"/>
                    <a:pt x="41625" y="15996"/>
                    <a:pt x="27419" y="16270"/>
                  </a:cubicBezTo>
                  <a:cubicBezTo>
                    <a:pt x="20356" y="16638"/>
                    <a:pt x="6230" y="23323"/>
                    <a:pt x="3511" y="22621"/>
                  </a:cubicBezTo>
                  <a:cubicBezTo>
                    <a:pt x="3511" y="23323"/>
                    <a:pt x="3511" y="23991"/>
                    <a:pt x="3511" y="24693"/>
                  </a:cubicBezTo>
                  <a:cubicBezTo>
                    <a:pt x="5784" y="27768"/>
                    <a:pt x="3186" y="24125"/>
                    <a:pt x="3593" y="2472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333B102E-54E0-4647-A8CE-708E93D27559}"/>
                </a:ext>
              </a:extLst>
            </p:cNvPr>
            <p:cNvSpPr/>
            <p:nvPr/>
          </p:nvSpPr>
          <p:spPr>
            <a:xfrm>
              <a:off x="6270368" y="4014879"/>
              <a:ext cx="113999" cy="58813"/>
            </a:xfrm>
            <a:custGeom>
              <a:avLst/>
              <a:gdLst>
                <a:gd name="connsiteX0" fmla="*/ 83642 w 113999"/>
                <a:gd name="connsiteY0" fmla="*/ 53194 h 58813"/>
                <a:gd name="connsiteX1" fmla="*/ 100771 w 113999"/>
                <a:gd name="connsiteY1" fmla="*/ 38120 h 58813"/>
                <a:gd name="connsiteX2" fmla="*/ 113841 w 113999"/>
                <a:gd name="connsiteY2" fmla="*/ 22879 h 58813"/>
                <a:gd name="connsiteX3" fmla="*/ 84778 w 113999"/>
                <a:gd name="connsiteY3" fmla="*/ 3694 h 58813"/>
                <a:gd name="connsiteX4" fmla="*/ 47030 w 113999"/>
                <a:gd name="connsiteY4" fmla="*/ 1321 h 58813"/>
                <a:gd name="connsiteX5" fmla="*/ 34853 w 113999"/>
                <a:gd name="connsiteY5" fmla="*/ -50 h 58813"/>
                <a:gd name="connsiteX6" fmla="*/ 14071 w 113999"/>
                <a:gd name="connsiteY6" fmla="*/ 1822 h 58813"/>
                <a:gd name="connsiteX7" fmla="*/ 1894 w 113999"/>
                <a:gd name="connsiteY7" fmla="*/ 8239 h 58813"/>
                <a:gd name="connsiteX8" fmla="*/ 14518 w 113999"/>
                <a:gd name="connsiteY8" fmla="*/ 17999 h 58813"/>
                <a:gd name="connsiteX9" fmla="*/ 40373 w 113999"/>
                <a:gd name="connsiteY9" fmla="*/ 35446 h 58813"/>
                <a:gd name="connsiteX10" fmla="*/ 82262 w 113999"/>
                <a:gd name="connsiteY10" fmla="*/ 58475 h 58813"/>
                <a:gd name="connsiteX11" fmla="*/ 83804 w 113999"/>
                <a:gd name="connsiteY11" fmla="*/ 53194 h 58813"/>
                <a:gd name="connsiteX12" fmla="*/ 83642 w 113999"/>
                <a:gd name="connsiteY12" fmla="*/ 53194 h 5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99" h="58813">
                  <a:moveTo>
                    <a:pt x="83642" y="53194"/>
                  </a:moveTo>
                  <a:cubicBezTo>
                    <a:pt x="82100" y="48548"/>
                    <a:pt x="95575" y="41128"/>
                    <a:pt x="100771" y="38120"/>
                  </a:cubicBezTo>
                  <a:cubicBezTo>
                    <a:pt x="110228" y="32605"/>
                    <a:pt x="112948" y="31603"/>
                    <a:pt x="113841" y="22879"/>
                  </a:cubicBezTo>
                  <a:cubicBezTo>
                    <a:pt x="115018" y="11782"/>
                    <a:pt x="105723" y="6869"/>
                    <a:pt x="84778" y="3694"/>
                  </a:cubicBezTo>
                  <a:cubicBezTo>
                    <a:pt x="73008" y="1922"/>
                    <a:pt x="59126" y="2290"/>
                    <a:pt x="47030" y="1321"/>
                  </a:cubicBezTo>
                  <a:cubicBezTo>
                    <a:pt x="42931" y="1120"/>
                    <a:pt x="38872" y="662"/>
                    <a:pt x="34853" y="-50"/>
                  </a:cubicBezTo>
                  <a:cubicBezTo>
                    <a:pt x="27506" y="-1754"/>
                    <a:pt x="20931" y="4763"/>
                    <a:pt x="14071" y="1822"/>
                  </a:cubicBezTo>
                  <a:cubicBezTo>
                    <a:pt x="5953" y="-1721"/>
                    <a:pt x="-4438" y="4162"/>
                    <a:pt x="1894" y="8239"/>
                  </a:cubicBezTo>
                  <a:cubicBezTo>
                    <a:pt x="6522" y="11314"/>
                    <a:pt x="14640" y="13520"/>
                    <a:pt x="14518" y="17999"/>
                  </a:cubicBezTo>
                  <a:cubicBezTo>
                    <a:pt x="14518" y="25152"/>
                    <a:pt x="42038" y="29463"/>
                    <a:pt x="40373" y="35446"/>
                  </a:cubicBezTo>
                  <a:cubicBezTo>
                    <a:pt x="38994" y="40861"/>
                    <a:pt x="75606" y="55500"/>
                    <a:pt x="82262" y="58475"/>
                  </a:cubicBezTo>
                  <a:cubicBezTo>
                    <a:pt x="83277" y="56841"/>
                    <a:pt x="83804" y="55029"/>
                    <a:pt x="83804" y="53194"/>
                  </a:cubicBezTo>
                  <a:cubicBezTo>
                    <a:pt x="82506" y="49785"/>
                    <a:pt x="83926" y="54097"/>
                    <a:pt x="83642" y="5319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61CF9893-D6A3-43A1-922F-CE96DE826CFB}"/>
                </a:ext>
              </a:extLst>
            </p:cNvPr>
            <p:cNvSpPr/>
            <p:nvPr/>
          </p:nvSpPr>
          <p:spPr>
            <a:xfrm>
              <a:off x="6211771" y="3988098"/>
              <a:ext cx="172294" cy="78776"/>
            </a:xfrm>
            <a:custGeom>
              <a:avLst/>
              <a:gdLst>
                <a:gd name="connsiteX0" fmla="*/ 98970 w 172294"/>
                <a:gd name="connsiteY0" fmla="*/ 62327 h 78776"/>
                <a:gd name="connsiteX1" fmla="*/ 86306 w 172294"/>
                <a:gd name="connsiteY1" fmla="*/ 54606 h 78776"/>
                <a:gd name="connsiteX2" fmla="*/ 71775 w 172294"/>
                <a:gd name="connsiteY2" fmla="*/ 41839 h 78776"/>
                <a:gd name="connsiteX3" fmla="*/ 58421 w 172294"/>
                <a:gd name="connsiteY3" fmla="*/ 32981 h 78776"/>
                <a:gd name="connsiteX4" fmla="*/ 82775 w 172294"/>
                <a:gd name="connsiteY4" fmla="*/ 28169 h 78776"/>
                <a:gd name="connsiteX5" fmla="*/ 130183 w 172294"/>
                <a:gd name="connsiteY5" fmla="*/ 29840 h 78776"/>
                <a:gd name="connsiteX6" fmla="*/ 172235 w 172294"/>
                <a:gd name="connsiteY6" fmla="*/ 39131 h 78776"/>
                <a:gd name="connsiteX7" fmla="*/ 166430 w 172294"/>
                <a:gd name="connsiteY7" fmla="*/ 25194 h 78776"/>
                <a:gd name="connsiteX8" fmla="*/ 153035 w 172294"/>
                <a:gd name="connsiteY8" fmla="*/ 12426 h 78776"/>
                <a:gd name="connsiteX9" fmla="*/ 112730 w 172294"/>
                <a:gd name="connsiteY9" fmla="*/ 11156 h 78776"/>
                <a:gd name="connsiteX10" fmla="*/ 72911 w 172294"/>
                <a:gd name="connsiteY10" fmla="*/ 1697 h 78776"/>
                <a:gd name="connsiteX11" fmla="*/ 49004 w 172294"/>
                <a:gd name="connsiteY11" fmla="*/ 14097 h 78776"/>
                <a:gd name="connsiteX12" fmla="*/ 34148 w 172294"/>
                <a:gd name="connsiteY12" fmla="*/ 20247 h 78776"/>
                <a:gd name="connsiteX13" fmla="*/ 11986 w 172294"/>
                <a:gd name="connsiteY13" fmla="*/ 20648 h 78776"/>
                <a:gd name="connsiteX14" fmla="*/ 17668 w 172294"/>
                <a:gd name="connsiteY14" fmla="*/ 29205 h 78776"/>
                <a:gd name="connsiteX15" fmla="*/ 43524 w 172294"/>
                <a:gd name="connsiteY15" fmla="*/ 48991 h 78776"/>
                <a:gd name="connsiteX16" fmla="*/ 58177 w 172294"/>
                <a:gd name="connsiteY16" fmla="*/ 59018 h 78776"/>
                <a:gd name="connsiteX17" fmla="*/ 81435 w 172294"/>
                <a:gd name="connsiteY17" fmla="*/ 64968 h 78776"/>
                <a:gd name="connsiteX18" fmla="*/ 95520 w 172294"/>
                <a:gd name="connsiteY18" fmla="*/ 72956 h 78776"/>
                <a:gd name="connsiteX19" fmla="*/ 124460 w 172294"/>
                <a:gd name="connsiteY19" fmla="*/ 78438 h 78776"/>
                <a:gd name="connsiteX20" fmla="*/ 98807 w 172294"/>
                <a:gd name="connsiteY20" fmla="*/ 62294 h 78776"/>
                <a:gd name="connsiteX21" fmla="*/ 98970 w 172294"/>
                <a:gd name="connsiteY21" fmla="*/ 62327 h 7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294" h="78776">
                  <a:moveTo>
                    <a:pt x="98970" y="62327"/>
                  </a:moveTo>
                  <a:cubicBezTo>
                    <a:pt x="99660" y="59854"/>
                    <a:pt x="89026" y="55943"/>
                    <a:pt x="86306" y="54606"/>
                  </a:cubicBezTo>
                  <a:cubicBezTo>
                    <a:pt x="77376" y="50161"/>
                    <a:pt x="76727" y="47120"/>
                    <a:pt x="71775" y="41839"/>
                  </a:cubicBezTo>
                  <a:cubicBezTo>
                    <a:pt x="68731" y="38496"/>
                    <a:pt x="59598" y="36658"/>
                    <a:pt x="58421" y="32981"/>
                  </a:cubicBezTo>
                  <a:cubicBezTo>
                    <a:pt x="55580" y="24960"/>
                    <a:pt x="76524" y="30040"/>
                    <a:pt x="82775" y="28169"/>
                  </a:cubicBezTo>
                  <a:cubicBezTo>
                    <a:pt x="94627" y="24826"/>
                    <a:pt x="116951" y="29071"/>
                    <a:pt x="130183" y="29840"/>
                  </a:cubicBezTo>
                  <a:cubicBezTo>
                    <a:pt x="144837" y="30481"/>
                    <a:pt x="159164" y="33647"/>
                    <a:pt x="172235" y="39131"/>
                  </a:cubicBezTo>
                  <a:cubicBezTo>
                    <a:pt x="171585" y="35488"/>
                    <a:pt x="170286" y="28336"/>
                    <a:pt x="166430" y="25194"/>
                  </a:cubicBezTo>
                  <a:cubicBezTo>
                    <a:pt x="159895" y="19913"/>
                    <a:pt x="154253" y="19813"/>
                    <a:pt x="153035" y="12426"/>
                  </a:cubicBezTo>
                  <a:cubicBezTo>
                    <a:pt x="140006" y="14164"/>
                    <a:pt x="125029" y="15568"/>
                    <a:pt x="112730" y="11156"/>
                  </a:cubicBezTo>
                  <a:cubicBezTo>
                    <a:pt x="97590" y="5708"/>
                    <a:pt x="90527" y="-4754"/>
                    <a:pt x="72911" y="1697"/>
                  </a:cubicBezTo>
                  <a:cubicBezTo>
                    <a:pt x="61424" y="5908"/>
                    <a:pt x="58015" y="9251"/>
                    <a:pt x="49004" y="14097"/>
                  </a:cubicBezTo>
                  <a:cubicBezTo>
                    <a:pt x="42550" y="17439"/>
                    <a:pt x="45229" y="21784"/>
                    <a:pt x="34148" y="20247"/>
                  </a:cubicBezTo>
                  <a:cubicBezTo>
                    <a:pt x="26761" y="19442"/>
                    <a:pt x="19292" y="19579"/>
                    <a:pt x="11986" y="20648"/>
                  </a:cubicBezTo>
                  <a:cubicBezTo>
                    <a:pt x="-10460" y="22520"/>
                    <a:pt x="2610" y="28035"/>
                    <a:pt x="17668" y="29205"/>
                  </a:cubicBezTo>
                  <a:cubicBezTo>
                    <a:pt x="31834" y="30341"/>
                    <a:pt x="35772" y="43109"/>
                    <a:pt x="43524" y="48991"/>
                  </a:cubicBezTo>
                  <a:cubicBezTo>
                    <a:pt x="48192" y="52534"/>
                    <a:pt x="53103" y="55880"/>
                    <a:pt x="58177" y="59018"/>
                  </a:cubicBezTo>
                  <a:cubicBezTo>
                    <a:pt x="64347" y="62862"/>
                    <a:pt x="74413" y="62361"/>
                    <a:pt x="81435" y="64968"/>
                  </a:cubicBezTo>
                  <a:cubicBezTo>
                    <a:pt x="87564" y="67307"/>
                    <a:pt x="86996" y="70884"/>
                    <a:pt x="95520" y="72956"/>
                  </a:cubicBezTo>
                  <a:cubicBezTo>
                    <a:pt x="105342" y="75329"/>
                    <a:pt x="115165" y="75095"/>
                    <a:pt x="124460" y="78438"/>
                  </a:cubicBezTo>
                  <a:cubicBezTo>
                    <a:pt x="120726" y="75363"/>
                    <a:pt x="97915" y="65837"/>
                    <a:pt x="98807" y="62294"/>
                  </a:cubicBezTo>
                  <a:cubicBezTo>
                    <a:pt x="99619" y="59252"/>
                    <a:pt x="98280" y="64333"/>
                    <a:pt x="98970" y="6232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6068E60E-0CAC-4C10-BFD5-CF5E979915A7}"/>
                </a:ext>
              </a:extLst>
            </p:cNvPr>
            <p:cNvSpPr/>
            <p:nvPr/>
          </p:nvSpPr>
          <p:spPr>
            <a:xfrm>
              <a:off x="6377195" y="4071988"/>
              <a:ext cx="54753" cy="62869"/>
            </a:xfrm>
            <a:custGeom>
              <a:avLst/>
              <a:gdLst>
                <a:gd name="connsiteX0" fmla="*/ 35629 w 54753"/>
                <a:gd name="connsiteY0" fmla="*/ 53640 h 62869"/>
                <a:gd name="connsiteX1" fmla="*/ 53164 w 54753"/>
                <a:gd name="connsiteY1" fmla="*/ 40739 h 62869"/>
                <a:gd name="connsiteX2" fmla="*/ 40541 w 54753"/>
                <a:gd name="connsiteY2" fmla="*/ 29241 h 62869"/>
                <a:gd name="connsiteX3" fmla="*/ 42529 w 54753"/>
                <a:gd name="connsiteY3" fmla="*/ 8820 h 62869"/>
                <a:gd name="connsiteX4" fmla="*/ 15131 w 54753"/>
                <a:gd name="connsiteY4" fmla="*/ -339 h 62869"/>
                <a:gd name="connsiteX5" fmla="*/ 6080 w 54753"/>
                <a:gd name="connsiteY5" fmla="*/ 3238 h 62869"/>
                <a:gd name="connsiteX6" fmla="*/ 6973 w 54753"/>
                <a:gd name="connsiteY6" fmla="*/ 14134 h 62869"/>
                <a:gd name="connsiteX7" fmla="*/ 763 w 54753"/>
                <a:gd name="connsiteY7" fmla="*/ 29776 h 62869"/>
                <a:gd name="connsiteX8" fmla="*/ 26050 w 54753"/>
                <a:gd name="connsiteY8" fmla="*/ 62531 h 62869"/>
                <a:gd name="connsiteX9" fmla="*/ 35629 w 54753"/>
                <a:gd name="connsiteY9" fmla="*/ 53640 h 6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53" h="62869">
                  <a:moveTo>
                    <a:pt x="35629" y="53640"/>
                  </a:moveTo>
                  <a:cubicBezTo>
                    <a:pt x="40459" y="53273"/>
                    <a:pt x="50810" y="42978"/>
                    <a:pt x="53164" y="40739"/>
                  </a:cubicBezTo>
                  <a:cubicBezTo>
                    <a:pt x="59130" y="35090"/>
                    <a:pt x="46101" y="34054"/>
                    <a:pt x="40541" y="29241"/>
                  </a:cubicBezTo>
                  <a:cubicBezTo>
                    <a:pt x="33843" y="23392"/>
                    <a:pt x="38795" y="14568"/>
                    <a:pt x="42529" y="8820"/>
                  </a:cubicBezTo>
                  <a:cubicBezTo>
                    <a:pt x="35629" y="5911"/>
                    <a:pt x="24305" y="-105"/>
                    <a:pt x="15131" y="-339"/>
                  </a:cubicBezTo>
                  <a:cubicBezTo>
                    <a:pt x="11681" y="-88"/>
                    <a:pt x="8474" y="1182"/>
                    <a:pt x="6080" y="3238"/>
                  </a:cubicBezTo>
                  <a:cubicBezTo>
                    <a:pt x="-1348" y="8686"/>
                    <a:pt x="-2688" y="9922"/>
                    <a:pt x="6973" y="14134"/>
                  </a:cubicBezTo>
                  <a:cubicBezTo>
                    <a:pt x="18135" y="18880"/>
                    <a:pt x="2914" y="24395"/>
                    <a:pt x="763" y="29776"/>
                  </a:cubicBezTo>
                  <a:cubicBezTo>
                    <a:pt x="-3296" y="39803"/>
                    <a:pt x="8069" y="57350"/>
                    <a:pt x="26050" y="62531"/>
                  </a:cubicBezTo>
                  <a:cubicBezTo>
                    <a:pt x="27552" y="60325"/>
                    <a:pt x="29663" y="54075"/>
                    <a:pt x="35629" y="5364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839D6DDB-6F5C-4A44-979C-21B344464262}"/>
                </a:ext>
              </a:extLst>
            </p:cNvPr>
            <p:cNvSpPr/>
            <p:nvPr/>
          </p:nvSpPr>
          <p:spPr>
            <a:xfrm>
              <a:off x="6080322" y="3930777"/>
              <a:ext cx="237694" cy="57088"/>
            </a:xfrm>
            <a:custGeom>
              <a:avLst/>
              <a:gdLst>
                <a:gd name="connsiteX0" fmla="*/ 203062 w 237694"/>
                <a:gd name="connsiteY0" fmla="*/ 5372 h 57088"/>
                <a:gd name="connsiteX1" fmla="*/ 172173 w 237694"/>
                <a:gd name="connsiteY1" fmla="*/ 1228 h 57088"/>
                <a:gd name="connsiteX2" fmla="*/ 138768 w 237694"/>
                <a:gd name="connsiteY2" fmla="*/ 8213 h 57088"/>
                <a:gd name="connsiteX3" fmla="*/ 111613 w 237694"/>
                <a:gd name="connsiteY3" fmla="*/ 17438 h 57088"/>
                <a:gd name="connsiteX4" fmla="*/ 101425 w 237694"/>
                <a:gd name="connsiteY4" fmla="*/ 30808 h 57088"/>
                <a:gd name="connsiteX5" fmla="*/ 65462 w 237694"/>
                <a:gd name="connsiteY5" fmla="*/ 31443 h 57088"/>
                <a:gd name="connsiteX6" fmla="*/ 48374 w 237694"/>
                <a:gd name="connsiteY6" fmla="*/ 34785 h 57088"/>
                <a:gd name="connsiteX7" fmla="*/ 27146 w 237694"/>
                <a:gd name="connsiteY7" fmla="*/ 33114 h 57088"/>
                <a:gd name="connsiteX8" fmla="*/ 14401 w 237694"/>
                <a:gd name="connsiteY8" fmla="*/ 35153 h 57088"/>
                <a:gd name="connsiteX9" fmla="*/ -50 w 237694"/>
                <a:gd name="connsiteY9" fmla="*/ 36724 h 57088"/>
                <a:gd name="connsiteX10" fmla="*/ 31083 w 237694"/>
                <a:gd name="connsiteY10" fmla="*/ 46751 h 57088"/>
                <a:gd name="connsiteX11" fmla="*/ 87909 w 237694"/>
                <a:gd name="connsiteY11" fmla="*/ 48890 h 57088"/>
                <a:gd name="connsiteX12" fmla="*/ 136007 w 237694"/>
                <a:gd name="connsiteY12" fmla="*/ 54472 h 57088"/>
                <a:gd name="connsiteX13" fmla="*/ 159590 w 237694"/>
                <a:gd name="connsiteY13" fmla="*/ 56243 h 57088"/>
                <a:gd name="connsiteX14" fmla="*/ 183944 w 237694"/>
                <a:gd name="connsiteY14" fmla="*/ 51831 h 57088"/>
                <a:gd name="connsiteX15" fmla="*/ 203833 w 237694"/>
                <a:gd name="connsiteY15" fmla="*/ 48790 h 57088"/>
                <a:gd name="connsiteX16" fmla="*/ 211951 w 237694"/>
                <a:gd name="connsiteY16" fmla="*/ 44545 h 57088"/>
                <a:gd name="connsiteX17" fmla="*/ 226523 w 237694"/>
                <a:gd name="connsiteY17" fmla="*/ 30841 h 57088"/>
                <a:gd name="connsiteX18" fmla="*/ 232854 w 237694"/>
                <a:gd name="connsiteY18" fmla="*/ 14530 h 57088"/>
                <a:gd name="connsiteX19" fmla="*/ 226198 w 237694"/>
                <a:gd name="connsiteY19" fmla="*/ 7846 h 57088"/>
                <a:gd name="connsiteX20" fmla="*/ 203102 w 237694"/>
                <a:gd name="connsiteY20" fmla="*/ 5439 h 5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694" h="57088">
                  <a:moveTo>
                    <a:pt x="203062" y="5372"/>
                  </a:moveTo>
                  <a:cubicBezTo>
                    <a:pt x="199003" y="2866"/>
                    <a:pt x="174649" y="-3184"/>
                    <a:pt x="172173" y="1228"/>
                  </a:cubicBezTo>
                  <a:cubicBezTo>
                    <a:pt x="167261" y="10286"/>
                    <a:pt x="155369" y="10720"/>
                    <a:pt x="138768" y="8213"/>
                  </a:cubicBezTo>
                  <a:cubicBezTo>
                    <a:pt x="133694" y="11556"/>
                    <a:pt x="119122" y="15232"/>
                    <a:pt x="111613" y="17438"/>
                  </a:cubicBezTo>
                  <a:cubicBezTo>
                    <a:pt x="101790" y="20313"/>
                    <a:pt x="115672" y="32646"/>
                    <a:pt x="101425" y="30808"/>
                  </a:cubicBezTo>
                  <a:cubicBezTo>
                    <a:pt x="88842" y="29337"/>
                    <a:pt x="78167" y="28435"/>
                    <a:pt x="65462" y="31443"/>
                  </a:cubicBezTo>
                  <a:cubicBezTo>
                    <a:pt x="59211" y="32913"/>
                    <a:pt x="56127" y="35520"/>
                    <a:pt x="48374" y="34785"/>
                  </a:cubicBezTo>
                  <a:cubicBezTo>
                    <a:pt x="40621" y="34050"/>
                    <a:pt x="35061" y="31008"/>
                    <a:pt x="27146" y="33114"/>
                  </a:cubicBezTo>
                  <a:cubicBezTo>
                    <a:pt x="21301" y="34685"/>
                    <a:pt x="21706" y="37693"/>
                    <a:pt x="14401" y="35153"/>
                  </a:cubicBezTo>
                  <a:cubicBezTo>
                    <a:pt x="8312" y="33014"/>
                    <a:pt x="154" y="30741"/>
                    <a:pt x="-50" y="36724"/>
                  </a:cubicBezTo>
                  <a:cubicBezTo>
                    <a:pt x="-537" y="48856"/>
                    <a:pt x="16958" y="43408"/>
                    <a:pt x="31083" y="46751"/>
                  </a:cubicBezTo>
                  <a:cubicBezTo>
                    <a:pt x="51378" y="51230"/>
                    <a:pt x="76746" y="35420"/>
                    <a:pt x="87909" y="48890"/>
                  </a:cubicBezTo>
                  <a:cubicBezTo>
                    <a:pt x="92536" y="54472"/>
                    <a:pt x="125901" y="53201"/>
                    <a:pt x="136007" y="54472"/>
                  </a:cubicBezTo>
                  <a:cubicBezTo>
                    <a:pt x="142705" y="55307"/>
                    <a:pt x="152730" y="57814"/>
                    <a:pt x="159590" y="56243"/>
                  </a:cubicBezTo>
                  <a:cubicBezTo>
                    <a:pt x="167708" y="54438"/>
                    <a:pt x="174568" y="51697"/>
                    <a:pt x="183944" y="51831"/>
                  </a:cubicBezTo>
                  <a:cubicBezTo>
                    <a:pt x="190722" y="51778"/>
                    <a:pt x="197460" y="50748"/>
                    <a:pt x="203833" y="48790"/>
                  </a:cubicBezTo>
                  <a:cubicBezTo>
                    <a:pt x="207445" y="47854"/>
                    <a:pt x="207648" y="44779"/>
                    <a:pt x="211951" y="44545"/>
                  </a:cubicBezTo>
                  <a:cubicBezTo>
                    <a:pt x="223803" y="43910"/>
                    <a:pt x="209718" y="30373"/>
                    <a:pt x="226523" y="30841"/>
                  </a:cubicBezTo>
                  <a:cubicBezTo>
                    <a:pt x="244382" y="31343"/>
                    <a:pt x="236142" y="18541"/>
                    <a:pt x="232854" y="14530"/>
                  </a:cubicBezTo>
                  <a:cubicBezTo>
                    <a:pt x="231678" y="13060"/>
                    <a:pt x="229851" y="7344"/>
                    <a:pt x="226198" y="7846"/>
                  </a:cubicBezTo>
                  <a:cubicBezTo>
                    <a:pt x="218567" y="8915"/>
                    <a:pt x="208826" y="8949"/>
                    <a:pt x="203102" y="54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76B2245A-34C7-41A3-B7BC-3D8C070309CD}"/>
                </a:ext>
              </a:extLst>
            </p:cNvPr>
            <p:cNvSpPr/>
            <p:nvPr/>
          </p:nvSpPr>
          <p:spPr>
            <a:xfrm>
              <a:off x="6289492" y="3943352"/>
              <a:ext cx="206623" cy="58577"/>
            </a:xfrm>
            <a:custGeom>
              <a:avLst/>
              <a:gdLst>
                <a:gd name="connsiteX0" fmla="*/ 203172 w 206623"/>
                <a:gd name="connsiteY0" fmla="*/ 12885 h 58577"/>
                <a:gd name="connsiteX1" fmla="*/ 148255 w 206623"/>
                <a:gd name="connsiteY1" fmla="*/ -117 h 58577"/>
                <a:gd name="connsiteX2" fmla="*/ 114524 w 206623"/>
                <a:gd name="connsiteY2" fmla="*/ 8574 h 58577"/>
                <a:gd name="connsiteX3" fmla="*/ 31194 w 206623"/>
                <a:gd name="connsiteY3" fmla="*/ 9409 h 58577"/>
                <a:gd name="connsiteX4" fmla="*/ 21939 w 206623"/>
                <a:gd name="connsiteY4" fmla="*/ 17966 h 58577"/>
                <a:gd name="connsiteX5" fmla="*/ 9478 w 206623"/>
                <a:gd name="connsiteY5" fmla="*/ 21676 h 58577"/>
                <a:gd name="connsiteX6" fmla="*/ 2050 w 206623"/>
                <a:gd name="connsiteY6" fmla="*/ 39323 h 58577"/>
                <a:gd name="connsiteX7" fmla="*/ 72068 w 206623"/>
                <a:gd name="connsiteY7" fmla="*/ 57505 h 58577"/>
                <a:gd name="connsiteX8" fmla="*/ 109369 w 206623"/>
                <a:gd name="connsiteY8" fmla="*/ 52392 h 58577"/>
                <a:gd name="connsiteX9" fmla="*/ 145535 w 206623"/>
                <a:gd name="connsiteY9" fmla="*/ 52392 h 58577"/>
                <a:gd name="connsiteX10" fmla="*/ 176221 w 206623"/>
                <a:gd name="connsiteY10" fmla="*/ 30132 h 58577"/>
                <a:gd name="connsiteX11" fmla="*/ 203172 w 206623"/>
                <a:gd name="connsiteY11" fmla="*/ 13052 h 5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623" h="58577">
                  <a:moveTo>
                    <a:pt x="203172" y="12885"/>
                  </a:moveTo>
                  <a:cubicBezTo>
                    <a:pt x="184339" y="8874"/>
                    <a:pt x="168225" y="2858"/>
                    <a:pt x="148255" y="-117"/>
                  </a:cubicBezTo>
                  <a:cubicBezTo>
                    <a:pt x="135225" y="-2022"/>
                    <a:pt x="127351" y="8975"/>
                    <a:pt x="114524" y="8574"/>
                  </a:cubicBezTo>
                  <a:cubicBezTo>
                    <a:pt x="88750" y="7805"/>
                    <a:pt x="52422" y="25586"/>
                    <a:pt x="31194" y="9409"/>
                  </a:cubicBezTo>
                  <a:cubicBezTo>
                    <a:pt x="26364" y="11648"/>
                    <a:pt x="28271" y="16963"/>
                    <a:pt x="21939" y="17966"/>
                  </a:cubicBezTo>
                  <a:cubicBezTo>
                    <a:pt x="14471" y="19169"/>
                    <a:pt x="8545" y="15860"/>
                    <a:pt x="9478" y="21676"/>
                  </a:cubicBezTo>
                  <a:cubicBezTo>
                    <a:pt x="10818" y="30265"/>
                    <a:pt x="-5784" y="31703"/>
                    <a:pt x="2050" y="39323"/>
                  </a:cubicBezTo>
                  <a:cubicBezTo>
                    <a:pt x="14552" y="51222"/>
                    <a:pt x="44954" y="61048"/>
                    <a:pt x="72068" y="57505"/>
                  </a:cubicBezTo>
                  <a:cubicBezTo>
                    <a:pt x="82621" y="56102"/>
                    <a:pt x="98451" y="51924"/>
                    <a:pt x="109369" y="52392"/>
                  </a:cubicBezTo>
                  <a:cubicBezTo>
                    <a:pt x="126377" y="53127"/>
                    <a:pt x="129299" y="57840"/>
                    <a:pt x="145535" y="52392"/>
                  </a:cubicBezTo>
                  <a:cubicBezTo>
                    <a:pt x="160188" y="47311"/>
                    <a:pt x="167535" y="37819"/>
                    <a:pt x="176221" y="30132"/>
                  </a:cubicBezTo>
                  <a:cubicBezTo>
                    <a:pt x="181132" y="25686"/>
                    <a:pt x="217704" y="16161"/>
                    <a:pt x="203172" y="1305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33469F86-4A71-4482-874C-0BD8134E0F3A}"/>
                </a:ext>
              </a:extLst>
            </p:cNvPr>
            <p:cNvSpPr/>
            <p:nvPr/>
          </p:nvSpPr>
          <p:spPr>
            <a:xfrm>
              <a:off x="6170692" y="3886353"/>
              <a:ext cx="199978" cy="55817"/>
            </a:xfrm>
            <a:custGeom>
              <a:avLst/>
              <a:gdLst>
                <a:gd name="connsiteX0" fmla="*/ 189406 w 199978"/>
                <a:gd name="connsiteY0" fmla="*/ 26601 h 55817"/>
                <a:gd name="connsiteX1" fmla="*/ 166554 w 199978"/>
                <a:gd name="connsiteY1" fmla="*/ 20651 h 55817"/>
                <a:gd name="connsiteX2" fmla="*/ 137695 w 199978"/>
                <a:gd name="connsiteY2" fmla="*/ 19515 h 55817"/>
                <a:gd name="connsiteX3" fmla="*/ 119754 w 199978"/>
                <a:gd name="connsiteY3" fmla="*/ 10658 h 55817"/>
                <a:gd name="connsiteX4" fmla="*/ 82858 w 199978"/>
                <a:gd name="connsiteY4" fmla="*/ -339 h 55817"/>
                <a:gd name="connsiteX5" fmla="*/ 59722 w 199978"/>
                <a:gd name="connsiteY5" fmla="*/ 2736 h 55817"/>
                <a:gd name="connsiteX6" fmla="*/ 15763 w 199978"/>
                <a:gd name="connsiteY6" fmla="*/ 12596 h 55817"/>
                <a:gd name="connsiteX7" fmla="*/ 5778 w 199978"/>
                <a:gd name="connsiteY7" fmla="*/ 25966 h 55817"/>
                <a:gd name="connsiteX8" fmla="*/ 27981 w 199978"/>
                <a:gd name="connsiteY8" fmla="*/ 42677 h 55817"/>
                <a:gd name="connsiteX9" fmla="*/ 48276 w 199978"/>
                <a:gd name="connsiteY9" fmla="*/ 52705 h 55817"/>
                <a:gd name="connsiteX10" fmla="*/ 81681 w 199978"/>
                <a:gd name="connsiteY10" fmla="*/ 45719 h 55817"/>
                <a:gd name="connsiteX11" fmla="*/ 112570 w 199978"/>
                <a:gd name="connsiteY11" fmla="*/ 49864 h 55817"/>
                <a:gd name="connsiteX12" fmla="*/ 139684 w 199978"/>
                <a:gd name="connsiteY12" fmla="*/ 55479 h 55817"/>
                <a:gd name="connsiteX13" fmla="*/ 168097 w 199978"/>
                <a:gd name="connsiteY13" fmla="*/ 48025 h 55817"/>
                <a:gd name="connsiteX14" fmla="*/ 199919 w 199978"/>
                <a:gd name="connsiteY14" fmla="*/ 35090 h 55817"/>
                <a:gd name="connsiteX15" fmla="*/ 189366 w 199978"/>
                <a:gd name="connsiteY15" fmla="*/ 26668 h 55817"/>
                <a:gd name="connsiteX16" fmla="*/ 189406 w 199978"/>
                <a:gd name="connsiteY16" fmla="*/ 26601 h 5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9978" h="55817">
                  <a:moveTo>
                    <a:pt x="189406" y="26601"/>
                  </a:moveTo>
                  <a:cubicBezTo>
                    <a:pt x="180030" y="23459"/>
                    <a:pt x="170288" y="27169"/>
                    <a:pt x="166554" y="20651"/>
                  </a:cubicBezTo>
                  <a:cubicBezTo>
                    <a:pt x="161521" y="11828"/>
                    <a:pt x="145245" y="18713"/>
                    <a:pt x="137695" y="19515"/>
                  </a:cubicBezTo>
                  <a:cubicBezTo>
                    <a:pt x="126979" y="20651"/>
                    <a:pt x="125072" y="13298"/>
                    <a:pt x="119754" y="10658"/>
                  </a:cubicBezTo>
                  <a:cubicBezTo>
                    <a:pt x="109647" y="5711"/>
                    <a:pt x="94061" y="3973"/>
                    <a:pt x="82858" y="-339"/>
                  </a:cubicBezTo>
                  <a:cubicBezTo>
                    <a:pt x="79976" y="3405"/>
                    <a:pt x="66622" y="1266"/>
                    <a:pt x="59722" y="2736"/>
                  </a:cubicBezTo>
                  <a:cubicBezTo>
                    <a:pt x="45110" y="5778"/>
                    <a:pt x="30863" y="10424"/>
                    <a:pt x="15763" y="12596"/>
                  </a:cubicBezTo>
                  <a:cubicBezTo>
                    <a:pt x="-7860" y="15939"/>
                    <a:pt x="542" y="15939"/>
                    <a:pt x="5778" y="25966"/>
                  </a:cubicBezTo>
                  <a:cubicBezTo>
                    <a:pt x="10365" y="34723"/>
                    <a:pt x="13896" y="37463"/>
                    <a:pt x="27981" y="42677"/>
                  </a:cubicBezTo>
                  <a:cubicBezTo>
                    <a:pt x="30741" y="43680"/>
                    <a:pt x="52091" y="50331"/>
                    <a:pt x="48276" y="52705"/>
                  </a:cubicBezTo>
                  <a:cubicBezTo>
                    <a:pt x="64877" y="55211"/>
                    <a:pt x="76689" y="54777"/>
                    <a:pt x="81681" y="45719"/>
                  </a:cubicBezTo>
                  <a:cubicBezTo>
                    <a:pt x="84076" y="41307"/>
                    <a:pt x="108511" y="47357"/>
                    <a:pt x="112570" y="49864"/>
                  </a:cubicBezTo>
                  <a:cubicBezTo>
                    <a:pt x="122839" y="56114"/>
                    <a:pt x="134894" y="48560"/>
                    <a:pt x="139684" y="55479"/>
                  </a:cubicBezTo>
                  <a:cubicBezTo>
                    <a:pt x="145854" y="48527"/>
                    <a:pt x="156448" y="50766"/>
                    <a:pt x="168097" y="48025"/>
                  </a:cubicBezTo>
                  <a:cubicBezTo>
                    <a:pt x="180274" y="45117"/>
                    <a:pt x="187377" y="38332"/>
                    <a:pt x="199919" y="35090"/>
                  </a:cubicBezTo>
                  <a:cubicBezTo>
                    <a:pt x="196307" y="32617"/>
                    <a:pt x="194602" y="28405"/>
                    <a:pt x="189366" y="26668"/>
                  </a:cubicBezTo>
                  <a:cubicBezTo>
                    <a:pt x="184130" y="24930"/>
                    <a:pt x="193587" y="28038"/>
                    <a:pt x="189406" y="266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6C1B62F6-740F-41DC-BE86-23771428ED78}"/>
                </a:ext>
              </a:extLst>
            </p:cNvPr>
            <p:cNvSpPr/>
            <p:nvPr/>
          </p:nvSpPr>
          <p:spPr>
            <a:xfrm>
              <a:off x="6311144" y="3922767"/>
              <a:ext cx="183284" cy="36936"/>
            </a:xfrm>
            <a:custGeom>
              <a:avLst/>
              <a:gdLst>
                <a:gd name="connsiteX0" fmla="*/ 136343 w 183284"/>
                <a:gd name="connsiteY0" fmla="*/ 4659 h 36936"/>
                <a:gd name="connsiteX1" fmla="*/ 117510 w 183284"/>
                <a:gd name="connsiteY1" fmla="*/ 2420 h 36936"/>
                <a:gd name="connsiteX2" fmla="*/ 88772 w 183284"/>
                <a:gd name="connsiteY2" fmla="*/ 1518 h 36936"/>
                <a:gd name="connsiteX3" fmla="*/ 45910 w 183284"/>
                <a:gd name="connsiteY3" fmla="*/ 3155 h 36936"/>
                <a:gd name="connsiteX4" fmla="*/ 27685 w 183284"/>
                <a:gd name="connsiteY4" fmla="*/ 11545 h 36936"/>
                <a:gd name="connsiteX5" fmla="*/ 3331 w 183284"/>
                <a:gd name="connsiteY5" fmla="*/ 15388 h 36936"/>
                <a:gd name="connsiteX6" fmla="*/ 29389 w 183284"/>
                <a:gd name="connsiteY6" fmla="*/ 36011 h 36936"/>
                <a:gd name="connsiteX7" fmla="*/ 59223 w 183284"/>
                <a:gd name="connsiteY7" fmla="*/ 32468 h 36936"/>
                <a:gd name="connsiteX8" fmla="*/ 95753 w 183284"/>
                <a:gd name="connsiteY8" fmla="*/ 28791 h 36936"/>
                <a:gd name="connsiteX9" fmla="*/ 126399 w 183284"/>
                <a:gd name="connsiteY9" fmla="*/ 20469 h 36936"/>
                <a:gd name="connsiteX10" fmla="*/ 173767 w 183284"/>
                <a:gd name="connsiteY10" fmla="*/ 30730 h 36936"/>
                <a:gd name="connsiteX11" fmla="*/ 183225 w 183284"/>
                <a:gd name="connsiteY11" fmla="*/ 12180 h 36936"/>
                <a:gd name="connsiteX12" fmla="*/ 136141 w 183284"/>
                <a:gd name="connsiteY12" fmla="*/ 4659 h 36936"/>
                <a:gd name="connsiteX13" fmla="*/ 136343 w 183284"/>
                <a:gd name="connsiteY13" fmla="*/ 4659 h 3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284" h="36936">
                  <a:moveTo>
                    <a:pt x="136343" y="4659"/>
                  </a:moveTo>
                  <a:cubicBezTo>
                    <a:pt x="129443" y="4659"/>
                    <a:pt x="124166" y="2888"/>
                    <a:pt x="117510" y="2420"/>
                  </a:cubicBezTo>
                  <a:cubicBezTo>
                    <a:pt x="107281" y="1718"/>
                    <a:pt x="99366" y="3623"/>
                    <a:pt x="88772" y="1518"/>
                  </a:cubicBezTo>
                  <a:cubicBezTo>
                    <a:pt x="75418" y="-1123"/>
                    <a:pt x="55854" y="-1257"/>
                    <a:pt x="45910" y="3155"/>
                  </a:cubicBezTo>
                  <a:cubicBezTo>
                    <a:pt x="39455" y="5996"/>
                    <a:pt x="35681" y="9840"/>
                    <a:pt x="27685" y="11545"/>
                  </a:cubicBezTo>
                  <a:cubicBezTo>
                    <a:pt x="20703" y="13216"/>
                    <a:pt x="8607" y="12246"/>
                    <a:pt x="3331" y="15388"/>
                  </a:cubicBezTo>
                  <a:cubicBezTo>
                    <a:pt x="-8846" y="23042"/>
                    <a:pt x="14574" y="34640"/>
                    <a:pt x="29389" y="36011"/>
                  </a:cubicBezTo>
                  <a:cubicBezTo>
                    <a:pt x="42743" y="37214"/>
                    <a:pt x="50618" y="36813"/>
                    <a:pt x="59223" y="32468"/>
                  </a:cubicBezTo>
                  <a:cubicBezTo>
                    <a:pt x="68762" y="27655"/>
                    <a:pt x="84876" y="31097"/>
                    <a:pt x="95753" y="28791"/>
                  </a:cubicBezTo>
                  <a:cubicBezTo>
                    <a:pt x="105049" y="26819"/>
                    <a:pt x="116048" y="18931"/>
                    <a:pt x="126399" y="20469"/>
                  </a:cubicBezTo>
                  <a:cubicBezTo>
                    <a:pt x="143406" y="22942"/>
                    <a:pt x="157085" y="28123"/>
                    <a:pt x="173767" y="30730"/>
                  </a:cubicBezTo>
                  <a:cubicBezTo>
                    <a:pt x="158871" y="23142"/>
                    <a:pt x="176162" y="18263"/>
                    <a:pt x="183225" y="12180"/>
                  </a:cubicBezTo>
                  <a:cubicBezTo>
                    <a:pt x="166989" y="10308"/>
                    <a:pt x="152904" y="4325"/>
                    <a:pt x="136141" y="4659"/>
                  </a:cubicBezTo>
                  <a:cubicBezTo>
                    <a:pt x="125425" y="4826"/>
                    <a:pt x="147181" y="4459"/>
                    <a:pt x="136343" y="465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655E5AFF-93E2-4E0C-8FCE-7C80D6F96C8C}"/>
                </a:ext>
              </a:extLst>
            </p:cNvPr>
            <p:cNvSpPr/>
            <p:nvPr/>
          </p:nvSpPr>
          <p:spPr>
            <a:xfrm>
              <a:off x="5471653" y="4099795"/>
              <a:ext cx="98768" cy="104363"/>
            </a:xfrm>
            <a:custGeom>
              <a:avLst/>
              <a:gdLst>
                <a:gd name="connsiteX0" fmla="*/ 79369 w 98768"/>
                <a:gd name="connsiteY0" fmla="*/ 81951 h 104363"/>
                <a:gd name="connsiteX1" fmla="*/ 71738 w 98768"/>
                <a:gd name="connsiteY1" fmla="*/ 73829 h 104363"/>
                <a:gd name="connsiteX2" fmla="*/ 79856 w 98768"/>
                <a:gd name="connsiteY2" fmla="*/ 61295 h 104363"/>
                <a:gd name="connsiteX3" fmla="*/ 76041 w 98768"/>
                <a:gd name="connsiteY3" fmla="*/ 48294 h 104363"/>
                <a:gd name="connsiteX4" fmla="*/ 83225 w 98768"/>
                <a:gd name="connsiteY4" fmla="*/ 33186 h 104363"/>
                <a:gd name="connsiteX5" fmla="*/ 78598 w 98768"/>
                <a:gd name="connsiteY5" fmla="*/ 18045 h 104363"/>
                <a:gd name="connsiteX6" fmla="*/ 95727 w 98768"/>
                <a:gd name="connsiteY6" fmla="*/ 5712 h 104363"/>
                <a:gd name="connsiteX7" fmla="*/ 74580 w 98768"/>
                <a:gd name="connsiteY7" fmla="*/ 732 h 104363"/>
                <a:gd name="connsiteX8" fmla="*/ 43285 w 98768"/>
                <a:gd name="connsiteY8" fmla="*/ 4442 h 104363"/>
                <a:gd name="connsiteX9" fmla="*/ 24330 w 98768"/>
                <a:gd name="connsiteY9" fmla="*/ 2470 h 104363"/>
                <a:gd name="connsiteX10" fmla="*/ 15765 w 98768"/>
                <a:gd name="connsiteY10" fmla="*/ 9656 h 104363"/>
                <a:gd name="connsiteX11" fmla="*/ 19215 w 98768"/>
                <a:gd name="connsiteY11" fmla="*/ 17845 h 104363"/>
                <a:gd name="connsiteX12" fmla="*/ 5009 w 98768"/>
                <a:gd name="connsiteY12" fmla="*/ 56449 h 104363"/>
                <a:gd name="connsiteX13" fmla="*/ 16293 w 98768"/>
                <a:gd name="connsiteY13" fmla="*/ 72492 h 104363"/>
                <a:gd name="connsiteX14" fmla="*/ 24411 w 98768"/>
                <a:gd name="connsiteY14" fmla="*/ 90341 h 104363"/>
                <a:gd name="connsiteX15" fmla="*/ 28470 w 98768"/>
                <a:gd name="connsiteY15" fmla="*/ 103877 h 104363"/>
                <a:gd name="connsiteX16" fmla="*/ 72712 w 98768"/>
                <a:gd name="connsiteY16" fmla="*/ 98396 h 104363"/>
                <a:gd name="connsiteX17" fmla="*/ 79085 w 98768"/>
                <a:gd name="connsiteY17" fmla="*/ 81951 h 10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768" h="104363">
                  <a:moveTo>
                    <a:pt x="79369" y="81951"/>
                  </a:moveTo>
                  <a:cubicBezTo>
                    <a:pt x="91546" y="79979"/>
                    <a:pt x="74904" y="75266"/>
                    <a:pt x="71738" y="73829"/>
                  </a:cubicBezTo>
                  <a:cubicBezTo>
                    <a:pt x="61550" y="69250"/>
                    <a:pt x="84281" y="64404"/>
                    <a:pt x="79856" y="61295"/>
                  </a:cubicBezTo>
                  <a:cubicBezTo>
                    <a:pt x="74215" y="57218"/>
                    <a:pt x="53189" y="49764"/>
                    <a:pt x="76041" y="48294"/>
                  </a:cubicBezTo>
                  <a:cubicBezTo>
                    <a:pt x="79004" y="43451"/>
                    <a:pt x="81399" y="38394"/>
                    <a:pt x="83225" y="33186"/>
                  </a:cubicBezTo>
                  <a:cubicBezTo>
                    <a:pt x="84321" y="28607"/>
                    <a:pt x="72550" y="22157"/>
                    <a:pt x="78598" y="18045"/>
                  </a:cubicBezTo>
                  <a:cubicBezTo>
                    <a:pt x="81318" y="16174"/>
                    <a:pt x="107376" y="7250"/>
                    <a:pt x="95727" y="5712"/>
                  </a:cubicBezTo>
                  <a:cubicBezTo>
                    <a:pt x="86472" y="4509"/>
                    <a:pt x="86310" y="-1407"/>
                    <a:pt x="74580" y="732"/>
                  </a:cubicBezTo>
                  <a:cubicBezTo>
                    <a:pt x="64351" y="2968"/>
                    <a:pt x="53839" y="4211"/>
                    <a:pt x="43285" y="4442"/>
                  </a:cubicBezTo>
                  <a:cubicBezTo>
                    <a:pt x="33706" y="4709"/>
                    <a:pt x="34193" y="-4950"/>
                    <a:pt x="24330" y="2470"/>
                  </a:cubicBezTo>
                  <a:cubicBezTo>
                    <a:pt x="17876" y="7417"/>
                    <a:pt x="15847" y="1267"/>
                    <a:pt x="15765" y="9656"/>
                  </a:cubicBezTo>
                  <a:cubicBezTo>
                    <a:pt x="16090" y="12574"/>
                    <a:pt x="17267" y="15385"/>
                    <a:pt x="19215" y="17845"/>
                  </a:cubicBezTo>
                  <a:cubicBezTo>
                    <a:pt x="24857" y="28540"/>
                    <a:pt x="15156" y="46556"/>
                    <a:pt x="5009" y="56449"/>
                  </a:cubicBezTo>
                  <a:cubicBezTo>
                    <a:pt x="-5139" y="66342"/>
                    <a:pt x="625" y="67278"/>
                    <a:pt x="16293" y="72492"/>
                  </a:cubicBezTo>
                  <a:cubicBezTo>
                    <a:pt x="25953" y="75835"/>
                    <a:pt x="24939" y="84892"/>
                    <a:pt x="24411" y="90341"/>
                  </a:cubicBezTo>
                  <a:cubicBezTo>
                    <a:pt x="24167" y="93683"/>
                    <a:pt x="19418" y="103275"/>
                    <a:pt x="28470" y="103877"/>
                  </a:cubicBezTo>
                  <a:cubicBezTo>
                    <a:pt x="43245" y="104880"/>
                    <a:pt x="58668" y="100535"/>
                    <a:pt x="72712" y="98396"/>
                  </a:cubicBezTo>
                  <a:cubicBezTo>
                    <a:pt x="65609" y="93382"/>
                    <a:pt x="64310" y="84358"/>
                    <a:pt x="79085" y="8195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44FFFEC3-9B8F-4652-9BB1-2BAFBD088A71}"/>
                </a:ext>
              </a:extLst>
            </p:cNvPr>
            <p:cNvSpPr/>
            <p:nvPr/>
          </p:nvSpPr>
          <p:spPr>
            <a:xfrm>
              <a:off x="5865003" y="3830870"/>
              <a:ext cx="134281" cy="60630"/>
            </a:xfrm>
            <a:custGeom>
              <a:avLst/>
              <a:gdLst>
                <a:gd name="connsiteX0" fmla="*/ 43006 w 134281"/>
                <a:gd name="connsiteY0" fmla="*/ 48125 h 60630"/>
                <a:gd name="connsiteX1" fmla="*/ 96909 w 134281"/>
                <a:gd name="connsiteY1" fmla="*/ 60292 h 60630"/>
                <a:gd name="connsiteX2" fmla="*/ 100116 w 134281"/>
                <a:gd name="connsiteY2" fmla="*/ 40237 h 60630"/>
                <a:gd name="connsiteX3" fmla="*/ 110750 w 134281"/>
                <a:gd name="connsiteY3" fmla="*/ 38466 h 60630"/>
                <a:gd name="connsiteX4" fmla="*/ 121669 w 134281"/>
                <a:gd name="connsiteY4" fmla="*/ 31180 h 60630"/>
                <a:gd name="connsiteX5" fmla="*/ 116392 w 134281"/>
                <a:gd name="connsiteY5" fmla="*/ 19515 h 60630"/>
                <a:gd name="connsiteX6" fmla="*/ 126783 w 134281"/>
                <a:gd name="connsiteY6" fmla="*/ 14902 h 60630"/>
                <a:gd name="connsiteX7" fmla="*/ 131735 w 134281"/>
                <a:gd name="connsiteY7" fmla="*/ -339 h 60630"/>
                <a:gd name="connsiteX8" fmla="*/ 75600 w 134281"/>
                <a:gd name="connsiteY8" fmla="*/ 8184 h 60630"/>
                <a:gd name="connsiteX9" fmla="*/ 77264 w 134281"/>
                <a:gd name="connsiteY9" fmla="*/ 16005 h 60630"/>
                <a:gd name="connsiteX10" fmla="*/ 60744 w 134281"/>
                <a:gd name="connsiteY10" fmla="*/ 15471 h 60630"/>
                <a:gd name="connsiteX11" fmla="*/ 34442 w 134281"/>
                <a:gd name="connsiteY11" fmla="*/ 28606 h 60630"/>
                <a:gd name="connsiteX12" fmla="*/ 27095 w 134281"/>
                <a:gd name="connsiteY12" fmla="*/ 40438 h 60630"/>
                <a:gd name="connsiteX13" fmla="*/ -60 w 134281"/>
                <a:gd name="connsiteY13" fmla="*/ 52270 h 60630"/>
                <a:gd name="connsiteX14" fmla="*/ 43006 w 134281"/>
                <a:gd name="connsiteY14" fmla="*/ 47958 h 60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4281" h="60630">
                  <a:moveTo>
                    <a:pt x="43006" y="48125"/>
                  </a:moveTo>
                  <a:cubicBezTo>
                    <a:pt x="55913" y="41040"/>
                    <a:pt x="87370" y="56715"/>
                    <a:pt x="96909" y="60292"/>
                  </a:cubicBezTo>
                  <a:cubicBezTo>
                    <a:pt x="98979" y="53741"/>
                    <a:pt x="100034" y="47006"/>
                    <a:pt x="100116" y="40237"/>
                  </a:cubicBezTo>
                  <a:cubicBezTo>
                    <a:pt x="100116" y="38165"/>
                    <a:pt x="108843" y="38667"/>
                    <a:pt x="110750" y="38466"/>
                  </a:cubicBezTo>
                  <a:cubicBezTo>
                    <a:pt x="121588" y="37363"/>
                    <a:pt x="117204" y="34823"/>
                    <a:pt x="121669" y="31180"/>
                  </a:cubicBezTo>
                  <a:cubicBezTo>
                    <a:pt x="129381" y="24896"/>
                    <a:pt x="124591" y="25598"/>
                    <a:pt x="116392" y="19515"/>
                  </a:cubicBezTo>
                  <a:cubicBezTo>
                    <a:pt x="115053" y="18512"/>
                    <a:pt x="126662" y="14936"/>
                    <a:pt x="126783" y="14902"/>
                  </a:cubicBezTo>
                  <a:cubicBezTo>
                    <a:pt x="136646" y="10390"/>
                    <a:pt x="134901" y="5611"/>
                    <a:pt x="131735" y="-339"/>
                  </a:cubicBezTo>
                  <a:cubicBezTo>
                    <a:pt x="127960" y="5009"/>
                    <a:pt x="85260" y="-2511"/>
                    <a:pt x="75600" y="8184"/>
                  </a:cubicBezTo>
                  <a:cubicBezTo>
                    <a:pt x="72596" y="11527"/>
                    <a:pt x="78806" y="13799"/>
                    <a:pt x="77264" y="16005"/>
                  </a:cubicBezTo>
                  <a:cubicBezTo>
                    <a:pt x="75356" y="18779"/>
                    <a:pt x="61880" y="18345"/>
                    <a:pt x="60744" y="15471"/>
                  </a:cubicBezTo>
                  <a:cubicBezTo>
                    <a:pt x="57659" y="7817"/>
                    <a:pt x="36999" y="26901"/>
                    <a:pt x="34442" y="28606"/>
                  </a:cubicBezTo>
                  <a:cubicBezTo>
                    <a:pt x="29002" y="32182"/>
                    <a:pt x="32006" y="36628"/>
                    <a:pt x="27095" y="40438"/>
                  </a:cubicBezTo>
                  <a:cubicBezTo>
                    <a:pt x="20479" y="45552"/>
                    <a:pt x="9803" y="49061"/>
                    <a:pt x="-60" y="52270"/>
                  </a:cubicBezTo>
                  <a:cubicBezTo>
                    <a:pt x="13213" y="55044"/>
                    <a:pt x="32412" y="53807"/>
                    <a:pt x="43006" y="4795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115049E6-0AD0-4EAB-9A17-607F8883EBAD}"/>
                </a:ext>
              </a:extLst>
            </p:cNvPr>
            <p:cNvSpPr/>
            <p:nvPr/>
          </p:nvSpPr>
          <p:spPr>
            <a:xfrm>
              <a:off x="5953073" y="3907544"/>
              <a:ext cx="21928" cy="15575"/>
            </a:xfrm>
            <a:custGeom>
              <a:avLst/>
              <a:gdLst>
                <a:gd name="connsiteX0" fmla="*/ 11275 w 21928"/>
                <a:gd name="connsiteY0" fmla="*/ -339 h 15575"/>
                <a:gd name="connsiteX1" fmla="*/ 154 w 21928"/>
                <a:gd name="connsiteY1" fmla="*/ 14334 h 15575"/>
                <a:gd name="connsiteX2" fmla="*/ 21869 w 21928"/>
                <a:gd name="connsiteY2" fmla="*/ 15237 h 15575"/>
                <a:gd name="connsiteX3" fmla="*/ 11275 w 21928"/>
                <a:gd name="connsiteY3" fmla="*/ -339 h 15575"/>
                <a:gd name="connsiteX4" fmla="*/ 11275 w 21928"/>
                <a:gd name="connsiteY4" fmla="*/ -339 h 1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8" h="15575">
                  <a:moveTo>
                    <a:pt x="11275" y="-339"/>
                  </a:moveTo>
                  <a:cubicBezTo>
                    <a:pt x="3604" y="1543"/>
                    <a:pt x="-1145" y="7833"/>
                    <a:pt x="154" y="14334"/>
                  </a:cubicBezTo>
                  <a:cubicBezTo>
                    <a:pt x="7419" y="14047"/>
                    <a:pt x="14685" y="14348"/>
                    <a:pt x="21869" y="15237"/>
                  </a:cubicBezTo>
                  <a:cubicBezTo>
                    <a:pt x="21301" y="12396"/>
                    <a:pt x="9286" y="1867"/>
                    <a:pt x="11275" y="-339"/>
                  </a:cubicBezTo>
                  <a:cubicBezTo>
                    <a:pt x="4821" y="1633"/>
                    <a:pt x="10707" y="229"/>
                    <a:pt x="1127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7A65BE01-03B3-4A1D-A89E-06AFCC9707ED}"/>
                </a:ext>
              </a:extLst>
            </p:cNvPr>
            <p:cNvSpPr/>
            <p:nvPr/>
          </p:nvSpPr>
          <p:spPr>
            <a:xfrm>
              <a:off x="5843409" y="3877581"/>
              <a:ext cx="125644" cy="44646"/>
            </a:xfrm>
            <a:custGeom>
              <a:avLst/>
              <a:gdLst>
                <a:gd name="connsiteX0" fmla="*/ 4040 w 125644"/>
                <a:gd name="connsiteY0" fmla="*/ 13380 h 44646"/>
                <a:gd name="connsiteX1" fmla="*/ 16217 w 125644"/>
                <a:gd name="connsiteY1" fmla="*/ 19463 h 44646"/>
                <a:gd name="connsiteX2" fmla="*/ 39191 w 125644"/>
                <a:gd name="connsiteY2" fmla="*/ 25647 h 44646"/>
                <a:gd name="connsiteX3" fmla="*/ 55427 w 125644"/>
                <a:gd name="connsiteY3" fmla="*/ 33000 h 44646"/>
                <a:gd name="connsiteX4" fmla="*/ 76777 w 125644"/>
                <a:gd name="connsiteY4" fmla="*/ 30693 h 44646"/>
                <a:gd name="connsiteX5" fmla="*/ 87899 w 125644"/>
                <a:gd name="connsiteY5" fmla="*/ 39317 h 44646"/>
                <a:gd name="connsiteX6" fmla="*/ 110060 w 125644"/>
                <a:gd name="connsiteY6" fmla="*/ 44297 h 44646"/>
                <a:gd name="connsiteX7" fmla="*/ 121182 w 125644"/>
                <a:gd name="connsiteY7" fmla="*/ 29624 h 44646"/>
                <a:gd name="connsiteX8" fmla="*/ 119802 w 125644"/>
                <a:gd name="connsiteY8" fmla="*/ 16689 h 44646"/>
                <a:gd name="connsiteX9" fmla="*/ 69958 w 125644"/>
                <a:gd name="connsiteY9" fmla="*/ -23 h 44646"/>
                <a:gd name="connsiteX10" fmla="*/ 39759 w 125644"/>
                <a:gd name="connsiteY10" fmla="*/ 7297 h 44646"/>
                <a:gd name="connsiteX11" fmla="*/ 21778 w 125644"/>
                <a:gd name="connsiteY11" fmla="*/ 5893 h 44646"/>
                <a:gd name="connsiteX12" fmla="*/ -60 w 125644"/>
                <a:gd name="connsiteY12" fmla="*/ 11408 h 44646"/>
                <a:gd name="connsiteX13" fmla="*/ 4284 w 125644"/>
                <a:gd name="connsiteY13" fmla="*/ 13547 h 44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5644" h="44646">
                  <a:moveTo>
                    <a:pt x="4040" y="13380"/>
                  </a:moveTo>
                  <a:cubicBezTo>
                    <a:pt x="4405" y="14483"/>
                    <a:pt x="12726" y="22672"/>
                    <a:pt x="16217" y="19463"/>
                  </a:cubicBezTo>
                  <a:cubicBezTo>
                    <a:pt x="18206" y="17558"/>
                    <a:pt x="35862" y="24945"/>
                    <a:pt x="39191" y="25647"/>
                  </a:cubicBezTo>
                  <a:cubicBezTo>
                    <a:pt x="48445" y="27552"/>
                    <a:pt x="52017" y="28287"/>
                    <a:pt x="55427" y="33000"/>
                  </a:cubicBezTo>
                  <a:cubicBezTo>
                    <a:pt x="60663" y="40286"/>
                    <a:pt x="69796" y="31596"/>
                    <a:pt x="76777" y="30693"/>
                  </a:cubicBezTo>
                  <a:cubicBezTo>
                    <a:pt x="78888" y="30393"/>
                    <a:pt x="78279" y="40487"/>
                    <a:pt x="87899" y="39317"/>
                  </a:cubicBezTo>
                  <a:cubicBezTo>
                    <a:pt x="94637" y="38448"/>
                    <a:pt x="100684" y="44598"/>
                    <a:pt x="110060" y="44297"/>
                  </a:cubicBezTo>
                  <a:cubicBezTo>
                    <a:pt x="108762" y="37796"/>
                    <a:pt x="113510" y="31506"/>
                    <a:pt x="121182" y="29624"/>
                  </a:cubicBezTo>
                  <a:cubicBezTo>
                    <a:pt x="127920" y="22605"/>
                    <a:pt x="126500" y="23775"/>
                    <a:pt x="119802" y="16689"/>
                  </a:cubicBezTo>
                  <a:cubicBezTo>
                    <a:pt x="114282" y="10873"/>
                    <a:pt x="85950" y="-2563"/>
                    <a:pt x="69958" y="-23"/>
                  </a:cubicBezTo>
                  <a:cubicBezTo>
                    <a:pt x="59364" y="1548"/>
                    <a:pt x="51652" y="6094"/>
                    <a:pt x="39759" y="7297"/>
                  </a:cubicBezTo>
                  <a:cubicBezTo>
                    <a:pt x="33711" y="7915"/>
                    <a:pt x="27582" y="7437"/>
                    <a:pt x="21778" y="5893"/>
                  </a:cubicBezTo>
                  <a:cubicBezTo>
                    <a:pt x="14756" y="8377"/>
                    <a:pt x="7449" y="10228"/>
                    <a:pt x="-60" y="11408"/>
                  </a:cubicBezTo>
                  <a:cubicBezTo>
                    <a:pt x="1645" y="11645"/>
                    <a:pt x="3228" y="12411"/>
                    <a:pt x="4284" y="1354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F2F54C8E-C58E-41FB-8949-2F61D70C9EDA}"/>
                </a:ext>
              </a:extLst>
            </p:cNvPr>
            <p:cNvSpPr/>
            <p:nvPr/>
          </p:nvSpPr>
          <p:spPr>
            <a:xfrm>
              <a:off x="6423857" y="3958679"/>
              <a:ext cx="287585" cy="102513"/>
            </a:xfrm>
            <a:custGeom>
              <a:avLst/>
              <a:gdLst>
                <a:gd name="connsiteX0" fmla="*/ 257834 w 287585"/>
                <a:gd name="connsiteY0" fmla="*/ 69486 h 102513"/>
                <a:gd name="connsiteX1" fmla="*/ 240908 w 287585"/>
                <a:gd name="connsiteY1" fmla="*/ 34793 h 102513"/>
                <a:gd name="connsiteX2" fmla="*/ 213469 w 287585"/>
                <a:gd name="connsiteY2" fmla="*/ 9457 h 102513"/>
                <a:gd name="connsiteX3" fmla="*/ 191226 w 287585"/>
                <a:gd name="connsiteY3" fmla="*/ 1335 h 102513"/>
                <a:gd name="connsiteX4" fmla="*/ 169429 w 287585"/>
                <a:gd name="connsiteY4" fmla="*/ 6483 h 102513"/>
                <a:gd name="connsiteX5" fmla="*/ 142275 w 287585"/>
                <a:gd name="connsiteY5" fmla="*/ 8889 h 102513"/>
                <a:gd name="connsiteX6" fmla="*/ 119220 w 287585"/>
                <a:gd name="connsiteY6" fmla="*/ 4110 h 102513"/>
                <a:gd name="connsiteX7" fmla="*/ 74003 w 287585"/>
                <a:gd name="connsiteY7" fmla="*/ -302 h 102513"/>
                <a:gd name="connsiteX8" fmla="*/ 44616 w 287585"/>
                <a:gd name="connsiteY8" fmla="*/ 12265 h 102513"/>
                <a:gd name="connsiteX9" fmla="*/ 17542 w 287585"/>
                <a:gd name="connsiteY9" fmla="*/ 34291 h 102513"/>
                <a:gd name="connsiteX10" fmla="*/ 6259 w 287585"/>
                <a:gd name="connsiteY10" fmla="*/ 49131 h 102513"/>
                <a:gd name="connsiteX11" fmla="*/ 18436 w 287585"/>
                <a:gd name="connsiteY11" fmla="*/ 58156 h 102513"/>
                <a:gd name="connsiteX12" fmla="*/ 20749 w 287585"/>
                <a:gd name="connsiteY12" fmla="*/ 65743 h 102513"/>
                <a:gd name="connsiteX13" fmla="*/ 49690 w 287585"/>
                <a:gd name="connsiteY13" fmla="*/ 72427 h 102513"/>
                <a:gd name="connsiteX14" fmla="*/ 58944 w 287585"/>
                <a:gd name="connsiteY14" fmla="*/ 79814 h 102513"/>
                <a:gd name="connsiteX15" fmla="*/ 74084 w 287585"/>
                <a:gd name="connsiteY15" fmla="*/ 89641 h 102513"/>
                <a:gd name="connsiteX16" fmla="*/ 161271 w 287585"/>
                <a:gd name="connsiteY16" fmla="*/ 94788 h 102513"/>
                <a:gd name="connsiteX17" fmla="*/ 207056 w 287585"/>
                <a:gd name="connsiteY17" fmla="*/ 90643 h 102513"/>
                <a:gd name="connsiteX18" fmla="*/ 251502 w 287585"/>
                <a:gd name="connsiteY18" fmla="*/ 102174 h 102513"/>
                <a:gd name="connsiteX19" fmla="*/ 255886 w 287585"/>
                <a:gd name="connsiteY19" fmla="*/ 86432 h 102513"/>
                <a:gd name="connsiteX20" fmla="*/ 280240 w 287585"/>
                <a:gd name="connsiteY20" fmla="*/ 80115 h 102513"/>
                <a:gd name="connsiteX21" fmla="*/ 280240 w 287585"/>
                <a:gd name="connsiteY21" fmla="*/ 67949 h 102513"/>
                <a:gd name="connsiteX22" fmla="*/ 257469 w 287585"/>
                <a:gd name="connsiteY22" fmla="*/ 69319 h 102513"/>
                <a:gd name="connsiteX23" fmla="*/ 257834 w 287585"/>
                <a:gd name="connsiteY23" fmla="*/ 69486 h 10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7585" h="102513">
                  <a:moveTo>
                    <a:pt x="257834" y="69486"/>
                  </a:moveTo>
                  <a:cubicBezTo>
                    <a:pt x="227067" y="65342"/>
                    <a:pt x="249229" y="45120"/>
                    <a:pt x="240908" y="34793"/>
                  </a:cubicBezTo>
                  <a:cubicBezTo>
                    <a:pt x="233643" y="25868"/>
                    <a:pt x="221709" y="18081"/>
                    <a:pt x="213469" y="9457"/>
                  </a:cubicBezTo>
                  <a:cubicBezTo>
                    <a:pt x="206610" y="2171"/>
                    <a:pt x="207137" y="-2408"/>
                    <a:pt x="191226" y="1335"/>
                  </a:cubicBezTo>
                  <a:cubicBezTo>
                    <a:pt x="183514" y="3140"/>
                    <a:pt x="179496" y="6984"/>
                    <a:pt x="169429" y="6483"/>
                  </a:cubicBezTo>
                  <a:cubicBezTo>
                    <a:pt x="158632" y="5948"/>
                    <a:pt x="151732" y="9223"/>
                    <a:pt x="142275" y="8889"/>
                  </a:cubicBezTo>
                  <a:cubicBezTo>
                    <a:pt x="134847" y="8655"/>
                    <a:pt x="127703" y="4477"/>
                    <a:pt x="119220" y="4110"/>
                  </a:cubicBezTo>
                  <a:cubicBezTo>
                    <a:pt x="103430" y="3408"/>
                    <a:pt x="90198" y="-770"/>
                    <a:pt x="74003" y="-302"/>
                  </a:cubicBezTo>
                  <a:cubicBezTo>
                    <a:pt x="77778" y="3876"/>
                    <a:pt x="48797" y="8789"/>
                    <a:pt x="44616" y="12265"/>
                  </a:cubicBezTo>
                  <a:cubicBezTo>
                    <a:pt x="35930" y="19384"/>
                    <a:pt x="29638" y="28509"/>
                    <a:pt x="17542" y="34291"/>
                  </a:cubicBezTo>
                  <a:cubicBezTo>
                    <a:pt x="1306" y="42045"/>
                    <a:pt x="-6405" y="38068"/>
                    <a:pt x="6259" y="49131"/>
                  </a:cubicBezTo>
                  <a:cubicBezTo>
                    <a:pt x="10318" y="52808"/>
                    <a:pt x="6989" y="57755"/>
                    <a:pt x="18436" y="58156"/>
                  </a:cubicBezTo>
                  <a:cubicBezTo>
                    <a:pt x="24402" y="58356"/>
                    <a:pt x="21074" y="64205"/>
                    <a:pt x="20749" y="65743"/>
                  </a:cubicBezTo>
                  <a:cubicBezTo>
                    <a:pt x="19653" y="71191"/>
                    <a:pt x="42384" y="71124"/>
                    <a:pt x="49690" y="72427"/>
                  </a:cubicBezTo>
                  <a:cubicBezTo>
                    <a:pt x="58295" y="74132"/>
                    <a:pt x="56874" y="75369"/>
                    <a:pt x="58944" y="79814"/>
                  </a:cubicBezTo>
                  <a:cubicBezTo>
                    <a:pt x="61014" y="84259"/>
                    <a:pt x="66738" y="85997"/>
                    <a:pt x="74084" y="89641"/>
                  </a:cubicBezTo>
                  <a:cubicBezTo>
                    <a:pt x="85936" y="95423"/>
                    <a:pt x="148891" y="97930"/>
                    <a:pt x="161271" y="94788"/>
                  </a:cubicBezTo>
                  <a:cubicBezTo>
                    <a:pt x="176654" y="90777"/>
                    <a:pt x="188547" y="88437"/>
                    <a:pt x="207056" y="90643"/>
                  </a:cubicBezTo>
                  <a:cubicBezTo>
                    <a:pt x="224916" y="92849"/>
                    <a:pt x="235104" y="98230"/>
                    <a:pt x="251502" y="102174"/>
                  </a:cubicBezTo>
                  <a:cubicBezTo>
                    <a:pt x="254343" y="96893"/>
                    <a:pt x="251218" y="91613"/>
                    <a:pt x="255886" y="86432"/>
                  </a:cubicBezTo>
                  <a:cubicBezTo>
                    <a:pt x="261974" y="79747"/>
                    <a:pt x="269239" y="81820"/>
                    <a:pt x="280240" y="80115"/>
                  </a:cubicBezTo>
                  <a:cubicBezTo>
                    <a:pt x="292416" y="78276"/>
                    <a:pt x="287140" y="71057"/>
                    <a:pt x="280240" y="67949"/>
                  </a:cubicBezTo>
                  <a:cubicBezTo>
                    <a:pt x="271513" y="63904"/>
                    <a:pt x="266155" y="70522"/>
                    <a:pt x="257469" y="69319"/>
                  </a:cubicBezTo>
                  <a:cubicBezTo>
                    <a:pt x="251218" y="68584"/>
                    <a:pt x="260675" y="69854"/>
                    <a:pt x="257834" y="6948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F4FD1044-338A-416E-8513-B5D000B69127}"/>
                </a:ext>
              </a:extLst>
            </p:cNvPr>
            <p:cNvSpPr/>
            <p:nvPr/>
          </p:nvSpPr>
          <p:spPr>
            <a:xfrm>
              <a:off x="6628172" y="3957177"/>
              <a:ext cx="95700" cy="66045"/>
            </a:xfrm>
            <a:custGeom>
              <a:avLst/>
              <a:gdLst>
                <a:gd name="connsiteX0" fmla="*/ 71785 w 95700"/>
                <a:gd name="connsiteY0" fmla="*/ 18513 h 66045"/>
                <a:gd name="connsiteX1" fmla="*/ 44955 w 95700"/>
                <a:gd name="connsiteY1" fmla="*/ 6948 h 66045"/>
                <a:gd name="connsiteX2" fmla="*/ -60 w 95700"/>
                <a:gd name="connsiteY2" fmla="*/ 832 h 66045"/>
                <a:gd name="connsiteX3" fmla="*/ 36471 w 95700"/>
                <a:gd name="connsiteY3" fmla="*/ 36294 h 66045"/>
                <a:gd name="connsiteX4" fmla="*/ 42235 w 95700"/>
                <a:gd name="connsiteY4" fmla="*/ 65707 h 66045"/>
                <a:gd name="connsiteX5" fmla="*/ 61880 w 95700"/>
                <a:gd name="connsiteY5" fmla="*/ 51770 h 66045"/>
                <a:gd name="connsiteX6" fmla="*/ 83190 w 95700"/>
                <a:gd name="connsiteY6" fmla="*/ 46756 h 66045"/>
                <a:gd name="connsiteX7" fmla="*/ 71663 w 95700"/>
                <a:gd name="connsiteY7" fmla="*/ 18513 h 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00" h="66045">
                  <a:moveTo>
                    <a:pt x="71785" y="18513"/>
                  </a:moveTo>
                  <a:cubicBezTo>
                    <a:pt x="67726" y="10057"/>
                    <a:pt x="55549" y="10959"/>
                    <a:pt x="44955" y="6948"/>
                  </a:cubicBezTo>
                  <a:cubicBezTo>
                    <a:pt x="26202" y="-70"/>
                    <a:pt x="23320" y="-1809"/>
                    <a:pt x="-60" y="832"/>
                  </a:cubicBezTo>
                  <a:cubicBezTo>
                    <a:pt x="10778" y="12998"/>
                    <a:pt x="26649" y="24061"/>
                    <a:pt x="36471" y="36294"/>
                  </a:cubicBezTo>
                  <a:cubicBezTo>
                    <a:pt x="44224" y="45887"/>
                    <a:pt x="24660" y="56850"/>
                    <a:pt x="42235" y="65707"/>
                  </a:cubicBezTo>
                  <a:cubicBezTo>
                    <a:pt x="47958" y="62365"/>
                    <a:pt x="61434" y="56750"/>
                    <a:pt x="61880" y="51770"/>
                  </a:cubicBezTo>
                  <a:cubicBezTo>
                    <a:pt x="62571" y="44015"/>
                    <a:pt x="70729" y="43948"/>
                    <a:pt x="83190" y="46756"/>
                  </a:cubicBezTo>
                  <a:cubicBezTo>
                    <a:pt x="115662" y="54176"/>
                    <a:pt x="74707" y="24663"/>
                    <a:pt x="71663" y="1851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9CB87760-F305-4323-9559-DAA63874E5E5}"/>
                </a:ext>
              </a:extLst>
            </p:cNvPr>
            <p:cNvSpPr/>
            <p:nvPr/>
          </p:nvSpPr>
          <p:spPr>
            <a:xfrm>
              <a:off x="6475048" y="4042872"/>
              <a:ext cx="200289" cy="62244"/>
            </a:xfrm>
            <a:custGeom>
              <a:avLst/>
              <a:gdLst>
                <a:gd name="connsiteX0" fmla="*/ 155946 w 200289"/>
                <a:gd name="connsiteY0" fmla="*/ 6617 h 62244"/>
                <a:gd name="connsiteX1" fmla="*/ 110161 w 200289"/>
                <a:gd name="connsiteY1" fmla="*/ 10762 h 62244"/>
                <a:gd name="connsiteX2" fmla="*/ 56947 w 200289"/>
                <a:gd name="connsiteY2" fmla="*/ 9826 h 62244"/>
                <a:gd name="connsiteX3" fmla="*/ 14004 w 200289"/>
                <a:gd name="connsiteY3" fmla="*/ 835 h 62244"/>
                <a:gd name="connsiteX4" fmla="*/ 1258 w 200289"/>
                <a:gd name="connsiteY4" fmla="*/ 3222 h 62244"/>
                <a:gd name="connsiteX5" fmla="*/ -41 w 200289"/>
                <a:gd name="connsiteY5" fmla="*/ 5949 h 62244"/>
                <a:gd name="connsiteX6" fmla="*/ 15505 w 200289"/>
                <a:gd name="connsiteY6" fmla="*/ 20956 h 62244"/>
                <a:gd name="connsiteX7" fmla="*/ 4424 w 200289"/>
                <a:gd name="connsiteY7" fmla="*/ 39607 h 62244"/>
                <a:gd name="connsiteX8" fmla="*/ 38276 w 200289"/>
                <a:gd name="connsiteY8" fmla="*/ 55249 h 62244"/>
                <a:gd name="connsiteX9" fmla="*/ 91043 w 200289"/>
                <a:gd name="connsiteY9" fmla="*/ 60831 h 62244"/>
                <a:gd name="connsiteX10" fmla="*/ 108983 w 200289"/>
                <a:gd name="connsiteY10" fmla="*/ 61800 h 62244"/>
                <a:gd name="connsiteX11" fmla="*/ 130212 w 200289"/>
                <a:gd name="connsiteY11" fmla="*/ 55416 h 62244"/>
                <a:gd name="connsiteX12" fmla="*/ 169219 w 200289"/>
                <a:gd name="connsiteY12" fmla="*/ 46492 h 62244"/>
                <a:gd name="connsiteX13" fmla="*/ 172750 w 200289"/>
                <a:gd name="connsiteY13" fmla="*/ 31952 h 62244"/>
                <a:gd name="connsiteX14" fmla="*/ 200230 w 200289"/>
                <a:gd name="connsiteY14" fmla="*/ 18149 h 62244"/>
                <a:gd name="connsiteX15" fmla="*/ 155783 w 200289"/>
                <a:gd name="connsiteY15" fmla="*/ 6617 h 62244"/>
                <a:gd name="connsiteX16" fmla="*/ 155946 w 200289"/>
                <a:gd name="connsiteY16" fmla="*/ 6617 h 6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289" h="62244">
                  <a:moveTo>
                    <a:pt x="155946" y="6617"/>
                  </a:moveTo>
                  <a:cubicBezTo>
                    <a:pt x="137437" y="4411"/>
                    <a:pt x="125544" y="6617"/>
                    <a:pt x="110161" y="10762"/>
                  </a:cubicBezTo>
                  <a:cubicBezTo>
                    <a:pt x="97131" y="14104"/>
                    <a:pt x="71519" y="10996"/>
                    <a:pt x="56947" y="9826"/>
                  </a:cubicBezTo>
                  <a:cubicBezTo>
                    <a:pt x="38560" y="8355"/>
                    <a:pt x="28048" y="6684"/>
                    <a:pt x="14004" y="835"/>
                  </a:cubicBezTo>
                  <a:cubicBezTo>
                    <a:pt x="9660" y="-1408"/>
                    <a:pt x="3978" y="-341"/>
                    <a:pt x="1258" y="3222"/>
                  </a:cubicBezTo>
                  <a:cubicBezTo>
                    <a:pt x="609" y="4054"/>
                    <a:pt x="162" y="4980"/>
                    <a:pt x="-41" y="5949"/>
                  </a:cubicBezTo>
                  <a:cubicBezTo>
                    <a:pt x="-609" y="11798"/>
                    <a:pt x="11812" y="15709"/>
                    <a:pt x="15505" y="20956"/>
                  </a:cubicBezTo>
                  <a:cubicBezTo>
                    <a:pt x="18103" y="24666"/>
                    <a:pt x="-9620" y="31485"/>
                    <a:pt x="4424" y="39607"/>
                  </a:cubicBezTo>
                  <a:cubicBezTo>
                    <a:pt x="16601" y="46759"/>
                    <a:pt x="20052" y="54981"/>
                    <a:pt x="38276" y="55249"/>
                  </a:cubicBezTo>
                  <a:cubicBezTo>
                    <a:pt x="57394" y="55583"/>
                    <a:pt x="72696" y="58825"/>
                    <a:pt x="91043" y="60831"/>
                  </a:cubicBezTo>
                  <a:cubicBezTo>
                    <a:pt x="96969" y="61770"/>
                    <a:pt x="102976" y="62097"/>
                    <a:pt x="108983" y="61800"/>
                  </a:cubicBezTo>
                  <a:cubicBezTo>
                    <a:pt x="118644" y="60797"/>
                    <a:pt x="115640" y="55416"/>
                    <a:pt x="130212" y="55416"/>
                  </a:cubicBezTo>
                  <a:cubicBezTo>
                    <a:pt x="123677" y="40576"/>
                    <a:pt x="191299" y="62535"/>
                    <a:pt x="169219" y="46492"/>
                  </a:cubicBezTo>
                  <a:cubicBezTo>
                    <a:pt x="159193" y="39205"/>
                    <a:pt x="165160" y="36665"/>
                    <a:pt x="172750" y="31952"/>
                  </a:cubicBezTo>
                  <a:cubicBezTo>
                    <a:pt x="178392" y="28610"/>
                    <a:pt x="198159" y="21925"/>
                    <a:pt x="200230" y="18149"/>
                  </a:cubicBezTo>
                  <a:cubicBezTo>
                    <a:pt x="183994" y="14205"/>
                    <a:pt x="173643" y="8823"/>
                    <a:pt x="155783" y="6617"/>
                  </a:cubicBezTo>
                  <a:cubicBezTo>
                    <a:pt x="148234" y="5715"/>
                    <a:pt x="163496" y="7553"/>
                    <a:pt x="155946" y="661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99799FAB-3BCD-49C8-939E-267447C2689F}"/>
                </a:ext>
              </a:extLst>
            </p:cNvPr>
            <p:cNvSpPr/>
            <p:nvPr/>
          </p:nvSpPr>
          <p:spPr>
            <a:xfrm>
              <a:off x="6415335" y="4078606"/>
              <a:ext cx="83118" cy="31284"/>
            </a:xfrm>
            <a:custGeom>
              <a:avLst/>
              <a:gdLst>
                <a:gd name="connsiteX0" fmla="*/ 18027 w 83118"/>
                <a:gd name="connsiteY0" fmla="*/ 30946 h 31284"/>
                <a:gd name="connsiteX1" fmla="*/ 36090 w 83118"/>
                <a:gd name="connsiteY1" fmla="*/ 30946 h 31284"/>
                <a:gd name="connsiteX2" fmla="*/ 51514 w 83118"/>
                <a:gd name="connsiteY2" fmla="*/ 26400 h 31284"/>
                <a:gd name="connsiteX3" fmla="*/ 67141 w 83118"/>
                <a:gd name="connsiteY3" fmla="*/ 25197 h 31284"/>
                <a:gd name="connsiteX4" fmla="*/ 61743 w 83118"/>
                <a:gd name="connsiteY4" fmla="*/ -339 h 31284"/>
                <a:gd name="connsiteX5" fmla="*/ 4389 w 83118"/>
                <a:gd name="connsiteY5" fmla="*/ 2302 h 31284"/>
                <a:gd name="connsiteX6" fmla="*/ 18027 w 83118"/>
                <a:gd name="connsiteY6" fmla="*/ 30946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18" h="31284">
                  <a:moveTo>
                    <a:pt x="18027" y="30946"/>
                  </a:moveTo>
                  <a:cubicBezTo>
                    <a:pt x="24035" y="30612"/>
                    <a:pt x="30083" y="30612"/>
                    <a:pt x="36090" y="30946"/>
                  </a:cubicBezTo>
                  <a:cubicBezTo>
                    <a:pt x="43477" y="30712"/>
                    <a:pt x="45832" y="28105"/>
                    <a:pt x="51514" y="26400"/>
                  </a:cubicBezTo>
                  <a:cubicBezTo>
                    <a:pt x="54721" y="25464"/>
                    <a:pt x="63082" y="25966"/>
                    <a:pt x="67141" y="25197"/>
                  </a:cubicBezTo>
                  <a:cubicBezTo>
                    <a:pt x="107041" y="17509"/>
                    <a:pt x="59023" y="11827"/>
                    <a:pt x="61743" y="-339"/>
                  </a:cubicBezTo>
                  <a:cubicBezTo>
                    <a:pt x="50540" y="62"/>
                    <a:pt x="13360" y="5911"/>
                    <a:pt x="4389" y="2302"/>
                  </a:cubicBezTo>
                  <a:cubicBezTo>
                    <a:pt x="-3810" y="14836"/>
                    <a:pt x="-1455" y="22289"/>
                    <a:pt x="18027" y="3094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888CBCBE-C99A-489B-BC54-0DA4AE40E028}"/>
                </a:ext>
              </a:extLst>
            </p:cNvPr>
            <p:cNvSpPr/>
            <p:nvPr/>
          </p:nvSpPr>
          <p:spPr>
            <a:xfrm>
              <a:off x="6479265" y="3873979"/>
              <a:ext cx="581597" cy="183001"/>
            </a:xfrm>
            <a:custGeom>
              <a:avLst/>
              <a:gdLst>
                <a:gd name="connsiteX0" fmla="*/ 514155 w 581597"/>
                <a:gd name="connsiteY0" fmla="*/ 129954 h 183001"/>
                <a:gd name="connsiteX1" fmla="*/ 549752 w 581597"/>
                <a:gd name="connsiteY1" fmla="*/ 124706 h 183001"/>
                <a:gd name="connsiteX2" fmla="*/ 567246 w 581597"/>
                <a:gd name="connsiteY2" fmla="*/ 126310 h 183001"/>
                <a:gd name="connsiteX3" fmla="*/ 571995 w 581597"/>
                <a:gd name="connsiteY3" fmla="*/ 114378 h 183001"/>
                <a:gd name="connsiteX4" fmla="*/ 577475 w 581597"/>
                <a:gd name="connsiteY4" fmla="*/ 108061 h 183001"/>
                <a:gd name="connsiteX5" fmla="*/ 576054 w 581597"/>
                <a:gd name="connsiteY5" fmla="*/ 99405 h 183001"/>
                <a:gd name="connsiteX6" fmla="*/ 532664 w 581597"/>
                <a:gd name="connsiteY6" fmla="*/ 78949 h 183001"/>
                <a:gd name="connsiteX7" fmla="*/ 498812 w 581597"/>
                <a:gd name="connsiteY7" fmla="*/ 65346 h 183001"/>
                <a:gd name="connsiteX8" fmla="*/ 471942 w 581597"/>
                <a:gd name="connsiteY8" fmla="*/ 65346 h 183001"/>
                <a:gd name="connsiteX9" fmla="*/ 458384 w 581597"/>
                <a:gd name="connsiteY9" fmla="*/ 61034 h 183001"/>
                <a:gd name="connsiteX10" fmla="*/ 442148 w 581597"/>
                <a:gd name="connsiteY10" fmla="*/ 58394 h 183001"/>
                <a:gd name="connsiteX11" fmla="*/ 413735 w 581597"/>
                <a:gd name="connsiteY11" fmla="*/ 38340 h 183001"/>
                <a:gd name="connsiteX12" fmla="*/ 392792 w 581597"/>
                <a:gd name="connsiteY12" fmla="*/ 14609 h 183001"/>
                <a:gd name="connsiteX13" fmla="*/ 352526 w 581597"/>
                <a:gd name="connsiteY13" fmla="*/ 7089 h 183001"/>
                <a:gd name="connsiteX14" fmla="*/ 331785 w 581597"/>
                <a:gd name="connsiteY14" fmla="*/ 9328 h 183001"/>
                <a:gd name="connsiteX15" fmla="*/ 320420 w 581597"/>
                <a:gd name="connsiteY15" fmla="*/ 8927 h 183001"/>
                <a:gd name="connsiteX16" fmla="*/ 302966 w 581597"/>
                <a:gd name="connsiteY16" fmla="*/ 7891 h 183001"/>
                <a:gd name="connsiteX17" fmla="*/ 274554 w 581597"/>
                <a:gd name="connsiteY17" fmla="*/ 17483 h 183001"/>
                <a:gd name="connsiteX18" fmla="*/ 238023 w 581597"/>
                <a:gd name="connsiteY18" fmla="*/ 19689 h 183001"/>
                <a:gd name="connsiteX19" fmla="*/ 222030 w 581597"/>
                <a:gd name="connsiteY19" fmla="*/ 14709 h 183001"/>
                <a:gd name="connsiteX20" fmla="*/ 197270 w 581597"/>
                <a:gd name="connsiteY20" fmla="*/ 12035 h 183001"/>
                <a:gd name="connsiteX21" fmla="*/ 180060 w 581597"/>
                <a:gd name="connsiteY21" fmla="*/ 11601 h 183001"/>
                <a:gd name="connsiteX22" fmla="*/ 147589 w 581597"/>
                <a:gd name="connsiteY22" fmla="*/ 7256 h 183001"/>
                <a:gd name="connsiteX23" fmla="*/ 96851 w 581597"/>
                <a:gd name="connsiteY23" fmla="*/ -231 h 183001"/>
                <a:gd name="connsiteX24" fmla="*/ 46845 w 581597"/>
                <a:gd name="connsiteY24" fmla="*/ 6086 h 183001"/>
                <a:gd name="connsiteX25" fmla="*/ 59022 w 581597"/>
                <a:gd name="connsiteY25" fmla="*/ 21795 h 183001"/>
                <a:gd name="connsiteX26" fmla="*/ 44003 w 581597"/>
                <a:gd name="connsiteY26" fmla="*/ 35666 h 183001"/>
                <a:gd name="connsiteX27" fmla="*/ 18432 w 581597"/>
                <a:gd name="connsiteY27" fmla="*/ 47197 h 183001"/>
                <a:gd name="connsiteX28" fmla="*/ 14698 w 581597"/>
                <a:gd name="connsiteY28" fmla="*/ 61302 h 183001"/>
                <a:gd name="connsiteX29" fmla="*/ 1587 w 581597"/>
                <a:gd name="connsiteY29" fmla="*/ 76543 h 183001"/>
                <a:gd name="connsiteX30" fmla="*/ 40391 w 581597"/>
                <a:gd name="connsiteY30" fmla="*/ 85367 h 183001"/>
                <a:gd name="connsiteX31" fmla="*/ 83010 w 581597"/>
                <a:gd name="connsiteY31" fmla="*/ 92553 h 183001"/>
                <a:gd name="connsiteX32" fmla="*/ 127903 w 581597"/>
                <a:gd name="connsiteY32" fmla="*/ 89210 h 183001"/>
                <a:gd name="connsiteX33" fmla="*/ 157695 w 581597"/>
                <a:gd name="connsiteY33" fmla="*/ 83060 h 183001"/>
                <a:gd name="connsiteX34" fmla="*/ 193942 w 581597"/>
                <a:gd name="connsiteY34" fmla="*/ 90079 h 183001"/>
                <a:gd name="connsiteX35" fmla="*/ 220772 w 581597"/>
                <a:gd name="connsiteY35" fmla="*/ 101644 h 183001"/>
                <a:gd name="connsiteX36" fmla="*/ 244476 w 581597"/>
                <a:gd name="connsiteY36" fmla="*/ 126076 h 183001"/>
                <a:gd name="connsiteX37" fmla="*/ 224182 w 581597"/>
                <a:gd name="connsiteY37" fmla="*/ 128149 h 183001"/>
                <a:gd name="connsiteX38" fmla="*/ 207377 w 581597"/>
                <a:gd name="connsiteY38" fmla="*/ 138777 h 183001"/>
                <a:gd name="connsiteX39" fmla="*/ 195850 w 581597"/>
                <a:gd name="connsiteY39" fmla="*/ 152882 h 183001"/>
                <a:gd name="connsiteX40" fmla="*/ 232096 w 581597"/>
                <a:gd name="connsiteY40" fmla="*/ 156225 h 183001"/>
                <a:gd name="connsiteX41" fmla="*/ 254218 w 581597"/>
                <a:gd name="connsiteY41" fmla="*/ 142187 h 183001"/>
                <a:gd name="connsiteX42" fmla="*/ 285066 w 581597"/>
                <a:gd name="connsiteY42" fmla="*/ 128817 h 183001"/>
                <a:gd name="connsiteX43" fmla="*/ 319892 w 581597"/>
                <a:gd name="connsiteY43" fmla="*/ 132694 h 183001"/>
                <a:gd name="connsiteX44" fmla="*/ 325453 w 581597"/>
                <a:gd name="connsiteY44" fmla="*/ 142220 h 183001"/>
                <a:gd name="connsiteX45" fmla="*/ 352486 w 581597"/>
                <a:gd name="connsiteY45" fmla="*/ 153183 h 183001"/>
                <a:gd name="connsiteX46" fmla="*/ 324397 w 581597"/>
                <a:gd name="connsiteY46" fmla="*/ 157595 h 183001"/>
                <a:gd name="connsiteX47" fmla="*/ 355976 w 581597"/>
                <a:gd name="connsiteY47" fmla="*/ 167823 h 183001"/>
                <a:gd name="connsiteX48" fmla="*/ 366611 w 581597"/>
                <a:gd name="connsiteY48" fmla="*/ 182562 h 183001"/>
                <a:gd name="connsiteX49" fmla="*/ 419865 w 581597"/>
                <a:gd name="connsiteY49" fmla="*/ 174407 h 183001"/>
                <a:gd name="connsiteX50" fmla="*/ 457573 w 581597"/>
                <a:gd name="connsiteY50" fmla="*/ 175711 h 183001"/>
                <a:gd name="connsiteX51" fmla="*/ 425750 w 581597"/>
                <a:gd name="connsiteY51" fmla="*/ 168391 h 183001"/>
                <a:gd name="connsiteX52" fmla="*/ 401397 w 581597"/>
                <a:gd name="connsiteY52" fmla="*/ 155322 h 183001"/>
                <a:gd name="connsiteX53" fmla="*/ 419946 w 581597"/>
                <a:gd name="connsiteY53" fmla="*/ 145462 h 183001"/>
                <a:gd name="connsiteX54" fmla="*/ 468654 w 581597"/>
                <a:gd name="connsiteY54" fmla="*/ 141518 h 183001"/>
                <a:gd name="connsiteX55" fmla="*/ 502099 w 581597"/>
                <a:gd name="connsiteY55" fmla="*/ 138176 h 183001"/>
                <a:gd name="connsiteX56" fmla="*/ 514276 w 581597"/>
                <a:gd name="connsiteY56" fmla="*/ 130020 h 18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1597" h="183001">
                  <a:moveTo>
                    <a:pt x="514155" y="129954"/>
                  </a:moveTo>
                  <a:cubicBezTo>
                    <a:pt x="528929" y="130254"/>
                    <a:pt x="532704" y="121899"/>
                    <a:pt x="549752" y="124706"/>
                  </a:cubicBezTo>
                  <a:cubicBezTo>
                    <a:pt x="551051" y="124940"/>
                    <a:pt x="567002" y="128049"/>
                    <a:pt x="567246" y="126310"/>
                  </a:cubicBezTo>
                  <a:cubicBezTo>
                    <a:pt x="567936" y="121698"/>
                    <a:pt x="578571" y="119425"/>
                    <a:pt x="571995" y="114378"/>
                  </a:cubicBezTo>
                  <a:cubicBezTo>
                    <a:pt x="565419" y="109331"/>
                    <a:pt x="569194" y="109331"/>
                    <a:pt x="577475" y="108061"/>
                  </a:cubicBezTo>
                  <a:cubicBezTo>
                    <a:pt x="587297" y="106557"/>
                    <a:pt x="568180" y="102279"/>
                    <a:pt x="576054" y="99405"/>
                  </a:cubicBezTo>
                  <a:cubicBezTo>
                    <a:pt x="598419" y="91249"/>
                    <a:pt x="546018" y="81389"/>
                    <a:pt x="532664" y="78949"/>
                  </a:cubicBezTo>
                  <a:cubicBezTo>
                    <a:pt x="515332" y="75607"/>
                    <a:pt x="507701" y="75440"/>
                    <a:pt x="498812" y="65346"/>
                  </a:cubicBezTo>
                  <a:cubicBezTo>
                    <a:pt x="494266" y="60199"/>
                    <a:pt x="477624" y="65613"/>
                    <a:pt x="471942" y="65346"/>
                  </a:cubicBezTo>
                  <a:cubicBezTo>
                    <a:pt x="467030" y="64928"/>
                    <a:pt x="462362" y="63441"/>
                    <a:pt x="458384" y="61034"/>
                  </a:cubicBezTo>
                  <a:cubicBezTo>
                    <a:pt x="451768" y="57692"/>
                    <a:pt x="449698" y="59330"/>
                    <a:pt x="442148" y="58394"/>
                  </a:cubicBezTo>
                  <a:cubicBezTo>
                    <a:pt x="429971" y="56856"/>
                    <a:pt x="436466" y="40479"/>
                    <a:pt x="413735" y="38340"/>
                  </a:cubicBezTo>
                  <a:cubicBezTo>
                    <a:pt x="387352" y="35933"/>
                    <a:pt x="397865" y="23600"/>
                    <a:pt x="392792" y="14609"/>
                  </a:cubicBezTo>
                  <a:cubicBezTo>
                    <a:pt x="387718" y="5618"/>
                    <a:pt x="365880" y="8860"/>
                    <a:pt x="352526" y="7089"/>
                  </a:cubicBezTo>
                  <a:cubicBezTo>
                    <a:pt x="342460" y="5785"/>
                    <a:pt x="340349" y="7790"/>
                    <a:pt x="331785" y="9328"/>
                  </a:cubicBezTo>
                  <a:cubicBezTo>
                    <a:pt x="328010" y="9896"/>
                    <a:pt x="324113" y="9759"/>
                    <a:pt x="320420" y="8927"/>
                  </a:cubicBezTo>
                  <a:cubicBezTo>
                    <a:pt x="313316" y="7022"/>
                    <a:pt x="311653" y="7857"/>
                    <a:pt x="302966" y="7891"/>
                  </a:cubicBezTo>
                  <a:cubicBezTo>
                    <a:pt x="294280" y="7924"/>
                    <a:pt x="275162" y="11835"/>
                    <a:pt x="274554" y="17483"/>
                  </a:cubicBezTo>
                  <a:cubicBezTo>
                    <a:pt x="273458" y="28747"/>
                    <a:pt x="253122" y="16046"/>
                    <a:pt x="238023" y="19689"/>
                  </a:cubicBezTo>
                  <a:cubicBezTo>
                    <a:pt x="233720" y="20725"/>
                    <a:pt x="226211" y="15344"/>
                    <a:pt x="222030" y="14709"/>
                  </a:cubicBezTo>
                  <a:cubicBezTo>
                    <a:pt x="215171" y="13673"/>
                    <a:pt x="204617" y="12804"/>
                    <a:pt x="197270" y="12035"/>
                  </a:cubicBezTo>
                  <a:cubicBezTo>
                    <a:pt x="191588" y="11434"/>
                    <a:pt x="188503" y="13606"/>
                    <a:pt x="180060" y="11601"/>
                  </a:cubicBezTo>
                  <a:cubicBezTo>
                    <a:pt x="169020" y="8994"/>
                    <a:pt x="158183" y="9495"/>
                    <a:pt x="147589" y="7256"/>
                  </a:cubicBezTo>
                  <a:cubicBezTo>
                    <a:pt x="131028" y="3395"/>
                    <a:pt x="114021" y="885"/>
                    <a:pt x="96851" y="-231"/>
                  </a:cubicBezTo>
                  <a:cubicBezTo>
                    <a:pt x="75379" y="-1401"/>
                    <a:pt x="66612" y="7389"/>
                    <a:pt x="46845" y="6086"/>
                  </a:cubicBezTo>
                  <a:cubicBezTo>
                    <a:pt x="47738" y="12035"/>
                    <a:pt x="54963" y="16347"/>
                    <a:pt x="59022" y="21795"/>
                  </a:cubicBezTo>
                  <a:cubicBezTo>
                    <a:pt x="66044" y="30585"/>
                    <a:pt x="54557" y="30786"/>
                    <a:pt x="44003" y="35666"/>
                  </a:cubicBezTo>
                  <a:cubicBezTo>
                    <a:pt x="35602" y="39576"/>
                    <a:pt x="26550" y="43119"/>
                    <a:pt x="18432" y="47197"/>
                  </a:cubicBezTo>
                  <a:cubicBezTo>
                    <a:pt x="11167" y="50873"/>
                    <a:pt x="21476" y="58828"/>
                    <a:pt x="14698" y="61302"/>
                  </a:cubicBezTo>
                  <a:cubicBezTo>
                    <a:pt x="7229" y="64042"/>
                    <a:pt x="-4380" y="71329"/>
                    <a:pt x="1587" y="76543"/>
                  </a:cubicBezTo>
                  <a:cubicBezTo>
                    <a:pt x="11532" y="85032"/>
                    <a:pt x="25292" y="83227"/>
                    <a:pt x="40391" y="85367"/>
                  </a:cubicBezTo>
                  <a:cubicBezTo>
                    <a:pt x="51431" y="87038"/>
                    <a:pt x="75095" y="87840"/>
                    <a:pt x="83010" y="92553"/>
                  </a:cubicBezTo>
                  <a:cubicBezTo>
                    <a:pt x="86054" y="94291"/>
                    <a:pt x="123113" y="90514"/>
                    <a:pt x="127903" y="89210"/>
                  </a:cubicBezTo>
                  <a:cubicBezTo>
                    <a:pt x="137441" y="86025"/>
                    <a:pt x="147467" y="83953"/>
                    <a:pt x="157695" y="83060"/>
                  </a:cubicBezTo>
                  <a:cubicBezTo>
                    <a:pt x="176164" y="81456"/>
                    <a:pt x="178883" y="84431"/>
                    <a:pt x="193942" y="90079"/>
                  </a:cubicBezTo>
                  <a:cubicBezTo>
                    <a:pt x="204617" y="94090"/>
                    <a:pt x="216672" y="93188"/>
                    <a:pt x="220772" y="101644"/>
                  </a:cubicBezTo>
                  <a:cubicBezTo>
                    <a:pt x="225156" y="110768"/>
                    <a:pt x="240214" y="117286"/>
                    <a:pt x="244476" y="126076"/>
                  </a:cubicBezTo>
                  <a:cubicBezTo>
                    <a:pt x="249266" y="136104"/>
                    <a:pt x="235790" y="130422"/>
                    <a:pt x="224182" y="128149"/>
                  </a:cubicBezTo>
                  <a:cubicBezTo>
                    <a:pt x="210462" y="125441"/>
                    <a:pt x="212329" y="135067"/>
                    <a:pt x="207377" y="138777"/>
                  </a:cubicBezTo>
                  <a:cubicBezTo>
                    <a:pt x="202425" y="142488"/>
                    <a:pt x="182618" y="149807"/>
                    <a:pt x="195850" y="152882"/>
                  </a:cubicBezTo>
                  <a:cubicBezTo>
                    <a:pt x="212492" y="156826"/>
                    <a:pt x="216145" y="147668"/>
                    <a:pt x="232096" y="156225"/>
                  </a:cubicBezTo>
                  <a:cubicBezTo>
                    <a:pt x="231691" y="147133"/>
                    <a:pt x="243867" y="147501"/>
                    <a:pt x="254218" y="142187"/>
                  </a:cubicBezTo>
                  <a:cubicBezTo>
                    <a:pt x="266111" y="136070"/>
                    <a:pt x="267247" y="130422"/>
                    <a:pt x="285066" y="128817"/>
                  </a:cubicBezTo>
                  <a:cubicBezTo>
                    <a:pt x="289612" y="128383"/>
                    <a:pt x="326752" y="126979"/>
                    <a:pt x="319892" y="132694"/>
                  </a:cubicBezTo>
                  <a:cubicBezTo>
                    <a:pt x="314129" y="137474"/>
                    <a:pt x="310557" y="140215"/>
                    <a:pt x="325453" y="142220"/>
                  </a:cubicBezTo>
                  <a:cubicBezTo>
                    <a:pt x="338766" y="143958"/>
                    <a:pt x="393441" y="147768"/>
                    <a:pt x="352486" y="153183"/>
                  </a:cubicBezTo>
                  <a:cubicBezTo>
                    <a:pt x="349563" y="153551"/>
                    <a:pt x="323830" y="155456"/>
                    <a:pt x="324397" y="157595"/>
                  </a:cubicBezTo>
                  <a:cubicBezTo>
                    <a:pt x="325453" y="161606"/>
                    <a:pt x="350334" y="165349"/>
                    <a:pt x="355976" y="167823"/>
                  </a:cubicBezTo>
                  <a:cubicBezTo>
                    <a:pt x="365962" y="172168"/>
                    <a:pt x="343799" y="183866"/>
                    <a:pt x="366611" y="182562"/>
                  </a:cubicBezTo>
                  <a:cubicBezTo>
                    <a:pt x="384714" y="181493"/>
                    <a:pt x="401762" y="175878"/>
                    <a:pt x="419865" y="174407"/>
                  </a:cubicBezTo>
                  <a:cubicBezTo>
                    <a:pt x="427171" y="173805"/>
                    <a:pt x="453189" y="178618"/>
                    <a:pt x="457573" y="175711"/>
                  </a:cubicBezTo>
                  <a:cubicBezTo>
                    <a:pt x="464595" y="170998"/>
                    <a:pt x="427983" y="168491"/>
                    <a:pt x="425750" y="168391"/>
                  </a:cubicBezTo>
                  <a:cubicBezTo>
                    <a:pt x="411747" y="167789"/>
                    <a:pt x="402573" y="162575"/>
                    <a:pt x="401397" y="155322"/>
                  </a:cubicBezTo>
                  <a:cubicBezTo>
                    <a:pt x="400382" y="149607"/>
                    <a:pt x="411585" y="147468"/>
                    <a:pt x="419946" y="145462"/>
                  </a:cubicBezTo>
                  <a:cubicBezTo>
                    <a:pt x="435776" y="141652"/>
                    <a:pt x="451809" y="143123"/>
                    <a:pt x="468654" y="141518"/>
                  </a:cubicBezTo>
                  <a:cubicBezTo>
                    <a:pt x="479978" y="140449"/>
                    <a:pt x="490450" y="138577"/>
                    <a:pt x="502099" y="138176"/>
                  </a:cubicBezTo>
                  <a:cubicBezTo>
                    <a:pt x="518335" y="137608"/>
                    <a:pt x="506564" y="129887"/>
                    <a:pt x="514276" y="1300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8D2470E2-5064-4572-ADC9-D9676865D7A3}"/>
                </a:ext>
              </a:extLst>
            </p:cNvPr>
            <p:cNvSpPr/>
            <p:nvPr/>
          </p:nvSpPr>
          <p:spPr>
            <a:xfrm>
              <a:off x="6516987" y="3780341"/>
              <a:ext cx="310360" cy="117538"/>
            </a:xfrm>
            <a:custGeom>
              <a:avLst/>
              <a:gdLst>
                <a:gd name="connsiteX0" fmla="*/ 295038 w 310360"/>
                <a:gd name="connsiteY0" fmla="*/ 64095 h 117538"/>
                <a:gd name="connsiteX1" fmla="*/ 266625 w 310360"/>
                <a:gd name="connsiteY1" fmla="*/ 44509 h 117538"/>
                <a:gd name="connsiteX2" fmla="*/ 259278 w 310360"/>
                <a:gd name="connsiteY2" fmla="*/ 32610 h 117538"/>
                <a:gd name="connsiteX3" fmla="*/ 258101 w 310360"/>
                <a:gd name="connsiteY3" fmla="*/ 17469 h 117538"/>
                <a:gd name="connsiteX4" fmla="*/ 238049 w 310360"/>
                <a:gd name="connsiteY4" fmla="*/ 11687 h 117538"/>
                <a:gd name="connsiteX5" fmla="*/ 209637 w 310360"/>
                <a:gd name="connsiteY5" fmla="*/ 9748 h 117538"/>
                <a:gd name="connsiteX6" fmla="*/ 185608 w 310360"/>
                <a:gd name="connsiteY6" fmla="*/ 4333 h 117538"/>
                <a:gd name="connsiteX7" fmla="*/ 163040 w 310360"/>
                <a:gd name="connsiteY7" fmla="*/ 991 h 117538"/>
                <a:gd name="connsiteX8" fmla="*/ 142380 w 310360"/>
                <a:gd name="connsiteY8" fmla="*/ 5604 h 117538"/>
                <a:gd name="connsiteX9" fmla="*/ 117011 w 310360"/>
                <a:gd name="connsiteY9" fmla="*/ 15129 h 117538"/>
                <a:gd name="connsiteX10" fmla="*/ 86244 w 310360"/>
                <a:gd name="connsiteY10" fmla="*/ 30571 h 117538"/>
                <a:gd name="connsiteX11" fmla="*/ 78126 w 310360"/>
                <a:gd name="connsiteY11" fmla="*/ 40431 h 117538"/>
                <a:gd name="connsiteX12" fmla="*/ 51662 w 310360"/>
                <a:gd name="connsiteY12" fmla="*/ 45110 h 117538"/>
                <a:gd name="connsiteX13" fmla="*/ 24425 w 310360"/>
                <a:gd name="connsiteY13" fmla="*/ 44776 h 117538"/>
                <a:gd name="connsiteX14" fmla="*/ 18824 w 310360"/>
                <a:gd name="connsiteY14" fmla="*/ 58781 h 117538"/>
                <a:gd name="connsiteX15" fmla="*/ 1817 w 310360"/>
                <a:gd name="connsiteY15" fmla="*/ 79269 h 117538"/>
                <a:gd name="connsiteX16" fmla="*/ 9489 w 310360"/>
                <a:gd name="connsiteY16" fmla="*/ 87959 h 117538"/>
                <a:gd name="connsiteX17" fmla="*/ 21097 w 310360"/>
                <a:gd name="connsiteY17" fmla="*/ 100159 h 117538"/>
                <a:gd name="connsiteX18" fmla="*/ 40824 w 310360"/>
                <a:gd name="connsiteY18" fmla="*/ 93474 h 117538"/>
                <a:gd name="connsiteX19" fmla="*/ 72525 w 310360"/>
                <a:gd name="connsiteY19" fmla="*/ 94611 h 117538"/>
                <a:gd name="connsiteX20" fmla="*/ 122653 w 310360"/>
                <a:gd name="connsiteY20" fmla="*/ 102298 h 117538"/>
                <a:gd name="connsiteX21" fmla="*/ 149320 w 310360"/>
                <a:gd name="connsiteY21" fmla="*/ 107011 h 117538"/>
                <a:gd name="connsiteX22" fmla="*/ 168032 w 310360"/>
                <a:gd name="connsiteY22" fmla="*/ 108147 h 117538"/>
                <a:gd name="connsiteX23" fmla="*/ 189017 w 310360"/>
                <a:gd name="connsiteY23" fmla="*/ 110019 h 117538"/>
                <a:gd name="connsiteX24" fmla="*/ 209312 w 310360"/>
                <a:gd name="connsiteY24" fmla="*/ 113361 h 117538"/>
                <a:gd name="connsiteX25" fmla="*/ 230418 w 310360"/>
                <a:gd name="connsiteY25" fmla="*/ 116704 h 117538"/>
                <a:gd name="connsiteX26" fmla="*/ 241053 w 310360"/>
                <a:gd name="connsiteY26" fmla="*/ 108314 h 117538"/>
                <a:gd name="connsiteX27" fmla="*/ 279005 w 310360"/>
                <a:gd name="connsiteY27" fmla="*/ 101128 h 117538"/>
                <a:gd name="connsiteX28" fmla="*/ 284890 w 310360"/>
                <a:gd name="connsiteY28" fmla="*/ 79570 h 117538"/>
                <a:gd name="connsiteX29" fmla="*/ 295038 w 310360"/>
                <a:gd name="connsiteY29" fmla="*/ 64362 h 117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10360" h="117538">
                  <a:moveTo>
                    <a:pt x="295038" y="64095"/>
                  </a:moveTo>
                  <a:cubicBezTo>
                    <a:pt x="284931" y="62056"/>
                    <a:pt x="270968" y="49088"/>
                    <a:pt x="266625" y="44509"/>
                  </a:cubicBezTo>
                  <a:cubicBezTo>
                    <a:pt x="261551" y="39161"/>
                    <a:pt x="257208" y="38894"/>
                    <a:pt x="259278" y="32610"/>
                  </a:cubicBezTo>
                  <a:cubicBezTo>
                    <a:pt x="260171" y="30003"/>
                    <a:pt x="263784" y="19240"/>
                    <a:pt x="258101" y="17469"/>
                  </a:cubicBezTo>
                  <a:cubicBezTo>
                    <a:pt x="251607" y="15163"/>
                    <a:pt x="244869" y="13231"/>
                    <a:pt x="238049" y="11687"/>
                  </a:cubicBezTo>
                  <a:cubicBezTo>
                    <a:pt x="229485" y="9949"/>
                    <a:pt x="214183" y="14795"/>
                    <a:pt x="209637" y="9748"/>
                  </a:cubicBezTo>
                  <a:cubicBezTo>
                    <a:pt x="203548" y="3264"/>
                    <a:pt x="196161" y="5871"/>
                    <a:pt x="185608" y="4333"/>
                  </a:cubicBezTo>
                  <a:cubicBezTo>
                    <a:pt x="175054" y="2796"/>
                    <a:pt x="174648" y="-2886"/>
                    <a:pt x="163040" y="991"/>
                  </a:cubicBezTo>
                  <a:cubicBezTo>
                    <a:pt x="153907" y="4099"/>
                    <a:pt x="155612" y="6941"/>
                    <a:pt x="142380" y="5604"/>
                  </a:cubicBezTo>
                  <a:cubicBezTo>
                    <a:pt x="130933" y="4467"/>
                    <a:pt x="114819" y="8043"/>
                    <a:pt x="117011" y="15129"/>
                  </a:cubicBezTo>
                  <a:cubicBezTo>
                    <a:pt x="119649" y="23819"/>
                    <a:pt x="95579" y="24923"/>
                    <a:pt x="86244" y="30571"/>
                  </a:cubicBezTo>
                  <a:cubicBezTo>
                    <a:pt x="83606" y="32142"/>
                    <a:pt x="83200" y="40598"/>
                    <a:pt x="78126" y="40431"/>
                  </a:cubicBezTo>
                  <a:cubicBezTo>
                    <a:pt x="68953" y="39866"/>
                    <a:pt x="59739" y="41490"/>
                    <a:pt x="51662" y="45110"/>
                  </a:cubicBezTo>
                  <a:cubicBezTo>
                    <a:pt x="44233" y="47951"/>
                    <a:pt x="32950" y="45344"/>
                    <a:pt x="24425" y="44776"/>
                  </a:cubicBezTo>
                  <a:cubicBezTo>
                    <a:pt x="8961" y="43773"/>
                    <a:pt x="8190" y="53333"/>
                    <a:pt x="18824" y="58781"/>
                  </a:cubicBezTo>
                  <a:cubicBezTo>
                    <a:pt x="38794" y="68808"/>
                    <a:pt x="10706" y="74222"/>
                    <a:pt x="1817" y="79269"/>
                  </a:cubicBezTo>
                  <a:cubicBezTo>
                    <a:pt x="-4353" y="82845"/>
                    <a:pt x="6404" y="85085"/>
                    <a:pt x="9489" y="87959"/>
                  </a:cubicBezTo>
                  <a:cubicBezTo>
                    <a:pt x="15049" y="93173"/>
                    <a:pt x="-537" y="102766"/>
                    <a:pt x="21097" y="100159"/>
                  </a:cubicBezTo>
                  <a:cubicBezTo>
                    <a:pt x="29215" y="99190"/>
                    <a:pt x="32422" y="94377"/>
                    <a:pt x="40824" y="93474"/>
                  </a:cubicBezTo>
                  <a:cubicBezTo>
                    <a:pt x="50160" y="92271"/>
                    <a:pt x="63026" y="93909"/>
                    <a:pt x="72525" y="94611"/>
                  </a:cubicBezTo>
                  <a:cubicBezTo>
                    <a:pt x="90424" y="95914"/>
                    <a:pt x="105808" y="101596"/>
                    <a:pt x="122653" y="102298"/>
                  </a:cubicBezTo>
                  <a:cubicBezTo>
                    <a:pt x="132719" y="102699"/>
                    <a:pt x="139822" y="105640"/>
                    <a:pt x="149320" y="107011"/>
                  </a:cubicBezTo>
                  <a:cubicBezTo>
                    <a:pt x="158006" y="108381"/>
                    <a:pt x="158494" y="105874"/>
                    <a:pt x="168032" y="108147"/>
                  </a:cubicBezTo>
                  <a:cubicBezTo>
                    <a:pt x="175501" y="109952"/>
                    <a:pt x="182238" y="107312"/>
                    <a:pt x="189017" y="110019"/>
                  </a:cubicBezTo>
                  <a:cubicBezTo>
                    <a:pt x="198312" y="113662"/>
                    <a:pt x="198596" y="112927"/>
                    <a:pt x="209312" y="113361"/>
                  </a:cubicBezTo>
                  <a:cubicBezTo>
                    <a:pt x="215319" y="113528"/>
                    <a:pt x="225954" y="113963"/>
                    <a:pt x="230418" y="116704"/>
                  </a:cubicBezTo>
                  <a:cubicBezTo>
                    <a:pt x="234884" y="119444"/>
                    <a:pt x="238049" y="110019"/>
                    <a:pt x="241053" y="108314"/>
                  </a:cubicBezTo>
                  <a:cubicBezTo>
                    <a:pt x="255097" y="101228"/>
                    <a:pt x="261348" y="103869"/>
                    <a:pt x="279005" y="101128"/>
                  </a:cubicBezTo>
                  <a:cubicBezTo>
                    <a:pt x="271698" y="94711"/>
                    <a:pt x="258994" y="72083"/>
                    <a:pt x="284890" y="79570"/>
                  </a:cubicBezTo>
                  <a:cubicBezTo>
                    <a:pt x="307580" y="86255"/>
                    <a:pt x="323450" y="70111"/>
                    <a:pt x="295038" y="6436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DBDFB25D-697B-4680-8D63-7AE59619EFAB}"/>
                </a:ext>
              </a:extLst>
            </p:cNvPr>
            <p:cNvSpPr/>
            <p:nvPr/>
          </p:nvSpPr>
          <p:spPr>
            <a:xfrm>
              <a:off x="6446448" y="3728458"/>
              <a:ext cx="244029" cy="62102"/>
            </a:xfrm>
            <a:custGeom>
              <a:avLst/>
              <a:gdLst>
                <a:gd name="connsiteX0" fmla="*/ 80271 w 244029"/>
                <a:gd name="connsiteY0" fmla="*/ 38601 h 62102"/>
                <a:gd name="connsiteX1" fmla="*/ 154145 w 244029"/>
                <a:gd name="connsiteY1" fmla="*/ 47359 h 62102"/>
                <a:gd name="connsiteX2" fmla="*/ 173628 w 244029"/>
                <a:gd name="connsiteY2" fmla="*/ 55313 h 62102"/>
                <a:gd name="connsiteX3" fmla="*/ 190189 w 244029"/>
                <a:gd name="connsiteY3" fmla="*/ 61764 h 62102"/>
                <a:gd name="connsiteX4" fmla="*/ 205044 w 244029"/>
                <a:gd name="connsiteY4" fmla="*/ 57152 h 62102"/>
                <a:gd name="connsiteX5" fmla="*/ 225339 w 244029"/>
                <a:gd name="connsiteY5" fmla="*/ 57386 h 62102"/>
                <a:gd name="connsiteX6" fmla="*/ 243970 w 244029"/>
                <a:gd name="connsiteY6" fmla="*/ 51369 h 62102"/>
                <a:gd name="connsiteX7" fmla="*/ 232402 w 244029"/>
                <a:gd name="connsiteY7" fmla="*/ 37064 h 62102"/>
                <a:gd name="connsiteX8" fmla="*/ 225055 w 244029"/>
                <a:gd name="connsiteY8" fmla="*/ 20352 h 62102"/>
                <a:gd name="connsiteX9" fmla="*/ 197008 w 244029"/>
                <a:gd name="connsiteY9" fmla="*/ 13233 h 62102"/>
                <a:gd name="connsiteX10" fmla="*/ 175414 w 244029"/>
                <a:gd name="connsiteY10" fmla="*/ 9891 h 62102"/>
                <a:gd name="connsiteX11" fmla="*/ 127559 w 244029"/>
                <a:gd name="connsiteY11" fmla="*/ -337 h 62102"/>
                <a:gd name="connsiteX12" fmla="*/ 96954 w 244029"/>
                <a:gd name="connsiteY12" fmla="*/ 22257 h 62102"/>
                <a:gd name="connsiteX13" fmla="*/ 59084 w 244029"/>
                <a:gd name="connsiteY13" fmla="*/ 4643 h 62102"/>
                <a:gd name="connsiteX14" fmla="*/ 14881 w 244029"/>
                <a:gd name="connsiteY14" fmla="*/ 17277 h 62102"/>
                <a:gd name="connsiteX15" fmla="*/ 14881 w 244029"/>
                <a:gd name="connsiteY15" fmla="*/ 38936 h 62102"/>
                <a:gd name="connsiteX16" fmla="*/ 49504 w 244029"/>
                <a:gd name="connsiteY16" fmla="*/ 35593 h 62102"/>
                <a:gd name="connsiteX17" fmla="*/ 80271 w 244029"/>
                <a:gd name="connsiteY17" fmla="*/ 38601 h 6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4029" h="62102">
                  <a:moveTo>
                    <a:pt x="80271" y="38601"/>
                  </a:moveTo>
                  <a:cubicBezTo>
                    <a:pt x="107426" y="39738"/>
                    <a:pt x="131252" y="40273"/>
                    <a:pt x="154145" y="47359"/>
                  </a:cubicBezTo>
                  <a:cubicBezTo>
                    <a:pt x="160923" y="49531"/>
                    <a:pt x="167418" y="52192"/>
                    <a:pt x="173628" y="55313"/>
                  </a:cubicBezTo>
                  <a:cubicBezTo>
                    <a:pt x="178986" y="57736"/>
                    <a:pt x="184506" y="59889"/>
                    <a:pt x="190189" y="61764"/>
                  </a:cubicBezTo>
                  <a:cubicBezTo>
                    <a:pt x="194329" y="58850"/>
                    <a:pt x="199605" y="57218"/>
                    <a:pt x="205044" y="57152"/>
                  </a:cubicBezTo>
                  <a:cubicBezTo>
                    <a:pt x="211052" y="56951"/>
                    <a:pt x="220185" y="59558"/>
                    <a:pt x="225339" y="57386"/>
                  </a:cubicBezTo>
                  <a:cubicBezTo>
                    <a:pt x="232240" y="54478"/>
                    <a:pt x="233904" y="51837"/>
                    <a:pt x="243970" y="51369"/>
                  </a:cubicBezTo>
                  <a:cubicBezTo>
                    <a:pt x="239465" y="45888"/>
                    <a:pt x="239302" y="42211"/>
                    <a:pt x="232402" y="37064"/>
                  </a:cubicBezTo>
                  <a:cubicBezTo>
                    <a:pt x="224284" y="31148"/>
                    <a:pt x="234350" y="25867"/>
                    <a:pt x="225055" y="20352"/>
                  </a:cubicBezTo>
                  <a:cubicBezTo>
                    <a:pt x="215760" y="14837"/>
                    <a:pt x="211985" y="14503"/>
                    <a:pt x="197008" y="13233"/>
                  </a:cubicBezTo>
                  <a:cubicBezTo>
                    <a:pt x="187997" y="12498"/>
                    <a:pt x="183410" y="12798"/>
                    <a:pt x="175414" y="9891"/>
                  </a:cubicBezTo>
                  <a:cubicBezTo>
                    <a:pt x="156134" y="2905"/>
                    <a:pt x="152116" y="-136"/>
                    <a:pt x="127559" y="-337"/>
                  </a:cubicBezTo>
                  <a:cubicBezTo>
                    <a:pt x="96020" y="-571"/>
                    <a:pt x="130440" y="23060"/>
                    <a:pt x="96954" y="22257"/>
                  </a:cubicBezTo>
                  <a:cubicBezTo>
                    <a:pt x="75725" y="21756"/>
                    <a:pt x="69190" y="13200"/>
                    <a:pt x="59084" y="4643"/>
                  </a:cubicBezTo>
                  <a:cubicBezTo>
                    <a:pt x="48977" y="-3913"/>
                    <a:pt x="17357" y="11328"/>
                    <a:pt x="14881" y="17277"/>
                  </a:cubicBezTo>
                  <a:cubicBezTo>
                    <a:pt x="12649" y="22458"/>
                    <a:pt x="-17591" y="40674"/>
                    <a:pt x="14881" y="38936"/>
                  </a:cubicBezTo>
                  <a:cubicBezTo>
                    <a:pt x="27464" y="38301"/>
                    <a:pt x="36435" y="34858"/>
                    <a:pt x="49504" y="35593"/>
                  </a:cubicBezTo>
                  <a:cubicBezTo>
                    <a:pt x="59733" y="36228"/>
                    <a:pt x="69921" y="38167"/>
                    <a:pt x="80271" y="386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AF44F927-4564-4EFD-8747-62B9A063F068}"/>
                </a:ext>
              </a:extLst>
            </p:cNvPr>
            <p:cNvSpPr/>
            <p:nvPr/>
          </p:nvSpPr>
          <p:spPr>
            <a:xfrm>
              <a:off x="6444001" y="3764324"/>
              <a:ext cx="191040" cy="62949"/>
            </a:xfrm>
            <a:custGeom>
              <a:avLst/>
              <a:gdLst>
                <a:gd name="connsiteX0" fmla="*/ 24715 w 191040"/>
                <a:gd name="connsiteY0" fmla="*/ 28205 h 62949"/>
                <a:gd name="connsiteX1" fmla="*/ 62301 w 191040"/>
                <a:gd name="connsiteY1" fmla="*/ 41575 h 62949"/>
                <a:gd name="connsiteX2" fmla="*/ 85681 w 191040"/>
                <a:gd name="connsiteY2" fmla="*/ 58019 h 62949"/>
                <a:gd name="connsiteX3" fmla="*/ 140234 w 191040"/>
                <a:gd name="connsiteY3" fmla="*/ 56816 h 62949"/>
                <a:gd name="connsiteX4" fmla="*/ 174085 w 191040"/>
                <a:gd name="connsiteY4" fmla="*/ 41508 h 62949"/>
                <a:gd name="connsiteX5" fmla="*/ 183786 w 191040"/>
                <a:gd name="connsiteY5" fmla="*/ 22757 h 62949"/>
                <a:gd name="connsiteX6" fmla="*/ 156591 w 191040"/>
                <a:gd name="connsiteY6" fmla="*/ 11560 h 62949"/>
                <a:gd name="connsiteX7" fmla="*/ 135322 w 191040"/>
                <a:gd name="connsiteY7" fmla="*/ 5711 h 62949"/>
                <a:gd name="connsiteX8" fmla="*/ 110969 w 191040"/>
                <a:gd name="connsiteY8" fmla="*/ 5042 h 62949"/>
                <a:gd name="connsiteX9" fmla="*/ 78497 w 191040"/>
                <a:gd name="connsiteY9" fmla="*/ 2436 h 62949"/>
                <a:gd name="connsiteX10" fmla="*/ 44970 w 191040"/>
                <a:gd name="connsiteY10" fmla="*/ -339 h 62949"/>
                <a:gd name="connsiteX11" fmla="*/ 7221 w 191040"/>
                <a:gd name="connsiteY11" fmla="*/ 3472 h 62949"/>
                <a:gd name="connsiteX12" fmla="*/ 36 w 191040"/>
                <a:gd name="connsiteY12" fmla="*/ 24094 h 62949"/>
                <a:gd name="connsiteX13" fmla="*/ 24756 w 191040"/>
                <a:gd name="connsiteY13" fmla="*/ 28272 h 62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1040" h="62949">
                  <a:moveTo>
                    <a:pt x="24715" y="28205"/>
                  </a:moveTo>
                  <a:cubicBezTo>
                    <a:pt x="33604" y="35124"/>
                    <a:pt x="65305" y="30210"/>
                    <a:pt x="62301" y="41575"/>
                  </a:cubicBezTo>
                  <a:cubicBezTo>
                    <a:pt x="58243" y="55512"/>
                    <a:pt x="71028" y="48527"/>
                    <a:pt x="85681" y="58019"/>
                  </a:cubicBezTo>
                  <a:cubicBezTo>
                    <a:pt x="101673" y="68447"/>
                    <a:pt x="123633" y="58019"/>
                    <a:pt x="140234" y="56816"/>
                  </a:cubicBezTo>
                  <a:cubicBezTo>
                    <a:pt x="161178" y="55178"/>
                    <a:pt x="152411" y="44048"/>
                    <a:pt x="174085" y="41508"/>
                  </a:cubicBezTo>
                  <a:cubicBezTo>
                    <a:pt x="191295" y="39536"/>
                    <a:pt x="196816" y="27704"/>
                    <a:pt x="183786" y="22757"/>
                  </a:cubicBezTo>
                  <a:cubicBezTo>
                    <a:pt x="174370" y="19214"/>
                    <a:pt x="166658" y="14702"/>
                    <a:pt x="156591" y="11560"/>
                  </a:cubicBezTo>
                  <a:cubicBezTo>
                    <a:pt x="147824" y="8853"/>
                    <a:pt x="142750" y="9354"/>
                    <a:pt x="135322" y="5711"/>
                  </a:cubicBezTo>
                  <a:cubicBezTo>
                    <a:pt x="129640" y="2970"/>
                    <a:pt x="117665" y="5343"/>
                    <a:pt x="110969" y="5042"/>
                  </a:cubicBezTo>
                  <a:cubicBezTo>
                    <a:pt x="100293" y="4541"/>
                    <a:pt x="89172" y="3505"/>
                    <a:pt x="78497" y="2436"/>
                  </a:cubicBezTo>
                  <a:cubicBezTo>
                    <a:pt x="67415" y="938"/>
                    <a:pt x="56213" y="12"/>
                    <a:pt x="44970" y="-339"/>
                  </a:cubicBezTo>
                  <a:cubicBezTo>
                    <a:pt x="31981" y="-339"/>
                    <a:pt x="20900" y="3371"/>
                    <a:pt x="7221" y="3472"/>
                  </a:cubicBezTo>
                  <a:cubicBezTo>
                    <a:pt x="16272" y="13499"/>
                    <a:pt x="3162" y="15872"/>
                    <a:pt x="36" y="24094"/>
                  </a:cubicBezTo>
                  <a:cubicBezTo>
                    <a:pt x="-1709" y="28506"/>
                    <a:pt x="20859" y="25264"/>
                    <a:pt x="24756" y="2827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A1CF79A7-BC2D-4951-BA8C-4E26BCD90AFC}"/>
                </a:ext>
              </a:extLst>
            </p:cNvPr>
            <p:cNvSpPr/>
            <p:nvPr/>
          </p:nvSpPr>
          <p:spPr>
            <a:xfrm>
              <a:off x="5968715" y="3960557"/>
              <a:ext cx="145062" cy="40840"/>
            </a:xfrm>
            <a:custGeom>
              <a:avLst/>
              <a:gdLst>
                <a:gd name="connsiteX0" fmla="*/ 128848 w 145062"/>
                <a:gd name="connsiteY0" fmla="*/ 16336 h 40840"/>
                <a:gd name="connsiteX1" fmla="*/ 112206 w 145062"/>
                <a:gd name="connsiteY1" fmla="*/ 11857 h 40840"/>
                <a:gd name="connsiteX2" fmla="*/ 93291 w 145062"/>
                <a:gd name="connsiteY2" fmla="*/ 493 h 40840"/>
                <a:gd name="connsiteX3" fmla="*/ 32407 w 145062"/>
                <a:gd name="connsiteY3" fmla="*/ 5641 h 40840"/>
                <a:gd name="connsiteX4" fmla="*/ 463 w 145062"/>
                <a:gd name="connsiteY4" fmla="*/ 32814 h 40840"/>
                <a:gd name="connsiteX5" fmla="*/ 21042 w 145062"/>
                <a:gd name="connsiteY5" fmla="*/ 31978 h 40840"/>
                <a:gd name="connsiteX6" fmla="*/ 26887 w 145062"/>
                <a:gd name="connsiteY6" fmla="*/ 40501 h 40840"/>
                <a:gd name="connsiteX7" fmla="*/ 66746 w 145062"/>
                <a:gd name="connsiteY7" fmla="*/ 30474 h 40840"/>
                <a:gd name="connsiteX8" fmla="*/ 96295 w 145062"/>
                <a:gd name="connsiteY8" fmla="*/ 37694 h 40840"/>
                <a:gd name="connsiteX9" fmla="*/ 104048 w 145062"/>
                <a:gd name="connsiteY9" fmla="*/ 28636 h 40840"/>
                <a:gd name="connsiteX10" fmla="*/ 124343 w 145062"/>
                <a:gd name="connsiteY10" fmla="*/ 26497 h 40840"/>
                <a:gd name="connsiteX11" fmla="*/ 136885 w 145062"/>
                <a:gd name="connsiteY11" fmla="*/ 23422 h 40840"/>
                <a:gd name="connsiteX12" fmla="*/ 145003 w 145062"/>
                <a:gd name="connsiteY12" fmla="*/ 17339 h 40840"/>
                <a:gd name="connsiteX13" fmla="*/ 128767 w 145062"/>
                <a:gd name="connsiteY13" fmla="*/ 16303 h 40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062" h="40840">
                  <a:moveTo>
                    <a:pt x="128848" y="16336"/>
                  </a:moveTo>
                  <a:cubicBezTo>
                    <a:pt x="124383" y="17372"/>
                    <a:pt x="112247" y="14866"/>
                    <a:pt x="112206" y="11857"/>
                  </a:cubicBezTo>
                  <a:cubicBezTo>
                    <a:pt x="112206" y="3869"/>
                    <a:pt x="108147" y="2699"/>
                    <a:pt x="93291" y="493"/>
                  </a:cubicBezTo>
                  <a:cubicBezTo>
                    <a:pt x="76690" y="-2013"/>
                    <a:pt x="45883" y="1563"/>
                    <a:pt x="32407" y="5641"/>
                  </a:cubicBezTo>
                  <a:cubicBezTo>
                    <a:pt x="22746" y="8448"/>
                    <a:pt x="-4124" y="26764"/>
                    <a:pt x="463" y="32814"/>
                  </a:cubicBezTo>
                  <a:cubicBezTo>
                    <a:pt x="1883" y="34686"/>
                    <a:pt x="20758" y="23389"/>
                    <a:pt x="21042" y="31978"/>
                  </a:cubicBezTo>
                  <a:cubicBezTo>
                    <a:pt x="21042" y="35789"/>
                    <a:pt x="28510" y="36056"/>
                    <a:pt x="26887" y="40501"/>
                  </a:cubicBezTo>
                  <a:cubicBezTo>
                    <a:pt x="47182" y="39298"/>
                    <a:pt x="57329" y="40869"/>
                    <a:pt x="66746" y="30474"/>
                  </a:cubicBezTo>
                  <a:cubicBezTo>
                    <a:pt x="76163" y="20080"/>
                    <a:pt x="90410" y="45515"/>
                    <a:pt x="96295" y="37694"/>
                  </a:cubicBezTo>
                  <a:cubicBezTo>
                    <a:pt x="98731" y="34352"/>
                    <a:pt x="95199" y="29639"/>
                    <a:pt x="104048" y="28636"/>
                  </a:cubicBezTo>
                  <a:cubicBezTo>
                    <a:pt x="108553" y="28101"/>
                    <a:pt x="124586" y="31143"/>
                    <a:pt x="124343" y="26497"/>
                  </a:cubicBezTo>
                  <a:cubicBezTo>
                    <a:pt x="124099" y="21851"/>
                    <a:pt x="133638" y="26163"/>
                    <a:pt x="136885" y="23422"/>
                  </a:cubicBezTo>
                  <a:cubicBezTo>
                    <a:pt x="140132" y="20681"/>
                    <a:pt x="139645" y="19211"/>
                    <a:pt x="145003" y="17339"/>
                  </a:cubicBezTo>
                  <a:cubicBezTo>
                    <a:pt x="139808" y="15731"/>
                    <a:pt x="134206" y="15370"/>
                    <a:pt x="128767" y="1630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68F98B27-A133-466C-B018-288BC5295D5E}"/>
                </a:ext>
              </a:extLst>
            </p:cNvPr>
            <p:cNvSpPr/>
            <p:nvPr/>
          </p:nvSpPr>
          <p:spPr>
            <a:xfrm>
              <a:off x="5962009" y="3797513"/>
              <a:ext cx="292952" cy="169520"/>
            </a:xfrm>
            <a:custGeom>
              <a:avLst/>
              <a:gdLst>
                <a:gd name="connsiteX0" fmla="*/ 35907 w 292952"/>
                <a:gd name="connsiteY0" fmla="*/ 44750 h 169520"/>
                <a:gd name="connsiteX1" fmla="*/ 26693 w 292952"/>
                <a:gd name="connsiteY1" fmla="*/ 57083 h 169520"/>
                <a:gd name="connsiteX2" fmla="*/ 18575 w 292952"/>
                <a:gd name="connsiteY2" fmla="*/ 71255 h 169520"/>
                <a:gd name="connsiteX3" fmla="*/ 5139 w 292952"/>
                <a:gd name="connsiteY3" fmla="*/ 72425 h 169520"/>
                <a:gd name="connsiteX4" fmla="*/ 3394 w 292952"/>
                <a:gd name="connsiteY4" fmla="*/ 80513 h 169520"/>
                <a:gd name="connsiteX5" fmla="*/ 7697 w 292952"/>
                <a:gd name="connsiteY5" fmla="*/ 102372 h 169520"/>
                <a:gd name="connsiteX6" fmla="*/ 6276 w 292952"/>
                <a:gd name="connsiteY6" fmla="*/ 114371 h 169520"/>
                <a:gd name="connsiteX7" fmla="*/ 12973 w 292952"/>
                <a:gd name="connsiteY7" fmla="*/ 125267 h 169520"/>
                <a:gd name="connsiteX8" fmla="*/ 41386 w 292952"/>
                <a:gd name="connsiteY8" fmla="*/ 132152 h 169520"/>
                <a:gd name="connsiteX9" fmla="*/ 65740 w 292952"/>
                <a:gd name="connsiteY9" fmla="*/ 140575 h 169520"/>
                <a:gd name="connsiteX10" fmla="*/ 50235 w 292952"/>
                <a:gd name="connsiteY10" fmla="*/ 165075 h 169520"/>
                <a:gd name="connsiteX11" fmla="*/ 112946 w 292952"/>
                <a:gd name="connsiteY11" fmla="*/ 166278 h 169520"/>
                <a:gd name="connsiteX12" fmla="*/ 132794 w 292952"/>
                <a:gd name="connsiteY12" fmla="*/ 168450 h 169520"/>
                <a:gd name="connsiteX13" fmla="*/ 156336 w 292952"/>
                <a:gd name="connsiteY13" fmla="*/ 166011 h 169520"/>
                <a:gd name="connsiteX14" fmla="*/ 179716 w 292952"/>
                <a:gd name="connsiteY14" fmla="*/ 166211 h 169520"/>
                <a:gd name="connsiteX15" fmla="*/ 209225 w 292952"/>
                <a:gd name="connsiteY15" fmla="*/ 162568 h 169520"/>
                <a:gd name="connsiteX16" fmla="*/ 223350 w 292952"/>
                <a:gd name="connsiteY16" fmla="*/ 164373 h 169520"/>
                <a:gd name="connsiteX17" fmla="*/ 226841 w 292952"/>
                <a:gd name="connsiteY17" fmla="*/ 152073 h 169520"/>
                <a:gd name="connsiteX18" fmla="*/ 257364 w 292952"/>
                <a:gd name="connsiteY18" fmla="*/ 141444 h 169520"/>
                <a:gd name="connsiteX19" fmla="*/ 223553 w 292952"/>
                <a:gd name="connsiteY19" fmla="*/ 126704 h 169520"/>
                <a:gd name="connsiteX20" fmla="*/ 210605 w 292952"/>
                <a:gd name="connsiteY20" fmla="*/ 103308 h 169520"/>
                <a:gd name="connsiteX21" fmla="*/ 245065 w 292952"/>
                <a:gd name="connsiteY21" fmla="*/ 96623 h 169520"/>
                <a:gd name="connsiteX22" fmla="*/ 272220 w 292952"/>
                <a:gd name="connsiteY22" fmla="*/ 90473 h 169520"/>
                <a:gd name="connsiteX23" fmla="*/ 289836 w 292952"/>
                <a:gd name="connsiteY23" fmla="*/ 90473 h 169520"/>
                <a:gd name="connsiteX24" fmla="*/ 285452 w 292952"/>
                <a:gd name="connsiteY24" fmla="*/ 75600 h 169520"/>
                <a:gd name="connsiteX25" fmla="*/ 271489 w 292952"/>
                <a:gd name="connsiteY25" fmla="*/ 49797 h 169520"/>
                <a:gd name="connsiteX26" fmla="*/ 270393 w 292952"/>
                <a:gd name="connsiteY26" fmla="*/ 25197 h 169520"/>
                <a:gd name="connsiteX27" fmla="*/ 256146 w 292952"/>
                <a:gd name="connsiteY27" fmla="*/ 15638 h 169520"/>
                <a:gd name="connsiteX28" fmla="*/ 247744 w 292952"/>
                <a:gd name="connsiteY28" fmla="*/ 10658 h 169520"/>
                <a:gd name="connsiteX29" fmla="*/ 221239 w 292952"/>
                <a:gd name="connsiteY29" fmla="*/ 9254 h 169520"/>
                <a:gd name="connsiteX30" fmla="*/ 166037 w 292952"/>
                <a:gd name="connsiteY30" fmla="*/ 19582 h 169520"/>
                <a:gd name="connsiteX31" fmla="*/ 169000 w 292952"/>
                <a:gd name="connsiteY31" fmla="*/ 9555 h 169520"/>
                <a:gd name="connsiteX32" fmla="*/ 140222 w 292952"/>
                <a:gd name="connsiteY32" fmla="*/ 11226 h 169520"/>
                <a:gd name="connsiteX33" fmla="*/ 120171 w 292952"/>
                <a:gd name="connsiteY33" fmla="*/ 1199 h 169520"/>
                <a:gd name="connsiteX34" fmla="*/ 84776 w 292952"/>
                <a:gd name="connsiteY34" fmla="*/ -339 h 169520"/>
                <a:gd name="connsiteX35" fmla="*/ 99714 w 292952"/>
                <a:gd name="connsiteY35" fmla="*/ 22256 h 169520"/>
                <a:gd name="connsiteX36" fmla="*/ 83478 w 292952"/>
                <a:gd name="connsiteY36" fmla="*/ 30712 h 169520"/>
                <a:gd name="connsiteX37" fmla="*/ 45973 w 292952"/>
                <a:gd name="connsiteY37" fmla="*/ 27370 h 169520"/>
                <a:gd name="connsiteX38" fmla="*/ 36150 w 292952"/>
                <a:gd name="connsiteY38" fmla="*/ 45151 h 169520"/>
                <a:gd name="connsiteX39" fmla="*/ 35907 w 292952"/>
                <a:gd name="connsiteY39" fmla="*/ 44750 h 16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92952" h="169520">
                  <a:moveTo>
                    <a:pt x="35907" y="44750"/>
                  </a:moveTo>
                  <a:cubicBezTo>
                    <a:pt x="26693" y="52069"/>
                    <a:pt x="14394" y="49697"/>
                    <a:pt x="26693" y="57083"/>
                  </a:cubicBezTo>
                  <a:cubicBezTo>
                    <a:pt x="31807" y="60158"/>
                    <a:pt x="26206" y="69416"/>
                    <a:pt x="18575" y="71255"/>
                  </a:cubicBezTo>
                  <a:cubicBezTo>
                    <a:pt x="14191" y="72100"/>
                    <a:pt x="9645" y="72495"/>
                    <a:pt x="5139" y="72425"/>
                  </a:cubicBezTo>
                  <a:cubicBezTo>
                    <a:pt x="1649" y="72425"/>
                    <a:pt x="4206" y="79510"/>
                    <a:pt x="3394" y="80513"/>
                  </a:cubicBezTo>
                  <a:cubicBezTo>
                    <a:pt x="-3222" y="88835"/>
                    <a:pt x="471" y="95253"/>
                    <a:pt x="7697" y="102372"/>
                  </a:cubicBezTo>
                  <a:cubicBezTo>
                    <a:pt x="12527" y="107118"/>
                    <a:pt x="-705" y="108756"/>
                    <a:pt x="6276" y="114371"/>
                  </a:cubicBezTo>
                  <a:cubicBezTo>
                    <a:pt x="9889" y="117296"/>
                    <a:pt x="12243" y="121126"/>
                    <a:pt x="12973" y="125267"/>
                  </a:cubicBezTo>
                  <a:cubicBezTo>
                    <a:pt x="24460" y="126838"/>
                    <a:pt x="28032" y="132320"/>
                    <a:pt x="41386" y="132152"/>
                  </a:cubicBezTo>
                  <a:cubicBezTo>
                    <a:pt x="47718" y="132152"/>
                    <a:pt x="76902" y="135495"/>
                    <a:pt x="65740" y="140575"/>
                  </a:cubicBezTo>
                  <a:cubicBezTo>
                    <a:pt x="51290" y="147260"/>
                    <a:pt x="54781" y="156552"/>
                    <a:pt x="50235" y="165075"/>
                  </a:cubicBezTo>
                  <a:cubicBezTo>
                    <a:pt x="73452" y="165877"/>
                    <a:pt x="90824" y="160897"/>
                    <a:pt x="112946" y="166278"/>
                  </a:cubicBezTo>
                  <a:cubicBezTo>
                    <a:pt x="122119" y="168517"/>
                    <a:pt x="122688" y="164941"/>
                    <a:pt x="132794" y="168450"/>
                  </a:cubicBezTo>
                  <a:cubicBezTo>
                    <a:pt x="140912" y="171325"/>
                    <a:pt x="146067" y="164707"/>
                    <a:pt x="156336" y="166011"/>
                  </a:cubicBezTo>
                  <a:cubicBezTo>
                    <a:pt x="164454" y="167080"/>
                    <a:pt x="171923" y="170289"/>
                    <a:pt x="179716" y="166211"/>
                  </a:cubicBezTo>
                  <a:cubicBezTo>
                    <a:pt x="186210" y="162869"/>
                    <a:pt x="200660" y="162267"/>
                    <a:pt x="209225" y="162568"/>
                  </a:cubicBezTo>
                  <a:cubicBezTo>
                    <a:pt x="214136" y="162568"/>
                    <a:pt x="218357" y="164707"/>
                    <a:pt x="223350" y="164373"/>
                  </a:cubicBezTo>
                  <a:cubicBezTo>
                    <a:pt x="232199" y="163771"/>
                    <a:pt x="222741" y="154914"/>
                    <a:pt x="226841" y="152073"/>
                  </a:cubicBezTo>
                  <a:cubicBezTo>
                    <a:pt x="233741" y="147293"/>
                    <a:pt x="250667" y="146090"/>
                    <a:pt x="257364" y="141444"/>
                  </a:cubicBezTo>
                  <a:cubicBezTo>
                    <a:pt x="261423" y="138737"/>
                    <a:pt x="227774" y="128075"/>
                    <a:pt x="223553" y="126704"/>
                  </a:cubicBezTo>
                  <a:cubicBezTo>
                    <a:pt x="217627" y="124465"/>
                    <a:pt x="203501" y="103976"/>
                    <a:pt x="210605" y="103308"/>
                  </a:cubicBezTo>
                  <a:cubicBezTo>
                    <a:pt x="222051" y="101971"/>
                    <a:pt x="236014" y="100868"/>
                    <a:pt x="245065" y="96623"/>
                  </a:cubicBezTo>
                  <a:cubicBezTo>
                    <a:pt x="252696" y="93114"/>
                    <a:pt x="265360" y="93983"/>
                    <a:pt x="272220" y="90473"/>
                  </a:cubicBezTo>
                  <a:cubicBezTo>
                    <a:pt x="276969" y="88100"/>
                    <a:pt x="286264" y="93013"/>
                    <a:pt x="289836" y="90473"/>
                  </a:cubicBezTo>
                  <a:cubicBezTo>
                    <a:pt x="297548" y="84724"/>
                    <a:pt x="288618" y="80981"/>
                    <a:pt x="285452" y="75600"/>
                  </a:cubicBezTo>
                  <a:cubicBezTo>
                    <a:pt x="282286" y="70219"/>
                    <a:pt x="283504" y="53473"/>
                    <a:pt x="271489" y="49797"/>
                  </a:cubicBezTo>
                  <a:cubicBezTo>
                    <a:pt x="262762" y="47123"/>
                    <a:pt x="274980" y="31648"/>
                    <a:pt x="270393" y="25197"/>
                  </a:cubicBezTo>
                  <a:cubicBezTo>
                    <a:pt x="267512" y="21052"/>
                    <a:pt x="266741" y="16674"/>
                    <a:pt x="256146" y="15638"/>
                  </a:cubicBezTo>
                  <a:cubicBezTo>
                    <a:pt x="246486" y="14702"/>
                    <a:pt x="240276" y="15638"/>
                    <a:pt x="247744" y="10658"/>
                  </a:cubicBezTo>
                  <a:cubicBezTo>
                    <a:pt x="263615" y="-71"/>
                    <a:pt x="227450" y="10323"/>
                    <a:pt x="221239" y="9254"/>
                  </a:cubicBezTo>
                  <a:cubicBezTo>
                    <a:pt x="203258" y="6079"/>
                    <a:pt x="180893" y="29007"/>
                    <a:pt x="166037" y="19582"/>
                  </a:cubicBezTo>
                  <a:cubicBezTo>
                    <a:pt x="160395" y="16039"/>
                    <a:pt x="172897" y="11426"/>
                    <a:pt x="169000" y="9555"/>
                  </a:cubicBezTo>
                  <a:cubicBezTo>
                    <a:pt x="165104" y="7683"/>
                    <a:pt x="146757" y="12028"/>
                    <a:pt x="140222" y="11226"/>
                  </a:cubicBezTo>
                  <a:cubicBezTo>
                    <a:pt x="124351" y="9221"/>
                    <a:pt x="136163" y="931"/>
                    <a:pt x="120171" y="1199"/>
                  </a:cubicBezTo>
                  <a:cubicBezTo>
                    <a:pt x="108684" y="1399"/>
                    <a:pt x="96507" y="-305"/>
                    <a:pt x="84776" y="-339"/>
                  </a:cubicBezTo>
                  <a:cubicBezTo>
                    <a:pt x="93625" y="6145"/>
                    <a:pt x="91839" y="14635"/>
                    <a:pt x="99714" y="22256"/>
                  </a:cubicBezTo>
                  <a:cubicBezTo>
                    <a:pt x="102595" y="25063"/>
                    <a:pt x="87821" y="29843"/>
                    <a:pt x="83478" y="30712"/>
                  </a:cubicBezTo>
                  <a:cubicBezTo>
                    <a:pt x="72721" y="32751"/>
                    <a:pt x="58393" y="26300"/>
                    <a:pt x="45973" y="27370"/>
                  </a:cubicBezTo>
                  <a:cubicBezTo>
                    <a:pt x="24582" y="29074"/>
                    <a:pt x="44105" y="38767"/>
                    <a:pt x="36150" y="45151"/>
                  </a:cubicBezTo>
                  <a:cubicBezTo>
                    <a:pt x="28195" y="51535"/>
                    <a:pt x="38707" y="42510"/>
                    <a:pt x="35907" y="447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D7226040-690D-405F-AEDC-E23BB6EB3CB7}"/>
                </a:ext>
              </a:extLst>
            </p:cNvPr>
            <p:cNvSpPr/>
            <p:nvPr/>
          </p:nvSpPr>
          <p:spPr>
            <a:xfrm>
              <a:off x="6460765" y="3401638"/>
              <a:ext cx="358021" cy="275616"/>
            </a:xfrm>
            <a:custGeom>
              <a:avLst/>
              <a:gdLst>
                <a:gd name="connsiteX0" fmla="*/ 302349 w 358021"/>
                <a:gd name="connsiteY0" fmla="*/ 241220 h 275616"/>
                <a:gd name="connsiteX1" fmla="*/ 357957 w 358021"/>
                <a:gd name="connsiteY1" fmla="*/ 216319 h 275616"/>
                <a:gd name="connsiteX2" fmla="*/ 309818 w 358021"/>
                <a:gd name="connsiteY2" fmla="*/ 184299 h 275616"/>
                <a:gd name="connsiteX3" fmla="*/ 325688 w 358021"/>
                <a:gd name="connsiteY3" fmla="*/ 175542 h 275616"/>
                <a:gd name="connsiteX4" fmla="*/ 315135 w 358021"/>
                <a:gd name="connsiteY4" fmla="*/ 161738 h 275616"/>
                <a:gd name="connsiteX5" fmla="*/ 300726 w 358021"/>
                <a:gd name="connsiteY5" fmla="*/ 152179 h 275616"/>
                <a:gd name="connsiteX6" fmla="*/ 304257 w 358021"/>
                <a:gd name="connsiteY6" fmla="*/ 135634 h 275616"/>
                <a:gd name="connsiteX7" fmla="*/ 319559 w 358021"/>
                <a:gd name="connsiteY7" fmla="*/ 130019 h 275616"/>
                <a:gd name="connsiteX8" fmla="*/ 294556 w 358021"/>
                <a:gd name="connsiteY8" fmla="*/ 105954 h 275616"/>
                <a:gd name="connsiteX9" fmla="*/ 320209 w 358021"/>
                <a:gd name="connsiteY9" fmla="*/ 77979 h 275616"/>
                <a:gd name="connsiteX10" fmla="*/ 299386 w 358021"/>
                <a:gd name="connsiteY10" fmla="*/ 65044 h 275616"/>
                <a:gd name="connsiteX11" fmla="*/ 270608 w 358021"/>
                <a:gd name="connsiteY11" fmla="*/ 52109 h 275616"/>
                <a:gd name="connsiteX12" fmla="*/ 298452 w 358021"/>
                <a:gd name="connsiteY12" fmla="*/ 16680 h 275616"/>
                <a:gd name="connsiteX13" fmla="*/ 267361 w 358021"/>
                <a:gd name="connsiteY13" fmla="*/ 6218 h 275616"/>
                <a:gd name="connsiteX14" fmla="*/ 235376 w 358021"/>
                <a:gd name="connsiteY14" fmla="*/ 2408 h 275616"/>
                <a:gd name="connsiteX15" fmla="*/ 204609 w 358021"/>
                <a:gd name="connsiteY15" fmla="*/ 2575 h 275616"/>
                <a:gd name="connsiteX16" fmla="*/ 178631 w 358021"/>
                <a:gd name="connsiteY16" fmla="*/ 12335 h 275616"/>
                <a:gd name="connsiteX17" fmla="*/ 177779 w 358021"/>
                <a:gd name="connsiteY17" fmla="*/ 27843 h 275616"/>
                <a:gd name="connsiteX18" fmla="*/ 158215 w 358021"/>
                <a:gd name="connsiteY18" fmla="*/ 32556 h 275616"/>
                <a:gd name="connsiteX19" fmla="*/ 106301 w 358021"/>
                <a:gd name="connsiteY19" fmla="*/ 32556 h 275616"/>
                <a:gd name="connsiteX20" fmla="*/ 61043 w 358021"/>
                <a:gd name="connsiteY20" fmla="*/ 28645 h 275616"/>
                <a:gd name="connsiteX21" fmla="*/ 29748 w 358021"/>
                <a:gd name="connsiteY21" fmla="*/ 14908 h 275616"/>
                <a:gd name="connsiteX22" fmla="*/ 10509 w 358021"/>
                <a:gd name="connsiteY22" fmla="*/ 18886 h 275616"/>
                <a:gd name="connsiteX23" fmla="*/ 19844 w 358021"/>
                <a:gd name="connsiteY23" fmla="*/ 28345 h 275616"/>
                <a:gd name="connsiteX24" fmla="*/ 72611 w 358021"/>
                <a:gd name="connsiteY24" fmla="*/ 44321 h 275616"/>
                <a:gd name="connsiteX25" fmla="*/ 91769 w 358021"/>
                <a:gd name="connsiteY25" fmla="*/ 57457 h 275616"/>
                <a:gd name="connsiteX26" fmla="*/ 97249 w 358021"/>
                <a:gd name="connsiteY26" fmla="*/ 74837 h 275616"/>
                <a:gd name="connsiteX27" fmla="*/ 97858 w 358021"/>
                <a:gd name="connsiteY27" fmla="*/ 83928 h 275616"/>
                <a:gd name="connsiteX28" fmla="*/ 106503 w 358021"/>
                <a:gd name="connsiteY28" fmla="*/ 90078 h 275616"/>
                <a:gd name="connsiteX29" fmla="*/ 96762 w 358021"/>
                <a:gd name="connsiteY29" fmla="*/ 103849 h 275616"/>
                <a:gd name="connsiteX30" fmla="*/ 106747 w 358021"/>
                <a:gd name="connsiteY30" fmla="*/ 111436 h 275616"/>
                <a:gd name="connsiteX31" fmla="*/ 128016 w 358021"/>
                <a:gd name="connsiteY31" fmla="*/ 122633 h 275616"/>
                <a:gd name="connsiteX32" fmla="*/ 148311 w 358021"/>
                <a:gd name="connsiteY32" fmla="*/ 142286 h 275616"/>
                <a:gd name="connsiteX33" fmla="*/ 125256 w 358021"/>
                <a:gd name="connsiteY33" fmla="*/ 147399 h 275616"/>
                <a:gd name="connsiteX34" fmla="*/ 91080 w 358021"/>
                <a:gd name="connsiteY34" fmla="*/ 166250 h 275616"/>
                <a:gd name="connsiteX35" fmla="*/ 57471 w 358021"/>
                <a:gd name="connsiteY35" fmla="*/ 174640 h 275616"/>
                <a:gd name="connsiteX36" fmla="*/ 27516 w 358021"/>
                <a:gd name="connsiteY36" fmla="*/ 187274 h 275616"/>
                <a:gd name="connsiteX37" fmla="*/ 483 w 358021"/>
                <a:gd name="connsiteY37" fmla="*/ 199808 h 275616"/>
                <a:gd name="connsiteX38" fmla="*/ 8601 w 358021"/>
                <a:gd name="connsiteY38" fmla="*/ 215717 h 275616"/>
                <a:gd name="connsiteX39" fmla="*/ 16394 w 358021"/>
                <a:gd name="connsiteY39" fmla="*/ 229287 h 275616"/>
                <a:gd name="connsiteX40" fmla="*/ 1823 w 358021"/>
                <a:gd name="connsiteY40" fmla="*/ 255491 h 275616"/>
                <a:gd name="connsiteX41" fmla="*/ 35471 w 358021"/>
                <a:gd name="connsiteY41" fmla="*/ 263379 h 275616"/>
                <a:gd name="connsiteX42" fmla="*/ 47446 w 358021"/>
                <a:gd name="connsiteY42" fmla="*/ 267958 h 275616"/>
                <a:gd name="connsiteX43" fmla="*/ 61855 w 358021"/>
                <a:gd name="connsiteY43" fmla="*/ 270031 h 275616"/>
                <a:gd name="connsiteX44" fmla="*/ 105489 w 358021"/>
                <a:gd name="connsiteY44" fmla="*/ 275178 h 275616"/>
                <a:gd name="connsiteX45" fmla="*/ 208871 w 358021"/>
                <a:gd name="connsiteY45" fmla="*/ 268861 h 275616"/>
                <a:gd name="connsiteX46" fmla="*/ 253520 w 358021"/>
                <a:gd name="connsiteY46" fmla="*/ 257163 h 275616"/>
                <a:gd name="connsiteX47" fmla="*/ 302674 w 358021"/>
                <a:gd name="connsiteY47" fmla="*/ 241286 h 275616"/>
                <a:gd name="connsiteX48" fmla="*/ 302349 w 358021"/>
                <a:gd name="connsiteY48" fmla="*/ 241220 h 27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58021" h="275616">
                  <a:moveTo>
                    <a:pt x="302349" y="241220"/>
                  </a:moveTo>
                  <a:cubicBezTo>
                    <a:pt x="312983" y="231192"/>
                    <a:pt x="358485" y="229588"/>
                    <a:pt x="357957" y="216319"/>
                  </a:cubicBezTo>
                  <a:cubicBezTo>
                    <a:pt x="357673" y="208164"/>
                    <a:pt x="298169" y="186873"/>
                    <a:pt x="309818" y="184299"/>
                  </a:cubicBezTo>
                  <a:cubicBezTo>
                    <a:pt x="316475" y="182795"/>
                    <a:pt x="334943" y="181659"/>
                    <a:pt x="325688" y="175542"/>
                  </a:cubicBezTo>
                  <a:cubicBezTo>
                    <a:pt x="316434" y="169426"/>
                    <a:pt x="303323" y="168857"/>
                    <a:pt x="315135" y="161738"/>
                  </a:cubicBezTo>
                  <a:cubicBezTo>
                    <a:pt x="321345" y="158095"/>
                    <a:pt x="292486" y="154820"/>
                    <a:pt x="300726" y="152179"/>
                  </a:cubicBezTo>
                  <a:cubicBezTo>
                    <a:pt x="316109" y="147266"/>
                    <a:pt x="292608" y="141951"/>
                    <a:pt x="304257" y="135634"/>
                  </a:cubicBezTo>
                  <a:cubicBezTo>
                    <a:pt x="309087" y="133094"/>
                    <a:pt x="322482" y="135133"/>
                    <a:pt x="319559" y="130019"/>
                  </a:cubicBezTo>
                  <a:cubicBezTo>
                    <a:pt x="314892" y="121764"/>
                    <a:pt x="303323" y="113307"/>
                    <a:pt x="294556" y="105954"/>
                  </a:cubicBezTo>
                  <a:cubicBezTo>
                    <a:pt x="271826" y="86335"/>
                    <a:pt x="318910" y="93186"/>
                    <a:pt x="320209" y="77979"/>
                  </a:cubicBezTo>
                  <a:cubicBezTo>
                    <a:pt x="320614" y="73801"/>
                    <a:pt x="305231" y="67617"/>
                    <a:pt x="299386" y="65044"/>
                  </a:cubicBezTo>
                  <a:cubicBezTo>
                    <a:pt x="287209" y="59663"/>
                    <a:pt x="279091" y="60064"/>
                    <a:pt x="270608" y="52109"/>
                  </a:cubicBezTo>
                  <a:cubicBezTo>
                    <a:pt x="255509" y="38171"/>
                    <a:pt x="320899" y="30952"/>
                    <a:pt x="298452" y="16680"/>
                  </a:cubicBezTo>
                  <a:cubicBezTo>
                    <a:pt x="290822" y="11833"/>
                    <a:pt x="276169" y="10563"/>
                    <a:pt x="267361" y="6218"/>
                  </a:cubicBezTo>
                  <a:cubicBezTo>
                    <a:pt x="258553" y="1873"/>
                    <a:pt x="246822" y="-3809"/>
                    <a:pt x="235376" y="2408"/>
                  </a:cubicBezTo>
                  <a:cubicBezTo>
                    <a:pt x="229937" y="5416"/>
                    <a:pt x="212077" y="2074"/>
                    <a:pt x="204609" y="2575"/>
                  </a:cubicBezTo>
                  <a:cubicBezTo>
                    <a:pt x="195598" y="5132"/>
                    <a:pt x="186871" y="8401"/>
                    <a:pt x="178631" y="12335"/>
                  </a:cubicBezTo>
                  <a:cubicBezTo>
                    <a:pt x="171813" y="16580"/>
                    <a:pt x="183421" y="23365"/>
                    <a:pt x="177779" y="27843"/>
                  </a:cubicBezTo>
                  <a:cubicBezTo>
                    <a:pt x="172137" y="32322"/>
                    <a:pt x="160529" y="25370"/>
                    <a:pt x="158215" y="32556"/>
                  </a:cubicBezTo>
                  <a:cubicBezTo>
                    <a:pt x="152370" y="50906"/>
                    <a:pt x="119614" y="22930"/>
                    <a:pt x="106301" y="32556"/>
                  </a:cubicBezTo>
                  <a:cubicBezTo>
                    <a:pt x="99766" y="37269"/>
                    <a:pt x="68511" y="30985"/>
                    <a:pt x="61043" y="28645"/>
                  </a:cubicBezTo>
                  <a:cubicBezTo>
                    <a:pt x="49962" y="25303"/>
                    <a:pt x="43265" y="16212"/>
                    <a:pt x="29748" y="14908"/>
                  </a:cubicBezTo>
                  <a:cubicBezTo>
                    <a:pt x="22970" y="14334"/>
                    <a:pt x="16150" y="15744"/>
                    <a:pt x="10509" y="18886"/>
                  </a:cubicBezTo>
                  <a:cubicBezTo>
                    <a:pt x="1660" y="23899"/>
                    <a:pt x="11970" y="24668"/>
                    <a:pt x="19844" y="28345"/>
                  </a:cubicBezTo>
                  <a:cubicBezTo>
                    <a:pt x="35756" y="35698"/>
                    <a:pt x="53534" y="39375"/>
                    <a:pt x="72611" y="44321"/>
                  </a:cubicBezTo>
                  <a:cubicBezTo>
                    <a:pt x="85519" y="47664"/>
                    <a:pt x="94976" y="50204"/>
                    <a:pt x="91769" y="57457"/>
                  </a:cubicBezTo>
                  <a:cubicBezTo>
                    <a:pt x="88238" y="65378"/>
                    <a:pt x="97290" y="68186"/>
                    <a:pt x="97249" y="74837"/>
                  </a:cubicBezTo>
                  <a:cubicBezTo>
                    <a:pt x="97249" y="77711"/>
                    <a:pt x="95463" y="81054"/>
                    <a:pt x="97858" y="83928"/>
                  </a:cubicBezTo>
                  <a:cubicBezTo>
                    <a:pt x="100253" y="86803"/>
                    <a:pt x="105205" y="86970"/>
                    <a:pt x="106503" y="90078"/>
                  </a:cubicBezTo>
                  <a:cubicBezTo>
                    <a:pt x="109061" y="96195"/>
                    <a:pt x="93799" y="100774"/>
                    <a:pt x="96762" y="103849"/>
                  </a:cubicBezTo>
                  <a:cubicBezTo>
                    <a:pt x="99725" y="106924"/>
                    <a:pt x="104880" y="108595"/>
                    <a:pt x="106747" y="111436"/>
                  </a:cubicBezTo>
                  <a:cubicBezTo>
                    <a:pt x="112227" y="119257"/>
                    <a:pt x="112145" y="118120"/>
                    <a:pt x="128016" y="122633"/>
                  </a:cubicBezTo>
                  <a:cubicBezTo>
                    <a:pt x="147418" y="128114"/>
                    <a:pt x="148920" y="132058"/>
                    <a:pt x="148311" y="142286"/>
                  </a:cubicBezTo>
                  <a:cubicBezTo>
                    <a:pt x="147946" y="147901"/>
                    <a:pt x="132400" y="140949"/>
                    <a:pt x="125256" y="147399"/>
                  </a:cubicBezTo>
                  <a:cubicBezTo>
                    <a:pt x="116570" y="155254"/>
                    <a:pt x="110319" y="163209"/>
                    <a:pt x="91080" y="166250"/>
                  </a:cubicBezTo>
                  <a:cubicBezTo>
                    <a:pt x="77807" y="168356"/>
                    <a:pt x="70460" y="172133"/>
                    <a:pt x="57471" y="174640"/>
                  </a:cubicBezTo>
                  <a:cubicBezTo>
                    <a:pt x="40302" y="177982"/>
                    <a:pt x="50003" y="187374"/>
                    <a:pt x="27516" y="187274"/>
                  </a:cubicBezTo>
                  <a:cubicBezTo>
                    <a:pt x="16678" y="187936"/>
                    <a:pt x="6775" y="192531"/>
                    <a:pt x="483" y="199808"/>
                  </a:cubicBezTo>
                  <a:cubicBezTo>
                    <a:pt x="-2805" y="204253"/>
                    <a:pt x="9981" y="210269"/>
                    <a:pt x="8601" y="215717"/>
                  </a:cubicBezTo>
                  <a:cubicBezTo>
                    <a:pt x="7343" y="220463"/>
                    <a:pt x="14689" y="224675"/>
                    <a:pt x="16394" y="229287"/>
                  </a:cubicBezTo>
                  <a:cubicBezTo>
                    <a:pt x="19520" y="237911"/>
                    <a:pt x="-4185" y="247971"/>
                    <a:pt x="1823" y="255491"/>
                  </a:cubicBezTo>
                  <a:cubicBezTo>
                    <a:pt x="2878" y="256795"/>
                    <a:pt x="31656" y="263413"/>
                    <a:pt x="35471" y="263379"/>
                  </a:cubicBezTo>
                  <a:cubicBezTo>
                    <a:pt x="41398" y="263379"/>
                    <a:pt x="44158" y="265986"/>
                    <a:pt x="47446" y="267958"/>
                  </a:cubicBezTo>
                  <a:cubicBezTo>
                    <a:pt x="52113" y="270766"/>
                    <a:pt x="56456" y="268761"/>
                    <a:pt x="61855" y="270031"/>
                  </a:cubicBezTo>
                  <a:cubicBezTo>
                    <a:pt x="75899" y="273985"/>
                    <a:pt x="90674" y="275729"/>
                    <a:pt x="105489" y="275178"/>
                  </a:cubicBezTo>
                  <a:cubicBezTo>
                    <a:pt x="140518" y="273640"/>
                    <a:pt x="173193" y="267958"/>
                    <a:pt x="208871" y="268861"/>
                  </a:cubicBezTo>
                  <a:cubicBezTo>
                    <a:pt x="233671" y="269529"/>
                    <a:pt x="234808" y="263045"/>
                    <a:pt x="253520" y="257163"/>
                  </a:cubicBezTo>
                  <a:cubicBezTo>
                    <a:pt x="269066" y="252249"/>
                    <a:pt x="293501" y="249976"/>
                    <a:pt x="302674" y="241286"/>
                  </a:cubicBezTo>
                  <a:cubicBezTo>
                    <a:pt x="311847" y="232596"/>
                    <a:pt x="293379" y="249742"/>
                    <a:pt x="302349" y="2412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1C97527E-3F06-4E00-9909-F82EA891CEC8}"/>
                </a:ext>
              </a:extLst>
            </p:cNvPr>
            <p:cNvSpPr/>
            <p:nvPr/>
          </p:nvSpPr>
          <p:spPr>
            <a:xfrm>
              <a:off x="6832069" y="4319272"/>
              <a:ext cx="611059" cy="299682"/>
            </a:xfrm>
            <a:custGeom>
              <a:avLst/>
              <a:gdLst>
                <a:gd name="connsiteX0" fmla="*/ 384432 w 611059"/>
                <a:gd name="connsiteY0" fmla="*/ 86178 h 299682"/>
                <a:gd name="connsiteX1" fmla="*/ 333289 w 611059"/>
                <a:gd name="connsiteY1" fmla="*/ 76552 h 299682"/>
                <a:gd name="connsiteX2" fmla="*/ 280523 w 611059"/>
                <a:gd name="connsiteY2" fmla="*/ 55863 h 299682"/>
                <a:gd name="connsiteX3" fmla="*/ 179819 w 611059"/>
                <a:gd name="connsiteY3" fmla="*/ 4792 h 299682"/>
                <a:gd name="connsiteX4" fmla="*/ 126443 w 611059"/>
                <a:gd name="connsiteY4" fmla="*/ 1449 h 299682"/>
                <a:gd name="connsiteX5" fmla="*/ 86259 w 611059"/>
                <a:gd name="connsiteY5" fmla="*/ 12145 h 299682"/>
                <a:gd name="connsiteX6" fmla="*/ 74529 w 611059"/>
                <a:gd name="connsiteY6" fmla="*/ 32199 h 299682"/>
                <a:gd name="connsiteX7" fmla="*/ 49689 w 611059"/>
                <a:gd name="connsiteY7" fmla="*/ 42627 h 299682"/>
                <a:gd name="connsiteX8" fmla="*/ 6704 w 611059"/>
                <a:gd name="connsiteY8" fmla="*/ 33536 h 299682"/>
                <a:gd name="connsiteX9" fmla="*/ 26674 w 611059"/>
                <a:gd name="connsiteY9" fmla="*/ 81265 h 299682"/>
                <a:gd name="connsiteX10" fmla="*/ 60404 w 611059"/>
                <a:gd name="connsiteY10" fmla="*/ 114087 h 299682"/>
                <a:gd name="connsiteX11" fmla="*/ 86259 w 611059"/>
                <a:gd name="connsiteY11" fmla="*/ 144168 h 299682"/>
                <a:gd name="connsiteX12" fmla="*/ 116783 w 611059"/>
                <a:gd name="connsiteY12" fmla="*/ 173547 h 299682"/>
                <a:gd name="connsiteX13" fmla="*/ 130462 w 611059"/>
                <a:gd name="connsiteY13" fmla="*/ 213221 h 299682"/>
                <a:gd name="connsiteX14" fmla="*/ 156642 w 611059"/>
                <a:gd name="connsiteY14" fmla="*/ 229164 h 299682"/>
                <a:gd name="connsiteX15" fmla="*/ 172878 w 611059"/>
                <a:gd name="connsiteY15" fmla="*/ 252928 h 299682"/>
                <a:gd name="connsiteX16" fmla="*/ 205350 w 611059"/>
                <a:gd name="connsiteY16" fmla="*/ 295410 h 299682"/>
                <a:gd name="connsiteX17" fmla="*/ 219232 w 611059"/>
                <a:gd name="connsiteY17" fmla="*/ 286118 h 299682"/>
                <a:gd name="connsiteX18" fmla="*/ 242409 w 611059"/>
                <a:gd name="connsiteY18" fmla="*/ 280436 h 299682"/>
                <a:gd name="connsiteX19" fmla="*/ 273379 w 611059"/>
                <a:gd name="connsiteY19" fmla="*/ 284881 h 299682"/>
                <a:gd name="connsiteX20" fmla="*/ 296352 w 611059"/>
                <a:gd name="connsiteY20" fmla="*/ 290363 h 299682"/>
                <a:gd name="connsiteX21" fmla="*/ 352407 w 611059"/>
                <a:gd name="connsiteY21" fmla="*/ 296112 h 299682"/>
                <a:gd name="connsiteX22" fmla="*/ 397502 w 611059"/>
                <a:gd name="connsiteY22" fmla="*/ 280302 h 299682"/>
                <a:gd name="connsiteX23" fmla="*/ 450269 w 611059"/>
                <a:gd name="connsiteY23" fmla="*/ 284614 h 299682"/>
                <a:gd name="connsiteX24" fmla="*/ 493132 w 611059"/>
                <a:gd name="connsiteY24" fmla="*/ 284614 h 299682"/>
                <a:gd name="connsiteX25" fmla="*/ 553245 w 611059"/>
                <a:gd name="connsiteY25" fmla="*/ 282408 h 299682"/>
                <a:gd name="connsiteX26" fmla="*/ 586407 w 611059"/>
                <a:gd name="connsiteY26" fmla="*/ 279066 h 299682"/>
                <a:gd name="connsiteX27" fmla="*/ 591805 w 611059"/>
                <a:gd name="connsiteY27" fmla="*/ 233208 h 299682"/>
                <a:gd name="connsiteX28" fmla="*/ 535994 w 611059"/>
                <a:gd name="connsiteY28" fmla="*/ 221243 h 299682"/>
                <a:gd name="connsiteX29" fmla="*/ 502954 w 611059"/>
                <a:gd name="connsiteY29" fmla="*/ 193668 h 299682"/>
                <a:gd name="connsiteX30" fmla="*/ 497271 w 611059"/>
                <a:gd name="connsiteY30" fmla="*/ 184744 h 299682"/>
                <a:gd name="connsiteX31" fmla="*/ 484648 w 611059"/>
                <a:gd name="connsiteY31" fmla="*/ 181770 h 299682"/>
                <a:gd name="connsiteX32" fmla="*/ 466342 w 611059"/>
                <a:gd name="connsiteY32" fmla="*/ 164490 h 299682"/>
                <a:gd name="connsiteX33" fmla="*/ 452136 w 611059"/>
                <a:gd name="connsiteY33" fmla="*/ 131267 h 299682"/>
                <a:gd name="connsiteX34" fmla="*/ 431313 w 611059"/>
                <a:gd name="connsiteY34" fmla="*/ 115758 h 299682"/>
                <a:gd name="connsiteX35" fmla="*/ 421450 w 611059"/>
                <a:gd name="connsiteY35" fmla="*/ 99380 h 299682"/>
                <a:gd name="connsiteX36" fmla="*/ 384432 w 611059"/>
                <a:gd name="connsiteY36" fmla="*/ 86178 h 29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11059" h="299682">
                  <a:moveTo>
                    <a:pt x="384432" y="86178"/>
                  </a:moveTo>
                  <a:cubicBezTo>
                    <a:pt x="367465" y="82836"/>
                    <a:pt x="350459" y="79259"/>
                    <a:pt x="333289" y="76552"/>
                  </a:cubicBezTo>
                  <a:cubicBezTo>
                    <a:pt x="309706" y="72875"/>
                    <a:pt x="297083" y="65623"/>
                    <a:pt x="280523" y="55863"/>
                  </a:cubicBezTo>
                  <a:cubicBezTo>
                    <a:pt x="248659" y="36674"/>
                    <a:pt x="214970" y="19598"/>
                    <a:pt x="179819" y="4792"/>
                  </a:cubicBezTo>
                  <a:cubicBezTo>
                    <a:pt x="162081" y="-2361"/>
                    <a:pt x="144303" y="-556"/>
                    <a:pt x="126443" y="1449"/>
                  </a:cubicBezTo>
                  <a:cubicBezTo>
                    <a:pt x="114916" y="2619"/>
                    <a:pt x="62271" y="-322"/>
                    <a:pt x="86259" y="12145"/>
                  </a:cubicBezTo>
                  <a:cubicBezTo>
                    <a:pt x="106230" y="22540"/>
                    <a:pt x="103998" y="33102"/>
                    <a:pt x="74529" y="32199"/>
                  </a:cubicBezTo>
                  <a:cubicBezTo>
                    <a:pt x="59917" y="31698"/>
                    <a:pt x="61500" y="39652"/>
                    <a:pt x="49689" y="42627"/>
                  </a:cubicBezTo>
                  <a:cubicBezTo>
                    <a:pt x="34548" y="46437"/>
                    <a:pt x="19043" y="38516"/>
                    <a:pt x="6704" y="33536"/>
                  </a:cubicBezTo>
                  <a:cubicBezTo>
                    <a:pt x="-10181" y="50248"/>
                    <a:pt x="7597" y="66959"/>
                    <a:pt x="26674" y="81265"/>
                  </a:cubicBezTo>
                  <a:cubicBezTo>
                    <a:pt x="39541" y="91008"/>
                    <a:pt x="50865" y="102034"/>
                    <a:pt x="60404" y="114087"/>
                  </a:cubicBezTo>
                  <a:cubicBezTo>
                    <a:pt x="69618" y="125685"/>
                    <a:pt x="67020" y="134509"/>
                    <a:pt x="86259" y="144168"/>
                  </a:cubicBezTo>
                  <a:cubicBezTo>
                    <a:pt x="96123" y="149048"/>
                    <a:pt x="116175" y="166161"/>
                    <a:pt x="116783" y="173547"/>
                  </a:cubicBezTo>
                  <a:cubicBezTo>
                    <a:pt x="117920" y="187485"/>
                    <a:pt x="111953" y="200821"/>
                    <a:pt x="130462" y="213221"/>
                  </a:cubicBezTo>
                  <a:cubicBezTo>
                    <a:pt x="138864" y="218870"/>
                    <a:pt x="149458" y="222747"/>
                    <a:pt x="156642" y="229164"/>
                  </a:cubicBezTo>
                  <a:cubicBezTo>
                    <a:pt x="164760" y="236517"/>
                    <a:pt x="167520" y="244973"/>
                    <a:pt x="172878" y="252928"/>
                  </a:cubicBezTo>
                  <a:cubicBezTo>
                    <a:pt x="183107" y="267702"/>
                    <a:pt x="197679" y="280135"/>
                    <a:pt x="205350" y="295410"/>
                  </a:cubicBezTo>
                  <a:cubicBezTo>
                    <a:pt x="217892" y="293404"/>
                    <a:pt x="220044" y="293906"/>
                    <a:pt x="219232" y="286118"/>
                  </a:cubicBezTo>
                  <a:cubicBezTo>
                    <a:pt x="218542" y="279433"/>
                    <a:pt x="234209" y="277729"/>
                    <a:pt x="242409" y="280436"/>
                  </a:cubicBezTo>
                  <a:cubicBezTo>
                    <a:pt x="251866" y="283778"/>
                    <a:pt x="263231" y="283244"/>
                    <a:pt x="273379" y="284881"/>
                  </a:cubicBezTo>
                  <a:cubicBezTo>
                    <a:pt x="281497" y="286218"/>
                    <a:pt x="288519" y="288992"/>
                    <a:pt x="296352" y="290363"/>
                  </a:cubicBezTo>
                  <a:cubicBezTo>
                    <a:pt x="312263" y="293204"/>
                    <a:pt x="343315" y="304935"/>
                    <a:pt x="352407" y="296112"/>
                  </a:cubicBezTo>
                  <a:cubicBezTo>
                    <a:pt x="360525" y="288157"/>
                    <a:pt x="383255" y="283611"/>
                    <a:pt x="397502" y="280302"/>
                  </a:cubicBezTo>
                  <a:cubicBezTo>
                    <a:pt x="411749" y="276993"/>
                    <a:pt x="434642" y="283143"/>
                    <a:pt x="450269" y="284614"/>
                  </a:cubicBezTo>
                  <a:cubicBezTo>
                    <a:pt x="464516" y="285533"/>
                    <a:pt x="478885" y="285533"/>
                    <a:pt x="493132" y="284614"/>
                  </a:cubicBezTo>
                  <a:cubicBezTo>
                    <a:pt x="513183" y="283945"/>
                    <a:pt x="533234" y="283210"/>
                    <a:pt x="553245" y="282408"/>
                  </a:cubicBezTo>
                  <a:cubicBezTo>
                    <a:pt x="561850" y="282074"/>
                    <a:pt x="581049" y="283478"/>
                    <a:pt x="586407" y="279066"/>
                  </a:cubicBezTo>
                  <a:cubicBezTo>
                    <a:pt x="599233" y="268571"/>
                    <a:pt x="631583" y="240762"/>
                    <a:pt x="591805" y="233208"/>
                  </a:cubicBezTo>
                  <a:cubicBezTo>
                    <a:pt x="573093" y="229666"/>
                    <a:pt x="554382" y="225621"/>
                    <a:pt x="535994" y="221243"/>
                  </a:cubicBezTo>
                  <a:cubicBezTo>
                    <a:pt x="513832" y="215962"/>
                    <a:pt x="513467" y="204030"/>
                    <a:pt x="502954" y="193668"/>
                  </a:cubicBezTo>
                  <a:cubicBezTo>
                    <a:pt x="500194" y="191118"/>
                    <a:pt x="498246" y="188056"/>
                    <a:pt x="497271" y="184744"/>
                  </a:cubicBezTo>
                  <a:cubicBezTo>
                    <a:pt x="492847" y="184497"/>
                    <a:pt x="488545" y="183484"/>
                    <a:pt x="484648" y="181770"/>
                  </a:cubicBezTo>
                  <a:cubicBezTo>
                    <a:pt x="476530" y="178126"/>
                    <a:pt x="470888" y="169704"/>
                    <a:pt x="466342" y="164490"/>
                  </a:cubicBezTo>
                  <a:cubicBezTo>
                    <a:pt x="455099" y="151722"/>
                    <a:pt x="470401" y="144168"/>
                    <a:pt x="452136" y="131267"/>
                  </a:cubicBezTo>
                  <a:cubicBezTo>
                    <a:pt x="444870" y="126410"/>
                    <a:pt x="437889" y="121233"/>
                    <a:pt x="431313" y="115758"/>
                  </a:cubicBezTo>
                  <a:cubicBezTo>
                    <a:pt x="428635" y="113351"/>
                    <a:pt x="422992" y="99648"/>
                    <a:pt x="421450" y="99380"/>
                  </a:cubicBezTo>
                  <a:cubicBezTo>
                    <a:pt x="402048" y="96005"/>
                    <a:pt x="397908" y="94968"/>
                    <a:pt x="384432" y="8617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8D238047-7D85-4066-9E8F-9121AFD7E837}"/>
                </a:ext>
              </a:extLst>
            </p:cNvPr>
            <p:cNvSpPr/>
            <p:nvPr/>
          </p:nvSpPr>
          <p:spPr>
            <a:xfrm>
              <a:off x="7321932" y="4517090"/>
              <a:ext cx="248503" cy="135687"/>
            </a:xfrm>
            <a:custGeom>
              <a:avLst/>
              <a:gdLst>
                <a:gd name="connsiteX0" fmla="*/ 141761 w 248503"/>
                <a:gd name="connsiteY0" fmla="*/ -339 h 135687"/>
                <a:gd name="connsiteX1" fmla="*/ 126012 w 248503"/>
                <a:gd name="connsiteY1" fmla="*/ 18445 h 135687"/>
                <a:gd name="connsiteX2" fmla="*/ 103647 w 248503"/>
                <a:gd name="connsiteY2" fmla="*/ 35391 h 135687"/>
                <a:gd name="connsiteX3" fmla="*/ 98168 w 248503"/>
                <a:gd name="connsiteY3" fmla="*/ 79376 h 135687"/>
                <a:gd name="connsiteX4" fmla="*/ 72150 w 248503"/>
                <a:gd name="connsiteY4" fmla="*/ 83822 h 135687"/>
                <a:gd name="connsiteX5" fmla="*/ -60 w 248503"/>
                <a:gd name="connsiteY5" fmla="*/ 86496 h 135687"/>
                <a:gd name="connsiteX6" fmla="*/ 26730 w 248503"/>
                <a:gd name="connsiteY6" fmla="*/ 134124 h 135687"/>
                <a:gd name="connsiteX7" fmla="*/ 68618 w 248503"/>
                <a:gd name="connsiteY7" fmla="*/ 134325 h 135687"/>
                <a:gd name="connsiteX8" fmla="*/ 92445 w 248503"/>
                <a:gd name="connsiteY8" fmla="*/ 126771 h 135687"/>
                <a:gd name="connsiteX9" fmla="*/ 121466 w 248503"/>
                <a:gd name="connsiteY9" fmla="*/ 125334 h 135687"/>
                <a:gd name="connsiteX10" fmla="*/ 141355 w 248503"/>
                <a:gd name="connsiteY10" fmla="*/ 118850 h 135687"/>
                <a:gd name="connsiteX11" fmla="*/ 166399 w 248503"/>
                <a:gd name="connsiteY11" fmla="*/ 114371 h 135687"/>
                <a:gd name="connsiteX12" fmla="*/ 175856 w 248503"/>
                <a:gd name="connsiteY12" fmla="*/ 100701 h 135687"/>
                <a:gd name="connsiteX13" fmla="*/ 215594 w 248503"/>
                <a:gd name="connsiteY13" fmla="*/ 83989 h 135687"/>
                <a:gd name="connsiteX14" fmla="*/ 243723 w 248503"/>
                <a:gd name="connsiteY14" fmla="*/ 60592 h 135687"/>
                <a:gd name="connsiteX15" fmla="*/ 213889 w 248503"/>
                <a:gd name="connsiteY15" fmla="*/ 34856 h 135687"/>
                <a:gd name="connsiteX16" fmla="*/ 164207 w 248503"/>
                <a:gd name="connsiteY16" fmla="*/ -138 h 135687"/>
                <a:gd name="connsiteX17" fmla="*/ 141761 w 248503"/>
                <a:gd name="connsiteY17" fmla="*/ -339 h 135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503" h="135687">
                  <a:moveTo>
                    <a:pt x="141761" y="-339"/>
                  </a:moveTo>
                  <a:cubicBezTo>
                    <a:pt x="139366" y="9889"/>
                    <a:pt x="139001" y="12229"/>
                    <a:pt x="126012" y="18445"/>
                  </a:cubicBezTo>
                  <a:cubicBezTo>
                    <a:pt x="117367" y="22917"/>
                    <a:pt x="109777" y="28663"/>
                    <a:pt x="103647" y="35391"/>
                  </a:cubicBezTo>
                  <a:cubicBezTo>
                    <a:pt x="141477" y="42510"/>
                    <a:pt x="108599" y="69717"/>
                    <a:pt x="98168" y="79376"/>
                  </a:cubicBezTo>
                  <a:cubicBezTo>
                    <a:pt x="92729" y="84390"/>
                    <a:pt x="82216" y="83387"/>
                    <a:pt x="72150" y="83822"/>
                  </a:cubicBezTo>
                  <a:cubicBezTo>
                    <a:pt x="48120" y="84858"/>
                    <a:pt x="24051" y="85694"/>
                    <a:pt x="-60" y="86496"/>
                  </a:cubicBezTo>
                  <a:cubicBezTo>
                    <a:pt x="8911" y="102382"/>
                    <a:pt x="17841" y="118258"/>
                    <a:pt x="26730" y="134124"/>
                  </a:cubicBezTo>
                  <a:cubicBezTo>
                    <a:pt x="40652" y="132537"/>
                    <a:pt x="54737" y="132607"/>
                    <a:pt x="68618" y="134325"/>
                  </a:cubicBezTo>
                  <a:cubicBezTo>
                    <a:pt x="88913" y="137032"/>
                    <a:pt x="84854" y="134325"/>
                    <a:pt x="92445" y="126771"/>
                  </a:cubicBezTo>
                  <a:cubicBezTo>
                    <a:pt x="98168" y="121022"/>
                    <a:pt x="112009" y="123429"/>
                    <a:pt x="121466" y="125334"/>
                  </a:cubicBezTo>
                  <a:cubicBezTo>
                    <a:pt x="132994" y="127640"/>
                    <a:pt x="135388" y="123295"/>
                    <a:pt x="141355" y="118850"/>
                  </a:cubicBezTo>
                  <a:cubicBezTo>
                    <a:pt x="148458" y="113636"/>
                    <a:pt x="154831" y="114070"/>
                    <a:pt x="166399" y="114371"/>
                  </a:cubicBezTo>
                  <a:cubicBezTo>
                    <a:pt x="175085" y="114605"/>
                    <a:pt x="173949" y="104344"/>
                    <a:pt x="175856" y="100701"/>
                  </a:cubicBezTo>
                  <a:cubicBezTo>
                    <a:pt x="182676" y="87331"/>
                    <a:pt x="202605" y="93347"/>
                    <a:pt x="215594" y="83989"/>
                  </a:cubicBezTo>
                  <a:cubicBezTo>
                    <a:pt x="220140" y="80647"/>
                    <a:pt x="262353" y="65405"/>
                    <a:pt x="243723" y="60592"/>
                  </a:cubicBezTo>
                  <a:cubicBezTo>
                    <a:pt x="226391" y="55980"/>
                    <a:pt x="231546" y="39736"/>
                    <a:pt x="213889" y="34856"/>
                  </a:cubicBezTo>
                  <a:cubicBezTo>
                    <a:pt x="185192" y="26901"/>
                    <a:pt x="167454" y="18445"/>
                    <a:pt x="164207" y="-138"/>
                  </a:cubicBezTo>
                  <a:cubicBezTo>
                    <a:pt x="156861" y="1653"/>
                    <a:pt x="149067" y="1583"/>
                    <a:pt x="141761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C74AF7AD-A9F9-4715-BC59-44BD32FB8CE9}"/>
                </a:ext>
              </a:extLst>
            </p:cNvPr>
            <p:cNvSpPr/>
            <p:nvPr/>
          </p:nvSpPr>
          <p:spPr>
            <a:xfrm>
              <a:off x="7308785" y="4476867"/>
              <a:ext cx="30062" cy="27154"/>
            </a:xfrm>
            <a:custGeom>
              <a:avLst/>
              <a:gdLst>
                <a:gd name="connsiteX0" fmla="*/ 20435 w 30062"/>
                <a:gd name="connsiteY0" fmla="*/ 26816 h 27154"/>
                <a:gd name="connsiteX1" fmla="*/ 29973 w 30062"/>
                <a:gd name="connsiteY1" fmla="*/ 7530 h 27154"/>
                <a:gd name="connsiteX2" fmla="*/ 10328 w 30062"/>
                <a:gd name="connsiteY2" fmla="*/ 1681 h 27154"/>
                <a:gd name="connsiteX3" fmla="*/ 20435 w 30062"/>
                <a:gd name="connsiteY3" fmla="*/ 26816 h 27154"/>
                <a:gd name="connsiteX4" fmla="*/ 20435 w 30062"/>
                <a:gd name="connsiteY4" fmla="*/ 26816 h 2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62" h="27154">
                  <a:moveTo>
                    <a:pt x="20435" y="26816"/>
                  </a:moveTo>
                  <a:cubicBezTo>
                    <a:pt x="19095" y="20131"/>
                    <a:pt x="30663" y="14783"/>
                    <a:pt x="29973" y="7530"/>
                  </a:cubicBezTo>
                  <a:cubicBezTo>
                    <a:pt x="29324" y="846"/>
                    <a:pt x="18608" y="-2898"/>
                    <a:pt x="10328" y="1681"/>
                  </a:cubicBezTo>
                  <a:cubicBezTo>
                    <a:pt x="-3026" y="9068"/>
                    <a:pt x="-7167" y="25078"/>
                    <a:pt x="20435" y="26816"/>
                  </a:cubicBezTo>
                  <a:cubicBezTo>
                    <a:pt x="20069" y="24944"/>
                    <a:pt x="13006" y="26314"/>
                    <a:pt x="20435" y="2681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99569889-92EB-4E63-AB62-6132C1E7A035}"/>
                </a:ext>
              </a:extLst>
            </p:cNvPr>
            <p:cNvSpPr/>
            <p:nvPr/>
          </p:nvSpPr>
          <p:spPr>
            <a:xfrm>
              <a:off x="7339426" y="4495402"/>
              <a:ext cx="146026" cy="56038"/>
            </a:xfrm>
            <a:custGeom>
              <a:avLst/>
              <a:gdLst>
                <a:gd name="connsiteX0" fmla="*/ 18530 w 146026"/>
                <a:gd name="connsiteY0" fmla="*/ 42038 h 56038"/>
                <a:gd name="connsiteX1" fmla="*/ 59445 w 146026"/>
                <a:gd name="connsiteY1" fmla="*/ 51664 h 56038"/>
                <a:gd name="connsiteX2" fmla="*/ 95204 w 146026"/>
                <a:gd name="connsiteY2" fmla="*/ 48322 h 56038"/>
                <a:gd name="connsiteX3" fmla="*/ 118503 w 146026"/>
                <a:gd name="connsiteY3" fmla="*/ 35219 h 56038"/>
                <a:gd name="connsiteX4" fmla="*/ 126012 w 146026"/>
                <a:gd name="connsiteY4" fmla="*/ 21482 h 56038"/>
                <a:gd name="connsiteX5" fmla="*/ 145536 w 146026"/>
                <a:gd name="connsiteY5" fmla="*/ 6375 h 56038"/>
                <a:gd name="connsiteX6" fmla="*/ 111359 w 146026"/>
                <a:gd name="connsiteY6" fmla="*/ 10486 h 56038"/>
                <a:gd name="connsiteX7" fmla="*/ 49825 w 146026"/>
                <a:gd name="connsiteY7" fmla="*/ 23856 h 56038"/>
                <a:gd name="connsiteX8" fmla="*/ 16176 w 146026"/>
                <a:gd name="connsiteY8" fmla="*/ 20112 h 56038"/>
                <a:gd name="connsiteX9" fmla="*/ -60 w 146026"/>
                <a:gd name="connsiteY9" fmla="*/ 20580 h 56038"/>
                <a:gd name="connsiteX10" fmla="*/ 18571 w 146026"/>
                <a:gd name="connsiteY10" fmla="*/ 41837 h 5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26" h="56038">
                  <a:moveTo>
                    <a:pt x="18530" y="42038"/>
                  </a:moveTo>
                  <a:cubicBezTo>
                    <a:pt x="27988" y="46985"/>
                    <a:pt x="48120" y="49257"/>
                    <a:pt x="59445" y="51664"/>
                  </a:cubicBezTo>
                  <a:cubicBezTo>
                    <a:pt x="81485" y="56343"/>
                    <a:pt x="84245" y="58850"/>
                    <a:pt x="95204" y="48322"/>
                  </a:cubicBezTo>
                  <a:cubicBezTo>
                    <a:pt x="101049" y="42773"/>
                    <a:pt x="109857" y="39331"/>
                    <a:pt x="118503" y="35219"/>
                  </a:cubicBezTo>
                  <a:cubicBezTo>
                    <a:pt x="123049" y="33047"/>
                    <a:pt x="122156" y="20881"/>
                    <a:pt x="126012" y="21482"/>
                  </a:cubicBezTo>
                  <a:cubicBezTo>
                    <a:pt x="149189" y="25159"/>
                    <a:pt x="146064" y="18140"/>
                    <a:pt x="145536" y="6375"/>
                  </a:cubicBezTo>
                  <a:cubicBezTo>
                    <a:pt x="144805" y="-8766"/>
                    <a:pt x="120127" y="5773"/>
                    <a:pt x="111359" y="10486"/>
                  </a:cubicBezTo>
                  <a:cubicBezTo>
                    <a:pt x="93825" y="19912"/>
                    <a:pt x="78887" y="28468"/>
                    <a:pt x="49825" y="23856"/>
                  </a:cubicBezTo>
                  <a:cubicBezTo>
                    <a:pt x="38216" y="22051"/>
                    <a:pt x="27866" y="18408"/>
                    <a:pt x="16176" y="20112"/>
                  </a:cubicBezTo>
                  <a:cubicBezTo>
                    <a:pt x="10331" y="20948"/>
                    <a:pt x="5663" y="24190"/>
                    <a:pt x="-60" y="20580"/>
                  </a:cubicBezTo>
                  <a:cubicBezTo>
                    <a:pt x="-60" y="28000"/>
                    <a:pt x="8464" y="36557"/>
                    <a:pt x="18571" y="4183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CB4C4A30-DB89-4E9D-8F60-849E940C1F03}"/>
                </a:ext>
              </a:extLst>
            </p:cNvPr>
            <p:cNvSpPr/>
            <p:nvPr/>
          </p:nvSpPr>
          <p:spPr>
            <a:xfrm>
              <a:off x="8580468" y="5122758"/>
              <a:ext cx="506390" cy="218774"/>
            </a:xfrm>
            <a:custGeom>
              <a:avLst/>
              <a:gdLst>
                <a:gd name="connsiteX0" fmla="*/ 83343 w 506390"/>
                <a:gd name="connsiteY0" fmla="*/ 62498 h 218774"/>
                <a:gd name="connsiteX1" fmla="*/ 71855 w 506390"/>
                <a:gd name="connsiteY1" fmla="*/ 42076 h 218774"/>
                <a:gd name="connsiteX2" fmla="*/ 60734 w 506390"/>
                <a:gd name="connsiteY2" fmla="*/ 23994 h 218774"/>
                <a:gd name="connsiteX3" fmla="*/ 49329 w 506390"/>
                <a:gd name="connsiteY3" fmla="*/ 27604 h 218774"/>
                <a:gd name="connsiteX4" fmla="*/ 32727 w 506390"/>
                <a:gd name="connsiteY4" fmla="*/ 22490 h 218774"/>
                <a:gd name="connsiteX5" fmla="*/ 29358 w 506390"/>
                <a:gd name="connsiteY5" fmla="*/ 14234 h 218774"/>
                <a:gd name="connsiteX6" fmla="*/ 4802 w 506390"/>
                <a:gd name="connsiteY6" fmla="*/ -339 h 218774"/>
                <a:gd name="connsiteX7" fmla="*/ -29 w 506390"/>
                <a:gd name="connsiteY7" fmla="*/ 29275 h 218774"/>
                <a:gd name="connsiteX8" fmla="*/ 10037 w 506390"/>
                <a:gd name="connsiteY8" fmla="*/ 56983 h 218774"/>
                <a:gd name="connsiteX9" fmla="*/ 18155 w 506390"/>
                <a:gd name="connsiteY9" fmla="*/ 75633 h 218774"/>
                <a:gd name="connsiteX10" fmla="*/ 48395 w 506390"/>
                <a:gd name="connsiteY10" fmla="*/ 103609 h 218774"/>
                <a:gd name="connsiteX11" fmla="*/ 75347 w 506390"/>
                <a:gd name="connsiteY11" fmla="*/ 106650 h 218774"/>
                <a:gd name="connsiteX12" fmla="*/ 67229 w 506390"/>
                <a:gd name="connsiteY12" fmla="*/ 86964 h 218774"/>
                <a:gd name="connsiteX13" fmla="*/ 83180 w 506390"/>
                <a:gd name="connsiteY13" fmla="*/ 62498 h 218774"/>
                <a:gd name="connsiteX14" fmla="*/ 83343 w 506390"/>
                <a:gd name="connsiteY14" fmla="*/ 62498 h 218774"/>
                <a:gd name="connsiteX15" fmla="*/ 493299 w 506390"/>
                <a:gd name="connsiteY15" fmla="*/ 193217 h 218774"/>
                <a:gd name="connsiteX16" fmla="*/ 469392 w 506390"/>
                <a:gd name="connsiteY16" fmla="*/ 171291 h 218774"/>
                <a:gd name="connsiteX17" fmla="*/ 427260 w 506390"/>
                <a:gd name="connsiteY17" fmla="*/ 164105 h 218774"/>
                <a:gd name="connsiteX18" fmla="*/ 396168 w 506390"/>
                <a:gd name="connsiteY18" fmla="*/ 177475 h 218774"/>
                <a:gd name="connsiteX19" fmla="*/ 383707 w 506390"/>
                <a:gd name="connsiteY19" fmla="*/ 180817 h 218774"/>
                <a:gd name="connsiteX20" fmla="*/ 366497 w 506390"/>
                <a:gd name="connsiteY20" fmla="*/ 168751 h 218774"/>
                <a:gd name="connsiteX21" fmla="*/ 335811 w 506390"/>
                <a:gd name="connsiteY21" fmla="*/ 170289 h 218774"/>
                <a:gd name="connsiteX22" fmla="*/ 293882 w 506390"/>
                <a:gd name="connsiteY22" fmla="*/ 170088 h 218774"/>
                <a:gd name="connsiteX23" fmla="*/ 261410 w 506390"/>
                <a:gd name="connsiteY23" fmla="*/ 179581 h 218774"/>
                <a:gd name="connsiteX24" fmla="*/ 223580 w 506390"/>
                <a:gd name="connsiteY24" fmla="*/ 161064 h 218774"/>
                <a:gd name="connsiteX25" fmla="*/ 247934 w 506390"/>
                <a:gd name="connsiteY25" fmla="*/ 188672 h 218774"/>
                <a:gd name="connsiteX26" fmla="*/ 274318 w 506390"/>
                <a:gd name="connsiteY26" fmla="*/ 197964 h 218774"/>
                <a:gd name="connsiteX27" fmla="*/ 302041 w 506390"/>
                <a:gd name="connsiteY27" fmla="*/ 200404 h 218774"/>
                <a:gd name="connsiteX28" fmla="*/ 319900 w 506390"/>
                <a:gd name="connsiteY28" fmla="*/ 211132 h 218774"/>
                <a:gd name="connsiteX29" fmla="*/ 349368 w 506390"/>
                <a:gd name="connsiteY29" fmla="*/ 217817 h 218774"/>
                <a:gd name="connsiteX30" fmla="*/ 362113 w 506390"/>
                <a:gd name="connsiteY30" fmla="*/ 210899 h 218774"/>
                <a:gd name="connsiteX31" fmla="*/ 377213 w 506390"/>
                <a:gd name="connsiteY31" fmla="*/ 200872 h 218774"/>
                <a:gd name="connsiteX32" fmla="*/ 391420 w 506390"/>
                <a:gd name="connsiteY32" fmla="*/ 200872 h 218774"/>
                <a:gd name="connsiteX33" fmla="*/ 403596 w 506390"/>
                <a:gd name="connsiteY33" fmla="*/ 190844 h 218774"/>
                <a:gd name="connsiteX34" fmla="*/ 450193 w 506390"/>
                <a:gd name="connsiteY34" fmla="*/ 203746 h 218774"/>
                <a:gd name="connsiteX35" fmla="*/ 478200 w 506390"/>
                <a:gd name="connsiteY35" fmla="*/ 208091 h 218774"/>
                <a:gd name="connsiteX36" fmla="*/ 487414 w 506390"/>
                <a:gd name="connsiteY36" fmla="*/ 206620 h 218774"/>
                <a:gd name="connsiteX37" fmla="*/ 492934 w 506390"/>
                <a:gd name="connsiteY37" fmla="*/ 193251 h 21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90" h="218774">
                  <a:moveTo>
                    <a:pt x="83343" y="62498"/>
                  </a:moveTo>
                  <a:cubicBezTo>
                    <a:pt x="87808" y="54376"/>
                    <a:pt x="75914" y="49797"/>
                    <a:pt x="71855" y="42076"/>
                  </a:cubicBezTo>
                  <a:cubicBezTo>
                    <a:pt x="68284" y="35391"/>
                    <a:pt x="64063" y="30578"/>
                    <a:pt x="60734" y="23994"/>
                  </a:cubicBezTo>
                  <a:cubicBezTo>
                    <a:pt x="55377" y="23258"/>
                    <a:pt x="51804" y="28105"/>
                    <a:pt x="49329" y="27604"/>
                  </a:cubicBezTo>
                  <a:cubicBezTo>
                    <a:pt x="43565" y="26477"/>
                    <a:pt x="37964" y="24759"/>
                    <a:pt x="32727" y="22490"/>
                  </a:cubicBezTo>
                  <a:cubicBezTo>
                    <a:pt x="26720" y="19782"/>
                    <a:pt x="30210" y="17677"/>
                    <a:pt x="29358" y="14234"/>
                  </a:cubicBezTo>
                  <a:cubicBezTo>
                    <a:pt x="27532" y="6881"/>
                    <a:pt x="14299" y="2402"/>
                    <a:pt x="4802" y="-339"/>
                  </a:cubicBezTo>
                  <a:cubicBezTo>
                    <a:pt x="7359" y="10825"/>
                    <a:pt x="743" y="18947"/>
                    <a:pt x="-29" y="29275"/>
                  </a:cubicBezTo>
                  <a:cubicBezTo>
                    <a:pt x="-556" y="38132"/>
                    <a:pt x="5817" y="48025"/>
                    <a:pt x="10037" y="56983"/>
                  </a:cubicBezTo>
                  <a:cubicBezTo>
                    <a:pt x="12960" y="63200"/>
                    <a:pt x="12798" y="69650"/>
                    <a:pt x="18155" y="75633"/>
                  </a:cubicBezTo>
                  <a:cubicBezTo>
                    <a:pt x="27451" y="85526"/>
                    <a:pt x="37557" y="94885"/>
                    <a:pt x="48395" y="103609"/>
                  </a:cubicBezTo>
                  <a:cubicBezTo>
                    <a:pt x="63576" y="116243"/>
                    <a:pt x="83627" y="130348"/>
                    <a:pt x="75347" y="106650"/>
                  </a:cubicBezTo>
                  <a:cubicBezTo>
                    <a:pt x="73155" y="100534"/>
                    <a:pt x="66214" y="92813"/>
                    <a:pt x="67229" y="86964"/>
                  </a:cubicBezTo>
                  <a:cubicBezTo>
                    <a:pt x="69014" y="77739"/>
                    <a:pt x="78635" y="70820"/>
                    <a:pt x="83180" y="62498"/>
                  </a:cubicBezTo>
                  <a:cubicBezTo>
                    <a:pt x="88985" y="52170"/>
                    <a:pt x="77701" y="72859"/>
                    <a:pt x="83343" y="62498"/>
                  </a:cubicBezTo>
                  <a:close/>
                  <a:moveTo>
                    <a:pt x="493299" y="193217"/>
                  </a:moveTo>
                  <a:cubicBezTo>
                    <a:pt x="471827" y="187769"/>
                    <a:pt x="476617" y="181820"/>
                    <a:pt x="469392" y="171291"/>
                  </a:cubicBezTo>
                  <a:cubicBezTo>
                    <a:pt x="458676" y="155582"/>
                    <a:pt x="440329" y="155215"/>
                    <a:pt x="427260" y="164105"/>
                  </a:cubicBezTo>
                  <a:cubicBezTo>
                    <a:pt x="418086" y="170289"/>
                    <a:pt x="398116" y="167448"/>
                    <a:pt x="396168" y="177475"/>
                  </a:cubicBezTo>
                  <a:cubicBezTo>
                    <a:pt x="394747" y="184928"/>
                    <a:pt x="392109" y="180416"/>
                    <a:pt x="383707" y="180817"/>
                  </a:cubicBezTo>
                  <a:cubicBezTo>
                    <a:pt x="371530" y="181352"/>
                    <a:pt x="368851" y="175904"/>
                    <a:pt x="366497" y="168751"/>
                  </a:cubicBezTo>
                  <a:cubicBezTo>
                    <a:pt x="362072" y="155382"/>
                    <a:pt x="344132" y="165609"/>
                    <a:pt x="335811" y="170289"/>
                  </a:cubicBezTo>
                  <a:cubicBezTo>
                    <a:pt x="320062" y="179213"/>
                    <a:pt x="317343" y="178477"/>
                    <a:pt x="293882" y="170088"/>
                  </a:cubicBezTo>
                  <a:cubicBezTo>
                    <a:pt x="270421" y="161699"/>
                    <a:pt x="270503" y="170489"/>
                    <a:pt x="261410" y="179581"/>
                  </a:cubicBezTo>
                  <a:cubicBezTo>
                    <a:pt x="253292" y="187669"/>
                    <a:pt x="231455" y="165108"/>
                    <a:pt x="223580" y="161064"/>
                  </a:cubicBezTo>
                  <a:cubicBezTo>
                    <a:pt x="223012" y="173798"/>
                    <a:pt x="233079" y="185162"/>
                    <a:pt x="247934" y="188672"/>
                  </a:cubicBezTo>
                  <a:cubicBezTo>
                    <a:pt x="257067" y="190543"/>
                    <a:pt x="265429" y="195357"/>
                    <a:pt x="274318" y="197964"/>
                  </a:cubicBezTo>
                  <a:cubicBezTo>
                    <a:pt x="284059" y="200905"/>
                    <a:pt x="292299" y="197964"/>
                    <a:pt x="302041" y="200404"/>
                  </a:cubicBezTo>
                  <a:cubicBezTo>
                    <a:pt x="309427" y="202008"/>
                    <a:pt x="315800" y="205852"/>
                    <a:pt x="319900" y="211132"/>
                  </a:cubicBezTo>
                  <a:cubicBezTo>
                    <a:pt x="324243" y="215812"/>
                    <a:pt x="342387" y="216179"/>
                    <a:pt x="349368" y="217817"/>
                  </a:cubicBezTo>
                  <a:cubicBezTo>
                    <a:pt x="359759" y="220290"/>
                    <a:pt x="358095" y="214809"/>
                    <a:pt x="362113" y="210899"/>
                  </a:cubicBezTo>
                  <a:cubicBezTo>
                    <a:pt x="366822" y="207255"/>
                    <a:pt x="371896" y="203913"/>
                    <a:pt x="377213" y="200872"/>
                  </a:cubicBezTo>
                  <a:cubicBezTo>
                    <a:pt x="380135" y="198832"/>
                    <a:pt x="387361" y="201306"/>
                    <a:pt x="391420" y="200872"/>
                  </a:cubicBezTo>
                  <a:cubicBezTo>
                    <a:pt x="399538" y="199969"/>
                    <a:pt x="397751" y="193084"/>
                    <a:pt x="403596" y="190844"/>
                  </a:cubicBezTo>
                  <a:cubicBezTo>
                    <a:pt x="414027" y="186633"/>
                    <a:pt x="440654" y="197195"/>
                    <a:pt x="450193" y="203746"/>
                  </a:cubicBezTo>
                  <a:cubicBezTo>
                    <a:pt x="455591" y="207456"/>
                    <a:pt x="473208" y="213773"/>
                    <a:pt x="478200" y="208091"/>
                  </a:cubicBezTo>
                  <a:cubicBezTo>
                    <a:pt x="481447" y="204481"/>
                    <a:pt x="475440" y="202543"/>
                    <a:pt x="487414" y="206620"/>
                  </a:cubicBezTo>
                  <a:cubicBezTo>
                    <a:pt x="510997" y="214709"/>
                    <a:pt x="512174" y="198030"/>
                    <a:pt x="492934" y="19325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0253255A-8615-4A49-8B14-88E524B7B347}"/>
                </a:ext>
              </a:extLst>
            </p:cNvPr>
            <p:cNvSpPr/>
            <p:nvPr/>
          </p:nvSpPr>
          <p:spPr>
            <a:xfrm>
              <a:off x="8945157" y="5285899"/>
              <a:ext cx="32065" cy="19491"/>
            </a:xfrm>
            <a:custGeom>
              <a:avLst/>
              <a:gdLst>
                <a:gd name="connsiteX0" fmla="*/ 7977 w 32065"/>
                <a:gd name="connsiteY0" fmla="*/ 16039 h 19491"/>
                <a:gd name="connsiteX1" fmla="*/ 32006 w 32065"/>
                <a:gd name="connsiteY1" fmla="*/ 9922 h 19491"/>
                <a:gd name="connsiteX2" fmla="*/ 20235 w 32065"/>
                <a:gd name="connsiteY2" fmla="*/ 7449 h 19491"/>
                <a:gd name="connsiteX3" fmla="*/ 14999 w 32065"/>
                <a:gd name="connsiteY3" fmla="*/ 9288 h 19491"/>
                <a:gd name="connsiteX4" fmla="*/ -60 w 32065"/>
                <a:gd name="connsiteY4" fmla="*/ -339 h 19491"/>
                <a:gd name="connsiteX5" fmla="*/ 7977 w 32065"/>
                <a:gd name="connsiteY5" fmla="*/ 16039 h 1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65" h="19491">
                  <a:moveTo>
                    <a:pt x="7977" y="16039"/>
                  </a:moveTo>
                  <a:cubicBezTo>
                    <a:pt x="23807" y="22156"/>
                    <a:pt x="30951" y="18813"/>
                    <a:pt x="32006" y="9922"/>
                  </a:cubicBezTo>
                  <a:cubicBezTo>
                    <a:pt x="28150" y="8920"/>
                    <a:pt x="24213" y="8084"/>
                    <a:pt x="20235" y="7449"/>
                  </a:cubicBezTo>
                  <a:cubicBezTo>
                    <a:pt x="18409" y="7884"/>
                    <a:pt x="16622" y="8485"/>
                    <a:pt x="14999" y="9288"/>
                  </a:cubicBezTo>
                  <a:cubicBezTo>
                    <a:pt x="9479" y="8352"/>
                    <a:pt x="4892" y="1801"/>
                    <a:pt x="-60" y="-339"/>
                  </a:cubicBezTo>
                  <a:cubicBezTo>
                    <a:pt x="793" y="2636"/>
                    <a:pt x="2132" y="13733"/>
                    <a:pt x="7977" y="160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D31D2E2E-EBA6-4E78-8738-FAC00420058E}"/>
                </a:ext>
              </a:extLst>
            </p:cNvPr>
            <p:cNvSpPr/>
            <p:nvPr/>
          </p:nvSpPr>
          <p:spPr>
            <a:xfrm>
              <a:off x="6971843" y="4228429"/>
              <a:ext cx="289813" cy="173037"/>
            </a:xfrm>
            <a:custGeom>
              <a:avLst/>
              <a:gdLst>
                <a:gd name="connsiteX0" fmla="*/ 241493 w 289813"/>
                <a:gd name="connsiteY0" fmla="*/ 160109 h 173037"/>
                <a:gd name="connsiteX1" fmla="*/ 261788 w 289813"/>
                <a:gd name="connsiteY1" fmla="*/ 156466 h 173037"/>
                <a:gd name="connsiteX2" fmla="*/ 270677 w 289813"/>
                <a:gd name="connsiteY2" fmla="*/ 160978 h 173037"/>
                <a:gd name="connsiteX3" fmla="*/ 289754 w 289813"/>
                <a:gd name="connsiteY3" fmla="*/ 162315 h 173037"/>
                <a:gd name="connsiteX4" fmla="*/ 268282 w 289813"/>
                <a:gd name="connsiteY4" fmla="*/ 136847 h 173037"/>
                <a:gd name="connsiteX5" fmla="*/ 270028 w 289813"/>
                <a:gd name="connsiteY5" fmla="*/ 128524 h 173037"/>
                <a:gd name="connsiteX6" fmla="*/ 265969 w 289813"/>
                <a:gd name="connsiteY6" fmla="*/ 116625 h 173037"/>
                <a:gd name="connsiteX7" fmla="*/ 236013 w 289813"/>
                <a:gd name="connsiteY7" fmla="*/ 102721 h 173037"/>
                <a:gd name="connsiteX8" fmla="*/ 213445 w 289813"/>
                <a:gd name="connsiteY8" fmla="*/ 83336 h 173037"/>
                <a:gd name="connsiteX9" fmla="*/ 212512 w 289813"/>
                <a:gd name="connsiteY9" fmla="*/ 67559 h 173037"/>
                <a:gd name="connsiteX10" fmla="*/ 219493 w 289813"/>
                <a:gd name="connsiteY10" fmla="*/ 60875 h 173037"/>
                <a:gd name="connsiteX11" fmla="*/ 230615 w 289813"/>
                <a:gd name="connsiteY11" fmla="*/ 55159 h 173037"/>
                <a:gd name="connsiteX12" fmla="*/ 216287 w 289813"/>
                <a:gd name="connsiteY12" fmla="*/ 37178 h 173037"/>
                <a:gd name="connsiteX13" fmla="*/ 197169 w 289813"/>
                <a:gd name="connsiteY13" fmla="*/ 12043 h 173037"/>
                <a:gd name="connsiteX14" fmla="*/ 145214 w 289813"/>
                <a:gd name="connsiteY14" fmla="*/ 311 h 173037"/>
                <a:gd name="connsiteX15" fmla="*/ 97277 w 289813"/>
                <a:gd name="connsiteY15" fmla="*/ 9670 h 173037"/>
                <a:gd name="connsiteX16" fmla="*/ 82381 w 289813"/>
                <a:gd name="connsiteY16" fmla="*/ 14951 h 173037"/>
                <a:gd name="connsiteX17" fmla="*/ 82665 w 289813"/>
                <a:gd name="connsiteY17" fmla="*/ 29256 h 173037"/>
                <a:gd name="connsiteX18" fmla="*/ 72599 w 289813"/>
                <a:gd name="connsiteY18" fmla="*/ 49310 h 173037"/>
                <a:gd name="connsiteX19" fmla="*/ -16 w 289813"/>
                <a:gd name="connsiteY19" fmla="*/ 68897 h 173037"/>
                <a:gd name="connsiteX20" fmla="*/ 3312 w 289813"/>
                <a:gd name="connsiteY20" fmla="*/ 80695 h 173037"/>
                <a:gd name="connsiteX21" fmla="*/ 18208 w 289813"/>
                <a:gd name="connsiteY21" fmla="*/ 91123 h 173037"/>
                <a:gd name="connsiteX22" fmla="*/ 49057 w 289813"/>
                <a:gd name="connsiteY22" fmla="*/ 99847 h 173037"/>
                <a:gd name="connsiteX23" fmla="*/ 102797 w 289813"/>
                <a:gd name="connsiteY23" fmla="*/ 125850 h 173037"/>
                <a:gd name="connsiteX24" fmla="*/ 161734 w 289813"/>
                <a:gd name="connsiteY24" fmla="*/ 159274 h 173037"/>
                <a:gd name="connsiteX25" fmla="*/ 201268 w 289813"/>
                <a:gd name="connsiteY25" fmla="*/ 168800 h 173037"/>
                <a:gd name="connsiteX26" fmla="*/ 229438 w 289813"/>
                <a:gd name="connsiteY26" fmla="*/ 170203 h 173037"/>
                <a:gd name="connsiteX27" fmla="*/ 241615 w 289813"/>
                <a:gd name="connsiteY27" fmla="*/ 160176 h 1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9813" h="173037">
                  <a:moveTo>
                    <a:pt x="241493" y="160109"/>
                  </a:moveTo>
                  <a:cubicBezTo>
                    <a:pt x="247622" y="157569"/>
                    <a:pt x="252087" y="153759"/>
                    <a:pt x="261788" y="156466"/>
                  </a:cubicBezTo>
                  <a:cubicBezTo>
                    <a:pt x="265076" y="157496"/>
                    <a:pt x="268079" y="159027"/>
                    <a:pt x="270677" y="160978"/>
                  </a:cubicBezTo>
                  <a:cubicBezTo>
                    <a:pt x="278795" y="166627"/>
                    <a:pt x="278795" y="162616"/>
                    <a:pt x="289754" y="162315"/>
                  </a:cubicBezTo>
                  <a:cubicBezTo>
                    <a:pt x="278511" y="153425"/>
                    <a:pt x="277577" y="145604"/>
                    <a:pt x="268282" y="136847"/>
                  </a:cubicBezTo>
                  <a:cubicBezTo>
                    <a:pt x="264669" y="133504"/>
                    <a:pt x="267470" y="131298"/>
                    <a:pt x="270028" y="128524"/>
                  </a:cubicBezTo>
                  <a:cubicBezTo>
                    <a:pt x="273761" y="124513"/>
                    <a:pt x="268972" y="120870"/>
                    <a:pt x="265969" y="116625"/>
                  </a:cubicBezTo>
                  <a:cubicBezTo>
                    <a:pt x="261910" y="110475"/>
                    <a:pt x="244618" y="107133"/>
                    <a:pt x="236013" y="102721"/>
                  </a:cubicBezTo>
                  <a:cubicBezTo>
                    <a:pt x="223836" y="96438"/>
                    <a:pt x="227490" y="89118"/>
                    <a:pt x="213445" y="83336"/>
                  </a:cubicBezTo>
                  <a:cubicBezTo>
                    <a:pt x="207722" y="80962"/>
                    <a:pt x="205612" y="68897"/>
                    <a:pt x="212512" y="67559"/>
                  </a:cubicBezTo>
                  <a:cubicBezTo>
                    <a:pt x="216571" y="66724"/>
                    <a:pt x="218154" y="62813"/>
                    <a:pt x="219493" y="60875"/>
                  </a:cubicBezTo>
                  <a:cubicBezTo>
                    <a:pt x="222172" y="56797"/>
                    <a:pt x="227936" y="57532"/>
                    <a:pt x="230615" y="55159"/>
                  </a:cubicBezTo>
                  <a:cubicBezTo>
                    <a:pt x="240600" y="45935"/>
                    <a:pt x="227368" y="42124"/>
                    <a:pt x="216287" y="37178"/>
                  </a:cubicBezTo>
                  <a:cubicBezTo>
                    <a:pt x="210929" y="34804"/>
                    <a:pt x="194328" y="15385"/>
                    <a:pt x="197169" y="12043"/>
                  </a:cubicBezTo>
                  <a:cubicBezTo>
                    <a:pt x="194896" y="17357"/>
                    <a:pt x="153819" y="2016"/>
                    <a:pt x="145214" y="311"/>
                  </a:cubicBezTo>
                  <a:cubicBezTo>
                    <a:pt x="130195" y="-3031"/>
                    <a:pt x="112215" y="7497"/>
                    <a:pt x="97277" y="9670"/>
                  </a:cubicBezTo>
                  <a:cubicBezTo>
                    <a:pt x="91635" y="10506"/>
                    <a:pt x="85100" y="11943"/>
                    <a:pt x="82381" y="14951"/>
                  </a:cubicBezTo>
                  <a:cubicBezTo>
                    <a:pt x="78647" y="19062"/>
                    <a:pt x="88672" y="26148"/>
                    <a:pt x="82665" y="29256"/>
                  </a:cubicBezTo>
                  <a:cubicBezTo>
                    <a:pt x="73532" y="33969"/>
                    <a:pt x="80067" y="43327"/>
                    <a:pt x="72599" y="49310"/>
                  </a:cubicBezTo>
                  <a:cubicBezTo>
                    <a:pt x="59772" y="59337"/>
                    <a:pt x="-1924" y="55995"/>
                    <a:pt x="-16" y="68897"/>
                  </a:cubicBezTo>
                  <a:cubicBezTo>
                    <a:pt x="836" y="72874"/>
                    <a:pt x="1973" y="76811"/>
                    <a:pt x="3312" y="80695"/>
                  </a:cubicBezTo>
                  <a:cubicBezTo>
                    <a:pt x="5544" y="88850"/>
                    <a:pt x="3312" y="89987"/>
                    <a:pt x="18208" y="91123"/>
                  </a:cubicBezTo>
                  <a:cubicBezTo>
                    <a:pt x="29168" y="92069"/>
                    <a:pt x="39721" y="95054"/>
                    <a:pt x="49057" y="99847"/>
                  </a:cubicBezTo>
                  <a:cubicBezTo>
                    <a:pt x="67281" y="108136"/>
                    <a:pt x="85587" y="116759"/>
                    <a:pt x="102797" y="125850"/>
                  </a:cubicBezTo>
                  <a:cubicBezTo>
                    <a:pt x="122686" y="136446"/>
                    <a:pt x="140668" y="149681"/>
                    <a:pt x="161734" y="159274"/>
                  </a:cubicBezTo>
                  <a:cubicBezTo>
                    <a:pt x="173667" y="164755"/>
                    <a:pt x="187468" y="166360"/>
                    <a:pt x="201268" y="168800"/>
                  </a:cubicBezTo>
                  <a:cubicBezTo>
                    <a:pt x="211862" y="170705"/>
                    <a:pt x="223674" y="175685"/>
                    <a:pt x="229438" y="170203"/>
                  </a:cubicBezTo>
                  <a:cubicBezTo>
                    <a:pt x="232725" y="167062"/>
                    <a:pt x="236176" y="162382"/>
                    <a:pt x="241615" y="16017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DF88AB11-BB00-4EB2-9B44-CABC29E71D7B}"/>
                </a:ext>
              </a:extLst>
            </p:cNvPr>
            <p:cNvSpPr/>
            <p:nvPr/>
          </p:nvSpPr>
          <p:spPr>
            <a:xfrm>
              <a:off x="7198011" y="4384301"/>
              <a:ext cx="56785" cy="34590"/>
            </a:xfrm>
            <a:custGeom>
              <a:avLst/>
              <a:gdLst>
                <a:gd name="connsiteX0" fmla="*/ 18490 w 56785"/>
                <a:gd name="connsiteY0" fmla="*/ 21150 h 34590"/>
                <a:gd name="connsiteX1" fmla="*/ 56725 w 56785"/>
                <a:gd name="connsiteY1" fmla="*/ 34252 h 34590"/>
                <a:gd name="connsiteX2" fmla="*/ 40002 w 56785"/>
                <a:gd name="connsiteY2" fmla="*/ 2399 h 34590"/>
                <a:gd name="connsiteX3" fmla="*/ -60 w 56785"/>
                <a:gd name="connsiteY3" fmla="*/ 17540 h 34590"/>
                <a:gd name="connsiteX4" fmla="*/ 18490 w 56785"/>
                <a:gd name="connsiteY4" fmla="*/ 21150 h 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" h="34590">
                  <a:moveTo>
                    <a:pt x="18490" y="21150"/>
                  </a:moveTo>
                  <a:cubicBezTo>
                    <a:pt x="32250" y="30141"/>
                    <a:pt x="36999" y="31177"/>
                    <a:pt x="56725" y="34252"/>
                  </a:cubicBezTo>
                  <a:cubicBezTo>
                    <a:pt x="52666" y="25060"/>
                    <a:pt x="50434" y="7847"/>
                    <a:pt x="40002" y="2399"/>
                  </a:cubicBezTo>
                  <a:cubicBezTo>
                    <a:pt x="21534" y="-7294"/>
                    <a:pt x="6151" y="11390"/>
                    <a:pt x="-60" y="17540"/>
                  </a:cubicBezTo>
                  <a:cubicBezTo>
                    <a:pt x="6151" y="18710"/>
                    <a:pt x="12320" y="19913"/>
                    <a:pt x="18490" y="211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2FA6FDA5-71F8-400F-9161-D7B9F9D9A51E}"/>
                </a:ext>
              </a:extLst>
            </p:cNvPr>
            <p:cNvSpPr/>
            <p:nvPr/>
          </p:nvSpPr>
          <p:spPr>
            <a:xfrm>
              <a:off x="5605759" y="3889151"/>
              <a:ext cx="473110" cy="203488"/>
            </a:xfrm>
            <a:custGeom>
              <a:avLst/>
              <a:gdLst>
                <a:gd name="connsiteX0" fmla="*/ 415252 w 473110"/>
                <a:gd name="connsiteY0" fmla="*/ 43322 h 203488"/>
                <a:gd name="connsiteX1" fmla="*/ 381887 w 473110"/>
                <a:gd name="connsiteY1" fmla="*/ 38141 h 203488"/>
                <a:gd name="connsiteX2" fmla="*/ 353475 w 473110"/>
                <a:gd name="connsiteY2" fmla="*/ 32660 h 203488"/>
                <a:gd name="connsiteX3" fmla="*/ 330095 w 473110"/>
                <a:gd name="connsiteY3" fmla="*/ 28315 h 203488"/>
                <a:gd name="connsiteX4" fmla="*/ 317918 w 473110"/>
                <a:gd name="connsiteY4" fmla="*/ 25340 h 203488"/>
                <a:gd name="connsiteX5" fmla="*/ 314387 w 473110"/>
                <a:gd name="connsiteY5" fmla="*/ 19123 h 203488"/>
                <a:gd name="connsiteX6" fmla="*/ 296081 w 473110"/>
                <a:gd name="connsiteY6" fmla="*/ 23903 h 203488"/>
                <a:gd name="connsiteX7" fmla="*/ 283457 w 473110"/>
                <a:gd name="connsiteY7" fmla="*/ 15480 h 203488"/>
                <a:gd name="connsiteX8" fmla="*/ 260970 w 473110"/>
                <a:gd name="connsiteY8" fmla="*/ 8795 h 203488"/>
                <a:gd name="connsiteX9" fmla="*/ 247170 w 473110"/>
                <a:gd name="connsiteY9" fmla="*/ 7024 h 203488"/>
                <a:gd name="connsiteX10" fmla="*/ 215144 w 473110"/>
                <a:gd name="connsiteY10" fmla="*/ 4316 h 203488"/>
                <a:gd name="connsiteX11" fmla="*/ 193104 w 473110"/>
                <a:gd name="connsiteY11" fmla="*/ 27212 h 203488"/>
                <a:gd name="connsiteX12" fmla="*/ 159293 w 473110"/>
                <a:gd name="connsiteY12" fmla="*/ 39812 h 203488"/>
                <a:gd name="connsiteX13" fmla="*/ 117648 w 473110"/>
                <a:gd name="connsiteY13" fmla="*/ 37874 h 203488"/>
                <a:gd name="connsiteX14" fmla="*/ 93741 w 473110"/>
                <a:gd name="connsiteY14" fmla="*/ 41216 h 203488"/>
                <a:gd name="connsiteX15" fmla="*/ 91752 w 473110"/>
                <a:gd name="connsiteY15" fmla="*/ 61738 h 203488"/>
                <a:gd name="connsiteX16" fmla="*/ 69103 w 473110"/>
                <a:gd name="connsiteY16" fmla="*/ 63109 h 203488"/>
                <a:gd name="connsiteX17" fmla="*/ 53232 w 473110"/>
                <a:gd name="connsiteY17" fmla="*/ 57895 h 203488"/>
                <a:gd name="connsiteX18" fmla="*/ 953 w 473110"/>
                <a:gd name="connsiteY18" fmla="*/ 65782 h 203488"/>
                <a:gd name="connsiteX19" fmla="*/ 4484 w 473110"/>
                <a:gd name="connsiteY19" fmla="*/ 77548 h 203488"/>
                <a:gd name="connsiteX20" fmla="*/ 20720 w 473110"/>
                <a:gd name="connsiteY20" fmla="*/ 82862 h 203488"/>
                <a:gd name="connsiteX21" fmla="*/ 74582 w 473110"/>
                <a:gd name="connsiteY21" fmla="*/ 87441 h 203488"/>
                <a:gd name="connsiteX22" fmla="*/ 97881 w 473110"/>
                <a:gd name="connsiteY22" fmla="*/ 104153 h 203488"/>
                <a:gd name="connsiteX23" fmla="*/ 123371 w 473110"/>
                <a:gd name="connsiteY23" fmla="*/ 110570 h 203488"/>
                <a:gd name="connsiteX24" fmla="*/ 126213 w 473110"/>
                <a:gd name="connsiteY24" fmla="*/ 122101 h 203488"/>
                <a:gd name="connsiteX25" fmla="*/ 122478 w 473110"/>
                <a:gd name="connsiteY25" fmla="*/ 138512 h 203488"/>
                <a:gd name="connsiteX26" fmla="*/ 122722 w 473110"/>
                <a:gd name="connsiteY26" fmla="*/ 150946 h 203488"/>
                <a:gd name="connsiteX27" fmla="*/ 107582 w 473110"/>
                <a:gd name="connsiteY27" fmla="*/ 174342 h 203488"/>
                <a:gd name="connsiteX28" fmla="*/ 183119 w 473110"/>
                <a:gd name="connsiteY28" fmla="*/ 182832 h 203488"/>
                <a:gd name="connsiteX29" fmla="*/ 215591 w 473110"/>
                <a:gd name="connsiteY29" fmla="*/ 186709 h 203488"/>
                <a:gd name="connsiteX30" fmla="*/ 269373 w 473110"/>
                <a:gd name="connsiteY30" fmla="*/ 187378 h 203488"/>
                <a:gd name="connsiteX31" fmla="*/ 304482 w 473110"/>
                <a:gd name="connsiteY31" fmla="*/ 165117 h 203488"/>
                <a:gd name="connsiteX32" fmla="*/ 362567 w 473110"/>
                <a:gd name="connsiteY32" fmla="*/ 172437 h 203488"/>
                <a:gd name="connsiteX33" fmla="*/ 396703 w 473110"/>
                <a:gd name="connsiteY33" fmla="*/ 160171 h 203488"/>
                <a:gd name="connsiteX34" fmla="*/ 411477 w 473110"/>
                <a:gd name="connsiteY34" fmla="*/ 148907 h 203488"/>
                <a:gd name="connsiteX35" fmla="*/ 390452 w 473110"/>
                <a:gd name="connsiteY35" fmla="*/ 140150 h 203488"/>
                <a:gd name="connsiteX36" fmla="*/ 379412 w 473110"/>
                <a:gd name="connsiteY36" fmla="*/ 128920 h 203488"/>
                <a:gd name="connsiteX37" fmla="*/ 393659 w 473110"/>
                <a:gd name="connsiteY37" fmla="*/ 120430 h 203488"/>
                <a:gd name="connsiteX38" fmla="*/ 388017 w 473110"/>
                <a:gd name="connsiteY38" fmla="*/ 107595 h 203488"/>
                <a:gd name="connsiteX39" fmla="*/ 369548 w 473110"/>
                <a:gd name="connsiteY39" fmla="*/ 103384 h 203488"/>
                <a:gd name="connsiteX40" fmla="*/ 367965 w 473110"/>
                <a:gd name="connsiteY40" fmla="*/ 94627 h 203488"/>
                <a:gd name="connsiteX41" fmla="*/ 385703 w 473110"/>
                <a:gd name="connsiteY41" fmla="*/ 83865 h 203488"/>
                <a:gd name="connsiteX42" fmla="*/ 406891 w 473110"/>
                <a:gd name="connsiteY42" fmla="*/ 73303 h 203488"/>
                <a:gd name="connsiteX43" fmla="*/ 412898 w 473110"/>
                <a:gd name="connsiteY43" fmla="*/ 56190 h 203488"/>
                <a:gd name="connsiteX44" fmla="*/ 415415 w 473110"/>
                <a:gd name="connsiteY44" fmla="*/ 43756 h 203488"/>
                <a:gd name="connsiteX45" fmla="*/ 415252 w 473110"/>
                <a:gd name="connsiteY45" fmla="*/ 43322 h 203488"/>
                <a:gd name="connsiteX46" fmla="*/ 468019 w 473110"/>
                <a:gd name="connsiteY46" fmla="*/ 171267 h 203488"/>
                <a:gd name="connsiteX47" fmla="*/ 443218 w 473110"/>
                <a:gd name="connsiteY47" fmla="*/ 184637 h 203488"/>
                <a:gd name="connsiteX48" fmla="*/ 461646 w 473110"/>
                <a:gd name="connsiteY48" fmla="*/ 203087 h 203488"/>
                <a:gd name="connsiteX49" fmla="*/ 468019 w 473110"/>
                <a:gd name="connsiteY49" fmla="*/ 171301 h 20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73110" h="203488">
                  <a:moveTo>
                    <a:pt x="415252" y="43322"/>
                  </a:moveTo>
                  <a:cubicBezTo>
                    <a:pt x="409569" y="43890"/>
                    <a:pt x="386515" y="39812"/>
                    <a:pt x="381887" y="38141"/>
                  </a:cubicBezTo>
                  <a:cubicBezTo>
                    <a:pt x="373120" y="34358"/>
                    <a:pt x="363338" y="32473"/>
                    <a:pt x="353475" y="32660"/>
                  </a:cubicBezTo>
                  <a:cubicBezTo>
                    <a:pt x="339958" y="32660"/>
                    <a:pt x="340486" y="32325"/>
                    <a:pt x="330095" y="28315"/>
                  </a:cubicBezTo>
                  <a:cubicBezTo>
                    <a:pt x="325264" y="26443"/>
                    <a:pt x="321043" y="28883"/>
                    <a:pt x="317918" y="25340"/>
                  </a:cubicBezTo>
                  <a:cubicBezTo>
                    <a:pt x="317512" y="24872"/>
                    <a:pt x="315767" y="18923"/>
                    <a:pt x="314387" y="19123"/>
                  </a:cubicBezTo>
                  <a:cubicBezTo>
                    <a:pt x="309313" y="19792"/>
                    <a:pt x="302210" y="26476"/>
                    <a:pt x="296081" y="23903"/>
                  </a:cubicBezTo>
                  <a:cubicBezTo>
                    <a:pt x="289181" y="21062"/>
                    <a:pt x="292955" y="17686"/>
                    <a:pt x="283457" y="15480"/>
                  </a:cubicBezTo>
                  <a:cubicBezTo>
                    <a:pt x="275664" y="13976"/>
                    <a:pt x="268114" y="11733"/>
                    <a:pt x="260970" y="8795"/>
                  </a:cubicBezTo>
                  <a:cubicBezTo>
                    <a:pt x="254679" y="6088"/>
                    <a:pt x="252609" y="10333"/>
                    <a:pt x="247170" y="7024"/>
                  </a:cubicBezTo>
                  <a:cubicBezTo>
                    <a:pt x="238849" y="1977"/>
                    <a:pt x="228823" y="-5176"/>
                    <a:pt x="215144" y="4316"/>
                  </a:cubicBezTo>
                  <a:cubicBezTo>
                    <a:pt x="202684" y="13040"/>
                    <a:pt x="220015" y="23635"/>
                    <a:pt x="193104" y="27212"/>
                  </a:cubicBezTo>
                  <a:cubicBezTo>
                    <a:pt x="170293" y="30253"/>
                    <a:pt x="169400" y="29652"/>
                    <a:pt x="159293" y="39812"/>
                  </a:cubicBezTo>
                  <a:cubicBezTo>
                    <a:pt x="152271" y="46865"/>
                    <a:pt x="125117" y="41584"/>
                    <a:pt x="117648" y="37874"/>
                  </a:cubicBezTo>
                  <a:cubicBezTo>
                    <a:pt x="111884" y="34999"/>
                    <a:pt x="89235" y="32158"/>
                    <a:pt x="93741" y="41216"/>
                  </a:cubicBezTo>
                  <a:cubicBezTo>
                    <a:pt x="95648" y="44793"/>
                    <a:pt x="120814" y="65314"/>
                    <a:pt x="91752" y="61738"/>
                  </a:cubicBezTo>
                  <a:cubicBezTo>
                    <a:pt x="81401" y="60501"/>
                    <a:pt x="78235" y="62674"/>
                    <a:pt x="69103" y="63109"/>
                  </a:cubicBezTo>
                  <a:cubicBezTo>
                    <a:pt x="63542" y="63376"/>
                    <a:pt x="58631" y="58663"/>
                    <a:pt x="53232" y="57895"/>
                  </a:cubicBezTo>
                  <a:cubicBezTo>
                    <a:pt x="43775" y="56558"/>
                    <a:pt x="6067" y="61538"/>
                    <a:pt x="953" y="65782"/>
                  </a:cubicBezTo>
                  <a:cubicBezTo>
                    <a:pt x="-2660" y="68724"/>
                    <a:pt x="4565" y="74138"/>
                    <a:pt x="4484" y="77548"/>
                  </a:cubicBezTo>
                  <a:cubicBezTo>
                    <a:pt x="4484" y="82394"/>
                    <a:pt x="13860" y="82494"/>
                    <a:pt x="20720" y="82862"/>
                  </a:cubicBezTo>
                  <a:cubicBezTo>
                    <a:pt x="38701" y="83831"/>
                    <a:pt x="57251" y="85670"/>
                    <a:pt x="74582" y="87441"/>
                  </a:cubicBezTo>
                  <a:cubicBezTo>
                    <a:pt x="93862" y="89446"/>
                    <a:pt x="86759" y="98070"/>
                    <a:pt x="97881" y="104153"/>
                  </a:cubicBezTo>
                  <a:cubicBezTo>
                    <a:pt x="105106" y="107996"/>
                    <a:pt x="116390" y="107295"/>
                    <a:pt x="123371" y="110570"/>
                  </a:cubicBezTo>
                  <a:cubicBezTo>
                    <a:pt x="128932" y="113211"/>
                    <a:pt x="122965" y="118726"/>
                    <a:pt x="126213" y="122101"/>
                  </a:cubicBezTo>
                  <a:cubicBezTo>
                    <a:pt x="130840" y="126948"/>
                    <a:pt x="123615" y="133532"/>
                    <a:pt x="122478" y="138512"/>
                  </a:cubicBezTo>
                  <a:cubicBezTo>
                    <a:pt x="121545" y="142623"/>
                    <a:pt x="123534" y="146768"/>
                    <a:pt x="122722" y="150946"/>
                  </a:cubicBezTo>
                  <a:cubicBezTo>
                    <a:pt x="121707" y="155926"/>
                    <a:pt x="119393" y="172604"/>
                    <a:pt x="107582" y="174342"/>
                  </a:cubicBezTo>
                  <a:cubicBezTo>
                    <a:pt x="115699" y="175980"/>
                    <a:pt x="183687" y="192692"/>
                    <a:pt x="183119" y="182832"/>
                  </a:cubicBezTo>
                  <a:cubicBezTo>
                    <a:pt x="183119" y="179724"/>
                    <a:pt x="210111" y="186375"/>
                    <a:pt x="215591" y="186709"/>
                  </a:cubicBezTo>
                  <a:cubicBezTo>
                    <a:pt x="233857" y="187779"/>
                    <a:pt x="250945" y="187645"/>
                    <a:pt x="269373" y="187378"/>
                  </a:cubicBezTo>
                  <a:cubicBezTo>
                    <a:pt x="264339" y="173674"/>
                    <a:pt x="275501" y="164549"/>
                    <a:pt x="304482" y="165117"/>
                  </a:cubicBezTo>
                  <a:cubicBezTo>
                    <a:pt x="324006" y="165519"/>
                    <a:pt x="344342" y="172704"/>
                    <a:pt x="362567" y="172437"/>
                  </a:cubicBezTo>
                  <a:cubicBezTo>
                    <a:pt x="377585" y="172237"/>
                    <a:pt x="386028" y="164583"/>
                    <a:pt x="396703" y="160171"/>
                  </a:cubicBezTo>
                  <a:cubicBezTo>
                    <a:pt x="398042" y="159603"/>
                    <a:pt x="422802" y="151548"/>
                    <a:pt x="411477" y="148907"/>
                  </a:cubicBezTo>
                  <a:cubicBezTo>
                    <a:pt x="404374" y="147236"/>
                    <a:pt x="379817" y="149308"/>
                    <a:pt x="390452" y="140150"/>
                  </a:cubicBezTo>
                  <a:cubicBezTo>
                    <a:pt x="396784" y="134735"/>
                    <a:pt x="375109" y="133465"/>
                    <a:pt x="379412" y="128920"/>
                  </a:cubicBezTo>
                  <a:cubicBezTo>
                    <a:pt x="379777" y="128519"/>
                    <a:pt x="403400" y="123338"/>
                    <a:pt x="393659" y="120430"/>
                  </a:cubicBezTo>
                  <a:cubicBezTo>
                    <a:pt x="383917" y="117522"/>
                    <a:pt x="394430" y="111339"/>
                    <a:pt x="388017" y="107595"/>
                  </a:cubicBezTo>
                  <a:cubicBezTo>
                    <a:pt x="382699" y="104521"/>
                    <a:pt x="380101" y="96365"/>
                    <a:pt x="369548" y="103384"/>
                  </a:cubicBezTo>
                  <a:cubicBezTo>
                    <a:pt x="359766" y="110069"/>
                    <a:pt x="365164" y="96900"/>
                    <a:pt x="367965" y="94627"/>
                  </a:cubicBezTo>
                  <a:cubicBezTo>
                    <a:pt x="372268" y="91285"/>
                    <a:pt x="384201" y="87942"/>
                    <a:pt x="385703" y="83865"/>
                  </a:cubicBezTo>
                  <a:cubicBezTo>
                    <a:pt x="388219" y="76846"/>
                    <a:pt x="404536" y="78918"/>
                    <a:pt x="406891" y="73303"/>
                  </a:cubicBezTo>
                  <a:cubicBezTo>
                    <a:pt x="409245" y="67688"/>
                    <a:pt x="408717" y="61805"/>
                    <a:pt x="412898" y="56190"/>
                  </a:cubicBezTo>
                  <a:cubicBezTo>
                    <a:pt x="414928" y="53483"/>
                    <a:pt x="436075" y="41784"/>
                    <a:pt x="415415" y="43756"/>
                  </a:cubicBezTo>
                  <a:cubicBezTo>
                    <a:pt x="410909" y="43790"/>
                    <a:pt x="419595" y="42921"/>
                    <a:pt x="415252" y="43322"/>
                  </a:cubicBezTo>
                  <a:close/>
                  <a:moveTo>
                    <a:pt x="468019" y="171267"/>
                  </a:moveTo>
                  <a:cubicBezTo>
                    <a:pt x="462458" y="171000"/>
                    <a:pt x="444274" y="181896"/>
                    <a:pt x="443218" y="184637"/>
                  </a:cubicBezTo>
                  <a:cubicBezTo>
                    <a:pt x="441189" y="189751"/>
                    <a:pt x="447602" y="204223"/>
                    <a:pt x="461646" y="203087"/>
                  </a:cubicBezTo>
                  <a:cubicBezTo>
                    <a:pt x="475690" y="201950"/>
                    <a:pt x="475447" y="171602"/>
                    <a:pt x="468019" y="1713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704D79AF-7E92-4B0E-978F-7837891CCDE7}"/>
                </a:ext>
              </a:extLst>
            </p:cNvPr>
            <p:cNvSpPr/>
            <p:nvPr/>
          </p:nvSpPr>
          <p:spPr>
            <a:xfrm>
              <a:off x="3215913" y="5115569"/>
              <a:ext cx="67604" cy="25759"/>
            </a:xfrm>
            <a:custGeom>
              <a:avLst/>
              <a:gdLst>
                <a:gd name="connsiteX0" fmla="*/ 60541 w 67604"/>
                <a:gd name="connsiteY0" fmla="*/ -68 h 25759"/>
                <a:gd name="connsiteX1" fmla="*/ 44549 w 67604"/>
                <a:gd name="connsiteY1" fmla="*/ 3876 h 25759"/>
                <a:gd name="connsiteX2" fmla="*/ 21940 w 67604"/>
                <a:gd name="connsiteY2" fmla="*/ 7219 h 25759"/>
                <a:gd name="connsiteX3" fmla="*/ -60 w 67604"/>
                <a:gd name="connsiteY3" fmla="*/ 25334 h 25759"/>
                <a:gd name="connsiteX4" fmla="*/ 45441 w 67604"/>
                <a:gd name="connsiteY4" fmla="*/ 18984 h 25759"/>
                <a:gd name="connsiteX5" fmla="*/ 60541 w 67604"/>
                <a:gd name="connsiteY5" fmla="*/ 66 h 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04" h="25759">
                  <a:moveTo>
                    <a:pt x="60541" y="-68"/>
                  </a:moveTo>
                  <a:cubicBezTo>
                    <a:pt x="56035" y="-1371"/>
                    <a:pt x="48932" y="2372"/>
                    <a:pt x="44549" y="3876"/>
                  </a:cubicBezTo>
                  <a:cubicBezTo>
                    <a:pt x="36431" y="6650"/>
                    <a:pt x="29896" y="6350"/>
                    <a:pt x="21940" y="7219"/>
                  </a:cubicBezTo>
                  <a:cubicBezTo>
                    <a:pt x="9114" y="8388"/>
                    <a:pt x="5379" y="18048"/>
                    <a:pt x="-60" y="25334"/>
                  </a:cubicBezTo>
                  <a:cubicBezTo>
                    <a:pt x="13538" y="26069"/>
                    <a:pt x="31276" y="21992"/>
                    <a:pt x="45441" y="18984"/>
                  </a:cubicBezTo>
                  <a:cubicBezTo>
                    <a:pt x="57618" y="16343"/>
                    <a:pt x="78522" y="5213"/>
                    <a:pt x="60541" y="6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BA30EC04-9C21-410A-826F-97A5DD36678C}"/>
                </a:ext>
              </a:extLst>
            </p:cNvPr>
            <p:cNvSpPr/>
            <p:nvPr/>
          </p:nvSpPr>
          <p:spPr>
            <a:xfrm>
              <a:off x="3230809" y="5049559"/>
              <a:ext cx="161831" cy="78480"/>
            </a:xfrm>
            <a:custGeom>
              <a:avLst/>
              <a:gdLst>
                <a:gd name="connsiteX0" fmla="*/ 79821 w 161831"/>
                <a:gd name="connsiteY0" fmla="*/ 65642 h 78480"/>
                <a:gd name="connsiteX1" fmla="*/ 78238 w 161831"/>
                <a:gd name="connsiteY1" fmla="*/ 55414 h 78480"/>
                <a:gd name="connsiteX2" fmla="*/ 109086 w 161831"/>
                <a:gd name="connsiteY2" fmla="*/ 34491 h 78480"/>
                <a:gd name="connsiteX3" fmla="*/ 130639 w 161831"/>
                <a:gd name="connsiteY3" fmla="*/ 22692 h 78480"/>
                <a:gd name="connsiteX4" fmla="*/ 161772 w 161831"/>
                <a:gd name="connsiteY4" fmla="*/ 2839 h 78480"/>
                <a:gd name="connsiteX5" fmla="*/ 119274 w 161831"/>
                <a:gd name="connsiteY5" fmla="*/ 1067 h 78480"/>
                <a:gd name="connsiteX6" fmla="*/ 70567 w 161831"/>
                <a:gd name="connsiteY6" fmla="*/ 19116 h 78480"/>
                <a:gd name="connsiteX7" fmla="*/ 16014 w 161831"/>
                <a:gd name="connsiteY7" fmla="*/ 42713 h 78480"/>
                <a:gd name="connsiteX8" fmla="*/ 5623 w 161831"/>
                <a:gd name="connsiteY8" fmla="*/ 57319 h 78480"/>
                <a:gd name="connsiteX9" fmla="*/ -60 w 161831"/>
                <a:gd name="connsiteY9" fmla="*/ 74031 h 78480"/>
                <a:gd name="connsiteX10" fmla="*/ 35944 w 161831"/>
                <a:gd name="connsiteY10" fmla="*/ 67614 h 78480"/>
                <a:gd name="connsiteX11" fmla="*/ 51002 w 161831"/>
                <a:gd name="connsiteY11" fmla="*/ 76237 h 78480"/>
                <a:gd name="connsiteX12" fmla="*/ 61154 w 161831"/>
                <a:gd name="connsiteY12" fmla="*/ 74011 h 78480"/>
                <a:gd name="connsiteX13" fmla="*/ 64722 w 161831"/>
                <a:gd name="connsiteY13" fmla="*/ 78142 h 78480"/>
                <a:gd name="connsiteX14" fmla="*/ 79821 w 161831"/>
                <a:gd name="connsiteY14" fmla="*/ 65709 h 78480"/>
                <a:gd name="connsiteX15" fmla="*/ 79821 w 161831"/>
                <a:gd name="connsiteY15" fmla="*/ 65642 h 7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1831" h="78480">
                  <a:moveTo>
                    <a:pt x="79821" y="65642"/>
                  </a:moveTo>
                  <a:cubicBezTo>
                    <a:pt x="80755" y="61698"/>
                    <a:pt x="70810" y="60762"/>
                    <a:pt x="78238" y="55414"/>
                  </a:cubicBezTo>
                  <a:cubicBezTo>
                    <a:pt x="87208" y="48963"/>
                    <a:pt x="110142" y="44585"/>
                    <a:pt x="109086" y="34491"/>
                  </a:cubicBezTo>
                  <a:cubicBezTo>
                    <a:pt x="108437" y="28475"/>
                    <a:pt x="124023" y="24798"/>
                    <a:pt x="130639" y="22692"/>
                  </a:cubicBezTo>
                  <a:cubicBezTo>
                    <a:pt x="143060" y="18715"/>
                    <a:pt x="148134" y="7351"/>
                    <a:pt x="161772" y="2839"/>
                  </a:cubicBezTo>
                  <a:cubicBezTo>
                    <a:pt x="158930" y="-2944"/>
                    <a:pt x="128366" y="900"/>
                    <a:pt x="119274" y="1067"/>
                  </a:cubicBezTo>
                  <a:cubicBezTo>
                    <a:pt x="102511" y="1401"/>
                    <a:pt x="83758" y="11094"/>
                    <a:pt x="70567" y="19116"/>
                  </a:cubicBezTo>
                  <a:cubicBezTo>
                    <a:pt x="54331" y="29143"/>
                    <a:pt x="29652" y="31048"/>
                    <a:pt x="16014" y="42713"/>
                  </a:cubicBezTo>
                  <a:cubicBezTo>
                    <a:pt x="11590" y="46056"/>
                    <a:pt x="9195" y="53275"/>
                    <a:pt x="5623" y="57319"/>
                  </a:cubicBezTo>
                  <a:cubicBezTo>
                    <a:pt x="915" y="62634"/>
                    <a:pt x="4446" y="69753"/>
                    <a:pt x="-60" y="74031"/>
                  </a:cubicBezTo>
                  <a:cubicBezTo>
                    <a:pt x="13132" y="72059"/>
                    <a:pt x="22792" y="72494"/>
                    <a:pt x="35944" y="67614"/>
                  </a:cubicBezTo>
                  <a:cubicBezTo>
                    <a:pt x="49095" y="62734"/>
                    <a:pt x="49501" y="70321"/>
                    <a:pt x="51002" y="76237"/>
                  </a:cubicBezTo>
                  <a:cubicBezTo>
                    <a:pt x="53060" y="73316"/>
                    <a:pt x="57602" y="72320"/>
                    <a:pt x="61154" y="74011"/>
                  </a:cubicBezTo>
                  <a:cubicBezTo>
                    <a:pt x="63013" y="74900"/>
                    <a:pt x="64312" y="76404"/>
                    <a:pt x="64722" y="78142"/>
                  </a:cubicBezTo>
                  <a:cubicBezTo>
                    <a:pt x="71094" y="75301"/>
                    <a:pt x="78603" y="70588"/>
                    <a:pt x="79821" y="65709"/>
                  </a:cubicBezTo>
                  <a:cubicBezTo>
                    <a:pt x="80349" y="63737"/>
                    <a:pt x="79375" y="67413"/>
                    <a:pt x="79821" y="6564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B0839648-AF7B-40EC-873C-54CE13255AB1}"/>
                </a:ext>
              </a:extLst>
            </p:cNvPr>
            <p:cNvSpPr/>
            <p:nvPr/>
          </p:nvSpPr>
          <p:spPr>
            <a:xfrm>
              <a:off x="2284175" y="4984141"/>
              <a:ext cx="958112" cy="244731"/>
            </a:xfrm>
            <a:custGeom>
              <a:avLst/>
              <a:gdLst>
                <a:gd name="connsiteX0" fmla="*/ 865152 w 958112"/>
                <a:gd name="connsiteY0" fmla="*/ 139348 h 244731"/>
                <a:gd name="connsiteX1" fmla="*/ 899207 w 958112"/>
                <a:gd name="connsiteY1" fmla="*/ 121533 h 244731"/>
                <a:gd name="connsiteX2" fmla="*/ 876801 w 958112"/>
                <a:gd name="connsiteY2" fmla="*/ 117289 h 244731"/>
                <a:gd name="connsiteX3" fmla="*/ 871809 w 958112"/>
                <a:gd name="connsiteY3" fmla="*/ 108231 h 244731"/>
                <a:gd name="connsiteX4" fmla="*/ 912398 w 958112"/>
                <a:gd name="connsiteY4" fmla="*/ 86338 h 244731"/>
                <a:gd name="connsiteX5" fmla="*/ 951243 w 958112"/>
                <a:gd name="connsiteY5" fmla="*/ 65114 h 244731"/>
                <a:gd name="connsiteX6" fmla="*/ 947184 w 958112"/>
                <a:gd name="connsiteY6" fmla="*/ 20026 h 244731"/>
                <a:gd name="connsiteX7" fmla="*/ 952217 w 958112"/>
                <a:gd name="connsiteY7" fmla="*/ -262 h 244731"/>
                <a:gd name="connsiteX8" fmla="*/ 940040 w 958112"/>
                <a:gd name="connsiteY8" fmla="*/ 4116 h 244731"/>
                <a:gd name="connsiteX9" fmla="*/ 921206 w 958112"/>
                <a:gd name="connsiteY9" fmla="*/ 8261 h 244731"/>
                <a:gd name="connsiteX10" fmla="*/ 859916 w 958112"/>
                <a:gd name="connsiteY10" fmla="*/ 44291 h 244731"/>
                <a:gd name="connsiteX11" fmla="*/ 861052 w 958112"/>
                <a:gd name="connsiteY11" fmla="*/ 79353 h 244731"/>
                <a:gd name="connsiteX12" fmla="*/ 850702 w 958112"/>
                <a:gd name="connsiteY12" fmla="*/ 94327 h 244731"/>
                <a:gd name="connsiteX13" fmla="*/ 829027 w 958112"/>
                <a:gd name="connsiteY13" fmla="*/ 100710 h 244731"/>
                <a:gd name="connsiteX14" fmla="*/ 779873 w 958112"/>
                <a:gd name="connsiteY14" fmla="*/ 127984 h 244731"/>
                <a:gd name="connsiteX15" fmla="*/ 761161 w 958112"/>
                <a:gd name="connsiteY15" fmla="*/ 135805 h 244731"/>
                <a:gd name="connsiteX16" fmla="*/ 728689 w 958112"/>
                <a:gd name="connsiteY16" fmla="*/ 139916 h 244731"/>
                <a:gd name="connsiteX17" fmla="*/ 705147 w 958112"/>
                <a:gd name="connsiteY17" fmla="*/ 127048 h 244731"/>
                <a:gd name="connsiteX18" fmla="*/ 663218 w 958112"/>
                <a:gd name="connsiteY18" fmla="*/ 120364 h 244731"/>
                <a:gd name="connsiteX19" fmla="*/ 630746 w 958112"/>
                <a:gd name="connsiteY19" fmla="*/ 84233 h 244731"/>
                <a:gd name="connsiteX20" fmla="*/ 621897 w 958112"/>
                <a:gd name="connsiteY20" fmla="*/ 55990 h 244731"/>
                <a:gd name="connsiteX21" fmla="*/ 620355 w 958112"/>
                <a:gd name="connsiteY21" fmla="*/ 42620 h 244731"/>
                <a:gd name="connsiteX22" fmla="*/ 598234 w 958112"/>
                <a:gd name="connsiteY22" fmla="*/ 47868 h 244731"/>
                <a:gd name="connsiteX23" fmla="*/ 546400 w 958112"/>
                <a:gd name="connsiteY23" fmla="*/ 45862 h 244731"/>
                <a:gd name="connsiteX24" fmla="*/ 524076 w 958112"/>
                <a:gd name="connsiteY24" fmla="*/ 38409 h 244731"/>
                <a:gd name="connsiteX25" fmla="*/ 489453 w 958112"/>
                <a:gd name="connsiteY25" fmla="*/ 27546 h 244731"/>
                <a:gd name="connsiteX26" fmla="*/ 431491 w 958112"/>
                <a:gd name="connsiteY26" fmla="*/ 40916 h 244731"/>
                <a:gd name="connsiteX27" fmla="*/ 425768 w 958112"/>
                <a:gd name="connsiteY27" fmla="*/ 58496 h 244731"/>
                <a:gd name="connsiteX28" fmla="*/ 395772 w 958112"/>
                <a:gd name="connsiteY28" fmla="*/ 64145 h 244731"/>
                <a:gd name="connsiteX29" fmla="*/ 370728 w 958112"/>
                <a:gd name="connsiteY29" fmla="*/ 60067 h 244731"/>
                <a:gd name="connsiteX30" fmla="*/ 345197 w 958112"/>
                <a:gd name="connsiteY30" fmla="*/ 56391 h 244731"/>
                <a:gd name="connsiteX31" fmla="*/ 302618 w 958112"/>
                <a:gd name="connsiteY31" fmla="*/ 55956 h 244731"/>
                <a:gd name="connsiteX32" fmla="*/ 260649 w 958112"/>
                <a:gd name="connsiteY32" fmla="*/ 75375 h 244731"/>
                <a:gd name="connsiteX33" fmla="*/ 255616 w 958112"/>
                <a:gd name="connsiteY33" fmla="*/ 85402 h 244731"/>
                <a:gd name="connsiteX34" fmla="*/ 246320 w 958112"/>
                <a:gd name="connsiteY34" fmla="*/ 90683 h 244731"/>
                <a:gd name="connsiteX35" fmla="*/ 172691 w 958112"/>
                <a:gd name="connsiteY35" fmla="*/ 125177 h 244731"/>
                <a:gd name="connsiteX36" fmla="*/ 68050 w 958112"/>
                <a:gd name="connsiteY36" fmla="*/ 151113 h 244731"/>
                <a:gd name="connsiteX37" fmla="*/ -60 w 958112"/>
                <a:gd name="connsiteY37" fmla="*/ 188314 h 244731"/>
                <a:gd name="connsiteX38" fmla="*/ 62814 w 958112"/>
                <a:gd name="connsiteY38" fmla="*/ 206463 h 244731"/>
                <a:gd name="connsiteX39" fmla="*/ 132628 w 958112"/>
                <a:gd name="connsiteY39" fmla="*/ 211576 h 244731"/>
                <a:gd name="connsiteX40" fmla="*/ 135226 w 958112"/>
                <a:gd name="connsiteY40" fmla="*/ 223643 h 244731"/>
                <a:gd name="connsiteX41" fmla="*/ 119761 w 958112"/>
                <a:gd name="connsiteY41" fmla="*/ 232901 h 244731"/>
                <a:gd name="connsiteX42" fmla="*/ 178495 w 958112"/>
                <a:gd name="connsiteY42" fmla="*/ 224478 h 244731"/>
                <a:gd name="connsiteX43" fmla="*/ 216365 w 958112"/>
                <a:gd name="connsiteY43" fmla="*/ 228155 h 244731"/>
                <a:gd name="connsiteX44" fmla="*/ 221561 w 958112"/>
                <a:gd name="connsiteY44" fmla="*/ 241524 h 244731"/>
                <a:gd name="connsiteX45" fmla="*/ 303024 w 958112"/>
                <a:gd name="connsiteY45" fmla="*/ 243931 h 244731"/>
                <a:gd name="connsiteX46" fmla="*/ 308869 w 958112"/>
                <a:gd name="connsiteY46" fmla="*/ 228823 h 244731"/>
                <a:gd name="connsiteX47" fmla="*/ 286910 w 958112"/>
                <a:gd name="connsiteY47" fmla="*/ 223810 h 244731"/>
                <a:gd name="connsiteX48" fmla="*/ 265276 w 958112"/>
                <a:gd name="connsiteY48" fmla="*/ 226015 h 244731"/>
                <a:gd name="connsiteX49" fmla="*/ 234265 w 958112"/>
                <a:gd name="connsiteY49" fmla="*/ 212880 h 244731"/>
                <a:gd name="connsiteX50" fmla="*/ 165263 w 958112"/>
                <a:gd name="connsiteY50" fmla="*/ 196469 h 244731"/>
                <a:gd name="connsiteX51" fmla="*/ 143222 w 958112"/>
                <a:gd name="connsiteY51" fmla="*/ 191690 h 244731"/>
                <a:gd name="connsiteX52" fmla="*/ 117813 w 958112"/>
                <a:gd name="connsiteY52" fmla="*/ 190787 h 244731"/>
                <a:gd name="connsiteX53" fmla="*/ 72069 w 958112"/>
                <a:gd name="connsiteY53" fmla="*/ 171134 h 244731"/>
                <a:gd name="connsiteX54" fmla="*/ 84245 w 958112"/>
                <a:gd name="connsiteY54" fmla="*/ 163681 h 244731"/>
                <a:gd name="connsiteX55" fmla="*/ 100481 w 958112"/>
                <a:gd name="connsiteY55" fmla="*/ 156494 h 244731"/>
                <a:gd name="connsiteX56" fmla="*/ 121466 w 958112"/>
                <a:gd name="connsiteY56" fmla="*/ 151815 h 244731"/>
                <a:gd name="connsiteX57" fmla="*/ 127677 w 958112"/>
                <a:gd name="connsiteY57" fmla="*/ 155158 h 244731"/>
                <a:gd name="connsiteX58" fmla="*/ 151259 w 958112"/>
                <a:gd name="connsiteY58" fmla="*/ 168093 h 244731"/>
                <a:gd name="connsiteX59" fmla="*/ 159377 w 958112"/>
                <a:gd name="connsiteY59" fmla="*/ 174276 h 244731"/>
                <a:gd name="connsiteX60" fmla="*/ 172122 w 958112"/>
                <a:gd name="connsiteY60" fmla="*/ 183534 h 244731"/>
                <a:gd name="connsiteX61" fmla="*/ 193513 w 958112"/>
                <a:gd name="connsiteY61" fmla="*/ 176348 h 244731"/>
                <a:gd name="connsiteX62" fmla="*/ 228989 w 958112"/>
                <a:gd name="connsiteY62" fmla="*/ 173942 h 244731"/>
                <a:gd name="connsiteX63" fmla="*/ 251272 w 958112"/>
                <a:gd name="connsiteY63" fmla="*/ 178120 h 244731"/>
                <a:gd name="connsiteX64" fmla="*/ 283744 w 958112"/>
                <a:gd name="connsiteY64" fmla="*/ 177351 h 244731"/>
                <a:gd name="connsiteX65" fmla="*/ 295678 w 958112"/>
                <a:gd name="connsiteY65" fmla="*/ 189818 h 244731"/>
                <a:gd name="connsiteX66" fmla="*/ 330422 w 958112"/>
                <a:gd name="connsiteY66" fmla="*/ 187044 h 244731"/>
                <a:gd name="connsiteX67" fmla="*/ 398816 w 958112"/>
                <a:gd name="connsiteY67" fmla="*/ 193461 h 244731"/>
                <a:gd name="connsiteX68" fmla="*/ 449919 w 958112"/>
                <a:gd name="connsiteY68" fmla="*/ 213515 h 244731"/>
                <a:gd name="connsiteX69" fmla="*/ 455601 w 958112"/>
                <a:gd name="connsiteY69" fmla="*/ 220200 h 244731"/>
                <a:gd name="connsiteX70" fmla="*/ 448701 w 958112"/>
                <a:gd name="connsiteY70" fmla="*/ 227921 h 244731"/>
                <a:gd name="connsiteX71" fmla="*/ 469767 w 958112"/>
                <a:gd name="connsiteY71" fmla="*/ 237647 h 244731"/>
                <a:gd name="connsiteX72" fmla="*/ 502848 w 958112"/>
                <a:gd name="connsiteY72" fmla="*/ 233402 h 244731"/>
                <a:gd name="connsiteX73" fmla="*/ 553057 w 958112"/>
                <a:gd name="connsiteY73" fmla="*/ 229726 h 244731"/>
                <a:gd name="connsiteX74" fmla="*/ 660295 w 958112"/>
                <a:gd name="connsiteY74" fmla="*/ 210373 h 244731"/>
                <a:gd name="connsiteX75" fmla="*/ 757711 w 958112"/>
                <a:gd name="connsiteY75" fmla="*/ 184370 h 244731"/>
                <a:gd name="connsiteX76" fmla="*/ 852731 w 958112"/>
                <a:gd name="connsiteY76" fmla="*/ 164984 h 244731"/>
                <a:gd name="connsiteX77" fmla="*/ 865233 w 958112"/>
                <a:gd name="connsiteY77" fmla="*/ 139616 h 244731"/>
                <a:gd name="connsiteX78" fmla="*/ 865152 w 958112"/>
                <a:gd name="connsiteY78" fmla="*/ 139348 h 2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58112" h="244731">
                  <a:moveTo>
                    <a:pt x="865152" y="139348"/>
                  </a:moveTo>
                  <a:cubicBezTo>
                    <a:pt x="870144" y="136641"/>
                    <a:pt x="905742" y="127015"/>
                    <a:pt x="899207" y="121533"/>
                  </a:cubicBezTo>
                  <a:cubicBezTo>
                    <a:pt x="895148" y="117957"/>
                    <a:pt x="883742" y="118191"/>
                    <a:pt x="876801" y="117289"/>
                  </a:cubicBezTo>
                  <a:cubicBezTo>
                    <a:pt x="869860" y="116386"/>
                    <a:pt x="872296" y="113044"/>
                    <a:pt x="871809" y="108231"/>
                  </a:cubicBezTo>
                  <a:cubicBezTo>
                    <a:pt x="870631" y="97201"/>
                    <a:pt x="898395" y="91719"/>
                    <a:pt x="912398" y="86338"/>
                  </a:cubicBezTo>
                  <a:cubicBezTo>
                    <a:pt x="931800" y="78918"/>
                    <a:pt x="926767" y="62073"/>
                    <a:pt x="951243" y="65114"/>
                  </a:cubicBezTo>
                  <a:cubicBezTo>
                    <a:pt x="965287" y="47400"/>
                    <a:pt x="936549" y="35401"/>
                    <a:pt x="947184" y="20026"/>
                  </a:cubicBezTo>
                  <a:cubicBezTo>
                    <a:pt x="951040" y="14411"/>
                    <a:pt x="966261" y="2111"/>
                    <a:pt x="952217" y="-262"/>
                  </a:cubicBezTo>
                  <a:cubicBezTo>
                    <a:pt x="948158" y="-897"/>
                    <a:pt x="943287" y="2579"/>
                    <a:pt x="940040" y="4116"/>
                  </a:cubicBezTo>
                  <a:cubicBezTo>
                    <a:pt x="933424" y="7459"/>
                    <a:pt x="927863" y="6423"/>
                    <a:pt x="921206" y="8261"/>
                  </a:cubicBezTo>
                  <a:cubicBezTo>
                    <a:pt x="902413" y="13375"/>
                    <a:pt x="866654" y="31357"/>
                    <a:pt x="859916" y="44291"/>
                  </a:cubicBezTo>
                  <a:cubicBezTo>
                    <a:pt x="853706" y="56157"/>
                    <a:pt x="867263" y="67287"/>
                    <a:pt x="861052" y="79353"/>
                  </a:cubicBezTo>
                  <a:cubicBezTo>
                    <a:pt x="858942" y="83431"/>
                    <a:pt x="847414" y="90650"/>
                    <a:pt x="850702" y="94327"/>
                  </a:cubicBezTo>
                  <a:cubicBezTo>
                    <a:pt x="855045" y="99173"/>
                    <a:pt x="832315" y="100577"/>
                    <a:pt x="829027" y="100710"/>
                  </a:cubicBezTo>
                  <a:cubicBezTo>
                    <a:pt x="817297" y="101112"/>
                    <a:pt x="789087" y="122369"/>
                    <a:pt x="779873" y="127984"/>
                  </a:cubicBezTo>
                  <a:cubicBezTo>
                    <a:pt x="773622" y="131761"/>
                    <a:pt x="769035" y="135371"/>
                    <a:pt x="761161" y="135805"/>
                  </a:cubicBezTo>
                  <a:cubicBezTo>
                    <a:pt x="749877" y="136440"/>
                    <a:pt x="739527" y="138813"/>
                    <a:pt x="728689" y="139916"/>
                  </a:cubicBezTo>
                  <a:cubicBezTo>
                    <a:pt x="715091" y="141320"/>
                    <a:pt x="713022" y="130625"/>
                    <a:pt x="705147" y="127048"/>
                  </a:cubicBezTo>
                  <a:cubicBezTo>
                    <a:pt x="693701" y="121868"/>
                    <a:pt x="674826" y="125143"/>
                    <a:pt x="663218" y="120364"/>
                  </a:cubicBezTo>
                  <a:cubicBezTo>
                    <a:pt x="646292" y="113144"/>
                    <a:pt x="637849" y="96800"/>
                    <a:pt x="630746" y="84233"/>
                  </a:cubicBezTo>
                  <a:cubicBezTo>
                    <a:pt x="625567" y="75389"/>
                    <a:pt x="622563" y="65793"/>
                    <a:pt x="621897" y="55990"/>
                  </a:cubicBezTo>
                  <a:cubicBezTo>
                    <a:pt x="622234" y="51494"/>
                    <a:pt x="621715" y="46982"/>
                    <a:pt x="620355" y="42620"/>
                  </a:cubicBezTo>
                  <a:cubicBezTo>
                    <a:pt x="612237" y="43155"/>
                    <a:pt x="606230" y="45963"/>
                    <a:pt x="598234" y="47868"/>
                  </a:cubicBezTo>
                  <a:cubicBezTo>
                    <a:pt x="575138" y="53082"/>
                    <a:pt x="558659" y="56224"/>
                    <a:pt x="546400" y="45862"/>
                  </a:cubicBezTo>
                  <a:cubicBezTo>
                    <a:pt x="539500" y="40013"/>
                    <a:pt x="535644" y="39846"/>
                    <a:pt x="524076" y="38409"/>
                  </a:cubicBezTo>
                  <a:cubicBezTo>
                    <a:pt x="510032" y="36671"/>
                    <a:pt x="502482" y="29485"/>
                    <a:pt x="489453" y="27546"/>
                  </a:cubicBezTo>
                  <a:cubicBezTo>
                    <a:pt x="477885" y="25775"/>
                    <a:pt x="440096" y="29786"/>
                    <a:pt x="431491" y="40916"/>
                  </a:cubicBezTo>
                  <a:cubicBezTo>
                    <a:pt x="426864" y="46965"/>
                    <a:pt x="428041" y="52581"/>
                    <a:pt x="425768" y="58496"/>
                  </a:cubicBezTo>
                  <a:cubicBezTo>
                    <a:pt x="424103" y="62741"/>
                    <a:pt x="400074" y="63644"/>
                    <a:pt x="395772" y="64145"/>
                  </a:cubicBezTo>
                  <a:cubicBezTo>
                    <a:pt x="384610" y="65348"/>
                    <a:pt x="375112" y="66618"/>
                    <a:pt x="370728" y="60067"/>
                  </a:cubicBezTo>
                  <a:cubicBezTo>
                    <a:pt x="368009" y="55923"/>
                    <a:pt x="353112" y="54452"/>
                    <a:pt x="345197" y="56391"/>
                  </a:cubicBezTo>
                  <a:cubicBezTo>
                    <a:pt x="333223" y="59332"/>
                    <a:pt x="312725" y="51277"/>
                    <a:pt x="302618" y="55956"/>
                  </a:cubicBezTo>
                  <a:cubicBezTo>
                    <a:pt x="288627" y="62374"/>
                    <a:pt x="274640" y="68848"/>
                    <a:pt x="260649" y="75375"/>
                  </a:cubicBezTo>
                  <a:cubicBezTo>
                    <a:pt x="257970" y="76645"/>
                    <a:pt x="256590" y="83330"/>
                    <a:pt x="255616" y="85402"/>
                  </a:cubicBezTo>
                  <a:cubicBezTo>
                    <a:pt x="254641" y="87475"/>
                    <a:pt x="249202" y="89313"/>
                    <a:pt x="246320" y="90683"/>
                  </a:cubicBezTo>
                  <a:cubicBezTo>
                    <a:pt x="224767" y="100911"/>
                    <a:pt x="195827" y="119361"/>
                    <a:pt x="172691" y="125177"/>
                  </a:cubicBezTo>
                  <a:cubicBezTo>
                    <a:pt x="138676" y="133700"/>
                    <a:pt x="101537" y="146735"/>
                    <a:pt x="68050" y="151113"/>
                  </a:cubicBezTo>
                  <a:cubicBezTo>
                    <a:pt x="46741" y="153854"/>
                    <a:pt x="18409" y="176983"/>
                    <a:pt x="-60" y="188314"/>
                  </a:cubicBezTo>
                  <a:cubicBezTo>
                    <a:pt x="20763" y="195333"/>
                    <a:pt x="45320" y="195901"/>
                    <a:pt x="62814" y="206463"/>
                  </a:cubicBezTo>
                  <a:cubicBezTo>
                    <a:pt x="80308" y="217024"/>
                    <a:pt x="115581" y="199979"/>
                    <a:pt x="132628" y="211576"/>
                  </a:cubicBezTo>
                  <a:cubicBezTo>
                    <a:pt x="135835" y="213749"/>
                    <a:pt x="144075" y="219632"/>
                    <a:pt x="135226" y="223643"/>
                  </a:cubicBezTo>
                  <a:cubicBezTo>
                    <a:pt x="132791" y="224745"/>
                    <a:pt x="113917" y="230762"/>
                    <a:pt x="119761" y="232901"/>
                  </a:cubicBezTo>
                  <a:cubicBezTo>
                    <a:pt x="137946" y="239585"/>
                    <a:pt x="159377" y="225481"/>
                    <a:pt x="178495" y="224478"/>
                  </a:cubicBezTo>
                  <a:cubicBezTo>
                    <a:pt x="191524" y="223810"/>
                    <a:pt x="208166" y="222740"/>
                    <a:pt x="216365" y="228155"/>
                  </a:cubicBezTo>
                  <a:cubicBezTo>
                    <a:pt x="220789" y="231096"/>
                    <a:pt x="216812" y="240822"/>
                    <a:pt x="221561" y="241524"/>
                  </a:cubicBezTo>
                  <a:cubicBezTo>
                    <a:pt x="247132" y="245334"/>
                    <a:pt x="283014" y="231196"/>
                    <a:pt x="303024" y="243931"/>
                  </a:cubicBezTo>
                  <a:cubicBezTo>
                    <a:pt x="308382" y="247273"/>
                    <a:pt x="317028" y="231464"/>
                    <a:pt x="308869" y="228823"/>
                  </a:cubicBezTo>
                  <a:cubicBezTo>
                    <a:pt x="301725" y="226584"/>
                    <a:pt x="297585" y="220200"/>
                    <a:pt x="286910" y="223810"/>
                  </a:cubicBezTo>
                  <a:cubicBezTo>
                    <a:pt x="276235" y="227419"/>
                    <a:pt x="269781" y="233168"/>
                    <a:pt x="265276" y="226015"/>
                  </a:cubicBezTo>
                  <a:cubicBezTo>
                    <a:pt x="260243" y="218094"/>
                    <a:pt x="244169" y="217726"/>
                    <a:pt x="234265" y="212880"/>
                  </a:cubicBezTo>
                  <a:cubicBezTo>
                    <a:pt x="214660" y="203221"/>
                    <a:pt x="189617" y="201516"/>
                    <a:pt x="165263" y="196469"/>
                  </a:cubicBezTo>
                  <a:cubicBezTo>
                    <a:pt x="160757" y="195533"/>
                    <a:pt x="141477" y="196035"/>
                    <a:pt x="143222" y="191690"/>
                  </a:cubicBezTo>
                  <a:cubicBezTo>
                    <a:pt x="148174" y="179523"/>
                    <a:pt x="128691" y="188347"/>
                    <a:pt x="117813" y="190787"/>
                  </a:cubicBezTo>
                  <a:cubicBezTo>
                    <a:pt x="94149" y="195734"/>
                    <a:pt x="85341" y="178019"/>
                    <a:pt x="72069" y="171134"/>
                  </a:cubicBezTo>
                  <a:cubicBezTo>
                    <a:pt x="60785" y="165285"/>
                    <a:pt x="76371" y="164449"/>
                    <a:pt x="84245" y="163681"/>
                  </a:cubicBezTo>
                  <a:cubicBezTo>
                    <a:pt x="90090" y="163112"/>
                    <a:pt x="93337" y="157196"/>
                    <a:pt x="100481" y="156494"/>
                  </a:cubicBezTo>
                  <a:cubicBezTo>
                    <a:pt x="111684" y="155391"/>
                    <a:pt x="109858" y="157698"/>
                    <a:pt x="121466" y="151815"/>
                  </a:cubicBezTo>
                  <a:cubicBezTo>
                    <a:pt x="129990" y="147470"/>
                    <a:pt x="127230" y="152183"/>
                    <a:pt x="127677" y="155158"/>
                  </a:cubicBezTo>
                  <a:cubicBezTo>
                    <a:pt x="128894" y="163146"/>
                    <a:pt x="142208" y="165452"/>
                    <a:pt x="151259" y="168093"/>
                  </a:cubicBezTo>
                  <a:cubicBezTo>
                    <a:pt x="155927" y="169463"/>
                    <a:pt x="160676" y="169997"/>
                    <a:pt x="159377" y="174276"/>
                  </a:cubicBezTo>
                  <a:cubicBezTo>
                    <a:pt x="158362" y="177919"/>
                    <a:pt x="164410" y="189149"/>
                    <a:pt x="172122" y="183534"/>
                  </a:cubicBezTo>
                  <a:cubicBezTo>
                    <a:pt x="181296" y="176849"/>
                    <a:pt x="179144" y="175178"/>
                    <a:pt x="193513" y="176348"/>
                  </a:cubicBezTo>
                  <a:cubicBezTo>
                    <a:pt x="205690" y="177317"/>
                    <a:pt x="217380" y="173607"/>
                    <a:pt x="228989" y="173942"/>
                  </a:cubicBezTo>
                  <a:cubicBezTo>
                    <a:pt x="238081" y="174175"/>
                    <a:pt x="236741" y="183334"/>
                    <a:pt x="251272" y="178120"/>
                  </a:cubicBezTo>
                  <a:cubicBezTo>
                    <a:pt x="256224" y="176348"/>
                    <a:pt x="280862" y="175379"/>
                    <a:pt x="283744" y="177351"/>
                  </a:cubicBezTo>
                  <a:cubicBezTo>
                    <a:pt x="289873" y="181729"/>
                    <a:pt x="281958" y="190353"/>
                    <a:pt x="295678" y="189818"/>
                  </a:cubicBezTo>
                  <a:cubicBezTo>
                    <a:pt x="308342" y="189350"/>
                    <a:pt x="319341" y="184503"/>
                    <a:pt x="330422" y="187044"/>
                  </a:cubicBezTo>
                  <a:cubicBezTo>
                    <a:pt x="350352" y="191623"/>
                    <a:pt x="377141" y="190887"/>
                    <a:pt x="398816" y="193461"/>
                  </a:cubicBezTo>
                  <a:cubicBezTo>
                    <a:pt x="416148" y="195500"/>
                    <a:pt x="451055" y="198742"/>
                    <a:pt x="449919" y="213515"/>
                  </a:cubicBezTo>
                  <a:cubicBezTo>
                    <a:pt x="449675" y="217325"/>
                    <a:pt x="455479" y="217325"/>
                    <a:pt x="455601" y="220200"/>
                  </a:cubicBezTo>
                  <a:cubicBezTo>
                    <a:pt x="455723" y="223074"/>
                    <a:pt x="446347" y="225447"/>
                    <a:pt x="448701" y="227921"/>
                  </a:cubicBezTo>
                  <a:cubicBezTo>
                    <a:pt x="454245" y="232968"/>
                    <a:pt x="461645" y="236377"/>
                    <a:pt x="469767" y="237647"/>
                  </a:cubicBezTo>
                  <a:cubicBezTo>
                    <a:pt x="479590" y="239351"/>
                    <a:pt x="491848" y="233736"/>
                    <a:pt x="502848" y="233402"/>
                  </a:cubicBezTo>
                  <a:cubicBezTo>
                    <a:pt x="520545" y="232867"/>
                    <a:pt x="534021" y="235675"/>
                    <a:pt x="553057" y="229726"/>
                  </a:cubicBezTo>
                  <a:cubicBezTo>
                    <a:pt x="588614" y="218662"/>
                    <a:pt x="624333" y="217492"/>
                    <a:pt x="660295" y="210373"/>
                  </a:cubicBezTo>
                  <a:cubicBezTo>
                    <a:pt x="697435" y="203053"/>
                    <a:pt x="725888" y="206530"/>
                    <a:pt x="757711" y="184370"/>
                  </a:cubicBezTo>
                  <a:cubicBezTo>
                    <a:pt x="788600" y="162979"/>
                    <a:pt x="818961" y="162076"/>
                    <a:pt x="852731" y="164984"/>
                  </a:cubicBezTo>
                  <a:cubicBezTo>
                    <a:pt x="854720" y="160405"/>
                    <a:pt x="858576" y="143326"/>
                    <a:pt x="865233" y="139616"/>
                  </a:cubicBezTo>
                  <a:cubicBezTo>
                    <a:pt x="867871" y="137911"/>
                    <a:pt x="863894" y="140050"/>
                    <a:pt x="865152" y="13934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13FFF021-EA92-46C6-91FB-1270C274D0FC}"/>
                </a:ext>
              </a:extLst>
            </p:cNvPr>
            <p:cNvSpPr/>
            <p:nvPr/>
          </p:nvSpPr>
          <p:spPr>
            <a:xfrm>
              <a:off x="3138911" y="5067877"/>
              <a:ext cx="107484" cy="84215"/>
            </a:xfrm>
            <a:custGeom>
              <a:avLst/>
              <a:gdLst>
                <a:gd name="connsiteX0" fmla="*/ 97521 w 107484"/>
                <a:gd name="connsiteY0" fmla="*/ 39001 h 84215"/>
                <a:gd name="connsiteX1" fmla="*/ 107425 w 107484"/>
                <a:gd name="connsiteY1" fmla="*/ 24796 h 84215"/>
                <a:gd name="connsiteX2" fmla="*/ 94355 w 107484"/>
                <a:gd name="connsiteY2" fmla="*/ 25264 h 84215"/>
                <a:gd name="connsiteX3" fmla="*/ 81285 w 107484"/>
                <a:gd name="connsiteY3" fmla="*/ 31481 h 84215"/>
                <a:gd name="connsiteX4" fmla="*/ 65049 w 107484"/>
                <a:gd name="connsiteY4" fmla="*/ -339 h 84215"/>
                <a:gd name="connsiteX5" fmla="*/ 24175 w 107484"/>
                <a:gd name="connsiteY5" fmla="*/ 15136 h 84215"/>
                <a:gd name="connsiteX6" fmla="*/ 16788 w 107484"/>
                <a:gd name="connsiteY6" fmla="*/ 32082 h 84215"/>
                <a:gd name="connsiteX7" fmla="*/ 23647 w 107484"/>
                <a:gd name="connsiteY7" fmla="*/ 50799 h 84215"/>
                <a:gd name="connsiteX8" fmla="*/ 3352 w 107484"/>
                <a:gd name="connsiteY8" fmla="*/ 68848 h 84215"/>
                <a:gd name="connsiteX9" fmla="*/ 15976 w 107484"/>
                <a:gd name="connsiteY9" fmla="*/ 82552 h 84215"/>
                <a:gd name="connsiteX10" fmla="*/ 41953 w 107484"/>
                <a:gd name="connsiteY10" fmla="*/ 82986 h 84215"/>
                <a:gd name="connsiteX11" fmla="*/ 81163 w 107484"/>
                <a:gd name="connsiteY11" fmla="*/ 67344 h 84215"/>
                <a:gd name="connsiteX12" fmla="*/ 92853 w 107484"/>
                <a:gd name="connsiteY12" fmla="*/ 54309 h 84215"/>
                <a:gd name="connsiteX13" fmla="*/ 97521 w 107484"/>
                <a:gd name="connsiteY13" fmla="*/ 39001 h 8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484" h="84215">
                  <a:moveTo>
                    <a:pt x="97521" y="39001"/>
                  </a:moveTo>
                  <a:cubicBezTo>
                    <a:pt x="101393" y="34552"/>
                    <a:pt x="104709" y="29793"/>
                    <a:pt x="107425" y="24796"/>
                  </a:cubicBezTo>
                  <a:cubicBezTo>
                    <a:pt x="101904" y="29341"/>
                    <a:pt x="95248" y="30712"/>
                    <a:pt x="94355" y="25264"/>
                  </a:cubicBezTo>
                  <a:lnTo>
                    <a:pt x="81285" y="31481"/>
                  </a:lnTo>
                  <a:cubicBezTo>
                    <a:pt x="75874" y="20875"/>
                    <a:pt x="70459" y="10267"/>
                    <a:pt x="65049" y="-339"/>
                  </a:cubicBezTo>
                  <a:cubicBezTo>
                    <a:pt x="51654" y="5176"/>
                    <a:pt x="37813" y="10056"/>
                    <a:pt x="24175" y="15136"/>
                  </a:cubicBezTo>
                  <a:cubicBezTo>
                    <a:pt x="9562" y="20618"/>
                    <a:pt x="23891" y="25665"/>
                    <a:pt x="16788" y="32082"/>
                  </a:cubicBezTo>
                  <a:cubicBezTo>
                    <a:pt x="13256" y="35425"/>
                    <a:pt x="73613" y="32583"/>
                    <a:pt x="23647" y="50799"/>
                  </a:cubicBezTo>
                  <a:cubicBezTo>
                    <a:pt x="8304" y="56414"/>
                    <a:pt x="8426" y="57785"/>
                    <a:pt x="3352" y="68848"/>
                  </a:cubicBezTo>
                  <a:cubicBezTo>
                    <a:pt x="-2695" y="81817"/>
                    <a:pt x="-1965" y="81014"/>
                    <a:pt x="15976" y="82552"/>
                  </a:cubicBezTo>
                  <a:cubicBezTo>
                    <a:pt x="23769" y="83254"/>
                    <a:pt x="33104" y="84891"/>
                    <a:pt x="41953" y="82986"/>
                  </a:cubicBezTo>
                  <a:cubicBezTo>
                    <a:pt x="53887" y="80346"/>
                    <a:pt x="76170" y="73795"/>
                    <a:pt x="81163" y="67344"/>
                  </a:cubicBezTo>
                  <a:cubicBezTo>
                    <a:pt x="83720" y="64002"/>
                    <a:pt x="91716" y="57685"/>
                    <a:pt x="92853" y="54309"/>
                  </a:cubicBezTo>
                  <a:cubicBezTo>
                    <a:pt x="94760" y="48527"/>
                    <a:pt x="92000" y="45218"/>
                    <a:pt x="97521" y="390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3863D980-D3EC-4E27-A30E-A34110C98756}"/>
                </a:ext>
              </a:extLst>
            </p:cNvPr>
            <p:cNvSpPr/>
            <p:nvPr/>
          </p:nvSpPr>
          <p:spPr>
            <a:xfrm>
              <a:off x="3205679" y="5048970"/>
              <a:ext cx="33572" cy="50659"/>
            </a:xfrm>
            <a:custGeom>
              <a:avLst/>
              <a:gdLst>
                <a:gd name="connsiteX0" fmla="*/ 2137 w 33572"/>
                <a:gd name="connsiteY0" fmla="*/ 16897 h 50659"/>
                <a:gd name="connsiteX1" fmla="*/ 14517 w 33572"/>
                <a:gd name="connsiteY1" fmla="*/ 50321 h 50659"/>
                <a:gd name="connsiteX2" fmla="*/ 33350 w 33572"/>
                <a:gd name="connsiteY2" fmla="*/ 28261 h 50659"/>
                <a:gd name="connsiteX3" fmla="*/ 24908 w 33572"/>
                <a:gd name="connsiteY3" fmla="*/ 15293 h 50659"/>
                <a:gd name="connsiteX4" fmla="*/ 29738 w 33572"/>
                <a:gd name="connsiteY4" fmla="*/ 185 h 50659"/>
                <a:gd name="connsiteX5" fmla="*/ 2137 w 33572"/>
                <a:gd name="connsiteY5" fmla="*/ 16897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72" h="50659">
                  <a:moveTo>
                    <a:pt x="2137" y="16897"/>
                  </a:moveTo>
                  <a:cubicBezTo>
                    <a:pt x="-5981" y="23582"/>
                    <a:pt x="10742" y="42901"/>
                    <a:pt x="14517" y="50321"/>
                  </a:cubicBezTo>
                  <a:cubicBezTo>
                    <a:pt x="26247" y="44739"/>
                    <a:pt x="34812" y="37252"/>
                    <a:pt x="33350" y="28261"/>
                  </a:cubicBezTo>
                  <a:cubicBezTo>
                    <a:pt x="32620" y="23314"/>
                    <a:pt x="27992" y="19370"/>
                    <a:pt x="24908" y="15293"/>
                  </a:cubicBezTo>
                  <a:cubicBezTo>
                    <a:pt x="19428" y="8140"/>
                    <a:pt x="23771" y="7772"/>
                    <a:pt x="29738" y="185"/>
                  </a:cubicBezTo>
                  <a:cubicBezTo>
                    <a:pt x="5384" y="-2823"/>
                    <a:pt x="13827" y="7706"/>
                    <a:pt x="2137" y="1689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C16B056C-388F-4BF5-9ACC-C25F1F5D42ED}"/>
                </a:ext>
              </a:extLst>
            </p:cNvPr>
            <p:cNvSpPr/>
            <p:nvPr/>
          </p:nvSpPr>
          <p:spPr>
            <a:xfrm>
              <a:off x="3608683" y="4867436"/>
              <a:ext cx="78557" cy="50779"/>
            </a:xfrm>
            <a:custGeom>
              <a:avLst/>
              <a:gdLst>
                <a:gd name="connsiteX0" fmla="*/ 23133 w 78557"/>
                <a:gd name="connsiteY0" fmla="*/ 9087 h 50779"/>
                <a:gd name="connsiteX1" fmla="*/ 50450 w 78557"/>
                <a:gd name="connsiteY1" fmla="*/ 23559 h 50779"/>
                <a:gd name="connsiteX2" fmla="*/ 22565 w 78557"/>
                <a:gd name="connsiteY2" fmla="*/ 37263 h 50779"/>
                <a:gd name="connsiteX3" fmla="*/ 9130 w 78557"/>
                <a:gd name="connsiteY3" fmla="*/ 50264 h 50779"/>
                <a:gd name="connsiteX4" fmla="*/ 78498 w 78557"/>
                <a:gd name="connsiteY4" fmla="*/ 32416 h 50779"/>
                <a:gd name="connsiteX5" fmla="*/ 69974 w 78557"/>
                <a:gd name="connsiteY5" fmla="*/ -339 h 50779"/>
                <a:gd name="connsiteX6" fmla="*/ 23133 w 78557"/>
                <a:gd name="connsiteY6" fmla="*/ 9087 h 50779"/>
                <a:gd name="connsiteX7" fmla="*/ 23133 w 78557"/>
                <a:gd name="connsiteY7" fmla="*/ 9087 h 5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57" h="50779">
                  <a:moveTo>
                    <a:pt x="23133" y="9087"/>
                  </a:moveTo>
                  <a:cubicBezTo>
                    <a:pt x="13757" y="17175"/>
                    <a:pt x="45498" y="20250"/>
                    <a:pt x="50450" y="23559"/>
                  </a:cubicBezTo>
                  <a:cubicBezTo>
                    <a:pt x="58568" y="28840"/>
                    <a:pt x="27964" y="35658"/>
                    <a:pt x="22565" y="37263"/>
                  </a:cubicBezTo>
                  <a:cubicBezTo>
                    <a:pt x="15340" y="39435"/>
                    <a:pt x="-15061" y="52069"/>
                    <a:pt x="9130" y="50264"/>
                  </a:cubicBezTo>
                  <a:cubicBezTo>
                    <a:pt x="34296" y="48460"/>
                    <a:pt x="51587" y="32884"/>
                    <a:pt x="78498" y="32416"/>
                  </a:cubicBezTo>
                  <a:cubicBezTo>
                    <a:pt x="75170" y="21620"/>
                    <a:pt x="72166" y="10724"/>
                    <a:pt x="69974" y="-339"/>
                  </a:cubicBezTo>
                  <a:cubicBezTo>
                    <a:pt x="57797" y="1466"/>
                    <a:pt x="32428" y="965"/>
                    <a:pt x="23133" y="9087"/>
                  </a:cubicBezTo>
                  <a:cubicBezTo>
                    <a:pt x="12905" y="17944"/>
                    <a:pt x="30602" y="2602"/>
                    <a:pt x="23133" y="90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532CEE8D-3229-44E2-8541-D5A7FD3B34C9}"/>
                </a:ext>
              </a:extLst>
            </p:cNvPr>
            <p:cNvSpPr/>
            <p:nvPr/>
          </p:nvSpPr>
          <p:spPr>
            <a:xfrm>
              <a:off x="3678758" y="4853531"/>
              <a:ext cx="99196" cy="46626"/>
            </a:xfrm>
            <a:custGeom>
              <a:avLst/>
              <a:gdLst>
                <a:gd name="connsiteX0" fmla="*/ 42722 w 99196"/>
                <a:gd name="connsiteY0" fmla="*/ 28540 h 46626"/>
                <a:gd name="connsiteX1" fmla="*/ 89116 w 99196"/>
                <a:gd name="connsiteY1" fmla="*/ 397 h 46626"/>
                <a:gd name="connsiteX2" fmla="*/ 46172 w 99196"/>
                <a:gd name="connsiteY2" fmla="*/ 1968 h 46626"/>
                <a:gd name="connsiteX3" fmla="*/ -60 w 99196"/>
                <a:gd name="connsiteY3" fmla="*/ 13566 h 46626"/>
                <a:gd name="connsiteX4" fmla="*/ 10900 w 99196"/>
                <a:gd name="connsiteY4" fmla="*/ 46287 h 46626"/>
                <a:gd name="connsiteX5" fmla="*/ 42722 w 99196"/>
                <a:gd name="connsiteY5" fmla="*/ 2854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196" h="46626">
                  <a:moveTo>
                    <a:pt x="42722" y="28540"/>
                  </a:moveTo>
                  <a:cubicBezTo>
                    <a:pt x="50840" y="24161"/>
                    <a:pt x="125728" y="5611"/>
                    <a:pt x="89116" y="397"/>
                  </a:cubicBezTo>
                  <a:cubicBezTo>
                    <a:pt x="74792" y="-964"/>
                    <a:pt x="60293" y="-435"/>
                    <a:pt x="46172" y="1968"/>
                  </a:cubicBezTo>
                  <a:cubicBezTo>
                    <a:pt x="29936" y="4241"/>
                    <a:pt x="15527" y="11226"/>
                    <a:pt x="-60" y="13566"/>
                  </a:cubicBezTo>
                  <a:cubicBezTo>
                    <a:pt x="955" y="18780"/>
                    <a:pt x="3431" y="46455"/>
                    <a:pt x="10900" y="46287"/>
                  </a:cubicBezTo>
                  <a:cubicBezTo>
                    <a:pt x="22265" y="46053"/>
                    <a:pt x="34198" y="32918"/>
                    <a:pt x="42722" y="2854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3F701CC0-263C-46DD-9480-0C727287FD74}"/>
                </a:ext>
              </a:extLst>
            </p:cNvPr>
            <p:cNvSpPr/>
            <p:nvPr/>
          </p:nvSpPr>
          <p:spPr>
            <a:xfrm>
              <a:off x="3294820" y="5052736"/>
              <a:ext cx="120956" cy="87056"/>
            </a:xfrm>
            <a:custGeom>
              <a:avLst/>
              <a:gdLst>
                <a:gd name="connsiteX0" fmla="*/ 78928 w 120956"/>
                <a:gd name="connsiteY0" fmla="*/ 83320 h 87056"/>
                <a:gd name="connsiteX1" fmla="*/ 120897 w 120956"/>
                <a:gd name="connsiteY1" fmla="*/ 72291 h 87056"/>
                <a:gd name="connsiteX2" fmla="*/ 105676 w 120956"/>
                <a:gd name="connsiteY2" fmla="*/ 34990 h 87056"/>
                <a:gd name="connsiteX3" fmla="*/ 97558 w 120956"/>
                <a:gd name="connsiteY3" fmla="*/ -339 h 87056"/>
                <a:gd name="connsiteX4" fmla="*/ 71987 w 120956"/>
                <a:gd name="connsiteY4" fmla="*/ 16741 h 87056"/>
                <a:gd name="connsiteX5" fmla="*/ 48526 w 120956"/>
                <a:gd name="connsiteY5" fmla="*/ 26300 h 87056"/>
                <a:gd name="connsiteX6" fmla="*/ 32736 w 120956"/>
                <a:gd name="connsiteY6" fmla="*/ 43413 h 87056"/>
                <a:gd name="connsiteX7" fmla="*/ 12441 w 120956"/>
                <a:gd name="connsiteY7" fmla="*/ 58687 h 87056"/>
                <a:gd name="connsiteX8" fmla="*/ 9966 w 120956"/>
                <a:gd name="connsiteY8" fmla="*/ 69784 h 87056"/>
                <a:gd name="connsiteX9" fmla="*/ 8098 w 120956"/>
                <a:gd name="connsiteY9" fmla="*/ 79209 h 87056"/>
                <a:gd name="connsiteX10" fmla="*/ 40936 w 120956"/>
                <a:gd name="connsiteY10" fmla="*/ 84557 h 87056"/>
                <a:gd name="connsiteX11" fmla="*/ 58552 w 120956"/>
                <a:gd name="connsiteY11" fmla="*/ 85928 h 87056"/>
                <a:gd name="connsiteX12" fmla="*/ 78846 w 120956"/>
                <a:gd name="connsiteY12" fmla="*/ 83320 h 87056"/>
                <a:gd name="connsiteX13" fmla="*/ 78928 w 120956"/>
                <a:gd name="connsiteY13" fmla="*/ 83320 h 8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956" h="87056">
                  <a:moveTo>
                    <a:pt x="78928" y="83320"/>
                  </a:moveTo>
                  <a:cubicBezTo>
                    <a:pt x="93422" y="81104"/>
                    <a:pt x="107523" y="77401"/>
                    <a:pt x="120897" y="72291"/>
                  </a:cubicBezTo>
                  <a:cubicBezTo>
                    <a:pt x="103931" y="66642"/>
                    <a:pt x="112779" y="46220"/>
                    <a:pt x="105676" y="34990"/>
                  </a:cubicBezTo>
                  <a:cubicBezTo>
                    <a:pt x="98573" y="23760"/>
                    <a:pt x="103809" y="11593"/>
                    <a:pt x="97558" y="-339"/>
                  </a:cubicBezTo>
                  <a:cubicBezTo>
                    <a:pt x="86396" y="3371"/>
                    <a:pt x="79658" y="10658"/>
                    <a:pt x="71987" y="16741"/>
                  </a:cubicBezTo>
                  <a:cubicBezTo>
                    <a:pt x="66101" y="21420"/>
                    <a:pt x="55385" y="22021"/>
                    <a:pt x="48526" y="26300"/>
                  </a:cubicBezTo>
                  <a:cubicBezTo>
                    <a:pt x="40408" y="31480"/>
                    <a:pt x="44467" y="37497"/>
                    <a:pt x="32736" y="43413"/>
                  </a:cubicBezTo>
                  <a:cubicBezTo>
                    <a:pt x="25471" y="47089"/>
                    <a:pt x="7287" y="52103"/>
                    <a:pt x="12441" y="58687"/>
                  </a:cubicBezTo>
                  <a:cubicBezTo>
                    <a:pt x="16013" y="63333"/>
                    <a:pt x="14796" y="63701"/>
                    <a:pt x="9966" y="69784"/>
                  </a:cubicBezTo>
                  <a:cubicBezTo>
                    <a:pt x="7936" y="72358"/>
                    <a:pt x="-10329" y="79811"/>
                    <a:pt x="8098" y="79209"/>
                  </a:cubicBezTo>
                  <a:cubicBezTo>
                    <a:pt x="19991" y="78708"/>
                    <a:pt x="30342" y="82886"/>
                    <a:pt x="40936" y="84557"/>
                  </a:cubicBezTo>
                  <a:cubicBezTo>
                    <a:pt x="46375" y="85393"/>
                    <a:pt x="53478" y="84557"/>
                    <a:pt x="58552" y="85928"/>
                  </a:cubicBezTo>
                  <a:cubicBezTo>
                    <a:pt x="68699" y="88501"/>
                    <a:pt x="67725" y="84022"/>
                    <a:pt x="78846" y="83320"/>
                  </a:cubicBezTo>
                  <a:cubicBezTo>
                    <a:pt x="85787" y="82886"/>
                    <a:pt x="75396" y="83521"/>
                    <a:pt x="78928" y="833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4885F6C7-AAD7-4323-987A-73B3D9F2B817}"/>
                </a:ext>
              </a:extLst>
            </p:cNvPr>
            <p:cNvSpPr/>
            <p:nvPr/>
          </p:nvSpPr>
          <p:spPr>
            <a:xfrm>
              <a:off x="3820094" y="4975597"/>
              <a:ext cx="1047054" cy="663923"/>
            </a:xfrm>
            <a:custGeom>
              <a:avLst/>
              <a:gdLst>
                <a:gd name="connsiteX0" fmla="*/ 707701 w 1047054"/>
                <a:gd name="connsiteY0" fmla="*/ 652956 h 663923"/>
                <a:gd name="connsiteX1" fmla="*/ 720243 w 1047054"/>
                <a:gd name="connsiteY1" fmla="*/ 623778 h 663923"/>
                <a:gd name="connsiteX2" fmla="*/ 721785 w 1047054"/>
                <a:gd name="connsiteY2" fmla="*/ 609940 h 663923"/>
                <a:gd name="connsiteX3" fmla="*/ 727671 w 1047054"/>
                <a:gd name="connsiteY3" fmla="*/ 595534 h 663923"/>
                <a:gd name="connsiteX4" fmla="*/ 743663 w 1047054"/>
                <a:gd name="connsiteY4" fmla="*/ 584237 h 663923"/>
                <a:gd name="connsiteX5" fmla="*/ 731202 w 1047054"/>
                <a:gd name="connsiteY5" fmla="*/ 611678 h 663923"/>
                <a:gd name="connsiteX6" fmla="*/ 748899 w 1047054"/>
                <a:gd name="connsiteY6" fmla="*/ 596905 h 663923"/>
                <a:gd name="connsiteX7" fmla="*/ 760711 w 1047054"/>
                <a:gd name="connsiteY7" fmla="*/ 570534 h 663923"/>
                <a:gd name="connsiteX8" fmla="*/ 773131 w 1047054"/>
                <a:gd name="connsiteY8" fmla="*/ 547137 h 663923"/>
                <a:gd name="connsiteX9" fmla="*/ 785633 w 1047054"/>
                <a:gd name="connsiteY9" fmla="*/ 532565 h 663923"/>
                <a:gd name="connsiteX10" fmla="*/ 776216 w 1047054"/>
                <a:gd name="connsiteY10" fmla="*/ 508533 h 663923"/>
                <a:gd name="connsiteX11" fmla="*/ 774511 w 1047054"/>
                <a:gd name="connsiteY11" fmla="*/ 485136 h 663923"/>
                <a:gd name="connsiteX12" fmla="*/ 790179 w 1047054"/>
                <a:gd name="connsiteY12" fmla="*/ 471132 h 663923"/>
                <a:gd name="connsiteX13" fmla="*/ 823178 w 1047054"/>
                <a:gd name="connsiteY13" fmla="*/ 443524 h 663923"/>
                <a:gd name="connsiteX14" fmla="*/ 843758 w 1047054"/>
                <a:gd name="connsiteY14" fmla="*/ 433898 h 663923"/>
                <a:gd name="connsiteX15" fmla="*/ 866204 w 1047054"/>
                <a:gd name="connsiteY15" fmla="*/ 416785 h 663923"/>
                <a:gd name="connsiteX16" fmla="*/ 927089 w 1047054"/>
                <a:gd name="connsiteY16" fmla="*/ 401277 h 663923"/>
                <a:gd name="connsiteX17" fmla="*/ 945557 w 1047054"/>
                <a:gd name="connsiteY17" fmla="*/ 386269 h 663923"/>
                <a:gd name="connsiteX18" fmla="*/ 948114 w 1047054"/>
                <a:gd name="connsiteY18" fmla="*/ 366483 h 663923"/>
                <a:gd name="connsiteX19" fmla="*/ 958992 w 1047054"/>
                <a:gd name="connsiteY19" fmla="*/ 346629 h 663923"/>
                <a:gd name="connsiteX20" fmla="*/ 966014 w 1047054"/>
                <a:gd name="connsiteY20" fmla="*/ 328280 h 663923"/>
                <a:gd name="connsiteX21" fmla="*/ 967597 w 1047054"/>
                <a:gd name="connsiteY21" fmla="*/ 306621 h 663923"/>
                <a:gd name="connsiteX22" fmla="*/ 975309 w 1047054"/>
                <a:gd name="connsiteY22" fmla="*/ 293954 h 663923"/>
                <a:gd name="connsiteX23" fmla="*/ 973726 w 1047054"/>
                <a:gd name="connsiteY23" fmla="*/ 268986 h 663923"/>
                <a:gd name="connsiteX24" fmla="*/ 962401 w 1047054"/>
                <a:gd name="connsiteY24" fmla="*/ 236398 h 663923"/>
                <a:gd name="connsiteX25" fmla="*/ 965040 w 1047054"/>
                <a:gd name="connsiteY25" fmla="*/ 215809 h 663923"/>
                <a:gd name="connsiteX26" fmla="*/ 971859 w 1047054"/>
                <a:gd name="connsiteY26" fmla="*/ 211030 h 663923"/>
                <a:gd name="connsiteX27" fmla="*/ 1007415 w 1047054"/>
                <a:gd name="connsiteY27" fmla="*/ 167913 h 663923"/>
                <a:gd name="connsiteX28" fmla="*/ 1027345 w 1047054"/>
                <a:gd name="connsiteY28" fmla="*/ 72856 h 663923"/>
                <a:gd name="connsiteX29" fmla="*/ 987242 w 1047054"/>
                <a:gd name="connsiteY29" fmla="*/ 72522 h 663923"/>
                <a:gd name="connsiteX30" fmla="*/ 905089 w 1047054"/>
                <a:gd name="connsiteY30" fmla="*/ 52836 h 663923"/>
                <a:gd name="connsiteX31" fmla="*/ 835315 w 1047054"/>
                <a:gd name="connsiteY31" fmla="*/ 63230 h 663923"/>
                <a:gd name="connsiteX32" fmla="*/ 794238 w 1047054"/>
                <a:gd name="connsiteY32" fmla="*/ 62495 h 663923"/>
                <a:gd name="connsiteX33" fmla="*/ 761767 w 1047054"/>
                <a:gd name="connsiteY33" fmla="*/ 80176 h 663923"/>
                <a:gd name="connsiteX34" fmla="*/ 761767 w 1047054"/>
                <a:gd name="connsiteY34" fmla="*/ 69481 h 663923"/>
                <a:gd name="connsiteX35" fmla="*/ 751741 w 1047054"/>
                <a:gd name="connsiteY35" fmla="*/ 57916 h 663923"/>
                <a:gd name="connsiteX36" fmla="*/ 664311 w 1047054"/>
                <a:gd name="connsiteY36" fmla="*/ 54941 h 663923"/>
                <a:gd name="connsiteX37" fmla="*/ 653838 w 1047054"/>
                <a:gd name="connsiteY37" fmla="*/ 68545 h 663923"/>
                <a:gd name="connsiteX38" fmla="*/ 642189 w 1047054"/>
                <a:gd name="connsiteY38" fmla="*/ 74762 h 663923"/>
                <a:gd name="connsiteX39" fmla="*/ 625019 w 1047054"/>
                <a:gd name="connsiteY39" fmla="*/ 89535 h 663923"/>
                <a:gd name="connsiteX40" fmla="*/ 634924 w 1047054"/>
                <a:gd name="connsiteY40" fmla="*/ 72823 h 663923"/>
                <a:gd name="connsiteX41" fmla="*/ 606511 w 1047054"/>
                <a:gd name="connsiteY41" fmla="*/ 57348 h 663923"/>
                <a:gd name="connsiteX42" fmla="*/ 579478 w 1047054"/>
                <a:gd name="connsiteY42" fmla="*/ 65804 h 663923"/>
                <a:gd name="connsiteX43" fmla="*/ 573389 w 1047054"/>
                <a:gd name="connsiteY43" fmla="*/ 80043 h 663923"/>
                <a:gd name="connsiteX44" fmla="*/ 565474 w 1047054"/>
                <a:gd name="connsiteY44" fmla="*/ 68445 h 663923"/>
                <a:gd name="connsiteX45" fmla="*/ 586581 w 1047054"/>
                <a:gd name="connsiteY45" fmla="*/ 52568 h 663923"/>
                <a:gd name="connsiteX46" fmla="*/ 589463 w 1047054"/>
                <a:gd name="connsiteY46" fmla="*/ 31211 h 663923"/>
                <a:gd name="connsiteX47" fmla="*/ 558980 w 1047054"/>
                <a:gd name="connsiteY47" fmla="*/ 22220 h 663923"/>
                <a:gd name="connsiteX48" fmla="*/ 545058 w 1047054"/>
                <a:gd name="connsiteY48" fmla="*/ 5040 h 663923"/>
                <a:gd name="connsiteX49" fmla="*/ 527198 w 1047054"/>
                <a:gd name="connsiteY49" fmla="*/ 6778 h 663923"/>
                <a:gd name="connsiteX50" fmla="*/ 510962 w 1047054"/>
                <a:gd name="connsiteY50" fmla="*/ 32280 h 663923"/>
                <a:gd name="connsiteX51" fmla="*/ 489937 w 1047054"/>
                <a:gd name="connsiteY51" fmla="*/ 44346 h 663923"/>
                <a:gd name="connsiteX52" fmla="*/ 458885 w 1047054"/>
                <a:gd name="connsiteY52" fmla="*/ 49226 h 663923"/>
                <a:gd name="connsiteX53" fmla="*/ 430960 w 1047054"/>
                <a:gd name="connsiteY53" fmla="*/ 53237 h 663923"/>
                <a:gd name="connsiteX54" fmla="*/ 419635 w 1047054"/>
                <a:gd name="connsiteY54" fmla="*/ 65470 h 663923"/>
                <a:gd name="connsiteX55" fmla="*/ 387691 w 1047054"/>
                <a:gd name="connsiteY55" fmla="*/ 73224 h 663923"/>
                <a:gd name="connsiteX56" fmla="*/ 348076 w 1047054"/>
                <a:gd name="connsiteY56" fmla="*/ 95050 h 663923"/>
                <a:gd name="connsiteX57" fmla="*/ 306065 w 1047054"/>
                <a:gd name="connsiteY57" fmla="*/ 67141 h 663923"/>
                <a:gd name="connsiteX58" fmla="*/ 304157 w 1047054"/>
                <a:gd name="connsiteY58" fmla="*/ 53070 h 663923"/>
                <a:gd name="connsiteX59" fmla="*/ 289748 w 1047054"/>
                <a:gd name="connsiteY59" fmla="*/ 43043 h 663923"/>
                <a:gd name="connsiteX60" fmla="*/ 273228 w 1047054"/>
                <a:gd name="connsiteY60" fmla="*/ 50964 h 663923"/>
                <a:gd name="connsiteX61" fmla="*/ 247332 w 1047054"/>
                <a:gd name="connsiteY61" fmla="*/ 69046 h 663923"/>
                <a:gd name="connsiteX62" fmla="*/ 222450 w 1047054"/>
                <a:gd name="connsiteY62" fmla="*/ 80577 h 663923"/>
                <a:gd name="connsiteX63" fmla="*/ 208934 w 1047054"/>
                <a:gd name="connsiteY63" fmla="*/ 84956 h 663923"/>
                <a:gd name="connsiteX64" fmla="*/ 182997 w 1047054"/>
                <a:gd name="connsiteY64" fmla="*/ 87529 h 663923"/>
                <a:gd name="connsiteX65" fmla="*/ 168750 w 1047054"/>
                <a:gd name="connsiteY65" fmla="*/ 94615 h 663923"/>
                <a:gd name="connsiteX66" fmla="*/ 203535 w 1047054"/>
                <a:gd name="connsiteY66" fmla="*/ 113266 h 663923"/>
                <a:gd name="connsiteX67" fmla="*/ 213805 w 1047054"/>
                <a:gd name="connsiteY67" fmla="*/ 115572 h 663923"/>
                <a:gd name="connsiteX68" fmla="*/ 200938 w 1047054"/>
                <a:gd name="connsiteY68" fmla="*/ 123527 h 663923"/>
                <a:gd name="connsiteX69" fmla="*/ 192211 w 1047054"/>
                <a:gd name="connsiteY69" fmla="*/ 135793 h 663923"/>
                <a:gd name="connsiteX70" fmla="*/ 176949 w 1047054"/>
                <a:gd name="connsiteY70" fmla="*/ 146689 h 663923"/>
                <a:gd name="connsiteX71" fmla="*/ 158968 w 1047054"/>
                <a:gd name="connsiteY71" fmla="*/ 153374 h 663923"/>
                <a:gd name="connsiteX72" fmla="*/ 130190 w 1047054"/>
                <a:gd name="connsiteY72" fmla="*/ 157184 h 663923"/>
                <a:gd name="connsiteX73" fmla="*/ 114400 w 1047054"/>
                <a:gd name="connsiteY73" fmla="*/ 150299 h 663923"/>
                <a:gd name="connsiteX74" fmla="*/ 98164 w 1047054"/>
                <a:gd name="connsiteY74" fmla="*/ 153374 h 663923"/>
                <a:gd name="connsiteX75" fmla="*/ 64840 w 1047054"/>
                <a:gd name="connsiteY75" fmla="*/ 165340 h 663923"/>
                <a:gd name="connsiteX76" fmla="*/ 43043 w 1047054"/>
                <a:gd name="connsiteY76" fmla="*/ 174097 h 663923"/>
                <a:gd name="connsiteX77" fmla="*/ 62851 w 1047054"/>
                <a:gd name="connsiteY77" fmla="*/ 180380 h 663923"/>
                <a:gd name="connsiteX78" fmla="*/ 47792 w 1047054"/>
                <a:gd name="connsiteY78" fmla="*/ 193315 h 663923"/>
                <a:gd name="connsiteX79" fmla="*/ 66017 w 1047054"/>
                <a:gd name="connsiteY79" fmla="*/ 210996 h 663923"/>
                <a:gd name="connsiteX80" fmla="*/ 81239 w 1047054"/>
                <a:gd name="connsiteY80" fmla="*/ 246291 h 663923"/>
                <a:gd name="connsiteX81" fmla="*/ 82943 w 1047054"/>
                <a:gd name="connsiteY81" fmla="*/ 265309 h 663923"/>
                <a:gd name="connsiteX82" fmla="*/ 74825 w 1047054"/>
                <a:gd name="connsiteY82" fmla="*/ 270557 h 663923"/>
                <a:gd name="connsiteX83" fmla="*/ 52988 w 1047054"/>
                <a:gd name="connsiteY83" fmla="*/ 280584 h 663923"/>
                <a:gd name="connsiteX84" fmla="*/ 34844 w 1047054"/>
                <a:gd name="connsiteY84" fmla="*/ 289274 h 663923"/>
                <a:gd name="connsiteX85" fmla="*/ 18608 w 1047054"/>
                <a:gd name="connsiteY85" fmla="*/ 301273 h 663923"/>
                <a:gd name="connsiteX86" fmla="*/ 8096 w 1047054"/>
                <a:gd name="connsiteY86" fmla="*/ 321327 h 663923"/>
                <a:gd name="connsiteX87" fmla="*/ 10653 w 1047054"/>
                <a:gd name="connsiteY87" fmla="*/ 330953 h 663923"/>
                <a:gd name="connsiteX88" fmla="*/ 1480 w 1047054"/>
                <a:gd name="connsiteY88" fmla="*/ 339978 h 663923"/>
                <a:gd name="connsiteX89" fmla="*/ 9922 w 1047054"/>
                <a:gd name="connsiteY89" fmla="*/ 360433 h 663923"/>
                <a:gd name="connsiteX90" fmla="*/ 26605 w 1047054"/>
                <a:gd name="connsiteY90" fmla="*/ 367653 h 663923"/>
                <a:gd name="connsiteX91" fmla="*/ 34723 w 1047054"/>
                <a:gd name="connsiteY91" fmla="*/ 376175 h 663923"/>
                <a:gd name="connsiteX92" fmla="*/ 54774 w 1047054"/>
                <a:gd name="connsiteY92" fmla="*/ 377312 h 663923"/>
                <a:gd name="connsiteX93" fmla="*/ 80548 w 1047054"/>
                <a:gd name="connsiteY93" fmla="*/ 376242 h 663923"/>
                <a:gd name="connsiteX94" fmla="*/ 92725 w 1047054"/>
                <a:gd name="connsiteY94" fmla="*/ 369558 h 663923"/>
                <a:gd name="connsiteX95" fmla="*/ 101493 w 1047054"/>
                <a:gd name="connsiteY95" fmla="*/ 362338 h 663923"/>
                <a:gd name="connsiteX96" fmla="*/ 118946 w 1047054"/>
                <a:gd name="connsiteY96" fmla="*/ 383696 h 663923"/>
                <a:gd name="connsiteX97" fmla="*/ 147359 w 1047054"/>
                <a:gd name="connsiteY97" fmla="*/ 374738 h 663923"/>
                <a:gd name="connsiteX98" fmla="*/ 176543 w 1047054"/>
                <a:gd name="connsiteY98" fmla="*/ 361101 h 663923"/>
                <a:gd name="connsiteX99" fmla="*/ 235642 w 1047054"/>
                <a:gd name="connsiteY99" fmla="*/ 327310 h 663923"/>
                <a:gd name="connsiteX100" fmla="*/ 244815 w 1047054"/>
                <a:gd name="connsiteY100" fmla="*/ 331956 h 663923"/>
                <a:gd name="connsiteX101" fmla="*/ 257317 w 1047054"/>
                <a:gd name="connsiteY101" fmla="*/ 352010 h 663923"/>
                <a:gd name="connsiteX102" fmla="*/ 282807 w 1047054"/>
                <a:gd name="connsiteY102" fmla="*/ 361536 h 663923"/>
                <a:gd name="connsiteX103" fmla="*/ 310165 w 1047054"/>
                <a:gd name="connsiteY103" fmla="*/ 357826 h 663923"/>
                <a:gd name="connsiteX104" fmla="*/ 326157 w 1047054"/>
                <a:gd name="connsiteY104" fmla="*/ 357492 h 663923"/>
                <a:gd name="connsiteX105" fmla="*/ 347182 w 1047054"/>
                <a:gd name="connsiteY105" fmla="*/ 357492 h 663923"/>
                <a:gd name="connsiteX106" fmla="*/ 361632 w 1047054"/>
                <a:gd name="connsiteY106" fmla="*/ 361937 h 663923"/>
                <a:gd name="connsiteX107" fmla="*/ 386757 w 1047054"/>
                <a:gd name="connsiteY107" fmla="*/ 356857 h 663923"/>
                <a:gd name="connsiteX108" fmla="*/ 402263 w 1047054"/>
                <a:gd name="connsiteY108" fmla="*/ 367987 h 663923"/>
                <a:gd name="connsiteX109" fmla="*/ 410381 w 1047054"/>
                <a:gd name="connsiteY109" fmla="*/ 373268 h 663923"/>
                <a:gd name="connsiteX110" fmla="*/ 407499 w 1047054"/>
                <a:gd name="connsiteY110" fmla="*/ 379251 h 663923"/>
                <a:gd name="connsiteX111" fmla="*/ 419676 w 1047054"/>
                <a:gd name="connsiteY111" fmla="*/ 391684 h 663923"/>
                <a:gd name="connsiteX112" fmla="*/ 442203 w 1047054"/>
                <a:gd name="connsiteY112" fmla="*/ 392185 h 663923"/>
                <a:gd name="connsiteX113" fmla="*/ 467653 w 1047054"/>
                <a:gd name="connsiteY113" fmla="*/ 387406 h 663923"/>
                <a:gd name="connsiteX114" fmla="*/ 482387 w 1047054"/>
                <a:gd name="connsiteY114" fmla="*/ 399840 h 663923"/>
                <a:gd name="connsiteX115" fmla="*/ 497689 w 1047054"/>
                <a:gd name="connsiteY115" fmla="*/ 414245 h 663923"/>
                <a:gd name="connsiteX116" fmla="*/ 495497 w 1047054"/>
                <a:gd name="connsiteY116" fmla="*/ 440382 h 663923"/>
                <a:gd name="connsiteX117" fmla="*/ 498623 w 1047054"/>
                <a:gd name="connsiteY117" fmla="*/ 450410 h 663923"/>
                <a:gd name="connsiteX118" fmla="*/ 510800 w 1047054"/>
                <a:gd name="connsiteY118" fmla="*/ 463779 h 663923"/>
                <a:gd name="connsiteX119" fmla="*/ 514006 w 1047054"/>
                <a:gd name="connsiteY119" fmla="*/ 478652 h 663923"/>
                <a:gd name="connsiteX120" fmla="*/ 541851 w 1047054"/>
                <a:gd name="connsiteY120" fmla="*/ 475978 h 663923"/>
                <a:gd name="connsiteX121" fmla="*/ 554434 w 1047054"/>
                <a:gd name="connsiteY121" fmla="*/ 472904 h 663923"/>
                <a:gd name="connsiteX122" fmla="*/ 574120 w 1047054"/>
                <a:gd name="connsiteY122" fmla="*/ 483399 h 663923"/>
                <a:gd name="connsiteX123" fmla="*/ 588407 w 1047054"/>
                <a:gd name="connsiteY123" fmla="*/ 496768 h 663923"/>
                <a:gd name="connsiteX124" fmla="*/ 606998 w 1047054"/>
                <a:gd name="connsiteY124" fmla="*/ 491086 h 663923"/>
                <a:gd name="connsiteX125" fmla="*/ 620636 w 1047054"/>
                <a:gd name="connsiteY125" fmla="*/ 520532 h 663923"/>
                <a:gd name="connsiteX126" fmla="*/ 646816 w 1047054"/>
                <a:gd name="connsiteY126" fmla="*/ 529389 h 663923"/>
                <a:gd name="connsiteX127" fmla="*/ 637643 w 1047054"/>
                <a:gd name="connsiteY127" fmla="*/ 551014 h 663923"/>
                <a:gd name="connsiteX128" fmla="*/ 577205 w 1047054"/>
                <a:gd name="connsiteY128" fmla="*/ 622140 h 663923"/>
                <a:gd name="connsiteX129" fmla="*/ 591208 w 1047054"/>
                <a:gd name="connsiteY129" fmla="*/ 617527 h 663923"/>
                <a:gd name="connsiteX130" fmla="*/ 616049 w 1047054"/>
                <a:gd name="connsiteY130" fmla="*/ 625415 h 663923"/>
                <a:gd name="connsiteX131" fmla="*/ 623842 w 1047054"/>
                <a:gd name="connsiteY131" fmla="*/ 627220 h 663923"/>
                <a:gd name="connsiteX132" fmla="*/ 639226 w 1047054"/>
                <a:gd name="connsiteY132" fmla="*/ 624613 h 663923"/>
                <a:gd name="connsiteX133" fmla="*/ 678476 w 1047054"/>
                <a:gd name="connsiteY133" fmla="*/ 632635 h 663923"/>
                <a:gd name="connsiteX134" fmla="*/ 699258 w 1047054"/>
                <a:gd name="connsiteY134" fmla="*/ 663585 h 663923"/>
                <a:gd name="connsiteX135" fmla="*/ 707904 w 1047054"/>
                <a:gd name="connsiteY135" fmla="*/ 653357 h 663923"/>
                <a:gd name="connsiteX136" fmla="*/ 707701 w 1047054"/>
                <a:gd name="connsiteY136" fmla="*/ 652956 h 66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047054" h="663923">
                  <a:moveTo>
                    <a:pt x="707701" y="652956"/>
                  </a:moveTo>
                  <a:cubicBezTo>
                    <a:pt x="717158" y="644834"/>
                    <a:pt x="718944" y="633504"/>
                    <a:pt x="720243" y="623778"/>
                  </a:cubicBezTo>
                  <a:cubicBezTo>
                    <a:pt x="720892" y="619031"/>
                    <a:pt x="719147" y="614653"/>
                    <a:pt x="721785" y="609940"/>
                  </a:cubicBezTo>
                  <a:cubicBezTo>
                    <a:pt x="724789" y="604659"/>
                    <a:pt x="729903" y="601150"/>
                    <a:pt x="727671" y="595534"/>
                  </a:cubicBezTo>
                  <a:cubicBezTo>
                    <a:pt x="725114" y="588850"/>
                    <a:pt x="741796" y="577118"/>
                    <a:pt x="743663" y="584237"/>
                  </a:cubicBezTo>
                  <a:cubicBezTo>
                    <a:pt x="746058" y="593630"/>
                    <a:pt x="729010" y="603389"/>
                    <a:pt x="731202" y="611678"/>
                  </a:cubicBezTo>
                  <a:cubicBezTo>
                    <a:pt x="737534" y="607099"/>
                    <a:pt x="743461" y="602186"/>
                    <a:pt x="748899" y="596905"/>
                  </a:cubicBezTo>
                  <a:cubicBezTo>
                    <a:pt x="754460" y="588649"/>
                    <a:pt x="758438" y="579759"/>
                    <a:pt x="760711" y="570534"/>
                  </a:cubicBezTo>
                  <a:cubicBezTo>
                    <a:pt x="763228" y="562880"/>
                    <a:pt x="765501" y="553822"/>
                    <a:pt x="773131" y="547137"/>
                  </a:cubicBezTo>
                  <a:cubicBezTo>
                    <a:pt x="780762" y="540452"/>
                    <a:pt x="786729" y="541622"/>
                    <a:pt x="785633" y="532565"/>
                  </a:cubicBezTo>
                  <a:cubicBezTo>
                    <a:pt x="784091" y="524175"/>
                    <a:pt x="780925" y="516053"/>
                    <a:pt x="776216" y="508533"/>
                  </a:cubicBezTo>
                  <a:cubicBezTo>
                    <a:pt x="771548" y="500010"/>
                    <a:pt x="776216" y="493559"/>
                    <a:pt x="774511" y="485136"/>
                  </a:cubicBezTo>
                  <a:cubicBezTo>
                    <a:pt x="773091" y="478452"/>
                    <a:pt x="784091" y="476647"/>
                    <a:pt x="790179" y="471132"/>
                  </a:cubicBezTo>
                  <a:cubicBezTo>
                    <a:pt x="800529" y="461773"/>
                    <a:pt x="807308" y="449407"/>
                    <a:pt x="823178" y="443524"/>
                  </a:cubicBezTo>
                  <a:cubicBezTo>
                    <a:pt x="832636" y="440182"/>
                    <a:pt x="837588" y="439313"/>
                    <a:pt x="843758" y="433898"/>
                  </a:cubicBezTo>
                  <a:cubicBezTo>
                    <a:pt x="848060" y="430121"/>
                    <a:pt x="860521" y="419058"/>
                    <a:pt x="866204" y="416785"/>
                  </a:cubicBezTo>
                  <a:cubicBezTo>
                    <a:pt x="875539" y="412975"/>
                    <a:pt x="930133" y="411805"/>
                    <a:pt x="927089" y="401277"/>
                  </a:cubicBezTo>
                  <a:cubicBezTo>
                    <a:pt x="924044" y="390748"/>
                    <a:pt x="937804" y="391617"/>
                    <a:pt x="945557" y="386269"/>
                  </a:cubicBezTo>
                  <a:cubicBezTo>
                    <a:pt x="952132" y="381757"/>
                    <a:pt x="945029" y="372232"/>
                    <a:pt x="948114" y="366483"/>
                  </a:cubicBezTo>
                  <a:cubicBezTo>
                    <a:pt x="952173" y="358929"/>
                    <a:pt x="958139" y="355119"/>
                    <a:pt x="958992" y="346629"/>
                  </a:cubicBezTo>
                  <a:cubicBezTo>
                    <a:pt x="959763" y="338808"/>
                    <a:pt x="966745" y="336936"/>
                    <a:pt x="966014" y="328280"/>
                  </a:cubicBezTo>
                  <a:cubicBezTo>
                    <a:pt x="965568" y="323500"/>
                    <a:pt x="961955" y="310665"/>
                    <a:pt x="967597" y="306621"/>
                  </a:cubicBezTo>
                  <a:cubicBezTo>
                    <a:pt x="974091" y="301908"/>
                    <a:pt x="978272" y="300137"/>
                    <a:pt x="975309" y="293954"/>
                  </a:cubicBezTo>
                  <a:cubicBezTo>
                    <a:pt x="971250" y="285698"/>
                    <a:pt x="975309" y="277476"/>
                    <a:pt x="973726" y="268986"/>
                  </a:cubicBezTo>
                  <a:cubicBezTo>
                    <a:pt x="971494" y="257823"/>
                    <a:pt x="964634" y="247662"/>
                    <a:pt x="962401" y="236398"/>
                  </a:cubicBezTo>
                  <a:cubicBezTo>
                    <a:pt x="961833" y="233457"/>
                    <a:pt x="966460" y="216344"/>
                    <a:pt x="965040" y="215809"/>
                  </a:cubicBezTo>
                  <a:cubicBezTo>
                    <a:pt x="954405" y="211297"/>
                    <a:pt x="961874" y="208857"/>
                    <a:pt x="971859" y="211030"/>
                  </a:cubicBezTo>
                  <a:cubicBezTo>
                    <a:pt x="991423" y="215341"/>
                    <a:pt x="993940" y="174264"/>
                    <a:pt x="1007415" y="167913"/>
                  </a:cubicBezTo>
                  <a:cubicBezTo>
                    <a:pt x="1059046" y="143614"/>
                    <a:pt x="1053972" y="101868"/>
                    <a:pt x="1027345" y="72856"/>
                  </a:cubicBezTo>
                  <a:cubicBezTo>
                    <a:pt x="1019227" y="64066"/>
                    <a:pt x="1000921" y="72489"/>
                    <a:pt x="987242" y="72522"/>
                  </a:cubicBezTo>
                  <a:cubicBezTo>
                    <a:pt x="954771" y="72522"/>
                    <a:pt x="934922" y="56680"/>
                    <a:pt x="905089" y="52836"/>
                  </a:cubicBezTo>
                  <a:cubicBezTo>
                    <a:pt x="877691" y="49493"/>
                    <a:pt x="860927" y="60657"/>
                    <a:pt x="835315" y="63230"/>
                  </a:cubicBezTo>
                  <a:cubicBezTo>
                    <a:pt x="821149" y="64634"/>
                    <a:pt x="808201" y="61727"/>
                    <a:pt x="794238" y="62495"/>
                  </a:cubicBezTo>
                  <a:cubicBezTo>
                    <a:pt x="779260" y="63297"/>
                    <a:pt x="772847" y="75096"/>
                    <a:pt x="761767" y="80176"/>
                  </a:cubicBezTo>
                  <a:cubicBezTo>
                    <a:pt x="754663" y="83519"/>
                    <a:pt x="761320" y="70851"/>
                    <a:pt x="761767" y="69481"/>
                  </a:cubicBezTo>
                  <a:cubicBezTo>
                    <a:pt x="763877" y="62796"/>
                    <a:pt x="761158" y="60022"/>
                    <a:pt x="751741" y="57916"/>
                  </a:cubicBezTo>
                  <a:cubicBezTo>
                    <a:pt x="730025" y="53036"/>
                    <a:pt x="688380" y="48324"/>
                    <a:pt x="664311" y="54941"/>
                  </a:cubicBezTo>
                  <a:cubicBezTo>
                    <a:pt x="654772" y="57549"/>
                    <a:pt x="652134" y="63030"/>
                    <a:pt x="653838" y="68545"/>
                  </a:cubicBezTo>
                  <a:cubicBezTo>
                    <a:pt x="656111" y="75764"/>
                    <a:pt x="648521" y="71887"/>
                    <a:pt x="642189" y="74762"/>
                  </a:cubicBezTo>
                  <a:cubicBezTo>
                    <a:pt x="634842" y="78104"/>
                    <a:pt x="637237" y="89769"/>
                    <a:pt x="625019" y="89535"/>
                  </a:cubicBezTo>
                  <a:cubicBezTo>
                    <a:pt x="613735" y="89368"/>
                    <a:pt x="633137" y="75497"/>
                    <a:pt x="634924" y="72823"/>
                  </a:cubicBezTo>
                  <a:cubicBezTo>
                    <a:pt x="647628" y="54875"/>
                    <a:pt x="630865" y="53838"/>
                    <a:pt x="606511" y="57348"/>
                  </a:cubicBezTo>
                  <a:cubicBezTo>
                    <a:pt x="597905" y="58585"/>
                    <a:pt x="585201" y="60523"/>
                    <a:pt x="579478" y="65804"/>
                  </a:cubicBezTo>
                  <a:cubicBezTo>
                    <a:pt x="576474" y="68545"/>
                    <a:pt x="578179" y="79174"/>
                    <a:pt x="573389" y="80043"/>
                  </a:cubicBezTo>
                  <a:cubicBezTo>
                    <a:pt x="562065" y="81747"/>
                    <a:pt x="560035" y="73358"/>
                    <a:pt x="565474" y="68445"/>
                  </a:cubicBezTo>
                  <a:cubicBezTo>
                    <a:pt x="572659" y="61760"/>
                    <a:pt x="581264" y="61459"/>
                    <a:pt x="586581" y="52568"/>
                  </a:cubicBezTo>
                  <a:cubicBezTo>
                    <a:pt x="589909" y="46953"/>
                    <a:pt x="598961" y="34854"/>
                    <a:pt x="589463" y="31211"/>
                  </a:cubicBezTo>
                  <a:cubicBezTo>
                    <a:pt x="579965" y="27567"/>
                    <a:pt x="566327" y="28570"/>
                    <a:pt x="558980" y="22220"/>
                  </a:cubicBezTo>
                  <a:cubicBezTo>
                    <a:pt x="552973" y="17072"/>
                    <a:pt x="549928" y="10655"/>
                    <a:pt x="545058" y="5040"/>
                  </a:cubicBezTo>
                  <a:cubicBezTo>
                    <a:pt x="538238" y="-2881"/>
                    <a:pt x="534748" y="-1845"/>
                    <a:pt x="527198" y="6778"/>
                  </a:cubicBezTo>
                  <a:cubicBezTo>
                    <a:pt x="520257" y="14666"/>
                    <a:pt x="512667" y="23490"/>
                    <a:pt x="510962" y="32280"/>
                  </a:cubicBezTo>
                  <a:cubicBezTo>
                    <a:pt x="509257" y="41071"/>
                    <a:pt x="500734" y="40837"/>
                    <a:pt x="489937" y="44346"/>
                  </a:cubicBezTo>
                  <a:cubicBezTo>
                    <a:pt x="479140" y="47856"/>
                    <a:pt x="469642" y="53237"/>
                    <a:pt x="458885" y="49226"/>
                  </a:cubicBezTo>
                  <a:cubicBezTo>
                    <a:pt x="449104" y="45616"/>
                    <a:pt x="441838" y="49961"/>
                    <a:pt x="430960" y="53237"/>
                  </a:cubicBezTo>
                  <a:cubicBezTo>
                    <a:pt x="416875" y="57482"/>
                    <a:pt x="422842" y="57716"/>
                    <a:pt x="419635" y="65470"/>
                  </a:cubicBezTo>
                  <a:cubicBezTo>
                    <a:pt x="416510" y="72623"/>
                    <a:pt x="395281" y="69882"/>
                    <a:pt x="387691" y="73224"/>
                  </a:cubicBezTo>
                  <a:cubicBezTo>
                    <a:pt x="374256" y="79006"/>
                    <a:pt x="363905" y="91540"/>
                    <a:pt x="348076" y="95050"/>
                  </a:cubicBezTo>
                  <a:cubicBezTo>
                    <a:pt x="324371" y="100331"/>
                    <a:pt x="298394" y="81981"/>
                    <a:pt x="306065" y="67141"/>
                  </a:cubicBezTo>
                  <a:cubicBezTo>
                    <a:pt x="308866" y="61827"/>
                    <a:pt x="313452" y="56145"/>
                    <a:pt x="304157" y="53070"/>
                  </a:cubicBezTo>
                  <a:cubicBezTo>
                    <a:pt x="294862" y="49995"/>
                    <a:pt x="296039" y="48190"/>
                    <a:pt x="289748" y="43043"/>
                  </a:cubicBezTo>
                  <a:cubicBezTo>
                    <a:pt x="282645" y="36926"/>
                    <a:pt x="274770" y="46987"/>
                    <a:pt x="273228" y="50964"/>
                  </a:cubicBezTo>
                  <a:cubicBezTo>
                    <a:pt x="270833" y="57081"/>
                    <a:pt x="255003" y="65035"/>
                    <a:pt x="247332" y="69046"/>
                  </a:cubicBezTo>
                  <a:cubicBezTo>
                    <a:pt x="239660" y="73057"/>
                    <a:pt x="225494" y="73425"/>
                    <a:pt x="222450" y="80577"/>
                  </a:cubicBezTo>
                  <a:cubicBezTo>
                    <a:pt x="217904" y="91306"/>
                    <a:pt x="221922" y="86426"/>
                    <a:pt x="208934" y="84956"/>
                  </a:cubicBezTo>
                  <a:cubicBezTo>
                    <a:pt x="202196" y="84187"/>
                    <a:pt x="190425" y="87095"/>
                    <a:pt x="182997" y="87529"/>
                  </a:cubicBezTo>
                  <a:cubicBezTo>
                    <a:pt x="179385" y="87529"/>
                    <a:pt x="158643" y="94014"/>
                    <a:pt x="168750" y="94615"/>
                  </a:cubicBezTo>
                  <a:cubicBezTo>
                    <a:pt x="179993" y="95284"/>
                    <a:pt x="194809" y="117577"/>
                    <a:pt x="203535" y="113266"/>
                  </a:cubicBezTo>
                  <a:cubicBezTo>
                    <a:pt x="208771" y="110692"/>
                    <a:pt x="221679" y="108586"/>
                    <a:pt x="213805" y="115572"/>
                  </a:cubicBezTo>
                  <a:cubicBezTo>
                    <a:pt x="210151" y="118914"/>
                    <a:pt x="204144" y="119850"/>
                    <a:pt x="200938" y="123527"/>
                  </a:cubicBezTo>
                  <a:cubicBezTo>
                    <a:pt x="196879" y="127972"/>
                    <a:pt x="200288" y="132852"/>
                    <a:pt x="192211" y="135793"/>
                  </a:cubicBezTo>
                  <a:cubicBezTo>
                    <a:pt x="184133" y="138734"/>
                    <a:pt x="182023" y="141843"/>
                    <a:pt x="176949" y="146689"/>
                  </a:cubicBezTo>
                  <a:cubicBezTo>
                    <a:pt x="169683" y="153675"/>
                    <a:pt x="167613" y="149296"/>
                    <a:pt x="158968" y="153374"/>
                  </a:cubicBezTo>
                  <a:cubicBezTo>
                    <a:pt x="146791" y="159089"/>
                    <a:pt x="143584" y="162265"/>
                    <a:pt x="130190" y="157184"/>
                  </a:cubicBezTo>
                  <a:cubicBezTo>
                    <a:pt x="124669" y="155112"/>
                    <a:pt x="120002" y="152338"/>
                    <a:pt x="114400" y="150299"/>
                  </a:cubicBezTo>
                  <a:cubicBezTo>
                    <a:pt x="105024" y="146957"/>
                    <a:pt x="106282" y="148895"/>
                    <a:pt x="98164" y="153374"/>
                  </a:cubicBezTo>
                  <a:cubicBezTo>
                    <a:pt x="87733" y="158535"/>
                    <a:pt x="76530" y="162559"/>
                    <a:pt x="64840" y="165340"/>
                  </a:cubicBezTo>
                  <a:cubicBezTo>
                    <a:pt x="61147" y="166376"/>
                    <a:pt x="43287" y="170520"/>
                    <a:pt x="43043" y="174097"/>
                  </a:cubicBezTo>
                  <a:cubicBezTo>
                    <a:pt x="42394" y="182920"/>
                    <a:pt x="55220" y="178943"/>
                    <a:pt x="62851" y="180380"/>
                  </a:cubicBezTo>
                  <a:cubicBezTo>
                    <a:pt x="73567" y="182486"/>
                    <a:pt x="49335" y="191677"/>
                    <a:pt x="47792" y="193315"/>
                  </a:cubicBezTo>
                  <a:cubicBezTo>
                    <a:pt x="39674" y="201571"/>
                    <a:pt x="59401" y="208222"/>
                    <a:pt x="66017" y="210996"/>
                  </a:cubicBezTo>
                  <a:cubicBezTo>
                    <a:pt x="81482" y="217480"/>
                    <a:pt x="77423" y="234794"/>
                    <a:pt x="81239" y="246291"/>
                  </a:cubicBezTo>
                  <a:cubicBezTo>
                    <a:pt x="83759" y="252408"/>
                    <a:pt x="84348" y="258959"/>
                    <a:pt x="82943" y="265309"/>
                  </a:cubicBezTo>
                  <a:cubicBezTo>
                    <a:pt x="81969" y="268418"/>
                    <a:pt x="79737" y="269788"/>
                    <a:pt x="74825" y="270557"/>
                  </a:cubicBezTo>
                  <a:cubicBezTo>
                    <a:pt x="63095" y="272362"/>
                    <a:pt x="61918" y="275403"/>
                    <a:pt x="52988" y="280584"/>
                  </a:cubicBezTo>
                  <a:cubicBezTo>
                    <a:pt x="47346" y="283926"/>
                    <a:pt x="40446" y="285865"/>
                    <a:pt x="34844" y="289274"/>
                  </a:cubicBezTo>
                  <a:cubicBezTo>
                    <a:pt x="29243" y="292683"/>
                    <a:pt x="24819" y="297663"/>
                    <a:pt x="18608" y="301273"/>
                  </a:cubicBezTo>
                  <a:cubicBezTo>
                    <a:pt x="8258" y="307122"/>
                    <a:pt x="10490" y="313774"/>
                    <a:pt x="8096" y="321327"/>
                  </a:cubicBezTo>
                  <a:cubicBezTo>
                    <a:pt x="6675" y="325572"/>
                    <a:pt x="11099" y="327243"/>
                    <a:pt x="10653" y="330953"/>
                  </a:cubicBezTo>
                  <a:cubicBezTo>
                    <a:pt x="10369" y="333761"/>
                    <a:pt x="3428" y="337438"/>
                    <a:pt x="1480" y="339978"/>
                  </a:cubicBezTo>
                  <a:cubicBezTo>
                    <a:pt x="-3188" y="346027"/>
                    <a:pt x="3671" y="357492"/>
                    <a:pt x="9922" y="360433"/>
                  </a:cubicBezTo>
                  <a:cubicBezTo>
                    <a:pt x="15321" y="362973"/>
                    <a:pt x="21287" y="365046"/>
                    <a:pt x="26605" y="367653"/>
                  </a:cubicBezTo>
                  <a:cubicBezTo>
                    <a:pt x="31922" y="370259"/>
                    <a:pt x="30948" y="373635"/>
                    <a:pt x="34723" y="376175"/>
                  </a:cubicBezTo>
                  <a:cubicBezTo>
                    <a:pt x="41055" y="380420"/>
                    <a:pt x="49700" y="371998"/>
                    <a:pt x="54774" y="377312"/>
                  </a:cubicBezTo>
                  <a:cubicBezTo>
                    <a:pt x="60822" y="383595"/>
                    <a:pt x="70360" y="379117"/>
                    <a:pt x="80548" y="376242"/>
                  </a:cubicBezTo>
                  <a:cubicBezTo>
                    <a:pt x="84851" y="375039"/>
                    <a:pt x="91873" y="373134"/>
                    <a:pt x="92725" y="369558"/>
                  </a:cubicBezTo>
                  <a:cubicBezTo>
                    <a:pt x="93091" y="367953"/>
                    <a:pt x="96784" y="360232"/>
                    <a:pt x="101493" y="362338"/>
                  </a:cubicBezTo>
                  <a:cubicBezTo>
                    <a:pt x="105227" y="364076"/>
                    <a:pt x="110098" y="388877"/>
                    <a:pt x="118946" y="383696"/>
                  </a:cubicBezTo>
                  <a:cubicBezTo>
                    <a:pt x="127592" y="379184"/>
                    <a:pt x="137256" y="376142"/>
                    <a:pt x="147359" y="374738"/>
                  </a:cubicBezTo>
                  <a:cubicBezTo>
                    <a:pt x="163595" y="372232"/>
                    <a:pt x="165706" y="369357"/>
                    <a:pt x="176543" y="361101"/>
                  </a:cubicBezTo>
                  <a:cubicBezTo>
                    <a:pt x="194565" y="347398"/>
                    <a:pt x="211897" y="335867"/>
                    <a:pt x="235642" y="327310"/>
                  </a:cubicBezTo>
                  <a:cubicBezTo>
                    <a:pt x="244977" y="323968"/>
                    <a:pt x="243760" y="327310"/>
                    <a:pt x="244815" y="331956"/>
                  </a:cubicBezTo>
                  <a:cubicBezTo>
                    <a:pt x="246414" y="339543"/>
                    <a:pt x="250774" y="346529"/>
                    <a:pt x="257317" y="352010"/>
                  </a:cubicBezTo>
                  <a:cubicBezTo>
                    <a:pt x="264619" y="357024"/>
                    <a:pt x="273423" y="360299"/>
                    <a:pt x="282807" y="361536"/>
                  </a:cubicBezTo>
                  <a:cubicBezTo>
                    <a:pt x="293239" y="363207"/>
                    <a:pt x="300383" y="357592"/>
                    <a:pt x="310165" y="357826"/>
                  </a:cubicBezTo>
                  <a:cubicBezTo>
                    <a:pt x="314224" y="357826"/>
                    <a:pt x="323843" y="355553"/>
                    <a:pt x="326157" y="357492"/>
                  </a:cubicBezTo>
                  <a:cubicBezTo>
                    <a:pt x="331799" y="362271"/>
                    <a:pt x="338334" y="357960"/>
                    <a:pt x="347182" y="357492"/>
                  </a:cubicBezTo>
                  <a:cubicBezTo>
                    <a:pt x="354935" y="357024"/>
                    <a:pt x="355300" y="362472"/>
                    <a:pt x="361632" y="361937"/>
                  </a:cubicBezTo>
                  <a:cubicBezTo>
                    <a:pt x="369020" y="361269"/>
                    <a:pt x="379776" y="355252"/>
                    <a:pt x="386757" y="356857"/>
                  </a:cubicBezTo>
                  <a:cubicBezTo>
                    <a:pt x="397961" y="359430"/>
                    <a:pt x="396743" y="362071"/>
                    <a:pt x="402263" y="367987"/>
                  </a:cubicBezTo>
                  <a:cubicBezTo>
                    <a:pt x="404374" y="370226"/>
                    <a:pt x="408067" y="371329"/>
                    <a:pt x="410381" y="373268"/>
                  </a:cubicBezTo>
                  <a:cubicBezTo>
                    <a:pt x="412695" y="375206"/>
                    <a:pt x="407742" y="376811"/>
                    <a:pt x="407499" y="379251"/>
                  </a:cubicBezTo>
                  <a:cubicBezTo>
                    <a:pt x="407174" y="382225"/>
                    <a:pt x="416834" y="389578"/>
                    <a:pt x="419676" y="391684"/>
                  </a:cubicBezTo>
                  <a:cubicBezTo>
                    <a:pt x="424709" y="395628"/>
                    <a:pt x="435100" y="393823"/>
                    <a:pt x="442203" y="392185"/>
                  </a:cubicBezTo>
                  <a:cubicBezTo>
                    <a:pt x="449306" y="390548"/>
                    <a:pt x="460428" y="385501"/>
                    <a:pt x="467653" y="387406"/>
                  </a:cubicBezTo>
                  <a:cubicBezTo>
                    <a:pt x="474878" y="389311"/>
                    <a:pt x="474106" y="397232"/>
                    <a:pt x="482387" y="399840"/>
                  </a:cubicBezTo>
                  <a:cubicBezTo>
                    <a:pt x="491966" y="402814"/>
                    <a:pt x="497324" y="406524"/>
                    <a:pt x="497689" y="414245"/>
                  </a:cubicBezTo>
                  <a:cubicBezTo>
                    <a:pt x="498055" y="421966"/>
                    <a:pt x="504143" y="433530"/>
                    <a:pt x="495497" y="440382"/>
                  </a:cubicBezTo>
                  <a:cubicBezTo>
                    <a:pt x="505401" y="444694"/>
                    <a:pt x="499556" y="444627"/>
                    <a:pt x="498623" y="450410"/>
                  </a:cubicBezTo>
                  <a:cubicBezTo>
                    <a:pt x="497973" y="454654"/>
                    <a:pt x="509298" y="459568"/>
                    <a:pt x="510800" y="463779"/>
                  </a:cubicBezTo>
                  <a:cubicBezTo>
                    <a:pt x="512302" y="467990"/>
                    <a:pt x="509339" y="475444"/>
                    <a:pt x="514006" y="478652"/>
                  </a:cubicBezTo>
                  <a:cubicBezTo>
                    <a:pt x="518674" y="481861"/>
                    <a:pt x="535276" y="476313"/>
                    <a:pt x="541851" y="475978"/>
                  </a:cubicBezTo>
                  <a:cubicBezTo>
                    <a:pt x="547290" y="475678"/>
                    <a:pt x="549969" y="473338"/>
                    <a:pt x="554434" y="472904"/>
                  </a:cubicBezTo>
                  <a:cubicBezTo>
                    <a:pt x="562552" y="472135"/>
                    <a:pt x="570670" y="479588"/>
                    <a:pt x="574120" y="483399"/>
                  </a:cubicBezTo>
                  <a:cubicBezTo>
                    <a:pt x="578219" y="488312"/>
                    <a:pt x="583009" y="492790"/>
                    <a:pt x="588407" y="496768"/>
                  </a:cubicBezTo>
                  <a:cubicBezTo>
                    <a:pt x="594740" y="501213"/>
                    <a:pt x="599651" y="492857"/>
                    <a:pt x="606998" y="491086"/>
                  </a:cubicBezTo>
                  <a:cubicBezTo>
                    <a:pt x="624898" y="486841"/>
                    <a:pt x="618647" y="514282"/>
                    <a:pt x="620636" y="520532"/>
                  </a:cubicBezTo>
                  <a:cubicBezTo>
                    <a:pt x="638739" y="515752"/>
                    <a:pt x="641458" y="518326"/>
                    <a:pt x="646816" y="529389"/>
                  </a:cubicBezTo>
                  <a:cubicBezTo>
                    <a:pt x="651809" y="539650"/>
                    <a:pt x="651159" y="543093"/>
                    <a:pt x="637643" y="551014"/>
                  </a:cubicBezTo>
                  <a:cubicBezTo>
                    <a:pt x="605739" y="569798"/>
                    <a:pt x="594577" y="597506"/>
                    <a:pt x="577205" y="622140"/>
                  </a:cubicBezTo>
                  <a:cubicBezTo>
                    <a:pt x="582563" y="621337"/>
                    <a:pt x="586013" y="618396"/>
                    <a:pt x="591208" y="617527"/>
                  </a:cubicBezTo>
                  <a:cubicBezTo>
                    <a:pt x="601153" y="615889"/>
                    <a:pt x="610448" y="620870"/>
                    <a:pt x="616049" y="625415"/>
                  </a:cubicBezTo>
                  <a:cubicBezTo>
                    <a:pt x="617876" y="626852"/>
                    <a:pt x="621082" y="630963"/>
                    <a:pt x="623842" y="627220"/>
                  </a:cubicBezTo>
                  <a:cubicBezTo>
                    <a:pt x="628956" y="620268"/>
                    <a:pt x="630702" y="621805"/>
                    <a:pt x="639226" y="624613"/>
                  </a:cubicBezTo>
                  <a:cubicBezTo>
                    <a:pt x="651403" y="628557"/>
                    <a:pt x="665812" y="629593"/>
                    <a:pt x="678476" y="632635"/>
                  </a:cubicBezTo>
                  <a:cubicBezTo>
                    <a:pt x="694712" y="636612"/>
                    <a:pt x="688542" y="655229"/>
                    <a:pt x="699258" y="663585"/>
                  </a:cubicBezTo>
                  <a:cubicBezTo>
                    <a:pt x="701531" y="659841"/>
                    <a:pt x="704453" y="656399"/>
                    <a:pt x="707904" y="653357"/>
                  </a:cubicBezTo>
                  <a:cubicBezTo>
                    <a:pt x="720243" y="642194"/>
                    <a:pt x="703764" y="656366"/>
                    <a:pt x="707701" y="65295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D26B55BB-FEBA-4021-9565-B4CECC8C67AF}"/>
                </a:ext>
              </a:extLst>
            </p:cNvPr>
            <p:cNvSpPr/>
            <p:nvPr/>
          </p:nvSpPr>
          <p:spPr>
            <a:xfrm>
              <a:off x="4392187" y="5593834"/>
              <a:ext cx="127184" cy="84766"/>
            </a:xfrm>
            <a:custGeom>
              <a:avLst/>
              <a:gdLst>
                <a:gd name="connsiteX0" fmla="*/ 115800 w 127184"/>
                <a:gd name="connsiteY0" fmla="*/ 20815 h 84766"/>
                <a:gd name="connsiteX1" fmla="*/ 77483 w 127184"/>
                <a:gd name="connsiteY1" fmla="*/ 8615 h 84766"/>
                <a:gd name="connsiteX2" fmla="*/ 55240 w 127184"/>
                <a:gd name="connsiteY2" fmla="*/ 4070 h 84766"/>
                <a:gd name="connsiteX3" fmla="*/ 43753 w 127184"/>
                <a:gd name="connsiteY3" fmla="*/ 6944 h 84766"/>
                <a:gd name="connsiteX4" fmla="*/ 728 w 127184"/>
                <a:gd name="connsiteY4" fmla="*/ 11623 h 84766"/>
                <a:gd name="connsiteX5" fmla="*/ 4787 w 127184"/>
                <a:gd name="connsiteY5" fmla="*/ 53236 h 84766"/>
                <a:gd name="connsiteX6" fmla="*/ 13839 w 127184"/>
                <a:gd name="connsiteY6" fmla="*/ 75496 h 84766"/>
                <a:gd name="connsiteX7" fmla="*/ 22484 w 127184"/>
                <a:gd name="connsiteY7" fmla="*/ 84420 h 84766"/>
                <a:gd name="connsiteX8" fmla="*/ 59583 w 127184"/>
                <a:gd name="connsiteY8" fmla="*/ 81479 h 84766"/>
                <a:gd name="connsiteX9" fmla="*/ 78214 w 127184"/>
                <a:gd name="connsiteY9" fmla="*/ 76933 h 84766"/>
                <a:gd name="connsiteX10" fmla="*/ 113243 w 127184"/>
                <a:gd name="connsiteY10" fmla="*/ 64967 h 84766"/>
                <a:gd name="connsiteX11" fmla="*/ 127125 w 127184"/>
                <a:gd name="connsiteY11" fmla="*/ 45114 h 84766"/>
                <a:gd name="connsiteX12" fmla="*/ 115963 w 127184"/>
                <a:gd name="connsiteY12" fmla="*/ 20815 h 84766"/>
                <a:gd name="connsiteX13" fmla="*/ 115800 w 127184"/>
                <a:gd name="connsiteY13" fmla="*/ 20815 h 8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184" h="84766">
                  <a:moveTo>
                    <a:pt x="115800" y="20815"/>
                  </a:moveTo>
                  <a:cubicBezTo>
                    <a:pt x="112756" y="12024"/>
                    <a:pt x="88361" y="10487"/>
                    <a:pt x="77483" y="8615"/>
                  </a:cubicBezTo>
                  <a:cubicBezTo>
                    <a:pt x="73425" y="7847"/>
                    <a:pt x="58852" y="1396"/>
                    <a:pt x="55240" y="4070"/>
                  </a:cubicBezTo>
                  <a:cubicBezTo>
                    <a:pt x="49192" y="8548"/>
                    <a:pt x="51181" y="12793"/>
                    <a:pt x="43753" y="6944"/>
                  </a:cubicBezTo>
                  <a:cubicBezTo>
                    <a:pt x="32835" y="-1980"/>
                    <a:pt x="4503" y="-5088"/>
                    <a:pt x="728" y="11623"/>
                  </a:cubicBezTo>
                  <a:cubicBezTo>
                    <a:pt x="-2397" y="25528"/>
                    <a:pt x="4787" y="39699"/>
                    <a:pt x="4787" y="53236"/>
                  </a:cubicBezTo>
                  <a:cubicBezTo>
                    <a:pt x="4787" y="59920"/>
                    <a:pt x="-3" y="75296"/>
                    <a:pt x="13839" y="75496"/>
                  </a:cubicBezTo>
                  <a:cubicBezTo>
                    <a:pt x="20090" y="75496"/>
                    <a:pt x="12296" y="84253"/>
                    <a:pt x="22484" y="84420"/>
                  </a:cubicBezTo>
                  <a:cubicBezTo>
                    <a:pt x="34337" y="84620"/>
                    <a:pt x="46838" y="80744"/>
                    <a:pt x="59583" y="81479"/>
                  </a:cubicBezTo>
                  <a:cubicBezTo>
                    <a:pt x="68270" y="81980"/>
                    <a:pt x="70218" y="78136"/>
                    <a:pt x="78214" y="76933"/>
                  </a:cubicBezTo>
                  <a:cubicBezTo>
                    <a:pt x="91040" y="75128"/>
                    <a:pt x="103745" y="72220"/>
                    <a:pt x="113243" y="64967"/>
                  </a:cubicBezTo>
                  <a:cubicBezTo>
                    <a:pt x="120590" y="59352"/>
                    <a:pt x="122944" y="51799"/>
                    <a:pt x="127125" y="45114"/>
                  </a:cubicBezTo>
                  <a:cubicBezTo>
                    <a:pt x="118520" y="38429"/>
                    <a:pt x="119007" y="29305"/>
                    <a:pt x="115963" y="20815"/>
                  </a:cubicBezTo>
                  <a:cubicBezTo>
                    <a:pt x="113121" y="12927"/>
                    <a:pt x="117708" y="26196"/>
                    <a:pt x="115800" y="2081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74937A58-0A6E-4335-8AE9-9AB43E27C0C6}"/>
                </a:ext>
              </a:extLst>
            </p:cNvPr>
            <p:cNvSpPr/>
            <p:nvPr/>
          </p:nvSpPr>
          <p:spPr>
            <a:xfrm>
              <a:off x="4084186" y="5488078"/>
              <a:ext cx="385303" cy="674234"/>
            </a:xfrm>
            <a:custGeom>
              <a:avLst/>
              <a:gdLst>
                <a:gd name="connsiteX0" fmla="*/ 305767 w 385303"/>
                <a:gd name="connsiteY0" fmla="*/ 647979 h 674234"/>
                <a:gd name="connsiteX1" fmla="*/ 254056 w 385303"/>
                <a:gd name="connsiteY1" fmla="*/ 639222 h 674234"/>
                <a:gd name="connsiteX2" fmla="*/ 244598 w 385303"/>
                <a:gd name="connsiteY2" fmla="*/ 633673 h 674234"/>
                <a:gd name="connsiteX3" fmla="*/ 235181 w 385303"/>
                <a:gd name="connsiteY3" fmla="*/ 634709 h 674234"/>
                <a:gd name="connsiteX4" fmla="*/ 227834 w 385303"/>
                <a:gd name="connsiteY4" fmla="*/ 621039 h 674234"/>
                <a:gd name="connsiteX5" fmla="*/ 251011 w 385303"/>
                <a:gd name="connsiteY5" fmla="*/ 673882 h 674234"/>
                <a:gd name="connsiteX6" fmla="*/ 272037 w 385303"/>
                <a:gd name="connsiteY6" fmla="*/ 667197 h 674234"/>
                <a:gd name="connsiteX7" fmla="*/ 294970 w 385303"/>
                <a:gd name="connsiteY7" fmla="*/ 664122 h 674234"/>
                <a:gd name="connsiteX8" fmla="*/ 304062 w 385303"/>
                <a:gd name="connsiteY8" fmla="*/ 657437 h 674234"/>
                <a:gd name="connsiteX9" fmla="*/ 318472 w 385303"/>
                <a:gd name="connsiteY9" fmla="*/ 651488 h 674234"/>
                <a:gd name="connsiteX10" fmla="*/ 305767 w 385303"/>
                <a:gd name="connsiteY10" fmla="*/ 647979 h 674234"/>
                <a:gd name="connsiteX11" fmla="*/ 372943 w 385303"/>
                <a:gd name="connsiteY11" fmla="*/ 4508 h 674234"/>
                <a:gd name="connsiteX12" fmla="*/ 356342 w 385303"/>
                <a:gd name="connsiteY12" fmla="*/ 7850 h 674234"/>
                <a:gd name="connsiteX13" fmla="*/ 348833 w 385303"/>
                <a:gd name="connsiteY13" fmla="*/ 38199 h 674234"/>
                <a:gd name="connsiteX14" fmla="*/ 339335 w 385303"/>
                <a:gd name="connsiteY14" fmla="*/ 46454 h 674234"/>
                <a:gd name="connsiteX15" fmla="*/ 328416 w 385303"/>
                <a:gd name="connsiteY15" fmla="*/ 51067 h 674234"/>
                <a:gd name="connsiteX16" fmla="*/ 291235 w 385303"/>
                <a:gd name="connsiteY16" fmla="*/ 60258 h 674234"/>
                <a:gd name="connsiteX17" fmla="*/ 266882 w 385303"/>
                <a:gd name="connsiteY17" fmla="*/ 62631 h 674234"/>
                <a:gd name="connsiteX18" fmla="*/ 270941 w 385303"/>
                <a:gd name="connsiteY18" fmla="*/ 49797 h 674234"/>
                <a:gd name="connsiteX19" fmla="*/ 270941 w 385303"/>
                <a:gd name="connsiteY19" fmla="*/ 21553 h 674234"/>
                <a:gd name="connsiteX20" fmla="*/ 222233 w 385303"/>
                <a:gd name="connsiteY20" fmla="*/ 16908 h 674234"/>
                <a:gd name="connsiteX21" fmla="*/ 187164 w 385303"/>
                <a:gd name="connsiteY21" fmla="*/ 18011 h 674234"/>
                <a:gd name="connsiteX22" fmla="*/ 151566 w 385303"/>
                <a:gd name="connsiteY22" fmla="*/ 10290 h 674234"/>
                <a:gd name="connsiteX23" fmla="*/ 123153 w 385303"/>
                <a:gd name="connsiteY23" fmla="*/ -339 h 674234"/>
                <a:gd name="connsiteX24" fmla="*/ 97663 w 385303"/>
                <a:gd name="connsiteY24" fmla="*/ 8452 h 674234"/>
                <a:gd name="connsiteX25" fmla="*/ 90316 w 385303"/>
                <a:gd name="connsiteY25" fmla="*/ 21253 h 674234"/>
                <a:gd name="connsiteX26" fmla="*/ 78464 w 385303"/>
                <a:gd name="connsiteY26" fmla="*/ 17442 h 674234"/>
                <a:gd name="connsiteX27" fmla="*/ 55815 w 385303"/>
                <a:gd name="connsiteY27" fmla="*/ 20551 h 674234"/>
                <a:gd name="connsiteX28" fmla="*/ 33937 w 385303"/>
                <a:gd name="connsiteY28" fmla="*/ 27236 h 674234"/>
                <a:gd name="connsiteX29" fmla="*/ 19893 w 385303"/>
                <a:gd name="connsiteY29" fmla="*/ 42209 h 674234"/>
                <a:gd name="connsiteX30" fmla="*/ 23019 w 385303"/>
                <a:gd name="connsiteY30" fmla="*/ 56281 h 674234"/>
                <a:gd name="connsiteX31" fmla="*/ 4388 w 385303"/>
                <a:gd name="connsiteY31" fmla="*/ 91275 h 674234"/>
                <a:gd name="connsiteX32" fmla="*/ 10720 w 385303"/>
                <a:gd name="connsiteY32" fmla="*/ 104912 h 674234"/>
                <a:gd name="connsiteX33" fmla="*/ 13521 w 385303"/>
                <a:gd name="connsiteY33" fmla="*/ 117914 h 674234"/>
                <a:gd name="connsiteX34" fmla="*/ 11978 w 385303"/>
                <a:gd name="connsiteY34" fmla="*/ 130648 h 674234"/>
                <a:gd name="connsiteX35" fmla="*/ 6986 w 385303"/>
                <a:gd name="connsiteY35" fmla="*/ 151939 h 674234"/>
                <a:gd name="connsiteX36" fmla="*/ 2439 w 385303"/>
                <a:gd name="connsiteY36" fmla="*/ 172194 h 674234"/>
                <a:gd name="connsiteX37" fmla="*/ 6174 w 385303"/>
                <a:gd name="connsiteY37" fmla="*/ 186131 h 674234"/>
                <a:gd name="connsiteX38" fmla="*/ 532 w 385303"/>
                <a:gd name="connsiteY38" fmla="*/ 215444 h 674234"/>
                <a:gd name="connsiteX39" fmla="*/ 15997 w 385303"/>
                <a:gd name="connsiteY39" fmla="*/ 232390 h 674234"/>
                <a:gd name="connsiteX40" fmla="*/ 33653 w 385303"/>
                <a:gd name="connsiteY40" fmla="*/ 249503 h 674234"/>
                <a:gd name="connsiteX41" fmla="*/ 36576 w 385303"/>
                <a:gd name="connsiteY41" fmla="*/ 270559 h 674234"/>
                <a:gd name="connsiteX42" fmla="*/ 33978 w 385303"/>
                <a:gd name="connsiteY42" fmla="*/ 287839 h 674234"/>
                <a:gd name="connsiteX43" fmla="*/ 37468 w 385303"/>
                <a:gd name="connsiteY43" fmla="*/ 310266 h 674234"/>
                <a:gd name="connsiteX44" fmla="*/ 43395 w 385303"/>
                <a:gd name="connsiteY44" fmla="*/ 346498 h 674234"/>
                <a:gd name="connsiteX45" fmla="*/ 53055 w 385303"/>
                <a:gd name="connsiteY45" fmla="*/ 353951 h 674234"/>
                <a:gd name="connsiteX46" fmla="*/ 43151 w 385303"/>
                <a:gd name="connsiteY46" fmla="*/ 362508 h 674234"/>
                <a:gd name="connsiteX47" fmla="*/ 47900 w 385303"/>
                <a:gd name="connsiteY47" fmla="*/ 375041 h 674234"/>
                <a:gd name="connsiteX48" fmla="*/ 43232 w 385303"/>
                <a:gd name="connsiteY48" fmla="*/ 380757 h 674234"/>
                <a:gd name="connsiteX49" fmla="*/ 46033 w 385303"/>
                <a:gd name="connsiteY49" fmla="*/ 392956 h 674234"/>
                <a:gd name="connsiteX50" fmla="*/ 50539 w 385303"/>
                <a:gd name="connsiteY50" fmla="*/ 407730 h 674234"/>
                <a:gd name="connsiteX51" fmla="*/ 60077 w 385303"/>
                <a:gd name="connsiteY51" fmla="*/ 422202 h 674234"/>
                <a:gd name="connsiteX52" fmla="*/ 64380 w 385303"/>
                <a:gd name="connsiteY52" fmla="*/ 446635 h 674234"/>
                <a:gd name="connsiteX53" fmla="*/ 74040 w 385303"/>
                <a:gd name="connsiteY53" fmla="*/ 457531 h 674234"/>
                <a:gd name="connsiteX54" fmla="*/ 80818 w 385303"/>
                <a:gd name="connsiteY54" fmla="*/ 471168 h 674234"/>
                <a:gd name="connsiteX55" fmla="*/ 97257 w 385303"/>
                <a:gd name="connsiteY55" fmla="*/ 470633 h 674234"/>
                <a:gd name="connsiteX56" fmla="*/ 85080 w 385303"/>
                <a:gd name="connsiteY56" fmla="*/ 480660 h 674234"/>
                <a:gd name="connsiteX57" fmla="*/ 96364 w 385303"/>
                <a:gd name="connsiteY57" fmla="*/ 491423 h 674234"/>
                <a:gd name="connsiteX58" fmla="*/ 99977 w 385303"/>
                <a:gd name="connsiteY58" fmla="*/ 508368 h 674234"/>
                <a:gd name="connsiteX59" fmla="*/ 105497 w 385303"/>
                <a:gd name="connsiteY59" fmla="*/ 515554 h 674234"/>
                <a:gd name="connsiteX60" fmla="*/ 102493 w 385303"/>
                <a:gd name="connsiteY60" fmla="*/ 521704 h 674234"/>
                <a:gd name="connsiteX61" fmla="*/ 98434 w 385303"/>
                <a:gd name="connsiteY61" fmla="*/ 538416 h 674234"/>
                <a:gd name="connsiteX62" fmla="*/ 103752 w 385303"/>
                <a:gd name="connsiteY62" fmla="*/ 552053 h 674234"/>
                <a:gd name="connsiteX63" fmla="*/ 102290 w 385303"/>
                <a:gd name="connsiteY63" fmla="*/ 568765 h 674234"/>
                <a:gd name="connsiteX64" fmla="*/ 92549 w 385303"/>
                <a:gd name="connsiteY64" fmla="*/ 584808 h 674234"/>
                <a:gd name="connsiteX65" fmla="*/ 94172 w 385303"/>
                <a:gd name="connsiteY65" fmla="*/ 594033 h 674234"/>
                <a:gd name="connsiteX66" fmla="*/ 105253 w 385303"/>
                <a:gd name="connsiteY66" fmla="*/ 605063 h 674234"/>
                <a:gd name="connsiteX67" fmla="*/ 122504 w 385303"/>
                <a:gd name="connsiteY67" fmla="*/ 605564 h 674234"/>
                <a:gd name="connsiteX68" fmla="*/ 132814 w 385303"/>
                <a:gd name="connsiteY68" fmla="*/ 613753 h 674234"/>
                <a:gd name="connsiteX69" fmla="*/ 164433 w 385303"/>
                <a:gd name="connsiteY69" fmla="*/ 624582 h 674234"/>
                <a:gd name="connsiteX70" fmla="*/ 218864 w 385303"/>
                <a:gd name="connsiteY70" fmla="*/ 615457 h 674234"/>
                <a:gd name="connsiteX71" fmla="*/ 224060 w 385303"/>
                <a:gd name="connsiteY71" fmla="*/ 609341 h 674234"/>
                <a:gd name="connsiteX72" fmla="*/ 205185 w 385303"/>
                <a:gd name="connsiteY72" fmla="*/ 594534 h 674234"/>
                <a:gd name="connsiteX73" fmla="*/ 200517 w 385303"/>
                <a:gd name="connsiteY73" fmla="*/ 574480 h 674234"/>
                <a:gd name="connsiteX74" fmla="*/ 206809 w 385303"/>
                <a:gd name="connsiteY74" fmla="*/ 565623 h 674234"/>
                <a:gd name="connsiteX75" fmla="*/ 214562 w 385303"/>
                <a:gd name="connsiteY75" fmla="*/ 562280 h 674234"/>
                <a:gd name="connsiteX76" fmla="*/ 217322 w 385303"/>
                <a:gd name="connsiteY76" fmla="*/ 541491 h 674234"/>
                <a:gd name="connsiteX77" fmla="*/ 237048 w 385303"/>
                <a:gd name="connsiteY77" fmla="*/ 515722 h 674234"/>
                <a:gd name="connsiteX78" fmla="*/ 244598 w 385303"/>
                <a:gd name="connsiteY78" fmla="*/ 501784 h 674234"/>
                <a:gd name="connsiteX79" fmla="*/ 241879 w 385303"/>
                <a:gd name="connsiteY79" fmla="*/ 485673 h 674234"/>
                <a:gd name="connsiteX80" fmla="*/ 219148 w 385303"/>
                <a:gd name="connsiteY80" fmla="*/ 488782 h 674234"/>
                <a:gd name="connsiteX81" fmla="*/ 195728 w 385303"/>
                <a:gd name="connsiteY81" fmla="*/ 480092 h 674234"/>
                <a:gd name="connsiteX82" fmla="*/ 219473 w 385303"/>
                <a:gd name="connsiteY82" fmla="*/ 444663 h 674234"/>
                <a:gd name="connsiteX83" fmla="*/ 225927 w 385303"/>
                <a:gd name="connsiteY83" fmla="*/ 432831 h 674234"/>
                <a:gd name="connsiteX84" fmla="*/ 224262 w 385303"/>
                <a:gd name="connsiteY84" fmla="*/ 409434 h 674234"/>
                <a:gd name="connsiteX85" fmla="*/ 236724 w 385303"/>
                <a:gd name="connsiteY85" fmla="*/ 394327 h 674234"/>
                <a:gd name="connsiteX86" fmla="*/ 231934 w 385303"/>
                <a:gd name="connsiteY86" fmla="*/ 387174 h 674234"/>
                <a:gd name="connsiteX87" fmla="*/ 250199 w 385303"/>
                <a:gd name="connsiteY87" fmla="*/ 387408 h 674234"/>
                <a:gd name="connsiteX88" fmla="*/ 242447 w 385303"/>
                <a:gd name="connsiteY88" fmla="*/ 374908 h 674234"/>
                <a:gd name="connsiteX89" fmla="*/ 225358 w 385303"/>
                <a:gd name="connsiteY89" fmla="*/ 380256 h 674234"/>
                <a:gd name="connsiteX90" fmla="*/ 213181 w 385303"/>
                <a:gd name="connsiteY90" fmla="*/ 369226 h 674234"/>
                <a:gd name="connsiteX91" fmla="*/ 207418 w 385303"/>
                <a:gd name="connsiteY91" fmla="*/ 353149 h 674234"/>
                <a:gd name="connsiteX92" fmla="*/ 240255 w 385303"/>
                <a:gd name="connsiteY92" fmla="*/ 351913 h 674234"/>
                <a:gd name="connsiteX93" fmla="*/ 267572 w 385303"/>
                <a:gd name="connsiteY93" fmla="*/ 338877 h 674234"/>
                <a:gd name="connsiteX94" fmla="*/ 264609 w 385303"/>
                <a:gd name="connsiteY94" fmla="*/ 318422 h 674234"/>
                <a:gd name="connsiteX95" fmla="*/ 257100 w 385303"/>
                <a:gd name="connsiteY95" fmla="*/ 303482 h 674234"/>
                <a:gd name="connsiteX96" fmla="*/ 278815 w 385303"/>
                <a:gd name="connsiteY96" fmla="*/ 296329 h 674234"/>
                <a:gd name="connsiteX97" fmla="*/ 356626 w 385303"/>
                <a:gd name="connsiteY97" fmla="*/ 262337 h 674234"/>
                <a:gd name="connsiteX98" fmla="*/ 364744 w 385303"/>
                <a:gd name="connsiteY98" fmla="*/ 248567 h 674234"/>
                <a:gd name="connsiteX99" fmla="*/ 376921 w 385303"/>
                <a:gd name="connsiteY99" fmla="*/ 226808 h 674234"/>
                <a:gd name="connsiteX100" fmla="*/ 358168 w 385303"/>
                <a:gd name="connsiteY100" fmla="*/ 218419 h 674234"/>
                <a:gd name="connsiteX101" fmla="*/ 352323 w 385303"/>
                <a:gd name="connsiteY101" fmla="*/ 199935 h 674234"/>
                <a:gd name="connsiteX102" fmla="*/ 321800 w 385303"/>
                <a:gd name="connsiteY102" fmla="*/ 199501 h 674234"/>
                <a:gd name="connsiteX103" fmla="*/ 315062 w 385303"/>
                <a:gd name="connsiteY103" fmla="*/ 194153 h 674234"/>
                <a:gd name="connsiteX104" fmla="*/ 321516 w 385303"/>
                <a:gd name="connsiteY104" fmla="*/ 188605 h 674234"/>
                <a:gd name="connsiteX105" fmla="*/ 323707 w 385303"/>
                <a:gd name="connsiteY105" fmla="*/ 188872 h 674234"/>
                <a:gd name="connsiteX106" fmla="*/ 313966 w 385303"/>
                <a:gd name="connsiteY106" fmla="*/ 177608 h 674234"/>
                <a:gd name="connsiteX107" fmla="*/ 310800 w 385303"/>
                <a:gd name="connsiteY107" fmla="*/ 150569 h 674234"/>
                <a:gd name="connsiteX108" fmla="*/ 309217 w 385303"/>
                <a:gd name="connsiteY108" fmla="*/ 123395 h 674234"/>
                <a:gd name="connsiteX109" fmla="*/ 322652 w 385303"/>
                <a:gd name="connsiteY109" fmla="*/ 96122 h 674234"/>
                <a:gd name="connsiteX110" fmla="*/ 368315 w 385303"/>
                <a:gd name="connsiteY110" fmla="*/ 41273 h 674234"/>
                <a:gd name="connsiteX111" fmla="*/ 384551 w 385303"/>
                <a:gd name="connsiteY111" fmla="*/ 22623 h 674234"/>
                <a:gd name="connsiteX112" fmla="*/ 372374 w 385303"/>
                <a:gd name="connsiteY112" fmla="*/ 4775 h 674234"/>
                <a:gd name="connsiteX113" fmla="*/ 372943 w 385303"/>
                <a:gd name="connsiteY113" fmla="*/ 4474 h 67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85303" h="674234">
                  <a:moveTo>
                    <a:pt x="305767" y="647979"/>
                  </a:moveTo>
                  <a:cubicBezTo>
                    <a:pt x="289531" y="651989"/>
                    <a:pt x="268587" y="642664"/>
                    <a:pt x="254056" y="639222"/>
                  </a:cubicBezTo>
                  <a:cubicBezTo>
                    <a:pt x="250605" y="638386"/>
                    <a:pt x="247805" y="633907"/>
                    <a:pt x="244598" y="633673"/>
                  </a:cubicBezTo>
                  <a:cubicBezTo>
                    <a:pt x="242853" y="633673"/>
                    <a:pt x="235952" y="637584"/>
                    <a:pt x="235181" y="634709"/>
                  </a:cubicBezTo>
                  <a:cubicBezTo>
                    <a:pt x="233761" y="629529"/>
                    <a:pt x="247034" y="618733"/>
                    <a:pt x="227834" y="621039"/>
                  </a:cubicBezTo>
                  <a:cubicBezTo>
                    <a:pt x="229783" y="626520"/>
                    <a:pt x="244923" y="674851"/>
                    <a:pt x="251011" y="673882"/>
                  </a:cubicBezTo>
                  <a:cubicBezTo>
                    <a:pt x="258074" y="672746"/>
                    <a:pt x="265218" y="669069"/>
                    <a:pt x="272037" y="667197"/>
                  </a:cubicBezTo>
                  <a:cubicBezTo>
                    <a:pt x="278856" y="665325"/>
                    <a:pt x="288557" y="666495"/>
                    <a:pt x="294970" y="664122"/>
                  </a:cubicBezTo>
                  <a:cubicBezTo>
                    <a:pt x="298420" y="662852"/>
                    <a:pt x="300368" y="659108"/>
                    <a:pt x="304062" y="657437"/>
                  </a:cubicBezTo>
                  <a:cubicBezTo>
                    <a:pt x="308811" y="655365"/>
                    <a:pt x="313966" y="654095"/>
                    <a:pt x="318472" y="651488"/>
                  </a:cubicBezTo>
                  <a:cubicBezTo>
                    <a:pt x="334139" y="643032"/>
                    <a:pt x="311490" y="646475"/>
                    <a:pt x="305767" y="647979"/>
                  </a:cubicBezTo>
                  <a:close/>
                  <a:moveTo>
                    <a:pt x="372943" y="4508"/>
                  </a:moveTo>
                  <a:cubicBezTo>
                    <a:pt x="368031" y="4073"/>
                    <a:pt x="360969" y="6446"/>
                    <a:pt x="356342" y="7850"/>
                  </a:cubicBezTo>
                  <a:cubicBezTo>
                    <a:pt x="359995" y="19381"/>
                    <a:pt x="362958" y="29341"/>
                    <a:pt x="348833" y="38199"/>
                  </a:cubicBezTo>
                  <a:cubicBezTo>
                    <a:pt x="344774" y="40605"/>
                    <a:pt x="343150" y="44048"/>
                    <a:pt x="339335" y="46454"/>
                  </a:cubicBezTo>
                  <a:cubicBezTo>
                    <a:pt x="335519" y="48861"/>
                    <a:pt x="331907" y="48727"/>
                    <a:pt x="328416" y="51067"/>
                  </a:cubicBezTo>
                  <a:cubicBezTo>
                    <a:pt x="322165" y="55245"/>
                    <a:pt x="299232" y="61395"/>
                    <a:pt x="291235" y="60258"/>
                  </a:cubicBezTo>
                  <a:cubicBezTo>
                    <a:pt x="287542" y="59723"/>
                    <a:pt x="268059" y="65372"/>
                    <a:pt x="266882" y="62631"/>
                  </a:cubicBezTo>
                  <a:cubicBezTo>
                    <a:pt x="265583" y="59289"/>
                    <a:pt x="272849" y="54810"/>
                    <a:pt x="270941" y="49797"/>
                  </a:cubicBezTo>
                  <a:cubicBezTo>
                    <a:pt x="266882" y="38700"/>
                    <a:pt x="296472" y="22523"/>
                    <a:pt x="270941" y="21553"/>
                  </a:cubicBezTo>
                  <a:cubicBezTo>
                    <a:pt x="252878" y="20885"/>
                    <a:pt x="238469" y="20518"/>
                    <a:pt x="222233" y="16908"/>
                  </a:cubicBezTo>
                  <a:cubicBezTo>
                    <a:pt x="210503" y="14334"/>
                    <a:pt x="198691" y="19481"/>
                    <a:pt x="187164" y="18011"/>
                  </a:cubicBezTo>
                  <a:cubicBezTo>
                    <a:pt x="175068" y="16206"/>
                    <a:pt x="163175" y="13599"/>
                    <a:pt x="151566" y="10290"/>
                  </a:cubicBezTo>
                  <a:cubicBezTo>
                    <a:pt x="141500" y="7917"/>
                    <a:pt x="131961" y="4307"/>
                    <a:pt x="123153" y="-339"/>
                  </a:cubicBezTo>
                  <a:cubicBezTo>
                    <a:pt x="116050" y="1065"/>
                    <a:pt x="99814" y="2268"/>
                    <a:pt x="97663" y="8452"/>
                  </a:cubicBezTo>
                  <a:cubicBezTo>
                    <a:pt x="96973" y="10424"/>
                    <a:pt x="95674" y="21821"/>
                    <a:pt x="90316" y="21253"/>
                  </a:cubicBezTo>
                  <a:cubicBezTo>
                    <a:pt x="85811" y="20751"/>
                    <a:pt x="83660" y="17910"/>
                    <a:pt x="78464" y="17442"/>
                  </a:cubicBezTo>
                  <a:cubicBezTo>
                    <a:pt x="70793" y="17610"/>
                    <a:pt x="63162" y="18646"/>
                    <a:pt x="55815" y="20551"/>
                  </a:cubicBezTo>
                  <a:cubicBezTo>
                    <a:pt x="44572" y="22690"/>
                    <a:pt x="40959" y="17710"/>
                    <a:pt x="33937" y="27236"/>
                  </a:cubicBezTo>
                  <a:cubicBezTo>
                    <a:pt x="29919" y="32617"/>
                    <a:pt x="25223" y="37664"/>
                    <a:pt x="19893" y="42209"/>
                  </a:cubicBezTo>
                  <a:cubicBezTo>
                    <a:pt x="21428" y="46822"/>
                    <a:pt x="22471" y="51535"/>
                    <a:pt x="23019" y="56281"/>
                  </a:cubicBezTo>
                  <a:cubicBezTo>
                    <a:pt x="24602" y="70787"/>
                    <a:pt x="-3974" y="77070"/>
                    <a:pt x="4388" y="91275"/>
                  </a:cubicBezTo>
                  <a:cubicBezTo>
                    <a:pt x="7797" y="97058"/>
                    <a:pt x="4104" y="99498"/>
                    <a:pt x="10720" y="104912"/>
                  </a:cubicBezTo>
                  <a:cubicBezTo>
                    <a:pt x="16321" y="109525"/>
                    <a:pt x="10355" y="115206"/>
                    <a:pt x="13521" y="117914"/>
                  </a:cubicBezTo>
                  <a:cubicBezTo>
                    <a:pt x="20299" y="123763"/>
                    <a:pt x="21639" y="122994"/>
                    <a:pt x="11978" y="130648"/>
                  </a:cubicBezTo>
                  <a:cubicBezTo>
                    <a:pt x="3657" y="137333"/>
                    <a:pt x="16565" y="145422"/>
                    <a:pt x="6986" y="151939"/>
                  </a:cubicBezTo>
                  <a:cubicBezTo>
                    <a:pt x="-2594" y="158457"/>
                    <a:pt x="6133" y="165576"/>
                    <a:pt x="2439" y="172194"/>
                  </a:cubicBezTo>
                  <a:cubicBezTo>
                    <a:pt x="-1863" y="179848"/>
                    <a:pt x="-605" y="178879"/>
                    <a:pt x="6174" y="186131"/>
                  </a:cubicBezTo>
                  <a:cubicBezTo>
                    <a:pt x="13602" y="194020"/>
                    <a:pt x="897" y="206185"/>
                    <a:pt x="532" y="215444"/>
                  </a:cubicBezTo>
                  <a:cubicBezTo>
                    <a:pt x="166" y="224702"/>
                    <a:pt x="8284" y="227543"/>
                    <a:pt x="15997" y="232390"/>
                  </a:cubicBezTo>
                  <a:cubicBezTo>
                    <a:pt x="23708" y="237236"/>
                    <a:pt x="26144" y="244422"/>
                    <a:pt x="33653" y="249503"/>
                  </a:cubicBezTo>
                  <a:cubicBezTo>
                    <a:pt x="38280" y="252845"/>
                    <a:pt x="41081" y="266214"/>
                    <a:pt x="36576" y="270559"/>
                  </a:cubicBezTo>
                  <a:cubicBezTo>
                    <a:pt x="34708" y="276175"/>
                    <a:pt x="33816" y="281990"/>
                    <a:pt x="33978" y="287839"/>
                  </a:cubicBezTo>
                  <a:cubicBezTo>
                    <a:pt x="38280" y="298100"/>
                    <a:pt x="48306" y="299538"/>
                    <a:pt x="37468" y="310266"/>
                  </a:cubicBezTo>
                  <a:cubicBezTo>
                    <a:pt x="23749" y="323870"/>
                    <a:pt x="42421" y="333663"/>
                    <a:pt x="43395" y="346498"/>
                  </a:cubicBezTo>
                  <a:cubicBezTo>
                    <a:pt x="43679" y="350341"/>
                    <a:pt x="52081" y="349272"/>
                    <a:pt x="53055" y="353951"/>
                  </a:cubicBezTo>
                  <a:cubicBezTo>
                    <a:pt x="54232" y="359366"/>
                    <a:pt x="46480" y="359098"/>
                    <a:pt x="43151" y="362508"/>
                  </a:cubicBezTo>
                  <a:cubicBezTo>
                    <a:pt x="39823" y="365917"/>
                    <a:pt x="48184" y="371566"/>
                    <a:pt x="47900" y="375041"/>
                  </a:cubicBezTo>
                  <a:cubicBezTo>
                    <a:pt x="47900" y="377281"/>
                    <a:pt x="43841" y="378117"/>
                    <a:pt x="43232" y="380757"/>
                  </a:cubicBezTo>
                  <a:cubicBezTo>
                    <a:pt x="42542" y="385135"/>
                    <a:pt x="46114" y="388678"/>
                    <a:pt x="46033" y="392956"/>
                  </a:cubicBezTo>
                  <a:cubicBezTo>
                    <a:pt x="45789" y="400644"/>
                    <a:pt x="42421" y="401647"/>
                    <a:pt x="50539" y="407730"/>
                  </a:cubicBezTo>
                  <a:cubicBezTo>
                    <a:pt x="55166" y="411072"/>
                    <a:pt x="57926" y="417757"/>
                    <a:pt x="60077" y="422202"/>
                  </a:cubicBezTo>
                  <a:cubicBezTo>
                    <a:pt x="62228" y="426648"/>
                    <a:pt x="51959" y="444997"/>
                    <a:pt x="64380" y="446635"/>
                  </a:cubicBezTo>
                  <a:cubicBezTo>
                    <a:pt x="73066" y="447738"/>
                    <a:pt x="67505" y="455125"/>
                    <a:pt x="74040" y="457531"/>
                  </a:cubicBezTo>
                  <a:cubicBezTo>
                    <a:pt x="83091" y="460873"/>
                    <a:pt x="72173" y="468929"/>
                    <a:pt x="80818" y="471168"/>
                  </a:cubicBezTo>
                  <a:cubicBezTo>
                    <a:pt x="86826" y="472738"/>
                    <a:pt x="92183" y="465887"/>
                    <a:pt x="97257" y="470633"/>
                  </a:cubicBezTo>
                  <a:cubicBezTo>
                    <a:pt x="103995" y="476916"/>
                    <a:pt x="83132" y="477317"/>
                    <a:pt x="85080" y="480660"/>
                  </a:cubicBezTo>
                  <a:cubicBezTo>
                    <a:pt x="87029" y="484002"/>
                    <a:pt x="107729" y="484002"/>
                    <a:pt x="96364" y="491423"/>
                  </a:cubicBezTo>
                  <a:cubicBezTo>
                    <a:pt x="90682" y="495199"/>
                    <a:pt x="97379" y="504558"/>
                    <a:pt x="99977" y="508368"/>
                  </a:cubicBezTo>
                  <a:cubicBezTo>
                    <a:pt x="101316" y="510307"/>
                    <a:pt x="105903" y="513014"/>
                    <a:pt x="105497" y="515554"/>
                  </a:cubicBezTo>
                  <a:cubicBezTo>
                    <a:pt x="105091" y="518095"/>
                    <a:pt x="100789" y="518261"/>
                    <a:pt x="102493" y="521704"/>
                  </a:cubicBezTo>
                  <a:cubicBezTo>
                    <a:pt x="106552" y="530194"/>
                    <a:pt x="96324" y="530528"/>
                    <a:pt x="98434" y="538416"/>
                  </a:cubicBezTo>
                  <a:cubicBezTo>
                    <a:pt x="100545" y="546304"/>
                    <a:pt x="96324" y="545636"/>
                    <a:pt x="103752" y="552053"/>
                  </a:cubicBezTo>
                  <a:cubicBezTo>
                    <a:pt x="104929" y="553055"/>
                    <a:pt x="103386" y="566793"/>
                    <a:pt x="102290" y="568765"/>
                  </a:cubicBezTo>
                  <a:cubicBezTo>
                    <a:pt x="98637" y="575148"/>
                    <a:pt x="90114" y="575784"/>
                    <a:pt x="92549" y="584808"/>
                  </a:cubicBezTo>
                  <a:cubicBezTo>
                    <a:pt x="92833" y="587916"/>
                    <a:pt x="93401" y="590991"/>
                    <a:pt x="94172" y="594033"/>
                  </a:cubicBezTo>
                  <a:cubicBezTo>
                    <a:pt x="96324" y="599046"/>
                    <a:pt x="104076" y="599715"/>
                    <a:pt x="105253" y="605063"/>
                  </a:cubicBezTo>
                  <a:cubicBezTo>
                    <a:pt x="106715" y="611747"/>
                    <a:pt x="116781" y="607035"/>
                    <a:pt x="122504" y="605564"/>
                  </a:cubicBezTo>
                  <a:cubicBezTo>
                    <a:pt x="132855" y="602957"/>
                    <a:pt x="130825" y="608004"/>
                    <a:pt x="132814" y="613753"/>
                  </a:cubicBezTo>
                  <a:cubicBezTo>
                    <a:pt x="137279" y="626520"/>
                    <a:pt x="148522" y="630465"/>
                    <a:pt x="164433" y="624582"/>
                  </a:cubicBezTo>
                  <a:cubicBezTo>
                    <a:pt x="183592" y="617362"/>
                    <a:pt x="199421" y="616427"/>
                    <a:pt x="218864" y="615457"/>
                  </a:cubicBezTo>
                  <a:cubicBezTo>
                    <a:pt x="226130" y="615090"/>
                    <a:pt x="232583" y="613452"/>
                    <a:pt x="224060" y="609341"/>
                  </a:cubicBezTo>
                  <a:cubicBezTo>
                    <a:pt x="216104" y="606065"/>
                    <a:pt x="209528" y="600918"/>
                    <a:pt x="205185" y="594534"/>
                  </a:cubicBezTo>
                  <a:cubicBezTo>
                    <a:pt x="201126" y="589588"/>
                    <a:pt x="194957" y="580363"/>
                    <a:pt x="200517" y="574480"/>
                  </a:cubicBezTo>
                  <a:cubicBezTo>
                    <a:pt x="202953" y="571906"/>
                    <a:pt x="203927" y="567795"/>
                    <a:pt x="206809" y="565623"/>
                  </a:cubicBezTo>
                  <a:cubicBezTo>
                    <a:pt x="208879" y="563985"/>
                    <a:pt x="212289" y="564119"/>
                    <a:pt x="214562" y="562280"/>
                  </a:cubicBezTo>
                  <a:cubicBezTo>
                    <a:pt x="222680" y="555596"/>
                    <a:pt x="216104" y="548677"/>
                    <a:pt x="217322" y="541491"/>
                  </a:cubicBezTo>
                  <a:cubicBezTo>
                    <a:pt x="218905" y="532266"/>
                    <a:pt x="229499" y="523008"/>
                    <a:pt x="237048" y="515722"/>
                  </a:cubicBezTo>
                  <a:cubicBezTo>
                    <a:pt x="242528" y="510407"/>
                    <a:pt x="246952" y="507599"/>
                    <a:pt x="244598" y="501784"/>
                  </a:cubicBezTo>
                  <a:cubicBezTo>
                    <a:pt x="243380" y="498709"/>
                    <a:pt x="246546" y="486777"/>
                    <a:pt x="241879" y="485673"/>
                  </a:cubicBezTo>
                  <a:cubicBezTo>
                    <a:pt x="235019" y="484002"/>
                    <a:pt x="226211" y="488615"/>
                    <a:pt x="219148" y="488782"/>
                  </a:cubicBezTo>
                  <a:cubicBezTo>
                    <a:pt x="210178" y="488916"/>
                    <a:pt x="201573" y="485707"/>
                    <a:pt x="195728" y="480092"/>
                  </a:cubicBezTo>
                  <a:cubicBezTo>
                    <a:pt x="184322" y="467391"/>
                    <a:pt x="203846" y="451013"/>
                    <a:pt x="219473" y="444663"/>
                  </a:cubicBezTo>
                  <a:cubicBezTo>
                    <a:pt x="229904" y="440452"/>
                    <a:pt x="220163" y="437778"/>
                    <a:pt x="225927" y="432831"/>
                  </a:cubicBezTo>
                  <a:cubicBezTo>
                    <a:pt x="233842" y="426146"/>
                    <a:pt x="224669" y="416554"/>
                    <a:pt x="224262" y="409434"/>
                  </a:cubicBezTo>
                  <a:cubicBezTo>
                    <a:pt x="223978" y="404855"/>
                    <a:pt x="238672" y="395530"/>
                    <a:pt x="236724" y="394327"/>
                  </a:cubicBezTo>
                  <a:cubicBezTo>
                    <a:pt x="234775" y="393124"/>
                    <a:pt x="218540" y="392121"/>
                    <a:pt x="231934" y="387174"/>
                  </a:cubicBezTo>
                  <a:cubicBezTo>
                    <a:pt x="239809" y="384266"/>
                    <a:pt x="242772" y="392388"/>
                    <a:pt x="250199" y="387408"/>
                  </a:cubicBezTo>
                  <a:cubicBezTo>
                    <a:pt x="259657" y="381058"/>
                    <a:pt x="252756" y="367621"/>
                    <a:pt x="242447" y="374908"/>
                  </a:cubicBezTo>
                  <a:cubicBezTo>
                    <a:pt x="234329" y="380657"/>
                    <a:pt x="237130" y="381860"/>
                    <a:pt x="225358" y="380256"/>
                  </a:cubicBezTo>
                  <a:cubicBezTo>
                    <a:pt x="214846" y="378852"/>
                    <a:pt x="219676" y="374373"/>
                    <a:pt x="213181" y="369226"/>
                  </a:cubicBezTo>
                  <a:cubicBezTo>
                    <a:pt x="210056" y="366786"/>
                    <a:pt x="200234" y="356558"/>
                    <a:pt x="207418" y="353149"/>
                  </a:cubicBezTo>
                  <a:cubicBezTo>
                    <a:pt x="215536" y="349339"/>
                    <a:pt x="231366" y="352882"/>
                    <a:pt x="240255" y="351913"/>
                  </a:cubicBezTo>
                  <a:cubicBezTo>
                    <a:pt x="250605" y="350809"/>
                    <a:pt x="262620" y="346130"/>
                    <a:pt x="267572" y="338877"/>
                  </a:cubicBezTo>
                  <a:cubicBezTo>
                    <a:pt x="272889" y="331056"/>
                    <a:pt x="255395" y="326711"/>
                    <a:pt x="264609" y="318422"/>
                  </a:cubicBezTo>
                  <a:cubicBezTo>
                    <a:pt x="273011" y="310902"/>
                    <a:pt x="257708" y="310333"/>
                    <a:pt x="257100" y="303482"/>
                  </a:cubicBezTo>
                  <a:cubicBezTo>
                    <a:pt x="256491" y="296630"/>
                    <a:pt x="272564" y="298034"/>
                    <a:pt x="278815" y="296329"/>
                  </a:cubicBezTo>
                  <a:cubicBezTo>
                    <a:pt x="305321" y="289076"/>
                    <a:pt x="336980" y="277946"/>
                    <a:pt x="356626" y="262337"/>
                  </a:cubicBezTo>
                  <a:cubicBezTo>
                    <a:pt x="362674" y="257524"/>
                    <a:pt x="362268" y="254115"/>
                    <a:pt x="364744" y="248567"/>
                  </a:cubicBezTo>
                  <a:cubicBezTo>
                    <a:pt x="368031" y="241180"/>
                    <a:pt x="374120" y="234261"/>
                    <a:pt x="376921" y="226808"/>
                  </a:cubicBezTo>
                  <a:cubicBezTo>
                    <a:pt x="380980" y="216781"/>
                    <a:pt x="365596" y="219756"/>
                    <a:pt x="358168" y="218419"/>
                  </a:cubicBezTo>
                  <a:cubicBezTo>
                    <a:pt x="344043" y="215945"/>
                    <a:pt x="359467" y="203913"/>
                    <a:pt x="352323" y="199935"/>
                  </a:cubicBezTo>
                  <a:cubicBezTo>
                    <a:pt x="345179" y="195958"/>
                    <a:pt x="331136" y="200537"/>
                    <a:pt x="321800" y="199501"/>
                  </a:cubicBezTo>
                  <a:cubicBezTo>
                    <a:pt x="318147" y="199568"/>
                    <a:pt x="315143" y="197161"/>
                    <a:pt x="315062" y="194153"/>
                  </a:cubicBezTo>
                  <a:cubicBezTo>
                    <a:pt x="314981" y="191145"/>
                    <a:pt x="317863" y="188671"/>
                    <a:pt x="321516" y="188605"/>
                  </a:cubicBezTo>
                  <a:cubicBezTo>
                    <a:pt x="322287" y="188605"/>
                    <a:pt x="323018" y="188671"/>
                    <a:pt x="323707" y="188872"/>
                  </a:cubicBezTo>
                  <a:cubicBezTo>
                    <a:pt x="325331" y="178578"/>
                    <a:pt x="317944" y="184460"/>
                    <a:pt x="313966" y="177608"/>
                  </a:cubicBezTo>
                  <a:cubicBezTo>
                    <a:pt x="308973" y="169018"/>
                    <a:pt x="313722" y="159560"/>
                    <a:pt x="310800" y="150569"/>
                  </a:cubicBezTo>
                  <a:cubicBezTo>
                    <a:pt x="307878" y="141578"/>
                    <a:pt x="310435" y="132520"/>
                    <a:pt x="309217" y="123395"/>
                  </a:cubicBezTo>
                  <a:cubicBezTo>
                    <a:pt x="307878" y="113134"/>
                    <a:pt x="316036" y="105681"/>
                    <a:pt x="322652" y="96122"/>
                  </a:cubicBezTo>
                  <a:cubicBezTo>
                    <a:pt x="335763" y="77103"/>
                    <a:pt x="343678" y="56013"/>
                    <a:pt x="368315" y="41273"/>
                  </a:cubicBezTo>
                  <a:cubicBezTo>
                    <a:pt x="378423" y="35224"/>
                    <a:pt x="387921" y="31647"/>
                    <a:pt x="384551" y="22623"/>
                  </a:cubicBezTo>
                  <a:cubicBezTo>
                    <a:pt x="383293" y="18947"/>
                    <a:pt x="379518" y="5343"/>
                    <a:pt x="372374" y="4775"/>
                  </a:cubicBezTo>
                  <a:cubicBezTo>
                    <a:pt x="370142" y="4207"/>
                    <a:pt x="377976" y="4875"/>
                    <a:pt x="372943" y="44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7BA9620D-C0E1-4888-B9A6-AA24D4481E4F}"/>
                </a:ext>
              </a:extLst>
            </p:cNvPr>
            <p:cNvSpPr/>
            <p:nvPr/>
          </p:nvSpPr>
          <p:spPr>
            <a:xfrm>
              <a:off x="3996530" y="5460303"/>
              <a:ext cx="375785" cy="720392"/>
            </a:xfrm>
            <a:custGeom>
              <a:avLst/>
              <a:gdLst>
                <a:gd name="connsiteX0" fmla="*/ 242469 w 375785"/>
                <a:gd name="connsiteY0" fmla="*/ 655867 h 720392"/>
                <a:gd name="connsiteX1" fmla="*/ 222174 w 375785"/>
                <a:gd name="connsiteY1" fmla="*/ 644670 h 720392"/>
                <a:gd name="connsiteX2" fmla="*/ 202975 w 375785"/>
                <a:gd name="connsiteY2" fmla="*/ 635077 h 720392"/>
                <a:gd name="connsiteX3" fmla="*/ 193193 w 375785"/>
                <a:gd name="connsiteY3" fmla="*/ 632470 h 720392"/>
                <a:gd name="connsiteX4" fmla="*/ 181016 w 375785"/>
                <a:gd name="connsiteY4" fmla="*/ 618065 h 720392"/>
                <a:gd name="connsiteX5" fmla="*/ 180326 w 375785"/>
                <a:gd name="connsiteY5" fmla="*/ 606333 h 720392"/>
                <a:gd name="connsiteX6" fmla="*/ 190352 w 375785"/>
                <a:gd name="connsiteY6" fmla="*/ 593699 h 720392"/>
                <a:gd name="connsiteX7" fmla="*/ 192828 w 375785"/>
                <a:gd name="connsiteY7" fmla="*/ 581566 h 720392"/>
                <a:gd name="connsiteX8" fmla="*/ 185238 w 375785"/>
                <a:gd name="connsiteY8" fmla="*/ 571806 h 720392"/>
                <a:gd name="connsiteX9" fmla="*/ 186293 w 375785"/>
                <a:gd name="connsiteY9" fmla="*/ 560743 h 720392"/>
                <a:gd name="connsiteX10" fmla="*/ 190352 w 375785"/>
                <a:gd name="connsiteY10" fmla="*/ 549379 h 720392"/>
                <a:gd name="connsiteX11" fmla="*/ 192544 w 375785"/>
                <a:gd name="connsiteY11" fmla="*/ 541157 h 720392"/>
                <a:gd name="connsiteX12" fmla="*/ 183249 w 375785"/>
                <a:gd name="connsiteY12" fmla="*/ 526551 h 720392"/>
                <a:gd name="connsiteX13" fmla="*/ 187064 w 375785"/>
                <a:gd name="connsiteY13" fmla="*/ 516290 h 720392"/>
                <a:gd name="connsiteX14" fmla="*/ 172939 w 375785"/>
                <a:gd name="connsiteY14" fmla="*/ 508335 h 720392"/>
                <a:gd name="connsiteX15" fmla="*/ 186293 w 375785"/>
                <a:gd name="connsiteY15" fmla="*/ 500146 h 720392"/>
                <a:gd name="connsiteX16" fmla="*/ 168677 w 375785"/>
                <a:gd name="connsiteY16" fmla="*/ 498809 h 720392"/>
                <a:gd name="connsiteX17" fmla="*/ 164983 w 375785"/>
                <a:gd name="connsiteY17" fmla="*/ 486442 h 720392"/>
                <a:gd name="connsiteX18" fmla="*/ 152238 w 375785"/>
                <a:gd name="connsiteY18" fmla="*/ 474276 h 720392"/>
                <a:gd name="connsiteX19" fmla="*/ 147936 w 375785"/>
                <a:gd name="connsiteY19" fmla="*/ 449844 h 720392"/>
                <a:gd name="connsiteX20" fmla="*/ 138397 w 375785"/>
                <a:gd name="connsiteY20" fmla="*/ 435371 h 720392"/>
                <a:gd name="connsiteX21" fmla="*/ 132877 w 375785"/>
                <a:gd name="connsiteY21" fmla="*/ 416253 h 720392"/>
                <a:gd name="connsiteX22" fmla="*/ 135759 w 375785"/>
                <a:gd name="connsiteY22" fmla="*/ 402683 h 720392"/>
                <a:gd name="connsiteX23" fmla="*/ 133080 w 375785"/>
                <a:gd name="connsiteY23" fmla="*/ 388846 h 720392"/>
                <a:gd name="connsiteX24" fmla="*/ 139412 w 375785"/>
                <a:gd name="connsiteY24" fmla="*/ 378651 h 720392"/>
                <a:gd name="connsiteX25" fmla="*/ 129467 w 375785"/>
                <a:gd name="connsiteY25" fmla="*/ 368825 h 720392"/>
                <a:gd name="connsiteX26" fmla="*/ 129792 w 375785"/>
                <a:gd name="connsiteY26" fmla="*/ 333797 h 720392"/>
                <a:gd name="connsiteX27" fmla="*/ 127438 w 375785"/>
                <a:gd name="connsiteY27" fmla="*/ 323101 h 720392"/>
                <a:gd name="connsiteX28" fmla="*/ 124434 w 375785"/>
                <a:gd name="connsiteY28" fmla="*/ 309331 h 720392"/>
                <a:gd name="connsiteX29" fmla="*/ 126139 w 375785"/>
                <a:gd name="connsiteY29" fmla="*/ 295092 h 720392"/>
                <a:gd name="connsiteX30" fmla="*/ 118264 w 375785"/>
                <a:gd name="connsiteY30" fmla="*/ 275239 h 720392"/>
                <a:gd name="connsiteX31" fmla="*/ 103855 w 375785"/>
                <a:gd name="connsiteY31" fmla="*/ 260031 h 720392"/>
                <a:gd name="connsiteX32" fmla="*/ 88390 w 375785"/>
                <a:gd name="connsiteY32" fmla="*/ 243086 h 720392"/>
                <a:gd name="connsiteX33" fmla="*/ 91638 w 375785"/>
                <a:gd name="connsiteY33" fmla="*/ 234295 h 720392"/>
                <a:gd name="connsiteX34" fmla="*/ 97685 w 375785"/>
                <a:gd name="connsiteY34" fmla="*/ 219555 h 720392"/>
                <a:gd name="connsiteX35" fmla="*/ 85508 w 375785"/>
                <a:gd name="connsiteY35" fmla="*/ 205083 h 720392"/>
                <a:gd name="connsiteX36" fmla="*/ 90217 w 375785"/>
                <a:gd name="connsiteY36" fmla="*/ 199835 h 720392"/>
                <a:gd name="connsiteX37" fmla="*/ 89162 w 375785"/>
                <a:gd name="connsiteY37" fmla="*/ 189808 h 720392"/>
                <a:gd name="connsiteX38" fmla="*/ 98132 w 375785"/>
                <a:gd name="connsiteY38" fmla="*/ 173297 h 720392"/>
                <a:gd name="connsiteX39" fmla="*/ 103814 w 375785"/>
                <a:gd name="connsiteY39" fmla="*/ 155081 h 720392"/>
                <a:gd name="connsiteX40" fmla="*/ 101298 w 375785"/>
                <a:gd name="connsiteY40" fmla="*/ 145488 h 720392"/>
                <a:gd name="connsiteX41" fmla="*/ 98497 w 375785"/>
                <a:gd name="connsiteY41" fmla="*/ 132487 h 720392"/>
                <a:gd name="connsiteX42" fmla="*/ 93667 w 375785"/>
                <a:gd name="connsiteY42" fmla="*/ 105982 h 720392"/>
                <a:gd name="connsiteX43" fmla="*/ 107671 w 375785"/>
                <a:gd name="connsiteY43" fmla="*/ 69784 h 720392"/>
                <a:gd name="connsiteX44" fmla="*/ 83682 w 375785"/>
                <a:gd name="connsiteY44" fmla="*/ 63300 h 720392"/>
                <a:gd name="connsiteX45" fmla="*/ 70937 w 375785"/>
                <a:gd name="connsiteY45" fmla="*/ 52939 h 720392"/>
                <a:gd name="connsiteX46" fmla="*/ 52956 w 375785"/>
                <a:gd name="connsiteY46" fmla="*/ 45753 h 720392"/>
                <a:gd name="connsiteX47" fmla="*/ 48450 w 375785"/>
                <a:gd name="connsiteY47" fmla="*/ 22356 h 720392"/>
                <a:gd name="connsiteX48" fmla="*/ 9606 w 375785"/>
                <a:gd name="connsiteY48" fmla="*/ -339 h 720392"/>
                <a:gd name="connsiteX49" fmla="*/ 3639 w 375785"/>
                <a:gd name="connsiteY49" fmla="*/ 16373 h 720392"/>
                <a:gd name="connsiteX50" fmla="*/ 7292 w 375785"/>
                <a:gd name="connsiteY50" fmla="*/ 36093 h 720392"/>
                <a:gd name="connsiteX51" fmla="*/ 25923 w 375785"/>
                <a:gd name="connsiteY51" fmla="*/ 75567 h 720392"/>
                <a:gd name="connsiteX52" fmla="*/ 26816 w 375785"/>
                <a:gd name="connsiteY52" fmla="*/ 102706 h 720392"/>
                <a:gd name="connsiteX53" fmla="*/ 33351 w 375785"/>
                <a:gd name="connsiteY53" fmla="*/ 112734 h 720392"/>
                <a:gd name="connsiteX54" fmla="*/ 40982 w 375785"/>
                <a:gd name="connsiteY54" fmla="*/ 132788 h 720392"/>
                <a:gd name="connsiteX55" fmla="*/ 45041 w 375785"/>
                <a:gd name="connsiteY55" fmla="*/ 160763 h 720392"/>
                <a:gd name="connsiteX56" fmla="*/ 46542 w 375785"/>
                <a:gd name="connsiteY56" fmla="*/ 180015 h 720392"/>
                <a:gd name="connsiteX57" fmla="*/ 47638 w 375785"/>
                <a:gd name="connsiteY57" fmla="*/ 202008 h 720392"/>
                <a:gd name="connsiteX58" fmla="*/ 49424 w 375785"/>
                <a:gd name="connsiteY58" fmla="*/ 216213 h 720392"/>
                <a:gd name="connsiteX59" fmla="*/ 58922 w 375785"/>
                <a:gd name="connsiteY59" fmla="*/ 232457 h 720392"/>
                <a:gd name="connsiteX60" fmla="*/ 73129 w 375785"/>
                <a:gd name="connsiteY60" fmla="*/ 273534 h 720392"/>
                <a:gd name="connsiteX61" fmla="*/ 75117 w 375785"/>
                <a:gd name="connsiteY61" fmla="*/ 306958 h 720392"/>
                <a:gd name="connsiteX62" fmla="*/ 76335 w 375785"/>
                <a:gd name="connsiteY62" fmla="*/ 332995 h 720392"/>
                <a:gd name="connsiteX63" fmla="*/ 72926 w 375785"/>
                <a:gd name="connsiteY63" fmla="*/ 359734 h 720392"/>
                <a:gd name="connsiteX64" fmla="*/ 71018 w 375785"/>
                <a:gd name="connsiteY64" fmla="*/ 369159 h 720392"/>
                <a:gd name="connsiteX65" fmla="*/ 64077 w 375785"/>
                <a:gd name="connsiteY65" fmla="*/ 374340 h 720392"/>
                <a:gd name="connsiteX66" fmla="*/ 70571 w 375785"/>
                <a:gd name="connsiteY66" fmla="*/ 383297 h 720392"/>
                <a:gd name="connsiteX67" fmla="*/ 78689 w 375785"/>
                <a:gd name="connsiteY67" fmla="*/ 399040 h 720392"/>
                <a:gd name="connsiteX68" fmla="*/ 91435 w 375785"/>
                <a:gd name="connsiteY68" fmla="*/ 418392 h 720392"/>
                <a:gd name="connsiteX69" fmla="*/ 91678 w 375785"/>
                <a:gd name="connsiteY69" fmla="*/ 442089 h 720392"/>
                <a:gd name="connsiteX70" fmla="*/ 102069 w 375785"/>
                <a:gd name="connsiteY70" fmla="*/ 461341 h 720392"/>
                <a:gd name="connsiteX71" fmla="*/ 96793 w 375785"/>
                <a:gd name="connsiteY71" fmla="*/ 464918 h 720392"/>
                <a:gd name="connsiteX72" fmla="*/ 95047 w 375785"/>
                <a:gd name="connsiteY72" fmla="*/ 475145 h 720392"/>
                <a:gd name="connsiteX73" fmla="*/ 101826 w 375785"/>
                <a:gd name="connsiteY73" fmla="*/ 494197 h 720392"/>
                <a:gd name="connsiteX74" fmla="*/ 115586 w 375785"/>
                <a:gd name="connsiteY74" fmla="*/ 488949 h 720392"/>
                <a:gd name="connsiteX75" fmla="*/ 108360 w 375785"/>
                <a:gd name="connsiteY75" fmla="*/ 460405 h 720392"/>
                <a:gd name="connsiteX76" fmla="*/ 118305 w 375785"/>
                <a:gd name="connsiteY76" fmla="*/ 450044 h 720392"/>
                <a:gd name="connsiteX77" fmla="*/ 121715 w 375785"/>
                <a:gd name="connsiteY77" fmla="*/ 454523 h 720392"/>
                <a:gd name="connsiteX78" fmla="*/ 130685 w 375785"/>
                <a:gd name="connsiteY78" fmla="*/ 456227 h 720392"/>
                <a:gd name="connsiteX79" fmla="*/ 127316 w 375785"/>
                <a:gd name="connsiteY79" fmla="*/ 464784 h 720392"/>
                <a:gd name="connsiteX80" fmla="*/ 132714 w 375785"/>
                <a:gd name="connsiteY80" fmla="*/ 472939 h 720392"/>
                <a:gd name="connsiteX81" fmla="*/ 130644 w 375785"/>
                <a:gd name="connsiteY81" fmla="*/ 483535 h 720392"/>
                <a:gd name="connsiteX82" fmla="*/ 134703 w 375785"/>
                <a:gd name="connsiteY82" fmla="*/ 495066 h 720392"/>
                <a:gd name="connsiteX83" fmla="*/ 140548 w 375785"/>
                <a:gd name="connsiteY83" fmla="*/ 512747 h 720392"/>
                <a:gd name="connsiteX84" fmla="*/ 141969 w 375785"/>
                <a:gd name="connsiteY84" fmla="*/ 521972 h 720392"/>
                <a:gd name="connsiteX85" fmla="*/ 140142 w 375785"/>
                <a:gd name="connsiteY85" fmla="*/ 531297 h 720392"/>
                <a:gd name="connsiteX86" fmla="*/ 139209 w 375785"/>
                <a:gd name="connsiteY86" fmla="*/ 545970 h 720392"/>
                <a:gd name="connsiteX87" fmla="*/ 131091 w 375785"/>
                <a:gd name="connsiteY87" fmla="*/ 524512 h 720392"/>
                <a:gd name="connsiteX88" fmla="*/ 120822 w 375785"/>
                <a:gd name="connsiteY88" fmla="*/ 527854 h 720392"/>
                <a:gd name="connsiteX89" fmla="*/ 118914 w 375785"/>
                <a:gd name="connsiteY89" fmla="*/ 540121 h 720392"/>
                <a:gd name="connsiteX90" fmla="*/ 113353 w 375785"/>
                <a:gd name="connsiteY90" fmla="*/ 556031 h 720392"/>
                <a:gd name="connsiteX91" fmla="*/ 108320 w 375785"/>
                <a:gd name="connsiteY91" fmla="*/ 563384 h 720392"/>
                <a:gd name="connsiteX92" fmla="*/ 109862 w 375785"/>
                <a:gd name="connsiteY92" fmla="*/ 573946 h 720392"/>
                <a:gd name="connsiteX93" fmla="*/ 116884 w 375785"/>
                <a:gd name="connsiteY93" fmla="*/ 566392 h 720392"/>
                <a:gd name="connsiteX94" fmla="*/ 129467 w 375785"/>
                <a:gd name="connsiteY94" fmla="*/ 566392 h 720392"/>
                <a:gd name="connsiteX95" fmla="*/ 135840 w 375785"/>
                <a:gd name="connsiteY95" fmla="*/ 580630 h 720392"/>
                <a:gd name="connsiteX96" fmla="*/ 162183 w 375785"/>
                <a:gd name="connsiteY96" fmla="*/ 579962 h 720392"/>
                <a:gd name="connsiteX97" fmla="*/ 162183 w 375785"/>
                <a:gd name="connsiteY97" fmla="*/ 585543 h 720392"/>
                <a:gd name="connsiteX98" fmla="*/ 143430 w 375785"/>
                <a:gd name="connsiteY98" fmla="*/ 591393 h 720392"/>
                <a:gd name="connsiteX99" fmla="*/ 120984 w 375785"/>
                <a:gd name="connsiteY99" fmla="*/ 603626 h 720392"/>
                <a:gd name="connsiteX100" fmla="*/ 142984 w 375785"/>
                <a:gd name="connsiteY100" fmla="*/ 602188 h 720392"/>
                <a:gd name="connsiteX101" fmla="*/ 150330 w 375785"/>
                <a:gd name="connsiteY101" fmla="*/ 597442 h 720392"/>
                <a:gd name="connsiteX102" fmla="*/ 145784 w 375785"/>
                <a:gd name="connsiteY102" fmla="*/ 608138 h 720392"/>
                <a:gd name="connsiteX103" fmla="*/ 137301 w 375785"/>
                <a:gd name="connsiteY103" fmla="*/ 623479 h 720392"/>
                <a:gd name="connsiteX104" fmla="*/ 147002 w 375785"/>
                <a:gd name="connsiteY104" fmla="*/ 627824 h 720392"/>
                <a:gd name="connsiteX105" fmla="*/ 149884 w 375785"/>
                <a:gd name="connsiteY105" fmla="*/ 631735 h 720392"/>
                <a:gd name="connsiteX106" fmla="*/ 156825 w 375785"/>
                <a:gd name="connsiteY106" fmla="*/ 623312 h 720392"/>
                <a:gd name="connsiteX107" fmla="*/ 166079 w 375785"/>
                <a:gd name="connsiteY107" fmla="*/ 618499 h 720392"/>
                <a:gd name="connsiteX108" fmla="*/ 165470 w 375785"/>
                <a:gd name="connsiteY108" fmla="*/ 642096 h 720392"/>
                <a:gd name="connsiteX109" fmla="*/ 156906 w 375785"/>
                <a:gd name="connsiteY109" fmla="*/ 652123 h 720392"/>
                <a:gd name="connsiteX110" fmla="*/ 161858 w 375785"/>
                <a:gd name="connsiteY110" fmla="*/ 653761 h 720392"/>
                <a:gd name="connsiteX111" fmla="*/ 161493 w 375785"/>
                <a:gd name="connsiteY111" fmla="*/ 660680 h 720392"/>
                <a:gd name="connsiteX112" fmla="*/ 173426 w 375785"/>
                <a:gd name="connsiteY112" fmla="*/ 656101 h 720392"/>
                <a:gd name="connsiteX113" fmla="*/ 193193 w 375785"/>
                <a:gd name="connsiteY113" fmla="*/ 652758 h 720392"/>
                <a:gd name="connsiteX114" fmla="*/ 185075 w 375785"/>
                <a:gd name="connsiteY114" fmla="*/ 667465 h 720392"/>
                <a:gd name="connsiteX115" fmla="*/ 191488 w 375785"/>
                <a:gd name="connsiteY115" fmla="*/ 664356 h 720392"/>
                <a:gd name="connsiteX116" fmla="*/ 201514 w 375785"/>
                <a:gd name="connsiteY116" fmla="*/ 666161 h 720392"/>
                <a:gd name="connsiteX117" fmla="*/ 207359 w 375785"/>
                <a:gd name="connsiteY117" fmla="*/ 657070 h 720392"/>
                <a:gd name="connsiteX118" fmla="*/ 221241 w 375785"/>
                <a:gd name="connsiteY118" fmla="*/ 661582 h 720392"/>
                <a:gd name="connsiteX119" fmla="*/ 200134 w 375785"/>
                <a:gd name="connsiteY119" fmla="*/ 672579 h 720392"/>
                <a:gd name="connsiteX120" fmla="*/ 206791 w 375785"/>
                <a:gd name="connsiteY120" fmla="*/ 683408 h 720392"/>
                <a:gd name="connsiteX121" fmla="*/ 223229 w 375785"/>
                <a:gd name="connsiteY121" fmla="*/ 669236 h 720392"/>
                <a:gd name="connsiteX122" fmla="*/ 242753 w 375785"/>
                <a:gd name="connsiteY122" fmla="*/ 664122 h 720392"/>
                <a:gd name="connsiteX123" fmla="*/ 245594 w 375785"/>
                <a:gd name="connsiteY123" fmla="*/ 668935 h 720392"/>
                <a:gd name="connsiteX124" fmla="*/ 234230 w 375785"/>
                <a:gd name="connsiteY124" fmla="*/ 676356 h 720392"/>
                <a:gd name="connsiteX125" fmla="*/ 217994 w 375785"/>
                <a:gd name="connsiteY125" fmla="*/ 681636 h 720392"/>
                <a:gd name="connsiteX126" fmla="*/ 227045 w 375785"/>
                <a:gd name="connsiteY126" fmla="*/ 687686 h 720392"/>
                <a:gd name="connsiteX127" fmla="*/ 259517 w 375785"/>
                <a:gd name="connsiteY127" fmla="*/ 670673 h 720392"/>
                <a:gd name="connsiteX128" fmla="*/ 252982 w 375785"/>
                <a:gd name="connsiteY128" fmla="*/ 681703 h 720392"/>
                <a:gd name="connsiteX129" fmla="*/ 238776 w 375785"/>
                <a:gd name="connsiteY129" fmla="*/ 693602 h 720392"/>
                <a:gd name="connsiteX130" fmla="*/ 217141 w 375785"/>
                <a:gd name="connsiteY130" fmla="*/ 706437 h 720392"/>
                <a:gd name="connsiteX131" fmla="*/ 237193 w 375785"/>
                <a:gd name="connsiteY131" fmla="*/ 705935 h 720392"/>
                <a:gd name="connsiteX132" fmla="*/ 259354 w 375785"/>
                <a:gd name="connsiteY132" fmla="*/ 702894 h 720392"/>
                <a:gd name="connsiteX133" fmla="*/ 249004 w 375785"/>
                <a:gd name="connsiteY133" fmla="*/ 698783 h 720392"/>
                <a:gd name="connsiteX134" fmla="*/ 270557 w 375785"/>
                <a:gd name="connsiteY134" fmla="*/ 689224 h 720392"/>
                <a:gd name="connsiteX135" fmla="*/ 267716 w 375785"/>
                <a:gd name="connsiteY135" fmla="*/ 671542 h 720392"/>
                <a:gd name="connsiteX136" fmla="*/ 286265 w 375785"/>
                <a:gd name="connsiteY136" fmla="*/ 655031 h 720392"/>
                <a:gd name="connsiteX137" fmla="*/ 282897 w 375785"/>
                <a:gd name="connsiteY137" fmla="*/ 665559 h 720392"/>
                <a:gd name="connsiteX138" fmla="*/ 287605 w 375785"/>
                <a:gd name="connsiteY138" fmla="*/ 676356 h 720392"/>
                <a:gd name="connsiteX139" fmla="*/ 303841 w 375785"/>
                <a:gd name="connsiteY139" fmla="*/ 670606 h 720392"/>
                <a:gd name="connsiteX140" fmla="*/ 296048 w 375785"/>
                <a:gd name="connsiteY140" fmla="*/ 679397 h 720392"/>
                <a:gd name="connsiteX141" fmla="*/ 302948 w 375785"/>
                <a:gd name="connsiteY141" fmla="*/ 689658 h 720392"/>
                <a:gd name="connsiteX142" fmla="*/ 292232 w 375785"/>
                <a:gd name="connsiteY142" fmla="*/ 688054 h 720392"/>
                <a:gd name="connsiteX143" fmla="*/ 288173 w 375785"/>
                <a:gd name="connsiteY143" fmla="*/ 696877 h 720392"/>
                <a:gd name="connsiteX144" fmla="*/ 269948 w 375785"/>
                <a:gd name="connsiteY144" fmla="*/ 693535 h 720392"/>
                <a:gd name="connsiteX145" fmla="*/ 271247 w 375785"/>
                <a:gd name="connsiteY145" fmla="*/ 703897 h 720392"/>
                <a:gd name="connsiteX146" fmla="*/ 265199 w 375785"/>
                <a:gd name="connsiteY146" fmla="*/ 713689 h 720392"/>
                <a:gd name="connsiteX147" fmla="*/ 286874 w 375785"/>
                <a:gd name="connsiteY147" fmla="*/ 710815 h 720392"/>
                <a:gd name="connsiteX148" fmla="*/ 299985 w 375785"/>
                <a:gd name="connsiteY148" fmla="*/ 718937 h 720392"/>
                <a:gd name="connsiteX149" fmla="*/ 297955 w 375785"/>
                <a:gd name="connsiteY149" fmla="*/ 706403 h 720392"/>
                <a:gd name="connsiteX150" fmla="*/ 328520 w 375785"/>
                <a:gd name="connsiteY150" fmla="*/ 714392 h 720392"/>
                <a:gd name="connsiteX151" fmla="*/ 326368 w 375785"/>
                <a:gd name="connsiteY151" fmla="*/ 707406 h 720392"/>
                <a:gd name="connsiteX152" fmla="*/ 340980 w 375785"/>
                <a:gd name="connsiteY152" fmla="*/ 709077 h 720392"/>
                <a:gd name="connsiteX153" fmla="*/ 356851 w 375785"/>
                <a:gd name="connsiteY153" fmla="*/ 711918 h 720392"/>
                <a:gd name="connsiteX154" fmla="*/ 344309 w 375785"/>
                <a:gd name="connsiteY154" fmla="*/ 701690 h 720392"/>
                <a:gd name="connsiteX155" fmla="*/ 364401 w 375785"/>
                <a:gd name="connsiteY155" fmla="*/ 699050 h 720392"/>
                <a:gd name="connsiteX156" fmla="*/ 375725 w 375785"/>
                <a:gd name="connsiteY156" fmla="*/ 691797 h 720392"/>
                <a:gd name="connsiteX157" fmla="*/ 336759 w 375785"/>
                <a:gd name="connsiteY157" fmla="*/ 698916 h 720392"/>
                <a:gd name="connsiteX158" fmla="*/ 320889 w 375785"/>
                <a:gd name="connsiteY158" fmla="*/ 662150 h 720392"/>
                <a:gd name="connsiteX159" fmla="*/ 315693 w 375785"/>
                <a:gd name="connsiteY159" fmla="*/ 648112 h 720392"/>
                <a:gd name="connsiteX160" fmla="*/ 294546 w 375785"/>
                <a:gd name="connsiteY160" fmla="*/ 650218 h 720392"/>
                <a:gd name="connsiteX161" fmla="*/ 290933 w 375785"/>
                <a:gd name="connsiteY161" fmla="*/ 643533 h 720392"/>
                <a:gd name="connsiteX162" fmla="*/ 272465 w 375785"/>
                <a:gd name="connsiteY162" fmla="*/ 644737 h 720392"/>
                <a:gd name="connsiteX163" fmla="*/ 242672 w 375785"/>
                <a:gd name="connsiteY163" fmla="*/ 655232 h 7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375785" h="720392">
                  <a:moveTo>
                    <a:pt x="242469" y="655867"/>
                  </a:moveTo>
                  <a:cubicBezTo>
                    <a:pt x="234717" y="659209"/>
                    <a:pt x="223920" y="648614"/>
                    <a:pt x="222174" y="644670"/>
                  </a:cubicBezTo>
                  <a:cubicBezTo>
                    <a:pt x="216979" y="633540"/>
                    <a:pt x="220713" y="630298"/>
                    <a:pt x="202975" y="635077"/>
                  </a:cubicBezTo>
                  <a:cubicBezTo>
                    <a:pt x="198104" y="636381"/>
                    <a:pt x="194127" y="636882"/>
                    <a:pt x="193193" y="632470"/>
                  </a:cubicBezTo>
                  <a:cubicBezTo>
                    <a:pt x="191813" y="626187"/>
                    <a:pt x="182315" y="625117"/>
                    <a:pt x="181016" y="618065"/>
                  </a:cubicBezTo>
                  <a:cubicBezTo>
                    <a:pt x="180123" y="614187"/>
                    <a:pt x="179880" y="610244"/>
                    <a:pt x="180326" y="606333"/>
                  </a:cubicBezTo>
                  <a:cubicBezTo>
                    <a:pt x="181422" y="600918"/>
                    <a:pt x="191001" y="598111"/>
                    <a:pt x="190352" y="593699"/>
                  </a:cubicBezTo>
                  <a:cubicBezTo>
                    <a:pt x="189703" y="589287"/>
                    <a:pt x="193234" y="585309"/>
                    <a:pt x="192828" y="581566"/>
                  </a:cubicBezTo>
                  <a:cubicBezTo>
                    <a:pt x="192422" y="577822"/>
                    <a:pt x="181381" y="576319"/>
                    <a:pt x="185238" y="571806"/>
                  </a:cubicBezTo>
                  <a:cubicBezTo>
                    <a:pt x="188566" y="567929"/>
                    <a:pt x="183533" y="564420"/>
                    <a:pt x="186293" y="560743"/>
                  </a:cubicBezTo>
                  <a:cubicBezTo>
                    <a:pt x="191001" y="554493"/>
                    <a:pt x="193924" y="556699"/>
                    <a:pt x="190352" y="549379"/>
                  </a:cubicBezTo>
                  <a:cubicBezTo>
                    <a:pt x="188566" y="545769"/>
                    <a:pt x="195223" y="544466"/>
                    <a:pt x="192544" y="541157"/>
                  </a:cubicBezTo>
                  <a:cubicBezTo>
                    <a:pt x="188728" y="536444"/>
                    <a:pt x="187105" y="531130"/>
                    <a:pt x="183249" y="526551"/>
                  </a:cubicBezTo>
                  <a:cubicBezTo>
                    <a:pt x="178784" y="521337"/>
                    <a:pt x="184791" y="521103"/>
                    <a:pt x="187064" y="516290"/>
                  </a:cubicBezTo>
                  <a:cubicBezTo>
                    <a:pt x="189986" y="510006"/>
                    <a:pt x="174887" y="511577"/>
                    <a:pt x="172939" y="508335"/>
                  </a:cubicBezTo>
                  <a:cubicBezTo>
                    <a:pt x="170990" y="505093"/>
                    <a:pt x="187348" y="504725"/>
                    <a:pt x="186293" y="500146"/>
                  </a:cubicBezTo>
                  <a:cubicBezTo>
                    <a:pt x="184507" y="492425"/>
                    <a:pt x="174116" y="500146"/>
                    <a:pt x="168677" y="498809"/>
                  </a:cubicBezTo>
                  <a:cubicBezTo>
                    <a:pt x="160194" y="496603"/>
                    <a:pt x="170625" y="489518"/>
                    <a:pt x="164983" y="486442"/>
                  </a:cubicBezTo>
                  <a:cubicBezTo>
                    <a:pt x="159341" y="483367"/>
                    <a:pt x="158448" y="475078"/>
                    <a:pt x="152238" y="474276"/>
                  </a:cubicBezTo>
                  <a:cubicBezTo>
                    <a:pt x="139777" y="472639"/>
                    <a:pt x="150249" y="454824"/>
                    <a:pt x="147936" y="449844"/>
                  </a:cubicBezTo>
                  <a:cubicBezTo>
                    <a:pt x="145622" y="444864"/>
                    <a:pt x="143024" y="438814"/>
                    <a:pt x="138397" y="435371"/>
                  </a:cubicBezTo>
                  <a:cubicBezTo>
                    <a:pt x="128574" y="428018"/>
                    <a:pt x="136773" y="424843"/>
                    <a:pt x="132877" y="416253"/>
                  </a:cubicBezTo>
                  <a:cubicBezTo>
                    <a:pt x="129589" y="408967"/>
                    <a:pt x="135353" y="408131"/>
                    <a:pt x="135759" y="402683"/>
                  </a:cubicBezTo>
                  <a:cubicBezTo>
                    <a:pt x="136043" y="398739"/>
                    <a:pt x="126098" y="392088"/>
                    <a:pt x="133080" y="388846"/>
                  </a:cubicBezTo>
                  <a:cubicBezTo>
                    <a:pt x="138438" y="386406"/>
                    <a:pt x="144242" y="383297"/>
                    <a:pt x="139412" y="378651"/>
                  </a:cubicBezTo>
                  <a:cubicBezTo>
                    <a:pt x="134582" y="374005"/>
                    <a:pt x="132633" y="374941"/>
                    <a:pt x="129467" y="368825"/>
                  </a:cubicBezTo>
                  <a:cubicBezTo>
                    <a:pt x="122567" y="355288"/>
                    <a:pt x="115180" y="347434"/>
                    <a:pt x="129792" y="333797"/>
                  </a:cubicBezTo>
                  <a:cubicBezTo>
                    <a:pt x="133851" y="329853"/>
                    <a:pt x="130198" y="326377"/>
                    <a:pt x="127438" y="323101"/>
                  </a:cubicBezTo>
                  <a:cubicBezTo>
                    <a:pt x="122202" y="316885"/>
                    <a:pt x="122526" y="315949"/>
                    <a:pt x="124434" y="309331"/>
                  </a:cubicBezTo>
                  <a:cubicBezTo>
                    <a:pt x="125652" y="305086"/>
                    <a:pt x="125327" y="299471"/>
                    <a:pt x="126139" y="295092"/>
                  </a:cubicBezTo>
                  <a:cubicBezTo>
                    <a:pt x="127397" y="287973"/>
                    <a:pt x="125692" y="279450"/>
                    <a:pt x="118264" y="275239"/>
                  </a:cubicBezTo>
                  <a:cubicBezTo>
                    <a:pt x="110836" y="271028"/>
                    <a:pt x="110674" y="264309"/>
                    <a:pt x="103855" y="260031"/>
                  </a:cubicBezTo>
                  <a:cubicBezTo>
                    <a:pt x="96143" y="255185"/>
                    <a:pt x="88066" y="251809"/>
                    <a:pt x="88390" y="243086"/>
                  </a:cubicBezTo>
                  <a:cubicBezTo>
                    <a:pt x="88390" y="239743"/>
                    <a:pt x="92125" y="238373"/>
                    <a:pt x="91638" y="234295"/>
                  </a:cubicBezTo>
                  <a:cubicBezTo>
                    <a:pt x="90988" y="228546"/>
                    <a:pt x="98538" y="223867"/>
                    <a:pt x="97685" y="219555"/>
                  </a:cubicBezTo>
                  <a:cubicBezTo>
                    <a:pt x="96549" y="213572"/>
                    <a:pt x="86483" y="210698"/>
                    <a:pt x="85508" y="205083"/>
                  </a:cubicBezTo>
                  <a:cubicBezTo>
                    <a:pt x="85143" y="202843"/>
                    <a:pt x="89121" y="201741"/>
                    <a:pt x="90217" y="199835"/>
                  </a:cubicBezTo>
                  <a:cubicBezTo>
                    <a:pt x="91759" y="197095"/>
                    <a:pt x="88877" y="192683"/>
                    <a:pt x="89162" y="189808"/>
                  </a:cubicBezTo>
                  <a:cubicBezTo>
                    <a:pt x="89770" y="183391"/>
                    <a:pt x="97685" y="179246"/>
                    <a:pt x="98132" y="173297"/>
                  </a:cubicBezTo>
                  <a:cubicBezTo>
                    <a:pt x="98822" y="164507"/>
                    <a:pt x="93789" y="163002"/>
                    <a:pt x="103814" y="155081"/>
                  </a:cubicBezTo>
                  <a:cubicBezTo>
                    <a:pt x="111161" y="149265"/>
                    <a:pt x="105763" y="149366"/>
                    <a:pt x="101298" y="145488"/>
                  </a:cubicBezTo>
                  <a:cubicBezTo>
                    <a:pt x="98132" y="142781"/>
                    <a:pt x="104099" y="137099"/>
                    <a:pt x="98497" y="132487"/>
                  </a:cubicBezTo>
                  <a:cubicBezTo>
                    <a:pt x="91313" y="126571"/>
                    <a:pt x="85427" y="113736"/>
                    <a:pt x="93667" y="105982"/>
                  </a:cubicBezTo>
                  <a:cubicBezTo>
                    <a:pt x="109456" y="91142"/>
                    <a:pt x="113272" y="87098"/>
                    <a:pt x="107671" y="69784"/>
                  </a:cubicBezTo>
                  <a:cubicBezTo>
                    <a:pt x="89933" y="85126"/>
                    <a:pt x="93626" y="70720"/>
                    <a:pt x="83682" y="63300"/>
                  </a:cubicBezTo>
                  <a:cubicBezTo>
                    <a:pt x="78568" y="59523"/>
                    <a:pt x="74468" y="57852"/>
                    <a:pt x="70937" y="52939"/>
                  </a:cubicBezTo>
                  <a:cubicBezTo>
                    <a:pt x="67406" y="48025"/>
                    <a:pt x="58395" y="49229"/>
                    <a:pt x="52956" y="45753"/>
                  </a:cubicBezTo>
                  <a:cubicBezTo>
                    <a:pt x="46299" y="41508"/>
                    <a:pt x="55959" y="23793"/>
                    <a:pt x="48450" y="22356"/>
                  </a:cubicBezTo>
                  <a:cubicBezTo>
                    <a:pt x="27303" y="18613"/>
                    <a:pt x="31483" y="3137"/>
                    <a:pt x="9606" y="-339"/>
                  </a:cubicBezTo>
                  <a:cubicBezTo>
                    <a:pt x="10296" y="-339"/>
                    <a:pt x="6156" y="14668"/>
                    <a:pt x="3639" y="16373"/>
                  </a:cubicBezTo>
                  <a:cubicBezTo>
                    <a:pt x="-4479" y="22356"/>
                    <a:pt x="2624" y="31080"/>
                    <a:pt x="7292" y="36093"/>
                  </a:cubicBezTo>
                  <a:cubicBezTo>
                    <a:pt x="17646" y="47658"/>
                    <a:pt x="24080" y="61295"/>
                    <a:pt x="25923" y="75567"/>
                  </a:cubicBezTo>
                  <a:cubicBezTo>
                    <a:pt x="27075" y="84591"/>
                    <a:pt x="27372" y="93648"/>
                    <a:pt x="26816" y="102706"/>
                  </a:cubicBezTo>
                  <a:cubicBezTo>
                    <a:pt x="26329" y="108756"/>
                    <a:pt x="34568" y="106784"/>
                    <a:pt x="33351" y="112734"/>
                  </a:cubicBezTo>
                  <a:cubicBezTo>
                    <a:pt x="31971" y="119418"/>
                    <a:pt x="38343" y="127005"/>
                    <a:pt x="40982" y="132788"/>
                  </a:cubicBezTo>
                  <a:cubicBezTo>
                    <a:pt x="45041" y="141478"/>
                    <a:pt x="44675" y="151438"/>
                    <a:pt x="45041" y="160763"/>
                  </a:cubicBezTo>
                  <a:cubicBezTo>
                    <a:pt x="45406" y="167080"/>
                    <a:pt x="47638" y="173598"/>
                    <a:pt x="46542" y="180015"/>
                  </a:cubicBezTo>
                  <a:cubicBezTo>
                    <a:pt x="45203" y="187636"/>
                    <a:pt x="51616" y="194521"/>
                    <a:pt x="47638" y="202008"/>
                  </a:cubicBezTo>
                  <a:cubicBezTo>
                    <a:pt x="43660" y="209495"/>
                    <a:pt x="40251" y="210899"/>
                    <a:pt x="49424" y="216213"/>
                  </a:cubicBezTo>
                  <a:cubicBezTo>
                    <a:pt x="57542" y="220992"/>
                    <a:pt x="62981" y="223900"/>
                    <a:pt x="58922" y="232457"/>
                  </a:cubicBezTo>
                  <a:cubicBezTo>
                    <a:pt x="53077" y="244857"/>
                    <a:pt x="69151" y="261836"/>
                    <a:pt x="73129" y="273534"/>
                  </a:cubicBezTo>
                  <a:cubicBezTo>
                    <a:pt x="76295" y="284464"/>
                    <a:pt x="76968" y="295828"/>
                    <a:pt x="75117" y="306958"/>
                  </a:cubicBezTo>
                  <a:cubicBezTo>
                    <a:pt x="74022" y="315681"/>
                    <a:pt x="77350" y="324104"/>
                    <a:pt x="76335" y="332995"/>
                  </a:cubicBezTo>
                  <a:cubicBezTo>
                    <a:pt x="75320" y="341885"/>
                    <a:pt x="73088" y="350943"/>
                    <a:pt x="72926" y="359734"/>
                  </a:cubicBezTo>
                  <a:cubicBezTo>
                    <a:pt x="72926" y="362307"/>
                    <a:pt x="73697" y="366686"/>
                    <a:pt x="71018" y="369159"/>
                  </a:cubicBezTo>
                  <a:cubicBezTo>
                    <a:pt x="68339" y="371633"/>
                    <a:pt x="64605" y="371165"/>
                    <a:pt x="64077" y="374340"/>
                  </a:cubicBezTo>
                  <a:cubicBezTo>
                    <a:pt x="63549" y="377515"/>
                    <a:pt x="67568" y="381024"/>
                    <a:pt x="70571" y="383297"/>
                  </a:cubicBezTo>
                  <a:cubicBezTo>
                    <a:pt x="76498" y="387509"/>
                    <a:pt x="74955" y="394060"/>
                    <a:pt x="78689" y="399040"/>
                  </a:cubicBezTo>
                  <a:cubicBezTo>
                    <a:pt x="85062" y="407296"/>
                    <a:pt x="91353" y="407663"/>
                    <a:pt x="91435" y="418392"/>
                  </a:cubicBezTo>
                  <a:cubicBezTo>
                    <a:pt x="91435" y="426380"/>
                    <a:pt x="91678" y="434101"/>
                    <a:pt x="91678" y="442089"/>
                  </a:cubicBezTo>
                  <a:cubicBezTo>
                    <a:pt x="91678" y="449376"/>
                    <a:pt x="103327" y="455459"/>
                    <a:pt x="102069" y="461341"/>
                  </a:cubicBezTo>
                  <a:cubicBezTo>
                    <a:pt x="101623" y="463480"/>
                    <a:pt x="98457" y="463547"/>
                    <a:pt x="96793" y="464918"/>
                  </a:cubicBezTo>
                  <a:cubicBezTo>
                    <a:pt x="93626" y="467558"/>
                    <a:pt x="94601" y="472304"/>
                    <a:pt x="95047" y="475145"/>
                  </a:cubicBezTo>
                  <a:cubicBezTo>
                    <a:pt x="95697" y="479424"/>
                    <a:pt x="96103" y="491857"/>
                    <a:pt x="101826" y="494197"/>
                  </a:cubicBezTo>
                  <a:cubicBezTo>
                    <a:pt x="105235" y="495634"/>
                    <a:pt x="114327" y="491590"/>
                    <a:pt x="115586" y="488949"/>
                  </a:cubicBezTo>
                  <a:cubicBezTo>
                    <a:pt x="119645" y="480025"/>
                    <a:pt x="102150" y="468093"/>
                    <a:pt x="108360" y="460405"/>
                  </a:cubicBezTo>
                  <a:cubicBezTo>
                    <a:pt x="109781" y="458601"/>
                    <a:pt x="114571" y="449777"/>
                    <a:pt x="118305" y="450044"/>
                  </a:cubicBezTo>
                  <a:cubicBezTo>
                    <a:pt x="120619" y="450044"/>
                    <a:pt x="120537" y="453386"/>
                    <a:pt x="121715" y="454523"/>
                  </a:cubicBezTo>
                  <a:cubicBezTo>
                    <a:pt x="123866" y="456328"/>
                    <a:pt x="128331" y="454189"/>
                    <a:pt x="130685" y="456227"/>
                  </a:cubicBezTo>
                  <a:cubicBezTo>
                    <a:pt x="133648" y="458801"/>
                    <a:pt x="127316" y="462010"/>
                    <a:pt x="127316" y="464784"/>
                  </a:cubicBezTo>
                  <a:cubicBezTo>
                    <a:pt x="127316" y="467558"/>
                    <a:pt x="131375" y="470165"/>
                    <a:pt x="132714" y="472939"/>
                  </a:cubicBezTo>
                  <a:cubicBezTo>
                    <a:pt x="134054" y="475714"/>
                    <a:pt x="131050" y="480192"/>
                    <a:pt x="130644" y="483535"/>
                  </a:cubicBezTo>
                  <a:cubicBezTo>
                    <a:pt x="129995" y="488214"/>
                    <a:pt x="136773" y="490721"/>
                    <a:pt x="134703" y="495066"/>
                  </a:cubicBezTo>
                  <a:cubicBezTo>
                    <a:pt x="132633" y="499411"/>
                    <a:pt x="136814" y="510106"/>
                    <a:pt x="140548" y="512747"/>
                  </a:cubicBezTo>
                  <a:cubicBezTo>
                    <a:pt x="144973" y="515855"/>
                    <a:pt x="136855" y="517660"/>
                    <a:pt x="141969" y="521972"/>
                  </a:cubicBezTo>
                  <a:cubicBezTo>
                    <a:pt x="149072" y="527988"/>
                    <a:pt x="148504" y="526618"/>
                    <a:pt x="140142" y="531297"/>
                  </a:cubicBezTo>
                  <a:cubicBezTo>
                    <a:pt x="131781" y="535976"/>
                    <a:pt x="150939" y="546170"/>
                    <a:pt x="139209" y="545970"/>
                  </a:cubicBezTo>
                  <a:cubicBezTo>
                    <a:pt x="114124" y="545569"/>
                    <a:pt x="139980" y="532601"/>
                    <a:pt x="131091" y="524512"/>
                  </a:cubicBezTo>
                  <a:cubicBezTo>
                    <a:pt x="123825" y="518028"/>
                    <a:pt x="106494" y="522841"/>
                    <a:pt x="120822" y="527854"/>
                  </a:cubicBezTo>
                  <a:cubicBezTo>
                    <a:pt x="140427" y="534907"/>
                    <a:pt x="115788" y="534773"/>
                    <a:pt x="118914" y="540121"/>
                  </a:cubicBezTo>
                  <a:cubicBezTo>
                    <a:pt x="122770" y="546605"/>
                    <a:pt x="100121" y="549981"/>
                    <a:pt x="113353" y="556031"/>
                  </a:cubicBezTo>
                  <a:cubicBezTo>
                    <a:pt x="116966" y="557702"/>
                    <a:pt x="109862" y="561512"/>
                    <a:pt x="108320" y="563384"/>
                  </a:cubicBezTo>
                  <a:cubicBezTo>
                    <a:pt x="106777" y="565255"/>
                    <a:pt x="103125" y="579226"/>
                    <a:pt x="109862" y="573946"/>
                  </a:cubicBezTo>
                  <a:cubicBezTo>
                    <a:pt x="112826" y="571606"/>
                    <a:pt x="108036" y="565456"/>
                    <a:pt x="116884" y="566392"/>
                  </a:cubicBezTo>
                  <a:cubicBezTo>
                    <a:pt x="124637" y="567227"/>
                    <a:pt x="121593" y="570469"/>
                    <a:pt x="129467" y="566392"/>
                  </a:cubicBezTo>
                  <a:cubicBezTo>
                    <a:pt x="148625" y="556565"/>
                    <a:pt x="135353" y="578357"/>
                    <a:pt x="135840" y="580630"/>
                  </a:cubicBezTo>
                  <a:cubicBezTo>
                    <a:pt x="138722" y="594267"/>
                    <a:pt x="153537" y="575650"/>
                    <a:pt x="162183" y="579962"/>
                  </a:cubicBezTo>
                  <a:cubicBezTo>
                    <a:pt x="163725" y="580730"/>
                    <a:pt x="166972" y="586947"/>
                    <a:pt x="162183" y="585543"/>
                  </a:cubicBezTo>
                  <a:cubicBezTo>
                    <a:pt x="149397" y="581700"/>
                    <a:pt x="151670" y="586914"/>
                    <a:pt x="143430" y="591393"/>
                  </a:cubicBezTo>
                  <a:cubicBezTo>
                    <a:pt x="135190" y="595871"/>
                    <a:pt x="123338" y="592161"/>
                    <a:pt x="120984" y="603626"/>
                  </a:cubicBezTo>
                  <a:cubicBezTo>
                    <a:pt x="119645" y="610310"/>
                    <a:pt x="140832" y="613887"/>
                    <a:pt x="142984" y="602188"/>
                  </a:cubicBezTo>
                  <a:cubicBezTo>
                    <a:pt x="143349" y="600083"/>
                    <a:pt x="146677" y="595504"/>
                    <a:pt x="150330" y="597442"/>
                  </a:cubicBezTo>
                  <a:cubicBezTo>
                    <a:pt x="158042" y="601720"/>
                    <a:pt x="149681" y="605063"/>
                    <a:pt x="145784" y="608138"/>
                  </a:cubicBezTo>
                  <a:cubicBezTo>
                    <a:pt x="141888" y="611213"/>
                    <a:pt x="140751" y="619469"/>
                    <a:pt x="137301" y="623479"/>
                  </a:cubicBezTo>
                  <a:cubicBezTo>
                    <a:pt x="129792" y="632270"/>
                    <a:pt x="145419" y="627523"/>
                    <a:pt x="147002" y="627824"/>
                  </a:cubicBezTo>
                  <a:cubicBezTo>
                    <a:pt x="148585" y="628125"/>
                    <a:pt x="148179" y="631167"/>
                    <a:pt x="149884" y="631735"/>
                  </a:cubicBezTo>
                  <a:cubicBezTo>
                    <a:pt x="156622" y="634543"/>
                    <a:pt x="160234" y="626655"/>
                    <a:pt x="156825" y="623312"/>
                  </a:cubicBezTo>
                  <a:cubicBezTo>
                    <a:pt x="148057" y="614722"/>
                    <a:pt x="168555" y="608238"/>
                    <a:pt x="166079" y="618499"/>
                  </a:cubicBezTo>
                  <a:cubicBezTo>
                    <a:pt x="164658" y="624382"/>
                    <a:pt x="170788" y="638119"/>
                    <a:pt x="165470" y="642096"/>
                  </a:cubicBezTo>
                  <a:cubicBezTo>
                    <a:pt x="166079" y="641662"/>
                    <a:pt x="159707" y="655131"/>
                    <a:pt x="156906" y="652123"/>
                  </a:cubicBezTo>
                  <a:cubicBezTo>
                    <a:pt x="158651" y="652424"/>
                    <a:pt x="160356" y="652959"/>
                    <a:pt x="161858" y="653761"/>
                  </a:cubicBezTo>
                  <a:cubicBezTo>
                    <a:pt x="163522" y="655733"/>
                    <a:pt x="161087" y="658507"/>
                    <a:pt x="161493" y="660680"/>
                  </a:cubicBezTo>
                  <a:cubicBezTo>
                    <a:pt x="162629" y="666462"/>
                    <a:pt x="170869" y="656201"/>
                    <a:pt x="173426" y="656101"/>
                  </a:cubicBezTo>
                  <a:cubicBezTo>
                    <a:pt x="178662" y="655833"/>
                    <a:pt x="190230" y="648748"/>
                    <a:pt x="193193" y="652758"/>
                  </a:cubicBezTo>
                  <a:cubicBezTo>
                    <a:pt x="194330" y="654296"/>
                    <a:pt x="180691" y="667732"/>
                    <a:pt x="185075" y="667465"/>
                  </a:cubicBezTo>
                  <a:cubicBezTo>
                    <a:pt x="187389" y="666696"/>
                    <a:pt x="189540" y="665660"/>
                    <a:pt x="191488" y="664356"/>
                  </a:cubicBezTo>
                  <a:cubicBezTo>
                    <a:pt x="197130" y="661515"/>
                    <a:pt x="197130" y="665192"/>
                    <a:pt x="201514" y="666161"/>
                  </a:cubicBezTo>
                  <a:cubicBezTo>
                    <a:pt x="207684" y="667532"/>
                    <a:pt x="202772" y="658374"/>
                    <a:pt x="207359" y="657070"/>
                  </a:cubicBezTo>
                  <a:cubicBezTo>
                    <a:pt x="211174" y="656000"/>
                    <a:pt x="222337" y="657070"/>
                    <a:pt x="221241" y="661582"/>
                  </a:cubicBezTo>
                  <a:cubicBezTo>
                    <a:pt x="219414" y="669036"/>
                    <a:pt x="205979" y="668835"/>
                    <a:pt x="200134" y="672579"/>
                  </a:cubicBezTo>
                  <a:cubicBezTo>
                    <a:pt x="194289" y="676322"/>
                    <a:pt x="199403" y="684778"/>
                    <a:pt x="206791" y="683408"/>
                  </a:cubicBezTo>
                  <a:cubicBezTo>
                    <a:pt x="214178" y="682037"/>
                    <a:pt x="216004" y="672378"/>
                    <a:pt x="223229" y="669236"/>
                  </a:cubicBezTo>
                  <a:cubicBezTo>
                    <a:pt x="229318" y="666596"/>
                    <a:pt x="235934" y="664858"/>
                    <a:pt x="242753" y="664122"/>
                  </a:cubicBezTo>
                  <a:cubicBezTo>
                    <a:pt x="249126" y="663487"/>
                    <a:pt x="253956" y="666462"/>
                    <a:pt x="245594" y="668935"/>
                  </a:cubicBezTo>
                  <a:cubicBezTo>
                    <a:pt x="238694" y="670941"/>
                    <a:pt x="239384" y="673080"/>
                    <a:pt x="234230" y="676356"/>
                  </a:cubicBezTo>
                  <a:cubicBezTo>
                    <a:pt x="227816" y="680433"/>
                    <a:pt x="222580" y="675720"/>
                    <a:pt x="217994" y="681636"/>
                  </a:cubicBezTo>
                  <a:cubicBezTo>
                    <a:pt x="210200" y="691229"/>
                    <a:pt x="219576" y="699852"/>
                    <a:pt x="227045" y="687686"/>
                  </a:cubicBezTo>
                  <a:cubicBezTo>
                    <a:pt x="228953" y="684544"/>
                    <a:pt x="256432" y="668568"/>
                    <a:pt x="259517" y="670673"/>
                  </a:cubicBezTo>
                  <a:cubicBezTo>
                    <a:pt x="264631" y="674283"/>
                    <a:pt x="257609" y="679932"/>
                    <a:pt x="252982" y="681703"/>
                  </a:cubicBezTo>
                  <a:cubicBezTo>
                    <a:pt x="245432" y="684578"/>
                    <a:pt x="232403" y="682305"/>
                    <a:pt x="238776" y="693602"/>
                  </a:cubicBezTo>
                  <a:cubicBezTo>
                    <a:pt x="242226" y="699652"/>
                    <a:pt x="194817" y="695440"/>
                    <a:pt x="217141" y="706437"/>
                  </a:cubicBezTo>
                  <a:cubicBezTo>
                    <a:pt x="226355" y="710982"/>
                    <a:pt x="228101" y="707640"/>
                    <a:pt x="237193" y="705935"/>
                  </a:cubicBezTo>
                  <a:cubicBezTo>
                    <a:pt x="242753" y="704899"/>
                    <a:pt x="260004" y="713322"/>
                    <a:pt x="259354" y="702894"/>
                  </a:cubicBezTo>
                  <a:cubicBezTo>
                    <a:pt x="259354" y="699752"/>
                    <a:pt x="248557" y="704097"/>
                    <a:pt x="249004" y="698783"/>
                  </a:cubicBezTo>
                  <a:cubicBezTo>
                    <a:pt x="249532" y="692666"/>
                    <a:pt x="266052" y="695140"/>
                    <a:pt x="270557" y="689224"/>
                  </a:cubicBezTo>
                  <a:cubicBezTo>
                    <a:pt x="275956" y="682104"/>
                    <a:pt x="266498" y="678160"/>
                    <a:pt x="267716" y="671542"/>
                  </a:cubicBezTo>
                  <a:cubicBezTo>
                    <a:pt x="268609" y="665794"/>
                    <a:pt x="278838" y="656769"/>
                    <a:pt x="286265" y="655031"/>
                  </a:cubicBezTo>
                  <a:cubicBezTo>
                    <a:pt x="293693" y="653293"/>
                    <a:pt x="284236" y="664624"/>
                    <a:pt x="282897" y="665559"/>
                  </a:cubicBezTo>
                  <a:cubicBezTo>
                    <a:pt x="276686" y="669905"/>
                    <a:pt x="276199" y="677525"/>
                    <a:pt x="287605" y="676356"/>
                  </a:cubicBezTo>
                  <a:cubicBezTo>
                    <a:pt x="293247" y="675754"/>
                    <a:pt x="297631" y="668601"/>
                    <a:pt x="303841" y="670606"/>
                  </a:cubicBezTo>
                  <a:cubicBezTo>
                    <a:pt x="310051" y="672612"/>
                    <a:pt x="297671" y="677626"/>
                    <a:pt x="296048" y="679397"/>
                  </a:cubicBezTo>
                  <a:cubicBezTo>
                    <a:pt x="291258" y="684544"/>
                    <a:pt x="303029" y="685480"/>
                    <a:pt x="302948" y="689658"/>
                  </a:cubicBezTo>
                  <a:cubicBezTo>
                    <a:pt x="302745" y="697980"/>
                    <a:pt x="293572" y="690126"/>
                    <a:pt x="292232" y="688054"/>
                  </a:cubicBezTo>
                  <a:cubicBezTo>
                    <a:pt x="280055" y="669270"/>
                    <a:pt x="281476" y="699016"/>
                    <a:pt x="288173" y="696877"/>
                  </a:cubicBezTo>
                  <a:cubicBezTo>
                    <a:pt x="282125" y="698783"/>
                    <a:pt x="275996" y="691329"/>
                    <a:pt x="269948" y="693535"/>
                  </a:cubicBezTo>
                  <a:cubicBezTo>
                    <a:pt x="259720" y="697145"/>
                    <a:pt x="276930" y="701590"/>
                    <a:pt x="271247" y="703897"/>
                  </a:cubicBezTo>
                  <a:cubicBezTo>
                    <a:pt x="267188" y="705434"/>
                    <a:pt x="257487" y="710147"/>
                    <a:pt x="265199" y="713689"/>
                  </a:cubicBezTo>
                  <a:cubicBezTo>
                    <a:pt x="271044" y="716363"/>
                    <a:pt x="279122" y="704331"/>
                    <a:pt x="286874" y="710815"/>
                  </a:cubicBezTo>
                  <a:cubicBezTo>
                    <a:pt x="287524" y="711316"/>
                    <a:pt x="299051" y="723783"/>
                    <a:pt x="299985" y="718937"/>
                  </a:cubicBezTo>
                  <a:cubicBezTo>
                    <a:pt x="301000" y="714726"/>
                    <a:pt x="295682" y="710715"/>
                    <a:pt x="297955" y="706403"/>
                  </a:cubicBezTo>
                  <a:cubicBezTo>
                    <a:pt x="300228" y="702092"/>
                    <a:pt x="317641" y="722346"/>
                    <a:pt x="328520" y="714392"/>
                  </a:cubicBezTo>
                  <a:cubicBezTo>
                    <a:pt x="329209" y="713890"/>
                    <a:pt x="324095" y="709879"/>
                    <a:pt x="326368" y="707406"/>
                  </a:cubicBezTo>
                  <a:cubicBezTo>
                    <a:pt x="329818" y="703662"/>
                    <a:pt x="337734" y="707707"/>
                    <a:pt x="340980" y="709077"/>
                  </a:cubicBezTo>
                  <a:cubicBezTo>
                    <a:pt x="343416" y="710113"/>
                    <a:pt x="353969" y="715595"/>
                    <a:pt x="356851" y="711918"/>
                  </a:cubicBezTo>
                  <a:cubicBezTo>
                    <a:pt x="360585" y="707272"/>
                    <a:pt x="345039" y="704365"/>
                    <a:pt x="344309" y="701690"/>
                  </a:cubicBezTo>
                  <a:cubicBezTo>
                    <a:pt x="343741" y="699585"/>
                    <a:pt x="362858" y="699217"/>
                    <a:pt x="364401" y="699050"/>
                  </a:cubicBezTo>
                  <a:cubicBezTo>
                    <a:pt x="371869" y="698181"/>
                    <a:pt x="370895" y="692031"/>
                    <a:pt x="375725" y="691797"/>
                  </a:cubicBezTo>
                  <a:cubicBezTo>
                    <a:pt x="366877" y="690326"/>
                    <a:pt x="340209" y="704231"/>
                    <a:pt x="336759" y="698916"/>
                  </a:cubicBezTo>
                  <a:cubicBezTo>
                    <a:pt x="329331" y="687619"/>
                    <a:pt x="325475" y="674350"/>
                    <a:pt x="320889" y="662150"/>
                  </a:cubicBezTo>
                  <a:cubicBezTo>
                    <a:pt x="319102" y="657471"/>
                    <a:pt x="317357" y="652792"/>
                    <a:pt x="315693" y="648112"/>
                  </a:cubicBezTo>
                  <a:cubicBezTo>
                    <a:pt x="310254" y="648781"/>
                    <a:pt x="298848" y="654998"/>
                    <a:pt x="294546" y="650218"/>
                  </a:cubicBezTo>
                  <a:cubicBezTo>
                    <a:pt x="290812" y="646040"/>
                    <a:pt x="299213" y="645038"/>
                    <a:pt x="290933" y="643533"/>
                  </a:cubicBezTo>
                  <a:cubicBezTo>
                    <a:pt x="284764" y="642531"/>
                    <a:pt x="278351" y="642932"/>
                    <a:pt x="272465" y="644737"/>
                  </a:cubicBezTo>
                  <a:cubicBezTo>
                    <a:pt x="262196" y="647577"/>
                    <a:pt x="252251" y="651087"/>
                    <a:pt x="242672" y="65523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AC0DEB25-390C-44D5-9F7E-65DA7CB75FB8}"/>
                </a:ext>
              </a:extLst>
            </p:cNvPr>
            <p:cNvSpPr/>
            <p:nvPr/>
          </p:nvSpPr>
          <p:spPr>
            <a:xfrm>
              <a:off x="4207318" y="5415883"/>
              <a:ext cx="236848" cy="135565"/>
            </a:xfrm>
            <a:custGeom>
              <a:avLst/>
              <a:gdLst>
                <a:gd name="connsiteX0" fmla="*/ 225254 w 236848"/>
                <a:gd name="connsiteY0" fmla="*/ 49930 h 135565"/>
                <a:gd name="connsiteX1" fmla="*/ 205243 w 236848"/>
                <a:gd name="connsiteY1" fmla="*/ 57952 h 135565"/>
                <a:gd name="connsiteX2" fmla="*/ 191686 w 236848"/>
                <a:gd name="connsiteY2" fmla="*/ 47925 h 135565"/>
                <a:gd name="connsiteX3" fmla="*/ 162137 w 236848"/>
                <a:gd name="connsiteY3" fmla="*/ 34555 h 135565"/>
                <a:gd name="connsiteX4" fmla="*/ 125322 w 236848"/>
                <a:gd name="connsiteY4" fmla="*/ 36427 h 135565"/>
                <a:gd name="connsiteX5" fmla="*/ 121263 w 236848"/>
                <a:gd name="connsiteY5" fmla="*/ 19715 h 135565"/>
                <a:gd name="connsiteX6" fmla="*/ 110831 w 236848"/>
                <a:gd name="connsiteY6" fmla="*/ 9688 h 135565"/>
                <a:gd name="connsiteX7" fmla="*/ 107706 w 236848"/>
                <a:gd name="connsiteY7" fmla="*/ -339 h 135565"/>
                <a:gd name="connsiteX8" fmla="*/ 83352 w 236848"/>
                <a:gd name="connsiteY8" fmla="*/ 229 h 135565"/>
                <a:gd name="connsiteX9" fmla="*/ 48689 w 236848"/>
                <a:gd name="connsiteY9" fmla="*/ 10524 h 135565"/>
                <a:gd name="connsiteX10" fmla="*/ 23645 w 236848"/>
                <a:gd name="connsiteY10" fmla="*/ 19247 h 135565"/>
                <a:gd name="connsiteX11" fmla="*/ 8058 w 236848"/>
                <a:gd name="connsiteY11" fmla="*/ 48393 h 135565"/>
                <a:gd name="connsiteX12" fmla="*/ -60 w 236848"/>
                <a:gd name="connsiteY12" fmla="*/ 71555 h 135565"/>
                <a:gd name="connsiteX13" fmla="*/ 55548 w 236848"/>
                <a:gd name="connsiteY13" fmla="*/ 87766 h 135565"/>
                <a:gd name="connsiteX14" fmla="*/ 89116 w 236848"/>
                <a:gd name="connsiteY14" fmla="*/ 87766 h 135565"/>
                <a:gd name="connsiteX15" fmla="*/ 111765 w 236848"/>
                <a:gd name="connsiteY15" fmla="*/ 92311 h 135565"/>
                <a:gd name="connsiteX16" fmla="*/ 157428 w 236848"/>
                <a:gd name="connsiteY16" fmla="*/ 94283 h 135565"/>
                <a:gd name="connsiteX17" fmla="*/ 152395 w 236848"/>
                <a:gd name="connsiteY17" fmla="*/ 107653 h 135565"/>
                <a:gd name="connsiteX18" fmla="*/ 147890 w 236848"/>
                <a:gd name="connsiteY18" fmla="*/ 128208 h 135565"/>
                <a:gd name="connsiteX19" fmla="*/ 145333 w 236848"/>
                <a:gd name="connsiteY19" fmla="*/ 135227 h 135565"/>
                <a:gd name="connsiteX20" fmla="*/ 173299 w 236848"/>
                <a:gd name="connsiteY20" fmla="*/ 131651 h 135565"/>
                <a:gd name="connsiteX21" fmla="*/ 205000 w 236848"/>
                <a:gd name="connsiteY21" fmla="*/ 122894 h 135565"/>
                <a:gd name="connsiteX22" fmla="*/ 215918 w 236848"/>
                <a:gd name="connsiteY22" fmla="*/ 118282 h 135565"/>
                <a:gd name="connsiteX23" fmla="*/ 225416 w 236848"/>
                <a:gd name="connsiteY23" fmla="*/ 110026 h 135565"/>
                <a:gd name="connsiteX24" fmla="*/ 233534 w 236848"/>
                <a:gd name="connsiteY24" fmla="*/ 81315 h 135565"/>
                <a:gd name="connsiteX25" fmla="*/ 224889 w 236848"/>
                <a:gd name="connsiteY25" fmla="*/ 49763 h 135565"/>
                <a:gd name="connsiteX26" fmla="*/ 225254 w 236848"/>
                <a:gd name="connsiteY26" fmla="*/ 49930 h 13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6848" h="135565">
                  <a:moveTo>
                    <a:pt x="225254" y="49930"/>
                  </a:moveTo>
                  <a:cubicBezTo>
                    <a:pt x="215107" y="49128"/>
                    <a:pt x="213077" y="56047"/>
                    <a:pt x="205243" y="57952"/>
                  </a:cubicBezTo>
                  <a:cubicBezTo>
                    <a:pt x="201184" y="58921"/>
                    <a:pt x="193269" y="49529"/>
                    <a:pt x="191686" y="47925"/>
                  </a:cubicBezTo>
                  <a:cubicBezTo>
                    <a:pt x="185354" y="41641"/>
                    <a:pt x="176100" y="28272"/>
                    <a:pt x="162137" y="34555"/>
                  </a:cubicBezTo>
                  <a:cubicBezTo>
                    <a:pt x="156617" y="36995"/>
                    <a:pt x="127717" y="41240"/>
                    <a:pt x="125322" y="36427"/>
                  </a:cubicBezTo>
                  <a:cubicBezTo>
                    <a:pt x="122603" y="31046"/>
                    <a:pt x="125322" y="24929"/>
                    <a:pt x="121263" y="19715"/>
                  </a:cubicBezTo>
                  <a:cubicBezTo>
                    <a:pt x="119112" y="17041"/>
                    <a:pt x="110304" y="13031"/>
                    <a:pt x="110831" y="9688"/>
                  </a:cubicBezTo>
                  <a:cubicBezTo>
                    <a:pt x="111765" y="3973"/>
                    <a:pt x="117610" y="4040"/>
                    <a:pt x="107706" y="-339"/>
                  </a:cubicBezTo>
                  <a:cubicBezTo>
                    <a:pt x="101334" y="4675"/>
                    <a:pt x="90780" y="62"/>
                    <a:pt x="83352" y="229"/>
                  </a:cubicBezTo>
                  <a:cubicBezTo>
                    <a:pt x="70891" y="1132"/>
                    <a:pt x="58958" y="4675"/>
                    <a:pt x="48689" y="10524"/>
                  </a:cubicBezTo>
                  <a:cubicBezTo>
                    <a:pt x="41869" y="15036"/>
                    <a:pt x="31235" y="15537"/>
                    <a:pt x="23645" y="19247"/>
                  </a:cubicBezTo>
                  <a:cubicBezTo>
                    <a:pt x="11021" y="24929"/>
                    <a:pt x="4608" y="36895"/>
                    <a:pt x="8058" y="48393"/>
                  </a:cubicBezTo>
                  <a:cubicBezTo>
                    <a:pt x="10128" y="56816"/>
                    <a:pt x="16176" y="68447"/>
                    <a:pt x="-60" y="71555"/>
                  </a:cubicBezTo>
                  <a:cubicBezTo>
                    <a:pt x="15892" y="80914"/>
                    <a:pt x="36796" y="82150"/>
                    <a:pt x="55548" y="87766"/>
                  </a:cubicBezTo>
                  <a:cubicBezTo>
                    <a:pt x="67360" y="91309"/>
                    <a:pt x="76330" y="87766"/>
                    <a:pt x="89116" y="87766"/>
                  </a:cubicBezTo>
                  <a:cubicBezTo>
                    <a:pt x="98167" y="87766"/>
                    <a:pt x="103607" y="91409"/>
                    <a:pt x="111765" y="92311"/>
                  </a:cubicBezTo>
                  <a:cubicBezTo>
                    <a:pt x="126337" y="93949"/>
                    <a:pt x="143628" y="91142"/>
                    <a:pt x="157428" y="94283"/>
                  </a:cubicBezTo>
                  <a:cubicBezTo>
                    <a:pt x="163477" y="95654"/>
                    <a:pt x="154019" y="105313"/>
                    <a:pt x="152395" y="107653"/>
                  </a:cubicBezTo>
                  <a:cubicBezTo>
                    <a:pt x="147200" y="115374"/>
                    <a:pt x="151178" y="121022"/>
                    <a:pt x="147890" y="128208"/>
                  </a:cubicBezTo>
                  <a:cubicBezTo>
                    <a:pt x="147281" y="129478"/>
                    <a:pt x="140462" y="134893"/>
                    <a:pt x="145333" y="135227"/>
                  </a:cubicBezTo>
                  <a:cubicBezTo>
                    <a:pt x="154790" y="134893"/>
                    <a:pt x="164166" y="133690"/>
                    <a:pt x="173299" y="131651"/>
                  </a:cubicBezTo>
                  <a:cubicBezTo>
                    <a:pt x="183934" y="129144"/>
                    <a:pt x="196679" y="128309"/>
                    <a:pt x="205000" y="122894"/>
                  </a:cubicBezTo>
                  <a:cubicBezTo>
                    <a:pt x="208491" y="120554"/>
                    <a:pt x="212631" y="120320"/>
                    <a:pt x="215918" y="118282"/>
                  </a:cubicBezTo>
                  <a:cubicBezTo>
                    <a:pt x="219206" y="116243"/>
                    <a:pt x="221560" y="112432"/>
                    <a:pt x="225416" y="110026"/>
                  </a:cubicBezTo>
                  <a:cubicBezTo>
                    <a:pt x="236538" y="103508"/>
                    <a:pt x="240029" y="91208"/>
                    <a:pt x="233534" y="81315"/>
                  </a:cubicBezTo>
                  <a:cubicBezTo>
                    <a:pt x="230003" y="75466"/>
                    <a:pt x="237025" y="50766"/>
                    <a:pt x="224889" y="49763"/>
                  </a:cubicBezTo>
                  <a:cubicBezTo>
                    <a:pt x="215188" y="49161"/>
                    <a:pt x="235280" y="50766"/>
                    <a:pt x="225254" y="4993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0AD37723-E587-4EE9-BF62-752F1F933CE5}"/>
                </a:ext>
              </a:extLst>
            </p:cNvPr>
            <p:cNvSpPr/>
            <p:nvPr/>
          </p:nvSpPr>
          <p:spPr>
            <a:xfrm>
              <a:off x="3358626" y="5125365"/>
              <a:ext cx="97531" cy="35821"/>
            </a:xfrm>
            <a:custGeom>
              <a:avLst/>
              <a:gdLst>
                <a:gd name="connsiteX0" fmla="*/ 95042 w 97531"/>
                <a:gd name="connsiteY0" fmla="*/ 20885 h 35821"/>
                <a:gd name="connsiteX1" fmla="*/ 87330 w 97531"/>
                <a:gd name="connsiteY1" fmla="*/ 8017 h 35821"/>
                <a:gd name="connsiteX2" fmla="*/ 57091 w 97531"/>
                <a:gd name="connsiteY2" fmla="*/ -339 h 35821"/>
                <a:gd name="connsiteX3" fmla="*/ -60 w 97531"/>
                <a:gd name="connsiteY3" fmla="*/ 15604 h 35821"/>
                <a:gd name="connsiteX4" fmla="*/ 15649 w 97531"/>
                <a:gd name="connsiteY4" fmla="*/ 33352 h 35821"/>
                <a:gd name="connsiteX5" fmla="*/ 41383 w 97531"/>
                <a:gd name="connsiteY5" fmla="*/ 27871 h 35821"/>
                <a:gd name="connsiteX6" fmla="*/ 58836 w 97531"/>
                <a:gd name="connsiteY6" fmla="*/ 25999 h 35821"/>
                <a:gd name="connsiteX7" fmla="*/ 71500 w 97531"/>
                <a:gd name="connsiteY7" fmla="*/ 33218 h 35821"/>
                <a:gd name="connsiteX8" fmla="*/ 95042 w 97531"/>
                <a:gd name="connsiteY8" fmla="*/ 20885 h 3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1" h="35821">
                  <a:moveTo>
                    <a:pt x="95042" y="20885"/>
                  </a:moveTo>
                  <a:cubicBezTo>
                    <a:pt x="88426" y="15537"/>
                    <a:pt x="98777" y="10691"/>
                    <a:pt x="87330" y="8017"/>
                  </a:cubicBezTo>
                  <a:cubicBezTo>
                    <a:pt x="77073" y="5684"/>
                    <a:pt x="66978" y="2897"/>
                    <a:pt x="57091" y="-339"/>
                  </a:cubicBezTo>
                  <a:cubicBezTo>
                    <a:pt x="40287" y="7249"/>
                    <a:pt x="17841" y="8051"/>
                    <a:pt x="-60" y="15604"/>
                  </a:cubicBezTo>
                  <a:cubicBezTo>
                    <a:pt x="7612" y="21253"/>
                    <a:pt x="-8746" y="36126"/>
                    <a:pt x="15649" y="33352"/>
                  </a:cubicBezTo>
                  <a:cubicBezTo>
                    <a:pt x="31276" y="31581"/>
                    <a:pt x="25025" y="24662"/>
                    <a:pt x="41383" y="27871"/>
                  </a:cubicBezTo>
                  <a:cubicBezTo>
                    <a:pt x="45442" y="28673"/>
                    <a:pt x="53803" y="25732"/>
                    <a:pt x="58836" y="25999"/>
                  </a:cubicBezTo>
                  <a:cubicBezTo>
                    <a:pt x="67401" y="26434"/>
                    <a:pt x="67482" y="29542"/>
                    <a:pt x="71500" y="33218"/>
                  </a:cubicBezTo>
                  <a:cubicBezTo>
                    <a:pt x="79212" y="40238"/>
                    <a:pt x="105514" y="29475"/>
                    <a:pt x="95042" y="2088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900AE7AC-C4AB-4204-B918-3D6A16944F33}"/>
                </a:ext>
              </a:extLst>
            </p:cNvPr>
            <p:cNvSpPr/>
            <p:nvPr/>
          </p:nvSpPr>
          <p:spPr>
            <a:xfrm>
              <a:off x="3451569" y="5097422"/>
              <a:ext cx="161743" cy="59093"/>
            </a:xfrm>
            <a:custGeom>
              <a:avLst/>
              <a:gdLst>
                <a:gd name="connsiteX0" fmla="*/ 139658 w 161743"/>
                <a:gd name="connsiteY0" fmla="*/ 1801 h 59093"/>
                <a:gd name="connsiteX1" fmla="*/ 72928 w 161743"/>
                <a:gd name="connsiteY1" fmla="*/ 14736 h 59093"/>
                <a:gd name="connsiteX2" fmla="*/ 38589 w 161743"/>
                <a:gd name="connsiteY2" fmla="*/ 37799 h 59093"/>
                <a:gd name="connsiteX3" fmla="*/ 1166 w 161743"/>
                <a:gd name="connsiteY3" fmla="*/ 37431 h 59093"/>
                <a:gd name="connsiteX4" fmla="*/ 3114 w 161743"/>
                <a:gd name="connsiteY4" fmla="*/ 58755 h 59093"/>
                <a:gd name="connsiteX5" fmla="*/ 42527 w 161743"/>
                <a:gd name="connsiteY5" fmla="*/ 55714 h 59093"/>
                <a:gd name="connsiteX6" fmla="*/ 76095 w 161743"/>
                <a:gd name="connsiteY6" fmla="*/ 55714 h 59093"/>
                <a:gd name="connsiteX7" fmla="*/ 76622 w 161743"/>
                <a:gd name="connsiteY7" fmla="*/ 41809 h 59093"/>
                <a:gd name="connsiteX8" fmla="*/ 84740 w 161743"/>
                <a:gd name="connsiteY8" fmla="*/ 24697 h 59093"/>
                <a:gd name="connsiteX9" fmla="*/ 111042 w 161743"/>
                <a:gd name="connsiteY9" fmla="*/ 11661 h 59093"/>
                <a:gd name="connsiteX10" fmla="*/ 130079 w 161743"/>
                <a:gd name="connsiteY10" fmla="*/ 26836 h 59093"/>
                <a:gd name="connsiteX11" fmla="*/ 148263 w 161743"/>
                <a:gd name="connsiteY11" fmla="*/ 31047 h 59093"/>
                <a:gd name="connsiteX12" fmla="*/ 158938 w 161743"/>
                <a:gd name="connsiteY12" fmla="*/ 17377 h 59093"/>
                <a:gd name="connsiteX13" fmla="*/ 139739 w 161743"/>
                <a:gd name="connsiteY13" fmla="*/ 1668 h 59093"/>
                <a:gd name="connsiteX14" fmla="*/ 139658 w 161743"/>
                <a:gd name="connsiteY14" fmla="*/ 1801 h 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743" h="59093">
                  <a:moveTo>
                    <a:pt x="139658" y="1801"/>
                  </a:moveTo>
                  <a:cubicBezTo>
                    <a:pt x="123787" y="-4248"/>
                    <a:pt x="86648" y="3305"/>
                    <a:pt x="72928" y="14736"/>
                  </a:cubicBezTo>
                  <a:cubicBezTo>
                    <a:pt x="61645" y="24128"/>
                    <a:pt x="57342" y="33988"/>
                    <a:pt x="38589" y="37799"/>
                  </a:cubicBezTo>
                  <a:cubicBezTo>
                    <a:pt x="26279" y="40299"/>
                    <a:pt x="13399" y="40172"/>
                    <a:pt x="1166" y="37431"/>
                  </a:cubicBezTo>
                  <a:cubicBezTo>
                    <a:pt x="-2406" y="44116"/>
                    <a:pt x="2952" y="52137"/>
                    <a:pt x="3114" y="58755"/>
                  </a:cubicBezTo>
                  <a:cubicBezTo>
                    <a:pt x="15697" y="55413"/>
                    <a:pt x="31527" y="52839"/>
                    <a:pt x="42527" y="55714"/>
                  </a:cubicBezTo>
                  <a:cubicBezTo>
                    <a:pt x="46910" y="56850"/>
                    <a:pt x="72360" y="57719"/>
                    <a:pt x="76095" y="55714"/>
                  </a:cubicBezTo>
                  <a:cubicBezTo>
                    <a:pt x="88799" y="49330"/>
                    <a:pt x="85958" y="44316"/>
                    <a:pt x="76622" y="41809"/>
                  </a:cubicBezTo>
                  <a:cubicBezTo>
                    <a:pt x="69235" y="39771"/>
                    <a:pt x="81615" y="29242"/>
                    <a:pt x="84740" y="24697"/>
                  </a:cubicBezTo>
                  <a:cubicBezTo>
                    <a:pt x="88799" y="18747"/>
                    <a:pt x="101828" y="12397"/>
                    <a:pt x="111042" y="11661"/>
                  </a:cubicBezTo>
                  <a:cubicBezTo>
                    <a:pt x="133204" y="9957"/>
                    <a:pt x="117212" y="22223"/>
                    <a:pt x="130079" y="26836"/>
                  </a:cubicBezTo>
                  <a:cubicBezTo>
                    <a:pt x="135952" y="28737"/>
                    <a:pt x="142045" y="30148"/>
                    <a:pt x="148263" y="31047"/>
                  </a:cubicBezTo>
                  <a:cubicBezTo>
                    <a:pt x="151713" y="26468"/>
                    <a:pt x="155123" y="21855"/>
                    <a:pt x="158938" y="17377"/>
                  </a:cubicBezTo>
                  <a:cubicBezTo>
                    <a:pt x="168436" y="6247"/>
                    <a:pt x="151145" y="6013"/>
                    <a:pt x="139739" y="1668"/>
                  </a:cubicBezTo>
                  <a:cubicBezTo>
                    <a:pt x="125776" y="-3413"/>
                    <a:pt x="149075" y="5445"/>
                    <a:pt x="139658" y="18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93049048-B163-4250-ADA7-DA379A13CC26}"/>
                </a:ext>
              </a:extLst>
            </p:cNvPr>
            <p:cNvSpPr/>
            <p:nvPr/>
          </p:nvSpPr>
          <p:spPr>
            <a:xfrm>
              <a:off x="3599527" y="4986948"/>
              <a:ext cx="330749" cy="257633"/>
            </a:xfrm>
            <a:custGeom>
              <a:avLst/>
              <a:gdLst>
                <a:gd name="connsiteX0" fmla="*/ 75275 w 330749"/>
                <a:gd name="connsiteY0" fmla="*/ 244366 h 257633"/>
                <a:gd name="connsiteX1" fmla="*/ 100562 w 330749"/>
                <a:gd name="connsiteY1" fmla="*/ 236544 h 257633"/>
                <a:gd name="connsiteX2" fmla="*/ 118665 w 330749"/>
                <a:gd name="connsiteY2" fmla="*/ 240388 h 257633"/>
                <a:gd name="connsiteX3" fmla="*/ 132588 w 330749"/>
                <a:gd name="connsiteY3" fmla="*/ 235442 h 257633"/>
                <a:gd name="connsiteX4" fmla="*/ 154465 w 330749"/>
                <a:gd name="connsiteY4" fmla="*/ 239352 h 257633"/>
                <a:gd name="connsiteX5" fmla="*/ 184461 w 330749"/>
                <a:gd name="connsiteY5" fmla="*/ 243998 h 257633"/>
                <a:gd name="connsiteX6" fmla="*/ 222859 w 330749"/>
                <a:gd name="connsiteY6" fmla="*/ 250014 h 257633"/>
                <a:gd name="connsiteX7" fmla="*/ 276357 w 330749"/>
                <a:gd name="connsiteY7" fmla="*/ 233703 h 257633"/>
                <a:gd name="connsiteX8" fmla="*/ 288818 w 330749"/>
                <a:gd name="connsiteY8" fmla="*/ 256532 h 257633"/>
                <a:gd name="connsiteX9" fmla="*/ 303876 w 330749"/>
                <a:gd name="connsiteY9" fmla="*/ 250850 h 257633"/>
                <a:gd name="connsiteX10" fmla="*/ 299817 w 330749"/>
                <a:gd name="connsiteY10" fmla="*/ 230261 h 257633"/>
                <a:gd name="connsiteX11" fmla="*/ 296530 w 330749"/>
                <a:gd name="connsiteY11" fmla="*/ 209271 h 257633"/>
                <a:gd name="connsiteX12" fmla="*/ 277493 w 330749"/>
                <a:gd name="connsiteY12" fmla="*/ 195901 h 257633"/>
                <a:gd name="connsiteX13" fmla="*/ 270593 w 330749"/>
                <a:gd name="connsiteY13" fmla="*/ 180192 h 257633"/>
                <a:gd name="connsiteX14" fmla="*/ 274124 w 330749"/>
                <a:gd name="connsiteY14" fmla="*/ 169330 h 257633"/>
                <a:gd name="connsiteX15" fmla="*/ 266615 w 330749"/>
                <a:gd name="connsiteY15" fmla="*/ 160038 h 257633"/>
                <a:gd name="connsiteX16" fmla="*/ 295312 w 330749"/>
                <a:gd name="connsiteY16" fmla="*/ 150947 h 257633"/>
                <a:gd name="connsiteX17" fmla="*/ 322264 w 330749"/>
                <a:gd name="connsiteY17" fmla="*/ 127316 h 257633"/>
                <a:gd name="connsiteX18" fmla="*/ 315201 w 330749"/>
                <a:gd name="connsiteY18" fmla="*/ 109167 h 257633"/>
                <a:gd name="connsiteX19" fmla="*/ 294906 w 330749"/>
                <a:gd name="connsiteY19" fmla="*/ 96399 h 257633"/>
                <a:gd name="connsiteX20" fmla="*/ 296246 w 330749"/>
                <a:gd name="connsiteY20" fmla="*/ 74273 h 257633"/>
                <a:gd name="connsiteX21" fmla="*/ 273028 w 330749"/>
                <a:gd name="connsiteY21" fmla="*/ 74607 h 257633"/>
                <a:gd name="connsiteX22" fmla="*/ 233332 w 330749"/>
                <a:gd name="connsiteY22" fmla="*/ 82930 h 257633"/>
                <a:gd name="connsiteX23" fmla="*/ 202199 w 330749"/>
                <a:gd name="connsiteY23" fmla="*/ 80724 h 257633"/>
                <a:gd name="connsiteX24" fmla="*/ 146754 w 330749"/>
                <a:gd name="connsiteY24" fmla="*/ 82997 h 257633"/>
                <a:gd name="connsiteX25" fmla="*/ 134211 w 330749"/>
                <a:gd name="connsiteY25" fmla="*/ 71666 h 257633"/>
                <a:gd name="connsiteX26" fmla="*/ 124754 w 330749"/>
                <a:gd name="connsiteY26" fmla="*/ 67354 h 257633"/>
                <a:gd name="connsiteX27" fmla="*/ 110507 w 330749"/>
                <a:gd name="connsiteY27" fmla="*/ 69627 h 257633"/>
                <a:gd name="connsiteX28" fmla="*/ 115540 w 330749"/>
                <a:gd name="connsiteY28" fmla="*/ 58330 h 257633"/>
                <a:gd name="connsiteX29" fmla="*/ 112902 w 330749"/>
                <a:gd name="connsiteY29" fmla="*/ 48303 h 257633"/>
                <a:gd name="connsiteX30" fmla="*/ 131613 w 330749"/>
                <a:gd name="connsiteY30" fmla="*/ 19726 h 257633"/>
                <a:gd name="connsiteX31" fmla="*/ 149392 w 330749"/>
                <a:gd name="connsiteY31" fmla="*/ 774 h 257633"/>
                <a:gd name="connsiteX32" fmla="*/ 123577 w 330749"/>
                <a:gd name="connsiteY32" fmla="*/ 13008 h 257633"/>
                <a:gd name="connsiteX33" fmla="*/ 109857 w 330749"/>
                <a:gd name="connsiteY33" fmla="*/ 21096 h 257633"/>
                <a:gd name="connsiteX34" fmla="*/ 95894 w 330749"/>
                <a:gd name="connsiteY34" fmla="*/ 33563 h 257633"/>
                <a:gd name="connsiteX35" fmla="*/ 69876 w 330749"/>
                <a:gd name="connsiteY35" fmla="*/ 48871 h 257633"/>
                <a:gd name="connsiteX36" fmla="*/ 43290 w 330749"/>
                <a:gd name="connsiteY36" fmla="*/ 62241 h 257633"/>
                <a:gd name="connsiteX37" fmla="*/ 38257 w 330749"/>
                <a:gd name="connsiteY37" fmla="*/ 89347 h 257633"/>
                <a:gd name="connsiteX38" fmla="*/ 19951 w 330749"/>
                <a:gd name="connsiteY38" fmla="*/ 116487 h 257633"/>
                <a:gd name="connsiteX39" fmla="*/ 14431 w 330749"/>
                <a:gd name="connsiteY39" fmla="*/ 119228 h 257633"/>
                <a:gd name="connsiteX40" fmla="*/ 13091 w 330749"/>
                <a:gd name="connsiteY40" fmla="*/ 125444 h 257633"/>
                <a:gd name="connsiteX41" fmla="*/ -60 w 330749"/>
                <a:gd name="connsiteY41" fmla="*/ 141822 h 257633"/>
                <a:gd name="connsiteX42" fmla="*/ 16866 w 330749"/>
                <a:gd name="connsiteY42" fmla="*/ 146301 h 257633"/>
                <a:gd name="connsiteX43" fmla="*/ 22386 w 330749"/>
                <a:gd name="connsiteY43" fmla="*/ 154389 h 257633"/>
                <a:gd name="connsiteX44" fmla="*/ 26892 w 330749"/>
                <a:gd name="connsiteY44" fmla="*/ 168527 h 257633"/>
                <a:gd name="connsiteX45" fmla="*/ 39069 w 330749"/>
                <a:gd name="connsiteY45" fmla="*/ 183802 h 257633"/>
                <a:gd name="connsiteX46" fmla="*/ 44142 w 330749"/>
                <a:gd name="connsiteY46" fmla="*/ 201817 h 257633"/>
                <a:gd name="connsiteX47" fmla="*/ 23848 w 330749"/>
                <a:gd name="connsiteY47" fmla="*/ 221571 h 257633"/>
                <a:gd name="connsiteX48" fmla="*/ 16866 w 330749"/>
                <a:gd name="connsiteY48" fmla="*/ 236177 h 257633"/>
                <a:gd name="connsiteX49" fmla="*/ 41707 w 330749"/>
                <a:gd name="connsiteY49" fmla="*/ 243898 h 257633"/>
                <a:gd name="connsiteX50" fmla="*/ 75072 w 330749"/>
                <a:gd name="connsiteY50" fmla="*/ 244533 h 257633"/>
                <a:gd name="connsiteX51" fmla="*/ 75275 w 330749"/>
                <a:gd name="connsiteY51" fmla="*/ 244366 h 25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0749" h="257633">
                  <a:moveTo>
                    <a:pt x="75275" y="244366"/>
                  </a:moveTo>
                  <a:cubicBezTo>
                    <a:pt x="85747" y="244566"/>
                    <a:pt x="93337" y="236043"/>
                    <a:pt x="100562" y="236544"/>
                  </a:cubicBezTo>
                  <a:cubicBezTo>
                    <a:pt x="106756" y="237246"/>
                    <a:pt x="112828" y="238550"/>
                    <a:pt x="118665" y="240388"/>
                  </a:cubicBezTo>
                  <a:cubicBezTo>
                    <a:pt x="121953" y="241291"/>
                    <a:pt x="129016" y="236745"/>
                    <a:pt x="132588" y="235442"/>
                  </a:cubicBezTo>
                  <a:cubicBezTo>
                    <a:pt x="144562" y="231030"/>
                    <a:pt x="147849" y="234807"/>
                    <a:pt x="154465" y="239352"/>
                  </a:cubicBezTo>
                  <a:cubicBezTo>
                    <a:pt x="162299" y="244733"/>
                    <a:pt x="176628" y="237413"/>
                    <a:pt x="184461" y="243998"/>
                  </a:cubicBezTo>
                  <a:cubicBezTo>
                    <a:pt x="194203" y="252153"/>
                    <a:pt x="204513" y="256766"/>
                    <a:pt x="222859" y="250014"/>
                  </a:cubicBezTo>
                  <a:cubicBezTo>
                    <a:pt x="241206" y="243263"/>
                    <a:pt x="255737" y="233302"/>
                    <a:pt x="276357" y="233703"/>
                  </a:cubicBezTo>
                  <a:cubicBezTo>
                    <a:pt x="304445" y="234472"/>
                    <a:pt x="262921" y="255095"/>
                    <a:pt x="288818" y="256532"/>
                  </a:cubicBezTo>
                  <a:cubicBezTo>
                    <a:pt x="298275" y="257067"/>
                    <a:pt x="303065" y="259640"/>
                    <a:pt x="303876" y="250850"/>
                  </a:cubicBezTo>
                  <a:cubicBezTo>
                    <a:pt x="303949" y="243831"/>
                    <a:pt x="302578" y="236879"/>
                    <a:pt x="299817" y="230261"/>
                  </a:cubicBezTo>
                  <a:cubicBezTo>
                    <a:pt x="297577" y="223409"/>
                    <a:pt x="296469" y="216357"/>
                    <a:pt x="296530" y="209271"/>
                  </a:cubicBezTo>
                  <a:cubicBezTo>
                    <a:pt x="296773" y="201918"/>
                    <a:pt x="284921" y="199244"/>
                    <a:pt x="277493" y="195901"/>
                  </a:cubicBezTo>
                  <a:cubicBezTo>
                    <a:pt x="272582" y="193696"/>
                    <a:pt x="259999" y="184805"/>
                    <a:pt x="270593" y="180192"/>
                  </a:cubicBezTo>
                  <a:cubicBezTo>
                    <a:pt x="279726" y="176215"/>
                    <a:pt x="293607" y="166322"/>
                    <a:pt x="274124" y="169330"/>
                  </a:cubicBezTo>
                  <a:cubicBezTo>
                    <a:pt x="267265" y="170399"/>
                    <a:pt x="258903" y="163681"/>
                    <a:pt x="266615" y="160038"/>
                  </a:cubicBezTo>
                  <a:cubicBezTo>
                    <a:pt x="275817" y="156278"/>
                    <a:pt x="285424" y="153233"/>
                    <a:pt x="295312" y="150947"/>
                  </a:cubicBezTo>
                  <a:cubicBezTo>
                    <a:pt x="305297" y="148173"/>
                    <a:pt x="348728" y="131160"/>
                    <a:pt x="322264" y="127316"/>
                  </a:cubicBezTo>
                  <a:cubicBezTo>
                    <a:pt x="306515" y="125010"/>
                    <a:pt x="325429" y="113245"/>
                    <a:pt x="315201" y="109167"/>
                  </a:cubicBezTo>
                  <a:cubicBezTo>
                    <a:pt x="304972" y="105090"/>
                    <a:pt x="297504" y="105190"/>
                    <a:pt x="294906" y="96399"/>
                  </a:cubicBezTo>
                  <a:cubicBezTo>
                    <a:pt x="292645" y="89080"/>
                    <a:pt x="293112" y="81369"/>
                    <a:pt x="296246" y="74273"/>
                  </a:cubicBezTo>
                  <a:cubicBezTo>
                    <a:pt x="300670" y="64847"/>
                    <a:pt x="278751" y="72568"/>
                    <a:pt x="273028" y="74607"/>
                  </a:cubicBezTo>
                  <a:cubicBezTo>
                    <a:pt x="259593" y="79320"/>
                    <a:pt x="247619" y="84166"/>
                    <a:pt x="233332" y="82930"/>
                  </a:cubicBezTo>
                  <a:cubicBezTo>
                    <a:pt x="221926" y="81994"/>
                    <a:pt x="215188" y="76713"/>
                    <a:pt x="202199" y="80724"/>
                  </a:cubicBezTo>
                  <a:cubicBezTo>
                    <a:pt x="179875" y="87609"/>
                    <a:pt x="154222" y="102817"/>
                    <a:pt x="146754" y="82997"/>
                  </a:cubicBezTo>
                  <a:cubicBezTo>
                    <a:pt x="144480" y="77047"/>
                    <a:pt x="145049" y="72970"/>
                    <a:pt x="134211" y="71666"/>
                  </a:cubicBezTo>
                  <a:cubicBezTo>
                    <a:pt x="129503" y="71165"/>
                    <a:pt x="128732" y="67822"/>
                    <a:pt x="124754" y="67354"/>
                  </a:cubicBezTo>
                  <a:cubicBezTo>
                    <a:pt x="122318" y="67087"/>
                    <a:pt x="110913" y="71365"/>
                    <a:pt x="110507" y="69627"/>
                  </a:cubicBezTo>
                  <a:cubicBezTo>
                    <a:pt x="109654" y="66285"/>
                    <a:pt x="114566" y="61940"/>
                    <a:pt x="115540" y="58330"/>
                  </a:cubicBezTo>
                  <a:cubicBezTo>
                    <a:pt x="115710" y="54857"/>
                    <a:pt x="114801" y="51408"/>
                    <a:pt x="112902" y="48303"/>
                  </a:cubicBezTo>
                  <a:cubicBezTo>
                    <a:pt x="110304" y="41986"/>
                    <a:pt x="124429" y="25408"/>
                    <a:pt x="131613" y="19726"/>
                  </a:cubicBezTo>
                  <a:cubicBezTo>
                    <a:pt x="136119" y="16149"/>
                    <a:pt x="157916" y="3916"/>
                    <a:pt x="149392" y="774"/>
                  </a:cubicBezTo>
                  <a:cubicBezTo>
                    <a:pt x="136647" y="-3871"/>
                    <a:pt x="129868" y="7159"/>
                    <a:pt x="123577" y="13008"/>
                  </a:cubicBezTo>
                  <a:cubicBezTo>
                    <a:pt x="119518" y="16684"/>
                    <a:pt x="114728" y="18054"/>
                    <a:pt x="109857" y="21096"/>
                  </a:cubicBezTo>
                  <a:cubicBezTo>
                    <a:pt x="103850" y="24806"/>
                    <a:pt x="101455" y="29686"/>
                    <a:pt x="95894" y="33563"/>
                  </a:cubicBezTo>
                  <a:cubicBezTo>
                    <a:pt x="94108" y="34766"/>
                    <a:pt x="66183" y="48871"/>
                    <a:pt x="69876" y="48871"/>
                  </a:cubicBezTo>
                  <a:cubicBezTo>
                    <a:pt x="55995" y="48871"/>
                    <a:pt x="49582" y="53116"/>
                    <a:pt x="43290" y="62241"/>
                  </a:cubicBezTo>
                  <a:cubicBezTo>
                    <a:pt x="35822" y="73003"/>
                    <a:pt x="51408" y="78317"/>
                    <a:pt x="38257" y="89347"/>
                  </a:cubicBezTo>
                  <a:cubicBezTo>
                    <a:pt x="28191" y="97870"/>
                    <a:pt x="25836" y="107295"/>
                    <a:pt x="19951" y="116487"/>
                  </a:cubicBezTo>
                  <a:cubicBezTo>
                    <a:pt x="18904" y="118198"/>
                    <a:pt x="16757" y="119264"/>
                    <a:pt x="14431" y="119228"/>
                  </a:cubicBezTo>
                  <a:cubicBezTo>
                    <a:pt x="15015" y="121363"/>
                    <a:pt x="14532" y="123603"/>
                    <a:pt x="13091" y="125444"/>
                  </a:cubicBezTo>
                  <a:cubicBezTo>
                    <a:pt x="8184" y="130605"/>
                    <a:pt x="3784" y="136083"/>
                    <a:pt x="-60" y="141822"/>
                  </a:cubicBezTo>
                  <a:cubicBezTo>
                    <a:pt x="5582" y="142825"/>
                    <a:pt x="13010" y="143460"/>
                    <a:pt x="16866" y="146301"/>
                  </a:cubicBezTo>
                  <a:cubicBezTo>
                    <a:pt x="19870" y="148473"/>
                    <a:pt x="18977" y="152584"/>
                    <a:pt x="22386" y="154389"/>
                  </a:cubicBezTo>
                  <a:cubicBezTo>
                    <a:pt x="30504" y="158701"/>
                    <a:pt x="24457" y="162845"/>
                    <a:pt x="26892" y="168527"/>
                  </a:cubicBezTo>
                  <a:cubicBezTo>
                    <a:pt x="29429" y="174340"/>
                    <a:pt x="33601" y="179574"/>
                    <a:pt x="39069" y="183802"/>
                  </a:cubicBezTo>
                  <a:cubicBezTo>
                    <a:pt x="47512" y="190286"/>
                    <a:pt x="47187" y="191322"/>
                    <a:pt x="44142" y="201817"/>
                  </a:cubicBezTo>
                  <a:cubicBezTo>
                    <a:pt x="41058" y="212981"/>
                    <a:pt x="33792" y="213449"/>
                    <a:pt x="23848" y="221571"/>
                  </a:cubicBezTo>
                  <a:cubicBezTo>
                    <a:pt x="19789" y="224746"/>
                    <a:pt x="18571" y="232567"/>
                    <a:pt x="16866" y="236177"/>
                  </a:cubicBezTo>
                  <a:cubicBezTo>
                    <a:pt x="12239" y="246204"/>
                    <a:pt x="31560" y="244031"/>
                    <a:pt x="41707" y="243898"/>
                  </a:cubicBezTo>
                  <a:cubicBezTo>
                    <a:pt x="53641" y="243697"/>
                    <a:pt x="63382" y="244332"/>
                    <a:pt x="75072" y="244533"/>
                  </a:cubicBezTo>
                  <a:cubicBezTo>
                    <a:pt x="83839" y="244533"/>
                    <a:pt x="66710" y="244232"/>
                    <a:pt x="75275" y="24436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113FB4C8-C77A-4624-919E-E49AC372F258}"/>
                </a:ext>
              </a:extLst>
            </p:cNvPr>
            <p:cNvSpPr/>
            <p:nvPr/>
          </p:nvSpPr>
          <p:spPr>
            <a:xfrm>
              <a:off x="3963211" y="5301642"/>
              <a:ext cx="356333" cy="236983"/>
            </a:xfrm>
            <a:custGeom>
              <a:avLst/>
              <a:gdLst>
                <a:gd name="connsiteX0" fmla="*/ 350717 w 356333"/>
                <a:gd name="connsiteY0" fmla="*/ 79042 h 236983"/>
                <a:gd name="connsiteX1" fmla="*/ 329692 w 356333"/>
                <a:gd name="connsiteY1" fmla="*/ 66943 h 236983"/>
                <a:gd name="connsiteX2" fmla="*/ 311791 w 356333"/>
                <a:gd name="connsiteY2" fmla="*/ 62397 h 236983"/>
                <a:gd name="connsiteX3" fmla="*/ 278954 w 356333"/>
                <a:gd name="connsiteY3" fmla="*/ 66842 h 236983"/>
                <a:gd name="connsiteX4" fmla="*/ 264058 w 356333"/>
                <a:gd name="connsiteY4" fmla="*/ 52938 h 236983"/>
                <a:gd name="connsiteX5" fmla="*/ 266940 w 356333"/>
                <a:gd name="connsiteY5" fmla="*/ 46955 h 236983"/>
                <a:gd name="connsiteX6" fmla="*/ 258822 w 356333"/>
                <a:gd name="connsiteY6" fmla="*/ 41674 h 236983"/>
                <a:gd name="connsiteX7" fmla="*/ 240272 w 356333"/>
                <a:gd name="connsiteY7" fmla="*/ 30477 h 236983"/>
                <a:gd name="connsiteX8" fmla="*/ 215188 w 356333"/>
                <a:gd name="connsiteY8" fmla="*/ 35457 h 236983"/>
                <a:gd name="connsiteX9" fmla="*/ 194041 w 356333"/>
                <a:gd name="connsiteY9" fmla="*/ 32617 h 236983"/>
                <a:gd name="connsiteX10" fmla="*/ 176790 w 356333"/>
                <a:gd name="connsiteY10" fmla="*/ 30812 h 236983"/>
                <a:gd name="connsiteX11" fmla="*/ 152923 w 356333"/>
                <a:gd name="connsiteY11" fmla="*/ 34856 h 236983"/>
                <a:gd name="connsiteX12" fmla="*/ 103607 w 356333"/>
                <a:gd name="connsiteY12" fmla="*/ 12228 h 236983"/>
                <a:gd name="connsiteX13" fmla="*/ 96706 w 356333"/>
                <a:gd name="connsiteY13" fmla="*/ -239 h 236983"/>
                <a:gd name="connsiteX14" fmla="*/ 64641 w 356333"/>
                <a:gd name="connsiteY14" fmla="*/ 12596 h 236983"/>
                <a:gd name="connsiteX15" fmla="*/ 33102 w 356333"/>
                <a:gd name="connsiteY15" fmla="*/ 34956 h 236983"/>
                <a:gd name="connsiteX16" fmla="*/ -60 w 356333"/>
                <a:gd name="connsiteY16" fmla="*/ 49362 h 236983"/>
                <a:gd name="connsiteX17" fmla="*/ 28800 w 356333"/>
                <a:gd name="connsiteY17" fmla="*/ 72525 h 236983"/>
                <a:gd name="connsiteX18" fmla="*/ 35497 w 356333"/>
                <a:gd name="connsiteY18" fmla="*/ 97726 h 236983"/>
                <a:gd name="connsiteX19" fmla="*/ 35497 w 356333"/>
                <a:gd name="connsiteY19" fmla="*/ 107753 h 236983"/>
                <a:gd name="connsiteX20" fmla="*/ 38622 w 356333"/>
                <a:gd name="connsiteY20" fmla="*/ 117780 h 236983"/>
                <a:gd name="connsiteX21" fmla="*/ 39231 w 356333"/>
                <a:gd name="connsiteY21" fmla="*/ 131851 h 236983"/>
                <a:gd name="connsiteX22" fmla="*/ 48810 w 356333"/>
                <a:gd name="connsiteY22" fmla="*/ 140842 h 236983"/>
                <a:gd name="connsiteX23" fmla="*/ 56279 w 356333"/>
                <a:gd name="connsiteY23" fmla="*/ 163069 h 236983"/>
                <a:gd name="connsiteX24" fmla="*/ 69674 w 356333"/>
                <a:gd name="connsiteY24" fmla="*/ 178410 h 236983"/>
                <a:gd name="connsiteX25" fmla="*/ 81851 w 356333"/>
                <a:gd name="connsiteY25" fmla="*/ 181051 h 236983"/>
                <a:gd name="connsiteX26" fmla="*/ 82744 w 356333"/>
                <a:gd name="connsiteY26" fmla="*/ 187736 h 236983"/>
                <a:gd name="connsiteX27" fmla="*/ 83636 w 356333"/>
                <a:gd name="connsiteY27" fmla="*/ 202241 h 236983"/>
                <a:gd name="connsiteX28" fmla="*/ 101821 w 356333"/>
                <a:gd name="connsiteY28" fmla="*/ 209127 h 236983"/>
                <a:gd name="connsiteX29" fmla="*/ 117082 w 356333"/>
                <a:gd name="connsiteY29" fmla="*/ 222062 h 236983"/>
                <a:gd name="connsiteX30" fmla="*/ 126824 w 356333"/>
                <a:gd name="connsiteY30" fmla="*/ 236133 h 236983"/>
                <a:gd name="connsiteX31" fmla="*/ 158849 w 356333"/>
                <a:gd name="connsiteY31" fmla="*/ 209394 h 236983"/>
                <a:gd name="connsiteX32" fmla="*/ 204553 w 356333"/>
                <a:gd name="connsiteY32" fmla="*/ 204648 h 236983"/>
                <a:gd name="connsiteX33" fmla="*/ 221398 w 356333"/>
                <a:gd name="connsiteY33" fmla="*/ 191713 h 236983"/>
                <a:gd name="connsiteX34" fmla="*/ 254397 w 356333"/>
                <a:gd name="connsiteY34" fmla="*/ 181051 h 236983"/>
                <a:gd name="connsiteX35" fmla="*/ 250338 w 356333"/>
                <a:gd name="connsiteY35" fmla="*/ 156986 h 236983"/>
                <a:gd name="connsiteX36" fmla="*/ 284109 w 356333"/>
                <a:gd name="connsiteY36" fmla="*/ 128576 h 236983"/>
                <a:gd name="connsiteX37" fmla="*/ 313496 w 356333"/>
                <a:gd name="connsiteY37" fmla="*/ 117579 h 236983"/>
                <a:gd name="connsiteX38" fmla="*/ 343898 w 356333"/>
                <a:gd name="connsiteY38" fmla="*/ 116476 h 236983"/>
                <a:gd name="connsiteX39" fmla="*/ 350595 w 356333"/>
                <a:gd name="connsiteY39" fmla="*/ 79176 h 23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56333" h="236983">
                  <a:moveTo>
                    <a:pt x="350717" y="79042"/>
                  </a:moveTo>
                  <a:cubicBezTo>
                    <a:pt x="345197" y="73661"/>
                    <a:pt x="332330" y="73995"/>
                    <a:pt x="329692" y="66943"/>
                  </a:cubicBezTo>
                  <a:cubicBezTo>
                    <a:pt x="327297" y="60492"/>
                    <a:pt x="321574" y="59991"/>
                    <a:pt x="311791" y="62397"/>
                  </a:cubicBezTo>
                  <a:cubicBezTo>
                    <a:pt x="302010" y="64803"/>
                    <a:pt x="288493" y="70018"/>
                    <a:pt x="278954" y="66842"/>
                  </a:cubicBezTo>
                  <a:cubicBezTo>
                    <a:pt x="275139" y="65572"/>
                    <a:pt x="263733" y="55913"/>
                    <a:pt x="264058" y="52938"/>
                  </a:cubicBezTo>
                  <a:cubicBezTo>
                    <a:pt x="264302" y="50498"/>
                    <a:pt x="269740" y="49328"/>
                    <a:pt x="266940" y="46955"/>
                  </a:cubicBezTo>
                  <a:cubicBezTo>
                    <a:pt x="264139" y="44582"/>
                    <a:pt x="260892" y="43914"/>
                    <a:pt x="258822" y="41674"/>
                  </a:cubicBezTo>
                  <a:cubicBezTo>
                    <a:pt x="254235" y="36761"/>
                    <a:pt x="253343" y="29074"/>
                    <a:pt x="240272" y="30477"/>
                  </a:cubicBezTo>
                  <a:cubicBezTo>
                    <a:pt x="233250" y="31246"/>
                    <a:pt x="221723" y="37162"/>
                    <a:pt x="215188" y="35457"/>
                  </a:cubicBezTo>
                  <a:cubicBezTo>
                    <a:pt x="206583" y="33051"/>
                    <a:pt x="207070" y="29809"/>
                    <a:pt x="194041" y="32617"/>
                  </a:cubicBezTo>
                  <a:cubicBezTo>
                    <a:pt x="185639" y="34455"/>
                    <a:pt x="182838" y="28773"/>
                    <a:pt x="176790" y="30812"/>
                  </a:cubicBezTo>
                  <a:cubicBezTo>
                    <a:pt x="170742" y="32851"/>
                    <a:pt x="160270" y="33051"/>
                    <a:pt x="152923" y="34856"/>
                  </a:cubicBezTo>
                  <a:cubicBezTo>
                    <a:pt x="129138" y="40638"/>
                    <a:pt x="109086" y="24261"/>
                    <a:pt x="103607" y="12228"/>
                  </a:cubicBezTo>
                  <a:cubicBezTo>
                    <a:pt x="102470" y="9688"/>
                    <a:pt x="102551" y="-1509"/>
                    <a:pt x="96706" y="-239"/>
                  </a:cubicBezTo>
                  <a:cubicBezTo>
                    <a:pt x="85220" y="2535"/>
                    <a:pt x="74382" y="6881"/>
                    <a:pt x="64641" y="12596"/>
                  </a:cubicBezTo>
                  <a:cubicBezTo>
                    <a:pt x="53965" y="19548"/>
                    <a:pt x="42884" y="27503"/>
                    <a:pt x="33102" y="34956"/>
                  </a:cubicBezTo>
                  <a:cubicBezTo>
                    <a:pt x="20641" y="44449"/>
                    <a:pt x="17313" y="45819"/>
                    <a:pt x="-60" y="49362"/>
                  </a:cubicBezTo>
                  <a:cubicBezTo>
                    <a:pt x="5907" y="53774"/>
                    <a:pt x="34117" y="64570"/>
                    <a:pt x="28800" y="72525"/>
                  </a:cubicBezTo>
                  <a:cubicBezTo>
                    <a:pt x="22021" y="82552"/>
                    <a:pt x="29165" y="88802"/>
                    <a:pt x="35497" y="97726"/>
                  </a:cubicBezTo>
                  <a:cubicBezTo>
                    <a:pt x="37851" y="101068"/>
                    <a:pt x="36593" y="104043"/>
                    <a:pt x="35497" y="107753"/>
                  </a:cubicBezTo>
                  <a:cubicBezTo>
                    <a:pt x="33752" y="113167"/>
                    <a:pt x="39110" y="113468"/>
                    <a:pt x="38622" y="117780"/>
                  </a:cubicBezTo>
                  <a:cubicBezTo>
                    <a:pt x="38217" y="121624"/>
                    <a:pt x="32777" y="129812"/>
                    <a:pt x="39231" y="131851"/>
                  </a:cubicBezTo>
                  <a:cubicBezTo>
                    <a:pt x="47106" y="134358"/>
                    <a:pt x="51936" y="132687"/>
                    <a:pt x="48810" y="140842"/>
                  </a:cubicBezTo>
                  <a:cubicBezTo>
                    <a:pt x="44427" y="152139"/>
                    <a:pt x="34848" y="159893"/>
                    <a:pt x="56279" y="163069"/>
                  </a:cubicBezTo>
                  <a:cubicBezTo>
                    <a:pt x="66832" y="164673"/>
                    <a:pt x="60825" y="175269"/>
                    <a:pt x="69674" y="178410"/>
                  </a:cubicBezTo>
                  <a:cubicBezTo>
                    <a:pt x="73607" y="179647"/>
                    <a:pt x="77686" y="180549"/>
                    <a:pt x="81851" y="181051"/>
                  </a:cubicBezTo>
                  <a:cubicBezTo>
                    <a:pt x="87493" y="182087"/>
                    <a:pt x="82338" y="184694"/>
                    <a:pt x="82744" y="187736"/>
                  </a:cubicBezTo>
                  <a:cubicBezTo>
                    <a:pt x="83312" y="191446"/>
                    <a:pt x="81323" y="199501"/>
                    <a:pt x="83636" y="202241"/>
                  </a:cubicBezTo>
                  <a:cubicBezTo>
                    <a:pt x="87980" y="207389"/>
                    <a:pt x="96666" y="205751"/>
                    <a:pt x="101821" y="209127"/>
                  </a:cubicBezTo>
                  <a:cubicBezTo>
                    <a:pt x="106976" y="212503"/>
                    <a:pt x="111765" y="218117"/>
                    <a:pt x="117082" y="222062"/>
                  </a:cubicBezTo>
                  <a:cubicBezTo>
                    <a:pt x="122400" y="226005"/>
                    <a:pt x="121791" y="232389"/>
                    <a:pt x="126824" y="236133"/>
                  </a:cubicBezTo>
                  <a:cubicBezTo>
                    <a:pt x="133156" y="240846"/>
                    <a:pt x="156292" y="211533"/>
                    <a:pt x="158849" y="209394"/>
                  </a:cubicBezTo>
                  <a:cubicBezTo>
                    <a:pt x="163395" y="205283"/>
                    <a:pt x="198384" y="202709"/>
                    <a:pt x="204553" y="204648"/>
                  </a:cubicBezTo>
                  <a:cubicBezTo>
                    <a:pt x="224848" y="210363"/>
                    <a:pt x="208856" y="197963"/>
                    <a:pt x="221398" y="191713"/>
                  </a:cubicBezTo>
                  <a:cubicBezTo>
                    <a:pt x="228826" y="187936"/>
                    <a:pt x="253261" y="187936"/>
                    <a:pt x="254397" y="181051"/>
                  </a:cubicBezTo>
                  <a:cubicBezTo>
                    <a:pt x="255818" y="172862"/>
                    <a:pt x="254397" y="164539"/>
                    <a:pt x="250338" y="156986"/>
                  </a:cubicBezTo>
                  <a:cubicBezTo>
                    <a:pt x="242870" y="145688"/>
                    <a:pt x="271811" y="132052"/>
                    <a:pt x="284109" y="128576"/>
                  </a:cubicBezTo>
                  <a:cubicBezTo>
                    <a:pt x="294500" y="125634"/>
                    <a:pt x="302618" y="120353"/>
                    <a:pt x="313496" y="117579"/>
                  </a:cubicBezTo>
                  <a:cubicBezTo>
                    <a:pt x="326038" y="114237"/>
                    <a:pt x="332005" y="115741"/>
                    <a:pt x="343898" y="116476"/>
                  </a:cubicBezTo>
                  <a:cubicBezTo>
                    <a:pt x="362854" y="117713"/>
                    <a:pt x="355710" y="84156"/>
                    <a:pt x="350595" y="7917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53142BDC-0C8E-4314-B097-0FA236ACAA2D}"/>
                </a:ext>
              </a:extLst>
            </p:cNvPr>
            <p:cNvSpPr/>
            <p:nvPr/>
          </p:nvSpPr>
          <p:spPr>
            <a:xfrm>
              <a:off x="3602793" y="5220414"/>
              <a:ext cx="410442" cy="261113"/>
            </a:xfrm>
            <a:custGeom>
              <a:avLst/>
              <a:gdLst>
                <a:gd name="connsiteX0" fmla="*/ 402206 w 410442"/>
                <a:gd name="connsiteY0" fmla="*/ 240486 h 261113"/>
                <a:gd name="connsiteX1" fmla="*/ 402206 w 410442"/>
                <a:gd name="connsiteY1" fmla="*/ 232465 h 261113"/>
                <a:gd name="connsiteX2" fmla="*/ 410324 w 410442"/>
                <a:gd name="connsiteY2" fmla="*/ 218360 h 261113"/>
                <a:gd name="connsiteX3" fmla="*/ 397498 w 410442"/>
                <a:gd name="connsiteY3" fmla="*/ 205291 h 261113"/>
                <a:gd name="connsiteX4" fmla="*/ 395996 w 410442"/>
                <a:gd name="connsiteY4" fmla="*/ 188847 h 261113"/>
                <a:gd name="connsiteX5" fmla="*/ 390476 w 410442"/>
                <a:gd name="connsiteY5" fmla="*/ 170598 h 261113"/>
                <a:gd name="connsiteX6" fmla="*/ 389461 w 410442"/>
                <a:gd name="connsiteY6" fmla="*/ 153552 h 261113"/>
                <a:gd name="connsiteX7" fmla="*/ 368639 w 410442"/>
                <a:gd name="connsiteY7" fmla="*/ 135670 h 261113"/>
                <a:gd name="connsiteX8" fmla="*/ 353783 w 410442"/>
                <a:gd name="connsiteY8" fmla="*/ 131960 h 261113"/>
                <a:gd name="connsiteX9" fmla="*/ 333488 w 410442"/>
                <a:gd name="connsiteY9" fmla="*/ 139280 h 261113"/>
                <a:gd name="connsiteX10" fmla="*/ 321554 w 410442"/>
                <a:gd name="connsiteY10" fmla="*/ 122000 h 261113"/>
                <a:gd name="connsiteX11" fmla="*/ 307713 w 410442"/>
                <a:gd name="connsiteY11" fmla="*/ 127214 h 261113"/>
                <a:gd name="connsiteX12" fmla="*/ 273537 w 410442"/>
                <a:gd name="connsiteY12" fmla="*/ 133899 h 261113"/>
                <a:gd name="connsiteX13" fmla="*/ 251740 w 410442"/>
                <a:gd name="connsiteY13" fmla="*/ 131058 h 261113"/>
                <a:gd name="connsiteX14" fmla="*/ 243622 w 410442"/>
                <a:gd name="connsiteY14" fmla="*/ 122534 h 261113"/>
                <a:gd name="connsiteX15" fmla="*/ 222028 w 410442"/>
                <a:gd name="connsiteY15" fmla="*/ 112507 h 261113"/>
                <a:gd name="connsiteX16" fmla="*/ 222475 w 410442"/>
                <a:gd name="connsiteY16" fmla="*/ 90815 h 261113"/>
                <a:gd name="connsiteX17" fmla="*/ 227792 w 410442"/>
                <a:gd name="connsiteY17" fmla="*/ 68689 h 261113"/>
                <a:gd name="connsiteX18" fmla="*/ 252146 w 410442"/>
                <a:gd name="connsiteY18" fmla="*/ 43956 h 261113"/>
                <a:gd name="connsiteX19" fmla="*/ 275201 w 410442"/>
                <a:gd name="connsiteY19" fmla="*/ 31455 h 261113"/>
                <a:gd name="connsiteX20" fmla="*/ 296105 w 410442"/>
                <a:gd name="connsiteY20" fmla="*/ 24136 h 261113"/>
                <a:gd name="connsiteX21" fmla="*/ 276743 w 410442"/>
                <a:gd name="connsiteY21" fmla="*/ 16682 h 261113"/>
                <a:gd name="connsiteX22" fmla="*/ 278042 w 410442"/>
                <a:gd name="connsiteY22" fmla="*/ -30 h 261113"/>
                <a:gd name="connsiteX23" fmla="*/ 219837 w 410442"/>
                <a:gd name="connsiteY23" fmla="*/ 16014 h 261113"/>
                <a:gd name="connsiteX24" fmla="*/ 178151 w 410442"/>
                <a:gd name="connsiteY24" fmla="*/ 8126 h 261113"/>
                <a:gd name="connsiteX25" fmla="*/ 148804 w 410442"/>
                <a:gd name="connsiteY25" fmla="*/ 3346 h 261113"/>
                <a:gd name="connsiteX26" fmla="*/ 117226 w 410442"/>
                <a:gd name="connsiteY26" fmla="*/ 6688 h 261113"/>
                <a:gd name="connsiteX27" fmla="*/ 126399 w 410442"/>
                <a:gd name="connsiteY27" fmla="*/ 22598 h 261113"/>
                <a:gd name="connsiteX28" fmla="*/ 100909 w 410442"/>
                <a:gd name="connsiteY28" fmla="*/ 57593 h 261113"/>
                <a:gd name="connsiteX29" fmla="*/ 69939 w 410442"/>
                <a:gd name="connsiteY29" fmla="*/ 83128 h 261113"/>
                <a:gd name="connsiteX30" fmla="*/ 53703 w 410442"/>
                <a:gd name="connsiteY30" fmla="*/ 112140 h 261113"/>
                <a:gd name="connsiteX31" fmla="*/ 36980 w 410442"/>
                <a:gd name="connsiteY31" fmla="*/ 112775 h 261113"/>
                <a:gd name="connsiteX32" fmla="*/ 21961 w 410442"/>
                <a:gd name="connsiteY32" fmla="*/ 109433 h 261113"/>
                <a:gd name="connsiteX33" fmla="*/ 10150 w 410442"/>
                <a:gd name="connsiteY33" fmla="*/ 102982 h 261113"/>
                <a:gd name="connsiteX34" fmla="*/ 408 w 410442"/>
                <a:gd name="connsiteY34" fmla="*/ 123871 h 261113"/>
                <a:gd name="connsiteX35" fmla="*/ 19120 w 410442"/>
                <a:gd name="connsiteY35" fmla="*/ 142522 h 261113"/>
                <a:gd name="connsiteX36" fmla="*/ 49928 w 410442"/>
                <a:gd name="connsiteY36" fmla="*/ 150243 h 261113"/>
                <a:gd name="connsiteX37" fmla="*/ 93724 w 410442"/>
                <a:gd name="connsiteY37" fmla="*/ 165684 h 261113"/>
                <a:gd name="connsiteX38" fmla="*/ 128428 w 410442"/>
                <a:gd name="connsiteY38" fmla="*/ 188814 h 261113"/>
                <a:gd name="connsiteX39" fmla="*/ 171007 w 410442"/>
                <a:gd name="connsiteY39" fmla="*/ 211675 h 261113"/>
                <a:gd name="connsiteX40" fmla="*/ 204169 w 410442"/>
                <a:gd name="connsiteY40" fmla="*/ 232765 h 261113"/>
                <a:gd name="connsiteX41" fmla="*/ 240943 w 410442"/>
                <a:gd name="connsiteY41" fmla="*/ 244765 h 261113"/>
                <a:gd name="connsiteX42" fmla="*/ 305034 w 410442"/>
                <a:gd name="connsiteY42" fmla="*/ 246904 h 261113"/>
                <a:gd name="connsiteX43" fmla="*/ 351916 w 410442"/>
                <a:gd name="connsiteY43" fmla="*/ 251249 h 261113"/>
                <a:gd name="connsiteX44" fmla="*/ 374037 w 410442"/>
                <a:gd name="connsiteY44" fmla="*/ 257198 h 261113"/>
                <a:gd name="connsiteX45" fmla="*/ 393317 w 410442"/>
                <a:gd name="connsiteY45" fmla="*/ 260774 h 261113"/>
                <a:gd name="connsiteX46" fmla="*/ 402409 w 410442"/>
                <a:gd name="connsiteY46" fmla="*/ 240720 h 26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10442" h="261113">
                  <a:moveTo>
                    <a:pt x="402206" y="240486"/>
                  </a:moveTo>
                  <a:cubicBezTo>
                    <a:pt x="403302" y="237879"/>
                    <a:pt x="398147" y="235439"/>
                    <a:pt x="402206" y="232465"/>
                  </a:cubicBezTo>
                  <a:cubicBezTo>
                    <a:pt x="406687" y="228621"/>
                    <a:pt x="409537" y="223674"/>
                    <a:pt x="410324" y="218360"/>
                  </a:cubicBezTo>
                  <a:cubicBezTo>
                    <a:pt x="411501" y="210706"/>
                    <a:pt x="394657" y="215619"/>
                    <a:pt x="397498" y="205291"/>
                  </a:cubicBezTo>
                  <a:cubicBezTo>
                    <a:pt x="399487" y="198205"/>
                    <a:pt x="393926" y="195264"/>
                    <a:pt x="395996" y="188847"/>
                  </a:cubicBezTo>
                  <a:cubicBezTo>
                    <a:pt x="398675" y="180792"/>
                    <a:pt x="394900" y="177282"/>
                    <a:pt x="390476" y="170598"/>
                  </a:cubicBezTo>
                  <a:cubicBezTo>
                    <a:pt x="385646" y="163245"/>
                    <a:pt x="384347" y="161239"/>
                    <a:pt x="389461" y="153552"/>
                  </a:cubicBezTo>
                  <a:cubicBezTo>
                    <a:pt x="394088" y="146633"/>
                    <a:pt x="374037" y="138979"/>
                    <a:pt x="368639" y="135670"/>
                  </a:cubicBezTo>
                  <a:cubicBezTo>
                    <a:pt x="363240" y="132361"/>
                    <a:pt x="363118" y="129520"/>
                    <a:pt x="353783" y="131960"/>
                  </a:cubicBezTo>
                  <a:cubicBezTo>
                    <a:pt x="349074" y="133197"/>
                    <a:pt x="337912" y="139280"/>
                    <a:pt x="333488" y="139280"/>
                  </a:cubicBezTo>
                  <a:cubicBezTo>
                    <a:pt x="325613" y="139280"/>
                    <a:pt x="323016" y="125710"/>
                    <a:pt x="321554" y="122000"/>
                  </a:cubicBezTo>
                  <a:cubicBezTo>
                    <a:pt x="316806" y="110101"/>
                    <a:pt x="312665" y="123470"/>
                    <a:pt x="307713" y="127214"/>
                  </a:cubicBezTo>
                  <a:cubicBezTo>
                    <a:pt x="301706" y="131692"/>
                    <a:pt x="279300" y="138778"/>
                    <a:pt x="273537" y="133899"/>
                  </a:cubicBezTo>
                  <a:cubicBezTo>
                    <a:pt x="266312" y="127749"/>
                    <a:pt x="258600" y="135670"/>
                    <a:pt x="251740" y="131058"/>
                  </a:cubicBezTo>
                  <a:cubicBezTo>
                    <a:pt x="247965" y="128517"/>
                    <a:pt x="248371" y="124874"/>
                    <a:pt x="243622" y="122534"/>
                  </a:cubicBezTo>
                  <a:cubicBezTo>
                    <a:pt x="236600" y="119192"/>
                    <a:pt x="228157" y="116786"/>
                    <a:pt x="222028" y="112507"/>
                  </a:cubicBezTo>
                  <a:cubicBezTo>
                    <a:pt x="215899" y="108229"/>
                    <a:pt x="216143" y="95796"/>
                    <a:pt x="222475" y="90815"/>
                  </a:cubicBezTo>
                  <a:cubicBezTo>
                    <a:pt x="228807" y="85835"/>
                    <a:pt x="226534" y="75608"/>
                    <a:pt x="227792" y="68689"/>
                  </a:cubicBezTo>
                  <a:cubicBezTo>
                    <a:pt x="229740" y="58662"/>
                    <a:pt x="238833" y="51977"/>
                    <a:pt x="252146" y="43956"/>
                  </a:cubicBezTo>
                  <a:cubicBezTo>
                    <a:pt x="259533" y="39443"/>
                    <a:pt x="269640" y="37271"/>
                    <a:pt x="275201" y="31455"/>
                  </a:cubicBezTo>
                  <a:cubicBezTo>
                    <a:pt x="280762" y="25639"/>
                    <a:pt x="287946" y="27010"/>
                    <a:pt x="296105" y="24136"/>
                  </a:cubicBezTo>
                  <a:cubicBezTo>
                    <a:pt x="289691" y="21562"/>
                    <a:pt x="273009" y="24871"/>
                    <a:pt x="276743" y="16682"/>
                  </a:cubicBezTo>
                  <a:cubicBezTo>
                    <a:pt x="279544" y="10632"/>
                    <a:pt x="291518" y="1474"/>
                    <a:pt x="278042" y="-30"/>
                  </a:cubicBezTo>
                  <a:cubicBezTo>
                    <a:pt x="255556" y="-2336"/>
                    <a:pt x="239522" y="8794"/>
                    <a:pt x="219837" y="16014"/>
                  </a:cubicBezTo>
                  <a:cubicBezTo>
                    <a:pt x="196173" y="24737"/>
                    <a:pt x="193453" y="14209"/>
                    <a:pt x="178151" y="8126"/>
                  </a:cubicBezTo>
                  <a:cubicBezTo>
                    <a:pt x="167638" y="3948"/>
                    <a:pt x="157369" y="10098"/>
                    <a:pt x="148804" y="3346"/>
                  </a:cubicBezTo>
                  <a:cubicBezTo>
                    <a:pt x="140240" y="-3405"/>
                    <a:pt x="129606" y="806"/>
                    <a:pt x="117226" y="6688"/>
                  </a:cubicBezTo>
                  <a:cubicBezTo>
                    <a:pt x="134395" y="11301"/>
                    <a:pt x="125831" y="12972"/>
                    <a:pt x="126399" y="22598"/>
                  </a:cubicBezTo>
                  <a:cubicBezTo>
                    <a:pt x="127129" y="34731"/>
                    <a:pt x="114912" y="48167"/>
                    <a:pt x="100909" y="57593"/>
                  </a:cubicBezTo>
                  <a:cubicBezTo>
                    <a:pt x="87960" y="66316"/>
                    <a:pt x="72942" y="70962"/>
                    <a:pt x="69939" y="83128"/>
                  </a:cubicBezTo>
                  <a:cubicBezTo>
                    <a:pt x="68356" y="89579"/>
                    <a:pt x="72212" y="117254"/>
                    <a:pt x="53703" y="112140"/>
                  </a:cubicBezTo>
                  <a:cubicBezTo>
                    <a:pt x="46924" y="110268"/>
                    <a:pt x="44407" y="109232"/>
                    <a:pt x="36980" y="112775"/>
                  </a:cubicBezTo>
                  <a:cubicBezTo>
                    <a:pt x="31500" y="115382"/>
                    <a:pt x="18633" y="114947"/>
                    <a:pt x="21961" y="109433"/>
                  </a:cubicBezTo>
                  <a:cubicBezTo>
                    <a:pt x="25290" y="103918"/>
                    <a:pt x="18390" y="95595"/>
                    <a:pt x="10150" y="102982"/>
                  </a:cubicBezTo>
                  <a:cubicBezTo>
                    <a:pt x="4345" y="108196"/>
                    <a:pt x="-1824" y="118256"/>
                    <a:pt x="408" y="123871"/>
                  </a:cubicBezTo>
                  <a:cubicBezTo>
                    <a:pt x="1870" y="127514"/>
                    <a:pt x="25452" y="140182"/>
                    <a:pt x="19120" y="142522"/>
                  </a:cubicBezTo>
                  <a:cubicBezTo>
                    <a:pt x="2316" y="148739"/>
                    <a:pt x="46762" y="149875"/>
                    <a:pt x="49928" y="150243"/>
                  </a:cubicBezTo>
                  <a:cubicBezTo>
                    <a:pt x="64499" y="151613"/>
                    <a:pt x="82400" y="160270"/>
                    <a:pt x="93724" y="165684"/>
                  </a:cubicBezTo>
                  <a:cubicBezTo>
                    <a:pt x="106956" y="171834"/>
                    <a:pt x="116576" y="181527"/>
                    <a:pt x="128428" y="188814"/>
                  </a:cubicBezTo>
                  <a:cubicBezTo>
                    <a:pt x="141868" y="197336"/>
                    <a:pt x="156102" y="204991"/>
                    <a:pt x="171007" y="211675"/>
                  </a:cubicBezTo>
                  <a:cubicBezTo>
                    <a:pt x="185863" y="218093"/>
                    <a:pt x="199420" y="220833"/>
                    <a:pt x="204169" y="232765"/>
                  </a:cubicBezTo>
                  <a:cubicBezTo>
                    <a:pt x="207781" y="242057"/>
                    <a:pt x="228523" y="243060"/>
                    <a:pt x="240943" y="244765"/>
                  </a:cubicBezTo>
                  <a:cubicBezTo>
                    <a:pt x="261238" y="247572"/>
                    <a:pt x="283806" y="246269"/>
                    <a:pt x="305034" y="246904"/>
                  </a:cubicBezTo>
                  <a:cubicBezTo>
                    <a:pt x="320256" y="247338"/>
                    <a:pt x="338602" y="247071"/>
                    <a:pt x="351916" y="251249"/>
                  </a:cubicBezTo>
                  <a:cubicBezTo>
                    <a:pt x="358921" y="254057"/>
                    <a:pt x="366366" y="256062"/>
                    <a:pt x="374037" y="257198"/>
                  </a:cubicBezTo>
                  <a:cubicBezTo>
                    <a:pt x="379720" y="257733"/>
                    <a:pt x="391328" y="256396"/>
                    <a:pt x="393317" y="260774"/>
                  </a:cubicBezTo>
                  <a:cubicBezTo>
                    <a:pt x="400989" y="252485"/>
                    <a:pt x="399121" y="249143"/>
                    <a:pt x="402409" y="2407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26E59EFE-0851-4931-963E-5DCC725988AC}"/>
                </a:ext>
              </a:extLst>
            </p:cNvPr>
            <p:cNvSpPr/>
            <p:nvPr/>
          </p:nvSpPr>
          <p:spPr>
            <a:xfrm>
              <a:off x="3710698" y="4942907"/>
              <a:ext cx="383698" cy="192895"/>
            </a:xfrm>
            <a:custGeom>
              <a:avLst/>
              <a:gdLst>
                <a:gd name="connsiteX0" fmla="*/ 17844 w 383698"/>
                <a:gd name="connsiteY0" fmla="*/ 66775 h 192895"/>
                <a:gd name="connsiteX1" fmla="*/ 3678 w 383698"/>
                <a:gd name="connsiteY1" fmla="*/ 84756 h 192895"/>
                <a:gd name="connsiteX2" fmla="*/ 4530 w 383698"/>
                <a:gd name="connsiteY2" fmla="*/ 102437 h 192895"/>
                <a:gd name="connsiteX3" fmla="*/ 8589 w 383698"/>
                <a:gd name="connsiteY3" fmla="*/ 112063 h 192895"/>
                <a:gd name="connsiteX4" fmla="*/ 27829 w 383698"/>
                <a:gd name="connsiteY4" fmla="*/ 116342 h 192895"/>
                <a:gd name="connsiteX5" fmla="*/ 46460 w 383698"/>
                <a:gd name="connsiteY5" fmla="*/ 137365 h 192895"/>
                <a:gd name="connsiteX6" fmla="*/ 100282 w 383698"/>
                <a:gd name="connsiteY6" fmla="*/ 123060 h 192895"/>
                <a:gd name="connsiteX7" fmla="*/ 129466 w 383698"/>
                <a:gd name="connsiteY7" fmla="*/ 127238 h 192895"/>
                <a:gd name="connsiteX8" fmla="*/ 162140 w 383698"/>
                <a:gd name="connsiteY8" fmla="*/ 118715 h 192895"/>
                <a:gd name="connsiteX9" fmla="*/ 182841 w 383698"/>
                <a:gd name="connsiteY9" fmla="*/ 129176 h 192895"/>
                <a:gd name="connsiteX10" fmla="*/ 186900 w 383698"/>
                <a:gd name="connsiteY10" fmla="*/ 146423 h 192895"/>
                <a:gd name="connsiteX11" fmla="*/ 207804 w 383698"/>
                <a:gd name="connsiteY11" fmla="*/ 155615 h 192895"/>
                <a:gd name="connsiteX12" fmla="*/ 211376 w 383698"/>
                <a:gd name="connsiteY12" fmla="*/ 171424 h 192895"/>
                <a:gd name="connsiteX13" fmla="*/ 216531 w 383698"/>
                <a:gd name="connsiteY13" fmla="*/ 180649 h 192895"/>
                <a:gd name="connsiteX14" fmla="*/ 250180 w 383698"/>
                <a:gd name="connsiteY14" fmla="*/ 192046 h 192895"/>
                <a:gd name="connsiteX15" fmla="*/ 261748 w 383698"/>
                <a:gd name="connsiteY15" fmla="*/ 190275 h 192895"/>
                <a:gd name="connsiteX16" fmla="*/ 281109 w 383698"/>
                <a:gd name="connsiteY16" fmla="*/ 183590 h 192895"/>
                <a:gd name="connsiteX17" fmla="*/ 307492 w 383698"/>
                <a:gd name="connsiteY17" fmla="*/ 163536 h 192895"/>
                <a:gd name="connsiteX18" fmla="*/ 324581 w 383698"/>
                <a:gd name="connsiteY18" fmla="*/ 143916 h 192895"/>
                <a:gd name="connsiteX19" fmla="*/ 307208 w 383698"/>
                <a:gd name="connsiteY19" fmla="*/ 147259 h 192895"/>
                <a:gd name="connsiteX20" fmla="*/ 292352 w 383698"/>
                <a:gd name="connsiteY20" fmla="*/ 133889 h 192895"/>
                <a:gd name="connsiteX21" fmla="*/ 275264 w 383698"/>
                <a:gd name="connsiteY21" fmla="*/ 126068 h 192895"/>
                <a:gd name="connsiteX22" fmla="*/ 299131 w 383698"/>
                <a:gd name="connsiteY22" fmla="*/ 120887 h 192895"/>
                <a:gd name="connsiteX23" fmla="*/ 324459 w 383698"/>
                <a:gd name="connsiteY23" fmla="*/ 121155 h 192895"/>
                <a:gd name="connsiteX24" fmla="*/ 338097 w 383698"/>
                <a:gd name="connsiteY24" fmla="*/ 108320 h 192895"/>
                <a:gd name="connsiteX25" fmla="*/ 366510 w 383698"/>
                <a:gd name="connsiteY25" fmla="*/ 96221 h 192895"/>
                <a:gd name="connsiteX26" fmla="*/ 374019 w 383698"/>
                <a:gd name="connsiteY26" fmla="*/ 76869 h 192895"/>
                <a:gd name="connsiteX27" fmla="*/ 360503 w 383698"/>
                <a:gd name="connsiteY27" fmla="*/ 65872 h 192895"/>
                <a:gd name="connsiteX28" fmla="*/ 370244 w 383698"/>
                <a:gd name="connsiteY28" fmla="*/ 52001 h 192895"/>
                <a:gd name="connsiteX29" fmla="*/ 367809 w 383698"/>
                <a:gd name="connsiteY29" fmla="*/ 40972 h 192895"/>
                <a:gd name="connsiteX30" fmla="*/ 383639 w 383698"/>
                <a:gd name="connsiteY30" fmla="*/ 18076 h 192895"/>
                <a:gd name="connsiteX31" fmla="*/ 339518 w 383698"/>
                <a:gd name="connsiteY31" fmla="*/ 26666 h 192895"/>
                <a:gd name="connsiteX32" fmla="*/ 340492 w 383698"/>
                <a:gd name="connsiteY32" fmla="*/ 8384 h 192895"/>
                <a:gd name="connsiteX33" fmla="*/ 299902 w 383698"/>
                <a:gd name="connsiteY33" fmla="*/ 12896 h 192895"/>
                <a:gd name="connsiteX34" fmla="*/ 303230 w 383698"/>
                <a:gd name="connsiteY34" fmla="*/ 730 h 192895"/>
                <a:gd name="connsiteX35" fmla="*/ 236338 w 383698"/>
                <a:gd name="connsiteY35" fmla="*/ 24561 h 192895"/>
                <a:gd name="connsiteX36" fmla="*/ 182963 w 383698"/>
                <a:gd name="connsiteY36" fmla="*/ 33852 h 192895"/>
                <a:gd name="connsiteX37" fmla="*/ 132307 w 383698"/>
                <a:gd name="connsiteY37" fmla="*/ 43879 h 192895"/>
                <a:gd name="connsiteX38" fmla="*/ 112459 w 383698"/>
                <a:gd name="connsiteY38" fmla="*/ 35858 h 192895"/>
                <a:gd name="connsiteX39" fmla="*/ 86035 w 383698"/>
                <a:gd name="connsiteY39" fmla="*/ 35557 h 192895"/>
                <a:gd name="connsiteX40" fmla="*/ 74710 w 383698"/>
                <a:gd name="connsiteY40" fmla="*/ 41740 h 192895"/>
                <a:gd name="connsiteX41" fmla="*/ 63142 w 383698"/>
                <a:gd name="connsiteY41" fmla="*/ 55110 h 192895"/>
                <a:gd name="connsiteX42" fmla="*/ 57865 w 383698"/>
                <a:gd name="connsiteY42" fmla="*/ 84589 h 192895"/>
                <a:gd name="connsiteX43" fmla="*/ 28925 w 383698"/>
                <a:gd name="connsiteY43" fmla="*/ 94015 h 192895"/>
                <a:gd name="connsiteX44" fmla="*/ 33390 w 383698"/>
                <a:gd name="connsiteY44" fmla="*/ 77971 h 192895"/>
                <a:gd name="connsiteX45" fmla="*/ 24947 w 383698"/>
                <a:gd name="connsiteY45" fmla="*/ 61494 h 192895"/>
                <a:gd name="connsiteX46" fmla="*/ 17966 w 383698"/>
                <a:gd name="connsiteY46" fmla="*/ 67176 h 192895"/>
                <a:gd name="connsiteX47" fmla="*/ 17844 w 383698"/>
                <a:gd name="connsiteY47" fmla="*/ 66775 h 1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3698" h="192895">
                  <a:moveTo>
                    <a:pt x="17844" y="66775"/>
                  </a:moveTo>
                  <a:cubicBezTo>
                    <a:pt x="14150" y="72958"/>
                    <a:pt x="7575" y="78606"/>
                    <a:pt x="3678" y="84756"/>
                  </a:cubicBezTo>
                  <a:cubicBezTo>
                    <a:pt x="-787" y="91809"/>
                    <a:pt x="6032" y="95887"/>
                    <a:pt x="4530" y="102437"/>
                  </a:cubicBezTo>
                  <a:cubicBezTo>
                    <a:pt x="3029" y="108989"/>
                    <a:pt x="-7078" y="116041"/>
                    <a:pt x="8589" y="112063"/>
                  </a:cubicBezTo>
                  <a:cubicBezTo>
                    <a:pt x="14272" y="110626"/>
                    <a:pt x="22227" y="115406"/>
                    <a:pt x="27829" y="116342"/>
                  </a:cubicBezTo>
                  <a:cubicBezTo>
                    <a:pt x="40696" y="118615"/>
                    <a:pt x="32659" y="134090"/>
                    <a:pt x="46460" y="137365"/>
                  </a:cubicBezTo>
                  <a:cubicBezTo>
                    <a:pt x="63223" y="141343"/>
                    <a:pt x="82990" y="123996"/>
                    <a:pt x="100282" y="123060"/>
                  </a:cubicBezTo>
                  <a:cubicBezTo>
                    <a:pt x="110876" y="122525"/>
                    <a:pt x="118425" y="127606"/>
                    <a:pt x="129466" y="127238"/>
                  </a:cubicBezTo>
                  <a:cubicBezTo>
                    <a:pt x="141318" y="126837"/>
                    <a:pt x="151303" y="122525"/>
                    <a:pt x="162140" y="118715"/>
                  </a:cubicBezTo>
                  <a:cubicBezTo>
                    <a:pt x="188402" y="109490"/>
                    <a:pt x="183653" y="115974"/>
                    <a:pt x="182841" y="129176"/>
                  </a:cubicBezTo>
                  <a:cubicBezTo>
                    <a:pt x="182042" y="135133"/>
                    <a:pt x="183458" y="141145"/>
                    <a:pt x="186900" y="146423"/>
                  </a:cubicBezTo>
                  <a:cubicBezTo>
                    <a:pt x="190959" y="151704"/>
                    <a:pt x="204394" y="150233"/>
                    <a:pt x="207804" y="155615"/>
                  </a:cubicBezTo>
                  <a:cubicBezTo>
                    <a:pt x="211213" y="160996"/>
                    <a:pt x="196967" y="169318"/>
                    <a:pt x="211376" y="171424"/>
                  </a:cubicBezTo>
                  <a:cubicBezTo>
                    <a:pt x="218033" y="172393"/>
                    <a:pt x="222863" y="176571"/>
                    <a:pt x="216531" y="180649"/>
                  </a:cubicBezTo>
                  <a:cubicBezTo>
                    <a:pt x="228708" y="183657"/>
                    <a:pt x="236826" y="189907"/>
                    <a:pt x="250180" y="192046"/>
                  </a:cubicBezTo>
                  <a:cubicBezTo>
                    <a:pt x="254149" y="193132"/>
                    <a:pt x="258517" y="192461"/>
                    <a:pt x="261748" y="190275"/>
                  </a:cubicBezTo>
                  <a:cubicBezTo>
                    <a:pt x="269338" y="184760"/>
                    <a:pt x="273925" y="187300"/>
                    <a:pt x="281109" y="183590"/>
                  </a:cubicBezTo>
                  <a:cubicBezTo>
                    <a:pt x="284437" y="181752"/>
                    <a:pt x="307289" y="165976"/>
                    <a:pt x="307492" y="163536"/>
                  </a:cubicBezTo>
                  <a:cubicBezTo>
                    <a:pt x="308061" y="156350"/>
                    <a:pt x="327787" y="148562"/>
                    <a:pt x="324581" y="143916"/>
                  </a:cubicBezTo>
                  <a:cubicBezTo>
                    <a:pt x="321212" y="138702"/>
                    <a:pt x="311795" y="149297"/>
                    <a:pt x="307208" y="147259"/>
                  </a:cubicBezTo>
                  <a:cubicBezTo>
                    <a:pt x="301047" y="143829"/>
                    <a:pt x="295957" y="139247"/>
                    <a:pt x="292352" y="133889"/>
                  </a:cubicBezTo>
                  <a:cubicBezTo>
                    <a:pt x="290891" y="131249"/>
                    <a:pt x="275386" y="125934"/>
                    <a:pt x="275264" y="126068"/>
                  </a:cubicBezTo>
                  <a:cubicBezTo>
                    <a:pt x="279729" y="120219"/>
                    <a:pt x="292596" y="121455"/>
                    <a:pt x="299131" y="120887"/>
                  </a:cubicBezTo>
                  <a:cubicBezTo>
                    <a:pt x="312444" y="119718"/>
                    <a:pt x="313662" y="118113"/>
                    <a:pt x="324459" y="121155"/>
                  </a:cubicBezTo>
                  <a:cubicBezTo>
                    <a:pt x="333348" y="123662"/>
                    <a:pt x="331278" y="111595"/>
                    <a:pt x="338097" y="108320"/>
                  </a:cubicBezTo>
                  <a:cubicBezTo>
                    <a:pt x="348082" y="103507"/>
                    <a:pt x="356890" y="102437"/>
                    <a:pt x="366510" y="96221"/>
                  </a:cubicBezTo>
                  <a:cubicBezTo>
                    <a:pt x="379052" y="88132"/>
                    <a:pt x="389849" y="83018"/>
                    <a:pt x="374019" y="76869"/>
                  </a:cubicBezTo>
                  <a:cubicBezTo>
                    <a:pt x="364643" y="73259"/>
                    <a:pt x="357336" y="73760"/>
                    <a:pt x="360503" y="65872"/>
                  </a:cubicBezTo>
                  <a:cubicBezTo>
                    <a:pt x="363344" y="58786"/>
                    <a:pt x="354455" y="56948"/>
                    <a:pt x="370244" y="52001"/>
                  </a:cubicBezTo>
                  <a:cubicBezTo>
                    <a:pt x="388753" y="46186"/>
                    <a:pt x="370244" y="44414"/>
                    <a:pt x="367809" y="40972"/>
                  </a:cubicBezTo>
                  <a:cubicBezTo>
                    <a:pt x="364237" y="35958"/>
                    <a:pt x="381244" y="23859"/>
                    <a:pt x="383639" y="18076"/>
                  </a:cubicBezTo>
                  <a:cubicBezTo>
                    <a:pt x="372680" y="18411"/>
                    <a:pt x="347798" y="28103"/>
                    <a:pt x="339518" y="26666"/>
                  </a:cubicBezTo>
                  <a:cubicBezTo>
                    <a:pt x="334363" y="25764"/>
                    <a:pt x="352628" y="10489"/>
                    <a:pt x="340492" y="8384"/>
                  </a:cubicBezTo>
                  <a:cubicBezTo>
                    <a:pt x="328356" y="6278"/>
                    <a:pt x="312444" y="11124"/>
                    <a:pt x="299902" y="12896"/>
                  </a:cubicBezTo>
                  <a:cubicBezTo>
                    <a:pt x="278633" y="15870"/>
                    <a:pt x="301038" y="-73"/>
                    <a:pt x="303230" y="730"/>
                  </a:cubicBezTo>
                  <a:cubicBezTo>
                    <a:pt x="286223" y="-5487"/>
                    <a:pt x="248515" y="17141"/>
                    <a:pt x="236338" y="24561"/>
                  </a:cubicBezTo>
                  <a:cubicBezTo>
                    <a:pt x="215151" y="37295"/>
                    <a:pt x="207439" y="32415"/>
                    <a:pt x="182963" y="33852"/>
                  </a:cubicBezTo>
                  <a:cubicBezTo>
                    <a:pt x="172572" y="34454"/>
                    <a:pt x="136325" y="55845"/>
                    <a:pt x="132307" y="43879"/>
                  </a:cubicBezTo>
                  <a:cubicBezTo>
                    <a:pt x="130359" y="38097"/>
                    <a:pt x="123215" y="33852"/>
                    <a:pt x="112459" y="35858"/>
                  </a:cubicBezTo>
                  <a:cubicBezTo>
                    <a:pt x="97887" y="38431"/>
                    <a:pt x="97725" y="38966"/>
                    <a:pt x="86035" y="35557"/>
                  </a:cubicBezTo>
                  <a:cubicBezTo>
                    <a:pt x="79621" y="33685"/>
                    <a:pt x="71706" y="37328"/>
                    <a:pt x="74710" y="41740"/>
                  </a:cubicBezTo>
                  <a:cubicBezTo>
                    <a:pt x="78769" y="47890"/>
                    <a:pt x="71382" y="50397"/>
                    <a:pt x="63142" y="55110"/>
                  </a:cubicBezTo>
                  <a:cubicBezTo>
                    <a:pt x="38788" y="69014"/>
                    <a:pt x="42563" y="73225"/>
                    <a:pt x="57865" y="84589"/>
                  </a:cubicBezTo>
                  <a:cubicBezTo>
                    <a:pt x="75725" y="97959"/>
                    <a:pt x="34486" y="105513"/>
                    <a:pt x="28925" y="94015"/>
                  </a:cubicBezTo>
                  <a:cubicBezTo>
                    <a:pt x="26652" y="89335"/>
                    <a:pt x="31198" y="82985"/>
                    <a:pt x="33390" y="77971"/>
                  </a:cubicBezTo>
                  <a:cubicBezTo>
                    <a:pt x="37043" y="69649"/>
                    <a:pt x="23648" y="69248"/>
                    <a:pt x="24947" y="61494"/>
                  </a:cubicBezTo>
                  <a:cubicBezTo>
                    <a:pt x="22065" y="62861"/>
                    <a:pt x="19658" y="64816"/>
                    <a:pt x="17966" y="67176"/>
                  </a:cubicBezTo>
                  <a:cubicBezTo>
                    <a:pt x="12689" y="75398"/>
                    <a:pt x="19102" y="64602"/>
                    <a:pt x="17844" y="6677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D1A6212D-91AD-4EC4-A852-27D7F23AA5C1}"/>
                </a:ext>
              </a:extLst>
            </p:cNvPr>
            <p:cNvSpPr/>
            <p:nvPr/>
          </p:nvSpPr>
          <p:spPr>
            <a:xfrm>
              <a:off x="4173001" y="4963782"/>
              <a:ext cx="110992" cy="82837"/>
            </a:xfrm>
            <a:custGeom>
              <a:avLst/>
              <a:gdLst>
                <a:gd name="connsiteX0" fmla="*/ 14612 w 110992"/>
                <a:gd name="connsiteY0" fmla="*/ 29189 h 82837"/>
                <a:gd name="connsiteX1" fmla="*/ 4586 w 110992"/>
                <a:gd name="connsiteY1" fmla="*/ 40018 h 82837"/>
                <a:gd name="connsiteX2" fmla="*/ 162 w 110992"/>
                <a:gd name="connsiteY2" fmla="*/ 54290 h 82837"/>
                <a:gd name="connsiteX3" fmla="*/ 27844 w 110992"/>
                <a:gd name="connsiteY3" fmla="*/ 68160 h 82837"/>
                <a:gd name="connsiteX4" fmla="*/ 50696 w 110992"/>
                <a:gd name="connsiteY4" fmla="*/ 82499 h 82837"/>
                <a:gd name="connsiteX5" fmla="*/ 66932 w 110992"/>
                <a:gd name="connsiteY5" fmla="*/ 72472 h 82837"/>
                <a:gd name="connsiteX6" fmla="*/ 106426 w 110992"/>
                <a:gd name="connsiteY6" fmla="*/ 61409 h 82837"/>
                <a:gd name="connsiteX7" fmla="*/ 104234 w 110992"/>
                <a:gd name="connsiteY7" fmla="*/ 33634 h 82837"/>
                <a:gd name="connsiteX8" fmla="*/ 101190 w 110992"/>
                <a:gd name="connsiteY8" fmla="*/ 5023 h 82837"/>
                <a:gd name="connsiteX9" fmla="*/ 46678 w 110992"/>
                <a:gd name="connsiteY9" fmla="*/ 12477 h 82837"/>
                <a:gd name="connsiteX10" fmla="*/ 21309 w 110992"/>
                <a:gd name="connsiteY10" fmla="*/ 13513 h 82837"/>
                <a:gd name="connsiteX11" fmla="*/ 14734 w 110992"/>
                <a:gd name="connsiteY11" fmla="*/ 29356 h 82837"/>
                <a:gd name="connsiteX12" fmla="*/ 14612 w 110992"/>
                <a:gd name="connsiteY12" fmla="*/ 29189 h 8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992" h="82837">
                  <a:moveTo>
                    <a:pt x="14612" y="29189"/>
                  </a:moveTo>
                  <a:cubicBezTo>
                    <a:pt x="20741" y="33199"/>
                    <a:pt x="10553" y="38046"/>
                    <a:pt x="4586" y="40018"/>
                  </a:cubicBezTo>
                  <a:cubicBezTo>
                    <a:pt x="-2598" y="42424"/>
                    <a:pt x="892" y="50847"/>
                    <a:pt x="162" y="54290"/>
                  </a:cubicBezTo>
                  <a:cubicBezTo>
                    <a:pt x="-1989" y="64317"/>
                    <a:pt x="20132" y="61442"/>
                    <a:pt x="27844" y="68160"/>
                  </a:cubicBezTo>
                  <a:cubicBezTo>
                    <a:pt x="34866" y="73559"/>
                    <a:pt x="42497" y="78361"/>
                    <a:pt x="50696" y="82499"/>
                  </a:cubicBezTo>
                  <a:cubicBezTo>
                    <a:pt x="62426" y="81497"/>
                    <a:pt x="67460" y="79591"/>
                    <a:pt x="66932" y="72472"/>
                  </a:cubicBezTo>
                  <a:cubicBezTo>
                    <a:pt x="66161" y="64083"/>
                    <a:pt x="97902" y="58334"/>
                    <a:pt x="106426" y="61409"/>
                  </a:cubicBezTo>
                  <a:cubicBezTo>
                    <a:pt x="113002" y="50446"/>
                    <a:pt x="112474" y="43026"/>
                    <a:pt x="104234" y="33634"/>
                  </a:cubicBezTo>
                  <a:cubicBezTo>
                    <a:pt x="94452" y="22470"/>
                    <a:pt x="98836" y="17490"/>
                    <a:pt x="101190" y="5023"/>
                  </a:cubicBezTo>
                  <a:cubicBezTo>
                    <a:pt x="103910" y="-9616"/>
                    <a:pt x="56988" y="10104"/>
                    <a:pt x="46678" y="12477"/>
                  </a:cubicBezTo>
                  <a:cubicBezTo>
                    <a:pt x="36368" y="14850"/>
                    <a:pt x="31538" y="7664"/>
                    <a:pt x="21309" y="13513"/>
                  </a:cubicBezTo>
                  <a:cubicBezTo>
                    <a:pt x="14531" y="17390"/>
                    <a:pt x="8077" y="24977"/>
                    <a:pt x="14734" y="29356"/>
                  </a:cubicBezTo>
                  <a:cubicBezTo>
                    <a:pt x="20295" y="32765"/>
                    <a:pt x="11771" y="27183"/>
                    <a:pt x="14612" y="2918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F65CCC6-55EB-4830-8775-C894944278D9}"/>
                </a:ext>
              </a:extLst>
            </p:cNvPr>
            <p:cNvSpPr/>
            <p:nvPr/>
          </p:nvSpPr>
          <p:spPr>
            <a:xfrm>
              <a:off x="4068620" y="4960888"/>
              <a:ext cx="155136" cy="111681"/>
            </a:xfrm>
            <a:custGeom>
              <a:avLst/>
              <a:gdLst>
                <a:gd name="connsiteX0" fmla="*/ 18411 w 155136"/>
                <a:gd name="connsiteY0" fmla="*/ 10056 h 111681"/>
                <a:gd name="connsiteX1" fmla="*/ 16950 w 155136"/>
                <a:gd name="connsiteY1" fmla="*/ 24562 h 111681"/>
                <a:gd name="connsiteX2" fmla="*/ 2500 w 155136"/>
                <a:gd name="connsiteY2" fmla="*/ 37932 h 111681"/>
                <a:gd name="connsiteX3" fmla="*/ 65 w 155136"/>
                <a:gd name="connsiteY3" fmla="*/ 52437 h 111681"/>
                <a:gd name="connsiteX4" fmla="*/ 25798 w 155136"/>
                <a:gd name="connsiteY4" fmla="*/ 62465 h 111681"/>
                <a:gd name="connsiteX5" fmla="*/ 42805 w 155136"/>
                <a:gd name="connsiteY5" fmla="*/ 59790 h 111681"/>
                <a:gd name="connsiteX6" fmla="*/ 55551 w 155136"/>
                <a:gd name="connsiteY6" fmla="*/ 67812 h 111681"/>
                <a:gd name="connsiteX7" fmla="*/ 60990 w 155136"/>
                <a:gd name="connsiteY7" fmla="*/ 77401 h 111681"/>
                <a:gd name="connsiteX8" fmla="*/ 58838 w 155136"/>
                <a:gd name="connsiteY8" fmla="*/ 80179 h 111681"/>
                <a:gd name="connsiteX9" fmla="*/ 60137 w 155136"/>
                <a:gd name="connsiteY9" fmla="*/ 96657 h 111681"/>
                <a:gd name="connsiteX10" fmla="*/ 107100 w 155136"/>
                <a:gd name="connsiteY10" fmla="*/ 105915 h 111681"/>
                <a:gd name="connsiteX11" fmla="*/ 115542 w 155136"/>
                <a:gd name="connsiteY11" fmla="*/ 102238 h 111681"/>
                <a:gd name="connsiteX12" fmla="*/ 125609 w 155136"/>
                <a:gd name="connsiteY12" fmla="*/ 95153 h 111681"/>
                <a:gd name="connsiteX13" fmla="*/ 155077 w 155136"/>
                <a:gd name="connsiteY13" fmla="*/ 85326 h 111681"/>
                <a:gd name="connsiteX14" fmla="*/ 129465 w 155136"/>
                <a:gd name="connsiteY14" fmla="*/ 69283 h 111681"/>
                <a:gd name="connsiteX15" fmla="*/ 103122 w 155136"/>
                <a:gd name="connsiteY15" fmla="*/ 60960 h 111681"/>
                <a:gd name="connsiteX16" fmla="*/ 106126 w 155136"/>
                <a:gd name="connsiteY16" fmla="*/ 44683 h 111681"/>
                <a:gd name="connsiteX17" fmla="*/ 118992 w 155136"/>
                <a:gd name="connsiteY17" fmla="*/ 37998 h 111681"/>
                <a:gd name="connsiteX18" fmla="*/ 117369 w 155136"/>
                <a:gd name="connsiteY18" fmla="*/ 25598 h 111681"/>
                <a:gd name="connsiteX19" fmla="*/ 98251 w 155136"/>
                <a:gd name="connsiteY19" fmla="*/ 15571 h 111681"/>
                <a:gd name="connsiteX20" fmla="*/ 71381 w 155136"/>
                <a:gd name="connsiteY20" fmla="*/ 10792 h 111681"/>
                <a:gd name="connsiteX21" fmla="*/ 49381 w 155136"/>
                <a:gd name="connsiteY21" fmla="*/ 2736 h 111681"/>
                <a:gd name="connsiteX22" fmla="*/ 31927 w 155136"/>
                <a:gd name="connsiteY22" fmla="*/ -238 h 111681"/>
                <a:gd name="connsiteX23" fmla="*/ 18411 w 155136"/>
                <a:gd name="connsiteY23" fmla="*/ 10090 h 11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136" h="111681">
                  <a:moveTo>
                    <a:pt x="18411" y="10056"/>
                  </a:moveTo>
                  <a:cubicBezTo>
                    <a:pt x="8345" y="16941"/>
                    <a:pt x="7574" y="21053"/>
                    <a:pt x="16950" y="24562"/>
                  </a:cubicBezTo>
                  <a:cubicBezTo>
                    <a:pt x="29127" y="29175"/>
                    <a:pt x="6478" y="34589"/>
                    <a:pt x="2500" y="37932"/>
                  </a:cubicBezTo>
                  <a:cubicBezTo>
                    <a:pt x="552" y="39636"/>
                    <a:pt x="-423" y="50666"/>
                    <a:pt x="65" y="52437"/>
                  </a:cubicBezTo>
                  <a:cubicBezTo>
                    <a:pt x="957" y="55780"/>
                    <a:pt x="21415" y="60492"/>
                    <a:pt x="25798" y="62465"/>
                  </a:cubicBezTo>
                  <a:cubicBezTo>
                    <a:pt x="28518" y="55780"/>
                    <a:pt x="39640" y="54276"/>
                    <a:pt x="42805" y="59790"/>
                  </a:cubicBezTo>
                  <a:cubicBezTo>
                    <a:pt x="45972" y="65305"/>
                    <a:pt x="47717" y="65239"/>
                    <a:pt x="55551" y="67812"/>
                  </a:cubicBezTo>
                  <a:cubicBezTo>
                    <a:pt x="60259" y="69223"/>
                    <a:pt x="62695" y="73514"/>
                    <a:pt x="60990" y="77401"/>
                  </a:cubicBezTo>
                  <a:cubicBezTo>
                    <a:pt x="60543" y="78448"/>
                    <a:pt x="59813" y="79397"/>
                    <a:pt x="58838" y="80179"/>
                  </a:cubicBezTo>
                  <a:cubicBezTo>
                    <a:pt x="53318" y="84858"/>
                    <a:pt x="57459" y="92813"/>
                    <a:pt x="60137" y="96657"/>
                  </a:cubicBezTo>
                  <a:cubicBezTo>
                    <a:pt x="64440" y="102807"/>
                    <a:pt x="96668" y="120053"/>
                    <a:pt x="107100" y="105915"/>
                  </a:cubicBezTo>
                  <a:cubicBezTo>
                    <a:pt x="109454" y="104070"/>
                    <a:pt x="112376" y="102797"/>
                    <a:pt x="115542" y="102238"/>
                  </a:cubicBezTo>
                  <a:cubicBezTo>
                    <a:pt x="122199" y="100166"/>
                    <a:pt x="120941" y="97559"/>
                    <a:pt x="125609" y="95153"/>
                  </a:cubicBezTo>
                  <a:cubicBezTo>
                    <a:pt x="135350" y="90206"/>
                    <a:pt x="142616" y="86396"/>
                    <a:pt x="155077" y="85326"/>
                  </a:cubicBezTo>
                  <a:cubicBezTo>
                    <a:pt x="146350" y="80346"/>
                    <a:pt x="138841" y="73695"/>
                    <a:pt x="129465" y="69283"/>
                  </a:cubicBezTo>
                  <a:cubicBezTo>
                    <a:pt x="123254" y="66408"/>
                    <a:pt x="106044" y="65706"/>
                    <a:pt x="103122" y="60960"/>
                  </a:cubicBezTo>
                  <a:cubicBezTo>
                    <a:pt x="101823" y="58888"/>
                    <a:pt x="104177" y="47090"/>
                    <a:pt x="106126" y="44683"/>
                  </a:cubicBezTo>
                  <a:cubicBezTo>
                    <a:pt x="108602" y="41641"/>
                    <a:pt x="115623" y="40739"/>
                    <a:pt x="118992" y="37998"/>
                  </a:cubicBezTo>
                  <a:cubicBezTo>
                    <a:pt x="123336" y="34322"/>
                    <a:pt x="116801" y="29609"/>
                    <a:pt x="117369" y="25598"/>
                  </a:cubicBezTo>
                  <a:cubicBezTo>
                    <a:pt x="118221" y="19415"/>
                    <a:pt x="106937" y="18913"/>
                    <a:pt x="98251" y="15571"/>
                  </a:cubicBezTo>
                  <a:cubicBezTo>
                    <a:pt x="89565" y="12229"/>
                    <a:pt x="76170" y="16674"/>
                    <a:pt x="71381" y="10792"/>
                  </a:cubicBezTo>
                  <a:cubicBezTo>
                    <a:pt x="65414" y="3539"/>
                    <a:pt x="63953" y="3739"/>
                    <a:pt x="49381" y="2736"/>
                  </a:cubicBezTo>
                  <a:cubicBezTo>
                    <a:pt x="43009" y="2335"/>
                    <a:pt x="38097" y="330"/>
                    <a:pt x="31927" y="-238"/>
                  </a:cubicBezTo>
                  <a:cubicBezTo>
                    <a:pt x="20481" y="-1241"/>
                    <a:pt x="25190" y="5477"/>
                    <a:pt x="18411" y="1009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6162401B-7661-47A8-8424-2C1112496899}"/>
                </a:ext>
              </a:extLst>
            </p:cNvPr>
            <p:cNvSpPr/>
            <p:nvPr/>
          </p:nvSpPr>
          <p:spPr>
            <a:xfrm>
              <a:off x="4269021" y="4963762"/>
              <a:ext cx="85677" cy="62671"/>
            </a:xfrm>
            <a:custGeom>
              <a:avLst/>
              <a:gdLst>
                <a:gd name="connsiteX0" fmla="*/ 5088 w 85677"/>
                <a:gd name="connsiteY0" fmla="*/ 30478 h 62671"/>
                <a:gd name="connsiteX1" fmla="*/ 15682 w 85677"/>
                <a:gd name="connsiteY1" fmla="*/ 51569 h 62671"/>
                <a:gd name="connsiteX2" fmla="*/ 13896 w 85677"/>
                <a:gd name="connsiteY2" fmla="*/ 62097 h 62671"/>
                <a:gd name="connsiteX3" fmla="*/ 35693 w 85677"/>
                <a:gd name="connsiteY3" fmla="*/ 58186 h 62671"/>
                <a:gd name="connsiteX4" fmla="*/ 61954 w 85677"/>
                <a:gd name="connsiteY4" fmla="*/ 44082 h 62671"/>
                <a:gd name="connsiteX5" fmla="*/ 85618 w 85677"/>
                <a:gd name="connsiteY5" fmla="*/ 10491 h 62671"/>
                <a:gd name="connsiteX6" fmla="*/ 54202 w 85677"/>
                <a:gd name="connsiteY6" fmla="*/ 2336 h 62671"/>
                <a:gd name="connsiteX7" fmla="*/ 5697 w 85677"/>
                <a:gd name="connsiteY7" fmla="*/ 196 h 62671"/>
                <a:gd name="connsiteX8" fmla="*/ 5088 w 85677"/>
                <a:gd name="connsiteY8" fmla="*/ 30478 h 6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677" h="62671">
                  <a:moveTo>
                    <a:pt x="5088" y="30478"/>
                  </a:moveTo>
                  <a:cubicBezTo>
                    <a:pt x="10690" y="34890"/>
                    <a:pt x="18402" y="44951"/>
                    <a:pt x="15682" y="51569"/>
                  </a:cubicBezTo>
                  <a:cubicBezTo>
                    <a:pt x="14140" y="55345"/>
                    <a:pt x="6874" y="60827"/>
                    <a:pt x="13896" y="62097"/>
                  </a:cubicBezTo>
                  <a:cubicBezTo>
                    <a:pt x="21487" y="62929"/>
                    <a:pt x="29199" y="61545"/>
                    <a:pt x="35693" y="58186"/>
                  </a:cubicBezTo>
                  <a:cubicBezTo>
                    <a:pt x="47058" y="53039"/>
                    <a:pt x="60047" y="54376"/>
                    <a:pt x="61954" y="44082"/>
                  </a:cubicBezTo>
                  <a:cubicBezTo>
                    <a:pt x="64106" y="32751"/>
                    <a:pt x="75633" y="20685"/>
                    <a:pt x="85618" y="10491"/>
                  </a:cubicBezTo>
                  <a:cubicBezTo>
                    <a:pt x="74009" y="9087"/>
                    <a:pt x="64633" y="5210"/>
                    <a:pt x="54202" y="2336"/>
                  </a:cubicBezTo>
                  <a:cubicBezTo>
                    <a:pt x="38778" y="-1876"/>
                    <a:pt x="23110" y="130"/>
                    <a:pt x="5697" y="196"/>
                  </a:cubicBezTo>
                  <a:cubicBezTo>
                    <a:pt x="4398" y="10859"/>
                    <a:pt x="-6196" y="21521"/>
                    <a:pt x="5088" y="3047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134E7524-2D57-45F8-B81B-0D90CB015991}"/>
                </a:ext>
              </a:extLst>
            </p:cNvPr>
            <p:cNvSpPr/>
            <p:nvPr/>
          </p:nvSpPr>
          <p:spPr>
            <a:xfrm>
              <a:off x="3296913" y="4881421"/>
              <a:ext cx="301608" cy="72352"/>
            </a:xfrm>
            <a:custGeom>
              <a:avLst/>
              <a:gdLst>
                <a:gd name="connsiteX0" fmla="*/ 241547 w 301608"/>
                <a:gd name="connsiteY0" fmla="*/ 2153 h 72352"/>
                <a:gd name="connsiteX1" fmla="*/ 148800 w 301608"/>
                <a:gd name="connsiteY1" fmla="*/ 9172 h 72352"/>
                <a:gd name="connsiteX2" fmla="*/ 27031 w 301608"/>
                <a:gd name="connsiteY2" fmla="*/ 43231 h 72352"/>
                <a:gd name="connsiteX3" fmla="*/ 2068 w 301608"/>
                <a:gd name="connsiteY3" fmla="*/ 64756 h 72352"/>
                <a:gd name="connsiteX4" fmla="*/ 10470 w 301608"/>
                <a:gd name="connsiteY4" fmla="*/ 69268 h 72352"/>
                <a:gd name="connsiteX5" fmla="*/ 42049 w 301608"/>
                <a:gd name="connsiteY5" fmla="*/ 41994 h 72352"/>
                <a:gd name="connsiteX6" fmla="*/ 76997 w 301608"/>
                <a:gd name="connsiteY6" fmla="*/ 39621 h 72352"/>
                <a:gd name="connsiteX7" fmla="*/ 123391 w 301608"/>
                <a:gd name="connsiteY7" fmla="*/ 28491 h 72352"/>
                <a:gd name="connsiteX8" fmla="*/ 171611 w 301608"/>
                <a:gd name="connsiteY8" fmla="*/ 27255 h 72352"/>
                <a:gd name="connsiteX9" fmla="*/ 207087 w 301608"/>
                <a:gd name="connsiteY9" fmla="*/ 29360 h 72352"/>
                <a:gd name="connsiteX10" fmla="*/ 225109 w 301608"/>
                <a:gd name="connsiteY10" fmla="*/ 30898 h 72352"/>
                <a:gd name="connsiteX11" fmla="*/ 300037 w 301608"/>
                <a:gd name="connsiteY11" fmla="*/ 4727 h 72352"/>
                <a:gd name="connsiteX12" fmla="*/ 241547 w 301608"/>
                <a:gd name="connsiteY12" fmla="*/ 2153 h 7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1608" h="72352">
                  <a:moveTo>
                    <a:pt x="241547" y="2153"/>
                  </a:moveTo>
                  <a:cubicBezTo>
                    <a:pt x="215083" y="10743"/>
                    <a:pt x="175143" y="7067"/>
                    <a:pt x="148800" y="9172"/>
                  </a:cubicBezTo>
                  <a:cubicBezTo>
                    <a:pt x="105734" y="12515"/>
                    <a:pt x="62506" y="19600"/>
                    <a:pt x="27031" y="43231"/>
                  </a:cubicBezTo>
                  <a:cubicBezTo>
                    <a:pt x="17370" y="49264"/>
                    <a:pt x="8940" y="56530"/>
                    <a:pt x="2068" y="64756"/>
                  </a:cubicBezTo>
                  <a:cubicBezTo>
                    <a:pt x="-2275" y="70471"/>
                    <a:pt x="-205" y="75217"/>
                    <a:pt x="10470" y="69268"/>
                  </a:cubicBezTo>
                  <a:cubicBezTo>
                    <a:pt x="23702" y="61881"/>
                    <a:pt x="32672" y="50985"/>
                    <a:pt x="42049" y="41994"/>
                  </a:cubicBezTo>
                  <a:cubicBezTo>
                    <a:pt x="55849" y="28625"/>
                    <a:pt x="65226" y="39621"/>
                    <a:pt x="76997" y="39621"/>
                  </a:cubicBezTo>
                  <a:cubicBezTo>
                    <a:pt x="91081" y="39621"/>
                    <a:pt x="109753" y="32769"/>
                    <a:pt x="123391" y="28491"/>
                  </a:cubicBezTo>
                  <a:cubicBezTo>
                    <a:pt x="141859" y="22709"/>
                    <a:pt x="155132" y="26419"/>
                    <a:pt x="171611" y="27255"/>
                  </a:cubicBezTo>
                  <a:cubicBezTo>
                    <a:pt x="181028" y="27689"/>
                    <a:pt x="209644" y="19801"/>
                    <a:pt x="207087" y="29360"/>
                  </a:cubicBezTo>
                  <a:cubicBezTo>
                    <a:pt x="205057" y="36847"/>
                    <a:pt x="217234" y="33037"/>
                    <a:pt x="225109" y="30898"/>
                  </a:cubicBezTo>
                  <a:cubicBezTo>
                    <a:pt x="248894" y="24413"/>
                    <a:pt x="279377" y="16057"/>
                    <a:pt x="300037" y="4727"/>
                  </a:cubicBezTo>
                  <a:cubicBezTo>
                    <a:pt x="311727" y="-1757"/>
                    <a:pt x="252101" y="-1323"/>
                    <a:pt x="241547" y="215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11D762B0-F706-411E-AF17-2BFC5D5E0B4D}"/>
                </a:ext>
              </a:extLst>
            </p:cNvPr>
            <p:cNvSpPr/>
            <p:nvPr/>
          </p:nvSpPr>
          <p:spPr>
            <a:xfrm>
              <a:off x="3497800" y="4937943"/>
              <a:ext cx="60606" cy="15994"/>
            </a:xfrm>
            <a:custGeom>
              <a:avLst/>
              <a:gdLst>
                <a:gd name="connsiteX0" fmla="*/ 761 w 60606"/>
                <a:gd name="connsiteY0" fmla="*/ 14919 h 15994"/>
                <a:gd name="connsiteX1" fmla="*/ 60509 w 60606"/>
                <a:gd name="connsiteY1" fmla="*/ 1716 h 15994"/>
                <a:gd name="connsiteX2" fmla="*/ 761 w 60606"/>
                <a:gd name="connsiteY2" fmla="*/ 14919 h 1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606" h="15994">
                  <a:moveTo>
                    <a:pt x="761" y="14919"/>
                  </a:moveTo>
                  <a:cubicBezTo>
                    <a:pt x="8148" y="18261"/>
                    <a:pt x="58601" y="9604"/>
                    <a:pt x="60509" y="1716"/>
                  </a:cubicBezTo>
                  <a:cubicBezTo>
                    <a:pt x="62417" y="-6171"/>
                    <a:pt x="-8413" y="10908"/>
                    <a:pt x="761" y="1491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4C730F4E-BCF4-4786-AD0A-27CE909F00AD}"/>
                </a:ext>
              </a:extLst>
            </p:cNvPr>
            <p:cNvSpPr/>
            <p:nvPr/>
          </p:nvSpPr>
          <p:spPr>
            <a:xfrm>
              <a:off x="3817556" y="4839077"/>
              <a:ext cx="49057" cy="17601"/>
            </a:xfrm>
            <a:custGeom>
              <a:avLst/>
              <a:gdLst>
                <a:gd name="connsiteX0" fmla="*/ 2394 w 49057"/>
                <a:gd name="connsiteY0" fmla="*/ 15586 h 17601"/>
                <a:gd name="connsiteX1" fmla="*/ 48950 w 49057"/>
                <a:gd name="connsiteY1" fmla="*/ 2217 h 17601"/>
                <a:gd name="connsiteX2" fmla="*/ 2394 w 49057"/>
                <a:gd name="connsiteY2" fmla="*/ 15586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57" h="17601">
                  <a:moveTo>
                    <a:pt x="2394" y="15586"/>
                  </a:moveTo>
                  <a:cubicBezTo>
                    <a:pt x="17940" y="22271"/>
                    <a:pt x="47733" y="7130"/>
                    <a:pt x="48950" y="2217"/>
                  </a:cubicBezTo>
                  <a:cubicBezTo>
                    <a:pt x="50980" y="-6339"/>
                    <a:pt x="-13233" y="8768"/>
                    <a:pt x="2394" y="1558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B87590B8-0E21-4F0E-B457-88B31FB7E463}"/>
                </a:ext>
              </a:extLst>
            </p:cNvPr>
            <p:cNvSpPr/>
            <p:nvPr/>
          </p:nvSpPr>
          <p:spPr>
            <a:xfrm>
              <a:off x="4479378" y="6018872"/>
              <a:ext cx="66502" cy="29425"/>
            </a:xfrm>
            <a:custGeom>
              <a:avLst/>
              <a:gdLst>
                <a:gd name="connsiteX0" fmla="*/ 65709 w 66502"/>
                <a:gd name="connsiteY0" fmla="*/ 1339 h 29425"/>
                <a:gd name="connsiteX1" fmla="*/ 34008 w 66502"/>
                <a:gd name="connsiteY1" fmla="*/ 22830 h 29425"/>
                <a:gd name="connsiteX2" fmla="*/ 65709 w 66502"/>
                <a:gd name="connsiteY2" fmla="*/ 1339 h 29425"/>
                <a:gd name="connsiteX3" fmla="*/ 22399 w 66502"/>
                <a:gd name="connsiteY3" fmla="*/ 3645 h 29425"/>
                <a:gd name="connsiteX4" fmla="*/ 4093 w 66502"/>
                <a:gd name="connsiteY4" fmla="*/ 29047 h 29425"/>
                <a:gd name="connsiteX5" fmla="*/ 22319 w 66502"/>
                <a:gd name="connsiteY5" fmla="*/ 3545 h 2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502" h="29425">
                  <a:moveTo>
                    <a:pt x="65709" y="1339"/>
                  </a:moveTo>
                  <a:cubicBezTo>
                    <a:pt x="53532" y="-7585"/>
                    <a:pt x="25119" y="21961"/>
                    <a:pt x="34008" y="22830"/>
                  </a:cubicBezTo>
                  <a:cubicBezTo>
                    <a:pt x="42897" y="23699"/>
                    <a:pt x="71351" y="5617"/>
                    <a:pt x="65709" y="1339"/>
                  </a:cubicBezTo>
                  <a:close/>
                  <a:moveTo>
                    <a:pt x="22399" y="3645"/>
                  </a:moveTo>
                  <a:cubicBezTo>
                    <a:pt x="10953" y="4982"/>
                    <a:pt x="-8651" y="27844"/>
                    <a:pt x="4093" y="29047"/>
                  </a:cubicBezTo>
                  <a:cubicBezTo>
                    <a:pt x="17366" y="30284"/>
                    <a:pt x="33643" y="2308"/>
                    <a:pt x="22319" y="354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ED0F2EEE-2D98-4476-9CB0-D4ACB2DCC45A}"/>
                </a:ext>
              </a:extLst>
            </p:cNvPr>
            <p:cNvSpPr/>
            <p:nvPr/>
          </p:nvSpPr>
          <p:spPr>
            <a:xfrm>
              <a:off x="4477877" y="6017699"/>
              <a:ext cx="69441" cy="31711"/>
            </a:xfrm>
            <a:custGeom>
              <a:avLst/>
              <a:gdLst>
                <a:gd name="connsiteX0" fmla="*/ 39933 w 69441"/>
                <a:gd name="connsiteY0" fmla="*/ 24571 h 31711"/>
                <a:gd name="connsiteX1" fmla="*/ 39933 w 69441"/>
                <a:gd name="connsiteY1" fmla="*/ 24571 h 31711"/>
                <a:gd name="connsiteX2" fmla="*/ 35143 w 69441"/>
                <a:gd name="connsiteY2" fmla="*/ 25139 h 31711"/>
                <a:gd name="connsiteX3" fmla="*/ 32262 w 69441"/>
                <a:gd name="connsiteY3" fmla="*/ 22565 h 31711"/>
                <a:gd name="connsiteX4" fmla="*/ 57589 w 69441"/>
                <a:gd name="connsiteY4" fmla="*/ 272 h 31711"/>
                <a:gd name="connsiteX5" fmla="*/ 68224 w 69441"/>
                <a:gd name="connsiteY5" fmla="*/ 1676 h 31711"/>
                <a:gd name="connsiteX6" fmla="*/ 69117 w 69441"/>
                <a:gd name="connsiteY6" fmla="*/ 5219 h 31711"/>
                <a:gd name="connsiteX7" fmla="*/ 39933 w 69441"/>
                <a:gd name="connsiteY7" fmla="*/ 24571 h 31711"/>
                <a:gd name="connsiteX8" fmla="*/ 58360 w 69441"/>
                <a:gd name="connsiteY8" fmla="*/ 2378 h 31711"/>
                <a:gd name="connsiteX9" fmla="*/ 35224 w 69441"/>
                <a:gd name="connsiteY9" fmla="*/ 22432 h 31711"/>
                <a:gd name="connsiteX10" fmla="*/ 35712 w 69441"/>
                <a:gd name="connsiteY10" fmla="*/ 23000 h 31711"/>
                <a:gd name="connsiteX11" fmla="*/ 39121 w 69441"/>
                <a:gd name="connsiteY11" fmla="*/ 22565 h 31711"/>
                <a:gd name="connsiteX12" fmla="*/ 66235 w 69441"/>
                <a:gd name="connsiteY12" fmla="*/ 4851 h 31711"/>
                <a:gd name="connsiteX13" fmla="*/ 66235 w 69441"/>
                <a:gd name="connsiteY13" fmla="*/ 3414 h 31711"/>
                <a:gd name="connsiteX14" fmla="*/ 58360 w 69441"/>
                <a:gd name="connsiteY14" fmla="*/ 2378 h 31711"/>
                <a:gd name="connsiteX15" fmla="*/ 9653 w 69441"/>
                <a:gd name="connsiteY15" fmla="*/ 30921 h 31711"/>
                <a:gd name="connsiteX16" fmla="*/ 9653 w 69441"/>
                <a:gd name="connsiteY16" fmla="*/ 30921 h 31711"/>
                <a:gd name="connsiteX17" fmla="*/ 5310 w 69441"/>
                <a:gd name="connsiteY17" fmla="*/ 31322 h 31711"/>
                <a:gd name="connsiteX18" fmla="*/ -48 w 69441"/>
                <a:gd name="connsiteY18" fmla="*/ 26877 h 31711"/>
                <a:gd name="connsiteX19" fmla="*/ 23697 w 69441"/>
                <a:gd name="connsiteY19" fmla="*/ 3714 h 31711"/>
                <a:gd name="connsiteX20" fmla="*/ 28933 w 69441"/>
                <a:gd name="connsiteY20" fmla="*/ 6255 h 31711"/>
                <a:gd name="connsiteX21" fmla="*/ 29014 w 69441"/>
                <a:gd name="connsiteY21" fmla="*/ 6556 h 31711"/>
                <a:gd name="connsiteX22" fmla="*/ 9613 w 69441"/>
                <a:gd name="connsiteY22" fmla="*/ 30921 h 31711"/>
                <a:gd name="connsiteX23" fmla="*/ 22764 w 69441"/>
                <a:gd name="connsiteY23" fmla="*/ 6155 h 31711"/>
                <a:gd name="connsiteX24" fmla="*/ 2915 w 69441"/>
                <a:gd name="connsiteY24" fmla="*/ 26643 h 31711"/>
                <a:gd name="connsiteX25" fmla="*/ 5554 w 69441"/>
                <a:gd name="connsiteY25" fmla="*/ 29083 h 31711"/>
                <a:gd name="connsiteX26" fmla="*/ 5838 w 69441"/>
                <a:gd name="connsiteY26" fmla="*/ 29083 h 31711"/>
                <a:gd name="connsiteX27" fmla="*/ 8841 w 69441"/>
                <a:gd name="connsiteY27" fmla="*/ 28815 h 31711"/>
                <a:gd name="connsiteX28" fmla="*/ 8841 w 69441"/>
                <a:gd name="connsiteY28" fmla="*/ 28815 h 31711"/>
                <a:gd name="connsiteX29" fmla="*/ 26051 w 69441"/>
                <a:gd name="connsiteY29" fmla="*/ 7124 h 31711"/>
                <a:gd name="connsiteX30" fmla="*/ 23981 w 69441"/>
                <a:gd name="connsiteY30" fmla="*/ 5920 h 3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9441" h="31711">
                  <a:moveTo>
                    <a:pt x="39933" y="24571"/>
                  </a:moveTo>
                  <a:lnTo>
                    <a:pt x="39933" y="24571"/>
                  </a:lnTo>
                  <a:cubicBezTo>
                    <a:pt x="38391" y="25005"/>
                    <a:pt x="36767" y="25206"/>
                    <a:pt x="35143" y="25139"/>
                  </a:cubicBezTo>
                  <a:cubicBezTo>
                    <a:pt x="33520" y="25039"/>
                    <a:pt x="32221" y="23902"/>
                    <a:pt x="32262" y="22565"/>
                  </a:cubicBezTo>
                  <a:cubicBezTo>
                    <a:pt x="31937" y="17418"/>
                    <a:pt x="45778" y="3247"/>
                    <a:pt x="57589" y="272"/>
                  </a:cubicBezTo>
                  <a:cubicBezTo>
                    <a:pt x="61161" y="-898"/>
                    <a:pt x="65261" y="-363"/>
                    <a:pt x="68224" y="1676"/>
                  </a:cubicBezTo>
                  <a:cubicBezTo>
                    <a:pt x="69320" y="2611"/>
                    <a:pt x="69685" y="3982"/>
                    <a:pt x="69117" y="5219"/>
                  </a:cubicBezTo>
                  <a:cubicBezTo>
                    <a:pt x="66885" y="11402"/>
                    <a:pt x="49553" y="22097"/>
                    <a:pt x="39933" y="24571"/>
                  </a:cubicBezTo>
                  <a:close/>
                  <a:moveTo>
                    <a:pt x="58360" y="2378"/>
                  </a:moveTo>
                  <a:cubicBezTo>
                    <a:pt x="47483" y="5152"/>
                    <a:pt x="34981" y="18421"/>
                    <a:pt x="35224" y="22432"/>
                  </a:cubicBezTo>
                  <a:cubicBezTo>
                    <a:pt x="35224" y="22966"/>
                    <a:pt x="35468" y="22966"/>
                    <a:pt x="35712" y="23000"/>
                  </a:cubicBezTo>
                  <a:cubicBezTo>
                    <a:pt x="36889" y="23067"/>
                    <a:pt x="38025" y="22899"/>
                    <a:pt x="39121" y="22565"/>
                  </a:cubicBezTo>
                  <a:cubicBezTo>
                    <a:pt x="48457" y="20159"/>
                    <a:pt x="64449" y="9764"/>
                    <a:pt x="66235" y="4851"/>
                  </a:cubicBezTo>
                  <a:cubicBezTo>
                    <a:pt x="66641" y="3848"/>
                    <a:pt x="66235" y="3514"/>
                    <a:pt x="66235" y="3414"/>
                  </a:cubicBezTo>
                  <a:cubicBezTo>
                    <a:pt x="64084" y="1843"/>
                    <a:pt x="60999" y="1442"/>
                    <a:pt x="58360" y="2378"/>
                  </a:cubicBezTo>
                  <a:close/>
                  <a:moveTo>
                    <a:pt x="9653" y="30921"/>
                  </a:moveTo>
                  <a:lnTo>
                    <a:pt x="9653" y="30921"/>
                  </a:lnTo>
                  <a:cubicBezTo>
                    <a:pt x="8273" y="31322"/>
                    <a:pt x="6771" y="31456"/>
                    <a:pt x="5310" y="31322"/>
                  </a:cubicBezTo>
                  <a:cubicBezTo>
                    <a:pt x="2347" y="31289"/>
                    <a:pt x="-48" y="29317"/>
                    <a:pt x="-48" y="26877"/>
                  </a:cubicBezTo>
                  <a:cubicBezTo>
                    <a:pt x="-535" y="19524"/>
                    <a:pt x="14159" y="4851"/>
                    <a:pt x="23697" y="3714"/>
                  </a:cubicBezTo>
                  <a:cubicBezTo>
                    <a:pt x="26011" y="3213"/>
                    <a:pt x="28324" y="4350"/>
                    <a:pt x="28933" y="6255"/>
                  </a:cubicBezTo>
                  <a:cubicBezTo>
                    <a:pt x="28974" y="6355"/>
                    <a:pt x="28974" y="6455"/>
                    <a:pt x="29014" y="6556"/>
                  </a:cubicBezTo>
                  <a:cubicBezTo>
                    <a:pt x="30435" y="12572"/>
                    <a:pt x="20368" y="28114"/>
                    <a:pt x="9613" y="30921"/>
                  </a:cubicBezTo>
                  <a:close/>
                  <a:moveTo>
                    <a:pt x="22764" y="6155"/>
                  </a:moveTo>
                  <a:cubicBezTo>
                    <a:pt x="14646" y="8260"/>
                    <a:pt x="2469" y="20727"/>
                    <a:pt x="2915" y="26643"/>
                  </a:cubicBezTo>
                  <a:cubicBezTo>
                    <a:pt x="2834" y="27913"/>
                    <a:pt x="4011" y="29016"/>
                    <a:pt x="5554" y="29083"/>
                  </a:cubicBezTo>
                  <a:cubicBezTo>
                    <a:pt x="5634" y="29083"/>
                    <a:pt x="5756" y="29083"/>
                    <a:pt x="5838" y="29083"/>
                  </a:cubicBezTo>
                  <a:cubicBezTo>
                    <a:pt x="6852" y="29183"/>
                    <a:pt x="7867" y="29083"/>
                    <a:pt x="8841" y="28815"/>
                  </a:cubicBezTo>
                  <a:lnTo>
                    <a:pt x="8841" y="28815"/>
                  </a:lnTo>
                  <a:cubicBezTo>
                    <a:pt x="17731" y="26476"/>
                    <a:pt x="27310" y="12104"/>
                    <a:pt x="26051" y="7124"/>
                  </a:cubicBezTo>
                  <a:cubicBezTo>
                    <a:pt x="25767" y="5954"/>
                    <a:pt x="25036" y="5787"/>
                    <a:pt x="23981" y="59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4ABD0A8D-BEB7-4074-914D-90CB9B358EBE}"/>
                </a:ext>
              </a:extLst>
            </p:cNvPr>
            <p:cNvSpPr/>
            <p:nvPr/>
          </p:nvSpPr>
          <p:spPr>
            <a:xfrm>
              <a:off x="3302124" y="5366450"/>
              <a:ext cx="3207" cy="12801"/>
            </a:xfrm>
            <a:custGeom>
              <a:avLst/>
              <a:gdLst>
                <a:gd name="connsiteX0" fmla="*/ 2092 w 3207"/>
                <a:gd name="connsiteY0" fmla="*/ 4207 h 12801"/>
                <a:gd name="connsiteX1" fmla="*/ 3148 w 3207"/>
                <a:gd name="connsiteY1" fmla="*/ -339 h 12801"/>
                <a:gd name="connsiteX2" fmla="*/ 2377 w 3207"/>
                <a:gd name="connsiteY2" fmla="*/ 12462 h 12801"/>
                <a:gd name="connsiteX3" fmla="*/ 2092 w 3207"/>
                <a:gd name="connsiteY3" fmla="*/ 4207 h 12801"/>
                <a:gd name="connsiteX4" fmla="*/ 2092 w 3207"/>
                <a:gd name="connsiteY4" fmla="*/ 4207 h 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7" h="12801">
                  <a:moveTo>
                    <a:pt x="2092" y="4207"/>
                  </a:moveTo>
                  <a:cubicBezTo>
                    <a:pt x="2417" y="2669"/>
                    <a:pt x="2783" y="1165"/>
                    <a:pt x="3148" y="-339"/>
                  </a:cubicBezTo>
                  <a:cubicBezTo>
                    <a:pt x="-818" y="3204"/>
                    <a:pt x="-1143" y="8586"/>
                    <a:pt x="2377" y="12462"/>
                  </a:cubicBezTo>
                  <a:cubicBezTo>
                    <a:pt x="2377" y="9722"/>
                    <a:pt x="2133" y="6947"/>
                    <a:pt x="2092" y="4207"/>
                  </a:cubicBezTo>
                  <a:cubicBezTo>
                    <a:pt x="2052" y="2669"/>
                    <a:pt x="2133" y="7014"/>
                    <a:pt x="2092" y="42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C6ABC9C2-DE3B-43EE-8F72-F8F7767820AC}"/>
                </a:ext>
              </a:extLst>
            </p:cNvPr>
            <p:cNvSpPr/>
            <p:nvPr/>
          </p:nvSpPr>
          <p:spPr>
            <a:xfrm>
              <a:off x="3300339" y="5362172"/>
              <a:ext cx="7712" cy="21357"/>
            </a:xfrm>
            <a:custGeom>
              <a:avLst/>
              <a:gdLst>
                <a:gd name="connsiteX0" fmla="*/ 6151 w 7712"/>
                <a:gd name="connsiteY0" fmla="*/ 21019 h 21357"/>
                <a:gd name="connsiteX1" fmla="*/ 2620 w 7712"/>
                <a:gd name="connsiteY1" fmla="*/ 17677 h 21357"/>
                <a:gd name="connsiteX2" fmla="*/ 3594 w 7712"/>
                <a:gd name="connsiteY2" fmla="*/ 3539 h 21357"/>
                <a:gd name="connsiteX3" fmla="*/ 7653 w 7712"/>
                <a:gd name="connsiteY3" fmla="*/ -339 h 21357"/>
                <a:gd name="connsiteX4" fmla="*/ 5542 w 7712"/>
                <a:gd name="connsiteY4" fmla="*/ 8351 h 21357"/>
                <a:gd name="connsiteX5" fmla="*/ 5826 w 7712"/>
                <a:gd name="connsiteY5" fmla="*/ 16507 h 2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2" h="21357">
                  <a:moveTo>
                    <a:pt x="6151" y="21019"/>
                  </a:moveTo>
                  <a:lnTo>
                    <a:pt x="2620" y="17677"/>
                  </a:lnTo>
                  <a:cubicBezTo>
                    <a:pt x="-1293" y="13398"/>
                    <a:pt x="-879" y="7416"/>
                    <a:pt x="3594" y="3539"/>
                  </a:cubicBezTo>
                  <a:lnTo>
                    <a:pt x="7653" y="-339"/>
                  </a:lnTo>
                  <a:cubicBezTo>
                    <a:pt x="6963" y="2569"/>
                    <a:pt x="6273" y="5444"/>
                    <a:pt x="5542" y="8351"/>
                  </a:cubicBezTo>
                  <a:cubicBezTo>
                    <a:pt x="5542" y="11092"/>
                    <a:pt x="5542" y="13799"/>
                    <a:pt x="5826" y="165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A477913D-AB6A-4DCD-A4B2-9AB5799AE837}"/>
                </a:ext>
              </a:extLst>
            </p:cNvPr>
            <p:cNvSpPr/>
            <p:nvPr/>
          </p:nvSpPr>
          <p:spPr>
            <a:xfrm>
              <a:off x="3584468" y="5223670"/>
              <a:ext cx="146201" cy="111827"/>
            </a:xfrm>
            <a:custGeom>
              <a:avLst/>
              <a:gdLst>
                <a:gd name="connsiteX0" fmla="*/ 133724 w 146201"/>
                <a:gd name="connsiteY0" fmla="*/ 3667 h 111827"/>
                <a:gd name="connsiteX1" fmla="*/ 110507 w 146201"/>
                <a:gd name="connsiteY1" fmla="*/ 1026 h 111827"/>
                <a:gd name="connsiteX2" fmla="*/ 84367 w 146201"/>
                <a:gd name="connsiteY2" fmla="*/ 7042 h 111827"/>
                <a:gd name="connsiteX3" fmla="*/ 32169 w 146201"/>
                <a:gd name="connsiteY3" fmla="*/ 5772 h 111827"/>
                <a:gd name="connsiteX4" fmla="*/ 17840 w 146201"/>
                <a:gd name="connsiteY4" fmla="*/ 19710 h 111827"/>
                <a:gd name="connsiteX5" fmla="*/ 14877 w 146201"/>
                <a:gd name="connsiteY5" fmla="*/ 34216 h 111827"/>
                <a:gd name="connsiteX6" fmla="*/ 8058 w 146201"/>
                <a:gd name="connsiteY6" fmla="*/ 51161 h 111827"/>
                <a:gd name="connsiteX7" fmla="*/ -60 w 146201"/>
                <a:gd name="connsiteY7" fmla="*/ 65834 h 111827"/>
                <a:gd name="connsiteX8" fmla="*/ 4933 w 146201"/>
                <a:gd name="connsiteY8" fmla="*/ 71249 h 111827"/>
                <a:gd name="connsiteX9" fmla="*/ 8505 w 146201"/>
                <a:gd name="connsiteY9" fmla="*/ 82279 h 111827"/>
                <a:gd name="connsiteX10" fmla="*/ 32534 w 146201"/>
                <a:gd name="connsiteY10" fmla="*/ 85321 h 111827"/>
                <a:gd name="connsiteX11" fmla="*/ 43453 w 146201"/>
                <a:gd name="connsiteY11" fmla="*/ 84551 h 111827"/>
                <a:gd name="connsiteX12" fmla="*/ 32615 w 146201"/>
                <a:gd name="connsiteY12" fmla="*/ 97219 h 111827"/>
                <a:gd name="connsiteX13" fmla="*/ 40733 w 146201"/>
                <a:gd name="connsiteY13" fmla="*/ 110355 h 111827"/>
                <a:gd name="connsiteX14" fmla="*/ 67360 w 146201"/>
                <a:gd name="connsiteY14" fmla="*/ 108149 h 111827"/>
                <a:gd name="connsiteX15" fmla="*/ 91024 w 146201"/>
                <a:gd name="connsiteY15" fmla="*/ 73388 h 111827"/>
                <a:gd name="connsiteX16" fmla="*/ 114079 w 146201"/>
                <a:gd name="connsiteY16" fmla="*/ 58214 h 111827"/>
                <a:gd name="connsiteX17" fmla="*/ 140016 w 146201"/>
                <a:gd name="connsiteY17" fmla="*/ 34283 h 111827"/>
                <a:gd name="connsiteX18" fmla="*/ 144602 w 146201"/>
                <a:gd name="connsiteY18" fmla="*/ 17002 h 111827"/>
                <a:gd name="connsiteX19" fmla="*/ 133846 w 146201"/>
                <a:gd name="connsiteY19" fmla="*/ 3633 h 1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201" h="111827">
                  <a:moveTo>
                    <a:pt x="133724" y="3667"/>
                  </a:moveTo>
                  <a:cubicBezTo>
                    <a:pt x="131857" y="3165"/>
                    <a:pt x="112902" y="-3018"/>
                    <a:pt x="110507" y="1026"/>
                  </a:cubicBezTo>
                  <a:cubicBezTo>
                    <a:pt x="106813" y="7310"/>
                    <a:pt x="90740" y="8145"/>
                    <a:pt x="84367" y="7042"/>
                  </a:cubicBezTo>
                  <a:cubicBezTo>
                    <a:pt x="68131" y="4235"/>
                    <a:pt x="49338" y="8045"/>
                    <a:pt x="32169" y="5772"/>
                  </a:cubicBezTo>
                  <a:cubicBezTo>
                    <a:pt x="34442" y="12256"/>
                    <a:pt x="27623" y="15799"/>
                    <a:pt x="17840" y="19710"/>
                  </a:cubicBezTo>
                  <a:cubicBezTo>
                    <a:pt x="8058" y="23620"/>
                    <a:pt x="12767" y="30038"/>
                    <a:pt x="14877" y="34216"/>
                  </a:cubicBezTo>
                  <a:cubicBezTo>
                    <a:pt x="17394" y="39263"/>
                    <a:pt x="6516" y="45245"/>
                    <a:pt x="8058" y="51161"/>
                  </a:cubicBezTo>
                  <a:cubicBezTo>
                    <a:pt x="9601" y="57077"/>
                    <a:pt x="-60" y="59885"/>
                    <a:pt x="-60" y="65834"/>
                  </a:cubicBezTo>
                  <a:cubicBezTo>
                    <a:pt x="78" y="68308"/>
                    <a:pt x="2063" y="70480"/>
                    <a:pt x="4933" y="71249"/>
                  </a:cubicBezTo>
                  <a:cubicBezTo>
                    <a:pt x="11224" y="73656"/>
                    <a:pt x="8383" y="77934"/>
                    <a:pt x="8505" y="82279"/>
                  </a:cubicBezTo>
                  <a:cubicBezTo>
                    <a:pt x="8505" y="85086"/>
                    <a:pt x="29206" y="85822"/>
                    <a:pt x="32534" y="85321"/>
                  </a:cubicBezTo>
                  <a:cubicBezTo>
                    <a:pt x="37242" y="84652"/>
                    <a:pt x="40652" y="78903"/>
                    <a:pt x="43453" y="84551"/>
                  </a:cubicBezTo>
                  <a:cubicBezTo>
                    <a:pt x="46253" y="90200"/>
                    <a:pt x="39069" y="93910"/>
                    <a:pt x="32615" y="97219"/>
                  </a:cubicBezTo>
                  <a:cubicBezTo>
                    <a:pt x="46456" y="100227"/>
                    <a:pt x="34036" y="107614"/>
                    <a:pt x="40733" y="110355"/>
                  </a:cubicBezTo>
                  <a:cubicBezTo>
                    <a:pt x="50962" y="114666"/>
                    <a:pt x="58471" y="105074"/>
                    <a:pt x="67360" y="108149"/>
                  </a:cubicBezTo>
                  <a:cubicBezTo>
                    <a:pt x="93419" y="117206"/>
                    <a:pt x="84611" y="83449"/>
                    <a:pt x="91024" y="73388"/>
                  </a:cubicBezTo>
                  <a:cubicBezTo>
                    <a:pt x="95083" y="67104"/>
                    <a:pt x="106651" y="62793"/>
                    <a:pt x="114079" y="58214"/>
                  </a:cubicBezTo>
                  <a:cubicBezTo>
                    <a:pt x="125200" y="51529"/>
                    <a:pt x="135064" y="43407"/>
                    <a:pt x="140016" y="34283"/>
                  </a:cubicBezTo>
                  <a:cubicBezTo>
                    <a:pt x="143506" y="27899"/>
                    <a:pt x="143182" y="23086"/>
                    <a:pt x="144602" y="17002"/>
                  </a:cubicBezTo>
                  <a:cubicBezTo>
                    <a:pt x="146794" y="7677"/>
                    <a:pt x="148905" y="7677"/>
                    <a:pt x="133846" y="363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12F625B7-E1E4-48C9-A3A4-D81B0B567B47}"/>
                </a:ext>
              </a:extLst>
            </p:cNvPr>
            <p:cNvSpPr/>
            <p:nvPr/>
          </p:nvSpPr>
          <p:spPr>
            <a:xfrm>
              <a:off x="3050770" y="2997195"/>
              <a:ext cx="2198713" cy="859897"/>
            </a:xfrm>
            <a:custGeom>
              <a:avLst/>
              <a:gdLst>
                <a:gd name="connsiteX0" fmla="*/ 2069799 w 2198713"/>
                <a:gd name="connsiteY0" fmla="*/ 13389 h 859897"/>
                <a:gd name="connsiteX1" fmla="*/ 1995479 w 2198713"/>
                <a:gd name="connsiteY1" fmla="*/ 36785 h 859897"/>
                <a:gd name="connsiteX2" fmla="*/ 1924406 w 2198713"/>
                <a:gd name="connsiteY2" fmla="*/ 45509 h 859897"/>
                <a:gd name="connsiteX3" fmla="*/ 1901148 w 2198713"/>
                <a:gd name="connsiteY3" fmla="*/ 44874 h 859897"/>
                <a:gd name="connsiteX4" fmla="*/ 1870828 w 2198713"/>
                <a:gd name="connsiteY4" fmla="*/ 50790 h 859897"/>
                <a:gd name="connsiteX5" fmla="*/ 1773412 w 2198713"/>
                <a:gd name="connsiteY5" fmla="*/ 94942 h 859897"/>
                <a:gd name="connsiteX6" fmla="*/ 1771180 w 2198713"/>
                <a:gd name="connsiteY6" fmla="*/ 85216 h 859897"/>
                <a:gd name="connsiteX7" fmla="*/ 1821876 w 2198713"/>
                <a:gd name="connsiteY7" fmla="*/ 41431 h 859897"/>
                <a:gd name="connsiteX8" fmla="*/ 1753361 w 2198713"/>
                <a:gd name="connsiteY8" fmla="*/ 49419 h 859897"/>
                <a:gd name="connsiteX9" fmla="*/ 1695277 w 2198713"/>
                <a:gd name="connsiteY9" fmla="*/ 70175 h 859897"/>
                <a:gd name="connsiteX10" fmla="*/ 1628953 w 2198713"/>
                <a:gd name="connsiteY10" fmla="*/ 89427 h 859897"/>
                <a:gd name="connsiteX11" fmla="*/ 1658178 w 2198713"/>
                <a:gd name="connsiteY11" fmla="*/ 72248 h 859897"/>
                <a:gd name="connsiteX12" fmla="*/ 1693613 w 2198713"/>
                <a:gd name="connsiteY12" fmla="*/ 56071 h 859897"/>
                <a:gd name="connsiteX13" fmla="*/ 1611905 w 2198713"/>
                <a:gd name="connsiteY13" fmla="*/ 64026 h 859897"/>
                <a:gd name="connsiteX14" fmla="*/ 1520578 w 2198713"/>
                <a:gd name="connsiteY14" fmla="*/ 80904 h 859897"/>
                <a:gd name="connsiteX15" fmla="*/ 1423691 w 2198713"/>
                <a:gd name="connsiteY15" fmla="*/ 104301 h 859897"/>
                <a:gd name="connsiteX16" fmla="*/ 1452875 w 2198713"/>
                <a:gd name="connsiteY16" fmla="*/ 89929 h 859897"/>
                <a:gd name="connsiteX17" fmla="*/ 1556987 w 2198713"/>
                <a:gd name="connsiteY17" fmla="*/ 65429 h 859897"/>
                <a:gd name="connsiteX18" fmla="*/ 1668853 w 2198713"/>
                <a:gd name="connsiteY18" fmla="*/ 48717 h 859897"/>
                <a:gd name="connsiteX19" fmla="*/ 1779216 w 2198713"/>
                <a:gd name="connsiteY19" fmla="*/ 24552 h 859897"/>
                <a:gd name="connsiteX20" fmla="*/ 1827153 w 2198713"/>
                <a:gd name="connsiteY20" fmla="*/ 6169 h 859897"/>
                <a:gd name="connsiteX21" fmla="*/ 1721133 w 2198713"/>
                <a:gd name="connsiteY21" fmla="*/ 10046 h 859897"/>
                <a:gd name="connsiteX22" fmla="*/ 1700432 w 2198713"/>
                <a:gd name="connsiteY22" fmla="*/ 2660 h 859897"/>
                <a:gd name="connsiteX23" fmla="*/ 1663901 w 2198713"/>
                <a:gd name="connsiteY23" fmla="*/ 888 h 859897"/>
                <a:gd name="connsiteX24" fmla="*/ 1593924 w 2198713"/>
                <a:gd name="connsiteY24" fmla="*/ 5802 h 859897"/>
                <a:gd name="connsiteX25" fmla="*/ 1515870 w 2198713"/>
                <a:gd name="connsiteY25" fmla="*/ 8877 h 859897"/>
                <a:gd name="connsiteX26" fmla="*/ 1391381 w 2198713"/>
                <a:gd name="connsiteY26" fmla="*/ 27326 h 859897"/>
                <a:gd name="connsiteX27" fmla="*/ 1294656 w 2198713"/>
                <a:gd name="connsiteY27" fmla="*/ 43737 h 859897"/>
                <a:gd name="connsiteX28" fmla="*/ 1250007 w 2198713"/>
                <a:gd name="connsiteY28" fmla="*/ 54767 h 859897"/>
                <a:gd name="connsiteX29" fmla="*/ 1193182 w 2198713"/>
                <a:gd name="connsiteY29" fmla="*/ 69641 h 859897"/>
                <a:gd name="connsiteX30" fmla="*/ 1199230 w 2198713"/>
                <a:gd name="connsiteY30" fmla="*/ 80370 h 859897"/>
                <a:gd name="connsiteX31" fmla="*/ 1175850 w 2198713"/>
                <a:gd name="connsiteY31" fmla="*/ 87054 h 859897"/>
                <a:gd name="connsiteX32" fmla="*/ 1162212 w 2198713"/>
                <a:gd name="connsiteY32" fmla="*/ 80670 h 859897"/>
                <a:gd name="connsiteX33" fmla="*/ 1115696 w 2198713"/>
                <a:gd name="connsiteY33" fmla="*/ 87355 h 859897"/>
                <a:gd name="connsiteX34" fmla="*/ 1043933 w 2198713"/>
                <a:gd name="connsiteY34" fmla="*/ 100992 h 859897"/>
                <a:gd name="connsiteX35" fmla="*/ 984266 w 2198713"/>
                <a:gd name="connsiteY35" fmla="*/ 117704 h 859897"/>
                <a:gd name="connsiteX36" fmla="*/ 897729 w 2198713"/>
                <a:gd name="connsiteY36" fmla="*/ 137357 h 859897"/>
                <a:gd name="connsiteX37" fmla="*/ 919606 w 2198713"/>
                <a:gd name="connsiteY37" fmla="*/ 144743 h 859897"/>
                <a:gd name="connsiteX38" fmla="*/ 900164 w 2198713"/>
                <a:gd name="connsiteY38" fmla="*/ 156375 h 859897"/>
                <a:gd name="connsiteX39" fmla="*/ 878611 w 2198713"/>
                <a:gd name="connsiteY39" fmla="*/ 171482 h 859897"/>
                <a:gd name="connsiteX40" fmla="*/ 975052 w 2198713"/>
                <a:gd name="connsiteY40" fmla="*/ 178167 h 859897"/>
                <a:gd name="connsiteX41" fmla="*/ 960562 w 2198713"/>
                <a:gd name="connsiteY41" fmla="*/ 183281 h 859897"/>
                <a:gd name="connsiteX42" fmla="*/ 901382 w 2198713"/>
                <a:gd name="connsiteY42" fmla="*/ 182345 h 859897"/>
                <a:gd name="connsiteX43" fmla="*/ 847884 w 2198713"/>
                <a:gd name="connsiteY43" fmla="*/ 187091 h 859897"/>
                <a:gd name="connsiteX44" fmla="*/ 811800 w 2198713"/>
                <a:gd name="connsiteY44" fmla="*/ 184651 h 859897"/>
                <a:gd name="connsiteX45" fmla="*/ 729484 w 2198713"/>
                <a:gd name="connsiteY45" fmla="*/ 199625 h 859897"/>
                <a:gd name="connsiteX46" fmla="*/ 776852 w 2198713"/>
                <a:gd name="connsiteY46" fmla="*/ 208215 h 859897"/>
                <a:gd name="connsiteX47" fmla="*/ 735938 w 2198713"/>
                <a:gd name="connsiteY47" fmla="*/ 222119 h 859897"/>
                <a:gd name="connsiteX48" fmla="*/ 671684 w 2198713"/>
                <a:gd name="connsiteY48" fmla="*/ 220648 h 859897"/>
                <a:gd name="connsiteX49" fmla="*/ 660482 w 2198713"/>
                <a:gd name="connsiteY49" fmla="*/ 253136 h 859897"/>
                <a:gd name="connsiteX50" fmla="*/ 638604 w 2198713"/>
                <a:gd name="connsiteY50" fmla="*/ 265369 h 859897"/>
                <a:gd name="connsiteX51" fmla="*/ 640024 w 2198713"/>
                <a:gd name="connsiteY51" fmla="*/ 252501 h 859897"/>
                <a:gd name="connsiteX52" fmla="*/ 581778 w 2198713"/>
                <a:gd name="connsiteY52" fmla="*/ 238664 h 859897"/>
                <a:gd name="connsiteX53" fmla="*/ 488421 w 2198713"/>
                <a:gd name="connsiteY53" fmla="*/ 270149 h 859897"/>
                <a:gd name="connsiteX54" fmla="*/ 447832 w 2198713"/>
                <a:gd name="connsiteY54" fmla="*/ 286092 h 859897"/>
                <a:gd name="connsiteX55" fmla="*/ 466341 w 2198713"/>
                <a:gd name="connsiteY55" fmla="*/ 294882 h 859897"/>
                <a:gd name="connsiteX56" fmla="*/ 424980 w 2198713"/>
                <a:gd name="connsiteY56" fmla="*/ 299428 h 859897"/>
                <a:gd name="connsiteX57" fmla="*/ 385648 w 2198713"/>
                <a:gd name="connsiteY57" fmla="*/ 308887 h 859897"/>
                <a:gd name="connsiteX58" fmla="*/ 355449 w 2198713"/>
                <a:gd name="connsiteY58" fmla="*/ 321187 h 859897"/>
                <a:gd name="connsiteX59" fmla="*/ 370914 w 2198713"/>
                <a:gd name="connsiteY59" fmla="*/ 330044 h 859897"/>
                <a:gd name="connsiteX60" fmla="*/ 372375 w 2198713"/>
                <a:gd name="connsiteY60" fmla="*/ 348828 h 859897"/>
                <a:gd name="connsiteX61" fmla="*/ 330608 w 2198713"/>
                <a:gd name="connsiteY61" fmla="*/ 355145 h 859897"/>
                <a:gd name="connsiteX62" fmla="*/ 263432 w 2198713"/>
                <a:gd name="connsiteY62" fmla="*/ 378541 h 859897"/>
                <a:gd name="connsiteX63" fmla="*/ 196743 w 2198713"/>
                <a:gd name="connsiteY63" fmla="*/ 414973 h 859897"/>
                <a:gd name="connsiteX64" fmla="*/ 157128 w 2198713"/>
                <a:gd name="connsiteY64" fmla="*/ 444152 h 859897"/>
                <a:gd name="connsiteX65" fmla="*/ 246425 w 2198713"/>
                <a:gd name="connsiteY65" fmla="*/ 451873 h 859897"/>
                <a:gd name="connsiteX66" fmla="*/ 179858 w 2198713"/>
                <a:gd name="connsiteY66" fmla="*/ 483759 h 859897"/>
                <a:gd name="connsiteX67" fmla="*/ 123438 w 2198713"/>
                <a:gd name="connsiteY67" fmla="*/ 506921 h 859897"/>
                <a:gd name="connsiteX68" fmla="*/ 77653 w 2198713"/>
                <a:gd name="connsiteY68" fmla="*/ 528948 h 859897"/>
                <a:gd name="connsiteX69" fmla="*/ 8650 w 2198713"/>
                <a:gd name="connsiteY69" fmla="*/ 560065 h 859897"/>
                <a:gd name="connsiteX70" fmla="*/ 34060 w 2198713"/>
                <a:gd name="connsiteY70" fmla="*/ 573769 h 859897"/>
                <a:gd name="connsiteX71" fmla="*/ 87192 w 2198713"/>
                <a:gd name="connsiteY71" fmla="*/ 565613 h 859897"/>
                <a:gd name="connsiteX72" fmla="*/ 141298 w 2198713"/>
                <a:gd name="connsiteY72" fmla="*/ 557458 h 859897"/>
                <a:gd name="connsiteX73" fmla="*/ 238713 w 2198713"/>
                <a:gd name="connsiteY73" fmla="*/ 529750 h 859897"/>
                <a:gd name="connsiteX74" fmla="*/ 190777 w 2198713"/>
                <a:gd name="connsiteY74" fmla="*/ 551241 h 859897"/>
                <a:gd name="connsiteX75" fmla="*/ 123520 w 2198713"/>
                <a:gd name="connsiteY75" fmla="*/ 575941 h 859897"/>
                <a:gd name="connsiteX76" fmla="*/ 70753 w 2198713"/>
                <a:gd name="connsiteY76" fmla="*/ 599338 h 859897"/>
                <a:gd name="connsiteX77" fmla="*/ 146615 w 2198713"/>
                <a:gd name="connsiteY77" fmla="*/ 590113 h 859897"/>
                <a:gd name="connsiteX78" fmla="*/ 148239 w 2198713"/>
                <a:gd name="connsiteY78" fmla="*/ 601410 h 859897"/>
                <a:gd name="connsiteX79" fmla="*/ 202629 w 2198713"/>
                <a:gd name="connsiteY79" fmla="*/ 595962 h 859897"/>
                <a:gd name="connsiteX80" fmla="*/ 244152 w 2198713"/>
                <a:gd name="connsiteY80" fmla="*/ 588642 h 859897"/>
                <a:gd name="connsiteX81" fmla="*/ 240743 w 2198713"/>
                <a:gd name="connsiteY81" fmla="*/ 581957 h 859897"/>
                <a:gd name="connsiteX82" fmla="*/ 266233 w 2198713"/>
                <a:gd name="connsiteY82" fmla="*/ 573067 h 859897"/>
                <a:gd name="connsiteX83" fmla="*/ 297447 w 2198713"/>
                <a:gd name="connsiteY83" fmla="*/ 565914 h 859897"/>
                <a:gd name="connsiteX84" fmla="*/ 337103 w 2198713"/>
                <a:gd name="connsiteY84" fmla="*/ 551709 h 859897"/>
                <a:gd name="connsiteX85" fmla="*/ 365516 w 2198713"/>
                <a:gd name="connsiteY85" fmla="*/ 539977 h 859897"/>
                <a:gd name="connsiteX86" fmla="*/ 453068 w 2198713"/>
                <a:gd name="connsiteY86" fmla="*/ 526942 h 859897"/>
                <a:gd name="connsiteX87" fmla="*/ 538672 w 2198713"/>
                <a:gd name="connsiteY87" fmla="*/ 521193 h 859897"/>
                <a:gd name="connsiteX88" fmla="*/ 555354 w 2198713"/>
                <a:gd name="connsiteY88" fmla="*/ 533293 h 859897"/>
                <a:gd name="connsiteX89" fmla="*/ 612586 w 2198713"/>
                <a:gd name="connsiteY89" fmla="*/ 535632 h 859897"/>
                <a:gd name="connsiteX90" fmla="*/ 655773 w 2198713"/>
                <a:gd name="connsiteY90" fmla="*/ 559965 h 859897"/>
                <a:gd name="connsiteX91" fmla="*/ 677245 w 2198713"/>
                <a:gd name="connsiteY91" fmla="*/ 566148 h 859897"/>
                <a:gd name="connsiteX92" fmla="*/ 704846 w 2198713"/>
                <a:gd name="connsiteY92" fmla="*/ 579952 h 859897"/>
                <a:gd name="connsiteX93" fmla="*/ 695023 w 2198713"/>
                <a:gd name="connsiteY93" fmla="*/ 593322 h 859897"/>
                <a:gd name="connsiteX94" fmla="*/ 693481 w 2198713"/>
                <a:gd name="connsiteY94" fmla="*/ 604752 h 859897"/>
                <a:gd name="connsiteX95" fmla="*/ 696160 w 2198713"/>
                <a:gd name="connsiteY95" fmla="*/ 619559 h 859897"/>
                <a:gd name="connsiteX96" fmla="*/ 734396 w 2198713"/>
                <a:gd name="connsiteY96" fmla="*/ 615983 h 859897"/>
                <a:gd name="connsiteX97" fmla="*/ 776040 w 2198713"/>
                <a:gd name="connsiteY97" fmla="*/ 601978 h 859897"/>
                <a:gd name="connsiteX98" fmla="*/ 853445 w 2198713"/>
                <a:gd name="connsiteY98" fmla="*/ 612005 h 859897"/>
                <a:gd name="connsiteX99" fmla="*/ 858438 w 2198713"/>
                <a:gd name="connsiteY99" fmla="*/ 622367 h 859897"/>
                <a:gd name="connsiteX100" fmla="*/ 817280 w 2198713"/>
                <a:gd name="connsiteY100" fmla="*/ 622968 h 859897"/>
                <a:gd name="connsiteX101" fmla="*/ 748034 w 2198713"/>
                <a:gd name="connsiteY101" fmla="*/ 640014 h 859897"/>
                <a:gd name="connsiteX102" fmla="*/ 802180 w 2198713"/>
                <a:gd name="connsiteY102" fmla="*/ 642989 h 859897"/>
                <a:gd name="connsiteX103" fmla="*/ 837453 w 2198713"/>
                <a:gd name="connsiteY103" fmla="*/ 641184 h 859897"/>
                <a:gd name="connsiteX104" fmla="*/ 870452 w 2198713"/>
                <a:gd name="connsiteY104" fmla="*/ 637374 h 859897"/>
                <a:gd name="connsiteX105" fmla="*/ 884415 w 2198713"/>
                <a:gd name="connsiteY105" fmla="*/ 648972 h 859897"/>
                <a:gd name="connsiteX106" fmla="*/ 884415 w 2198713"/>
                <a:gd name="connsiteY106" fmla="*/ 670463 h 859897"/>
                <a:gd name="connsiteX107" fmla="*/ 817767 w 2198713"/>
                <a:gd name="connsiteY107" fmla="*/ 698405 h 859897"/>
                <a:gd name="connsiteX108" fmla="*/ 804981 w 2198713"/>
                <a:gd name="connsiteY108" fmla="*/ 720732 h 859897"/>
                <a:gd name="connsiteX109" fmla="*/ 806645 w 2198713"/>
                <a:gd name="connsiteY109" fmla="*/ 739550 h 859897"/>
                <a:gd name="connsiteX110" fmla="*/ 839117 w 2198713"/>
                <a:gd name="connsiteY110" fmla="*/ 740151 h 859897"/>
                <a:gd name="connsiteX111" fmla="*/ 818457 w 2198713"/>
                <a:gd name="connsiteY111" fmla="*/ 755092 h 859897"/>
                <a:gd name="connsiteX112" fmla="*/ 865866 w 2198713"/>
                <a:gd name="connsiteY112" fmla="*/ 772739 h 859897"/>
                <a:gd name="connsiteX113" fmla="*/ 897647 w 2198713"/>
                <a:gd name="connsiteY113" fmla="*/ 800882 h 859897"/>
                <a:gd name="connsiteX114" fmla="*/ 913356 w 2198713"/>
                <a:gd name="connsiteY114" fmla="*/ 810307 h 859897"/>
                <a:gd name="connsiteX115" fmla="*/ 933163 w 2198713"/>
                <a:gd name="connsiteY115" fmla="*/ 818262 h 859897"/>
                <a:gd name="connsiteX116" fmla="*/ 959466 w 2198713"/>
                <a:gd name="connsiteY116" fmla="*/ 820635 h 859897"/>
                <a:gd name="connsiteX117" fmla="*/ 961698 w 2198713"/>
                <a:gd name="connsiteY117" fmla="*/ 829526 h 859897"/>
                <a:gd name="connsiteX118" fmla="*/ 979273 w 2198713"/>
                <a:gd name="connsiteY118" fmla="*/ 839854 h 859897"/>
                <a:gd name="connsiteX119" fmla="*/ 1013288 w 2198713"/>
                <a:gd name="connsiteY119" fmla="*/ 847809 h 859897"/>
                <a:gd name="connsiteX120" fmla="*/ 1041700 w 2198713"/>
                <a:gd name="connsiteY120" fmla="*/ 858671 h 859897"/>
                <a:gd name="connsiteX121" fmla="*/ 1081073 w 2198713"/>
                <a:gd name="connsiteY121" fmla="*/ 854627 h 859897"/>
                <a:gd name="connsiteX122" fmla="*/ 1093655 w 2198713"/>
                <a:gd name="connsiteY122" fmla="*/ 856098 h 859897"/>
                <a:gd name="connsiteX123" fmla="*/ 1119024 w 2198713"/>
                <a:gd name="connsiteY123" fmla="*/ 852454 h 859897"/>
                <a:gd name="connsiteX124" fmla="*/ 1151821 w 2198713"/>
                <a:gd name="connsiteY124" fmla="*/ 857067 h 859897"/>
                <a:gd name="connsiteX125" fmla="*/ 1191396 w 2198713"/>
                <a:gd name="connsiteY125" fmla="*/ 856365 h 859897"/>
                <a:gd name="connsiteX126" fmla="*/ 1217211 w 2198713"/>
                <a:gd name="connsiteY126" fmla="*/ 849079 h 859897"/>
                <a:gd name="connsiteX127" fmla="*/ 1232391 w 2198713"/>
                <a:gd name="connsiteY127" fmla="*/ 831164 h 859897"/>
                <a:gd name="connsiteX128" fmla="*/ 1233406 w 2198713"/>
                <a:gd name="connsiteY128" fmla="*/ 813416 h 859897"/>
                <a:gd name="connsiteX129" fmla="*/ 1241524 w 2198713"/>
                <a:gd name="connsiteY129" fmla="*/ 802720 h 859897"/>
                <a:gd name="connsiteX130" fmla="*/ 1234542 w 2198713"/>
                <a:gd name="connsiteY130" fmla="*/ 785841 h 859897"/>
                <a:gd name="connsiteX131" fmla="*/ 1222812 w 2198713"/>
                <a:gd name="connsiteY131" fmla="*/ 776483 h 859897"/>
                <a:gd name="connsiteX132" fmla="*/ 1253701 w 2198713"/>
                <a:gd name="connsiteY132" fmla="*/ 767458 h 859897"/>
                <a:gd name="connsiteX133" fmla="*/ 1261535 w 2198713"/>
                <a:gd name="connsiteY133" fmla="*/ 756094 h 859897"/>
                <a:gd name="connsiteX134" fmla="*/ 1277324 w 2198713"/>
                <a:gd name="connsiteY134" fmla="*/ 729823 h 859897"/>
                <a:gd name="connsiteX135" fmla="*/ 1283818 w 2198713"/>
                <a:gd name="connsiteY135" fmla="*/ 716821 h 859897"/>
                <a:gd name="connsiteX136" fmla="*/ 1280896 w 2198713"/>
                <a:gd name="connsiteY136" fmla="*/ 706393 h 859897"/>
                <a:gd name="connsiteX137" fmla="*/ 1264214 w 2198713"/>
                <a:gd name="connsiteY137" fmla="*/ 699341 h 859897"/>
                <a:gd name="connsiteX138" fmla="*/ 1298066 w 2198713"/>
                <a:gd name="connsiteY138" fmla="*/ 695999 h 859897"/>
                <a:gd name="connsiteX139" fmla="*/ 1297660 w 2198713"/>
                <a:gd name="connsiteY139" fmla="*/ 683030 h 859897"/>
                <a:gd name="connsiteX140" fmla="*/ 1339629 w 2198713"/>
                <a:gd name="connsiteY140" fmla="*/ 670296 h 859897"/>
                <a:gd name="connsiteX141" fmla="*/ 1361629 w 2198713"/>
                <a:gd name="connsiteY141" fmla="*/ 647735 h 859897"/>
                <a:gd name="connsiteX142" fmla="*/ 1364754 w 2198713"/>
                <a:gd name="connsiteY142" fmla="*/ 660235 h 859897"/>
                <a:gd name="connsiteX143" fmla="*/ 1383345 w 2198713"/>
                <a:gd name="connsiteY143" fmla="*/ 656091 h 859897"/>
                <a:gd name="connsiteX144" fmla="*/ 1472358 w 2198713"/>
                <a:gd name="connsiteY144" fmla="*/ 628015 h 859897"/>
                <a:gd name="connsiteX145" fmla="*/ 1501948 w 2198713"/>
                <a:gd name="connsiteY145" fmla="*/ 606223 h 859897"/>
                <a:gd name="connsiteX146" fmla="*/ 1516195 w 2198713"/>
                <a:gd name="connsiteY146" fmla="*/ 588475 h 859897"/>
                <a:gd name="connsiteX147" fmla="*/ 1543593 w 2198713"/>
                <a:gd name="connsiteY147" fmla="*/ 567385 h 859897"/>
                <a:gd name="connsiteX148" fmla="*/ 1591123 w 2198713"/>
                <a:gd name="connsiteY148" fmla="*/ 558394 h 859897"/>
                <a:gd name="connsiteX149" fmla="*/ 1602204 w 2198713"/>
                <a:gd name="connsiteY149" fmla="*/ 551341 h 859897"/>
                <a:gd name="connsiteX150" fmla="*/ 1635691 w 2198713"/>
                <a:gd name="connsiteY150" fmla="*/ 543487 h 859897"/>
                <a:gd name="connsiteX151" fmla="*/ 1699417 w 2198713"/>
                <a:gd name="connsiteY151" fmla="*/ 529182 h 859897"/>
                <a:gd name="connsiteX152" fmla="*/ 1773250 w 2198713"/>
                <a:gd name="connsiteY152" fmla="*/ 508024 h 859897"/>
                <a:gd name="connsiteX153" fmla="*/ 1838883 w 2198713"/>
                <a:gd name="connsiteY153" fmla="*/ 480617 h 859897"/>
                <a:gd name="connsiteX154" fmla="*/ 1896967 w 2198713"/>
                <a:gd name="connsiteY154" fmla="*/ 454413 h 859897"/>
                <a:gd name="connsiteX155" fmla="*/ 1857068 w 2198713"/>
                <a:gd name="connsiteY155" fmla="*/ 463270 h 859897"/>
                <a:gd name="connsiteX156" fmla="*/ 1802718 w 2198713"/>
                <a:gd name="connsiteY156" fmla="*/ 464574 h 859897"/>
                <a:gd name="connsiteX157" fmla="*/ 1748531 w 2198713"/>
                <a:gd name="connsiteY157" fmla="*/ 470724 h 859897"/>
                <a:gd name="connsiteX158" fmla="*/ 1742118 w 2198713"/>
                <a:gd name="connsiteY158" fmla="*/ 464707 h 859897"/>
                <a:gd name="connsiteX159" fmla="*/ 1768582 w 2198713"/>
                <a:gd name="connsiteY159" fmla="*/ 453043 h 859897"/>
                <a:gd name="connsiteX160" fmla="*/ 1760464 w 2198713"/>
                <a:gd name="connsiteY160" fmla="*/ 437634 h 859897"/>
                <a:gd name="connsiteX161" fmla="*/ 1840141 w 2198713"/>
                <a:gd name="connsiteY161" fmla="*/ 450469 h 859897"/>
                <a:gd name="connsiteX162" fmla="*/ 1899606 w 2198713"/>
                <a:gd name="connsiteY162" fmla="*/ 430950 h 859897"/>
                <a:gd name="connsiteX163" fmla="*/ 1899606 w 2198713"/>
                <a:gd name="connsiteY163" fmla="*/ 419251 h 859897"/>
                <a:gd name="connsiteX164" fmla="*/ 1873791 w 2198713"/>
                <a:gd name="connsiteY164" fmla="*/ 411297 h 859897"/>
                <a:gd name="connsiteX165" fmla="*/ 1809902 w 2198713"/>
                <a:gd name="connsiteY165" fmla="*/ 398261 h 859897"/>
                <a:gd name="connsiteX166" fmla="*/ 1853983 w 2198713"/>
                <a:gd name="connsiteY166" fmla="*/ 391209 h 859897"/>
                <a:gd name="connsiteX167" fmla="*/ 1883735 w 2198713"/>
                <a:gd name="connsiteY167" fmla="*/ 368514 h 859897"/>
                <a:gd name="connsiteX168" fmla="*/ 1804423 w 2198713"/>
                <a:gd name="connsiteY168" fmla="*/ 377539 h 859897"/>
                <a:gd name="connsiteX169" fmla="*/ 1770733 w 2198713"/>
                <a:gd name="connsiteY169" fmla="*/ 382552 h 859897"/>
                <a:gd name="connsiteX170" fmla="*/ 1773453 w 2198713"/>
                <a:gd name="connsiteY170" fmla="*/ 372325 h 859897"/>
                <a:gd name="connsiteX171" fmla="*/ 1795331 w 2198713"/>
                <a:gd name="connsiteY171" fmla="*/ 361897 h 859897"/>
                <a:gd name="connsiteX172" fmla="*/ 1802271 w 2198713"/>
                <a:gd name="connsiteY172" fmla="*/ 353206 h 859897"/>
                <a:gd name="connsiteX173" fmla="*/ 1873791 w 2198713"/>
                <a:gd name="connsiteY173" fmla="*/ 356248 h 859897"/>
                <a:gd name="connsiteX174" fmla="*/ 1924893 w 2198713"/>
                <a:gd name="connsiteY174" fmla="*/ 333754 h 859897"/>
                <a:gd name="connsiteX175" fmla="*/ 1884790 w 2198713"/>
                <a:gd name="connsiteY175" fmla="*/ 323159 h 859897"/>
                <a:gd name="connsiteX176" fmla="*/ 1961059 w 2198713"/>
                <a:gd name="connsiteY176" fmla="*/ 314368 h 859897"/>
                <a:gd name="connsiteX177" fmla="*/ 1978959 w 2198713"/>
                <a:gd name="connsiteY177" fmla="*/ 302570 h 859897"/>
                <a:gd name="connsiteX178" fmla="*/ 1955376 w 2198713"/>
                <a:gd name="connsiteY178" fmla="*/ 303439 h 859897"/>
                <a:gd name="connsiteX179" fmla="*/ 1900498 w 2198713"/>
                <a:gd name="connsiteY179" fmla="*/ 290069 h 859897"/>
                <a:gd name="connsiteX180" fmla="*/ 1973154 w 2198713"/>
                <a:gd name="connsiteY180" fmla="*/ 267876 h 859897"/>
                <a:gd name="connsiteX181" fmla="*/ 1920388 w 2198713"/>
                <a:gd name="connsiteY181" fmla="*/ 250563 h 859897"/>
                <a:gd name="connsiteX182" fmla="*/ 1879270 w 2198713"/>
                <a:gd name="connsiteY182" fmla="*/ 250563 h 859897"/>
                <a:gd name="connsiteX183" fmla="*/ 1858975 w 2198713"/>
                <a:gd name="connsiteY183" fmla="*/ 244680 h 859897"/>
                <a:gd name="connsiteX184" fmla="*/ 1894654 w 2198713"/>
                <a:gd name="connsiteY184" fmla="*/ 230174 h 859897"/>
                <a:gd name="connsiteX185" fmla="*/ 1988335 w 2198713"/>
                <a:gd name="connsiteY185" fmla="*/ 220147 h 859897"/>
                <a:gd name="connsiteX186" fmla="*/ 1968527 w 2198713"/>
                <a:gd name="connsiteY186" fmla="*/ 203669 h 859897"/>
                <a:gd name="connsiteX187" fmla="*/ 1906912 w 2198713"/>
                <a:gd name="connsiteY187" fmla="*/ 204237 h 859897"/>
                <a:gd name="connsiteX188" fmla="*/ 1956391 w 2198713"/>
                <a:gd name="connsiteY188" fmla="*/ 192840 h 859897"/>
                <a:gd name="connsiteX189" fmla="*/ 1900215 w 2198713"/>
                <a:gd name="connsiteY189" fmla="*/ 188228 h 859897"/>
                <a:gd name="connsiteX190" fmla="*/ 1847448 w 2198713"/>
                <a:gd name="connsiteY190" fmla="*/ 203536 h 859897"/>
                <a:gd name="connsiteX191" fmla="*/ 1865145 w 2198713"/>
                <a:gd name="connsiteY191" fmla="*/ 189297 h 859897"/>
                <a:gd name="connsiteX192" fmla="*/ 1870422 w 2198713"/>
                <a:gd name="connsiteY192" fmla="*/ 167438 h 859897"/>
                <a:gd name="connsiteX193" fmla="*/ 1916167 w 2198713"/>
                <a:gd name="connsiteY193" fmla="*/ 147384 h 859897"/>
                <a:gd name="connsiteX194" fmla="*/ 1938897 w 2198713"/>
                <a:gd name="connsiteY194" fmla="*/ 121781 h 859897"/>
                <a:gd name="connsiteX195" fmla="*/ 1994748 w 2198713"/>
                <a:gd name="connsiteY195" fmla="*/ 103165 h 859897"/>
                <a:gd name="connsiteX196" fmla="*/ 1902569 w 2198713"/>
                <a:gd name="connsiteY196" fmla="*/ 115765 h 859897"/>
                <a:gd name="connsiteX197" fmla="*/ 1923350 w 2198713"/>
                <a:gd name="connsiteY197" fmla="*/ 102396 h 859897"/>
                <a:gd name="connsiteX198" fmla="*/ 1980663 w 2198713"/>
                <a:gd name="connsiteY198" fmla="*/ 92903 h 859897"/>
                <a:gd name="connsiteX199" fmla="*/ 2038342 w 2198713"/>
                <a:gd name="connsiteY199" fmla="*/ 82676 h 859897"/>
                <a:gd name="connsiteX200" fmla="*/ 2020563 w 2198713"/>
                <a:gd name="connsiteY200" fmla="*/ 75991 h 859897"/>
                <a:gd name="connsiteX201" fmla="*/ 1960450 w 2198713"/>
                <a:gd name="connsiteY201" fmla="*/ 81974 h 859897"/>
                <a:gd name="connsiteX202" fmla="*/ 1962682 w 2198713"/>
                <a:gd name="connsiteY202" fmla="*/ 77027 h 859897"/>
                <a:gd name="connsiteX203" fmla="*/ 2027017 w 2198713"/>
                <a:gd name="connsiteY203" fmla="*/ 67535 h 859897"/>
                <a:gd name="connsiteX204" fmla="*/ 2063142 w 2198713"/>
                <a:gd name="connsiteY204" fmla="*/ 58778 h 859897"/>
                <a:gd name="connsiteX205" fmla="*/ 2104625 w 2198713"/>
                <a:gd name="connsiteY205" fmla="*/ 47013 h 859897"/>
                <a:gd name="connsiteX206" fmla="*/ 2150653 w 2198713"/>
                <a:gd name="connsiteY206" fmla="*/ 36986 h 859897"/>
                <a:gd name="connsiteX207" fmla="*/ 2186048 w 2198713"/>
                <a:gd name="connsiteY207" fmla="*/ 14859 h 859897"/>
                <a:gd name="connsiteX208" fmla="*/ 2069799 w 2198713"/>
                <a:gd name="connsiteY208" fmla="*/ 13389 h 859897"/>
                <a:gd name="connsiteX209" fmla="*/ 841349 w 2198713"/>
                <a:gd name="connsiteY209" fmla="*/ 655122 h 859897"/>
                <a:gd name="connsiteX210" fmla="*/ 821542 w 2198713"/>
                <a:gd name="connsiteY210" fmla="*/ 652047 h 859897"/>
                <a:gd name="connsiteX211" fmla="*/ 790531 w 2198713"/>
                <a:gd name="connsiteY211" fmla="*/ 646766 h 859897"/>
                <a:gd name="connsiteX212" fmla="*/ 738860 w 2198713"/>
                <a:gd name="connsiteY212" fmla="*/ 661338 h 859897"/>
                <a:gd name="connsiteX213" fmla="*/ 781561 w 2198713"/>
                <a:gd name="connsiteY213" fmla="*/ 676279 h 859897"/>
                <a:gd name="connsiteX214" fmla="*/ 841349 w 2198713"/>
                <a:gd name="connsiteY214" fmla="*/ 655122 h 85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2198713" h="859897">
                  <a:moveTo>
                    <a:pt x="2069799" y="13389"/>
                  </a:moveTo>
                  <a:cubicBezTo>
                    <a:pt x="2044227" y="15728"/>
                    <a:pt x="1995804" y="20809"/>
                    <a:pt x="1995479" y="36785"/>
                  </a:cubicBezTo>
                  <a:cubicBezTo>
                    <a:pt x="1995235" y="48651"/>
                    <a:pt x="1939221" y="42768"/>
                    <a:pt x="1924406" y="45509"/>
                  </a:cubicBezTo>
                  <a:cubicBezTo>
                    <a:pt x="1911986" y="47782"/>
                    <a:pt x="1908698" y="49887"/>
                    <a:pt x="1901148" y="44874"/>
                  </a:cubicBezTo>
                  <a:cubicBezTo>
                    <a:pt x="1893598" y="39860"/>
                    <a:pt x="1878337" y="47347"/>
                    <a:pt x="1870828" y="50790"/>
                  </a:cubicBezTo>
                  <a:cubicBezTo>
                    <a:pt x="1838356" y="65630"/>
                    <a:pt x="1804707" y="79467"/>
                    <a:pt x="1773412" y="94942"/>
                  </a:cubicBezTo>
                  <a:cubicBezTo>
                    <a:pt x="1742118" y="110417"/>
                    <a:pt x="1760464" y="92669"/>
                    <a:pt x="1771180" y="85216"/>
                  </a:cubicBezTo>
                  <a:cubicBezTo>
                    <a:pt x="1786482" y="74487"/>
                    <a:pt x="1832673" y="53698"/>
                    <a:pt x="1821876" y="41431"/>
                  </a:cubicBezTo>
                  <a:cubicBezTo>
                    <a:pt x="1810471" y="28496"/>
                    <a:pt x="1765984" y="38657"/>
                    <a:pt x="1753361" y="49419"/>
                  </a:cubicBezTo>
                  <a:cubicBezTo>
                    <a:pt x="1743213" y="58043"/>
                    <a:pt x="1712243" y="64594"/>
                    <a:pt x="1695277" y="70175"/>
                  </a:cubicBezTo>
                  <a:cubicBezTo>
                    <a:pt x="1675834" y="76526"/>
                    <a:pt x="1651399" y="86586"/>
                    <a:pt x="1628953" y="89427"/>
                  </a:cubicBezTo>
                  <a:cubicBezTo>
                    <a:pt x="1608658" y="91934"/>
                    <a:pt x="1655012" y="73317"/>
                    <a:pt x="1658178" y="72248"/>
                  </a:cubicBezTo>
                  <a:cubicBezTo>
                    <a:pt x="1661344" y="71178"/>
                    <a:pt x="1703517" y="56940"/>
                    <a:pt x="1693613" y="56071"/>
                  </a:cubicBezTo>
                  <a:cubicBezTo>
                    <a:pt x="1670720" y="53998"/>
                    <a:pt x="1635407" y="60683"/>
                    <a:pt x="1611905" y="64026"/>
                  </a:cubicBezTo>
                  <a:cubicBezTo>
                    <a:pt x="1581098" y="68167"/>
                    <a:pt x="1550574" y="73805"/>
                    <a:pt x="1520578" y="80904"/>
                  </a:cubicBezTo>
                  <a:cubicBezTo>
                    <a:pt x="1490502" y="88224"/>
                    <a:pt x="1455635" y="100691"/>
                    <a:pt x="1423691" y="104301"/>
                  </a:cubicBezTo>
                  <a:cubicBezTo>
                    <a:pt x="1402625" y="106674"/>
                    <a:pt x="1449587" y="90931"/>
                    <a:pt x="1452875" y="89929"/>
                  </a:cubicBezTo>
                  <a:cubicBezTo>
                    <a:pt x="1486483" y="80470"/>
                    <a:pt x="1521878" y="72314"/>
                    <a:pt x="1556987" y="65429"/>
                  </a:cubicBezTo>
                  <a:cubicBezTo>
                    <a:pt x="1593518" y="58277"/>
                    <a:pt x="1631673" y="54299"/>
                    <a:pt x="1668853" y="48717"/>
                  </a:cubicBezTo>
                  <a:cubicBezTo>
                    <a:pt x="1708590" y="42902"/>
                    <a:pt x="1741062" y="32607"/>
                    <a:pt x="1779216" y="24552"/>
                  </a:cubicBezTo>
                  <a:cubicBezTo>
                    <a:pt x="1787091" y="22848"/>
                    <a:pt x="1856093" y="10715"/>
                    <a:pt x="1827153" y="6169"/>
                  </a:cubicBezTo>
                  <a:cubicBezTo>
                    <a:pt x="1792327" y="654"/>
                    <a:pt x="1756608" y="10915"/>
                    <a:pt x="1721133" y="10046"/>
                  </a:cubicBezTo>
                  <a:cubicBezTo>
                    <a:pt x="1707494" y="9746"/>
                    <a:pt x="1712324" y="3796"/>
                    <a:pt x="1700432" y="2660"/>
                  </a:cubicBezTo>
                  <a:cubicBezTo>
                    <a:pt x="1688539" y="1523"/>
                    <a:pt x="1674536" y="2994"/>
                    <a:pt x="1663901" y="888"/>
                  </a:cubicBezTo>
                  <a:cubicBezTo>
                    <a:pt x="1645027" y="-2955"/>
                    <a:pt x="1615842" y="3228"/>
                    <a:pt x="1593924" y="5802"/>
                  </a:cubicBezTo>
                  <a:cubicBezTo>
                    <a:pt x="1566080" y="9144"/>
                    <a:pt x="1543228" y="6804"/>
                    <a:pt x="1515870" y="8877"/>
                  </a:cubicBezTo>
                  <a:cubicBezTo>
                    <a:pt x="1473778" y="12219"/>
                    <a:pt x="1432783" y="20408"/>
                    <a:pt x="1391381" y="27326"/>
                  </a:cubicBezTo>
                  <a:cubicBezTo>
                    <a:pt x="1358910" y="32741"/>
                    <a:pt x="1326762" y="37855"/>
                    <a:pt x="1294656" y="43737"/>
                  </a:cubicBezTo>
                  <a:cubicBezTo>
                    <a:pt x="1279556" y="46776"/>
                    <a:pt x="1264660" y="50456"/>
                    <a:pt x="1250007" y="54767"/>
                  </a:cubicBezTo>
                  <a:cubicBezTo>
                    <a:pt x="1234299" y="59112"/>
                    <a:pt x="1203654" y="61118"/>
                    <a:pt x="1193182" y="69641"/>
                  </a:cubicBezTo>
                  <a:cubicBezTo>
                    <a:pt x="1187418" y="74253"/>
                    <a:pt x="1206657" y="74554"/>
                    <a:pt x="1199230" y="80370"/>
                  </a:cubicBezTo>
                  <a:cubicBezTo>
                    <a:pt x="1192451" y="84517"/>
                    <a:pt x="1184292" y="86850"/>
                    <a:pt x="1175850" y="87054"/>
                  </a:cubicBezTo>
                  <a:cubicBezTo>
                    <a:pt x="1167732" y="87054"/>
                    <a:pt x="1171019" y="81439"/>
                    <a:pt x="1162212" y="80670"/>
                  </a:cubicBezTo>
                  <a:cubicBezTo>
                    <a:pt x="1146260" y="79761"/>
                    <a:pt x="1130308" y="82054"/>
                    <a:pt x="1115696" y="87355"/>
                  </a:cubicBezTo>
                  <a:cubicBezTo>
                    <a:pt x="1093006" y="96480"/>
                    <a:pt x="1070032" y="97716"/>
                    <a:pt x="1043933" y="100992"/>
                  </a:cubicBezTo>
                  <a:cubicBezTo>
                    <a:pt x="1017834" y="104267"/>
                    <a:pt x="1007889" y="111687"/>
                    <a:pt x="984266" y="117704"/>
                  </a:cubicBezTo>
                  <a:cubicBezTo>
                    <a:pt x="955853" y="125024"/>
                    <a:pt x="926385" y="130338"/>
                    <a:pt x="897729" y="137357"/>
                  </a:cubicBezTo>
                  <a:cubicBezTo>
                    <a:pt x="864283" y="145546"/>
                    <a:pt x="907714" y="144042"/>
                    <a:pt x="919606" y="144743"/>
                  </a:cubicBezTo>
                  <a:cubicBezTo>
                    <a:pt x="945949" y="146348"/>
                    <a:pt x="911488" y="153768"/>
                    <a:pt x="900164" y="156375"/>
                  </a:cubicBezTo>
                  <a:cubicBezTo>
                    <a:pt x="883603" y="160152"/>
                    <a:pt x="846910" y="168407"/>
                    <a:pt x="878611" y="171482"/>
                  </a:cubicBezTo>
                  <a:cubicBezTo>
                    <a:pt x="909134" y="174457"/>
                    <a:pt x="950049" y="169845"/>
                    <a:pt x="975052" y="178167"/>
                  </a:cubicBezTo>
                  <a:cubicBezTo>
                    <a:pt x="985484" y="181676"/>
                    <a:pt x="965595" y="183047"/>
                    <a:pt x="960562" y="183281"/>
                  </a:cubicBezTo>
                  <a:cubicBezTo>
                    <a:pt x="939942" y="184183"/>
                    <a:pt x="921839" y="181342"/>
                    <a:pt x="901382" y="182345"/>
                  </a:cubicBezTo>
                  <a:cubicBezTo>
                    <a:pt x="883766" y="183214"/>
                    <a:pt x="865216" y="186857"/>
                    <a:pt x="847884" y="187091"/>
                  </a:cubicBezTo>
                  <a:cubicBezTo>
                    <a:pt x="835017" y="187292"/>
                    <a:pt x="825114" y="184350"/>
                    <a:pt x="811800" y="184651"/>
                  </a:cubicBezTo>
                  <a:cubicBezTo>
                    <a:pt x="795564" y="184985"/>
                    <a:pt x="739429" y="188194"/>
                    <a:pt x="729484" y="199625"/>
                  </a:cubicBezTo>
                  <a:cubicBezTo>
                    <a:pt x="723314" y="206677"/>
                    <a:pt x="769384" y="206911"/>
                    <a:pt x="776852" y="208215"/>
                  </a:cubicBezTo>
                  <a:cubicBezTo>
                    <a:pt x="804169" y="212727"/>
                    <a:pt x="742635" y="220147"/>
                    <a:pt x="735938" y="222119"/>
                  </a:cubicBezTo>
                  <a:cubicBezTo>
                    <a:pt x="715643" y="227935"/>
                    <a:pt x="691776" y="219913"/>
                    <a:pt x="671684" y="220648"/>
                  </a:cubicBezTo>
                  <a:cubicBezTo>
                    <a:pt x="631825" y="222186"/>
                    <a:pt x="670954" y="242207"/>
                    <a:pt x="660482" y="253136"/>
                  </a:cubicBezTo>
                  <a:cubicBezTo>
                    <a:pt x="657072" y="256712"/>
                    <a:pt x="647411" y="264467"/>
                    <a:pt x="638604" y="265369"/>
                  </a:cubicBezTo>
                  <a:cubicBezTo>
                    <a:pt x="634788" y="265770"/>
                    <a:pt x="640349" y="254239"/>
                    <a:pt x="640024" y="252501"/>
                  </a:cubicBezTo>
                  <a:cubicBezTo>
                    <a:pt x="637264" y="237226"/>
                    <a:pt x="616360" y="227667"/>
                    <a:pt x="581778" y="238664"/>
                  </a:cubicBezTo>
                  <a:cubicBezTo>
                    <a:pt x="549712" y="248691"/>
                    <a:pt x="521664" y="261325"/>
                    <a:pt x="488421" y="270149"/>
                  </a:cubicBezTo>
                  <a:cubicBezTo>
                    <a:pt x="477543" y="273023"/>
                    <a:pt x="452621" y="279407"/>
                    <a:pt x="447832" y="286092"/>
                  </a:cubicBezTo>
                  <a:cubicBezTo>
                    <a:pt x="444098" y="291306"/>
                    <a:pt x="481440" y="288565"/>
                    <a:pt x="466341" y="294882"/>
                  </a:cubicBezTo>
                  <a:cubicBezTo>
                    <a:pt x="452256" y="300765"/>
                    <a:pt x="438658" y="297790"/>
                    <a:pt x="424980" y="299428"/>
                  </a:cubicBezTo>
                  <a:cubicBezTo>
                    <a:pt x="411480" y="301360"/>
                    <a:pt x="398288" y="304532"/>
                    <a:pt x="385648" y="308887"/>
                  </a:cubicBezTo>
                  <a:cubicBezTo>
                    <a:pt x="375014" y="311962"/>
                    <a:pt x="364870" y="316093"/>
                    <a:pt x="355449" y="321187"/>
                  </a:cubicBezTo>
                  <a:cubicBezTo>
                    <a:pt x="347331" y="326233"/>
                    <a:pt x="367099" y="327370"/>
                    <a:pt x="370914" y="330044"/>
                  </a:cubicBezTo>
                  <a:cubicBezTo>
                    <a:pt x="375825" y="333386"/>
                    <a:pt x="384065" y="343112"/>
                    <a:pt x="372375" y="348828"/>
                  </a:cubicBezTo>
                  <a:cubicBezTo>
                    <a:pt x="361903" y="353975"/>
                    <a:pt x="341690" y="353775"/>
                    <a:pt x="330608" y="355145"/>
                  </a:cubicBezTo>
                  <a:cubicBezTo>
                    <a:pt x="303779" y="358487"/>
                    <a:pt x="285026" y="367679"/>
                    <a:pt x="263432" y="378541"/>
                  </a:cubicBezTo>
                  <a:cubicBezTo>
                    <a:pt x="240215" y="390139"/>
                    <a:pt x="217850" y="402306"/>
                    <a:pt x="196743" y="414973"/>
                  </a:cubicBezTo>
                  <a:cubicBezTo>
                    <a:pt x="185216" y="421858"/>
                    <a:pt x="158914" y="435629"/>
                    <a:pt x="157128" y="444152"/>
                  </a:cubicBezTo>
                  <a:cubicBezTo>
                    <a:pt x="153799" y="459493"/>
                    <a:pt x="301790" y="394017"/>
                    <a:pt x="246425" y="451873"/>
                  </a:cubicBezTo>
                  <a:cubicBezTo>
                    <a:pt x="230879" y="468117"/>
                    <a:pt x="208758" y="475002"/>
                    <a:pt x="179858" y="483759"/>
                  </a:cubicBezTo>
                  <a:cubicBezTo>
                    <a:pt x="162202" y="489073"/>
                    <a:pt x="129770" y="496092"/>
                    <a:pt x="123438" y="506921"/>
                  </a:cubicBezTo>
                  <a:cubicBezTo>
                    <a:pt x="119014" y="514408"/>
                    <a:pt x="88775" y="524335"/>
                    <a:pt x="77653" y="528948"/>
                  </a:cubicBezTo>
                  <a:cubicBezTo>
                    <a:pt x="54557" y="538373"/>
                    <a:pt x="28296" y="548032"/>
                    <a:pt x="8650" y="560065"/>
                  </a:cubicBezTo>
                  <a:cubicBezTo>
                    <a:pt x="-13593" y="573902"/>
                    <a:pt x="11127" y="579718"/>
                    <a:pt x="34060" y="573769"/>
                  </a:cubicBezTo>
                  <a:cubicBezTo>
                    <a:pt x="52447" y="569022"/>
                    <a:pt x="70956" y="562806"/>
                    <a:pt x="87192" y="565613"/>
                  </a:cubicBezTo>
                  <a:cubicBezTo>
                    <a:pt x="101966" y="568153"/>
                    <a:pt x="124413" y="562572"/>
                    <a:pt x="141298" y="557458"/>
                  </a:cubicBezTo>
                  <a:cubicBezTo>
                    <a:pt x="167681" y="549436"/>
                    <a:pt x="214359" y="520692"/>
                    <a:pt x="238713" y="529750"/>
                  </a:cubicBezTo>
                  <a:cubicBezTo>
                    <a:pt x="261119" y="538106"/>
                    <a:pt x="202182" y="548467"/>
                    <a:pt x="190777" y="551241"/>
                  </a:cubicBezTo>
                  <a:cubicBezTo>
                    <a:pt x="164028" y="557592"/>
                    <a:pt x="148157" y="567518"/>
                    <a:pt x="123520" y="575941"/>
                  </a:cubicBezTo>
                  <a:cubicBezTo>
                    <a:pt x="117593" y="577913"/>
                    <a:pt x="54801" y="596229"/>
                    <a:pt x="70753" y="599338"/>
                  </a:cubicBezTo>
                  <a:cubicBezTo>
                    <a:pt x="82280" y="601376"/>
                    <a:pt x="156681" y="577311"/>
                    <a:pt x="146615" y="590113"/>
                  </a:cubicBezTo>
                  <a:cubicBezTo>
                    <a:pt x="143043" y="594625"/>
                    <a:pt x="135778" y="602179"/>
                    <a:pt x="148239" y="601410"/>
                  </a:cubicBezTo>
                  <a:cubicBezTo>
                    <a:pt x="165449" y="600407"/>
                    <a:pt x="185013" y="598068"/>
                    <a:pt x="202629" y="595962"/>
                  </a:cubicBezTo>
                  <a:cubicBezTo>
                    <a:pt x="216778" y="594912"/>
                    <a:pt x="230721" y="592456"/>
                    <a:pt x="244152" y="588642"/>
                  </a:cubicBezTo>
                  <a:cubicBezTo>
                    <a:pt x="255923" y="584598"/>
                    <a:pt x="240093" y="584798"/>
                    <a:pt x="240743" y="581957"/>
                  </a:cubicBezTo>
                  <a:cubicBezTo>
                    <a:pt x="241839" y="577612"/>
                    <a:pt x="260713" y="574003"/>
                    <a:pt x="266233" y="573067"/>
                  </a:cubicBezTo>
                  <a:cubicBezTo>
                    <a:pt x="281251" y="570560"/>
                    <a:pt x="283281" y="573668"/>
                    <a:pt x="297447" y="565914"/>
                  </a:cubicBezTo>
                  <a:cubicBezTo>
                    <a:pt x="310516" y="558828"/>
                    <a:pt x="324601" y="557625"/>
                    <a:pt x="337103" y="551709"/>
                  </a:cubicBezTo>
                  <a:cubicBezTo>
                    <a:pt x="346357" y="547297"/>
                    <a:pt x="352892" y="539576"/>
                    <a:pt x="365516" y="539977"/>
                  </a:cubicBezTo>
                  <a:cubicBezTo>
                    <a:pt x="390235" y="540746"/>
                    <a:pt x="426766" y="530786"/>
                    <a:pt x="453068" y="526942"/>
                  </a:cubicBezTo>
                  <a:cubicBezTo>
                    <a:pt x="478599" y="523165"/>
                    <a:pt x="516428" y="518854"/>
                    <a:pt x="538672" y="521193"/>
                  </a:cubicBezTo>
                  <a:cubicBezTo>
                    <a:pt x="550321" y="522430"/>
                    <a:pt x="545937" y="530452"/>
                    <a:pt x="555354" y="533293"/>
                  </a:cubicBezTo>
                  <a:cubicBezTo>
                    <a:pt x="571103" y="538039"/>
                    <a:pt x="593549" y="534763"/>
                    <a:pt x="612586" y="535632"/>
                  </a:cubicBezTo>
                  <a:cubicBezTo>
                    <a:pt x="644530" y="537136"/>
                    <a:pt x="634017" y="554884"/>
                    <a:pt x="655773" y="559965"/>
                  </a:cubicBezTo>
                  <a:cubicBezTo>
                    <a:pt x="659832" y="560901"/>
                    <a:pt x="680127" y="562137"/>
                    <a:pt x="677245" y="566148"/>
                  </a:cubicBezTo>
                  <a:cubicBezTo>
                    <a:pt x="669736" y="576175"/>
                    <a:pt x="697012" y="576175"/>
                    <a:pt x="704846" y="579952"/>
                  </a:cubicBezTo>
                  <a:cubicBezTo>
                    <a:pt x="711056" y="582994"/>
                    <a:pt x="699691" y="589979"/>
                    <a:pt x="695023" y="593322"/>
                  </a:cubicBezTo>
                  <a:cubicBezTo>
                    <a:pt x="686540" y="599739"/>
                    <a:pt x="688326" y="600407"/>
                    <a:pt x="693481" y="604752"/>
                  </a:cubicBezTo>
                  <a:cubicBezTo>
                    <a:pt x="698636" y="609097"/>
                    <a:pt x="693481" y="615080"/>
                    <a:pt x="696160" y="619559"/>
                  </a:cubicBezTo>
                  <a:cubicBezTo>
                    <a:pt x="700462" y="626244"/>
                    <a:pt x="724573" y="620829"/>
                    <a:pt x="734396" y="615983"/>
                  </a:cubicBezTo>
                  <a:cubicBezTo>
                    <a:pt x="739388" y="613409"/>
                    <a:pt x="778435" y="584631"/>
                    <a:pt x="776040" y="601978"/>
                  </a:cubicBezTo>
                  <a:cubicBezTo>
                    <a:pt x="773280" y="621665"/>
                    <a:pt x="828564" y="608095"/>
                    <a:pt x="853445" y="612005"/>
                  </a:cubicBezTo>
                  <a:cubicBezTo>
                    <a:pt x="860711" y="613108"/>
                    <a:pt x="880600" y="620194"/>
                    <a:pt x="858438" y="622367"/>
                  </a:cubicBezTo>
                  <a:cubicBezTo>
                    <a:pt x="844069" y="623770"/>
                    <a:pt x="832217" y="621130"/>
                    <a:pt x="817280" y="622968"/>
                  </a:cubicBezTo>
                  <a:cubicBezTo>
                    <a:pt x="811069" y="623637"/>
                    <a:pt x="746288" y="634934"/>
                    <a:pt x="748034" y="640014"/>
                  </a:cubicBezTo>
                  <a:cubicBezTo>
                    <a:pt x="749779" y="645095"/>
                    <a:pt x="794225" y="643022"/>
                    <a:pt x="802180" y="642989"/>
                  </a:cubicBezTo>
                  <a:cubicBezTo>
                    <a:pt x="813976" y="643123"/>
                    <a:pt x="825767" y="642521"/>
                    <a:pt x="837453" y="641184"/>
                  </a:cubicBezTo>
                  <a:cubicBezTo>
                    <a:pt x="850239" y="639513"/>
                    <a:pt x="857991" y="635068"/>
                    <a:pt x="870452" y="637374"/>
                  </a:cubicBezTo>
                  <a:cubicBezTo>
                    <a:pt x="877271" y="638644"/>
                    <a:pt x="891275" y="643256"/>
                    <a:pt x="884415" y="648972"/>
                  </a:cubicBezTo>
                  <a:cubicBezTo>
                    <a:pt x="875932" y="655991"/>
                    <a:pt x="882792" y="664347"/>
                    <a:pt x="884415" y="670463"/>
                  </a:cubicBezTo>
                  <a:cubicBezTo>
                    <a:pt x="888028" y="683832"/>
                    <a:pt x="821217" y="679688"/>
                    <a:pt x="817767" y="698405"/>
                  </a:cubicBezTo>
                  <a:cubicBezTo>
                    <a:pt x="816103" y="707296"/>
                    <a:pt x="813708" y="711775"/>
                    <a:pt x="804981" y="720732"/>
                  </a:cubicBezTo>
                  <a:cubicBezTo>
                    <a:pt x="798974" y="727149"/>
                    <a:pt x="792520" y="737745"/>
                    <a:pt x="806645" y="739550"/>
                  </a:cubicBezTo>
                  <a:cubicBezTo>
                    <a:pt x="814763" y="740619"/>
                    <a:pt x="833759" y="736775"/>
                    <a:pt x="839117" y="740151"/>
                  </a:cubicBezTo>
                  <a:cubicBezTo>
                    <a:pt x="842933" y="742491"/>
                    <a:pt x="821420" y="752618"/>
                    <a:pt x="818457" y="755092"/>
                  </a:cubicBezTo>
                  <a:cubicBezTo>
                    <a:pt x="802546" y="768127"/>
                    <a:pt x="852268" y="771803"/>
                    <a:pt x="865866" y="772739"/>
                  </a:cubicBezTo>
                  <a:cubicBezTo>
                    <a:pt x="886160" y="774076"/>
                    <a:pt x="875323" y="806831"/>
                    <a:pt x="897647" y="800882"/>
                  </a:cubicBezTo>
                  <a:cubicBezTo>
                    <a:pt x="912625" y="796904"/>
                    <a:pt x="906658" y="806798"/>
                    <a:pt x="913356" y="810307"/>
                  </a:cubicBezTo>
                  <a:cubicBezTo>
                    <a:pt x="918673" y="813048"/>
                    <a:pt x="927319" y="815889"/>
                    <a:pt x="933163" y="818262"/>
                  </a:cubicBezTo>
                  <a:cubicBezTo>
                    <a:pt x="940023" y="821003"/>
                    <a:pt x="952647" y="817761"/>
                    <a:pt x="959466" y="820635"/>
                  </a:cubicBezTo>
                  <a:cubicBezTo>
                    <a:pt x="963890" y="822474"/>
                    <a:pt x="960724" y="826785"/>
                    <a:pt x="961698" y="829526"/>
                  </a:cubicBezTo>
                  <a:cubicBezTo>
                    <a:pt x="963525" y="834707"/>
                    <a:pt x="971764" y="837380"/>
                    <a:pt x="979273" y="839854"/>
                  </a:cubicBezTo>
                  <a:cubicBezTo>
                    <a:pt x="990423" y="843029"/>
                    <a:pt x="1001776" y="845683"/>
                    <a:pt x="1013288" y="847809"/>
                  </a:cubicBezTo>
                  <a:cubicBezTo>
                    <a:pt x="1024815" y="850382"/>
                    <a:pt x="1030457" y="856164"/>
                    <a:pt x="1041700" y="858671"/>
                  </a:cubicBezTo>
                  <a:cubicBezTo>
                    <a:pt x="1057003" y="862014"/>
                    <a:pt x="1066054" y="854861"/>
                    <a:pt x="1081073" y="854627"/>
                  </a:cubicBezTo>
                  <a:cubicBezTo>
                    <a:pt x="1085294" y="854884"/>
                    <a:pt x="1089515" y="855376"/>
                    <a:pt x="1093655" y="856098"/>
                  </a:cubicBezTo>
                  <a:cubicBezTo>
                    <a:pt x="1101367" y="856766"/>
                    <a:pt x="1110866" y="853156"/>
                    <a:pt x="1119024" y="852454"/>
                  </a:cubicBezTo>
                  <a:cubicBezTo>
                    <a:pt x="1135260" y="851084"/>
                    <a:pt x="1139319" y="855797"/>
                    <a:pt x="1151821" y="857067"/>
                  </a:cubicBezTo>
                  <a:cubicBezTo>
                    <a:pt x="1165012" y="857976"/>
                    <a:pt x="1178285" y="857742"/>
                    <a:pt x="1191396" y="856365"/>
                  </a:cubicBezTo>
                  <a:cubicBezTo>
                    <a:pt x="1202071" y="855563"/>
                    <a:pt x="1212096" y="855697"/>
                    <a:pt x="1217211" y="849079"/>
                  </a:cubicBezTo>
                  <a:cubicBezTo>
                    <a:pt x="1221595" y="843330"/>
                    <a:pt x="1231092" y="836879"/>
                    <a:pt x="1232391" y="831164"/>
                  </a:cubicBezTo>
                  <a:cubicBezTo>
                    <a:pt x="1233690" y="825448"/>
                    <a:pt x="1232067" y="819432"/>
                    <a:pt x="1233406" y="813416"/>
                  </a:cubicBezTo>
                  <a:cubicBezTo>
                    <a:pt x="1234299" y="809204"/>
                    <a:pt x="1240834" y="806965"/>
                    <a:pt x="1241524" y="802720"/>
                  </a:cubicBezTo>
                  <a:cubicBezTo>
                    <a:pt x="1242092" y="796544"/>
                    <a:pt x="1239576" y="790444"/>
                    <a:pt x="1234542" y="785841"/>
                  </a:cubicBezTo>
                  <a:cubicBezTo>
                    <a:pt x="1231133" y="782499"/>
                    <a:pt x="1215912" y="781964"/>
                    <a:pt x="1222812" y="776483"/>
                  </a:cubicBezTo>
                  <a:cubicBezTo>
                    <a:pt x="1230565" y="770366"/>
                    <a:pt x="1245096" y="772371"/>
                    <a:pt x="1253701" y="767458"/>
                  </a:cubicBezTo>
                  <a:cubicBezTo>
                    <a:pt x="1259830" y="764116"/>
                    <a:pt x="1257029" y="759737"/>
                    <a:pt x="1261535" y="756094"/>
                  </a:cubicBezTo>
                  <a:cubicBezTo>
                    <a:pt x="1268638" y="750312"/>
                    <a:pt x="1283210" y="735238"/>
                    <a:pt x="1277324" y="729823"/>
                  </a:cubicBezTo>
                  <a:cubicBezTo>
                    <a:pt x="1271438" y="724409"/>
                    <a:pt x="1265716" y="721735"/>
                    <a:pt x="1283818" y="716821"/>
                  </a:cubicBezTo>
                  <a:cubicBezTo>
                    <a:pt x="1295995" y="713479"/>
                    <a:pt x="1287877" y="707630"/>
                    <a:pt x="1280896" y="706393"/>
                  </a:cubicBezTo>
                  <a:cubicBezTo>
                    <a:pt x="1278014" y="705892"/>
                    <a:pt x="1252240" y="704856"/>
                    <a:pt x="1264214" y="699341"/>
                  </a:cubicBezTo>
                  <a:cubicBezTo>
                    <a:pt x="1273468" y="695063"/>
                    <a:pt x="1290353" y="703218"/>
                    <a:pt x="1298066" y="695999"/>
                  </a:cubicBezTo>
                  <a:cubicBezTo>
                    <a:pt x="1304235" y="690116"/>
                    <a:pt x="1282682" y="689849"/>
                    <a:pt x="1297660" y="683030"/>
                  </a:cubicBezTo>
                  <a:cubicBezTo>
                    <a:pt x="1310404" y="677248"/>
                    <a:pt x="1326762" y="675744"/>
                    <a:pt x="1339629" y="670296"/>
                  </a:cubicBezTo>
                  <a:cubicBezTo>
                    <a:pt x="1354404" y="664012"/>
                    <a:pt x="1342227" y="647601"/>
                    <a:pt x="1361629" y="647735"/>
                  </a:cubicBezTo>
                  <a:cubicBezTo>
                    <a:pt x="1372264" y="647735"/>
                    <a:pt x="1363131" y="656893"/>
                    <a:pt x="1364754" y="660235"/>
                  </a:cubicBezTo>
                  <a:cubicBezTo>
                    <a:pt x="1367718" y="666385"/>
                    <a:pt x="1377784" y="657896"/>
                    <a:pt x="1383345" y="656091"/>
                  </a:cubicBezTo>
                  <a:cubicBezTo>
                    <a:pt x="1414639" y="646064"/>
                    <a:pt x="1444757" y="642721"/>
                    <a:pt x="1472358" y="628015"/>
                  </a:cubicBezTo>
                  <a:cubicBezTo>
                    <a:pt x="1483764" y="622306"/>
                    <a:pt x="1493789" y="614920"/>
                    <a:pt x="1501948" y="606223"/>
                  </a:cubicBezTo>
                  <a:cubicBezTo>
                    <a:pt x="1507143" y="600140"/>
                    <a:pt x="1507062" y="593990"/>
                    <a:pt x="1516195" y="588475"/>
                  </a:cubicBezTo>
                  <a:cubicBezTo>
                    <a:pt x="1531051" y="579551"/>
                    <a:pt x="1547408" y="578448"/>
                    <a:pt x="1543593" y="567385"/>
                  </a:cubicBezTo>
                  <a:cubicBezTo>
                    <a:pt x="1538641" y="553046"/>
                    <a:pt x="1583005" y="562471"/>
                    <a:pt x="1591123" y="558394"/>
                  </a:cubicBezTo>
                  <a:cubicBezTo>
                    <a:pt x="1596238" y="555820"/>
                    <a:pt x="1594006" y="553380"/>
                    <a:pt x="1602204" y="551341"/>
                  </a:cubicBezTo>
                  <a:cubicBezTo>
                    <a:pt x="1613813" y="548400"/>
                    <a:pt x="1624894" y="547665"/>
                    <a:pt x="1635691" y="543487"/>
                  </a:cubicBezTo>
                  <a:cubicBezTo>
                    <a:pt x="1654200" y="536301"/>
                    <a:pt x="1678757" y="533827"/>
                    <a:pt x="1699417" y="529182"/>
                  </a:cubicBezTo>
                  <a:cubicBezTo>
                    <a:pt x="1724583" y="523500"/>
                    <a:pt x="1751331" y="517116"/>
                    <a:pt x="1773250" y="508024"/>
                  </a:cubicBezTo>
                  <a:cubicBezTo>
                    <a:pt x="1795168" y="498933"/>
                    <a:pt x="1815017" y="488973"/>
                    <a:pt x="1838883" y="480617"/>
                  </a:cubicBezTo>
                  <a:cubicBezTo>
                    <a:pt x="1843389" y="478946"/>
                    <a:pt x="1904801" y="455950"/>
                    <a:pt x="1896967" y="454413"/>
                  </a:cubicBezTo>
                  <a:cubicBezTo>
                    <a:pt x="1894045" y="453811"/>
                    <a:pt x="1862913" y="462502"/>
                    <a:pt x="1857068" y="463270"/>
                  </a:cubicBezTo>
                  <a:cubicBezTo>
                    <a:pt x="1839046" y="465115"/>
                    <a:pt x="1820861" y="465550"/>
                    <a:pt x="1802718" y="464574"/>
                  </a:cubicBezTo>
                  <a:cubicBezTo>
                    <a:pt x="1785305" y="464072"/>
                    <a:pt x="1764279" y="464039"/>
                    <a:pt x="1748531" y="470724"/>
                  </a:cubicBezTo>
                  <a:cubicBezTo>
                    <a:pt x="1732782" y="477408"/>
                    <a:pt x="1735014" y="469688"/>
                    <a:pt x="1742118" y="464707"/>
                  </a:cubicBezTo>
                  <a:cubicBezTo>
                    <a:pt x="1747759" y="460730"/>
                    <a:pt x="1768054" y="457354"/>
                    <a:pt x="1768582" y="453043"/>
                  </a:cubicBezTo>
                  <a:cubicBezTo>
                    <a:pt x="1769109" y="448731"/>
                    <a:pt x="1753929" y="442247"/>
                    <a:pt x="1760464" y="437634"/>
                  </a:cubicBezTo>
                  <a:cubicBezTo>
                    <a:pt x="1776700" y="426304"/>
                    <a:pt x="1826747" y="449099"/>
                    <a:pt x="1840141" y="450469"/>
                  </a:cubicBezTo>
                  <a:cubicBezTo>
                    <a:pt x="1868554" y="453277"/>
                    <a:pt x="1910686" y="448029"/>
                    <a:pt x="1899606" y="430950"/>
                  </a:cubicBezTo>
                  <a:cubicBezTo>
                    <a:pt x="1897130" y="427139"/>
                    <a:pt x="1903665" y="422159"/>
                    <a:pt x="1899606" y="419251"/>
                  </a:cubicBezTo>
                  <a:cubicBezTo>
                    <a:pt x="1894126" y="415307"/>
                    <a:pt x="1882517" y="413202"/>
                    <a:pt x="1873791" y="411297"/>
                  </a:cubicBezTo>
                  <a:cubicBezTo>
                    <a:pt x="1852846" y="406718"/>
                    <a:pt x="1829913" y="403576"/>
                    <a:pt x="1809902" y="398261"/>
                  </a:cubicBezTo>
                  <a:cubicBezTo>
                    <a:pt x="1774792" y="388970"/>
                    <a:pt x="1843024" y="390273"/>
                    <a:pt x="1853983" y="391209"/>
                  </a:cubicBezTo>
                  <a:cubicBezTo>
                    <a:pt x="1874765" y="392813"/>
                    <a:pt x="1896074" y="376102"/>
                    <a:pt x="1883735" y="368514"/>
                  </a:cubicBezTo>
                  <a:cubicBezTo>
                    <a:pt x="1871396" y="360927"/>
                    <a:pt x="1819035" y="372625"/>
                    <a:pt x="1804423" y="377539"/>
                  </a:cubicBezTo>
                  <a:cubicBezTo>
                    <a:pt x="1793545" y="381182"/>
                    <a:pt x="1782707" y="385360"/>
                    <a:pt x="1770733" y="382552"/>
                  </a:cubicBezTo>
                  <a:cubicBezTo>
                    <a:pt x="1761235" y="380313"/>
                    <a:pt x="1763508" y="375232"/>
                    <a:pt x="1773453" y="372325"/>
                  </a:cubicBezTo>
                  <a:cubicBezTo>
                    <a:pt x="1781571" y="369952"/>
                    <a:pt x="1804058" y="367812"/>
                    <a:pt x="1795331" y="361897"/>
                  </a:cubicBezTo>
                  <a:cubicBezTo>
                    <a:pt x="1790094" y="358320"/>
                    <a:pt x="1788471" y="353140"/>
                    <a:pt x="1802271" y="353206"/>
                  </a:cubicBezTo>
                  <a:cubicBezTo>
                    <a:pt x="1823825" y="353206"/>
                    <a:pt x="1851304" y="362398"/>
                    <a:pt x="1873791" y="356248"/>
                  </a:cubicBezTo>
                  <a:cubicBezTo>
                    <a:pt x="1885480" y="352906"/>
                    <a:pt x="1966010" y="341341"/>
                    <a:pt x="1924893" y="333754"/>
                  </a:cubicBezTo>
                  <a:cubicBezTo>
                    <a:pt x="1919819" y="332785"/>
                    <a:pt x="1868067" y="327604"/>
                    <a:pt x="1884790" y="323159"/>
                  </a:cubicBezTo>
                  <a:cubicBezTo>
                    <a:pt x="1907440" y="317075"/>
                    <a:pt x="1937070" y="316474"/>
                    <a:pt x="1961059" y="314368"/>
                  </a:cubicBezTo>
                  <a:cubicBezTo>
                    <a:pt x="1971409" y="313499"/>
                    <a:pt x="1982571" y="307516"/>
                    <a:pt x="1978959" y="302570"/>
                  </a:cubicBezTo>
                  <a:cubicBezTo>
                    <a:pt x="1976361" y="299060"/>
                    <a:pt x="1961586" y="303238"/>
                    <a:pt x="1955376" y="303439"/>
                  </a:cubicBezTo>
                  <a:cubicBezTo>
                    <a:pt x="1943199" y="303739"/>
                    <a:pt x="1888484" y="301132"/>
                    <a:pt x="1900498" y="290069"/>
                  </a:cubicBezTo>
                  <a:cubicBezTo>
                    <a:pt x="1914421" y="277201"/>
                    <a:pt x="1973235" y="288365"/>
                    <a:pt x="1973154" y="267876"/>
                  </a:cubicBezTo>
                  <a:cubicBezTo>
                    <a:pt x="1973154" y="251465"/>
                    <a:pt x="1948800" y="248958"/>
                    <a:pt x="1920388" y="250563"/>
                  </a:cubicBezTo>
                  <a:cubicBezTo>
                    <a:pt x="1907236" y="251298"/>
                    <a:pt x="1891326" y="252401"/>
                    <a:pt x="1879270" y="250563"/>
                  </a:cubicBezTo>
                  <a:cubicBezTo>
                    <a:pt x="1871842" y="249426"/>
                    <a:pt x="1868027" y="245883"/>
                    <a:pt x="1858975" y="244680"/>
                  </a:cubicBezTo>
                  <a:cubicBezTo>
                    <a:pt x="1818385" y="239199"/>
                    <a:pt x="1883532" y="235488"/>
                    <a:pt x="1894654" y="230174"/>
                  </a:cubicBezTo>
                  <a:cubicBezTo>
                    <a:pt x="1919008" y="218309"/>
                    <a:pt x="1959597" y="223489"/>
                    <a:pt x="1988335" y="220147"/>
                  </a:cubicBezTo>
                  <a:cubicBezTo>
                    <a:pt x="2020441" y="216537"/>
                    <a:pt x="1983058" y="197987"/>
                    <a:pt x="1968527" y="203669"/>
                  </a:cubicBezTo>
                  <a:cubicBezTo>
                    <a:pt x="1953996" y="209351"/>
                    <a:pt x="1911986" y="214532"/>
                    <a:pt x="1906912" y="204237"/>
                  </a:cubicBezTo>
                  <a:cubicBezTo>
                    <a:pt x="1901432" y="193074"/>
                    <a:pt x="1958420" y="200026"/>
                    <a:pt x="1956391" y="192840"/>
                  </a:cubicBezTo>
                  <a:cubicBezTo>
                    <a:pt x="1954361" y="185654"/>
                    <a:pt x="1911133" y="186991"/>
                    <a:pt x="1900215" y="188228"/>
                  </a:cubicBezTo>
                  <a:cubicBezTo>
                    <a:pt x="1886292" y="189698"/>
                    <a:pt x="1860599" y="210521"/>
                    <a:pt x="1847448" y="203536"/>
                  </a:cubicBezTo>
                  <a:cubicBezTo>
                    <a:pt x="1844120" y="201831"/>
                    <a:pt x="1863034" y="191904"/>
                    <a:pt x="1865145" y="189297"/>
                  </a:cubicBezTo>
                  <a:cubicBezTo>
                    <a:pt x="1870422" y="182903"/>
                    <a:pt x="1872329" y="175012"/>
                    <a:pt x="1870422" y="167438"/>
                  </a:cubicBezTo>
                  <a:cubicBezTo>
                    <a:pt x="1867824" y="157144"/>
                    <a:pt x="1900174" y="152765"/>
                    <a:pt x="1916167" y="147384"/>
                  </a:cubicBezTo>
                  <a:cubicBezTo>
                    <a:pt x="1941697" y="138727"/>
                    <a:pt x="1919089" y="130472"/>
                    <a:pt x="1938897" y="121781"/>
                  </a:cubicBezTo>
                  <a:cubicBezTo>
                    <a:pt x="1951074" y="116467"/>
                    <a:pt x="2012892" y="110685"/>
                    <a:pt x="1994748" y="103165"/>
                  </a:cubicBezTo>
                  <a:cubicBezTo>
                    <a:pt x="1960653" y="88993"/>
                    <a:pt x="1925746" y="122417"/>
                    <a:pt x="1902569" y="115765"/>
                  </a:cubicBezTo>
                  <a:cubicBezTo>
                    <a:pt x="1891163" y="112423"/>
                    <a:pt x="1917993" y="103833"/>
                    <a:pt x="1923350" y="102396"/>
                  </a:cubicBezTo>
                  <a:cubicBezTo>
                    <a:pt x="1941656" y="96847"/>
                    <a:pt x="1960815" y="95510"/>
                    <a:pt x="1980663" y="92903"/>
                  </a:cubicBezTo>
                  <a:cubicBezTo>
                    <a:pt x="2000228" y="90855"/>
                    <a:pt x="2019508" y="87432"/>
                    <a:pt x="2038342" y="82676"/>
                  </a:cubicBezTo>
                  <a:cubicBezTo>
                    <a:pt x="2060625" y="76292"/>
                    <a:pt x="2030224" y="75791"/>
                    <a:pt x="2020563" y="75991"/>
                  </a:cubicBezTo>
                  <a:cubicBezTo>
                    <a:pt x="1999903" y="76559"/>
                    <a:pt x="1980744" y="80203"/>
                    <a:pt x="1960450" y="81974"/>
                  </a:cubicBezTo>
                  <a:cubicBezTo>
                    <a:pt x="1943321" y="83478"/>
                    <a:pt x="1951520" y="79200"/>
                    <a:pt x="1962682" y="77027"/>
                  </a:cubicBezTo>
                  <a:cubicBezTo>
                    <a:pt x="1983748" y="72849"/>
                    <a:pt x="2006113" y="72014"/>
                    <a:pt x="2027017" y="67535"/>
                  </a:cubicBezTo>
                  <a:cubicBezTo>
                    <a:pt x="2039194" y="64894"/>
                    <a:pt x="2050356" y="61017"/>
                    <a:pt x="2063142" y="58778"/>
                  </a:cubicBezTo>
                  <a:cubicBezTo>
                    <a:pt x="2081042" y="55636"/>
                    <a:pt x="2091555" y="53631"/>
                    <a:pt x="2104625" y="47013"/>
                  </a:cubicBezTo>
                  <a:cubicBezTo>
                    <a:pt x="2114285" y="42100"/>
                    <a:pt x="2137989" y="40328"/>
                    <a:pt x="2150653" y="36986"/>
                  </a:cubicBezTo>
                  <a:cubicBezTo>
                    <a:pt x="2166483" y="32942"/>
                    <a:pt x="2223715" y="19338"/>
                    <a:pt x="2186048" y="14859"/>
                  </a:cubicBezTo>
                  <a:cubicBezTo>
                    <a:pt x="2147528" y="10501"/>
                    <a:pt x="2108481" y="10006"/>
                    <a:pt x="2069799" y="13389"/>
                  </a:cubicBezTo>
                  <a:close/>
                  <a:moveTo>
                    <a:pt x="841349" y="655122"/>
                  </a:moveTo>
                  <a:cubicBezTo>
                    <a:pt x="840253" y="649707"/>
                    <a:pt x="829497" y="652314"/>
                    <a:pt x="821542" y="652047"/>
                  </a:cubicBezTo>
                  <a:cubicBezTo>
                    <a:pt x="809365" y="651645"/>
                    <a:pt x="804088" y="646498"/>
                    <a:pt x="790531" y="646766"/>
                  </a:cubicBezTo>
                  <a:cubicBezTo>
                    <a:pt x="771251" y="647167"/>
                    <a:pt x="748764" y="650576"/>
                    <a:pt x="738860" y="661338"/>
                  </a:cubicBezTo>
                  <a:cubicBezTo>
                    <a:pt x="720838" y="680958"/>
                    <a:pt x="762565" y="672803"/>
                    <a:pt x="781561" y="676279"/>
                  </a:cubicBezTo>
                  <a:cubicBezTo>
                    <a:pt x="795970" y="678886"/>
                    <a:pt x="843460" y="665750"/>
                    <a:pt x="841349" y="65512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7427AAE6-E137-4FD0-A429-C1841BD5F49D}"/>
                </a:ext>
              </a:extLst>
            </p:cNvPr>
            <p:cNvSpPr/>
            <p:nvPr/>
          </p:nvSpPr>
          <p:spPr>
            <a:xfrm>
              <a:off x="990011" y="3290709"/>
              <a:ext cx="3060746" cy="1771142"/>
            </a:xfrm>
            <a:custGeom>
              <a:avLst/>
              <a:gdLst>
                <a:gd name="connsiteX0" fmla="*/ 886583 w 3060746"/>
                <a:gd name="connsiteY0" fmla="*/ 1692735 h 1771142"/>
                <a:gd name="connsiteX1" fmla="*/ 841934 w 3060746"/>
                <a:gd name="connsiteY1" fmla="*/ 1701793 h 1771142"/>
                <a:gd name="connsiteX2" fmla="*/ 799193 w 3060746"/>
                <a:gd name="connsiteY2" fmla="*/ 1703164 h 1771142"/>
                <a:gd name="connsiteX3" fmla="*/ 768264 w 3060746"/>
                <a:gd name="connsiteY3" fmla="*/ 1717870 h 1771142"/>
                <a:gd name="connsiteX4" fmla="*/ 731733 w 3060746"/>
                <a:gd name="connsiteY4" fmla="*/ 1730237 h 1771142"/>
                <a:gd name="connsiteX5" fmla="*/ 731733 w 3060746"/>
                <a:gd name="connsiteY5" fmla="*/ 1736921 h 1771142"/>
                <a:gd name="connsiteX6" fmla="*/ 751784 w 3060746"/>
                <a:gd name="connsiteY6" fmla="*/ 1736687 h 1771142"/>
                <a:gd name="connsiteX7" fmla="*/ 793714 w 3060746"/>
                <a:gd name="connsiteY7" fmla="*/ 1727663 h 1771142"/>
                <a:gd name="connsiteX8" fmla="*/ 814536 w 3060746"/>
                <a:gd name="connsiteY8" fmla="*/ 1722917 h 1771142"/>
                <a:gd name="connsiteX9" fmla="*/ 840027 w 3060746"/>
                <a:gd name="connsiteY9" fmla="*/ 1721246 h 1771142"/>
                <a:gd name="connsiteX10" fmla="*/ 855288 w 3060746"/>
                <a:gd name="connsiteY10" fmla="*/ 1720510 h 1771142"/>
                <a:gd name="connsiteX11" fmla="*/ 890804 w 3060746"/>
                <a:gd name="connsiteY11" fmla="*/ 1708678 h 1771142"/>
                <a:gd name="connsiteX12" fmla="*/ 904564 w 3060746"/>
                <a:gd name="connsiteY12" fmla="*/ 1700590 h 1771142"/>
                <a:gd name="connsiteX13" fmla="*/ 908867 w 3060746"/>
                <a:gd name="connsiteY13" fmla="*/ 1688825 h 1771142"/>
                <a:gd name="connsiteX14" fmla="*/ 886705 w 3060746"/>
                <a:gd name="connsiteY14" fmla="*/ 1692735 h 1771142"/>
                <a:gd name="connsiteX15" fmla="*/ 460309 w 3060746"/>
                <a:gd name="connsiteY15" fmla="*/ 1204250 h 1771142"/>
                <a:gd name="connsiteX16" fmla="*/ 507678 w 3060746"/>
                <a:gd name="connsiteY16" fmla="*/ 1205152 h 1771142"/>
                <a:gd name="connsiteX17" fmla="*/ 538201 w 3060746"/>
                <a:gd name="connsiteY17" fmla="*/ 1185399 h 1771142"/>
                <a:gd name="connsiteX18" fmla="*/ 558861 w 3060746"/>
                <a:gd name="connsiteY18" fmla="*/ 1168954 h 1771142"/>
                <a:gd name="connsiteX19" fmla="*/ 587274 w 3060746"/>
                <a:gd name="connsiteY19" fmla="*/ 1150037 h 1771142"/>
                <a:gd name="connsiteX20" fmla="*/ 585569 w 3060746"/>
                <a:gd name="connsiteY20" fmla="*/ 1130417 h 1771142"/>
                <a:gd name="connsiteX21" fmla="*/ 609923 w 3060746"/>
                <a:gd name="connsiteY21" fmla="*/ 1105583 h 1771142"/>
                <a:gd name="connsiteX22" fmla="*/ 610451 w 3060746"/>
                <a:gd name="connsiteY22" fmla="*/ 1092983 h 1771142"/>
                <a:gd name="connsiteX23" fmla="*/ 628432 w 3060746"/>
                <a:gd name="connsiteY23" fmla="*/ 1075936 h 1771142"/>
                <a:gd name="connsiteX24" fmla="*/ 687450 w 3060746"/>
                <a:gd name="connsiteY24" fmla="*/ 1028408 h 1771142"/>
                <a:gd name="connsiteX25" fmla="*/ 696177 w 3060746"/>
                <a:gd name="connsiteY25" fmla="*/ 1006616 h 1771142"/>
                <a:gd name="connsiteX26" fmla="*/ 594296 w 3060746"/>
                <a:gd name="connsiteY26" fmla="*/ 1039037 h 1771142"/>
                <a:gd name="connsiteX27" fmla="*/ 577005 w 3060746"/>
                <a:gd name="connsiteY27" fmla="*/ 1050535 h 1771142"/>
                <a:gd name="connsiteX28" fmla="*/ 566086 w 3060746"/>
                <a:gd name="connsiteY28" fmla="*/ 1051805 h 1771142"/>
                <a:gd name="connsiteX29" fmla="*/ 499194 w 3060746"/>
                <a:gd name="connsiteY29" fmla="*/ 1076739 h 1771142"/>
                <a:gd name="connsiteX30" fmla="*/ 405554 w 3060746"/>
                <a:gd name="connsiteY30" fmla="*/ 1136099 h 1771142"/>
                <a:gd name="connsiteX31" fmla="*/ 429908 w 3060746"/>
                <a:gd name="connsiteY31" fmla="*/ 1143419 h 1771142"/>
                <a:gd name="connsiteX32" fmla="*/ 420004 w 3060746"/>
                <a:gd name="connsiteY32" fmla="*/ 1175438 h 1771142"/>
                <a:gd name="connsiteX33" fmla="*/ 426782 w 3060746"/>
                <a:gd name="connsiteY33" fmla="*/ 1182457 h 1771142"/>
                <a:gd name="connsiteX34" fmla="*/ 412129 w 3060746"/>
                <a:gd name="connsiteY34" fmla="*/ 1213608 h 1771142"/>
                <a:gd name="connsiteX35" fmla="*/ 460391 w 3060746"/>
                <a:gd name="connsiteY35" fmla="*/ 1204250 h 1771142"/>
                <a:gd name="connsiteX36" fmla="*/ 460309 w 3060746"/>
                <a:gd name="connsiteY36" fmla="*/ 1204250 h 1771142"/>
                <a:gd name="connsiteX37" fmla="*/ 1200585 w 3060746"/>
                <a:gd name="connsiteY37" fmla="*/ 911125 h 1771142"/>
                <a:gd name="connsiteX38" fmla="*/ 1245924 w 3060746"/>
                <a:gd name="connsiteY38" fmla="*/ 890469 h 1771142"/>
                <a:gd name="connsiteX39" fmla="*/ 1169372 w 3060746"/>
                <a:gd name="connsiteY39" fmla="*/ 896385 h 1771142"/>
                <a:gd name="connsiteX40" fmla="*/ 1099761 w 3060746"/>
                <a:gd name="connsiteY40" fmla="*/ 902702 h 1771142"/>
                <a:gd name="connsiteX41" fmla="*/ 1094849 w 3060746"/>
                <a:gd name="connsiteY41" fmla="*/ 891071 h 1771142"/>
                <a:gd name="connsiteX42" fmla="*/ 1060226 w 3060746"/>
                <a:gd name="connsiteY42" fmla="*/ 883885 h 1771142"/>
                <a:gd name="connsiteX43" fmla="*/ 1052108 w 3060746"/>
                <a:gd name="connsiteY43" fmla="*/ 866137 h 1771142"/>
                <a:gd name="connsiteX44" fmla="*/ 1063433 w 3060746"/>
                <a:gd name="connsiteY44" fmla="*/ 842272 h 1771142"/>
                <a:gd name="connsiteX45" fmla="*/ 987530 w 3060746"/>
                <a:gd name="connsiteY45" fmla="*/ 870649 h 1771142"/>
                <a:gd name="connsiteX46" fmla="*/ 1031123 w 3060746"/>
                <a:gd name="connsiteY46" fmla="*/ 871685 h 1771142"/>
                <a:gd name="connsiteX47" fmla="*/ 1026334 w 3060746"/>
                <a:gd name="connsiteY47" fmla="*/ 875963 h 1771142"/>
                <a:gd name="connsiteX48" fmla="*/ 989072 w 3060746"/>
                <a:gd name="connsiteY48" fmla="*/ 883417 h 1771142"/>
                <a:gd name="connsiteX49" fmla="*/ 955342 w 3060746"/>
                <a:gd name="connsiteY49" fmla="*/ 910456 h 1771142"/>
                <a:gd name="connsiteX50" fmla="*/ 1002304 w 3060746"/>
                <a:gd name="connsiteY50" fmla="*/ 931814 h 1771142"/>
                <a:gd name="connsiteX51" fmla="*/ 977951 w 3060746"/>
                <a:gd name="connsiteY51" fmla="*/ 946253 h 1771142"/>
                <a:gd name="connsiteX52" fmla="*/ 957453 w 3060746"/>
                <a:gd name="connsiteY52" fmla="*/ 936593 h 1771142"/>
                <a:gd name="connsiteX53" fmla="*/ 885893 w 3060746"/>
                <a:gd name="connsiteY53" fmla="*/ 941206 h 1771142"/>
                <a:gd name="connsiteX54" fmla="*/ 905985 w 3060746"/>
                <a:gd name="connsiteY54" fmla="*/ 947189 h 1771142"/>
                <a:gd name="connsiteX55" fmla="*/ 887923 w 3060746"/>
                <a:gd name="connsiteY55" fmla="*/ 958987 h 1771142"/>
                <a:gd name="connsiteX56" fmla="*/ 859875 w 3060746"/>
                <a:gd name="connsiteY56" fmla="*/ 975331 h 1771142"/>
                <a:gd name="connsiteX57" fmla="*/ 842381 w 3060746"/>
                <a:gd name="connsiteY57" fmla="*/ 967109 h 1771142"/>
                <a:gd name="connsiteX58" fmla="*/ 792009 w 3060746"/>
                <a:gd name="connsiteY58" fmla="*/ 987765 h 1771142"/>
                <a:gd name="connsiteX59" fmla="*/ 767655 w 3060746"/>
                <a:gd name="connsiteY59" fmla="*/ 1018047 h 1771142"/>
                <a:gd name="connsiteX60" fmla="*/ 771349 w 3060746"/>
                <a:gd name="connsiteY60" fmla="*/ 998862 h 1771142"/>
                <a:gd name="connsiteX61" fmla="*/ 710464 w 3060746"/>
                <a:gd name="connsiteY61" fmla="*/ 1019517 h 1771142"/>
                <a:gd name="connsiteX62" fmla="*/ 635901 w 3060746"/>
                <a:gd name="connsiteY62" fmla="*/ 1083022 h 1771142"/>
                <a:gd name="connsiteX63" fmla="*/ 636672 w 3060746"/>
                <a:gd name="connsiteY63" fmla="*/ 1088170 h 1771142"/>
                <a:gd name="connsiteX64" fmla="*/ 629650 w 3060746"/>
                <a:gd name="connsiteY64" fmla="*/ 1113772 h 1771142"/>
                <a:gd name="connsiteX65" fmla="*/ 665409 w 3060746"/>
                <a:gd name="connsiteY65" fmla="*/ 1105917 h 1771142"/>
                <a:gd name="connsiteX66" fmla="*/ 680306 w 3060746"/>
                <a:gd name="connsiteY66" fmla="*/ 1105917 h 1771142"/>
                <a:gd name="connsiteX67" fmla="*/ 745250 w 3060746"/>
                <a:gd name="connsiteY67" fmla="*/ 1066678 h 1771142"/>
                <a:gd name="connsiteX68" fmla="*/ 718582 w 3060746"/>
                <a:gd name="connsiteY68" fmla="*/ 1088069 h 1771142"/>
                <a:gd name="connsiteX69" fmla="*/ 673933 w 3060746"/>
                <a:gd name="connsiteY69" fmla="*/ 1122495 h 1771142"/>
                <a:gd name="connsiteX70" fmla="*/ 838281 w 3060746"/>
                <a:gd name="connsiteY70" fmla="*/ 1053643 h 1771142"/>
                <a:gd name="connsiteX71" fmla="*/ 884107 w 3060746"/>
                <a:gd name="connsiteY71" fmla="*/ 1042680 h 1771142"/>
                <a:gd name="connsiteX72" fmla="*/ 792496 w 3060746"/>
                <a:gd name="connsiteY72" fmla="*/ 1089105 h 1771142"/>
                <a:gd name="connsiteX73" fmla="*/ 722235 w 3060746"/>
                <a:gd name="connsiteY73" fmla="*/ 1135397 h 1771142"/>
                <a:gd name="connsiteX74" fmla="*/ 775002 w 3060746"/>
                <a:gd name="connsiteY74" fmla="*/ 1129782 h 1771142"/>
                <a:gd name="connsiteX75" fmla="*/ 826916 w 3060746"/>
                <a:gd name="connsiteY75" fmla="*/ 1106920 h 1771142"/>
                <a:gd name="connsiteX76" fmla="*/ 852488 w 3060746"/>
                <a:gd name="connsiteY76" fmla="*/ 1100737 h 1771142"/>
                <a:gd name="connsiteX77" fmla="*/ 912763 w 3060746"/>
                <a:gd name="connsiteY77" fmla="*/ 1090008 h 1771142"/>
                <a:gd name="connsiteX78" fmla="*/ 987124 w 3060746"/>
                <a:gd name="connsiteY78" fmla="*/ 1047493 h 1771142"/>
                <a:gd name="connsiteX79" fmla="*/ 1041230 w 3060746"/>
                <a:gd name="connsiteY79" fmla="*/ 1015473 h 1771142"/>
                <a:gd name="connsiteX80" fmla="*/ 1080683 w 3060746"/>
                <a:gd name="connsiteY80" fmla="*/ 984055 h 1771142"/>
                <a:gd name="connsiteX81" fmla="*/ 1133978 w 3060746"/>
                <a:gd name="connsiteY81" fmla="*/ 972825 h 1771142"/>
                <a:gd name="connsiteX82" fmla="*/ 1233098 w 3060746"/>
                <a:gd name="connsiteY82" fmla="*/ 918411 h 1771142"/>
                <a:gd name="connsiteX83" fmla="*/ 1211098 w 3060746"/>
                <a:gd name="connsiteY83" fmla="*/ 918411 h 1771142"/>
                <a:gd name="connsiteX84" fmla="*/ 1190397 w 3060746"/>
                <a:gd name="connsiteY84" fmla="*/ 934087 h 1771142"/>
                <a:gd name="connsiteX85" fmla="*/ 1200870 w 3060746"/>
                <a:gd name="connsiteY85" fmla="*/ 911058 h 1771142"/>
                <a:gd name="connsiteX86" fmla="*/ 1200585 w 3060746"/>
                <a:gd name="connsiteY86" fmla="*/ 911225 h 1771142"/>
                <a:gd name="connsiteX87" fmla="*/ 545873 w 3060746"/>
                <a:gd name="connsiteY87" fmla="*/ 1010393 h 1771142"/>
                <a:gd name="connsiteX88" fmla="*/ 584392 w 3060746"/>
                <a:gd name="connsiteY88" fmla="*/ 969850 h 1771142"/>
                <a:gd name="connsiteX89" fmla="*/ 545873 w 3060746"/>
                <a:gd name="connsiteY89" fmla="*/ 1010393 h 1771142"/>
                <a:gd name="connsiteX90" fmla="*/ 414565 w 3060746"/>
                <a:gd name="connsiteY90" fmla="*/ 1055013 h 1771142"/>
                <a:gd name="connsiteX91" fmla="*/ 426174 w 3060746"/>
                <a:gd name="connsiteY91" fmla="*/ 1059659 h 1771142"/>
                <a:gd name="connsiteX92" fmla="*/ 442856 w 3060746"/>
                <a:gd name="connsiteY92" fmla="*/ 1048128 h 1771142"/>
                <a:gd name="connsiteX93" fmla="*/ 465180 w 3060746"/>
                <a:gd name="connsiteY93" fmla="*/ 1036697 h 1771142"/>
                <a:gd name="connsiteX94" fmla="*/ 473298 w 3060746"/>
                <a:gd name="connsiteY94" fmla="*/ 1022526 h 1771142"/>
                <a:gd name="connsiteX95" fmla="*/ 494973 w 3060746"/>
                <a:gd name="connsiteY95" fmla="*/ 1025099 h 1771142"/>
                <a:gd name="connsiteX96" fmla="*/ 513766 w 3060746"/>
                <a:gd name="connsiteY96" fmla="*/ 1004677 h 1771142"/>
                <a:gd name="connsiteX97" fmla="*/ 539784 w 3060746"/>
                <a:gd name="connsiteY97" fmla="*/ 985960 h 1771142"/>
                <a:gd name="connsiteX98" fmla="*/ 548186 w 3060746"/>
                <a:gd name="connsiteY98" fmla="*/ 956313 h 1771142"/>
                <a:gd name="connsiteX99" fmla="*/ 574813 w 3060746"/>
                <a:gd name="connsiteY99" fmla="*/ 964168 h 1771142"/>
                <a:gd name="connsiteX100" fmla="*/ 598924 w 3060746"/>
                <a:gd name="connsiteY100" fmla="*/ 941005 h 1771142"/>
                <a:gd name="connsiteX101" fmla="*/ 615159 w 3060746"/>
                <a:gd name="connsiteY101" fmla="*/ 920116 h 1771142"/>
                <a:gd name="connsiteX102" fmla="*/ 606311 w 3060746"/>
                <a:gd name="connsiteY102" fmla="*/ 911994 h 1771142"/>
                <a:gd name="connsiteX103" fmla="*/ 623156 w 3060746"/>
                <a:gd name="connsiteY103" fmla="*/ 897555 h 1771142"/>
                <a:gd name="connsiteX104" fmla="*/ 584514 w 3060746"/>
                <a:gd name="connsiteY104" fmla="*/ 905677 h 1771142"/>
                <a:gd name="connsiteX105" fmla="*/ 568481 w 3060746"/>
                <a:gd name="connsiteY105" fmla="*/ 926901 h 1771142"/>
                <a:gd name="connsiteX106" fmla="*/ 515715 w 3060746"/>
                <a:gd name="connsiteY106" fmla="*/ 950631 h 1771142"/>
                <a:gd name="connsiteX107" fmla="*/ 473298 w 3060746"/>
                <a:gd name="connsiteY107" fmla="*/ 996121 h 1771142"/>
                <a:gd name="connsiteX108" fmla="*/ 460634 w 3060746"/>
                <a:gd name="connsiteY108" fmla="*/ 1014069 h 1771142"/>
                <a:gd name="connsiteX109" fmla="*/ 435590 w 3060746"/>
                <a:gd name="connsiteY109" fmla="*/ 1029945 h 1771142"/>
                <a:gd name="connsiteX110" fmla="*/ 414240 w 3060746"/>
                <a:gd name="connsiteY110" fmla="*/ 1055013 h 1771142"/>
                <a:gd name="connsiteX111" fmla="*/ 633750 w 3060746"/>
                <a:gd name="connsiteY111" fmla="*/ 935691 h 1771142"/>
                <a:gd name="connsiteX112" fmla="*/ 631071 w 3060746"/>
                <a:gd name="connsiteY112" fmla="*/ 948425 h 1771142"/>
                <a:gd name="connsiteX113" fmla="*/ 665978 w 3060746"/>
                <a:gd name="connsiteY113" fmla="*/ 935056 h 1771142"/>
                <a:gd name="connsiteX114" fmla="*/ 614672 w 3060746"/>
                <a:gd name="connsiteY114" fmla="*/ 971822 h 1771142"/>
                <a:gd name="connsiteX115" fmla="*/ 664314 w 3060746"/>
                <a:gd name="connsiteY115" fmla="*/ 948425 h 1771142"/>
                <a:gd name="connsiteX116" fmla="*/ 610370 w 3060746"/>
                <a:gd name="connsiteY116" fmla="*/ 985994 h 1771142"/>
                <a:gd name="connsiteX117" fmla="*/ 626403 w 3060746"/>
                <a:gd name="connsiteY117" fmla="*/ 984423 h 1771142"/>
                <a:gd name="connsiteX118" fmla="*/ 683228 w 3060746"/>
                <a:gd name="connsiteY118" fmla="*/ 963399 h 1771142"/>
                <a:gd name="connsiteX119" fmla="*/ 708354 w 3060746"/>
                <a:gd name="connsiteY119" fmla="*/ 934555 h 1771142"/>
                <a:gd name="connsiteX120" fmla="*/ 720165 w 3060746"/>
                <a:gd name="connsiteY120" fmla="*/ 935089 h 1771142"/>
                <a:gd name="connsiteX121" fmla="*/ 794729 w 3060746"/>
                <a:gd name="connsiteY121" fmla="*/ 898825 h 1771142"/>
                <a:gd name="connsiteX122" fmla="*/ 787666 w 3060746"/>
                <a:gd name="connsiteY122" fmla="*/ 910323 h 1771142"/>
                <a:gd name="connsiteX123" fmla="*/ 743910 w 3060746"/>
                <a:gd name="connsiteY123" fmla="*/ 939000 h 1771142"/>
                <a:gd name="connsiteX124" fmla="*/ 757914 w 3060746"/>
                <a:gd name="connsiteY124" fmla="*/ 951133 h 1771142"/>
                <a:gd name="connsiteX125" fmla="*/ 833167 w 3060746"/>
                <a:gd name="connsiteY125" fmla="*/ 902368 h 1771142"/>
                <a:gd name="connsiteX126" fmla="*/ 855451 w 3060746"/>
                <a:gd name="connsiteY126" fmla="*/ 881378 h 1771142"/>
                <a:gd name="connsiteX127" fmla="*/ 895675 w 3060746"/>
                <a:gd name="connsiteY127" fmla="*/ 862259 h 1771142"/>
                <a:gd name="connsiteX128" fmla="*/ 936265 w 3060746"/>
                <a:gd name="connsiteY128" fmla="*/ 839164 h 1771142"/>
                <a:gd name="connsiteX129" fmla="*/ 981441 w 3060746"/>
                <a:gd name="connsiteY129" fmla="*/ 815366 h 1771142"/>
                <a:gd name="connsiteX130" fmla="*/ 964191 w 3060746"/>
                <a:gd name="connsiteY130" fmla="*/ 786187 h 1771142"/>
                <a:gd name="connsiteX131" fmla="*/ 937117 w 3060746"/>
                <a:gd name="connsiteY131" fmla="*/ 805172 h 1771142"/>
                <a:gd name="connsiteX132" fmla="*/ 898719 w 3060746"/>
                <a:gd name="connsiteY132" fmla="*/ 813361 h 1771142"/>
                <a:gd name="connsiteX133" fmla="*/ 867668 w 3060746"/>
                <a:gd name="connsiteY133" fmla="*/ 806509 h 1771142"/>
                <a:gd name="connsiteX134" fmla="*/ 836577 w 3060746"/>
                <a:gd name="connsiteY134" fmla="*/ 817739 h 1771142"/>
                <a:gd name="connsiteX135" fmla="*/ 817215 w 3060746"/>
                <a:gd name="connsiteY135" fmla="*/ 839966 h 1771142"/>
                <a:gd name="connsiteX136" fmla="*/ 840676 w 3060746"/>
                <a:gd name="connsiteY136" fmla="*/ 836624 h 1771142"/>
                <a:gd name="connsiteX137" fmla="*/ 836617 w 3060746"/>
                <a:gd name="connsiteY137" fmla="*/ 849391 h 1771142"/>
                <a:gd name="connsiteX138" fmla="*/ 854720 w 3060746"/>
                <a:gd name="connsiteY138" fmla="*/ 848890 h 1771142"/>
                <a:gd name="connsiteX139" fmla="*/ 843111 w 3060746"/>
                <a:gd name="connsiteY139" fmla="*/ 863229 h 1771142"/>
                <a:gd name="connsiteX140" fmla="*/ 784094 w 3060746"/>
                <a:gd name="connsiteY140" fmla="*/ 877801 h 1771142"/>
                <a:gd name="connsiteX141" fmla="*/ 739445 w 3060746"/>
                <a:gd name="connsiteY141" fmla="*/ 885723 h 1771142"/>
                <a:gd name="connsiteX142" fmla="*/ 712088 w 3060746"/>
                <a:gd name="connsiteY142" fmla="*/ 895382 h 1771142"/>
                <a:gd name="connsiteX143" fmla="*/ 691793 w 3060746"/>
                <a:gd name="connsiteY143" fmla="*/ 905978 h 1771142"/>
                <a:gd name="connsiteX144" fmla="*/ 661635 w 3060746"/>
                <a:gd name="connsiteY144" fmla="*/ 909320 h 1771142"/>
                <a:gd name="connsiteX145" fmla="*/ 633871 w 3060746"/>
                <a:gd name="connsiteY145" fmla="*/ 935691 h 1771142"/>
                <a:gd name="connsiteX146" fmla="*/ 674339 w 3060746"/>
                <a:gd name="connsiteY146" fmla="*/ 851631 h 1771142"/>
                <a:gd name="connsiteX147" fmla="*/ 628026 w 3060746"/>
                <a:gd name="connsiteY147" fmla="*/ 869379 h 1771142"/>
                <a:gd name="connsiteX148" fmla="*/ 674542 w 3060746"/>
                <a:gd name="connsiteY148" fmla="*/ 851664 h 1771142"/>
                <a:gd name="connsiteX149" fmla="*/ 793105 w 3060746"/>
                <a:gd name="connsiteY149" fmla="*/ 789797 h 1771142"/>
                <a:gd name="connsiteX150" fmla="*/ 791968 w 3060746"/>
                <a:gd name="connsiteY150" fmla="*/ 783112 h 1771142"/>
                <a:gd name="connsiteX151" fmla="*/ 748781 w 3060746"/>
                <a:gd name="connsiteY151" fmla="*/ 804704 h 1771142"/>
                <a:gd name="connsiteX152" fmla="*/ 693863 w 3060746"/>
                <a:gd name="connsiteY152" fmla="*/ 845882 h 1771142"/>
                <a:gd name="connsiteX153" fmla="*/ 762581 w 3060746"/>
                <a:gd name="connsiteY153" fmla="*/ 829170 h 1771142"/>
                <a:gd name="connsiteX154" fmla="*/ 789208 w 3060746"/>
                <a:gd name="connsiteY154" fmla="*/ 804470 h 1771142"/>
                <a:gd name="connsiteX155" fmla="*/ 775286 w 3060746"/>
                <a:gd name="connsiteY155" fmla="*/ 804470 h 1771142"/>
                <a:gd name="connsiteX156" fmla="*/ 793105 w 3060746"/>
                <a:gd name="connsiteY156" fmla="*/ 789730 h 1771142"/>
                <a:gd name="connsiteX157" fmla="*/ 793105 w 3060746"/>
                <a:gd name="connsiteY157" fmla="*/ 789797 h 1771142"/>
                <a:gd name="connsiteX158" fmla="*/ 712737 w 3060746"/>
                <a:gd name="connsiteY158" fmla="*/ 811857 h 1771142"/>
                <a:gd name="connsiteX159" fmla="*/ 754382 w 3060746"/>
                <a:gd name="connsiteY159" fmla="*/ 790299 h 1771142"/>
                <a:gd name="connsiteX160" fmla="*/ 793308 w 3060746"/>
                <a:gd name="connsiteY160" fmla="*/ 775124 h 1771142"/>
                <a:gd name="connsiteX161" fmla="*/ 799275 w 3060746"/>
                <a:gd name="connsiteY161" fmla="*/ 758646 h 1771142"/>
                <a:gd name="connsiteX162" fmla="*/ 754626 w 3060746"/>
                <a:gd name="connsiteY162" fmla="*/ 771448 h 1771142"/>
                <a:gd name="connsiteX163" fmla="*/ 691509 w 3060746"/>
                <a:gd name="connsiteY163" fmla="*/ 810553 h 1771142"/>
                <a:gd name="connsiteX164" fmla="*/ 667520 w 3060746"/>
                <a:gd name="connsiteY164" fmla="*/ 828435 h 1771142"/>
                <a:gd name="connsiteX165" fmla="*/ 712818 w 3060746"/>
                <a:gd name="connsiteY165" fmla="*/ 811723 h 1771142"/>
                <a:gd name="connsiteX166" fmla="*/ 712737 w 3060746"/>
                <a:gd name="connsiteY166" fmla="*/ 811756 h 1771142"/>
                <a:gd name="connsiteX167" fmla="*/ 944545 w 3060746"/>
                <a:gd name="connsiteY167" fmla="*/ 676157 h 1771142"/>
                <a:gd name="connsiteX168" fmla="*/ 983024 w 3060746"/>
                <a:gd name="connsiteY168" fmla="*/ 674185 h 1771142"/>
                <a:gd name="connsiteX169" fmla="*/ 956600 w 3060746"/>
                <a:gd name="connsiteY169" fmla="*/ 694640 h 1771142"/>
                <a:gd name="connsiteX170" fmla="*/ 1010422 w 3060746"/>
                <a:gd name="connsiteY170" fmla="*/ 668369 h 1771142"/>
                <a:gd name="connsiteX171" fmla="*/ 1084945 w 3060746"/>
                <a:gd name="connsiteY171" fmla="*/ 647513 h 1771142"/>
                <a:gd name="connsiteX172" fmla="*/ 1144977 w 3060746"/>
                <a:gd name="connsiteY172" fmla="*/ 629397 h 1771142"/>
                <a:gd name="connsiteX173" fmla="*/ 1134221 w 3060746"/>
                <a:gd name="connsiteY173" fmla="*/ 616596 h 1771142"/>
                <a:gd name="connsiteX174" fmla="*/ 1118554 w 3060746"/>
                <a:gd name="connsiteY174" fmla="*/ 608608 h 1771142"/>
                <a:gd name="connsiteX175" fmla="*/ 1067816 w 3060746"/>
                <a:gd name="connsiteY175" fmla="*/ 621977 h 1771142"/>
                <a:gd name="connsiteX176" fmla="*/ 1035710 w 3060746"/>
                <a:gd name="connsiteY176" fmla="*/ 624417 h 1771142"/>
                <a:gd name="connsiteX177" fmla="*/ 1018378 w 3060746"/>
                <a:gd name="connsiteY177" fmla="*/ 636483 h 1771142"/>
                <a:gd name="connsiteX178" fmla="*/ 1008718 w 3060746"/>
                <a:gd name="connsiteY178" fmla="*/ 631536 h 1771142"/>
                <a:gd name="connsiteX179" fmla="*/ 922992 w 3060746"/>
                <a:gd name="connsiteY179" fmla="*/ 663590 h 1771142"/>
                <a:gd name="connsiteX180" fmla="*/ 944545 w 3060746"/>
                <a:gd name="connsiteY180" fmla="*/ 676123 h 1771142"/>
                <a:gd name="connsiteX181" fmla="*/ 944545 w 3060746"/>
                <a:gd name="connsiteY181" fmla="*/ 676157 h 1771142"/>
                <a:gd name="connsiteX182" fmla="*/ 991873 w 3060746"/>
                <a:gd name="connsiteY182" fmla="*/ 727261 h 1771142"/>
                <a:gd name="connsiteX183" fmla="*/ 929852 w 3060746"/>
                <a:gd name="connsiteY183" fmla="*/ 732074 h 1771142"/>
                <a:gd name="connsiteX184" fmla="*/ 991873 w 3060746"/>
                <a:gd name="connsiteY184" fmla="*/ 727195 h 1771142"/>
                <a:gd name="connsiteX185" fmla="*/ 1129432 w 3060746"/>
                <a:gd name="connsiteY185" fmla="*/ 555097 h 1771142"/>
                <a:gd name="connsiteX186" fmla="*/ 1079547 w 3060746"/>
                <a:gd name="connsiteY186" fmla="*/ 566996 h 1771142"/>
                <a:gd name="connsiteX187" fmla="*/ 1129432 w 3060746"/>
                <a:gd name="connsiteY187" fmla="*/ 555030 h 1771142"/>
                <a:gd name="connsiteX188" fmla="*/ 1058805 w 3060746"/>
                <a:gd name="connsiteY188" fmla="*/ 779770 h 1771142"/>
                <a:gd name="connsiteX189" fmla="*/ 1023330 w 3060746"/>
                <a:gd name="connsiteY189" fmla="*/ 786187 h 1771142"/>
                <a:gd name="connsiteX190" fmla="*/ 1058805 w 3060746"/>
                <a:gd name="connsiteY190" fmla="*/ 779770 h 1771142"/>
                <a:gd name="connsiteX191" fmla="*/ 1195187 w 3060746"/>
                <a:gd name="connsiteY191" fmla="*/ 660615 h 1771142"/>
                <a:gd name="connsiteX192" fmla="*/ 1125251 w 3060746"/>
                <a:gd name="connsiteY192" fmla="*/ 692367 h 1771142"/>
                <a:gd name="connsiteX193" fmla="*/ 1152121 w 3060746"/>
                <a:gd name="connsiteY193" fmla="*/ 698484 h 1771142"/>
                <a:gd name="connsiteX194" fmla="*/ 1088720 w 3060746"/>
                <a:gd name="connsiteY194" fmla="*/ 712722 h 1771142"/>
                <a:gd name="connsiteX195" fmla="*/ 1111410 w 3060746"/>
                <a:gd name="connsiteY195" fmla="*/ 723384 h 1771142"/>
                <a:gd name="connsiteX196" fmla="*/ 1063636 w 3060746"/>
                <a:gd name="connsiteY196" fmla="*/ 728431 h 1771142"/>
                <a:gd name="connsiteX197" fmla="*/ 1003319 w 3060746"/>
                <a:gd name="connsiteY197" fmla="*/ 739695 h 1771142"/>
                <a:gd name="connsiteX198" fmla="*/ 1030190 w 3060746"/>
                <a:gd name="connsiteY198" fmla="*/ 754201 h 1771142"/>
                <a:gd name="connsiteX199" fmla="*/ 1101749 w 3060746"/>
                <a:gd name="connsiteY199" fmla="*/ 742703 h 1771142"/>
                <a:gd name="connsiteX200" fmla="*/ 1165394 w 3060746"/>
                <a:gd name="connsiteY200" fmla="*/ 711686 h 1771142"/>
                <a:gd name="connsiteX201" fmla="*/ 1165394 w 3060746"/>
                <a:gd name="connsiteY201" fmla="*/ 730637 h 1771142"/>
                <a:gd name="connsiteX202" fmla="*/ 1223153 w 3060746"/>
                <a:gd name="connsiteY202" fmla="*/ 713758 h 1771142"/>
                <a:gd name="connsiteX203" fmla="*/ 1252013 w 3060746"/>
                <a:gd name="connsiteY203" fmla="*/ 698584 h 1771142"/>
                <a:gd name="connsiteX204" fmla="*/ 1257371 w 3060746"/>
                <a:gd name="connsiteY204" fmla="*/ 685215 h 1771142"/>
                <a:gd name="connsiteX205" fmla="*/ 1248725 w 3060746"/>
                <a:gd name="connsiteY205" fmla="*/ 673984 h 1771142"/>
                <a:gd name="connsiteX206" fmla="*/ 1247101 w 3060746"/>
                <a:gd name="connsiteY206" fmla="*/ 661918 h 1771142"/>
                <a:gd name="connsiteX207" fmla="*/ 1227821 w 3060746"/>
                <a:gd name="connsiteY207" fmla="*/ 655234 h 1771142"/>
                <a:gd name="connsiteX208" fmla="*/ 1195350 w 3060746"/>
                <a:gd name="connsiteY208" fmla="*/ 660481 h 1771142"/>
                <a:gd name="connsiteX209" fmla="*/ 1233341 w 3060746"/>
                <a:gd name="connsiteY209" fmla="*/ 594670 h 1771142"/>
                <a:gd name="connsiteX210" fmla="*/ 1294754 w 3060746"/>
                <a:gd name="connsiteY210" fmla="*/ 562283 h 1771142"/>
                <a:gd name="connsiteX211" fmla="*/ 1286636 w 3060746"/>
                <a:gd name="connsiteY211" fmla="*/ 552523 h 1771142"/>
                <a:gd name="connsiteX212" fmla="*/ 1241013 w 3060746"/>
                <a:gd name="connsiteY212" fmla="*/ 563285 h 1771142"/>
                <a:gd name="connsiteX213" fmla="*/ 1169494 w 3060746"/>
                <a:gd name="connsiteY213" fmla="*/ 582203 h 1771142"/>
                <a:gd name="connsiteX214" fmla="*/ 1233341 w 3060746"/>
                <a:gd name="connsiteY214" fmla="*/ 594670 h 1771142"/>
                <a:gd name="connsiteX215" fmla="*/ 1357140 w 3060746"/>
                <a:gd name="connsiteY215" fmla="*/ 548579 h 1771142"/>
                <a:gd name="connsiteX216" fmla="*/ 1262810 w 3060746"/>
                <a:gd name="connsiteY216" fmla="*/ 596876 h 1771142"/>
                <a:gd name="connsiteX217" fmla="*/ 1357181 w 3060746"/>
                <a:gd name="connsiteY217" fmla="*/ 548579 h 1771142"/>
                <a:gd name="connsiteX218" fmla="*/ 1399232 w 3060746"/>
                <a:gd name="connsiteY218" fmla="*/ 654532 h 1771142"/>
                <a:gd name="connsiteX219" fmla="*/ 1367572 w 3060746"/>
                <a:gd name="connsiteY219" fmla="*/ 635246 h 1771142"/>
                <a:gd name="connsiteX220" fmla="*/ 1302101 w 3060746"/>
                <a:gd name="connsiteY220" fmla="*/ 668068 h 1771142"/>
                <a:gd name="connsiteX221" fmla="*/ 1311923 w 3060746"/>
                <a:gd name="connsiteY221" fmla="*/ 681204 h 1771142"/>
                <a:gd name="connsiteX222" fmla="*/ 1399232 w 3060746"/>
                <a:gd name="connsiteY222" fmla="*/ 654465 h 1771142"/>
                <a:gd name="connsiteX223" fmla="*/ 1269345 w 3060746"/>
                <a:gd name="connsiteY223" fmla="*/ 826663 h 1771142"/>
                <a:gd name="connsiteX224" fmla="*/ 1305875 w 3060746"/>
                <a:gd name="connsiteY224" fmla="*/ 803969 h 1771142"/>
                <a:gd name="connsiteX225" fmla="*/ 1336967 w 3060746"/>
                <a:gd name="connsiteY225" fmla="*/ 786555 h 1771142"/>
                <a:gd name="connsiteX226" fmla="*/ 1347033 w 3060746"/>
                <a:gd name="connsiteY226" fmla="*/ 766501 h 1771142"/>
                <a:gd name="connsiteX227" fmla="*/ 1337373 w 3060746"/>
                <a:gd name="connsiteY227" fmla="*/ 734648 h 1771142"/>
                <a:gd name="connsiteX228" fmla="*/ 1328078 w 3060746"/>
                <a:gd name="connsiteY228" fmla="*/ 756039 h 1771142"/>
                <a:gd name="connsiteX229" fmla="*/ 1313790 w 3060746"/>
                <a:gd name="connsiteY229" fmla="*/ 752329 h 1771142"/>
                <a:gd name="connsiteX230" fmla="*/ 1292115 w 3060746"/>
                <a:gd name="connsiteY230" fmla="*/ 760451 h 1771142"/>
                <a:gd name="connsiteX231" fmla="*/ 1280344 w 3060746"/>
                <a:gd name="connsiteY231" fmla="*/ 753766 h 1771142"/>
                <a:gd name="connsiteX232" fmla="*/ 1308514 w 3060746"/>
                <a:gd name="connsiteY232" fmla="*/ 727027 h 1771142"/>
                <a:gd name="connsiteX233" fmla="*/ 1276651 w 3060746"/>
                <a:gd name="connsiteY233" fmla="*/ 728498 h 1771142"/>
                <a:gd name="connsiteX234" fmla="*/ 1265529 w 3060746"/>
                <a:gd name="connsiteY234" fmla="*/ 726225 h 1771142"/>
                <a:gd name="connsiteX235" fmla="*/ 1235330 w 3060746"/>
                <a:gd name="connsiteY235" fmla="*/ 743238 h 1771142"/>
                <a:gd name="connsiteX236" fmla="*/ 1248035 w 3060746"/>
                <a:gd name="connsiteY236" fmla="*/ 747383 h 1771142"/>
                <a:gd name="connsiteX237" fmla="*/ 1197460 w 3060746"/>
                <a:gd name="connsiteY237" fmla="*/ 765398 h 1771142"/>
                <a:gd name="connsiteX238" fmla="*/ 1187597 w 3060746"/>
                <a:gd name="connsiteY238" fmla="*/ 790365 h 1771142"/>
                <a:gd name="connsiteX239" fmla="*/ 1217593 w 3060746"/>
                <a:gd name="connsiteY239" fmla="*/ 780773 h 1771142"/>
                <a:gd name="connsiteX240" fmla="*/ 1194051 w 3060746"/>
                <a:gd name="connsiteY240" fmla="*/ 810085 h 1771142"/>
                <a:gd name="connsiteX241" fmla="*/ 1153055 w 3060746"/>
                <a:gd name="connsiteY241" fmla="*/ 816202 h 1771142"/>
                <a:gd name="connsiteX242" fmla="*/ 1148428 w 3060746"/>
                <a:gd name="connsiteY242" fmla="*/ 835019 h 1771142"/>
                <a:gd name="connsiteX243" fmla="*/ 1212072 w 3060746"/>
                <a:gd name="connsiteY243" fmla="*/ 824992 h 1771142"/>
                <a:gd name="connsiteX244" fmla="*/ 1269263 w 3060746"/>
                <a:gd name="connsiteY244" fmla="*/ 826697 h 1771142"/>
                <a:gd name="connsiteX245" fmla="*/ 1269507 w 3060746"/>
                <a:gd name="connsiteY245" fmla="*/ 826563 h 1771142"/>
                <a:gd name="connsiteX246" fmla="*/ 1443150 w 3060746"/>
                <a:gd name="connsiteY246" fmla="*/ 620273 h 1771142"/>
                <a:gd name="connsiteX247" fmla="*/ 1471319 w 3060746"/>
                <a:gd name="connsiteY247" fmla="*/ 618635 h 1771142"/>
                <a:gd name="connsiteX248" fmla="*/ 1514831 w 3060746"/>
                <a:gd name="connsiteY248" fmla="*/ 610613 h 1771142"/>
                <a:gd name="connsiteX249" fmla="*/ 1554406 w 3060746"/>
                <a:gd name="connsiteY249" fmla="*/ 586481 h 1771142"/>
                <a:gd name="connsiteX250" fmla="*/ 1576203 w 3060746"/>
                <a:gd name="connsiteY250" fmla="*/ 584008 h 1771142"/>
                <a:gd name="connsiteX251" fmla="*/ 1651984 w 3060746"/>
                <a:gd name="connsiteY251" fmla="*/ 561982 h 1771142"/>
                <a:gd name="connsiteX252" fmla="*/ 1737223 w 3060746"/>
                <a:gd name="connsiteY252" fmla="*/ 524481 h 1771142"/>
                <a:gd name="connsiteX253" fmla="*/ 1767097 w 3060746"/>
                <a:gd name="connsiteY253" fmla="*/ 513718 h 1771142"/>
                <a:gd name="connsiteX254" fmla="*/ 1857003 w 3060746"/>
                <a:gd name="connsiteY254" fmla="*/ 480863 h 1771142"/>
                <a:gd name="connsiteX255" fmla="*/ 1858464 w 3060746"/>
                <a:gd name="connsiteY255" fmla="*/ 451383 h 1771142"/>
                <a:gd name="connsiteX256" fmla="*/ 1793886 w 3060746"/>
                <a:gd name="connsiteY256" fmla="*/ 466758 h 1771142"/>
                <a:gd name="connsiteX257" fmla="*/ 1714817 w 3060746"/>
                <a:gd name="connsiteY257" fmla="*/ 492661 h 1771142"/>
                <a:gd name="connsiteX258" fmla="*/ 1655800 w 3060746"/>
                <a:gd name="connsiteY258" fmla="*/ 520804 h 1771142"/>
                <a:gd name="connsiteX259" fmla="*/ 1569019 w 3060746"/>
                <a:gd name="connsiteY259" fmla="*/ 553893 h 1771142"/>
                <a:gd name="connsiteX260" fmla="*/ 1547709 w 3060746"/>
                <a:gd name="connsiteY260" fmla="*/ 557236 h 1771142"/>
                <a:gd name="connsiteX261" fmla="*/ 1499326 w 3060746"/>
                <a:gd name="connsiteY261" fmla="*/ 568633 h 1771142"/>
                <a:gd name="connsiteX262" fmla="*/ 1515034 w 3060746"/>
                <a:gd name="connsiteY262" fmla="*/ 544401 h 1771142"/>
                <a:gd name="connsiteX263" fmla="*/ 1435803 w 3060746"/>
                <a:gd name="connsiteY263" fmla="*/ 561514 h 1771142"/>
                <a:gd name="connsiteX264" fmla="*/ 1390465 w 3060746"/>
                <a:gd name="connsiteY264" fmla="*/ 579262 h 1771142"/>
                <a:gd name="connsiteX265" fmla="*/ 1336155 w 3060746"/>
                <a:gd name="connsiteY265" fmla="*/ 588687 h 1771142"/>
                <a:gd name="connsiteX266" fmla="*/ 1259928 w 3060746"/>
                <a:gd name="connsiteY266" fmla="*/ 620273 h 1771142"/>
                <a:gd name="connsiteX267" fmla="*/ 1364041 w 3060746"/>
                <a:gd name="connsiteY267" fmla="*/ 605098 h 1771142"/>
                <a:gd name="connsiteX268" fmla="*/ 1379708 w 3060746"/>
                <a:gd name="connsiteY268" fmla="*/ 594503 h 1771142"/>
                <a:gd name="connsiteX269" fmla="*/ 1415955 w 3060746"/>
                <a:gd name="connsiteY269" fmla="*/ 595205 h 1771142"/>
                <a:gd name="connsiteX270" fmla="*/ 1435722 w 3060746"/>
                <a:gd name="connsiteY270" fmla="*/ 603227 h 1771142"/>
                <a:gd name="connsiteX271" fmla="*/ 1443312 w 3060746"/>
                <a:gd name="connsiteY271" fmla="*/ 620139 h 1771142"/>
                <a:gd name="connsiteX272" fmla="*/ 1473430 w 3060746"/>
                <a:gd name="connsiteY272" fmla="*/ 509774 h 1771142"/>
                <a:gd name="connsiteX273" fmla="*/ 1446843 w 3060746"/>
                <a:gd name="connsiteY273" fmla="*/ 534240 h 1771142"/>
                <a:gd name="connsiteX274" fmla="*/ 1473592 w 3060746"/>
                <a:gd name="connsiteY274" fmla="*/ 509774 h 1771142"/>
                <a:gd name="connsiteX275" fmla="*/ 1210530 w 3060746"/>
                <a:gd name="connsiteY275" fmla="*/ 520236 h 1771142"/>
                <a:gd name="connsiteX276" fmla="*/ 1244098 w 3060746"/>
                <a:gd name="connsiteY276" fmla="*/ 524113 h 1771142"/>
                <a:gd name="connsiteX277" fmla="*/ 1282739 w 3060746"/>
                <a:gd name="connsiteY277" fmla="*/ 512381 h 1771142"/>
                <a:gd name="connsiteX278" fmla="*/ 1354705 w 3060746"/>
                <a:gd name="connsiteY278" fmla="*/ 484005 h 1771142"/>
                <a:gd name="connsiteX279" fmla="*/ 1330351 w 3060746"/>
                <a:gd name="connsiteY279" fmla="*/ 518230 h 1771142"/>
                <a:gd name="connsiteX280" fmla="*/ 1359616 w 3060746"/>
                <a:gd name="connsiteY280" fmla="*/ 516827 h 1771142"/>
                <a:gd name="connsiteX281" fmla="*/ 1369966 w 3060746"/>
                <a:gd name="connsiteY281" fmla="*/ 518832 h 1771142"/>
                <a:gd name="connsiteX282" fmla="*/ 1439578 w 3060746"/>
                <a:gd name="connsiteY282" fmla="*/ 501118 h 1771142"/>
                <a:gd name="connsiteX283" fmla="*/ 1463607 w 3060746"/>
                <a:gd name="connsiteY283" fmla="*/ 485709 h 1771142"/>
                <a:gd name="connsiteX284" fmla="*/ 1504197 w 3060746"/>
                <a:gd name="connsiteY284" fmla="*/ 472607 h 1771142"/>
                <a:gd name="connsiteX285" fmla="*/ 1510610 w 3060746"/>
                <a:gd name="connsiteY285" fmla="*/ 455595 h 1771142"/>
                <a:gd name="connsiteX286" fmla="*/ 1527414 w 3060746"/>
                <a:gd name="connsiteY286" fmla="*/ 445033 h 1771142"/>
                <a:gd name="connsiteX287" fmla="*/ 1541905 w 3060746"/>
                <a:gd name="connsiteY287" fmla="*/ 425246 h 1771142"/>
                <a:gd name="connsiteX288" fmla="*/ 1585985 w 3060746"/>
                <a:gd name="connsiteY288" fmla="*/ 401448 h 1771142"/>
                <a:gd name="connsiteX289" fmla="*/ 1599096 w 3060746"/>
                <a:gd name="connsiteY289" fmla="*/ 388079 h 1771142"/>
                <a:gd name="connsiteX290" fmla="*/ 1553919 w 3060746"/>
                <a:gd name="connsiteY290" fmla="*/ 399878 h 1771142"/>
                <a:gd name="connsiteX291" fmla="*/ 1522381 w 3060746"/>
                <a:gd name="connsiteY291" fmla="*/ 401849 h 1771142"/>
                <a:gd name="connsiteX292" fmla="*/ 1513411 w 3060746"/>
                <a:gd name="connsiteY292" fmla="*/ 393527 h 1771142"/>
                <a:gd name="connsiteX293" fmla="*/ 1500868 w 3060746"/>
                <a:gd name="connsiteY293" fmla="*/ 389449 h 1771142"/>
                <a:gd name="connsiteX294" fmla="*/ 1484389 w 3060746"/>
                <a:gd name="connsiteY294" fmla="*/ 387277 h 1771142"/>
                <a:gd name="connsiteX295" fmla="*/ 1476271 w 3060746"/>
                <a:gd name="connsiteY295" fmla="*/ 398039 h 1771142"/>
                <a:gd name="connsiteX296" fmla="*/ 1447858 w 3060746"/>
                <a:gd name="connsiteY296" fmla="*/ 403688 h 1771142"/>
                <a:gd name="connsiteX297" fmla="*/ 1425250 w 3060746"/>
                <a:gd name="connsiteY297" fmla="*/ 400914 h 1771142"/>
                <a:gd name="connsiteX298" fmla="*/ 1375771 w 3060746"/>
                <a:gd name="connsiteY298" fmla="*/ 410038 h 1771142"/>
                <a:gd name="connsiteX299" fmla="*/ 1267153 w 3060746"/>
                <a:gd name="connsiteY299" fmla="*/ 424878 h 1771142"/>
                <a:gd name="connsiteX300" fmla="*/ 1243814 w 3060746"/>
                <a:gd name="connsiteY300" fmla="*/ 438248 h 1771142"/>
                <a:gd name="connsiteX301" fmla="*/ 1273241 w 3060746"/>
                <a:gd name="connsiteY301" fmla="*/ 435373 h 1771142"/>
                <a:gd name="connsiteX302" fmla="*/ 1240079 w 3060746"/>
                <a:gd name="connsiteY302" fmla="*/ 458469 h 1771142"/>
                <a:gd name="connsiteX303" fmla="*/ 1200504 w 3060746"/>
                <a:gd name="connsiteY303" fmla="*/ 488818 h 1771142"/>
                <a:gd name="connsiteX304" fmla="*/ 1248968 w 3060746"/>
                <a:gd name="connsiteY304" fmla="*/ 492394 h 1771142"/>
                <a:gd name="connsiteX305" fmla="*/ 1208379 w 3060746"/>
                <a:gd name="connsiteY305" fmla="*/ 510142 h 1771142"/>
                <a:gd name="connsiteX306" fmla="*/ 1211058 w 3060746"/>
                <a:gd name="connsiteY306" fmla="*/ 520169 h 1771142"/>
                <a:gd name="connsiteX307" fmla="*/ 1210692 w 3060746"/>
                <a:gd name="connsiteY307" fmla="*/ 520236 h 1771142"/>
                <a:gd name="connsiteX308" fmla="*/ 1356166 w 3060746"/>
                <a:gd name="connsiteY308" fmla="*/ 378687 h 1771142"/>
                <a:gd name="connsiteX309" fmla="*/ 1371915 w 3060746"/>
                <a:gd name="connsiteY309" fmla="*/ 377116 h 1771142"/>
                <a:gd name="connsiteX310" fmla="*/ 1403900 w 3060746"/>
                <a:gd name="connsiteY310" fmla="*/ 370431 h 1771142"/>
                <a:gd name="connsiteX311" fmla="*/ 1405442 w 3060746"/>
                <a:gd name="connsiteY311" fmla="*/ 387711 h 1771142"/>
                <a:gd name="connsiteX312" fmla="*/ 1429268 w 3060746"/>
                <a:gd name="connsiteY312" fmla="*/ 386174 h 1771142"/>
                <a:gd name="connsiteX313" fmla="*/ 1464825 w 3060746"/>
                <a:gd name="connsiteY313" fmla="*/ 378821 h 1771142"/>
                <a:gd name="connsiteX314" fmla="*/ 1527779 w 3060746"/>
                <a:gd name="connsiteY314" fmla="*/ 346266 h 1771142"/>
                <a:gd name="connsiteX315" fmla="*/ 1532245 w 3060746"/>
                <a:gd name="connsiteY315" fmla="*/ 357797 h 1771142"/>
                <a:gd name="connsiteX316" fmla="*/ 1560089 w 3060746"/>
                <a:gd name="connsiteY316" fmla="*/ 352784 h 1771142"/>
                <a:gd name="connsiteX317" fmla="*/ 1627671 w 3060746"/>
                <a:gd name="connsiteY317" fmla="*/ 329020 h 1771142"/>
                <a:gd name="connsiteX318" fmla="*/ 1643907 w 3060746"/>
                <a:gd name="connsiteY318" fmla="*/ 315650 h 1771142"/>
                <a:gd name="connsiteX319" fmla="*/ 1684497 w 3060746"/>
                <a:gd name="connsiteY319" fmla="*/ 304152 h 1771142"/>
                <a:gd name="connsiteX320" fmla="*/ 1755001 w 3060746"/>
                <a:gd name="connsiteY320" fmla="*/ 269826 h 1771142"/>
                <a:gd name="connsiteX321" fmla="*/ 1787473 w 3060746"/>
                <a:gd name="connsiteY321" fmla="*/ 252413 h 1771142"/>
                <a:gd name="connsiteX322" fmla="*/ 1720378 w 3060746"/>
                <a:gd name="connsiteY322" fmla="*/ 297534 h 1771142"/>
                <a:gd name="connsiteX323" fmla="*/ 1676257 w 3060746"/>
                <a:gd name="connsiteY323" fmla="*/ 326646 h 1771142"/>
                <a:gd name="connsiteX324" fmla="*/ 1726142 w 3060746"/>
                <a:gd name="connsiteY324" fmla="*/ 329488 h 1771142"/>
                <a:gd name="connsiteX325" fmla="*/ 1640213 w 3060746"/>
                <a:gd name="connsiteY325" fmla="*/ 338345 h 1771142"/>
                <a:gd name="connsiteX326" fmla="*/ 1545558 w 3060746"/>
                <a:gd name="connsiteY326" fmla="*/ 366253 h 1771142"/>
                <a:gd name="connsiteX327" fmla="*/ 1552052 w 3060746"/>
                <a:gd name="connsiteY327" fmla="*/ 392290 h 1771142"/>
                <a:gd name="connsiteX328" fmla="*/ 1587649 w 3060746"/>
                <a:gd name="connsiteY328" fmla="*/ 383266 h 1771142"/>
                <a:gd name="connsiteX329" fmla="*/ 1635302 w 3060746"/>
                <a:gd name="connsiteY329" fmla="*/ 385706 h 1771142"/>
                <a:gd name="connsiteX330" fmla="*/ 1677109 w 3060746"/>
                <a:gd name="connsiteY330" fmla="*/ 384570 h 1771142"/>
                <a:gd name="connsiteX331" fmla="*/ 1711489 w 3060746"/>
                <a:gd name="connsiteY331" fmla="*/ 379289 h 1771142"/>
                <a:gd name="connsiteX332" fmla="*/ 1653811 w 3060746"/>
                <a:gd name="connsiteY332" fmla="*/ 396869 h 1771142"/>
                <a:gd name="connsiteX333" fmla="*/ 1563458 w 3060746"/>
                <a:gd name="connsiteY333" fmla="*/ 428054 h 1771142"/>
                <a:gd name="connsiteX334" fmla="*/ 1549049 w 3060746"/>
                <a:gd name="connsiteY334" fmla="*/ 459071 h 1771142"/>
                <a:gd name="connsiteX335" fmla="*/ 1590328 w 3060746"/>
                <a:gd name="connsiteY335" fmla="*/ 443662 h 1771142"/>
                <a:gd name="connsiteX336" fmla="*/ 1632745 w 3060746"/>
                <a:gd name="connsiteY336" fmla="*/ 417458 h 1771142"/>
                <a:gd name="connsiteX337" fmla="*/ 1618741 w 3060746"/>
                <a:gd name="connsiteY337" fmla="*/ 444197 h 1771142"/>
                <a:gd name="connsiteX338" fmla="*/ 1665176 w 3060746"/>
                <a:gd name="connsiteY338" fmla="*/ 449946 h 1771142"/>
                <a:gd name="connsiteX339" fmla="*/ 1610420 w 3060746"/>
                <a:gd name="connsiteY339" fmla="*/ 455962 h 1771142"/>
                <a:gd name="connsiteX340" fmla="*/ 1530499 w 3060746"/>
                <a:gd name="connsiteY340" fmla="*/ 483370 h 1771142"/>
                <a:gd name="connsiteX341" fmla="*/ 1578152 w 3060746"/>
                <a:gd name="connsiteY341" fmla="*/ 485141 h 1771142"/>
                <a:gd name="connsiteX342" fmla="*/ 1543001 w 3060746"/>
                <a:gd name="connsiteY342" fmla="*/ 502455 h 1771142"/>
                <a:gd name="connsiteX343" fmla="*/ 1501680 w 3060746"/>
                <a:gd name="connsiteY343" fmla="*/ 525851 h 1771142"/>
                <a:gd name="connsiteX344" fmla="*/ 1533178 w 3060746"/>
                <a:gd name="connsiteY344" fmla="*/ 529193 h 1771142"/>
                <a:gd name="connsiteX345" fmla="*/ 1611963 w 3060746"/>
                <a:gd name="connsiteY345" fmla="*/ 500616 h 1771142"/>
                <a:gd name="connsiteX346" fmla="*/ 1679098 w 3060746"/>
                <a:gd name="connsiteY346" fmla="*/ 476585 h 1771142"/>
                <a:gd name="connsiteX347" fmla="*/ 1724153 w 3060746"/>
                <a:gd name="connsiteY347" fmla="*/ 458135 h 1771142"/>
                <a:gd name="connsiteX348" fmla="*/ 1783251 w 3060746"/>
                <a:gd name="connsiteY348" fmla="*/ 441022 h 1771142"/>
                <a:gd name="connsiteX349" fmla="*/ 1823841 w 3060746"/>
                <a:gd name="connsiteY349" fmla="*/ 436577 h 1771142"/>
                <a:gd name="connsiteX350" fmla="*/ 1864674 w 3060746"/>
                <a:gd name="connsiteY350" fmla="*/ 411810 h 1771142"/>
                <a:gd name="connsiteX351" fmla="*/ 1903072 w 3060746"/>
                <a:gd name="connsiteY351" fmla="*/ 395332 h 1771142"/>
                <a:gd name="connsiteX352" fmla="*/ 1888582 w 3060746"/>
                <a:gd name="connsiteY352" fmla="*/ 382698 h 1771142"/>
                <a:gd name="connsiteX353" fmla="*/ 1861630 w 3060746"/>
                <a:gd name="connsiteY353" fmla="*/ 396067 h 1771142"/>
                <a:gd name="connsiteX354" fmla="*/ 1841132 w 3060746"/>
                <a:gd name="connsiteY354" fmla="*/ 394697 h 1771142"/>
                <a:gd name="connsiteX355" fmla="*/ 1753905 w 3060746"/>
                <a:gd name="connsiteY355" fmla="*/ 419865 h 1771142"/>
                <a:gd name="connsiteX356" fmla="*/ 1818078 w 3060746"/>
                <a:gd name="connsiteY356" fmla="*/ 393527 h 1771142"/>
                <a:gd name="connsiteX357" fmla="*/ 1876040 w 3060746"/>
                <a:gd name="connsiteY357" fmla="*/ 368292 h 1771142"/>
                <a:gd name="connsiteX358" fmla="*/ 1866664 w 3060746"/>
                <a:gd name="connsiteY358" fmla="*/ 355157 h 1771142"/>
                <a:gd name="connsiteX359" fmla="*/ 1941755 w 3060746"/>
                <a:gd name="connsiteY359" fmla="*/ 326780 h 1771142"/>
                <a:gd name="connsiteX360" fmla="*/ 1985023 w 3060746"/>
                <a:gd name="connsiteY360" fmla="*/ 276645 h 1771142"/>
                <a:gd name="connsiteX361" fmla="*/ 1920526 w 3060746"/>
                <a:gd name="connsiteY361" fmla="*/ 286505 h 1771142"/>
                <a:gd name="connsiteX362" fmla="*/ 1893737 w 3060746"/>
                <a:gd name="connsiteY362" fmla="*/ 289112 h 1771142"/>
                <a:gd name="connsiteX363" fmla="*/ 1950563 w 3060746"/>
                <a:gd name="connsiteY363" fmla="*/ 266417 h 1771142"/>
                <a:gd name="connsiteX364" fmla="*/ 1995739 w 3060746"/>
                <a:gd name="connsiteY364" fmla="*/ 249939 h 1771142"/>
                <a:gd name="connsiteX365" fmla="*/ 2008444 w 3060746"/>
                <a:gd name="connsiteY365" fmla="*/ 229885 h 1771142"/>
                <a:gd name="connsiteX366" fmla="*/ 2084184 w 3060746"/>
                <a:gd name="connsiteY366" fmla="*/ 200907 h 1771142"/>
                <a:gd name="connsiteX367" fmla="*/ 2121811 w 3060746"/>
                <a:gd name="connsiteY367" fmla="*/ 176341 h 1771142"/>
                <a:gd name="connsiteX368" fmla="*/ 2212894 w 3060746"/>
                <a:gd name="connsiteY368" fmla="*/ 120757 h 1771142"/>
                <a:gd name="connsiteX369" fmla="*/ 2299919 w 3060746"/>
                <a:gd name="connsiteY369" fmla="*/ 80147 h 1771142"/>
                <a:gd name="connsiteX370" fmla="*/ 2271506 w 3060746"/>
                <a:gd name="connsiteY370" fmla="*/ 79145 h 1771142"/>
                <a:gd name="connsiteX371" fmla="*/ 2198120 w 3060746"/>
                <a:gd name="connsiteY371" fmla="*/ 101906 h 1771142"/>
                <a:gd name="connsiteX372" fmla="*/ 2228115 w 3060746"/>
                <a:gd name="connsiteY372" fmla="*/ 85362 h 1771142"/>
                <a:gd name="connsiteX373" fmla="*/ 2292004 w 3060746"/>
                <a:gd name="connsiteY373" fmla="*/ 66110 h 1771142"/>
                <a:gd name="connsiteX374" fmla="*/ 2371438 w 3060746"/>
                <a:gd name="connsiteY374" fmla="*/ 30346 h 1771142"/>
                <a:gd name="connsiteX375" fmla="*/ 2407238 w 3060746"/>
                <a:gd name="connsiteY375" fmla="*/ 265 h 1771142"/>
                <a:gd name="connsiteX376" fmla="*/ 2329833 w 3060746"/>
                <a:gd name="connsiteY376" fmla="*/ 15406 h 1771142"/>
                <a:gd name="connsiteX377" fmla="*/ 2311527 w 3060746"/>
                <a:gd name="connsiteY377" fmla="*/ 10860 h 1771142"/>
                <a:gd name="connsiteX378" fmla="*/ 2280557 w 3060746"/>
                <a:gd name="connsiteY378" fmla="*/ 18147 h 1771142"/>
                <a:gd name="connsiteX379" fmla="*/ 2192193 w 3060746"/>
                <a:gd name="connsiteY379" fmla="*/ 50200 h 1771142"/>
                <a:gd name="connsiteX380" fmla="*/ 2212245 w 3060746"/>
                <a:gd name="connsiteY380" fmla="*/ 31182 h 1771142"/>
                <a:gd name="connsiteX381" fmla="*/ 2100663 w 3060746"/>
                <a:gd name="connsiteY381" fmla="*/ 59826 h 1771142"/>
                <a:gd name="connsiteX382" fmla="*/ 2046233 w 3060746"/>
                <a:gd name="connsiteY382" fmla="*/ 76103 h 1771142"/>
                <a:gd name="connsiteX383" fmla="*/ 1978488 w 3060746"/>
                <a:gd name="connsiteY383" fmla="*/ 92548 h 1771142"/>
                <a:gd name="connsiteX384" fmla="*/ 1956813 w 3060746"/>
                <a:gd name="connsiteY384" fmla="*/ 105516 h 1771142"/>
                <a:gd name="connsiteX385" fmla="*/ 1949142 w 3060746"/>
                <a:gd name="connsiteY385" fmla="*/ 115877 h 1771142"/>
                <a:gd name="connsiteX386" fmla="*/ 1907131 w 3060746"/>
                <a:gd name="connsiteY386" fmla="*/ 120256 h 1771142"/>
                <a:gd name="connsiteX387" fmla="*/ 1850306 w 3060746"/>
                <a:gd name="connsiteY387" fmla="*/ 140811 h 1771142"/>
                <a:gd name="connsiteX388" fmla="*/ 1819823 w 3060746"/>
                <a:gd name="connsiteY388" fmla="*/ 152576 h 1771142"/>
                <a:gd name="connsiteX389" fmla="*/ 1802247 w 3060746"/>
                <a:gd name="connsiteY389" fmla="*/ 164107 h 1771142"/>
                <a:gd name="connsiteX390" fmla="*/ 1718957 w 3060746"/>
                <a:gd name="connsiteY390" fmla="*/ 187504 h 1771142"/>
                <a:gd name="connsiteX391" fmla="*/ 1725289 w 3060746"/>
                <a:gd name="connsiteY391" fmla="*/ 189610 h 1771142"/>
                <a:gd name="connsiteX392" fmla="*/ 1696268 w 3060746"/>
                <a:gd name="connsiteY392" fmla="*/ 200205 h 1771142"/>
                <a:gd name="connsiteX393" fmla="*/ 1686932 w 3060746"/>
                <a:gd name="connsiteY393" fmla="*/ 215379 h 1771142"/>
                <a:gd name="connsiteX394" fmla="*/ 1630675 w 3060746"/>
                <a:gd name="connsiteY394" fmla="*/ 237974 h 1771142"/>
                <a:gd name="connsiteX395" fmla="*/ 1600273 w 3060746"/>
                <a:gd name="connsiteY395" fmla="*/ 258663 h 1771142"/>
                <a:gd name="connsiteX396" fmla="*/ 1553108 w 3060746"/>
                <a:gd name="connsiteY396" fmla="*/ 265983 h 1771142"/>
                <a:gd name="connsiteX397" fmla="*/ 1524005 w 3060746"/>
                <a:gd name="connsiteY397" fmla="*/ 277647 h 1771142"/>
                <a:gd name="connsiteX398" fmla="*/ 1523477 w 3060746"/>
                <a:gd name="connsiteY398" fmla="*/ 284867 h 1771142"/>
                <a:gd name="connsiteX399" fmla="*/ 1496282 w 3060746"/>
                <a:gd name="connsiteY399" fmla="*/ 297434 h 1771142"/>
                <a:gd name="connsiteX400" fmla="*/ 1505009 w 3060746"/>
                <a:gd name="connsiteY400" fmla="*/ 303417 h 1771142"/>
                <a:gd name="connsiteX401" fmla="*/ 1447574 w 3060746"/>
                <a:gd name="connsiteY401" fmla="*/ 321232 h 1771142"/>
                <a:gd name="connsiteX402" fmla="*/ 1411044 w 3060746"/>
                <a:gd name="connsiteY402" fmla="*/ 348505 h 1771142"/>
                <a:gd name="connsiteX403" fmla="*/ 1375690 w 3060746"/>
                <a:gd name="connsiteY403" fmla="*/ 360337 h 1771142"/>
                <a:gd name="connsiteX404" fmla="*/ 1317768 w 3060746"/>
                <a:gd name="connsiteY404" fmla="*/ 392792 h 1771142"/>
                <a:gd name="connsiteX405" fmla="*/ 1356044 w 3060746"/>
                <a:gd name="connsiteY405" fmla="*/ 378319 h 1771142"/>
                <a:gd name="connsiteX406" fmla="*/ 2051915 w 3060746"/>
                <a:gd name="connsiteY406" fmla="*/ 839264 h 1771142"/>
                <a:gd name="connsiteX407" fmla="*/ 2047450 w 3060746"/>
                <a:gd name="connsiteY407" fmla="*/ 820313 h 1771142"/>
                <a:gd name="connsiteX408" fmla="*/ 2051915 w 3060746"/>
                <a:gd name="connsiteY408" fmla="*/ 839264 h 1771142"/>
                <a:gd name="connsiteX409" fmla="*/ 1918294 w 3060746"/>
                <a:gd name="connsiteY409" fmla="*/ 867741 h 1771142"/>
                <a:gd name="connsiteX410" fmla="*/ 1963592 w 3060746"/>
                <a:gd name="connsiteY410" fmla="*/ 830975 h 1771142"/>
                <a:gd name="connsiteX411" fmla="*/ 1918294 w 3060746"/>
                <a:gd name="connsiteY411" fmla="*/ 867741 h 1771142"/>
                <a:gd name="connsiteX412" fmla="*/ 2001827 w 3060746"/>
                <a:gd name="connsiteY412" fmla="*/ 793307 h 1771142"/>
                <a:gd name="connsiteX413" fmla="*/ 1949061 w 3060746"/>
                <a:gd name="connsiteY413" fmla="*/ 792872 h 1771142"/>
                <a:gd name="connsiteX414" fmla="*/ 1879530 w 3060746"/>
                <a:gd name="connsiteY414" fmla="*/ 795212 h 1771142"/>
                <a:gd name="connsiteX415" fmla="*/ 1833867 w 3060746"/>
                <a:gd name="connsiteY415" fmla="*/ 799390 h 1771142"/>
                <a:gd name="connsiteX416" fmla="*/ 1810244 w 3060746"/>
                <a:gd name="connsiteY416" fmla="*/ 798053 h 1771142"/>
                <a:gd name="connsiteX417" fmla="*/ 1797620 w 3060746"/>
                <a:gd name="connsiteY417" fmla="*/ 823588 h 1771142"/>
                <a:gd name="connsiteX418" fmla="*/ 1799569 w 3060746"/>
                <a:gd name="connsiteY418" fmla="*/ 843642 h 1771142"/>
                <a:gd name="connsiteX419" fmla="*/ 1790477 w 3060746"/>
                <a:gd name="connsiteY419" fmla="*/ 863697 h 1771142"/>
                <a:gd name="connsiteX420" fmla="*/ 1793561 w 3060746"/>
                <a:gd name="connsiteY420" fmla="*/ 873924 h 1771142"/>
                <a:gd name="connsiteX421" fmla="*/ 1832162 w 3060746"/>
                <a:gd name="connsiteY421" fmla="*/ 859385 h 1771142"/>
                <a:gd name="connsiteX422" fmla="*/ 1852457 w 3060746"/>
                <a:gd name="connsiteY422" fmla="*/ 863095 h 1771142"/>
                <a:gd name="connsiteX423" fmla="*/ 1888988 w 3060746"/>
                <a:gd name="connsiteY423" fmla="*/ 837158 h 1771142"/>
                <a:gd name="connsiteX424" fmla="*/ 1917401 w 3060746"/>
                <a:gd name="connsiteY424" fmla="*/ 817104 h 1771142"/>
                <a:gd name="connsiteX425" fmla="*/ 2001868 w 3060746"/>
                <a:gd name="connsiteY425" fmla="*/ 793106 h 1771142"/>
                <a:gd name="connsiteX426" fmla="*/ 2451724 w 3060746"/>
                <a:gd name="connsiteY426" fmla="*/ 581301 h 1771142"/>
                <a:gd name="connsiteX427" fmla="*/ 2526166 w 3060746"/>
                <a:gd name="connsiteY427" fmla="*/ 591328 h 1771142"/>
                <a:gd name="connsiteX428" fmla="*/ 2543173 w 3060746"/>
                <a:gd name="connsiteY428" fmla="*/ 581735 h 1771142"/>
                <a:gd name="connsiteX429" fmla="*/ 2564077 w 3060746"/>
                <a:gd name="connsiteY429" fmla="*/ 565625 h 1771142"/>
                <a:gd name="connsiteX430" fmla="*/ 2575077 w 3060746"/>
                <a:gd name="connsiteY430" fmla="*/ 551621 h 1771142"/>
                <a:gd name="connsiteX431" fmla="*/ 2603774 w 3060746"/>
                <a:gd name="connsiteY431" fmla="*/ 528425 h 1771142"/>
                <a:gd name="connsiteX432" fmla="*/ 2551007 w 3060746"/>
                <a:gd name="connsiteY432" fmla="*/ 527255 h 1771142"/>
                <a:gd name="connsiteX433" fmla="*/ 2532539 w 3060746"/>
                <a:gd name="connsiteY433" fmla="*/ 519701 h 1771142"/>
                <a:gd name="connsiteX434" fmla="*/ 2507373 w 3060746"/>
                <a:gd name="connsiteY434" fmla="*/ 516125 h 1771142"/>
                <a:gd name="connsiteX435" fmla="*/ 2424692 w 3060746"/>
                <a:gd name="connsiteY435" fmla="*/ 525550 h 1771142"/>
                <a:gd name="connsiteX436" fmla="*/ 2349844 w 3060746"/>
                <a:gd name="connsiteY436" fmla="*/ 523244 h 1771142"/>
                <a:gd name="connsiteX437" fmla="*/ 2392747 w 3060746"/>
                <a:gd name="connsiteY437" fmla="*/ 501853 h 1771142"/>
                <a:gd name="connsiteX438" fmla="*/ 2353132 w 3060746"/>
                <a:gd name="connsiteY438" fmla="*/ 501853 h 1771142"/>
                <a:gd name="connsiteX439" fmla="*/ 2362995 w 3060746"/>
                <a:gd name="connsiteY439" fmla="*/ 487481 h 1771142"/>
                <a:gd name="connsiteX440" fmla="*/ 2329833 w 3060746"/>
                <a:gd name="connsiteY440" fmla="*/ 493831 h 1771142"/>
                <a:gd name="connsiteX441" fmla="*/ 2319523 w 3060746"/>
                <a:gd name="connsiteY441" fmla="*/ 488450 h 1771142"/>
                <a:gd name="connsiteX442" fmla="*/ 2306251 w 3060746"/>
                <a:gd name="connsiteY442" fmla="*/ 481498 h 1771142"/>
                <a:gd name="connsiteX443" fmla="*/ 2266432 w 3060746"/>
                <a:gd name="connsiteY443" fmla="*/ 491525 h 1771142"/>
                <a:gd name="connsiteX444" fmla="*/ 2237086 w 3060746"/>
                <a:gd name="connsiteY444" fmla="*/ 489820 h 1771142"/>
                <a:gd name="connsiteX445" fmla="*/ 2177703 w 3060746"/>
                <a:gd name="connsiteY445" fmla="*/ 511746 h 1771142"/>
                <a:gd name="connsiteX446" fmla="*/ 2206116 w 3060746"/>
                <a:gd name="connsiteY446" fmla="*/ 492361 h 1771142"/>
                <a:gd name="connsiteX447" fmla="*/ 2181762 w 3060746"/>
                <a:gd name="connsiteY447" fmla="*/ 487381 h 1771142"/>
                <a:gd name="connsiteX448" fmla="*/ 2131146 w 3060746"/>
                <a:gd name="connsiteY448" fmla="*/ 507134 h 1771142"/>
                <a:gd name="connsiteX449" fmla="*/ 2108457 w 3060746"/>
                <a:gd name="connsiteY449" fmla="*/ 499680 h 1771142"/>
                <a:gd name="connsiteX450" fmla="*/ 2080531 w 3060746"/>
                <a:gd name="connsiteY450" fmla="*/ 503691 h 1771142"/>
                <a:gd name="connsiteX451" fmla="*/ 2040834 w 3060746"/>
                <a:gd name="connsiteY451" fmla="*/ 498076 h 1771142"/>
                <a:gd name="connsiteX452" fmla="*/ 1960954 w 3060746"/>
                <a:gd name="connsiteY452" fmla="*/ 522609 h 1771142"/>
                <a:gd name="connsiteX453" fmla="*/ 1949954 w 3060746"/>
                <a:gd name="connsiteY453" fmla="*/ 534842 h 1771142"/>
                <a:gd name="connsiteX454" fmla="*/ 1950644 w 3060746"/>
                <a:gd name="connsiteY454" fmla="*/ 542362 h 1771142"/>
                <a:gd name="connsiteX455" fmla="*/ 1926290 w 3060746"/>
                <a:gd name="connsiteY455" fmla="*/ 540490 h 1771142"/>
                <a:gd name="connsiteX456" fmla="*/ 1874538 w 3060746"/>
                <a:gd name="connsiteY456" fmla="*/ 569101 h 1771142"/>
                <a:gd name="connsiteX457" fmla="*/ 1860453 w 3060746"/>
                <a:gd name="connsiteY457" fmla="*/ 539922 h 1771142"/>
                <a:gd name="connsiteX458" fmla="*/ 1787067 w 3060746"/>
                <a:gd name="connsiteY458" fmla="*/ 539922 h 1771142"/>
                <a:gd name="connsiteX459" fmla="*/ 1762307 w 3060746"/>
                <a:gd name="connsiteY459" fmla="*/ 557069 h 1771142"/>
                <a:gd name="connsiteX460" fmla="*/ 1724802 w 3060746"/>
                <a:gd name="connsiteY460" fmla="*/ 576454 h 1771142"/>
                <a:gd name="connsiteX461" fmla="*/ 1696024 w 3060746"/>
                <a:gd name="connsiteY461" fmla="*/ 603427 h 1771142"/>
                <a:gd name="connsiteX462" fmla="*/ 1725127 w 3060746"/>
                <a:gd name="connsiteY462" fmla="*/ 612752 h 1771142"/>
                <a:gd name="connsiteX463" fmla="*/ 1727603 w 3060746"/>
                <a:gd name="connsiteY463" fmla="*/ 631804 h 1771142"/>
                <a:gd name="connsiteX464" fmla="*/ 1724478 w 3060746"/>
                <a:gd name="connsiteY464" fmla="*/ 642900 h 1771142"/>
                <a:gd name="connsiteX465" fmla="*/ 1670331 w 3060746"/>
                <a:gd name="connsiteY465" fmla="*/ 623682 h 1771142"/>
                <a:gd name="connsiteX466" fmla="*/ 1680844 w 3060746"/>
                <a:gd name="connsiteY466" fmla="*/ 596274 h 1771142"/>
                <a:gd name="connsiteX467" fmla="*/ 1707755 w 3060746"/>
                <a:gd name="connsiteY467" fmla="*/ 569903 h 1771142"/>
                <a:gd name="connsiteX468" fmla="*/ 1658519 w 3060746"/>
                <a:gd name="connsiteY468" fmla="*/ 585211 h 1771142"/>
                <a:gd name="connsiteX469" fmla="*/ 1578070 w 3060746"/>
                <a:gd name="connsiteY469" fmla="*/ 640293 h 1771142"/>
                <a:gd name="connsiteX470" fmla="*/ 1572428 w 3060746"/>
                <a:gd name="connsiteY470" fmla="*/ 690429 h 1771142"/>
                <a:gd name="connsiteX471" fmla="*/ 1619106 w 3060746"/>
                <a:gd name="connsiteY471" fmla="*/ 690763 h 1771142"/>
                <a:gd name="connsiteX472" fmla="*/ 1665947 w 3060746"/>
                <a:gd name="connsiteY472" fmla="*/ 677594 h 1771142"/>
                <a:gd name="connsiteX473" fmla="*/ 1653040 w 3060746"/>
                <a:gd name="connsiteY473" fmla="*/ 688858 h 1771142"/>
                <a:gd name="connsiteX474" fmla="*/ 1620568 w 3060746"/>
                <a:gd name="connsiteY474" fmla="*/ 712455 h 1771142"/>
                <a:gd name="connsiteX475" fmla="*/ 1664608 w 3060746"/>
                <a:gd name="connsiteY475" fmla="*/ 705770 h 1771142"/>
                <a:gd name="connsiteX476" fmla="*/ 1700083 w 3060746"/>
                <a:gd name="connsiteY476" fmla="*/ 690562 h 1771142"/>
                <a:gd name="connsiteX477" fmla="*/ 1733245 w 3060746"/>
                <a:gd name="connsiteY477" fmla="*/ 689058 h 1771142"/>
                <a:gd name="connsiteX478" fmla="*/ 1801355 w 3060746"/>
                <a:gd name="connsiteY478" fmla="*/ 666497 h 1771142"/>
                <a:gd name="connsiteX479" fmla="*/ 1889191 w 3060746"/>
                <a:gd name="connsiteY479" fmla="*/ 633575 h 1771142"/>
                <a:gd name="connsiteX480" fmla="*/ 1958762 w 3060746"/>
                <a:gd name="connsiteY480" fmla="*/ 615292 h 1771142"/>
                <a:gd name="connsiteX481" fmla="*/ 1951253 w 3060746"/>
                <a:gd name="connsiteY481" fmla="*/ 597545 h 1771142"/>
                <a:gd name="connsiteX482" fmla="*/ 1990990 w 3060746"/>
                <a:gd name="connsiteY482" fmla="*/ 590860 h 1771142"/>
                <a:gd name="connsiteX483" fmla="*/ 2007550 w 3060746"/>
                <a:gd name="connsiteY483" fmla="*/ 592598 h 1771142"/>
                <a:gd name="connsiteX484" fmla="*/ 2026019 w 3060746"/>
                <a:gd name="connsiteY484" fmla="*/ 592932 h 1771142"/>
                <a:gd name="connsiteX485" fmla="*/ 2082601 w 3060746"/>
                <a:gd name="connsiteY485" fmla="*/ 592698 h 1771142"/>
                <a:gd name="connsiteX486" fmla="*/ 2058004 w 3060746"/>
                <a:gd name="connsiteY486" fmla="*/ 616696 h 1771142"/>
                <a:gd name="connsiteX487" fmla="*/ 2084834 w 3060746"/>
                <a:gd name="connsiteY487" fmla="*/ 608808 h 1771142"/>
                <a:gd name="connsiteX488" fmla="*/ 2118604 w 3060746"/>
                <a:gd name="connsiteY488" fmla="*/ 592966 h 1771142"/>
                <a:gd name="connsiteX489" fmla="*/ 2138899 w 3060746"/>
                <a:gd name="connsiteY489" fmla="*/ 600820 h 1771142"/>
                <a:gd name="connsiteX490" fmla="*/ 2174537 w 3060746"/>
                <a:gd name="connsiteY490" fmla="*/ 593634 h 1771142"/>
                <a:gd name="connsiteX491" fmla="*/ 2217278 w 3060746"/>
                <a:gd name="connsiteY491" fmla="*/ 606068 h 1771142"/>
                <a:gd name="connsiteX492" fmla="*/ 2218617 w 3060746"/>
                <a:gd name="connsiteY492" fmla="*/ 627158 h 1771142"/>
                <a:gd name="connsiteX493" fmla="*/ 2251657 w 3060746"/>
                <a:gd name="connsiteY493" fmla="*/ 618769 h 1771142"/>
                <a:gd name="connsiteX494" fmla="*/ 2300771 w 3060746"/>
                <a:gd name="connsiteY494" fmla="*/ 601656 h 1771142"/>
                <a:gd name="connsiteX495" fmla="*/ 2319239 w 3060746"/>
                <a:gd name="connsiteY495" fmla="*/ 617766 h 1771142"/>
                <a:gd name="connsiteX496" fmla="*/ 2294601 w 3060746"/>
                <a:gd name="connsiteY496" fmla="*/ 629731 h 1771142"/>
                <a:gd name="connsiteX497" fmla="*/ 2284251 w 3060746"/>
                <a:gd name="connsiteY497" fmla="*/ 628027 h 1771142"/>
                <a:gd name="connsiteX498" fmla="*/ 2180544 w 3060746"/>
                <a:gd name="connsiteY498" fmla="*/ 663356 h 1771142"/>
                <a:gd name="connsiteX499" fmla="*/ 2192315 w 3060746"/>
                <a:gd name="connsiteY499" fmla="*/ 680970 h 1771142"/>
                <a:gd name="connsiteX500" fmla="*/ 2102531 w 3060746"/>
                <a:gd name="connsiteY500" fmla="*/ 708912 h 1771142"/>
                <a:gd name="connsiteX501" fmla="*/ 2077243 w 3060746"/>
                <a:gd name="connsiteY501" fmla="*/ 725056 h 1771142"/>
                <a:gd name="connsiteX502" fmla="*/ 2094940 w 3060746"/>
                <a:gd name="connsiteY502" fmla="*/ 745644 h 1771142"/>
                <a:gd name="connsiteX503" fmla="*/ 2138168 w 3060746"/>
                <a:gd name="connsiteY503" fmla="*/ 728933 h 1771142"/>
                <a:gd name="connsiteX504" fmla="*/ 2172548 w 3060746"/>
                <a:gd name="connsiteY504" fmla="*/ 719541 h 1771142"/>
                <a:gd name="connsiteX505" fmla="*/ 2178961 w 3060746"/>
                <a:gd name="connsiteY505" fmla="*/ 710015 h 1771142"/>
                <a:gd name="connsiteX506" fmla="*/ 2218901 w 3060746"/>
                <a:gd name="connsiteY506" fmla="*/ 697281 h 1771142"/>
                <a:gd name="connsiteX507" fmla="*/ 2272196 w 3060746"/>
                <a:gd name="connsiteY507" fmla="*/ 700255 h 1771142"/>
                <a:gd name="connsiteX508" fmla="*/ 2305114 w 3060746"/>
                <a:gd name="connsiteY508" fmla="*/ 715396 h 1771142"/>
                <a:gd name="connsiteX509" fmla="*/ 2373224 w 3060746"/>
                <a:gd name="connsiteY509" fmla="*/ 703163 h 1771142"/>
                <a:gd name="connsiteX510" fmla="*/ 2434474 w 3060746"/>
                <a:gd name="connsiteY510" fmla="*/ 703531 h 1771142"/>
                <a:gd name="connsiteX511" fmla="*/ 2383818 w 3060746"/>
                <a:gd name="connsiteY511" fmla="*/ 674887 h 1771142"/>
                <a:gd name="connsiteX512" fmla="*/ 2434352 w 3060746"/>
                <a:gd name="connsiteY512" fmla="*/ 664559 h 1771142"/>
                <a:gd name="connsiteX513" fmla="*/ 2511838 w 3060746"/>
                <a:gd name="connsiteY513" fmla="*/ 656203 h 1771142"/>
                <a:gd name="connsiteX514" fmla="*/ 2527221 w 3060746"/>
                <a:gd name="connsiteY514" fmla="*/ 632038 h 1771142"/>
                <a:gd name="connsiteX515" fmla="*/ 2494750 w 3060746"/>
                <a:gd name="connsiteY515" fmla="*/ 617666 h 1771142"/>
                <a:gd name="connsiteX516" fmla="*/ 2396887 w 3060746"/>
                <a:gd name="connsiteY516" fmla="*/ 612151 h 1771142"/>
                <a:gd name="connsiteX517" fmla="*/ 2405290 w 3060746"/>
                <a:gd name="connsiteY517" fmla="*/ 601823 h 1771142"/>
                <a:gd name="connsiteX518" fmla="*/ 2397983 w 3060746"/>
                <a:gd name="connsiteY518" fmla="*/ 591027 h 1771142"/>
                <a:gd name="connsiteX519" fmla="*/ 2451440 w 3060746"/>
                <a:gd name="connsiteY519" fmla="*/ 581301 h 1771142"/>
                <a:gd name="connsiteX520" fmla="*/ 2124205 w 3060746"/>
                <a:gd name="connsiteY520" fmla="*/ 641697 h 1771142"/>
                <a:gd name="connsiteX521" fmla="*/ 2118604 w 3060746"/>
                <a:gd name="connsiteY521" fmla="*/ 619136 h 1771142"/>
                <a:gd name="connsiteX522" fmla="*/ 2058612 w 3060746"/>
                <a:gd name="connsiteY522" fmla="*/ 636817 h 1771142"/>
                <a:gd name="connsiteX523" fmla="*/ 2067826 w 3060746"/>
                <a:gd name="connsiteY523" fmla="*/ 663556 h 1771142"/>
                <a:gd name="connsiteX524" fmla="*/ 2124205 w 3060746"/>
                <a:gd name="connsiteY524" fmla="*/ 641530 h 1771142"/>
                <a:gd name="connsiteX525" fmla="*/ 1848195 w 3060746"/>
                <a:gd name="connsiteY525" fmla="*/ 521372 h 1771142"/>
                <a:gd name="connsiteX526" fmla="*/ 1871981 w 3060746"/>
                <a:gd name="connsiteY526" fmla="*/ 529528 h 1771142"/>
                <a:gd name="connsiteX527" fmla="*/ 1913423 w 3060746"/>
                <a:gd name="connsiteY527" fmla="*/ 534708 h 1771142"/>
                <a:gd name="connsiteX528" fmla="*/ 1961035 w 3060746"/>
                <a:gd name="connsiteY528" fmla="*/ 512047 h 1771142"/>
                <a:gd name="connsiteX529" fmla="*/ 2008200 w 3060746"/>
                <a:gd name="connsiteY529" fmla="*/ 495770 h 1771142"/>
                <a:gd name="connsiteX530" fmla="*/ 1943581 w 3060746"/>
                <a:gd name="connsiteY530" fmla="*/ 492428 h 1771142"/>
                <a:gd name="connsiteX531" fmla="*/ 1895604 w 3060746"/>
                <a:gd name="connsiteY531" fmla="*/ 505797 h 1771142"/>
                <a:gd name="connsiteX532" fmla="*/ 1848195 w 3060746"/>
                <a:gd name="connsiteY532" fmla="*/ 521305 h 1771142"/>
                <a:gd name="connsiteX533" fmla="*/ 1848236 w 3060746"/>
                <a:gd name="connsiteY533" fmla="*/ 521439 h 1771142"/>
                <a:gd name="connsiteX534" fmla="*/ 2668920 w 3060746"/>
                <a:gd name="connsiteY534" fmla="*/ 954308 h 1771142"/>
                <a:gd name="connsiteX535" fmla="*/ 2761668 w 3060746"/>
                <a:gd name="connsiteY535" fmla="*/ 945885 h 1771142"/>
                <a:gd name="connsiteX536" fmla="*/ 2668961 w 3060746"/>
                <a:gd name="connsiteY536" fmla="*/ 954375 h 1771142"/>
                <a:gd name="connsiteX537" fmla="*/ 3040560 w 3060746"/>
                <a:gd name="connsiteY537" fmla="*/ 906880 h 1771142"/>
                <a:gd name="connsiteX538" fmla="*/ 3032117 w 3060746"/>
                <a:gd name="connsiteY538" fmla="*/ 902334 h 1771142"/>
                <a:gd name="connsiteX539" fmla="*/ 3027652 w 3060746"/>
                <a:gd name="connsiteY539" fmla="*/ 895014 h 1771142"/>
                <a:gd name="connsiteX540" fmla="*/ 3019007 w 3060746"/>
                <a:gd name="connsiteY540" fmla="*/ 879974 h 1771142"/>
                <a:gd name="connsiteX541" fmla="*/ 3002162 w 3060746"/>
                <a:gd name="connsiteY541" fmla="*/ 879172 h 1771142"/>
                <a:gd name="connsiteX542" fmla="*/ 2990432 w 3060746"/>
                <a:gd name="connsiteY542" fmla="*/ 885856 h 1771142"/>
                <a:gd name="connsiteX543" fmla="*/ 2945336 w 3060746"/>
                <a:gd name="connsiteY543" fmla="*/ 884486 h 1771142"/>
                <a:gd name="connsiteX544" fmla="*/ 2939045 w 3060746"/>
                <a:gd name="connsiteY544" fmla="*/ 879707 h 1771142"/>
                <a:gd name="connsiteX545" fmla="*/ 2919887 w 3060746"/>
                <a:gd name="connsiteY545" fmla="*/ 888029 h 1771142"/>
                <a:gd name="connsiteX546" fmla="*/ 2913717 w 3060746"/>
                <a:gd name="connsiteY546" fmla="*/ 884185 h 1771142"/>
                <a:gd name="connsiteX547" fmla="*/ 2927639 w 3060746"/>
                <a:gd name="connsiteY547" fmla="*/ 858683 h 1771142"/>
                <a:gd name="connsiteX548" fmla="*/ 2932551 w 3060746"/>
                <a:gd name="connsiteY548" fmla="*/ 845982 h 1771142"/>
                <a:gd name="connsiteX549" fmla="*/ 2909374 w 3060746"/>
                <a:gd name="connsiteY549" fmla="*/ 856009 h 1771142"/>
                <a:gd name="connsiteX550" fmla="*/ 2880352 w 3060746"/>
                <a:gd name="connsiteY550" fmla="*/ 893410 h 1771142"/>
                <a:gd name="connsiteX551" fmla="*/ 2864360 w 3060746"/>
                <a:gd name="connsiteY551" fmla="*/ 920517 h 1771142"/>
                <a:gd name="connsiteX552" fmla="*/ 2856729 w 3060746"/>
                <a:gd name="connsiteY552" fmla="*/ 932716 h 1771142"/>
                <a:gd name="connsiteX553" fmla="*/ 2852670 w 3060746"/>
                <a:gd name="connsiteY553" fmla="*/ 944080 h 1771142"/>
                <a:gd name="connsiteX554" fmla="*/ 2885791 w 3060746"/>
                <a:gd name="connsiteY554" fmla="*/ 946921 h 1771142"/>
                <a:gd name="connsiteX555" fmla="*/ 2926381 w 3060746"/>
                <a:gd name="connsiteY555" fmla="*/ 936894 h 1771142"/>
                <a:gd name="connsiteX556" fmla="*/ 2958609 w 3060746"/>
                <a:gd name="connsiteY556" fmla="*/ 923892 h 1771142"/>
                <a:gd name="connsiteX557" fmla="*/ 2974561 w 3060746"/>
                <a:gd name="connsiteY557" fmla="*/ 932750 h 1771142"/>
                <a:gd name="connsiteX558" fmla="*/ 2982922 w 3060746"/>
                <a:gd name="connsiteY558" fmla="*/ 935491 h 1771142"/>
                <a:gd name="connsiteX559" fmla="*/ 3016612 w 3060746"/>
                <a:gd name="connsiteY559" fmla="*/ 921185 h 1771142"/>
                <a:gd name="connsiteX560" fmla="*/ 3024162 w 3060746"/>
                <a:gd name="connsiteY560" fmla="*/ 928438 h 1771142"/>
                <a:gd name="connsiteX561" fmla="*/ 3048962 w 3060746"/>
                <a:gd name="connsiteY561" fmla="*/ 924795 h 1771142"/>
                <a:gd name="connsiteX562" fmla="*/ 3040357 w 3060746"/>
                <a:gd name="connsiteY562" fmla="*/ 906980 h 1771142"/>
                <a:gd name="connsiteX563" fmla="*/ 3040601 w 3060746"/>
                <a:gd name="connsiteY563" fmla="*/ 906947 h 1771142"/>
                <a:gd name="connsiteX564" fmla="*/ 543965 w 3060746"/>
                <a:gd name="connsiteY564" fmla="*/ 1751661 h 1771142"/>
                <a:gd name="connsiteX565" fmla="*/ 607366 w 3060746"/>
                <a:gd name="connsiteY565" fmla="*/ 1760117 h 1771142"/>
                <a:gd name="connsiteX566" fmla="*/ 592186 w 3060746"/>
                <a:gd name="connsiteY566" fmla="*/ 1747884 h 1771142"/>
                <a:gd name="connsiteX567" fmla="*/ 543965 w 3060746"/>
                <a:gd name="connsiteY567" fmla="*/ 1751661 h 1771142"/>
                <a:gd name="connsiteX568" fmla="*/ 543965 w 3060746"/>
                <a:gd name="connsiteY568" fmla="*/ 1751661 h 1771142"/>
                <a:gd name="connsiteX569" fmla="*/ 2829493 w 3060746"/>
                <a:gd name="connsiteY569" fmla="*/ 994015 h 1771142"/>
                <a:gd name="connsiteX570" fmla="*/ 2816626 w 3060746"/>
                <a:gd name="connsiteY570" fmla="*/ 984456 h 1771142"/>
                <a:gd name="connsiteX571" fmla="*/ 2794180 w 3060746"/>
                <a:gd name="connsiteY571" fmla="*/ 1006649 h 1771142"/>
                <a:gd name="connsiteX572" fmla="*/ 2792962 w 3060746"/>
                <a:gd name="connsiteY572" fmla="*/ 1014838 h 1771142"/>
                <a:gd name="connsiteX573" fmla="*/ 2779811 w 3060746"/>
                <a:gd name="connsiteY573" fmla="*/ 1020420 h 1771142"/>
                <a:gd name="connsiteX574" fmla="*/ 2734716 w 3060746"/>
                <a:gd name="connsiteY574" fmla="*/ 1030012 h 1771142"/>
                <a:gd name="connsiteX575" fmla="*/ 2703218 w 3060746"/>
                <a:gd name="connsiteY575" fmla="*/ 1026971 h 1771142"/>
                <a:gd name="connsiteX576" fmla="*/ 2672857 w 3060746"/>
                <a:gd name="connsiteY576" fmla="*/ 1015908 h 1771142"/>
                <a:gd name="connsiteX577" fmla="*/ 2677200 w 3060746"/>
                <a:gd name="connsiteY577" fmla="*/ 1001201 h 1771142"/>
                <a:gd name="connsiteX578" fmla="*/ 2659057 w 3060746"/>
                <a:gd name="connsiteY578" fmla="*/ 1006950 h 1771142"/>
                <a:gd name="connsiteX579" fmla="*/ 2646677 w 3060746"/>
                <a:gd name="connsiteY579" fmla="*/ 1009624 h 1771142"/>
                <a:gd name="connsiteX580" fmla="*/ 2662588 w 3060746"/>
                <a:gd name="connsiteY580" fmla="*/ 996756 h 1771142"/>
                <a:gd name="connsiteX581" fmla="*/ 2647895 w 3060746"/>
                <a:gd name="connsiteY581" fmla="*/ 973861 h 1771142"/>
                <a:gd name="connsiteX582" fmla="*/ 2554538 w 3060746"/>
                <a:gd name="connsiteY582" fmla="*/ 1016242 h 1771142"/>
                <a:gd name="connsiteX583" fmla="*/ 2496454 w 3060746"/>
                <a:gd name="connsiteY583" fmla="*/ 1069152 h 1771142"/>
                <a:gd name="connsiteX584" fmla="*/ 2495034 w 3060746"/>
                <a:gd name="connsiteY584" fmla="*/ 1063336 h 1771142"/>
                <a:gd name="connsiteX585" fmla="*/ 2507982 w 3060746"/>
                <a:gd name="connsiteY585" fmla="*/ 1051236 h 1771142"/>
                <a:gd name="connsiteX586" fmla="*/ 2511066 w 3060746"/>
                <a:gd name="connsiteY586" fmla="*/ 1038368 h 1771142"/>
                <a:gd name="connsiteX587" fmla="*/ 2519631 w 3060746"/>
                <a:gd name="connsiteY587" fmla="*/ 1035260 h 1771142"/>
                <a:gd name="connsiteX588" fmla="*/ 2528723 w 3060746"/>
                <a:gd name="connsiteY588" fmla="*/ 1026135 h 1771142"/>
                <a:gd name="connsiteX589" fmla="*/ 2549018 w 3060746"/>
                <a:gd name="connsiteY589" fmla="*/ 1003708 h 1771142"/>
                <a:gd name="connsiteX590" fmla="*/ 2579501 w 3060746"/>
                <a:gd name="connsiteY590" fmla="*/ 989236 h 1771142"/>
                <a:gd name="connsiteX591" fmla="*/ 2597442 w 3060746"/>
                <a:gd name="connsiteY591" fmla="*/ 967577 h 1771142"/>
                <a:gd name="connsiteX592" fmla="*/ 2639371 w 3060746"/>
                <a:gd name="connsiteY592" fmla="*/ 951768 h 1771142"/>
                <a:gd name="connsiteX593" fmla="*/ 2716735 w 3060746"/>
                <a:gd name="connsiteY593" fmla="*/ 929040 h 1771142"/>
                <a:gd name="connsiteX594" fmla="*/ 2831441 w 3060746"/>
                <a:gd name="connsiteY594" fmla="*/ 887160 h 1771142"/>
                <a:gd name="connsiteX595" fmla="*/ 2853888 w 3060746"/>
                <a:gd name="connsiteY595" fmla="*/ 867106 h 1771142"/>
                <a:gd name="connsiteX596" fmla="*/ 2898009 w 3060746"/>
                <a:gd name="connsiteY596" fmla="*/ 853970 h 1771142"/>
                <a:gd name="connsiteX597" fmla="*/ 2923215 w 3060746"/>
                <a:gd name="connsiteY597" fmla="*/ 834184 h 1771142"/>
                <a:gd name="connsiteX598" fmla="*/ 2902920 w 3060746"/>
                <a:gd name="connsiteY598" fmla="*/ 827298 h 1771142"/>
                <a:gd name="connsiteX599" fmla="*/ 2921104 w 3060746"/>
                <a:gd name="connsiteY599" fmla="*/ 815199 h 1771142"/>
                <a:gd name="connsiteX600" fmla="*/ 2914366 w 3060746"/>
                <a:gd name="connsiteY600" fmla="*/ 805606 h 1771142"/>
                <a:gd name="connsiteX601" fmla="*/ 2884898 w 3060746"/>
                <a:gd name="connsiteY601" fmla="*/ 803467 h 1771142"/>
                <a:gd name="connsiteX602" fmla="*/ 2863589 w 3060746"/>
                <a:gd name="connsiteY602" fmla="*/ 813494 h 1771142"/>
                <a:gd name="connsiteX603" fmla="*/ 2840777 w 3060746"/>
                <a:gd name="connsiteY603" fmla="*/ 804136 h 1771142"/>
                <a:gd name="connsiteX604" fmla="*/ 2779893 w 3060746"/>
                <a:gd name="connsiteY604" fmla="*/ 837559 h 1771142"/>
                <a:gd name="connsiteX605" fmla="*/ 2772343 w 3060746"/>
                <a:gd name="connsiteY605" fmla="*/ 831944 h 1771142"/>
                <a:gd name="connsiteX606" fmla="*/ 2794018 w 3060746"/>
                <a:gd name="connsiteY606" fmla="*/ 818575 h 1771142"/>
                <a:gd name="connsiteX607" fmla="*/ 2818372 w 3060746"/>
                <a:gd name="connsiteY607" fmla="*/ 808013 h 1771142"/>
                <a:gd name="connsiteX608" fmla="*/ 2851574 w 3060746"/>
                <a:gd name="connsiteY608" fmla="*/ 792170 h 1771142"/>
                <a:gd name="connsiteX609" fmla="*/ 2825150 w 3060746"/>
                <a:gd name="connsiteY609" fmla="*/ 790499 h 1771142"/>
                <a:gd name="connsiteX610" fmla="*/ 2798117 w 3060746"/>
                <a:gd name="connsiteY610" fmla="*/ 790700 h 1771142"/>
                <a:gd name="connsiteX611" fmla="*/ 2779081 w 3060746"/>
                <a:gd name="connsiteY611" fmla="*/ 794677 h 1771142"/>
                <a:gd name="connsiteX612" fmla="*/ 2754727 w 3060746"/>
                <a:gd name="connsiteY612" fmla="*/ 799490 h 1771142"/>
                <a:gd name="connsiteX613" fmla="*/ 2732484 w 3060746"/>
                <a:gd name="connsiteY613" fmla="*/ 790766 h 1771142"/>
                <a:gd name="connsiteX614" fmla="*/ 2698185 w 3060746"/>
                <a:gd name="connsiteY614" fmla="*/ 786722 h 1771142"/>
                <a:gd name="connsiteX615" fmla="*/ 2666485 w 3060746"/>
                <a:gd name="connsiteY615" fmla="*/ 786722 h 1771142"/>
                <a:gd name="connsiteX616" fmla="*/ 2691447 w 3060746"/>
                <a:gd name="connsiteY616" fmla="*/ 778868 h 1771142"/>
                <a:gd name="connsiteX617" fmla="*/ 2678783 w 3060746"/>
                <a:gd name="connsiteY617" fmla="*/ 756741 h 1771142"/>
                <a:gd name="connsiteX618" fmla="*/ 2655769 w 3060746"/>
                <a:gd name="connsiteY618" fmla="*/ 751828 h 1771142"/>
                <a:gd name="connsiteX619" fmla="*/ 2635474 w 3060746"/>
                <a:gd name="connsiteY619" fmla="*/ 742603 h 1771142"/>
                <a:gd name="connsiteX620" fmla="*/ 2595980 w 3060746"/>
                <a:gd name="connsiteY620" fmla="*/ 727061 h 1771142"/>
                <a:gd name="connsiteX621" fmla="*/ 2556324 w 3060746"/>
                <a:gd name="connsiteY621" fmla="*/ 717903 h 1771142"/>
                <a:gd name="connsiteX622" fmla="*/ 2544878 w 3060746"/>
                <a:gd name="connsiteY622" fmla="*/ 735918 h 1771142"/>
                <a:gd name="connsiteX623" fmla="*/ 2548206 w 3060746"/>
                <a:gd name="connsiteY623" fmla="*/ 745945 h 1771142"/>
                <a:gd name="connsiteX624" fmla="*/ 2541671 w 3060746"/>
                <a:gd name="connsiteY624" fmla="*/ 760217 h 1771142"/>
                <a:gd name="connsiteX625" fmla="*/ 2535096 w 3060746"/>
                <a:gd name="connsiteY625" fmla="*/ 770244 h 1771142"/>
                <a:gd name="connsiteX626" fmla="*/ 2513827 w 3060746"/>
                <a:gd name="connsiteY626" fmla="*/ 776495 h 1771142"/>
                <a:gd name="connsiteX627" fmla="*/ 2490122 w 3060746"/>
                <a:gd name="connsiteY627" fmla="*/ 793574 h 1771142"/>
                <a:gd name="connsiteX628" fmla="*/ 2468326 w 3060746"/>
                <a:gd name="connsiteY628" fmla="*/ 791502 h 1771142"/>
                <a:gd name="connsiteX629" fmla="*/ 2459964 w 3060746"/>
                <a:gd name="connsiteY629" fmla="*/ 794042 h 1771142"/>
                <a:gd name="connsiteX630" fmla="*/ 2447787 w 3060746"/>
                <a:gd name="connsiteY630" fmla="*/ 789764 h 1771142"/>
                <a:gd name="connsiteX631" fmla="*/ 2423433 w 3060746"/>
                <a:gd name="connsiteY631" fmla="*/ 789998 h 1771142"/>
                <a:gd name="connsiteX632" fmla="*/ 2404640 w 3060746"/>
                <a:gd name="connsiteY632" fmla="*/ 784616 h 1771142"/>
                <a:gd name="connsiteX633" fmla="*/ 2406751 w 3060746"/>
                <a:gd name="connsiteY633" fmla="*/ 777932 h 1771142"/>
                <a:gd name="connsiteX634" fmla="*/ 2397253 w 3060746"/>
                <a:gd name="connsiteY634" fmla="*/ 769743 h 1771142"/>
                <a:gd name="connsiteX635" fmla="*/ 2393194 w 3060746"/>
                <a:gd name="connsiteY635" fmla="*/ 758346 h 1771142"/>
                <a:gd name="connsiteX636" fmla="*/ 2398917 w 3060746"/>
                <a:gd name="connsiteY636" fmla="*/ 749054 h 1771142"/>
                <a:gd name="connsiteX637" fmla="*/ 2370504 w 3060746"/>
                <a:gd name="connsiteY637" fmla="*/ 754936 h 1771142"/>
                <a:gd name="connsiteX638" fmla="*/ 2338844 w 3060746"/>
                <a:gd name="connsiteY638" fmla="*/ 761387 h 1771142"/>
                <a:gd name="connsiteX639" fmla="*/ 2312988 w 3060746"/>
                <a:gd name="connsiteY639" fmla="*/ 757711 h 1771142"/>
                <a:gd name="connsiteX640" fmla="*/ 2300284 w 3060746"/>
                <a:gd name="connsiteY640" fmla="*/ 755972 h 1771142"/>
                <a:gd name="connsiteX641" fmla="*/ 2283764 w 3060746"/>
                <a:gd name="connsiteY641" fmla="*/ 756507 h 1771142"/>
                <a:gd name="connsiteX642" fmla="*/ 2276052 w 3060746"/>
                <a:gd name="connsiteY642" fmla="*/ 751728 h 1771142"/>
                <a:gd name="connsiteX643" fmla="*/ 2259004 w 3060746"/>
                <a:gd name="connsiteY643" fmla="*/ 753967 h 1771142"/>
                <a:gd name="connsiteX644" fmla="*/ 2218942 w 3060746"/>
                <a:gd name="connsiteY644" fmla="*/ 764195 h 1771142"/>
                <a:gd name="connsiteX645" fmla="*/ 2158869 w 3060746"/>
                <a:gd name="connsiteY645" fmla="*/ 780405 h 1771142"/>
                <a:gd name="connsiteX646" fmla="*/ 2098756 w 3060746"/>
                <a:gd name="connsiteY646" fmla="*/ 805606 h 1771142"/>
                <a:gd name="connsiteX647" fmla="*/ 2117224 w 3060746"/>
                <a:gd name="connsiteY647" fmla="*/ 814698 h 1771142"/>
                <a:gd name="connsiteX648" fmla="*/ 2120715 w 3060746"/>
                <a:gd name="connsiteY648" fmla="*/ 829471 h 1771142"/>
                <a:gd name="connsiteX649" fmla="*/ 2124368 w 3060746"/>
                <a:gd name="connsiteY649" fmla="*/ 839799 h 1771142"/>
                <a:gd name="connsiteX650" fmla="*/ 2149087 w 3060746"/>
                <a:gd name="connsiteY650" fmla="*/ 852500 h 1771142"/>
                <a:gd name="connsiteX651" fmla="*/ 2137641 w 3060746"/>
                <a:gd name="connsiteY651" fmla="*/ 866838 h 1771142"/>
                <a:gd name="connsiteX652" fmla="*/ 2136098 w 3060746"/>
                <a:gd name="connsiteY652" fmla="*/ 878403 h 1771142"/>
                <a:gd name="connsiteX653" fmla="*/ 2128873 w 3060746"/>
                <a:gd name="connsiteY653" fmla="*/ 895616 h 1771142"/>
                <a:gd name="connsiteX654" fmla="*/ 2162928 w 3060746"/>
                <a:gd name="connsiteY654" fmla="*/ 896686 h 1771142"/>
                <a:gd name="connsiteX655" fmla="*/ 2199459 w 3060746"/>
                <a:gd name="connsiteY655" fmla="*/ 905142 h 1771142"/>
                <a:gd name="connsiteX656" fmla="*/ 2194953 w 3060746"/>
                <a:gd name="connsiteY656" fmla="*/ 955845 h 1771142"/>
                <a:gd name="connsiteX657" fmla="*/ 2161345 w 3060746"/>
                <a:gd name="connsiteY657" fmla="*/ 983721 h 1771142"/>
                <a:gd name="connsiteX658" fmla="*/ 2136991 w 3060746"/>
                <a:gd name="connsiteY658" fmla="*/ 996422 h 1771142"/>
                <a:gd name="connsiteX659" fmla="*/ 2165404 w 3060746"/>
                <a:gd name="connsiteY659" fmla="*/ 1009190 h 1771142"/>
                <a:gd name="connsiteX660" fmla="*/ 2184887 w 3060746"/>
                <a:gd name="connsiteY660" fmla="*/ 1031249 h 1771142"/>
                <a:gd name="connsiteX661" fmla="*/ 2194548 w 3060746"/>
                <a:gd name="connsiteY661" fmla="*/ 1044953 h 1771142"/>
                <a:gd name="connsiteX662" fmla="*/ 2195968 w 3060746"/>
                <a:gd name="connsiteY662" fmla="*/ 1053676 h 1771142"/>
                <a:gd name="connsiteX663" fmla="*/ 2184887 w 3060746"/>
                <a:gd name="connsiteY663" fmla="*/ 1059693 h 1771142"/>
                <a:gd name="connsiteX664" fmla="*/ 2172710 w 3060746"/>
                <a:gd name="connsiteY664" fmla="*/ 1075335 h 1771142"/>
                <a:gd name="connsiteX665" fmla="*/ 2155703 w 3060746"/>
                <a:gd name="connsiteY665" fmla="*/ 1078209 h 1771142"/>
                <a:gd name="connsiteX666" fmla="*/ 2138493 w 3060746"/>
                <a:gd name="connsiteY666" fmla="*/ 1075669 h 1771142"/>
                <a:gd name="connsiteX667" fmla="*/ 2106508 w 3060746"/>
                <a:gd name="connsiteY667" fmla="*/ 1072327 h 1771142"/>
                <a:gd name="connsiteX668" fmla="*/ 2083129 w 3060746"/>
                <a:gd name="connsiteY668" fmla="*/ 1066143 h 1771142"/>
                <a:gd name="connsiteX669" fmla="*/ 2056948 w 3060746"/>
                <a:gd name="connsiteY669" fmla="*/ 1039404 h 1771142"/>
                <a:gd name="connsiteX670" fmla="*/ 2050576 w 3060746"/>
                <a:gd name="connsiteY670" fmla="*/ 1020821 h 1771142"/>
                <a:gd name="connsiteX671" fmla="*/ 2004141 w 3060746"/>
                <a:gd name="connsiteY671" fmla="*/ 1030313 h 1771142"/>
                <a:gd name="connsiteX672" fmla="*/ 1959492 w 3060746"/>
                <a:gd name="connsiteY672" fmla="*/ 1045254 h 1771142"/>
                <a:gd name="connsiteX673" fmla="*/ 1927426 w 3060746"/>
                <a:gd name="connsiteY673" fmla="*/ 1047092 h 1771142"/>
                <a:gd name="connsiteX674" fmla="*/ 1883589 w 3060746"/>
                <a:gd name="connsiteY674" fmla="*/ 1054378 h 1771142"/>
                <a:gd name="connsiteX675" fmla="*/ 1857977 w 3060746"/>
                <a:gd name="connsiteY675" fmla="*/ 1051972 h 1771142"/>
                <a:gd name="connsiteX676" fmla="*/ 1791897 w 3060746"/>
                <a:gd name="connsiteY676" fmla="*/ 1063403 h 1771142"/>
                <a:gd name="connsiteX677" fmla="*/ 1763484 w 3060746"/>
                <a:gd name="connsiteY677" fmla="*/ 1067480 h 1771142"/>
                <a:gd name="connsiteX678" fmla="*/ 1730160 w 3060746"/>
                <a:gd name="connsiteY678" fmla="*/ 1079479 h 1771142"/>
                <a:gd name="connsiteX679" fmla="*/ 1705522 w 3060746"/>
                <a:gd name="connsiteY679" fmla="*/ 1094921 h 1771142"/>
                <a:gd name="connsiteX680" fmla="*/ 1702681 w 3060746"/>
                <a:gd name="connsiteY680" fmla="*/ 1085395 h 1771142"/>
                <a:gd name="connsiteX681" fmla="*/ 1653973 w 3060746"/>
                <a:gd name="connsiteY681" fmla="*/ 1066478 h 1771142"/>
                <a:gd name="connsiteX682" fmla="*/ 1600719 w 3060746"/>
                <a:gd name="connsiteY682" fmla="*/ 1069820 h 1771142"/>
                <a:gd name="connsiteX683" fmla="*/ 1596214 w 3060746"/>
                <a:gd name="connsiteY683" fmla="*/ 1029411 h 1771142"/>
                <a:gd name="connsiteX684" fmla="*/ 1597837 w 3060746"/>
                <a:gd name="connsiteY684" fmla="*/ 1012900 h 1771142"/>
                <a:gd name="connsiteX685" fmla="*/ 1618822 w 3060746"/>
                <a:gd name="connsiteY685" fmla="*/ 992578 h 1771142"/>
                <a:gd name="connsiteX686" fmla="*/ 1626940 w 3060746"/>
                <a:gd name="connsiteY686" fmla="*/ 978172 h 1771142"/>
                <a:gd name="connsiteX687" fmla="*/ 1630512 w 3060746"/>
                <a:gd name="connsiteY687" fmla="*/ 969315 h 1771142"/>
                <a:gd name="connsiteX688" fmla="*/ 1638630 w 3060746"/>
                <a:gd name="connsiteY688" fmla="*/ 962263 h 1771142"/>
                <a:gd name="connsiteX689" fmla="*/ 1631405 w 3060746"/>
                <a:gd name="connsiteY689" fmla="*/ 959422 h 1771142"/>
                <a:gd name="connsiteX690" fmla="*/ 1647885 w 3060746"/>
                <a:gd name="connsiteY690" fmla="*/ 951200 h 1771142"/>
                <a:gd name="connsiteX691" fmla="*/ 1679423 w 3060746"/>
                <a:gd name="connsiteY691" fmla="*/ 932014 h 1771142"/>
                <a:gd name="connsiteX692" fmla="*/ 1629254 w 3060746"/>
                <a:gd name="connsiteY692" fmla="*/ 936760 h 1771142"/>
                <a:gd name="connsiteX693" fmla="*/ 1579937 w 3060746"/>
                <a:gd name="connsiteY693" fmla="*/ 944615 h 1771142"/>
                <a:gd name="connsiteX694" fmla="*/ 1574742 w 3060746"/>
                <a:gd name="connsiteY694" fmla="*/ 942409 h 1771142"/>
                <a:gd name="connsiteX695" fmla="*/ 1616184 w 3060746"/>
                <a:gd name="connsiteY695" fmla="*/ 929541 h 1771142"/>
                <a:gd name="connsiteX696" fmla="*/ 1691519 w 3060746"/>
                <a:gd name="connsiteY696" fmla="*/ 907949 h 1771142"/>
                <a:gd name="connsiteX697" fmla="*/ 1687135 w 3060746"/>
                <a:gd name="connsiteY697" fmla="*/ 894145 h 1771142"/>
                <a:gd name="connsiteX698" fmla="*/ 1724640 w 3060746"/>
                <a:gd name="connsiteY698" fmla="*/ 884319 h 1771142"/>
                <a:gd name="connsiteX699" fmla="*/ 1770222 w 3060746"/>
                <a:gd name="connsiteY699" fmla="*/ 839866 h 1771142"/>
                <a:gd name="connsiteX700" fmla="*/ 1700042 w 3060746"/>
                <a:gd name="connsiteY700" fmla="*/ 852767 h 1771142"/>
                <a:gd name="connsiteX701" fmla="*/ 1666637 w 3060746"/>
                <a:gd name="connsiteY701" fmla="*/ 850093 h 1771142"/>
                <a:gd name="connsiteX702" fmla="*/ 1700083 w 3060746"/>
                <a:gd name="connsiteY702" fmla="*/ 840868 h 1771142"/>
                <a:gd name="connsiteX703" fmla="*/ 1771927 w 3060746"/>
                <a:gd name="connsiteY703" fmla="*/ 819043 h 1771142"/>
                <a:gd name="connsiteX704" fmla="*/ 1792222 w 3060746"/>
                <a:gd name="connsiteY704" fmla="*/ 797418 h 1771142"/>
                <a:gd name="connsiteX705" fmla="*/ 1766447 w 3060746"/>
                <a:gd name="connsiteY705" fmla="*/ 798120 h 1771142"/>
                <a:gd name="connsiteX706" fmla="*/ 1788975 w 3060746"/>
                <a:gd name="connsiteY706" fmla="*/ 783614 h 1771142"/>
                <a:gd name="connsiteX707" fmla="*/ 1829077 w 3060746"/>
                <a:gd name="connsiteY707" fmla="*/ 777765 h 1771142"/>
                <a:gd name="connsiteX708" fmla="*/ 1846369 w 3060746"/>
                <a:gd name="connsiteY708" fmla="*/ 764195 h 1771142"/>
                <a:gd name="connsiteX709" fmla="*/ 1815723 w 3060746"/>
                <a:gd name="connsiteY709" fmla="*/ 761220 h 1771142"/>
                <a:gd name="connsiteX710" fmla="*/ 1843487 w 3060746"/>
                <a:gd name="connsiteY710" fmla="*/ 758346 h 1771142"/>
                <a:gd name="connsiteX711" fmla="*/ 1877420 w 3060746"/>
                <a:gd name="connsiteY711" fmla="*/ 753399 h 1771142"/>
                <a:gd name="connsiteX712" fmla="*/ 1907497 w 3060746"/>
                <a:gd name="connsiteY712" fmla="*/ 728398 h 1771142"/>
                <a:gd name="connsiteX713" fmla="*/ 1924504 w 3060746"/>
                <a:gd name="connsiteY713" fmla="*/ 710884 h 1771142"/>
                <a:gd name="connsiteX714" fmla="*/ 1889921 w 3060746"/>
                <a:gd name="connsiteY714" fmla="*/ 700222 h 1771142"/>
                <a:gd name="connsiteX715" fmla="*/ 1879124 w 3060746"/>
                <a:gd name="connsiteY715" fmla="*/ 690195 h 1771142"/>
                <a:gd name="connsiteX716" fmla="*/ 1909445 w 3060746"/>
                <a:gd name="connsiteY716" fmla="*/ 671110 h 1771142"/>
                <a:gd name="connsiteX717" fmla="*/ 1893209 w 3060746"/>
                <a:gd name="connsiteY717" fmla="*/ 669071 h 1771142"/>
                <a:gd name="connsiteX718" fmla="*/ 1897715 w 3060746"/>
                <a:gd name="connsiteY718" fmla="*/ 660448 h 1771142"/>
                <a:gd name="connsiteX719" fmla="*/ 1873361 w 3060746"/>
                <a:gd name="connsiteY719" fmla="*/ 665963 h 1771142"/>
                <a:gd name="connsiteX720" fmla="*/ 1839509 w 3060746"/>
                <a:gd name="connsiteY720" fmla="*/ 664726 h 1771142"/>
                <a:gd name="connsiteX721" fmla="*/ 1758330 w 3060746"/>
                <a:gd name="connsiteY721" fmla="*/ 689292 h 1771142"/>
                <a:gd name="connsiteX722" fmla="*/ 1761820 w 3060746"/>
                <a:gd name="connsiteY722" fmla="*/ 702896 h 1771142"/>
                <a:gd name="connsiteX723" fmla="*/ 1783576 w 3060746"/>
                <a:gd name="connsiteY723" fmla="*/ 707007 h 1771142"/>
                <a:gd name="connsiteX724" fmla="*/ 1777325 w 3060746"/>
                <a:gd name="connsiteY724" fmla="*/ 717234 h 1771142"/>
                <a:gd name="connsiteX725" fmla="*/ 1765149 w 3060746"/>
                <a:gd name="connsiteY725" fmla="*/ 735116 h 1771142"/>
                <a:gd name="connsiteX726" fmla="*/ 1752972 w 3060746"/>
                <a:gd name="connsiteY726" fmla="*/ 753934 h 1771142"/>
                <a:gd name="connsiteX727" fmla="*/ 1736736 w 3060746"/>
                <a:gd name="connsiteY727" fmla="*/ 747817 h 1771142"/>
                <a:gd name="connsiteX728" fmla="*/ 1757031 w 3060746"/>
                <a:gd name="connsiteY728" fmla="*/ 768707 h 1771142"/>
                <a:gd name="connsiteX729" fmla="*/ 1745138 w 3060746"/>
                <a:gd name="connsiteY729" fmla="*/ 775592 h 1771142"/>
                <a:gd name="connsiteX730" fmla="*/ 1735315 w 3060746"/>
                <a:gd name="connsiteY730" fmla="*/ 785887 h 1771142"/>
                <a:gd name="connsiteX731" fmla="*/ 1699921 w 3060746"/>
                <a:gd name="connsiteY731" fmla="*/ 781241 h 1771142"/>
                <a:gd name="connsiteX732" fmla="*/ 1689733 w 3060746"/>
                <a:gd name="connsiteY732" fmla="*/ 765331 h 1771142"/>
                <a:gd name="connsiteX733" fmla="*/ 1685308 w 3060746"/>
                <a:gd name="connsiteY733" fmla="*/ 750190 h 1771142"/>
                <a:gd name="connsiteX734" fmla="*/ 1643866 w 3060746"/>
                <a:gd name="connsiteY734" fmla="*/ 750424 h 1771142"/>
                <a:gd name="connsiteX735" fmla="*/ 1625520 w 3060746"/>
                <a:gd name="connsiteY735" fmla="*/ 770478 h 1771142"/>
                <a:gd name="connsiteX736" fmla="*/ 1603642 w 3060746"/>
                <a:gd name="connsiteY736" fmla="*/ 785753 h 1771142"/>
                <a:gd name="connsiteX737" fmla="*/ 1588096 w 3060746"/>
                <a:gd name="connsiteY737" fmla="*/ 777397 h 1771142"/>
                <a:gd name="connsiteX738" fmla="*/ 1602262 w 3060746"/>
                <a:gd name="connsiteY738" fmla="*/ 759148 h 1771142"/>
                <a:gd name="connsiteX739" fmla="*/ 1561672 w 3060746"/>
                <a:gd name="connsiteY739" fmla="*/ 766601 h 1771142"/>
                <a:gd name="connsiteX740" fmla="*/ 1533706 w 3060746"/>
                <a:gd name="connsiteY740" fmla="*/ 778767 h 1771142"/>
                <a:gd name="connsiteX741" fmla="*/ 1535492 w 3060746"/>
                <a:gd name="connsiteY741" fmla="*/ 762624 h 1771142"/>
                <a:gd name="connsiteX742" fmla="*/ 1538252 w 3060746"/>
                <a:gd name="connsiteY742" fmla="*/ 753466 h 1771142"/>
                <a:gd name="connsiteX743" fmla="*/ 1515806 w 3060746"/>
                <a:gd name="connsiteY743" fmla="*/ 751694 h 1771142"/>
                <a:gd name="connsiteX744" fmla="*/ 1485485 w 3060746"/>
                <a:gd name="connsiteY744" fmla="*/ 756307 h 1771142"/>
                <a:gd name="connsiteX745" fmla="*/ 1479437 w 3060746"/>
                <a:gd name="connsiteY745" fmla="*/ 742068 h 1771142"/>
                <a:gd name="connsiteX746" fmla="*/ 1440471 w 3060746"/>
                <a:gd name="connsiteY746" fmla="*/ 743205 h 1771142"/>
                <a:gd name="connsiteX747" fmla="*/ 1417091 w 3060746"/>
                <a:gd name="connsiteY747" fmla="*/ 745644 h 1771142"/>
                <a:gd name="connsiteX748" fmla="*/ 1434058 w 3060746"/>
                <a:gd name="connsiteY748" fmla="*/ 730571 h 1771142"/>
                <a:gd name="connsiteX749" fmla="*/ 1438117 w 3060746"/>
                <a:gd name="connsiteY749" fmla="*/ 712622 h 1771142"/>
                <a:gd name="connsiteX750" fmla="*/ 1451146 w 3060746"/>
                <a:gd name="connsiteY750" fmla="*/ 702194 h 1771142"/>
                <a:gd name="connsiteX751" fmla="*/ 1503913 w 3060746"/>
                <a:gd name="connsiteY751" fmla="*/ 667834 h 1771142"/>
                <a:gd name="connsiteX752" fmla="*/ 1499854 w 3060746"/>
                <a:gd name="connsiteY752" fmla="*/ 638288 h 1771142"/>
                <a:gd name="connsiteX753" fmla="*/ 1451471 w 3060746"/>
                <a:gd name="connsiteY753" fmla="*/ 655000 h 1771142"/>
                <a:gd name="connsiteX754" fmla="*/ 1410069 w 3060746"/>
                <a:gd name="connsiteY754" fmla="*/ 667266 h 1771142"/>
                <a:gd name="connsiteX755" fmla="*/ 1367572 w 3060746"/>
                <a:gd name="connsiteY755" fmla="*/ 687855 h 1771142"/>
                <a:gd name="connsiteX756" fmla="*/ 1369885 w 3060746"/>
                <a:gd name="connsiteY756" fmla="*/ 698785 h 1771142"/>
                <a:gd name="connsiteX757" fmla="*/ 1349591 w 3060746"/>
                <a:gd name="connsiteY757" fmla="*/ 708177 h 1771142"/>
                <a:gd name="connsiteX758" fmla="*/ 1357709 w 3060746"/>
                <a:gd name="connsiteY758" fmla="*/ 721011 h 1771142"/>
                <a:gd name="connsiteX759" fmla="*/ 1374797 w 3060746"/>
                <a:gd name="connsiteY759" fmla="*/ 736921 h 1771142"/>
                <a:gd name="connsiteX760" fmla="*/ 1399151 w 3060746"/>
                <a:gd name="connsiteY760" fmla="*/ 752898 h 1771142"/>
                <a:gd name="connsiteX761" fmla="*/ 1384011 w 3060746"/>
                <a:gd name="connsiteY761" fmla="*/ 770044 h 1771142"/>
                <a:gd name="connsiteX762" fmla="*/ 1399719 w 3060746"/>
                <a:gd name="connsiteY762" fmla="*/ 775024 h 1771142"/>
                <a:gd name="connsiteX763" fmla="*/ 1371996 w 3060746"/>
                <a:gd name="connsiteY763" fmla="*/ 784717 h 1771142"/>
                <a:gd name="connsiteX764" fmla="*/ 1375528 w 3060746"/>
                <a:gd name="connsiteY764" fmla="*/ 803969 h 1771142"/>
                <a:gd name="connsiteX765" fmla="*/ 1382387 w 3060746"/>
                <a:gd name="connsiteY765" fmla="*/ 816703 h 1771142"/>
                <a:gd name="connsiteX766" fmla="*/ 1413925 w 3060746"/>
                <a:gd name="connsiteY766" fmla="*/ 823388 h 1771142"/>
                <a:gd name="connsiteX767" fmla="*/ 1463810 w 3060746"/>
                <a:gd name="connsiteY767" fmla="*/ 810520 h 1771142"/>
                <a:gd name="connsiteX768" fmla="*/ 1472375 w 3060746"/>
                <a:gd name="connsiteY768" fmla="*/ 816135 h 1771142"/>
                <a:gd name="connsiteX769" fmla="*/ 1477651 w 3060746"/>
                <a:gd name="connsiteY769" fmla="*/ 822385 h 1771142"/>
                <a:gd name="connsiteX770" fmla="*/ 1471603 w 3060746"/>
                <a:gd name="connsiteY770" fmla="*/ 831543 h 1771142"/>
                <a:gd name="connsiteX771" fmla="*/ 1484511 w 3060746"/>
                <a:gd name="connsiteY771" fmla="*/ 822151 h 1771142"/>
                <a:gd name="connsiteX772" fmla="*/ 1503953 w 3060746"/>
                <a:gd name="connsiteY772" fmla="*/ 824858 h 1771142"/>
                <a:gd name="connsiteX773" fmla="*/ 1496282 w 3060746"/>
                <a:gd name="connsiteY773" fmla="*/ 834150 h 1771142"/>
                <a:gd name="connsiteX774" fmla="*/ 1479031 w 3060746"/>
                <a:gd name="connsiteY774" fmla="*/ 852867 h 1771142"/>
                <a:gd name="connsiteX775" fmla="*/ 1453703 w 3060746"/>
                <a:gd name="connsiteY775" fmla="*/ 868476 h 1771142"/>
                <a:gd name="connsiteX776" fmla="*/ 1472375 w 3060746"/>
                <a:gd name="connsiteY776" fmla="*/ 880709 h 1771142"/>
                <a:gd name="connsiteX777" fmla="*/ 1439497 w 3060746"/>
                <a:gd name="connsiteY777" fmla="*/ 892174 h 1771142"/>
                <a:gd name="connsiteX778" fmla="*/ 1432881 w 3060746"/>
                <a:gd name="connsiteY778" fmla="*/ 870782 h 1771142"/>
                <a:gd name="connsiteX779" fmla="*/ 1403413 w 3060746"/>
                <a:gd name="connsiteY779" fmla="*/ 879105 h 1771142"/>
                <a:gd name="connsiteX780" fmla="*/ 1386730 w 3060746"/>
                <a:gd name="connsiteY780" fmla="*/ 876999 h 1771142"/>
                <a:gd name="connsiteX781" fmla="*/ 1418187 w 3060746"/>
                <a:gd name="connsiteY781" fmla="*/ 863128 h 1771142"/>
                <a:gd name="connsiteX782" fmla="*/ 1446600 w 3060746"/>
                <a:gd name="connsiteY782" fmla="*/ 848054 h 1771142"/>
                <a:gd name="connsiteX783" fmla="*/ 1453216 w 3060746"/>
                <a:gd name="connsiteY783" fmla="*/ 830674 h 1771142"/>
                <a:gd name="connsiteX784" fmla="*/ 1420744 w 3060746"/>
                <a:gd name="connsiteY784" fmla="*/ 840935 h 1771142"/>
                <a:gd name="connsiteX785" fmla="*/ 1414859 w 3060746"/>
                <a:gd name="connsiteY785" fmla="*/ 836690 h 1771142"/>
                <a:gd name="connsiteX786" fmla="*/ 1417457 w 3060746"/>
                <a:gd name="connsiteY786" fmla="*/ 828903 h 1771142"/>
                <a:gd name="connsiteX787" fmla="*/ 1370819 w 3060746"/>
                <a:gd name="connsiteY787" fmla="*/ 843743 h 1771142"/>
                <a:gd name="connsiteX788" fmla="*/ 1340214 w 3060746"/>
                <a:gd name="connsiteY788" fmla="*/ 851330 h 1771142"/>
                <a:gd name="connsiteX789" fmla="*/ 1331569 w 3060746"/>
                <a:gd name="connsiteY789" fmla="*/ 874726 h 1771142"/>
                <a:gd name="connsiteX790" fmla="*/ 1308757 w 3060746"/>
                <a:gd name="connsiteY790" fmla="*/ 890669 h 1771142"/>
                <a:gd name="connsiteX791" fmla="*/ 1351174 w 3060746"/>
                <a:gd name="connsiteY791" fmla="*/ 880642 h 1771142"/>
                <a:gd name="connsiteX792" fmla="*/ 1372686 w 3060746"/>
                <a:gd name="connsiteY792" fmla="*/ 881912 h 1771142"/>
                <a:gd name="connsiteX793" fmla="*/ 1366841 w 3060746"/>
                <a:gd name="connsiteY793" fmla="*/ 888965 h 1771142"/>
                <a:gd name="connsiteX794" fmla="*/ 1352351 w 3060746"/>
                <a:gd name="connsiteY794" fmla="*/ 894379 h 1771142"/>
                <a:gd name="connsiteX795" fmla="*/ 1349793 w 3060746"/>
                <a:gd name="connsiteY795" fmla="*/ 901733 h 1771142"/>
                <a:gd name="connsiteX796" fmla="*/ 1353852 w 3060746"/>
                <a:gd name="connsiteY796" fmla="*/ 912395 h 1771142"/>
                <a:gd name="connsiteX797" fmla="*/ 1317322 w 3060746"/>
                <a:gd name="connsiteY797" fmla="*/ 927268 h 1771142"/>
                <a:gd name="connsiteX798" fmla="*/ 1270684 w 3060746"/>
                <a:gd name="connsiteY798" fmla="*/ 951266 h 1771142"/>
                <a:gd name="connsiteX799" fmla="*/ 1173269 w 3060746"/>
                <a:gd name="connsiteY799" fmla="*/ 983320 h 1771142"/>
                <a:gd name="connsiteX800" fmla="*/ 1140797 w 3060746"/>
                <a:gd name="connsiteY800" fmla="*/ 989403 h 1771142"/>
                <a:gd name="connsiteX801" fmla="*/ 1118513 w 3060746"/>
                <a:gd name="connsiteY801" fmla="*/ 986562 h 1771142"/>
                <a:gd name="connsiteX802" fmla="*/ 1054584 w 3060746"/>
                <a:gd name="connsiteY802" fmla="*/ 1017445 h 1771142"/>
                <a:gd name="connsiteX803" fmla="*/ 1025238 w 3060746"/>
                <a:gd name="connsiteY803" fmla="*/ 1040842 h 1771142"/>
                <a:gd name="connsiteX804" fmla="*/ 1043584 w 3060746"/>
                <a:gd name="connsiteY804" fmla="*/ 1040541 h 1771142"/>
                <a:gd name="connsiteX805" fmla="*/ 1062499 w 3060746"/>
                <a:gd name="connsiteY805" fmla="*/ 1025400 h 1771142"/>
                <a:gd name="connsiteX806" fmla="*/ 1100491 w 3060746"/>
                <a:gd name="connsiteY806" fmla="*/ 999931 h 1771142"/>
                <a:gd name="connsiteX807" fmla="*/ 1105849 w 3060746"/>
                <a:gd name="connsiteY807" fmla="*/ 1004577 h 1771142"/>
                <a:gd name="connsiteX808" fmla="*/ 1075001 w 3060746"/>
                <a:gd name="connsiteY808" fmla="*/ 1027974 h 1771142"/>
                <a:gd name="connsiteX809" fmla="*/ 1092008 w 3060746"/>
                <a:gd name="connsiteY809" fmla="*/ 1055448 h 1771142"/>
                <a:gd name="connsiteX810" fmla="*/ 1072971 w 3060746"/>
                <a:gd name="connsiteY810" fmla="*/ 1074399 h 1771142"/>
                <a:gd name="connsiteX811" fmla="*/ 1060226 w 3060746"/>
                <a:gd name="connsiteY811" fmla="*/ 1072861 h 1771142"/>
                <a:gd name="connsiteX812" fmla="*/ 1034452 w 3060746"/>
                <a:gd name="connsiteY812" fmla="*/ 1066177 h 1771142"/>
                <a:gd name="connsiteX813" fmla="*/ 1027470 w 3060746"/>
                <a:gd name="connsiteY813" fmla="*/ 1064305 h 1771142"/>
                <a:gd name="connsiteX814" fmla="*/ 1013101 w 3060746"/>
                <a:gd name="connsiteY814" fmla="*/ 1070689 h 1771142"/>
                <a:gd name="connsiteX815" fmla="*/ 975921 w 3060746"/>
                <a:gd name="connsiteY815" fmla="*/ 1082253 h 1771142"/>
                <a:gd name="connsiteX816" fmla="*/ 887679 w 3060746"/>
                <a:gd name="connsiteY816" fmla="*/ 1132990 h 1771142"/>
                <a:gd name="connsiteX817" fmla="*/ 823994 w 3060746"/>
                <a:gd name="connsiteY817" fmla="*/ 1155284 h 1771142"/>
                <a:gd name="connsiteX818" fmla="*/ 842300 w 3060746"/>
                <a:gd name="connsiteY818" fmla="*/ 1135430 h 1771142"/>
                <a:gd name="connsiteX819" fmla="*/ 850986 w 3060746"/>
                <a:gd name="connsiteY819" fmla="*/ 1122830 h 1771142"/>
                <a:gd name="connsiteX820" fmla="*/ 805363 w 3060746"/>
                <a:gd name="connsiteY820" fmla="*/ 1130150 h 1771142"/>
                <a:gd name="connsiteX821" fmla="*/ 779507 w 3060746"/>
                <a:gd name="connsiteY821" fmla="*/ 1142884 h 1771142"/>
                <a:gd name="connsiteX822" fmla="*/ 698044 w 3060746"/>
                <a:gd name="connsiteY822" fmla="*/ 1175004 h 1771142"/>
                <a:gd name="connsiteX823" fmla="*/ 659727 w 3060746"/>
                <a:gd name="connsiteY823" fmla="*/ 1190813 h 1771142"/>
                <a:gd name="connsiteX824" fmla="*/ 607894 w 3060746"/>
                <a:gd name="connsiteY824" fmla="*/ 1204550 h 1771142"/>
                <a:gd name="connsiteX825" fmla="*/ 543681 w 3060746"/>
                <a:gd name="connsiteY825" fmla="*/ 1246798 h 1771142"/>
                <a:gd name="connsiteX826" fmla="*/ 510113 w 3060746"/>
                <a:gd name="connsiteY826" fmla="*/ 1269526 h 1771142"/>
                <a:gd name="connsiteX827" fmla="*/ 509910 w 3060746"/>
                <a:gd name="connsiteY827" fmla="*/ 1258061 h 1771142"/>
                <a:gd name="connsiteX828" fmla="*/ 494039 w 3060746"/>
                <a:gd name="connsiteY828" fmla="*/ 1251043 h 1771142"/>
                <a:gd name="connsiteX829" fmla="*/ 481132 w 3060746"/>
                <a:gd name="connsiteY829" fmla="*/ 1268256 h 1771142"/>
                <a:gd name="connsiteX830" fmla="*/ 372554 w 3060746"/>
                <a:gd name="connsiteY830" fmla="*/ 1300008 h 1771142"/>
                <a:gd name="connsiteX831" fmla="*/ 385868 w 3060746"/>
                <a:gd name="connsiteY831" fmla="*/ 1307595 h 1771142"/>
                <a:gd name="connsiteX832" fmla="*/ 373691 w 3060746"/>
                <a:gd name="connsiteY832" fmla="*/ 1318759 h 1771142"/>
                <a:gd name="connsiteX833" fmla="*/ 366872 w 3060746"/>
                <a:gd name="connsiteY833" fmla="*/ 1338211 h 1771142"/>
                <a:gd name="connsiteX834" fmla="*/ 346009 w 3060746"/>
                <a:gd name="connsiteY834" fmla="*/ 1345331 h 1771142"/>
                <a:gd name="connsiteX835" fmla="*/ 312076 w 3060746"/>
                <a:gd name="connsiteY835" fmla="*/ 1382732 h 1771142"/>
                <a:gd name="connsiteX836" fmla="*/ 303633 w 3060746"/>
                <a:gd name="connsiteY836" fmla="*/ 1383868 h 1771142"/>
                <a:gd name="connsiteX837" fmla="*/ 286951 w 3060746"/>
                <a:gd name="connsiteY837" fmla="*/ 1398641 h 1771142"/>
                <a:gd name="connsiteX838" fmla="*/ 272014 w 3060746"/>
                <a:gd name="connsiteY838" fmla="*/ 1424210 h 1771142"/>
                <a:gd name="connsiteX839" fmla="*/ 256305 w 3060746"/>
                <a:gd name="connsiteY839" fmla="*/ 1428087 h 1771142"/>
                <a:gd name="connsiteX840" fmla="*/ 292349 w 3060746"/>
                <a:gd name="connsiteY840" fmla="*/ 1385773 h 1771142"/>
                <a:gd name="connsiteX841" fmla="*/ 335212 w 3060746"/>
                <a:gd name="connsiteY841" fmla="*/ 1347904 h 1771142"/>
                <a:gd name="connsiteX842" fmla="*/ 307043 w 3060746"/>
                <a:gd name="connsiteY842" fmla="*/ 1356628 h 1771142"/>
                <a:gd name="connsiteX843" fmla="*/ 251800 w 3060746"/>
                <a:gd name="connsiteY843" fmla="*/ 1406228 h 1771142"/>
                <a:gd name="connsiteX844" fmla="*/ 237025 w 3060746"/>
                <a:gd name="connsiteY844" fmla="*/ 1424578 h 1771142"/>
                <a:gd name="connsiteX845" fmla="*/ 223103 w 3060746"/>
                <a:gd name="connsiteY845" fmla="*/ 1436477 h 1771142"/>
                <a:gd name="connsiteX846" fmla="*/ 215472 w 3060746"/>
                <a:gd name="connsiteY846" fmla="*/ 1433134 h 1771142"/>
                <a:gd name="connsiteX847" fmla="*/ 191118 w 3060746"/>
                <a:gd name="connsiteY847" fmla="*/ 1453188 h 1771142"/>
                <a:gd name="connsiteX848" fmla="*/ 165384 w 3060746"/>
                <a:gd name="connsiteY848" fmla="*/ 1474078 h 1771142"/>
                <a:gd name="connsiteX849" fmla="*/ 185679 w 3060746"/>
                <a:gd name="connsiteY849" fmla="*/ 1477420 h 1771142"/>
                <a:gd name="connsiteX850" fmla="*/ 153938 w 3060746"/>
                <a:gd name="connsiteY850" fmla="*/ 1494801 h 1771142"/>
                <a:gd name="connsiteX851" fmla="*/ 93987 w 3060746"/>
                <a:gd name="connsiteY851" fmla="*/ 1522977 h 1771142"/>
                <a:gd name="connsiteX852" fmla="*/ 54899 w 3060746"/>
                <a:gd name="connsiteY852" fmla="*/ 1531567 h 1771142"/>
                <a:gd name="connsiteX853" fmla="*/ -60 w 3060746"/>
                <a:gd name="connsiteY853" fmla="*/ 1564456 h 1771142"/>
                <a:gd name="connsiteX854" fmla="*/ 172609 w 3060746"/>
                <a:gd name="connsiteY854" fmla="*/ 1746514 h 1771142"/>
                <a:gd name="connsiteX855" fmla="*/ 195218 w 3060746"/>
                <a:gd name="connsiteY855" fmla="*/ 1770345 h 1771142"/>
                <a:gd name="connsiteX856" fmla="*/ 241246 w 3060746"/>
                <a:gd name="connsiteY856" fmla="*/ 1738325 h 1771142"/>
                <a:gd name="connsiteX857" fmla="*/ 263855 w 3060746"/>
                <a:gd name="connsiteY857" fmla="*/ 1738526 h 1771142"/>
                <a:gd name="connsiteX858" fmla="*/ 309924 w 3060746"/>
                <a:gd name="connsiteY858" fmla="*/ 1733479 h 1771142"/>
                <a:gd name="connsiteX859" fmla="*/ 339271 w 3060746"/>
                <a:gd name="connsiteY859" fmla="*/ 1717201 h 1771142"/>
                <a:gd name="connsiteX860" fmla="*/ 348931 w 3060746"/>
                <a:gd name="connsiteY860" fmla="*/ 1696646 h 1771142"/>
                <a:gd name="connsiteX861" fmla="*/ 373650 w 3060746"/>
                <a:gd name="connsiteY861" fmla="*/ 1679332 h 1771142"/>
                <a:gd name="connsiteX862" fmla="*/ 394595 w 3060746"/>
                <a:gd name="connsiteY862" fmla="*/ 1679332 h 1771142"/>
                <a:gd name="connsiteX863" fmla="*/ 465789 w 3060746"/>
                <a:gd name="connsiteY863" fmla="*/ 1672882 h 1771142"/>
                <a:gd name="connsiteX864" fmla="*/ 532356 w 3060746"/>
                <a:gd name="connsiteY864" fmla="*/ 1679566 h 1771142"/>
                <a:gd name="connsiteX865" fmla="*/ 594986 w 3060746"/>
                <a:gd name="connsiteY865" fmla="*/ 1667901 h 1771142"/>
                <a:gd name="connsiteX866" fmla="*/ 607853 w 3060746"/>
                <a:gd name="connsiteY866" fmla="*/ 1674954 h 1771142"/>
                <a:gd name="connsiteX867" fmla="*/ 598802 w 3060746"/>
                <a:gd name="connsiteY867" fmla="*/ 1699387 h 1771142"/>
                <a:gd name="connsiteX868" fmla="*/ 617514 w 3060746"/>
                <a:gd name="connsiteY868" fmla="*/ 1703230 h 1771142"/>
                <a:gd name="connsiteX869" fmla="*/ 621248 w 3060746"/>
                <a:gd name="connsiteY869" fmla="*/ 1713257 h 1771142"/>
                <a:gd name="connsiteX870" fmla="*/ 652502 w 3060746"/>
                <a:gd name="connsiteY870" fmla="*/ 1702395 h 1771142"/>
                <a:gd name="connsiteX871" fmla="*/ 669712 w 3060746"/>
                <a:gd name="connsiteY871" fmla="*/ 1711386 h 1771142"/>
                <a:gd name="connsiteX872" fmla="*/ 692118 w 3060746"/>
                <a:gd name="connsiteY872" fmla="*/ 1699888 h 1771142"/>
                <a:gd name="connsiteX873" fmla="*/ 720530 w 3060746"/>
                <a:gd name="connsiteY873" fmla="*/ 1698351 h 1771142"/>
                <a:gd name="connsiteX874" fmla="*/ 716877 w 3060746"/>
                <a:gd name="connsiteY874" fmla="*/ 1713124 h 1771142"/>
                <a:gd name="connsiteX875" fmla="*/ 728364 w 3060746"/>
                <a:gd name="connsiteY875" fmla="*/ 1711352 h 1771142"/>
                <a:gd name="connsiteX876" fmla="*/ 738512 w 3060746"/>
                <a:gd name="connsiteY876" fmla="*/ 1717135 h 1771142"/>
                <a:gd name="connsiteX877" fmla="*/ 770983 w 3060746"/>
                <a:gd name="connsiteY877" fmla="*/ 1705135 h 1771142"/>
                <a:gd name="connsiteX878" fmla="*/ 806865 w 3060746"/>
                <a:gd name="connsiteY878" fmla="*/ 1698752 h 1771142"/>
                <a:gd name="connsiteX879" fmla="*/ 833492 w 3060746"/>
                <a:gd name="connsiteY879" fmla="*/ 1688725 h 1771142"/>
                <a:gd name="connsiteX880" fmla="*/ 863366 w 3060746"/>
                <a:gd name="connsiteY880" fmla="*/ 1682574 h 1771142"/>
                <a:gd name="connsiteX881" fmla="*/ 892225 w 3060746"/>
                <a:gd name="connsiteY881" fmla="*/ 1673784 h 1771142"/>
                <a:gd name="connsiteX882" fmla="*/ 916254 w 3060746"/>
                <a:gd name="connsiteY882" fmla="*/ 1678798 h 1771142"/>
                <a:gd name="connsiteX883" fmla="*/ 924697 w 3060746"/>
                <a:gd name="connsiteY883" fmla="*/ 1674219 h 1771142"/>
                <a:gd name="connsiteX884" fmla="*/ 977220 w 3060746"/>
                <a:gd name="connsiteY884" fmla="*/ 1645942 h 1771142"/>
                <a:gd name="connsiteX885" fmla="*/ 1183578 w 3060746"/>
                <a:gd name="connsiteY885" fmla="*/ 1539655 h 1771142"/>
                <a:gd name="connsiteX886" fmla="*/ 1657586 w 3060746"/>
                <a:gd name="connsiteY886" fmla="*/ 1322402 h 1771142"/>
                <a:gd name="connsiteX887" fmla="*/ 1712828 w 3060746"/>
                <a:gd name="connsiteY887" fmla="*/ 1299440 h 1771142"/>
                <a:gd name="connsiteX888" fmla="*/ 1721596 w 3060746"/>
                <a:gd name="connsiteY888" fmla="*/ 1295797 h 1771142"/>
                <a:gd name="connsiteX889" fmla="*/ 1720581 w 3060746"/>
                <a:gd name="connsiteY889" fmla="*/ 1289112 h 1771142"/>
                <a:gd name="connsiteX890" fmla="*/ 1741688 w 3060746"/>
                <a:gd name="connsiteY890" fmla="*/ 1291552 h 1771142"/>
                <a:gd name="connsiteX891" fmla="*/ 1779599 w 3060746"/>
                <a:gd name="connsiteY891" fmla="*/ 1282728 h 1771142"/>
                <a:gd name="connsiteX892" fmla="*/ 1817428 w 3060746"/>
                <a:gd name="connsiteY892" fmla="*/ 1273737 h 1771142"/>
                <a:gd name="connsiteX893" fmla="*/ 1849575 w 3060746"/>
                <a:gd name="connsiteY893" fmla="*/ 1269091 h 1771142"/>
                <a:gd name="connsiteX894" fmla="*/ 1861509 w 3060746"/>
                <a:gd name="connsiteY894" fmla="*/ 1259967 h 1771142"/>
                <a:gd name="connsiteX895" fmla="*/ 1884929 w 3060746"/>
                <a:gd name="connsiteY895" fmla="*/ 1252380 h 1771142"/>
                <a:gd name="connsiteX896" fmla="*/ 1914519 w 3060746"/>
                <a:gd name="connsiteY896" fmla="*/ 1234264 h 1771142"/>
                <a:gd name="connsiteX897" fmla="*/ 1937005 w 3060746"/>
                <a:gd name="connsiteY897" fmla="*/ 1213374 h 1771142"/>
                <a:gd name="connsiteX898" fmla="*/ 2005156 w 3060746"/>
                <a:gd name="connsiteY898" fmla="*/ 1204584 h 1771142"/>
                <a:gd name="connsiteX899" fmla="*/ 2040915 w 3060746"/>
                <a:gd name="connsiteY899" fmla="*/ 1202378 h 1771142"/>
                <a:gd name="connsiteX900" fmla="*/ 2079029 w 3060746"/>
                <a:gd name="connsiteY900" fmla="*/ 1220025 h 1771142"/>
                <a:gd name="connsiteX901" fmla="*/ 2141172 w 3060746"/>
                <a:gd name="connsiteY901" fmla="*/ 1206923 h 1771142"/>
                <a:gd name="connsiteX902" fmla="*/ 2196821 w 3060746"/>
                <a:gd name="connsiteY902" fmla="*/ 1193086 h 1771142"/>
                <a:gd name="connsiteX903" fmla="*/ 2228481 w 3060746"/>
                <a:gd name="connsiteY903" fmla="*/ 1210500 h 1771142"/>
                <a:gd name="connsiteX904" fmla="*/ 2182776 w 3060746"/>
                <a:gd name="connsiteY904" fmla="*/ 1218689 h 1771142"/>
                <a:gd name="connsiteX905" fmla="*/ 2179732 w 3060746"/>
                <a:gd name="connsiteY905" fmla="*/ 1238743 h 1771142"/>
                <a:gd name="connsiteX906" fmla="*/ 2170112 w 3060746"/>
                <a:gd name="connsiteY906" fmla="*/ 1270696 h 1771142"/>
                <a:gd name="connsiteX907" fmla="*/ 2181356 w 3060746"/>
                <a:gd name="connsiteY907" fmla="*/ 1281291 h 1771142"/>
                <a:gd name="connsiteX908" fmla="*/ 2234123 w 3060746"/>
                <a:gd name="connsiteY908" fmla="*/ 1254251 h 1771142"/>
                <a:gd name="connsiteX909" fmla="*/ 2258476 w 3060746"/>
                <a:gd name="connsiteY909" fmla="*/ 1242185 h 1771142"/>
                <a:gd name="connsiteX910" fmla="*/ 2270248 w 3060746"/>
                <a:gd name="connsiteY910" fmla="*/ 1238843 h 1771142"/>
                <a:gd name="connsiteX911" fmla="*/ 2272399 w 3060746"/>
                <a:gd name="connsiteY911" fmla="*/ 1226209 h 1771142"/>
                <a:gd name="connsiteX912" fmla="*/ 2252753 w 3060746"/>
                <a:gd name="connsiteY912" fmla="*/ 1231724 h 1771142"/>
                <a:gd name="connsiteX913" fmla="*/ 2268218 w 3060746"/>
                <a:gd name="connsiteY913" fmla="*/ 1212137 h 1771142"/>
                <a:gd name="connsiteX914" fmla="*/ 2320538 w 3060746"/>
                <a:gd name="connsiteY914" fmla="*/ 1191047 h 1771142"/>
                <a:gd name="connsiteX915" fmla="*/ 2341888 w 3060746"/>
                <a:gd name="connsiteY915" fmla="*/ 1181355 h 1771142"/>
                <a:gd name="connsiteX916" fmla="*/ 2364253 w 3060746"/>
                <a:gd name="connsiteY916" fmla="*/ 1163707 h 1771142"/>
                <a:gd name="connsiteX917" fmla="*/ 2426234 w 3060746"/>
                <a:gd name="connsiteY917" fmla="*/ 1137168 h 1771142"/>
                <a:gd name="connsiteX918" fmla="*/ 2486591 w 3060746"/>
                <a:gd name="connsiteY918" fmla="*/ 1117114 h 1771142"/>
                <a:gd name="connsiteX919" fmla="*/ 2512284 w 3060746"/>
                <a:gd name="connsiteY919" fmla="*/ 1089907 h 1771142"/>
                <a:gd name="connsiteX920" fmla="*/ 2520767 w 3060746"/>
                <a:gd name="connsiteY920" fmla="*/ 1061731 h 1771142"/>
                <a:gd name="connsiteX921" fmla="*/ 2545933 w 3060746"/>
                <a:gd name="connsiteY921" fmla="*/ 1046357 h 1771142"/>
                <a:gd name="connsiteX922" fmla="*/ 2584696 w 3060746"/>
                <a:gd name="connsiteY922" fmla="*/ 1042680 h 1771142"/>
                <a:gd name="connsiteX923" fmla="*/ 2595493 w 3060746"/>
                <a:gd name="connsiteY923" fmla="*/ 1060829 h 1771142"/>
                <a:gd name="connsiteX924" fmla="*/ 2614205 w 3060746"/>
                <a:gd name="connsiteY924" fmla="*/ 1072193 h 1771142"/>
                <a:gd name="connsiteX925" fmla="*/ 2645013 w 3060746"/>
                <a:gd name="connsiteY925" fmla="*/ 1067346 h 1771142"/>
                <a:gd name="connsiteX926" fmla="*/ 2687267 w 3060746"/>
                <a:gd name="connsiteY926" fmla="*/ 1040875 h 1771142"/>
                <a:gd name="connsiteX927" fmla="*/ 2695912 w 3060746"/>
                <a:gd name="connsiteY927" fmla="*/ 1035561 h 1771142"/>
                <a:gd name="connsiteX928" fmla="*/ 2691610 w 3060746"/>
                <a:gd name="connsiteY928" fmla="*/ 1045588 h 1771142"/>
                <a:gd name="connsiteX929" fmla="*/ 2731469 w 3060746"/>
                <a:gd name="connsiteY929" fmla="*/ 1040240 h 1771142"/>
                <a:gd name="connsiteX930" fmla="*/ 2693152 w 3060746"/>
                <a:gd name="connsiteY930" fmla="*/ 1054077 h 1771142"/>
                <a:gd name="connsiteX931" fmla="*/ 2659828 w 3060746"/>
                <a:gd name="connsiteY931" fmla="*/ 1082354 h 1771142"/>
                <a:gd name="connsiteX932" fmla="*/ 2684507 w 3060746"/>
                <a:gd name="connsiteY932" fmla="*/ 1091378 h 1771142"/>
                <a:gd name="connsiteX933" fmla="*/ 2723879 w 3060746"/>
                <a:gd name="connsiteY933" fmla="*/ 1060161 h 1771142"/>
                <a:gd name="connsiteX934" fmla="*/ 2767634 w 3060746"/>
                <a:gd name="connsiteY934" fmla="*/ 1042045 h 1771142"/>
                <a:gd name="connsiteX935" fmla="*/ 2810213 w 3060746"/>
                <a:gd name="connsiteY935" fmla="*/ 1020453 h 1771142"/>
                <a:gd name="connsiteX936" fmla="*/ 2805342 w 3060746"/>
                <a:gd name="connsiteY936" fmla="*/ 1014638 h 1771142"/>
                <a:gd name="connsiteX937" fmla="*/ 2822674 w 3060746"/>
                <a:gd name="connsiteY937" fmla="*/ 1006649 h 1771142"/>
                <a:gd name="connsiteX938" fmla="*/ 2842969 w 3060746"/>
                <a:gd name="connsiteY938" fmla="*/ 997324 h 1771142"/>
                <a:gd name="connsiteX939" fmla="*/ 2828681 w 3060746"/>
                <a:gd name="connsiteY939" fmla="*/ 993982 h 1771142"/>
                <a:gd name="connsiteX940" fmla="*/ 781861 w 3060746"/>
                <a:gd name="connsiteY940" fmla="*/ 1236637 h 1771142"/>
                <a:gd name="connsiteX941" fmla="*/ 754342 w 3060746"/>
                <a:gd name="connsiteY941" fmla="*/ 1266050 h 1771142"/>
                <a:gd name="connsiteX942" fmla="*/ 736645 w 3060746"/>
                <a:gd name="connsiteY942" fmla="*/ 1285001 h 1771142"/>
                <a:gd name="connsiteX943" fmla="*/ 715984 w 3060746"/>
                <a:gd name="connsiteY943" fmla="*/ 1308397 h 1771142"/>
                <a:gd name="connsiteX944" fmla="*/ 695365 w 3060746"/>
                <a:gd name="connsiteY944" fmla="*/ 1324240 h 1771142"/>
                <a:gd name="connsiteX945" fmla="*/ 706973 w 3060746"/>
                <a:gd name="connsiteY945" fmla="*/ 1302849 h 1771142"/>
                <a:gd name="connsiteX946" fmla="*/ 686476 w 3060746"/>
                <a:gd name="connsiteY946" fmla="*/ 1308832 h 1771142"/>
                <a:gd name="connsiteX947" fmla="*/ 673933 w 3060746"/>
                <a:gd name="connsiteY947" fmla="*/ 1332529 h 1771142"/>
                <a:gd name="connsiteX948" fmla="*/ 632288 w 3060746"/>
                <a:gd name="connsiteY948" fmla="*/ 1350244 h 1771142"/>
                <a:gd name="connsiteX949" fmla="*/ 638864 w 3060746"/>
                <a:gd name="connsiteY949" fmla="*/ 1344462 h 1771142"/>
                <a:gd name="connsiteX950" fmla="*/ 640934 w 3060746"/>
                <a:gd name="connsiteY950" fmla="*/ 1335203 h 1771142"/>
                <a:gd name="connsiteX951" fmla="*/ 643247 w 3060746"/>
                <a:gd name="connsiteY951" fmla="*/ 1322770 h 1771142"/>
                <a:gd name="connsiteX952" fmla="*/ 671417 w 3060746"/>
                <a:gd name="connsiteY952" fmla="*/ 1301980 h 1771142"/>
                <a:gd name="connsiteX953" fmla="*/ 628432 w 3060746"/>
                <a:gd name="connsiteY953" fmla="*/ 1314213 h 1771142"/>
                <a:gd name="connsiteX954" fmla="*/ 606676 w 3060746"/>
                <a:gd name="connsiteY954" fmla="*/ 1334501 h 1771142"/>
                <a:gd name="connsiteX955" fmla="*/ 572378 w 3060746"/>
                <a:gd name="connsiteY955" fmla="*/ 1350912 h 1771142"/>
                <a:gd name="connsiteX956" fmla="*/ 702752 w 3060746"/>
                <a:gd name="connsiteY956" fmla="*/ 1252981 h 1771142"/>
                <a:gd name="connsiteX957" fmla="*/ 725158 w 3060746"/>
                <a:gd name="connsiteY957" fmla="*/ 1264813 h 1771142"/>
                <a:gd name="connsiteX958" fmla="*/ 761688 w 3060746"/>
                <a:gd name="connsiteY958" fmla="*/ 1236537 h 1771142"/>
                <a:gd name="connsiteX959" fmla="*/ 781780 w 3060746"/>
                <a:gd name="connsiteY959" fmla="*/ 1236804 h 1771142"/>
                <a:gd name="connsiteX960" fmla="*/ 781861 w 3060746"/>
                <a:gd name="connsiteY960" fmla="*/ 1236637 h 1771142"/>
                <a:gd name="connsiteX961" fmla="*/ 1030393 w 3060746"/>
                <a:gd name="connsiteY961" fmla="*/ 1254385 h 1771142"/>
                <a:gd name="connsiteX962" fmla="*/ 1004253 w 3060746"/>
                <a:gd name="connsiteY962" fmla="*/ 1277447 h 1771142"/>
                <a:gd name="connsiteX963" fmla="*/ 990290 w 3060746"/>
                <a:gd name="connsiteY963" fmla="*/ 1297501 h 1771142"/>
                <a:gd name="connsiteX964" fmla="*/ 907162 w 3060746"/>
                <a:gd name="connsiteY964" fmla="*/ 1339949 h 1771142"/>
                <a:gd name="connsiteX965" fmla="*/ 905904 w 3060746"/>
                <a:gd name="connsiteY965" fmla="*/ 1334836 h 1771142"/>
                <a:gd name="connsiteX966" fmla="*/ 923642 w 3060746"/>
                <a:gd name="connsiteY966" fmla="*/ 1314347 h 1771142"/>
                <a:gd name="connsiteX967" fmla="*/ 945154 w 3060746"/>
                <a:gd name="connsiteY967" fmla="*/ 1290649 h 1771142"/>
                <a:gd name="connsiteX968" fmla="*/ 911911 w 3060746"/>
                <a:gd name="connsiteY968" fmla="*/ 1289146 h 1771142"/>
                <a:gd name="connsiteX969" fmla="*/ 970076 w 3060746"/>
                <a:gd name="connsiteY969" fmla="*/ 1267387 h 1771142"/>
                <a:gd name="connsiteX970" fmla="*/ 1039647 w 3060746"/>
                <a:gd name="connsiteY970" fmla="*/ 1228281 h 1771142"/>
                <a:gd name="connsiteX971" fmla="*/ 1088355 w 3060746"/>
                <a:gd name="connsiteY971" fmla="*/ 1197197 h 1771142"/>
                <a:gd name="connsiteX972" fmla="*/ 1030271 w 3060746"/>
                <a:gd name="connsiteY972" fmla="*/ 1254385 h 1771142"/>
                <a:gd name="connsiteX973" fmla="*/ 1030393 w 3060746"/>
                <a:gd name="connsiteY973" fmla="*/ 1254385 h 1771142"/>
                <a:gd name="connsiteX974" fmla="*/ 1658722 w 3060746"/>
                <a:gd name="connsiteY974" fmla="*/ 1284901 h 1771142"/>
                <a:gd name="connsiteX975" fmla="*/ 1644191 w 3060746"/>
                <a:gd name="connsiteY975" fmla="*/ 1277848 h 1771142"/>
                <a:gd name="connsiteX976" fmla="*/ 1608431 w 3060746"/>
                <a:gd name="connsiteY976" fmla="*/ 1269225 h 1771142"/>
                <a:gd name="connsiteX977" fmla="*/ 1553189 w 3060746"/>
                <a:gd name="connsiteY977" fmla="*/ 1243923 h 1771142"/>
                <a:gd name="connsiteX978" fmla="*/ 1620121 w 3060746"/>
                <a:gd name="connsiteY978" fmla="*/ 1247266 h 1771142"/>
                <a:gd name="connsiteX979" fmla="*/ 1658722 w 3060746"/>
                <a:gd name="connsiteY979" fmla="*/ 1284800 h 1771142"/>
                <a:gd name="connsiteX980" fmla="*/ 1658560 w 3060746"/>
                <a:gd name="connsiteY980" fmla="*/ 1284968 h 177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</a:cxnLst>
              <a:rect l="l" t="t" r="r" b="b"/>
              <a:pathLst>
                <a:path w="3060746" h="1771142">
                  <a:moveTo>
                    <a:pt x="886583" y="1692735"/>
                  </a:moveTo>
                  <a:cubicBezTo>
                    <a:pt x="870591" y="1692735"/>
                    <a:pt x="857318" y="1704567"/>
                    <a:pt x="841934" y="1701793"/>
                  </a:cubicBezTo>
                  <a:cubicBezTo>
                    <a:pt x="833248" y="1700189"/>
                    <a:pt x="811289" y="1695877"/>
                    <a:pt x="799193" y="1703164"/>
                  </a:cubicBezTo>
                  <a:cubicBezTo>
                    <a:pt x="789809" y="1709280"/>
                    <a:pt x="779390" y="1714233"/>
                    <a:pt x="768264" y="1717870"/>
                  </a:cubicBezTo>
                  <a:cubicBezTo>
                    <a:pt x="756087" y="1721379"/>
                    <a:pt x="742327" y="1720878"/>
                    <a:pt x="731733" y="1730237"/>
                  </a:cubicBezTo>
                  <a:cubicBezTo>
                    <a:pt x="727228" y="1734147"/>
                    <a:pt x="723250" y="1738994"/>
                    <a:pt x="731733" y="1736921"/>
                  </a:cubicBezTo>
                  <a:cubicBezTo>
                    <a:pt x="740216" y="1734849"/>
                    <a:pt x="743910" y="1739629"/>
                    <a:pt x="751784" y="1736687"/>
                  </a:cubicBezTo>
                  <a:cubicBezTo>
                    <a:pt x="764919" y="1731470"/>
                    <a:pt x="779158" y="1728405"/>
                    <a:pt x="793714" y="1727663"/>
                  </a:cubicBezTo>
                  <a:cubicBezTo>
                    <a:pt x="802075" y="1727663"/>
                    <a:pt x="806459" y="1724320"/>
                    <a:pt x="814536" y="1722917"/>
                  </a:cubicBezTo>
                  <a:cubicBezTo>
                    <a:pt x="825049" y="1721212"/>
                    <a:pt x="827931" y="1727529"/>
                    <a:pt x="840027" y="1721246"/>
                  </a:cubicBezTo>
                  <a:cubicBezTo>
                    <a:pt x="846521" y="1717903"/>
                    <a:pt x="849281" y="1720945"/>
                    <a:pt x="855288" y="1720510"/>
                  </a:cubicBezTo>
                  <a:cubicBezTo>
                    <a:pt x="869414" y="1719507"/>
                    <a:pt x="875827" y="1716566"/>
                    <a:pt x="890804" y="1708678"/>
                  </a:cubicBezTo>
                  <a:cubicBezTo>
                    <a:pt x="895553" y="1706175"/>
                    <a:pt x="900144" y="1703474"/>
                    <a:pt x="904564" y="1700590"/>
                  </a:cubicBezTo>
                  <a:cubicBezTo>
                    <a:pt x="914468" y="1694106"/>
                    <a:pt x="907812" y="1695075"/>
                    <a:pt x="908867" y="1688825"/>
                  </a:cubicBezTo>
                  <a:cubicBezTo>
                    <a:pt x="909719" y="1683845"/>
                    <a:pt x="891738" y="1692702"/>
                    <a:pt x="886705" y="1692735"/>
                  </a:cubicBezTo>
                  <a:close/>
                  <a:moveTo>
                    <a:pt x="460309" y="1204250"/>
                  </a:moveTo>
                  <a:cubicBezTo>
                    <a:pt x="480280" y="1195961"/>
                    <a:pt x="493918" y="1203548"/>
                    <a:pt x="507678" y="1205152"/>
                  </a:cubicBezTo>
                  <a:cubicBezTo>
                    <a:pt x="528419" y="1207592"/>
                    <a:pt x="523711" y="1193220"/>
                    <a:pt x="538201" y="1185399"/>
                  </a:cubicBezTo>
                  <a:cubicBezTo>
                    <a:pt x="548146" y="1180017"/>
                    <a:pt x="550378" y="1174402"/>
                    <a:pt x="558861" y="1168954"/>
                  </a:cubicBezTo>
                  <a:cubicBezTo>
                    <a:pt x="568847" y="1162504"/>
                    <a:pt x="581105" y="1158560"/>
                    <a:pt x="587274" y="1150037"/>
                  </a:cubicBezTo>
                  <a:cubicBezTo>
                    <a:pt x="593444" y="1141513"/>
                    <a:pt x="584189" y="1137803"/>
                    <a:pt x="585569" y="1130417"/>
                  </a:cubicBezTo>
                  <a:cubicBezTo>
                    <a:pt x="587437" y="1120624"/>
                    <a:pt x="601805" y="1114574"/>
                    <a:pt x="609923" y="1105583"/>
                  </a:cubicBezTo>
                  <a:cubicBezTo>
                    <a:pt x="614388" y="1100503"/>
                    <a:pt x="609923" y="1097160"/>
                    <a:pt x="610451" y="1092983"/>
                  </a:cubicBezTo>
                  <a:cubicBezTo>
                    <a:pt x="611344" y="1086966"/>
                    <a:pt x="621248" y="1081251"/>
                    <a:pt x="628432" y="1075936"/>
                  </a:cubicBezTo>
                  <a:cubicBezTo>
                    <a:pt x="649174" y="1060528"/>
                    <a:pt x="668657" y="1044418"/>
                    <a:pt x="687450" y="1028408"/>
                  </a:cubicBezTo>
                  <a:cubicBezTo>
                    <a:pt x="698044" y="1019384"/>
                    <a:pt x="720774" y="1003140"/>
                    <a:pt x="696177" y="1006616"/>
                  </a:cubicBezTo>
                  <a:cubicBezTo>
                    <a:pt x="667114" y="1010760"/>
                    <a:pt x="619908" y="1017479"/>
                    <a:pt x="594296" y="1039037"/>
                  </a:cubicBezTo>
                  <a:cubicBezTo>
                    <a:pt x="591536" y="1041376"/>
                    <a:pt x="581795" y="1053710"/>
                    <a:pt x="577005" y="1050535"/>
                  </a:cubicBezTo>
                  <a:cubicBezTo>
                    <a:pt x="574042" y="1048596"/>
                    <a:pt x="572175" y="1046524"/>
                    <a:pt x="566086" y="1051805"/>
                  </a:cubicBezTo>
                  <a:cubicBezTo>
                    <a:pt x="552002" y="1064004"/>
                    <a:pt x="516161" y="1074232"/>
                    <a:pt x="499194" y="1076739"/>
                  </a:cubicBezTo>
                  <a:cubicBezTo>
                    <a:pt x="473907" y="1080415"/>
                    <a:pt x="428122" y="1122261"/>
                    <a:pt x="405554" y="1136099"/>
                  </a:cubicBezTo>
                  <a:cubicBezTo>
                    <a:pt x="379536" y="1151942"/>
                    <a:pt x="423657" y="1141513"/>
                    <a:pt x="429908" y="1143419"/>
                  </a:cubicBezTo>
                  <a:cubicBezTo>
                    <a:pt x="439893" y="1146360"/>
                    <a:pt x="419476" y="1168319"/>
                    <a:pt x="420004" y="1175438"/>
                  </a:cubicBezTo>
                  <a:cubicBezTo>
                    <a:pt x="420247" y="1179215"/>
                    <a:pt x="427878" y="1176742"/>
                    <a:pt x="426782" y="1182457"/>
                  </a:cubicBezTo>
                  <a:cubicBezTo>
                    <a:pt x="424956" y="1192083"/>
                    <a:pt x="417568" y="1203381"/>
                    <a:pt x="412129" y="1213608"/>
                  </a:cubicBezTo>
                  <a:cubicBezTo>
                    <a:pt x="400683" y="1235200"/>
                    <a:pt x="446387" y="1209998"/>
                    <a:pt x="460391" y="1204250"/>
                  </a:cubicBezTo>
                  <a:cubicBezTo>
                    <a:pt x="487099" y="1193220"/>
                    <a:pt x="433480" y="1215446"/>
                    <a:pt x="460309" y="1204250"/>
                  </a:cubicBezTo>
                  <a:close/>
                  <a:moveTo>
                    <a:pt x="1200585" y="911125"/>
                  </a:moveTo>
                  <a:cubicBezTo>
                    <a:pt x="1206471" y="902167"/>
                    <a:pt x="1251039" y="901365"/>
                    <a:pt x="1245924" y="890469"/>
                  </a:cubicBezTo>
                  <a:cubicBezTo>
                    <a:pt x="1240567" y="878904"/>
                    <a:pt x="1188165" y="893176"/>
                    <a:pt x="1169372" y="896385"/>
                  </a:cubicBezTo>
                  <a:cubicBezTo>
                    <a:pt x="1150579" y="899593"/>
                    <a:pt x="1103657" y="915737"/>
                    <a:pt x="1099761" y="902702"/>
                  </a:cubicBezTo>
                  <a:cubicBezTo>
                    <a:pt x="1098543" y="898491"/>
                    <a:pt x="1103008" y="892040"/>
                    <a:pt x="1094849" y="891071"/>
                  </a:cubicBezTo>
                  <a:cubicBezTo>
                    <a:pt x="1080967" y="889399"/>
                    <a:pt x="1069278" y="890135"/>
                    <a:pt x="1060226" y="883885"/>
                  </a:cubicBezTo>
                  <a:cubicBezTo>
                    <a:pt x="1054259" y="879807"/>
                    <a:pt x="1049064" y="873857"/>
                    <a:pt x="1052108" y="866137"/>
                  </a:cubicBezTo>
                  <a:cubicBezTo>
                    <a:pt x="1055152" y="858416"/>
                    <a:pt x="1065381" y="849425"/>
                    <a:pt x="1063433" y="842272"/>
                  </a:cubicBezTo>
                  <a:cubicBezTo>
                    <a:pt x="1058562" y="824290"/>
                    <a:pt x="998895" y="859753"/>
                    <a:pt x="987530" y="870649"/>
                  </a:cubicBezTo>
                  <a:cubicBezTo>
                    <a:pt x="977098" y="880676"/>
                    <a:pt x="1022518" y="871317"/>
                    <a:pt x="1031123" y="871685"/>
                  </a:cubicBezTo>
                  <a:cubicBezTo>
                    <a:pt x="1041027" y="872086"/>
                    <a:pt x="1033112" y="875027"/>
                    <a:pt x="1026334" y="875963"/>
                  </a:cubicBezTo>
                  <a:cubicBezTo>
                    <a:pt x="1015699" y="877434"/>
                    <a:pt x="1000113" y="877835"/>
                    <a:pt x="989072" y="883417"/>
                  </a:cubicBezTo>
                  <a:cubicBezTo>
                    <a:pt x="971091" y="892474"/>
                    <a:pt x="941014" y="898424"/>
                    <a:pt x="955342" y="910456"/>
                  </a:cubicBezTo>
                  <a:cubicBezTo>
                    <a:pt x="960822" y="915035"/>
                    <a:pt x="1005633" y="925697"/>
                    <a:pt x="1002304" y="931814"/>
                  </a:cubicBezTo>
                  <a:cubicBezTo>
                    <a:pt x="1000194" y="935658"/>
                    <a:pt x="983796" y="946587"/>
                    <a:pt x="977951" y="946253"/>
                  </a:cubicBezTo>
                  <a:cubicBezTo>
                    <a:pt x="968696" y="945651"/>
                    <a:pt x="963176" y="939836"/>
                    <a:pt x="957453" y="936593"/>
                  </a:cubicBezTo>
                  <a:cubicBezTo>
                    <a:pt x="941542" y="927569"/>
                    <a:pt x="915158" y="930243"/>
                    <a:pt x="885893" y="941206"/>
                  </a:cubicBezTo>
                  <a:cubicBezTo>
                    <a:pt x="851879" y="953940"/>
                    <a:pt x="903712" y="945651"/>
                    <a:pt x="905985" y="947189"/>
                  </a:cubicBezTo>
                  <a:cubicBezTo>
                    <a:pt x="914387" y="952670"/>
                    <a:pt x="894823" y="956915"/>
                    <a:pt x="887923" y="958987"/>
                  </a:cubicBezTo>
                  <a:cubicBezTo>
                    <a:pt x="878668" y="961695"/>
                    <a:pt x="861458" y="978841"/>
                    <a:pt x="859875" y="975331"/>
                  </a:cubicBezTo>
                  <a:cubicBezTo>
                    <a:pt x="856953" y="968914"/>
                    <a:pt x="857764" y="964402"/>
                    <a:pt x="842381" y="967109"/>
                  </a:cubicBezTo>
                  <a:cubicBezTo>
                    <a:pt x="823908" y="970766"/>
                    <a:pt x="806686" y="977828"/>
                    <a:pt x="792009" y="987765"/>
                  </a:cubicBezTo>
                  <a:cubicBezTo>
                    <a:pt x="772120" y="1002070"/>
                    <a:pt x="804511" y="1004477"/>
                    <a:pt x="767655" y="1018047"/>
                  </a:cubicBezTo>
                  <a:cubicBezTo>
                    <a:pt x="734737" y="1030313"/>
                    <a:pt x="781050" y="1004510"/>
                    <a:pt x="771349" y="998862"/>
                  </a:cubicBezTo>
                  <a:cubicBezTo>
                    <a:pt x="752150" y="987731"/>
                    <a:pt x="731611" y="1002538"/>
                    <a:pt x="710464" y="1019517"/>
                  </a:cubicBezTo>
                  <a:cubicBezTo>
                    <a:pt x="685258" y="1039839"/>
                    <a:pt x="654004" y="1061030"/>
                    <a:pt x="635901" y="1083022"/>
                  </a:cubicBezTo>
                  <a:cubicBezTo>
                    <a:pt x="632045" y="1087735"/>
                    <a:pt x="631071" y="1088704"/>
                    <a:pt x="636672" y="1088170"/>
                  </a:cubicBezTo>
                  <a:cubicBezTo>
                    <a:pt x="648443" y="1087066"/>
                    <a:pt x="624941" y="1110162"/>
                    <a:pt x="629650" y="1113772"/>
                  </a:cubicBezTo>
                  <a:cubicBezTo>
                    <a:pt x="637768" y="1120089"/>
                    <a:pt x="658753" y="1103244"/>
                    <a:pt x="665409" y="1105917"/>
                  </a:cubicBezTo>
                  <a:cubicBezTo>
                    <a:pt x="670402" y="1107956"/>
                    <a:pt x="669915" y="1112335"/>
                    <a:pt x="680306" y="1105917"/>
                  </a:cubicBezTo>
                  <a:cubicBezTo>
                    <a:pt x="696826" y="1095690"/>
                    <a:pt x="724630" y="1069686"/>
                    <a:pt x="745250" y="1066678"/>
                  </a:cubicBezTo>
                  <a:cubicBezTo>
                    <a:pt x="753368" y="1065475"/>
                    <a:pt x="720896" y="1086431"/>
                    <a:pt x="718582" y="1088069"/>
                  </a:cubicBezTo>
                  <a:cubicBezTo>
                    <a:pt x="707704" y="1095155"/>
                    <a:pt x="674989" y="1113471"/>
                    <a:pt x="673933" y="1122495"/>
                  </a:cubicBezTo>
                  <a:cubicBezTo>
                    <a:pt x="671052" y="1141814"/>
                    <a:pt x="821964" y="1059693"/>
                    <a:pt x="838281" y="1053643"/>
                  </a:cubicBezTo>
                  <a:cubicBezTo>
                    <a:pt x="841731" y="1052206"/>
                    <a:pt x="895959" y="1032586"/>
                    <a:pt x="884107" y="1042680"/>
                  </a:cubicBezTo>
                  <a:cubicBezTo>
                    <a:pt x="862919" y="1060662"/>
                    <a:pt x="819163" y="1075067"/>
                    <a:pt x="792496" y="1089105"/>
                  </a:cubicBezTo>
                  <a:cubicBezTo>
                    <a:pt x="771876" y="1099934"/>
                    <a:pt x="733113" y="1119822"/>
                    <a:pt x="722235" y="1135397"/>
                  </a:cubicBezTo>
                  <a:cubicBezTo>
                    <a:pt x="713062" y="1148499"/>
                    <a:pt x="770578" y="1130851"/>
                    <a:pt x="775002" y="1129782"/>
                  </a:cubicBezTo>
                  <a:cubicBezTo>
                    <a:pt x="793470" y="1125136"/>
                    <a:pt x="810396" y="1116145"/>
                    <a:pt x="826916" y="1106920"/>
                  </a:cubicBezTo>
                  <a:cubicBezTo>
                    <a:pt x="835521" y="1102141"/>
                    <a:pt x="848835" y="1094286"/>
                    <a:pt x="852488" y="1100737"/>
                  </a:cubicBezTo>
                  <a:cubicBezTo>
                    <a:pt x="859956" y="1113872"/>
                    <a:pt x="893078" y="1098798"/>
                    <a:pt x="912763" y="1090008"/>
                  </a:cubicBezTo>
                  <a:cubicBezTo>
                    <a:pt x="939622" y="1078470"/>
                    <a:pt x="964609" y="1064185"/>
                    <a:pt x="987124" y="1047493"/>
                  </a:cubicBezTo>
                  <a:cubicBezTo>
                    <a:pt x="1004699" y="1034291"/>
                    <a:pt x="1022437" y="1027205"/>
                    <a:pt x="1041230" y="1015473"/>
                  </a:cubicBezTo>
                  <a:cubicBezTo>
                    <a:pt x="1054422" y="1007251"/>
                    <a:pt x="1062662" y="980512"/>
                    <a:pt x="1080683" y="984055"/>
                  </a:cubicBezTo>
                  <a:cubicBezTo>
                    <a:pt x="1095133" y="986929"/>
                    <a:pt x="1116118" y="974797"/>
                    <a:pt x="1133978" y="972825"/>
                  </a:cubicBezTo>
                  <a:cubicBezTo>
                    <a:pt x="1152974" y="970485"/>
                    <a:pt x="1253474" y="928906"/>
                    <a:pt x="1233098" y="918411"/>
                  </a:cubicBezTo>
                  <a:cubicBezTo>
                    <a:pt x="1228430" y="915971"/>
                    <a:pt x="1219257" y="916005"/>
                    <a:pt x="1211098" y="918411"/>
                  </a:cubicBezTo>
                  <a:cubicBezTo>
                    <a:pt x="1198921" y="921987"/>
                    <a:pt x="1200870" y="929508"/>
                    <a:pt x="1190397" y="934087"/>
                  </a:cubicBezTo>
                  <a:cubicBezTo>
                    <a:pt x="1155774" y="949194"/>
                    <a:pt x="1199611" y="912896"/>
                    <a:pt x="1200870" y="911058"/>
                  </a:cubicBezTo>
                  <a:cubicBezTo>
                    <a:pt x="1206146" y="902802"/>
                    <a:pt x="1195065" y="919681"/>
                    <a:pt x="1200585" y="911225"/>
                  </a:cubicBezTo>
                  <a:close/>
                  <a:moveTo>
                    <a:pt x="545873" y="1010393"/>
                  </a:moveTo>
                  <a:cubicBezTo>
                    <a:pt x="572337" y="998327"/>
                    <a:pt x="590156" y="974897"/>
                    <a:pt x="584392" y="969850"/>
                  </a:cubicBezTo>
                  <a:cubicBezTo>
                    <a:pt x="578629" y="964803"/>
                    <a:pt x="532600" y="1016375"/>
                    <a:pt x="545873" y="1010393"/>
                  </a:cubicBezTo>
                  <a:close/>
                  <a:moveTo>
                    <a:pt x="414565" y="1055013"/>
                  </a:moveTo>
                  <a:cubicBezTo>
                    <a:pt x="422358" y="1052640"/>
                    <a:pt x="422683" y="1057954"/>
                    <a:pt x="426174" y="1059659"/>
                  </a:cubicBezTo>
                  <a:cubicBezTo>
                    <a:pt x="429664" y="1061364"/>
                    <a:pt x="439609" y="1050367"/>
                    <a:pt x="442856" y="1048128"/>
                  </a:cubicBezTo>
                  <a:cubicBezTo>
                    <a:pt x="449797" y="1043315"/>
                    <a:pt x="459092" y="1042346"/>
                    <a:pt x="465180" y="1036697"/>
                  </a:cubicBezTo>
                  <a:cubicBezTo>
                    <a:pt x="470376" y="1031884"/>
                    <a:pt x="470295" y="1027238"/>
                    <a:pt x="473298" y="1022526"/>
                  </a:cubicBezTo>
                  <a:cubicBezTo>
                    <a:pt x="475571" y="1019183"/>
                    <a:pt x="490955" y="1025467"/>
                    <a:pt x="494973" y="1025099"/>
                  </a:cubicBezTo>
                  <a:cubicBezTo>
                    <a:pt x="512508" y="1023495"/>
                    <a:pt x="512508" y="1010961"/>
                    <a:pt x="513766" y="1004677"/>
                  </a:cubicBezTo>
                  <a:cubicBezTo>
                    <a:pt x="515877" y="994182"/>
                    <a:pt x="537349" y="997759"/>
                    <a:pt x="539784" y="985960"/>
                  </a:cubicBezTo>
                  <a:cubicBezTo>
                    <a:pt x="541732" y="976702"/>
                    <a:pt x="530854" y="967410"/>
                    <a:pt x="548186" y="956313"/>
                  </a:cubicBezTo>
                  <a:cubicBezTo>
                    <a:pt x="561134" y="948058"/>
                    <a:pt x="562149" y="965839"/>
                    <a:pt x="574813" y="964168"/>
                  </a:cubicBezTo>
                  <a:cubicBezTo>
                    <a:pt x="595108" y="961461"/>
                    <a:pt x="590278" y="947456"/>
                    <a:pt x="598924" y="941005"/>
                  </a:cubicBezTo>
                  <a:cubicBezTo>
                    <a:pt x="615443" y="928906"/>
                    <a:pt x="615565" y="931647"/>
                    <a:pt x="615159" y="920116"/>
                  </a:cubicBezTo>
                  <a:cubicBezTo>
                    <a:pt x="615159" y="916372"/>
                    <a:pt x="602577" y="916339"/>
                    <a:pt x="606311" y="911994"/>
                  </a:cubicBezTo>
                  <a:cubicBezTo>
                    <a:pt x="610654" y="906880"/>
                    <a:pt x="619381" y="902903"/>
                    <a:pt x="623156" y="897555"/>
                  </a:cubicBezTo>
                  <a:cubicBezTo>
                    <a:pt x="625226" y="894547"/>
                    <a:pt x="591293" y="903471"/>
                    <a:pt x="584514" y="905677"/>
                  </a:cubicBezTo>
                  <a:cubicBezTo>
                    <a:pt x="567223" y="911225"/>
                    <a:pt x="583905" y="919514"/>
                    <a:pt x="568481" y="926901"/>
                  </a:cubicBezTo>
                  <a:cubicBezTo>
                    <a:pt x="550987" y="935257"/>
                    <a:pt x="529393" y="938265"/>
                    <a:pt x="515715" y="950631"/>
                  </a:cubicBezTo>
                  <a:cubicBezTo>
                    <a:pt x="499933" y="964706"/>
                    <a:pt x="485739" y="979934"/>
                    <a:pt x="473298" y="996121"/>
                  </a:cubicBezTo>
                  <a:cubicBezTo>
                    <a:pt x="469239" y="1002003"/>
                    <a:pt x="466844" y="1008187"/>
                    <a:pt x="460634" y="1014069"/>
                  </a:cubicBezTo>
                  <a:cubicBezTo>
                    <a:pt x="454424" y="1019952"/>
                    <a:pt x="443465" y="1024364"/>
                    <a:pt x="435590" y="1029945"/>
                  </a:cubicBezTo>
                  <a:cubicBezTo>
                    <a:pt x="432871" y="1031784"/>
                    <a:pt x="402185" y="1058656"/>
                    <a:pt x="414240" y="1055013"/>
                  </a:cubicBezTo>
                  <a:close/>
                  <a:moveTo>
                    <a:pt x="633750" y="935691"/>
                  </a:moveTo>
                  <a:cubicBezTo>
                    <a:pt x="624333" y="940872"/>
                    <a:pt x="616661" y="951133"/>
                    <a:pt x="631071" y="948425"/>
                  </a:cubicBezTo>
                  <a:cubicBezTo>
                    <a:pt x="633709" y="947924"/>
                    <a:pt x="666343" y="934321"/>
                    <a:pt x="665978" y="935056"/>
                  </a:cubicBezTo>
                  <a:cubicBezTo>
                    <a:pt x="661350" y="945685"/>
                    <a:pt x="616539" y="955511"/>
                    <a:pt x="614672" y="971822"/>
                  </a:cubicBezTo>
                  <a:cubicBezTo>
                    <a:pt x="613495" y="981649"/>
                    <a:pt x="656967" y="947623"/>
                    <a:pt x="664314" y="948425"/>
                  </a:cubicBezTo>
                  <a:cubicBezTo>
                    <a:pt x="664679" y="948425"/>
                    <a:pt x="614388" y="982284"/>
                    <a:pt x="610370" y="985994"/>
                  </a:cubicBezTo>
                  <a:cubicBezTo>
                    <a:pt x="600953" y="994517"/>
                    <a:pt x="622547" y="985994"/>
                    <a:pt x="626403" y="984423"/>
                  </a:cubicBezTo>
                  <a:cubicBezTo>
                    <a:pt x="643816" y="977237"/>
                    <a:pt x="667195" y="972758"/>
                    <a:pt x="683228" y="963399"/>
                  </a:cubicBezTo>
                  <a:cubicBezTo>
                    <a:pt x="697029" y="955311"/>
                    <a:pt x="700479" y="943679"/>
                    <a:pt x="708354" y="934555"/>
                  </a:cubicBezTo>
                  <a:cubicBezTo>
                    <a:pt x="718420" y="922890"/>
                    <a:pt x="717730" y="930410"/>
                    <a:pt x="720165" y="935089"/>
                  </a:cubicBezTo>
                  <a:cubicBezTo>
                    <a:pt x="723615" y="941774"/>
                    <a:pt x="784053" y="902100"/>
                    <a:pt x="794729" y="898825"/>
                  </a:cubicBezTo>
                  <a:cubicBezTo>
                    <a:pt x="805404" y="895549"/>
                    <a:pt x="789452" y="908852"/>
                    <a:pt x="787666" y="910323"/>
                  </a:cubicBezTo>
                  <a:cubicBezTo>
                    <a:pt x="774227" y="921011"/>
                    <a:pt x="759574" y="930614"/>
                    <a:pt x="743910" y="939000"/>
                  </a:cubicBezTo>
                  <a:cubicBezTo>
                    <a:pt x="706365" y="959321"/>
                    <a:pt x="725117" y="965304"/>
                    <a:pt x="757914" y="951133"/>
                  </a:cubicBezTo>
                  <a:cubicBezTo>
                    <a:pt x="786042" y="939033"/>
                    <a:pt x="812426" y="919247"/>
                    <a:pt x="833167" y="902368"/>
                  </a:cubicBezTo>
                  <a:cubicBezTo>
                    <a:pt x="841553" y="896101"/>
                    <a:pt x="849029" y="889058"/>
                    <a:pt x="855451" y="881378"/>
                  </a:cubicBezTo>
                  <a:cubicBezTo>
                    <a:pt x="864421" y="869111"/>
                    <a:pt x="882321" y="870649"/>
                    <a:pt x="895675" y="862259"/>
                  </a:cubicBezTo>
                  <a:cubicBezTo>
                    <a:pt x="910612" y="852934"/>
                    <a:pt x="918040" y="846751"/>
                    <a:pt x="936265" y="839164"/>
                  </a:cubicBezTo>
                  <a:cubicBezTo>
                    <a:pt x="950999" y="833081"/>
                    <a:pt x="972025" y="825393"/>
                    <a:pt x="981441" y="815366"/>
                  </a:cubicBezTo>
                  <a:cubicBezTo>
                    <a:pt x="992847" y="803267"/>
                    <a:pt x="989559" y="780338"/>
                    <a:pt x="964191" y="786187"/>
                  </a:cubicBezTo>
                  <a:cubicBezTo>
                    <a:pt x="946899" y="790232"/>
                    <a:pt x="946737" y="797016"/>
                    <a:pt x="937117" y="805172"/>
                  </a:cubicBezTo>
                  <a:cubicBezTo>
                    <a:pt x="924940" y="815466"/>
                    <a:pt x="909882" y="814263"/>
                    <a:pt x="898719" y="813361"/>
                  </a:cubicBezTo>
                  <a:cubicBezTo>
                    <a:pt x="885041" y="812258"/>
                    <a:pt x="876314" y="811756"/>
                    <a:pt x="867668" y="806509"/>
                  </a:cubicBezTo>
                  <a:cubicBezTo>
                    <a:pt x="859023" y="801261"/>
                    <a:pt x="846196" y="809550"/>
                    <a:pt x="836577" y="817739"/>
                  </a:cubicBezTo>
                  <a:cubicBezTo>
                    <a:pt x="828865" y="824424"/>
                    <a:pt x="819001" y="833281"/>
                    <a:pt x="817215" y="839966"/>
                  </a:cubicBezTo>
                  <a:cubicBezTo>
                    <a:pt x="815308" y="847286"/>
                    <a:pt x="834588" y="837225"/>
                    <a:pt x="840676" y="836624"/>
                  </a:cubicBezTo>
                  <a:cubicBezTo>
                    <a:pt x="851798" y="835220"/>
                    <a:pt x="841163" y="845748"/>
                    <a:pt x="836617" y="849391"/>
                  </a:cubicBezTo>
                  <a:cubicBezTo>
                    <a:pt x="829230" y="855207"/>
                    <a:pt x="851960" y="849391"/>
                    <a:pt x="854720" y="848890"/>
                  </a:cubicBezTo>
                  <a:cubicBezTo>
                    <a:pt x="883417" y="843108"/>
                    <a:pt x="857074" y="857146"/>
                    <a:pt x="843111" y="863229"/>
                  </a:cubicBezTo>
                  <a:cubicBezTo>
                    <a:pt x="818758" y="873857"/>
                    <a:pt x="804064" y="878303"/>
                    <a:pt x="784094" y="877801"/>
                  </a:cubicBezTo>
                  <a:cubicBezTo>
                    <a:pt x="771227" y="877467"/>
                    <a:pt x="754017" y="881578"/>
                    <a:pt x="739445" y="885723"/>
                  </a:cubicBezTo>
                  <a:cubicBezTo>
                    <a:pt x="730000" y="888280"/>
                    <a:pt x="720847" y="891512"/>
                    <a:pt x="712088" y="895382"/>
                  </a:cubicBezTo>
                  <a:cubicBezTo>
                    <a:pt x="705350" y="898424"/>
                    <a:pt x="698815" y="904039"/>
                    <a:pt x="691793" y="905978"/>
                  </a:cubicBezTo>
                  <a:cubicBezTo>
                    <a:pt x="679616" y="909320"/>
                    <a:pt x="676328" y="902635"/>
                    <a:pt x="661635" y="909320"/>
                  </a:cubicBezTo>
                  <a:cubicBezTo>
                    <a:pt x="643816" y="917542"/>
                    <a:pt x="649783" y="926934"/>
                    <a:pt x="633871" y="935691"/>
                  </a:cubicBezTo>
                  <a:close/>
                  <a:moveTo>
                    <a:pt x="674339" y="851631"/>
                  </a:moveTo>
                  <a:cubicBezTo>
                    <a:pt x="675922" y="840200"/>
                    <a:pt x="621573" y="869011"/>
                    <a:pt x="628026" y="869379"/>
                  </a:cubicBezTo>
                  <a:cubicBezTo>
                    <a:pt x="642679" y="870014"/>
                    <a:pt x="672959" y="862995"/>
                    <a:pt x="674542" y="851664"/>
                  </a:cubicBezTo>
                  <a:close/>
                  <a:moveTo>
                    <a:pt x="793105" y="789797"/>
                  </a:moveTo>
                  <a:cubicBezTo>
                    <a:pt x="802116" y="784683"/>
                    <a:pt x="804348" y="779202"/>
                    <a:pt x="791968" y="783112"/>
                  </a:cubicBezTo>
                  <a:cubicBezTo>
                    <a:pt x="776910" y="787691"/>
                    <a:pt x="762216" y="797384"/>
                    <a:pt x="748781" y="804704"/>
                  </a:cubicBezTo>
                  <a:cubicBezTo>
                    <a:pt x="735346" y="812024"/>
                    <a:pt x="686597" y="835855"/>
                    <a:pt x="693863" y="845882"/>
                  </a:cubicBezTo>
                  <a:cubicBezTo>
                    <a:pt x="702914" y="858315"/>
                    <a:pt x="743179" y="841437"/>
                    <a:pt x="762581" y="829170"/>
                  </a:cubicBezTo>
                  <a:cubicBezTo>
                    <a:pt x="773703" y="822185"/>
                    <a:pt x="785312" y="812458"/>
                    <a:pt x="789208" y="804470"/>
                  </a:cubicBezTo>
                  <a:cubicBezTo>
                    <a:pt x="793673" y="795145"/>
                    <a:pt x="778046" y="807177"/>
                    <a:pt x="775286" y="804470"/>
                  </a:cubicBezTo>
                  <a:cubicBezTo>
                    <a:pt x="772526" y="801763"/>
                    <a:pt x="789858" y="791602"/>
                    <a:pt x="793105" y="789730"/>
                  </a:cubicBezTo>
                  <a:cubicBezTo>
                    <a:pt x="811208" y="779335"/>
                    <a:pt x="775042" y="800092"/>
                    <a:pt x="793105" y="789797"/>
                  </a:cubicBezTo>
                  <a:close/>
                  <a:moveTo>
                    <a:pt x="712737" y="811857"/>
                  </a:moveTo>
                  <a:cubicBezTo>
                    <a:pt x="730394" y="807044"/>
                    <a:pt x="735549" y="794042"/>
                    <a:pt x="754382" y="790299"/>
                  </a:cubicBezTo>
                  <a:cubicBezTo>
                    <a:pt x="768329" y="787140"/>
                    <a:pt x="781500" y="782003"/>
                    <a:pt x="793308" y="775124"/>
                  </a:cubicBezTo>
                  <a:cubicBezTo>
                    <a:pt x="803415" y="769141"/>
                    <a:pt x="810315" y="759983"/>
                    <a:pt x="799275" y="758646"/>
                  </a:cubicBezTo>
                  <a:cubicBezTo>
                    <a:pt x="787544" y="757243"/>
                    <a:pt x="767574" y="765498"/>
                    <a:pt x="754626" y="771448"/>
                  </a:cubicBezTo>
                  <a:cubicBezTo>
                    <a:pt x="731652" y="781943"/>
                    <a:pt x="712128" y="797718"/>
                    <a:pt x="691509" y="810553"/>
                  </a:cubicBezTo>
                  <a:cubicBezTo>
                    <a:pt x="685136" y="814531"/>
                    <a:pt x="668981" y="823321"/>
                    <a:pt x="667520" y="828435"/>
                  </a:cubicBezTo>
                  <a:cubicBezTo>
                    <a:pt x="664922" y="837593"/>
                    <a:pt x="708394" y="813027"/>
                    <a:pt x="712818" y="811723"/>
                  </a:cubicBezTo>
                  <a:cubicBezTo>
                    <a:pt x="729217" y="807278"/>
                    <a:pt x="696298" y="816269"/>
                    <a:pt x="712737" y="811756"/>
                  </a:cubicBezTo>
                  <a:close/>
                  <a:moveTo>
                    <a:pt x="944545" y="676157"/>
                  </a:moveTo>
                  <a:cubicBezTo>
                    <a:pt x="964150" y="657807"/>
                    <a:pt x="1015618" y="658676"/>
                    <a:pt x="983024" y="674185"/>
                  </a:cubicBezTo>
                  <a:cubicBezTo>
                    <a:pt x="975109" y="677895"/>
                    <a:pt x="920679" y="700122"/>
                    <a:pt x="956600" y="694640"/>
                  </a:cubicBezTo>
                  <a:cubicBezTo>
                    <a:pt x="975840" y="691732"/>
                    <a:pt x="993984" y="676692"/>
                    <a:pt x="1010422" y="668369"/>
                  </a:cubicBezTo>
                  <a:cubicBezTo>
                    <a:pt x="1032905" y="656654"/>
                    <a:pt x="1058448" y="649505"/>
                    <a:pt x="1084945" y="647513"/>
                  </a:cubicBezTo>
                  <a:cubicBezTo>
                    <a:pt x="1103089" y="646477"/>
                    <a:pt x="1130243" y="643335"/>
                    <a:pt x="1144977" y="629397"/>
                  </a:cubicBezTo>
                  <a:cubicBezTo>
                    <a:pt x="1157845" y="617265"/>
                    <a:pt x="1149036" y="616028"/>
                    <a:pt x="1134221" y="616596"/>
                  </a:cubicBezTo>
                  <a:cubicBezTo>
                    <a:pt x="1121760" y="617164"/>
                    <a:pt x="1130162" y="608207"/>
                    <a:pt x="1118554" y="608608"/>
                  </a:cubicBezTo>
                  <a:cubicBezTo>
                    <a:pt x="1101668" y="609209"/>
                    <a:pt x="1083200" y="621008"/>
                    <a:pt x="1067816" y="621977"/>
                  </a:cubicBezTo>
                  <a:cubicBezTo>
                    <a:pt x="1059698" y="622546"/>
                    <a:pt x="1045289" y="617432"/>
                    <a:pt x="1035710" y="624417"/>
                  </a:cubicBezTo>
                  <a:cubicBezTo>
                    <a:pt x="1032341" y="626891"/>
                    <a:pt x="1023939" y="635648"/>
                    <a:pt x="1018378" y="636483"/>
                  </a:cubicBezTo>
                  <a:cubicBezTo>
                    <a:pt x="1012817" y="637319"/>
                    <a:pt x="1013913" y="631770"/>
                    <a:pt x="1008718" y="631536"/>
                  </a:cubicBezTo>
                  <a:cubicBezTo>
                    <a:pt x="987570" y="630534"/>
                    <a:pt x="942922" y="652861"/>
                    <a:pt x="922992" y="663590"/>
                  </a:cubicBezTo>
                  <a:cubicBezTo>
                    <a:pt x="886461" y="683076"/>
                    <a:pt x="929974" y="689727"/>
                    <a:pt x="944545" y="676123"/>
                  </a:cubicBezTo>
                  <a:cubicBezTo>
                    <a:pt x="959117" y="662520"/>
                    <a:pt x="930258" y="689526"/>
                    <a:pt x="944545" y="676157"/>
                  </a:cubicBezTo>
                  <a:close/>
                  <a:moveTo>
                    <a:pt x="991873" y="727261"/>
                  </a:moveTo>
                  <a:cubicBezTo>
                    <a:pt x="999301" y="715229"/>
                    <a:pt x="926158" y="720577"/>
                    <a:pt x="929852" y="732074"/>
                  </a:cubicBezTo>
                  <a:cubicBezTo>
                    <a:pt x="933546" y="743572"/>
                    <a:pt x="984080" y="739829"/>
                    <a:pt x="991873" y="727195"/>
                  </a:cubicBezTo>
                  <a:close/>
                  <a:moveTo>
                    <a:pt x="1129432" y="555097"/>
                  </a:moveTo>
                  <a:cubicBezTo>
                    <a:pt x="1134952" y="542463"/>
                    <a:pt x="1056735" y="567798"/>
                    <a:pt x="1079547" y="566996"/>
                  </a:cubicBezTo>
                  <a:cubicBezTo>
                    <a:pt x="1092657" y="566394"/>
                    <a:pt x="1123749" y="567564"/>
                    <a:pt x="1129432" y="555030"/>
                  </a:cubicBezTo>
                  <a:close/>
                  <a:moveTo>
                    <a:pt x="1058805" y="779770"/>
                  </a:moveTo>
                  <a:cubicBezTo>
                    <a:pt x="1065584" y="769743"/>
                    <a:pt x="1025928" y="773085"/>
                    <a:pt x="1023330" y="786187"/>
                  </a:cubicBezTo>
                  <a:cubicBezTo>
                    <a:pt x="1020732" y="799289"/>
                    <a:pt x="1052108" y="789797"/>
                    <a:pt x="1058805" y="779770"/>
                  </a:cubicBezTo>
                  <a:close/>
                  <a:moveTo>
                    <a:pt x="1195187" y="660615"/>
                  </a:moveTo>
                  <a:cubicBezTo>
                    <a:pt x="1199246" y="671645"/>
                    <a:pt x="1084499" y="683811"/>
                    <a:pt x="1125251" y="692367"/>
                  </a:cubicBezTo>
                  <a:cubicBezTo>
                    <a:pt x="1130284" y="693403"/>
                    <a:pt x="1171889" y="692902"/>
                    <a:pt x="1152121" y="698484"/>
                  </a:cubicBezTo>
                  <a:cubicBezTo>
                    <a:pt x="1139944" y="701826"/>
                    <a:pt x="1094890" y="704567"/>
                    <a:pt x="1088720" y="712722"/>
                  </a:cubicBezTo>
                  <a:cubicBezTo>
                    <a:pt x="1080156" y="723953"/>
                    <a:pt x="1108163" y="718939"/>
                    <a:pt x="1111410" y="723384"/>
                  </a:cubicBezTo>
                  <a:cubicBezTo>
                    <a:pt x="1119000" y="733813"/>
                    <a:pt x="1066761" y="728933"/>
                    <a:pt x="1063636" y="728431"/>
                  </a:cubicBezTo>
                  <a:cubicBezTo>
                    <a:pt x="1049876" y="726192"/>
                    <a:pt x="1019596" y="724588"/>
                    <a:pt x="1003319" y="739695"/>
                  </a:cubicBezTo>
                  <a:cubicBezTo>
                    <a:pt x="991142" y="750859"/>
                    <a:pt x="1020408" y="753934"/>
                    <a:pt x="1030190" y="754201"/>
                  </a:cubicBezTo>
                  <a:cubicBezTo>
                    <a:pt x="1054714" y="754137"/>
                    <a:pt x="1078995" y="750237"/>
                    <a:pt x="1101749" y="742703"/>
                  </a:cubicBezTo>
                  <a:cubicBezTo>
                    <a:pt x="1123993" y="734448"/>
                    <a:pt x="1142989" y="718271"/>
                    <a:pt x="1165394" y="711686"/>
                  </a:cubicBezTo>
                  <a:cubicBezTo>
                    <a:pt x="1179398" y="707542"/>
                    <a:pt x="1164217" y="726961"/>
                    <a:pt x="1165394" y="730637"/>
                  </a:cubicBezTo>
                  <a:cubicBezTo>
                    <a:pt x="1168763" y="743171"/>
                    <a:pt x="1212316" y="719206"/>
                    <a:pt x="1223153" y="713758"/>
                  </a:cubicBezTo>
                  <a:cubicBezTo>
                    <a:pt x="1231880" y="709346"/>
                    <a:pt x="1245518" y="704333"/>
                    <a:pt x="1252013" y="698584"/>
                  </a:cubicBezTo>
                  <a:cubicBezTo>
                    <a:pt x="1257290" y="693905"/>
                    <a:pt x="1254286" y="689894"/>
                    <a:pt x="1257371" y="685215"/>
                  </a:cubicBezTo>
                  <a:cubicBezTo>
                    <a:pt x="1266422" y="671845"/>
                    <a:pt x="1255300" y="681638"/>
                    <a:pt x="1248725" y="673984"/>
                  </a:cubicBezTo>
                  <a:cubicBezTo>
                    <a:pt x="1245884" y="670642"/>
                    <a:pt x="1249821" y="665361"/>
                    <a:pt x="1247101" y="661918"/>
                  </a:cubicBezTo>
                  <a:cubicBezTo>
                    <a:pt x="1243854" y="657774"/>
                    <a:pt x="1235817" y="656036"/>
                    <a:pt x="1227821" y="655234"/>
                  </a:cubicBezTo>
                  <a:cubicBezTo>
                    <a:pt x="1225224" y="654966"/>
                    <a:pt x="1193157" y="654498"/>
                    <a:pt x="1195350" y="660481"/>
                  </a:cubicBezTo>
                  <a:close/>
                  <a:moveTo>
                    <a:pt x="1233341" y="594670"/>
                  </a:moveTo>
                  <a:cubicBezTo>
                    <a:pt x="1253636" y="586281"/>
                    <a:pt x="1280101" y="574616"/>
                    <a:pt x="1294754" y="562283"/>
                  </a:cubicBezTo>
                  <a:cubicBezTo>
                    <a:pt x="1298001" y="559575"/>
                    <a:pt x="1282577" y="558940"/>
                    <a:pt x="1286636" y="552523"/>
                  </a:cubicBezTo>
                  <a:cubicBezTo>
                    <a:pt x="1297352" y="535811"/>
                    <a:pt x="1246046" y="562149"/>
                    <a:pt x="1241013" y="563285"/>
                  </a:cubicBezTo>
                  <a:cubicBezTo>
                    <a:pt x="1230703" y="565458"/>
                    <a:pt x="1168926" y="572009"/>
                    <a:pt x="1169494" y="582203"/>
                  </a:cubicBezTo>
                  <a:cubicBezTo>
                    <a:pt x="1170184" y="593534"/>
                    <a:pt x="1210287" y="604229"/>
                    <a:pt x="1233341" y="594670"/>
                  </a:cubicBezTo>
                  <a:close/>
                  <a:moveTo>
                    <a:pt x="1357140" y="548579"/>
                  </a:moveTo>
                  <a:cubicBezTo>
                    <a:pt x="1351579" y="545504"/>
                    <a:pt x="1241378" y="598013"/>
                    <a:pt x="1262810" y="596876"/>
                  </a:cubicBezTo>
                  <a:cubicBezTo>
                    <a:pt x="1298894" y="594637"/>
                    <a:pt x="1362498" y="551420"/>
                    <a:pt x="1357181" y="548579"/>
                  </a:cubicBezTo>
                  <a:close/>
                  <a:moveTo>
                    <a:pt x="1399232" y="654532"/>
                  </a:moveTo>
                  <a:cubicBezTo>
                    <a:pt x="1435194" y="639023"/>
                    <a:pt x="1380155" y="634478"/>
                    <a:pt x="1367572" y="635246"/>
                  </a:cubicBezTo>
                  <a:cubicBezTo>
                    <a:pt x="1343705" y="636450"/>
                    <a:pt x="1316469" y="655301"/>
                    <a:pt x="1302101" y="668068"/>
                  </a:cubicBezTo>
                  <a:cubicBezTo>
                    <a:pt x="1285865" y="682374"/>
                    <a:pt x="1286555" y="687020"/>
                    <a:pt x="1311923" y="681204"/>
                  </a:cubicBezTo>
                  <a:cubicBezTo>
                    <a:pt x="1339930" y="674853"/>
                    <a:pt x="1372280" y="666197"/>
                    <a:pt x="1399232" y="654465"/>
                  </a:cubicBezTo>
                  <a:close/>
                  <a:moveTo>
                    <a:pt x="1269345" y="826663"/>
                  </a:moveTo>
                  <a:cubicBezTo>
                    <a:pt x="1295322" y="824324"/>
                    <a:pt x="1291831" y="815366"/>
                    <a:pt x="1305875" y="803969"/>
                  </a:cubicBezTo>
                  <a:cubicBezTo>
                    <a:pt x="1314765" y="796816"/>
                    <a:pt x="1328524" y="793942"/>
                    <a:pt x="1336967" y="786555"/>
                  </a:cubicBezTo>
                  <a:cubicBezTo>
                    <a:pt x="1343234" y="781134"/>
                    <a:pt x="1346826" y="773984"/>
                    <a:pt x="1347033" y="766501"/>
                  </a:cubicBezTo>
                  <a:cubicBezTo>
                    <a:pt x="1347439" y="759816"/>
                    <a:pt x="1349956" y="734982"/>
                    <a:pt x="1337373" y="734648"/>
                  </a:cubicBezTo>
                  <a:cubicBezTo>
                    <a:pt x="1306565" y="733879"/>
                    <a:pt x="1331122" y="754702"/>
                    <a:pt x="1328078" y="756039"/>
                  </a:cubicBezTo>
                  <a:cubicBezTo>
                    <a:pt x="1324019" y="757944"/>
                    <a:pt x="1319229" y="751494"/>
                    <a:pt x="1313790" y="752329"/>
                  </a:cubicBezTo>
                  <a:cubicBezTo>
                    <a:pt x="1306647" y="753432"/>
                    <a:pt x="1298894" y="757811"/>
                    <a:pt x="1292115" y="760451"/>
                  </a:cubicBezTo>
                  <a:cubicBezTo>
                    <a:pt x="1276123" y="766735"/>
                    <a:pt x="1267518" y="763225"/>
                    <a:pt x="1280344" y="753766"/>
                  </a:cubicBezTo>
                  <a:cubicBezTo>
                    <a:pt x="1289883" y="746681"/>
                    <a:pt x="1310827" y="734682"/>
                    <a:pt x="1308514" y="727027"/>
                  </a:cubicBezTo>
                  <a:cubicBezTo>
                    <a:pt x="1306444" y="720176"/>
                    <a:pt x="1283673" y="730838"/>
                    <a:pt x="1276651" y="728498"/>
                  </a:cubicBezTo>
                  <a:cubicBezTo>
                    <a:pt x="1271009" y="726626"/>
                    <a:pt x="1280710" y="719775"/>
                    <a:pt x="1265529" y="726225"/>
                  </a:cubicBezTo>
                  <a:cubicBezTo>
                    <a:pt x="1254631" y="730825"/>
                    <a:pt x="1244487" y="736543"/>
                    <a:pt x="1235330" y="743238"/>
                  </a:cubicBezTo>
                  <a:cubicBezTo>
                    <a:pt x="1222788" y="752764"/>
                    <a:pt x="1244828" y="744408"/>
                    <a:pt x="1248035" y="747383"/>
                  </a:cubicBezTo>
                  <a:cubicBezTo>
                    <a:pt x="1253149" y="752062"/>
                    <a:pt x="1204685" y="761989"/>
                    <a:pt x="1197460" y="765398"/>
                  </a:cubicBezTo>
                  <a:cubicBezTo>
                    <a:pt x="1175014" y="775893"/>
                    <a:pt x="1143922" y="807812"/>
                    <a:pt x="1187597" y="790365"/>
                  </a:cubicBezTo>
                  <a:cubicBezTo>
                    <a:pt x="1193726" y="787925"/>
                    <a:pt x="1212965" y="777765"/>
                    <a:pt x="1217593" y="780773"/>
                  </a:cubicBezTo>
                  <a:cubicBezTo>
                    <a:pt x="1224858" y="785586"/>
                    <a:pt x="1208663" y="806074"/>
                    <a:pt x="1194051" y="810085"/>
                  </a:cubicBezTo>
                  <a:cubicBezTo>
                    <a:pt x="1179438" y="814096"/>
                    <a:pt x="1167830" y="810586"/>
                    <a:pt x="1153055" y="816202"/>
                  </a:cubicBezTo>
                  <a:cubicBezTo>
                    <a:pt x="1133572" y="823655"/>
                    <a:pt x="1134140" y="833716"/>
                    <a:pt x="1148428" y="835019"/>
                  </a:cubicBezTo>
                  <a:cubicBezTo>
                    <a:pt x="1167911" y="836791"/>
                    <a:pt x="1191047" y="826764"/>
                    <a:pt x="1212072" y="824992"/>
                  </a:cubicBezTo>
                  <a:cubicBezTo>
                    <a:pt x="1233098" y="823221"/>
                    <a:pt x="1247913" y="828669"/>
                    <a:pt x="1269263" y="826697"/>
                  </a:cubicBezTo>
                  <a:cubicBezTo>
                    <a:pt x="1307661" y="823221"/>
                    <a:pt x="1231393" y="830173"/>
                    <a:pt x="1269507" y="826563"/>
                  </a:cubicBezTo>
                  <a:close/>
                  <a:moveTo>
                    <a:pt x="1443150" y="620273"/>
                  </a:moveTo>
                  <a:cubicBezTo>
                    <a:pt x="1451268" y="624551"/>
                    <a:pt x="1458087" y="624183"/>
                    <a:pt x="1471319" y="618635"/>
                  </a:cubicBezTo>
                  <a:cubicBezTo>
                    <a:pt x="1485566" y="612686"/>
                    <a:pt x="1500219" y="614223"/>
                    <a:pt x="1514831" y="610613"/>
                  </a:cubicBezTo>
                  <a:cubicBezTo>
                    <a:pt x="1536709" y="605232"/>
                    <a:pt x="1542798" y="597678"/>
                    <a:pt x="1554406" y="586481"/>
                  </a:cubicBezTo>
                  <a:cubicBezTo>
                    <a:pt x="1562037" y="579162"/>
                    <a:pt x="1567639" y="584710"/>
                    <a:pt x="1576203" y="584008"/>
                  </a:cubicBezTo>
                  <a:cubicBezTo>
                    <a:pt x="1599299" y="582069"/>
                    <a:pt x="1629376" y="569836"/>
                    <a:pt x="1651984" y="561982"/>
                  </a:cubicBezTo>
                  <a:cubicBezTo>
                    <a:pt x="1678855" y="552590"/>
                    <a:pt x="1719404" y="541426"/>
                    <a:pt x="1737223" y="524481"/>
                  </a:cubicBezTo>
                  <a:cubicBezTo>
                    <a:pt x="1747289" y="514855"/>
                    <a:pt x="1749806" y="517161"/>
                    <a:pt x="1767097" y="513718"/>
                  </a:cubicBezTo>
                  <a:cubicBezTo>
                    <a:pt x="1791451" y="508838"/>
                    <a:pt x="1840848" y="495469"/>
                    <a:pt x="1857003" y="480863"/>
                  </a:cubicBezTo>
                  <a:cubicBezTo>
                    <a:pt x="1864390" y="474178"/>
                    <a:pt x="1877298" y="449679"/>
                    <a:pt x="1858464" y="451383"/>
                  </a:cubicBezTo>
                  <a:cubicBezTo>
                    <a:pt x="1838169" y="453255"/>
                    <a:pt x="1814100" y="460876"/>
                    <a:pt x="1793886" y="466758"/>
                  </a:cubicBezTo>
                  <a:cubicBezTo>
                    <a:pt x="1767259" y="474479"/>
                    <a:pt x="1740713" y="483069"/>
                    <a:pt x="1714817" y="492661"/>
                  </a:cubicBezTo>
                  <a:cubicBezTo>
                    <a:pt x="1691681" y="501251"/>
                    <a:pt x="1676582" y="511111"/>
                    <a:pt x="1655800" y="520804"/>
                  </a:cubicBezTo>
                  <a:cubicBezTo>
                    <a:pt x="1626940" y="534174"/>
                    <a:pt x="1596295" y="538218"/>
                    <a:pt x="1569019" y="553893"/>
                  </a:cubicBezTo>
                  <a:cubicBezTo>
                    <a:pt x="1561185" y="558406"/>
                    <a:pt x="1554934" y="557236"/>
                    <a:pt x="1547709" y="557236"/>
                  </a:cubicBezTo>
                  <a:cubicBezTo>
                    <a:pt x="1530783" y="557236"/>
                    <a:pt x="1516090" y="565959"/>
                    <a:pt x="1499326" y="568633"/>
                  </a:cubicBezTo>
                  <a:cubicBezTo>
                    <a:pt x="1482563" y="571307"/>
                    <a:pt x="1521569" y="545738"/>
                    <a:pt x="1515034" y="544401"/>
                  </a:cubicBezTo>
                  <a:cubicBezTo>
                    <a:pt x="1498555" y="541059"/>
                    <a:pt x="1455043" y="554695"/>
                    <a:pt x="1435803" y="561514"/>
                  </a:cubicBezTo>
                  <a:cubicBezTo>
                    <a:pt x="1420054" y="567029"/>
                    <a:pt x="1406944" y="575151"/>
                    <a:pt x="1390465" y="579262"/>
                  </a:cubicBezTo>
                  <a:cubicBezTo>
                    <a:pt x="1371956" y="583908"/>
                    <a:pt x="1354542" y="584409"/>
                    <a:pt x="1336155" y="588687"/>
                  </a:cubicBezTo>
                  <a:cubicBezTo>
                    <a:pt x="1312776" y="594102"/>
                    <a:pt x="1277584" y="606769"/>
                    <a:pt x="1259928" y="620273"/>
                  </a:cubicBezTo>
                  <a:cubicBezTo>
                    <a:pt x="1236548" y="638021"/>
                    <a:pt x="1349428" y="610947"/>
                    <a:pt x="1364041" y="605098"/>
                  </a:cubicBezTo>
                  <a:cubicBezTo>
                    <a:pt x="1371103" y="602190"/>
                    <a:pt x="1373985" y="596442"/>
                    <a:pt x="1379708" y="594503"/>
                  </a:cubicBezTo>
                  <a:cubicBezTo>
                    <a:pt x="1391885" y="590425"/>
                    <a:pt x="1407106" y="593968"/>
                    <a:pt x="1415955" y="595205"/>
                  </a:cubicBezTo>
                  <a:cubicBezTo>
                    <a:pt x="1424803" y="596442"/>
                    <a:pt x="1436250" y="596408"/>
                    <a:pt x="1435722" y="603227"/>
                  </a:cubicBezTo>
                  <a:cubicBezTo>
                    <a:pt x="1435194" y="610045"/>
                    <a:pt x="1435316" y="615961"/>
                    <a:pt x="1443312" y="620139"/>
                  </a:cubicBezTo>
                  <a:close/>
                  <a:moveTo>
                    <a:pt x="1473430" y="509774"/>
                  </a:moveTo>
                  <a:cubicBezTo>
                    <a:pt x="1442663" y="514052"/>
                    <a:pt x="1416036" y="540390"/>
                    <a:pt x="1446843" y="534240"/>
                  </a:cubicBezTo>
                  <a:cubicBezTo>
                    <a:pt x="1473430" y="529093"/>
                    <a:pt x="1504359" y="505697"/>
                    <a:pt x="1473592" y="509774"/>
                  </a:cubicBezTo>
                  <a:close/>
                  <a:moveTo>
                    <a:pt x="1210530" y="520236"/>
                  </a:moveTo>
                  <a:cubicBezTo>
                    <a:pt x="1227172" y="517495"/>
                    <a:pt x="1229891" y="524848"/>
                    <a:pt x="1244098" y="524113"/>
                  </a:cubicBezTo>
                  <a:cubicBezTo>
                    <a:pt x="1257005" y="523411"/>
                    <a:pt x="1270197" y="517963"/>
                    <a:pt x="1282739" y="512381"/>
                  </a:cubicBezTo>
                  <a:cubicBezTo>
                    <a:pt x="1294023" y="507301"/>
                    <a:pt x="1344841" y="479158"/>
                    <a:pt x="1354705" y="484005"/>
                  </a:cubicBezTo>
                  <a:cubicBezTo>
                    <a:pt x="1373214" y="492962"/>
                    <a:pt x="1246655" y="529193"/>
                    <a:pt x="1330351" y="518230"/>
                  </a:cubicBezTo>
                  <a:cubicBezTo>
                    <a:pt x="1337535" y="517294"/>
                    <a:pt x="1356004" y="513585"/>
                    <a:pt x="1359616" y="516827"/>
                  </a:cubicBezTo>
                  <a:cubicBezTo>
                    <a:pt x="1362295" y="519233"/>
                    <a:pt x="1361849" y="519902"/>
                    <a:pt x="1369966" y="518832"/>
                  </a:cubicBezTo>
                  <a:cubicBezTo>
                    <a:pt x="1390546" y="516158"/>
                    <a:pt x="1419283" y="510075"/>
                    <a:pt x="1439578" y="501118"/>
                  </a:cubicBezTo>
                  <a:cubicBezTo>
                    <a:pt x="1450010" y="496539"/>
                    <a:pt x="1450781" y="490489"/>
                    <a:pt x="1463607" y="485709"/>
                  </a:cubicBezTo>
                  <a:cubicBezTo>
                    <a:pt x="1474566" y="481632"/>
                    <a:pt x="1497459" y="479927"/>
                    <a:pt x="1504197" y="472607"/>
                  </a:cubicBezTo>
                  <a:cubicBezTo>
                    <a:pt x="1509392" y="466858"/>
                    <a:pt x="1508986" y="460976"/>
                    <a:pt x="1510610" y="455595"/>
                  </a:cubicBezTo>
                  <a:cubicBezTo>
                    <a:pt x="1513451" y="446136"/>
                    <a:pt x="1519256" y="450915"/>
                    <a:pt x="1527414" y="445033"/>
                  </a:cubicBezTo>
                  <a:cubicBezTo>
                    <a:pt x="1535573" y="439150"/>
                    <a:pt x="1534355" y="431663"/>
                    <a:pt x="1541905" y="425246"/>
                  </a:cubicBezTo>
                  <a:cubicBezTo>
                    <a:pt x="1552702" y="416121"/>
                    <a:pt x="1571535" y="408701"/>
                    <a:pt x="1585985" y="401448"/>
                  </a:cubicBezTo>
                  <a:cubicBezTo>
                    <a:pt x="1592804" y="398106"/>
                    <a:pt x="1606524" y="391187"/>
                    <a:pt x="1599096" y="388079"/>
                  </a:cubicBezTo>
                  <a:cubicBezTo>
                    <a:pt x="1588705" y="383901"/>
                    <a:pt x="1565853" y="395532"/>
                    <a:pt x="1553919" y="399878"/>
                  </a:cubicBezTo>
                  <a:cubicBezTo>
                    <a:pt x="1544787" y="403220"/>
                    <a:pt x="1520839" y="410372"/>
                    <a:pt x="1522381" y="401849"/>
                  </a:cubicBezTo>
                  <a:cubicBezTo>
                    <a:pt x="1523518" y="395466"/>
                    <a:pt x="1527414" y="392558"/>
                    <a:pt x="1513411" y="393527"/>
                  </a:cubicBezTo>
                  <a:cubicBezTo>
                    <a:pt x="1507160" y="393995"/>
                    <a:pt x="1493847" y="395833"/>
                    <a:pt x="1500868" y="389449"/>
                  </a:cubicBezTo>
                  <a:cubicBezTo>
                    <a:pt x="1508986" y="382029"/>
                    <a:pt x="1491127" y="385104"/>
                    <a:pt x="1484389" y="387277"/>
                  </a:cubicBezTo>
                  <a:cubicBezTo>
                    <a:pt x="1470589" y="391689"/>
                    <a:pt x="1476271" y="393327"/>
                    <a:pt x="1476271" y="398039"/>
                  </a:cubicBezTo>
                  <a:cubicBezTo>
                    <a:pt x="1476271" y="403955"/>
                    <a:pt x="1451268" y="403989"/>
                    <a:pt x="1447858" y="403688"/>
                  </a:cubicBezTo>
                  <a:cubicBezTo>
                    <a:pt x="1438685" y="402886"/>
                    <a:pt x="1436615" y="399476"/>
                    <a:pt x="1425250" y="400914"/>
                  </a:cubicBezTo>
                  <a:cubicBezTo>
                    <a:pt x="1409014" y="402986"/>
                    <a:pt x="1392129" y="407064"/>
                    <a:pt x="1375771" y="410038"/>
                  </a:cubicBezTo>
                  <a:cubicBezTo>
                    <a:pt x="1340174" y="416723"/>
                    <a:pt x="1302709" y="412512"/>
                    <a:pt x="1267153" y="424878"/>
                  </a:cubicBezTo>
                  <a:cubicBezTo>
                    <a:pt x="1261998" y="426683"/>
                    <a:pt x="1242799" y="434036"/>
                    <a:pt x="1243814" y="438248"/>
                  </a:cubicBezTo>
                  <a:cubicBezTo>
                    <a:pt x="1244828" y="442459"/>
                    <a:pt x="1275149" y="428455"/>
                    <a:pt x="1273241" y="435373"/>
                  </a:cubicBezTo>
                  <a:cubicBezTo>
                    <a:pt x="1272145" y="439083"/>
                    <a:pt x="1195471" y="468062"/>
                    <a:pt x="1240079" y="458469"/>
                  </a:cubicBezTo>
                  <a:cubicBezTo>
                    <a:pt x="1282415" y="449411"/>
                    <a:pt x="1203548" y="481197"/>
                    <a:pt x="1200504" y="488818"/>
                  </a:cubicBezTo>
                  <a:cubicBezTo>
                    <a:pt x="1193076" y="506599"/>
                    <a:pt x="1257330" y="483670"/>
                    <a:pt x="1248968" y="492394"/>
                  </a:cubicBezTo>
                  <a:cubicBezTo>
                    <a:pt x="1239876" y="501719"/>
                    <a:pt x="1221773" y="505396"/>
                    <a:pt x="1208379" y="510142"/>
                  </a:cubicBezTo>
                  <a:cubicBezTo>
                    <a:pt x="1186217" y="517896"/>
                    <a:pt x="1193320" y="523211"/>
                    <a:pt x="1211058" y="520169"/>
                  </a:cubicBezTo>
                  <a:cubicBezTo>
                    <a:pt x="1236102" y="516025"/>
                    <a:pt x="1183173" y="524848"/>
                    <a:pt x="1210692" y="520236"/>
                  </a:cubicBezTo>
                  <a:close/>
                  <a:moveTo>
                    <a:pt x="1356166" y="378687"/>
                  </a:moveTo>
                  <a:cubicBezTo>
                    <a:pt x="1370981" y="366788"/>
                    <a:pt x="1391723" y="360170"/>
                    <a:pt x="1371915" y="377116"/>
                  </a:cubicBezTo>
                  <a:cubicBezTo>
                    <a:pt x="1357709" y="389316"/>
                    <a:pt x="1400734" y="370866"/>
                    <a:pt x="1403900" y="370431"/>
                  </a:cubicBezTo>
                  <a:cubicBezTo>
                    <a:pt x="1401667" y="370732"/>
                    <a:pt x="1373335" y="396635"/>
                    <a:pt x="1405442" y="387711"/>
                  </a:cubicBezTo>
                  <a:cubicBezTo>
                    <a:pt x="1418471" y="384135"/>
                    <a:pt x="1420663" y="384068"/>
                    <a:pt x="1429268" y="386174"/>
                  </a:cubicBezTo>
                  <a:cubicBezTo>
                    <a:pt x="1437873" y="388280"/>
                    <a:pt x="1455205" y="381996"/>
                    <a:pt x="1464825" y="378821"/>
                  </a:cubicBezTo>
                  <a:cubicBezTo>
                    <a:pt x="1471644" y="376514"/>
                    <a:pt x="1533462" y="347202"/>
                    <a:pt x="1527779" y="346266"/>
                  </a:cubicBezTo>
                  <a:cubicBezTo>
                    <a:pt x="1534558" y="347403"/>
                    <a:pt x="1527090" y="356293"/>
                    <a:pt x="1532245" y="357797"/>
                  </a:cubicBezTo>
                  <a:cubicBezTo>
                    <a:pt x="1537399" y="359301"/>
                    <a:pt x="1553270" y="354622"/>
                    <a:pt x="1560089" y="352784"/>
                  </a:cubicBezTo>
                  <a:cubicBezTo>
                    <a:pt x="1581277" y="347102"/>
                    <a:pt x="1609284" y="339414"/>
                    <a:pt x="1627671" y="329020"/>
                  </a:cubicBezTo>
                  <a:cubicBezTo>
                    <a:pt x="1636154" y="324207"/>
                    <a:pt x="1631730" y="319594"/>
                    <a:pt x="1643907" y="315650"/>
                  </a:cubicBezTo>
                  <a:cubicBezTo>
                    <a:pt x="1657748" y="310937"/>
                    <a:pt x="1670858" y="309667"/>
                    <a:pt x="1684497" y="304152"/>
                  </a:cubicBezTo>
                  <a:cubicBezTo>
                    <a:pt x="1709106" y="294329"/>
                    <a:pt x="1732689" y="282848"/>
                    <a:pt x="1755001" y="269826"/>
                  </a:cubicBezTo>
                  <a:cubicBezTo>
                    <a:pt x="1765798" y="263442"/>
                    <a:pt x="1778502" y="243422"/>
                    <a:pt x="1787473" y="252413"/>
                  </a:cubicBezTo>
                  <a:cubicBezTo>
                    <a:pt x="1800705" y="265481"/>
                    <a:pt x="1740713" y="289178"/>
                    <a:pt x="1720378" y="297534"/>
                  </a:cubicBezTo>
                  <a:cubicBezTo>
                    <a:pt x="1707268" y="302815"/>
                    <a:pt x="1639198" y="327148"/>
                    <a:pt x="1676257" y="326646"/>
                  </a:cubicBezTo>
                  <a:cubicBezTo>
                    <a:pt x="1682467" y="326479"/>
                    <a:pt x="1747086" y="322669"/>
                    <a:pt x="1726142" y="329488"/>
                  </a:cubicBezTo>
                  <a:cubicBezTo>
                    <a:pt x="1692858" y="340317"/>
                    <a:pt x="1670128" y="334568"/>
                    <a:pt x="1640213" y="338345"/>
                  </a:cubicBezTo>
                  <a:cubicBezTo>
                    <a:pt x="1609162" y="342289"/>
                    <a:pt x="1575270" y="354421"/>
                    <a:pt x="1545558" y="366253"/>
                  </a:cubicBezTo>
                  <a:cubicBezTo>
                    <a:pt x="1520555" y="376281"/>
                    <a:pt x="1533381" y="393159"/>
                    <a:pt x="1552052" y="392290"/>
                  </a:cubicBezTo>
                  <a:cubicBezTo>
                    <a:pt x="1562321" y="391822"/>
                    <a:pt x="1576406" y="385071"/>
                    <a:pt x="1587649" y="383266"/>
                  </a:cubicBezTo>
                  <a:cubicBezTo>
                    <a:pt x="1603532" y="380796"/>
                    <a:pt x="1619914" y="381635"/>
                    <a:pt x="1635302" y="385706"/>
                  </a:cubicBezTo>
                  <a:cubicBezTo>
                    <a:pt x="1646667" y="388614"/>
                    <a:pt x="1661685" y="387444"/>
                    <a:pt x="1677109" y="384570"/>
                  </a:cubicBezTo>
                  <a:cubicBezTo>
                    <a:pt x="1685755" y="382932"/>
                    <a:pt x="1705116" y="376882"/>
                    <a:pt x="1711489" y="379289"/>
                  </a:cubicBezTo>
                  <a:cubicBezTo>
                    <a:pt x="1723057" y="383567"/>
                    <a:pt x="1658276" y="396000"/>
                    <a:pt x="1653811" y="396869"/>
                  </a:cubicBezTo>
                  <a:cubicBezTo>
                    <a:pt x="1620487" y="403554"/>
                    <a:pt x="1591790" y="410974"/>
                    <a:pt x="1563458" y="428054"/>
                  </a:cubicBezTo>
                  <a:cubicBezTo>
                    <a:pt x="1551687" y="435106"/>
                    <a:pt x="1515034" y="464820"/>
                    <a:pt x="1549049" y="459071"/>
                  </a:cubicBezTo>
                  <a:cubicBezTo>
                    <a:pt x="1563011" y="456798"/>
                    <a:pt x="1578273" y="449812"/>
                    <a:pt x="1590328" y="443662"/>
                  </a:cubicBezTo>
                  <a:cubicBezTo>
                    <a:pt x="1602383" y="437512"/>
                    <a:pt x="1620446" y="421035"/>
                    <a:pt x="1632745" y="417458"/>
                  </a:cubicBezTo>
                  <a:cubicBezTo>
                    <a:pt x="1633435" y="417224"/>
                    <a:pt x="1609162" y="443362"/>
                    <a:pt x="1618741" y="444197"/>
                  </a:cubicBezTo>
                  <a:cubicBezTo>
                    <a:pt x="1626859" y="444999"/>
                    <a:pt x="1679626" y="437011"/>
                    <a:pt x="1665176" y="449946"/>
                  </a:cubicBezTo>
                  <a:cubicBezTo>
                    <a:pt x="1646424" y="466658"/>
                    <a:pt x="1623693" y="458369"/>
                    <a:pt x="1610420" y="455962"/>
                  </a:cubicBezTo>
                  <a:cubicBezTo>
                    <a:pt x="1594185" y="452921"/>
                    <a:pt x="1531067" y="468162"/>
                    <a:pt x="1530499" y="483370"/>
                  </a:cubicBezTo>
                  <a:cubicBezTo>
                    <a:pt x="1530012" y="495569"/>
                    <a:pt x="1585214" y="474412"/>
                    <a:pt x="1578152" y="485141"/>
                  </a:cubicBezTo>
                  <a:cubicBezTo>
                    <a:pt x="1573727" y="491826"/>
                    <a:pt x="1552702" y="497875"/>
                    <a:pt x="1543001" y="502455"/>
                  </a:cubicBezTo>
                  <a:cubicBezTo>
                    <a:pt x="1528210" y="508955"/>
                    <a:pt x="1514348" y="516803"/>
                    <a:pt x="1501680" y="525851"/>
                  </a:cubicBezTo>
                  <a:cubicBezTo>
                    <a:pt x="1478828" y="543432"/>
                    <a:pt x="1518403" y="534274"/>
                    <a:pt x="1533178" y="529193"/>
                  </a:cubicBezTo>
                  <a:cubicBezTo>
                    <a:pt x="1556639" y="521005"/>
                    <a:pt x="1587812" y="503992"/>
                    <a:pt x="1611963" y="500616"/>
                  </a:cubicBezTo>
                  <a:cubicBezTo>
                    <a:pt x="1641309" y="496472"/>
                    <a:pt x="1658681" y="493430"/>
                    <a:pt x="1679098" y="476585"/>
                  </a:cubicBezTo>
                  <a:cubicBezTo>
                    <a:pt x="1689164" y="468296"/>
                    <a:pt x="1710271" y="462680"/>
                    <a:pt x="1724153" y="458135"/>
                  </a:cubicBezTo>
                  <a:cubicBezTo>
                    <a:pt x="1742905" y="451951"/>
                    <a:pt x="1764053" y="442860"/>
                    <a:pt x="1783251" y="441022"/>
                  </a:cubicBezTo>
                  <a:cubicBezTo>
                    <a:pt x="1797945" y="439618"/>
                    <a:pt x="1807605" y="442392"/>
                    <a:pt x="1823841" y="436577"/>
                  </a:cubicBezTo>
                  <a:cubicBezTo>
                    <a:pt x="1842431" y="429892"/>
                    <a:pt x="1851239" y="420868"/>
                    <a:pt x="1864674" y="411810"/>
                  </a:cubicBezTo>
                  <a:cubicBezTo>
                    <a:pt x="1875553" y="404490"/>
                    <a:pt x="1892519" y="402652"/>
                    <a:pt x="1903072" y="395332"/>
                  </a:cubicBezTo>
                  <a:cubicBezTo>
                    <a:pt x="1913626" y="388012"/>
                    <a:pt x="1902261" y="379021"/>
                    <a:pt x="1888582" y="382698"/>
                  </a:cubicBezTo>
                  <a:cubicBezTo>
                    <a:pt x="1877663" y="385639"/>
                    <a:pt x="1871534" y="392457"/>
                    <a:pt x="1861630" y="396067"/>
                  </a:cubicBezTo>
                  <a:cubicBezTo>
                    <a:pt x="1857206" y="397705"/>
                    <a:pt x="1847749" y="393761"/>
                    <a:pt x="1841132" y="394697"/>
                  </a:cubicBezTo>
                  <a:cubicBezTo>
                    <a:pt x="1825830" y="396836"/>
                    <a:pt x="1757802" y="426817"/>
                    <a:pt x="1753905" y="419865"/>
                  </a:cubicBezTo>
                  <a:cubicBezTo>
                    <a:pt x="1747817" y="408969"/>
                    <a:pt x="1807768" y="397070"/>
                    <a:pt x="1818078" y="393527"/>
                  </a:cubicBezTo>
                  <a:cubicBezTo>
                    <a:pt x="1836708" y="386842"/>
                    <a:pt x="1861062" y="378018"/>
                    <a:pt x="1876040" y="368292"/>
                  </a:cubicBezTo>
                  <a:cubicBezTo>
                    <a:pt x="1889028" y="359869"/>
                    <a:pt x="1869018" y="359903"/>
                    <a:pt x="1866664" y="355157"/>
                  </a:cubicBezTo>
                  <a:cubicBezTo>
                    <a:pt x="1863497" y="348706"/>
                    <a:pt x="1932094" y="331760"/>
                    <a:pt x="1941755" y="326780"/>
                  </a:cubicBezTo>
                  <a:cubicBezTo>
                    <a:pt x="1965094" y="314413"/>
                    <a:pt x="1989366" y="290014"/>
                    <a:pt x="1985023" y="276645"/>
                  </a:cubicBezTo>
                  <a:cubicBezTo>
                    <a:pt x="1981330" y="265348"/>
                    <a:pt x="1934530" y="281859"/>
                    <a:pt x="1920526" y="286505"/>
                  </a:cubicBezTo>
                  <a:cubicBezTo>
                    <a:pt x="1905102" y="291552"/>
                    <a:pt x="1853999" y="308898"/>
                    <a:pt x="1893737" y="289112"/>
                  </a:cubicBezTo>
                  <a:cubicBezTo>
                    <a:pt x="1911868" y="280244"/>
                    <a:pt x="1930881" y="272651"/>
                    <a:pt x="1950563" y="266417"/>
                  </a:cubicBezTo>
                  <a:cubicBezTo>
                    <a:pt x="1964688" y="261838"/>
                    <a:pt x="1984455" y="257593"/>
                    <a:pt x="1995739" y="249939"/>
                  </a:cubicBezTo>
                  <a:cubicBezTo>
                    <a:pt x="2007023" y="242285"/>
                    <a:pt x="1987174" y="235935"/>
                    <a:pt x="2008444" y="229885"/>
                  </a:cubicBezTo>
                  <a:cubicBezTo>
                    <a:pt x="2029713" y="223836"/>
                    <a:pt x="2085564" y="218588"/>
                    <a:pt x="2084184" y="200907"/>
                  </a:cubicBezTo>
                  <a:cubicBezTo>
                    <a:pt x="2083575" y="192685"/>
                    <a:pt x="2109228" y="183961"/>
                    <a:pt x="2121811" y="176341"/>
                  </a:cubicBezTo>
                  <a:cubicBezTo>
                    <a:pt x="2152253" y="157857"/>
                    <a:pt x="2180382" y="138238"/>
                    <a:pt x="2212894" y="120757"/>
                  </a:cubicBezTo>
                  <a:cubicBezTo>
                    <a:pt x="2238060" y="107187"/>
                    <a:pt x="2279055" y="94988"/>
                    <a:pt x="2299919" y="80147"/>
                  </a:cubicBezTo>
                  <a:cubicBezTo>
                    <a:pt x="2317859" y="67380"/>
                    <a:pt x="2279624" y="76805"/>
                    <a:pt x="2271506" y="79145"/>
                  </a:cubicBezTo>
                  <a:cubicBezTo>
                    <a:pt x="2247801" y="86097"/>
                    <a:pt x="2222433" y="97060"/>
                    <a:pt x="2198120" y="101906"/>
                  </a:cubicBezTo>
                  <a:cubicBezTo>
                    <a:pt x="2182614" y="104948"/>
                    <a:pt x="2224543" y="86732"/>
                    <a:pt x="2228115" y="85362"/>
                  </a:cubicBezTo>
                  <a:cubicBezTo>
                    <a:pt x="2249953" y="76872"/>
                    <a:pt x="2269842" y="72594"/>
                    <a:pt x="2292004" y="66110"/>
                  </a:cubicBezTo>
                  <a:cubicBezTo>
                    <a:pt x="2321066" y="57620"/>
                    <a:pt x="2347733" y="42713"/>
                    <a:pt x="2371438" y="30346"/>
                  </a:cubicBezTo>
                  <a:cubicBezTo>
                    <a:pt x="2375010" y="28374"/>
                    <a:pt x="2438654" y="-5216"/>
                    <a:pt x="2407238" y="265"/>
                  </a:cubicBezTo>
                  <a:cubicBezTo>
                    <a:pt x="2382437" y="4610"/>
                    <a:pt x="2352604" y="20787"/>
                    <a:pt x="2329833" y="15406"/>
                  </a:cubicBezTo>
                  <a:cubicBezTo>
                    <a:pt x="2321269" y="13401"/>
                    <a:pt x="2326586" y="7117"/>
                    <a:pt x="2311527" y="10860"/>
                  </a:cubicBezTo>
                  <a:cubicBezTo>
                    <a:pt x="2306778" y="11997"/>
                    <a:pt x="2283114" y="20887"/>
                    <a:pt x="2280557" y="18147"/>
                  </a:cubicBezTo>
                  <a:cubicBezTo>
                    <a:pt x="2273779" y="10359"/>
                    <a:pt x="2199905" y="46657"/>
                    <a:pt x="2192193" y="50200"/>
                  </a:cubicBezTo>
                  <a:cubicBezTo>
                    <a:pt x="2164105" y="62634"/>
                    <a:pt x="2211149" y="29812"/>
                    <a:pt x="2212245" y="31182"/>
                  </a:cubicBezTo>
                  <a:cubicBezTo>
                    <a:pt x="2210743" y="29243"/>
                    <a:pt x="2110770" y="57486"/>
                    <a:pt x="2100663" y="59826"/>
                  </a:cubicBezTo>
                  <a:cubicBezTo>
                    <a:pt x="2076878" y="64973"/>
                    <a:pt x="2067583" y="64037"/>
                    <a:pt x="2046233" y="76103"/>
                  </a:cubicBezTo>
                  <a:cubicBezTo>
                    <a:pt x="2024882" y="88169"/>
                    <a:pt x="2003857" y="82186"/>
                    <a:pt x="1978488" y="92548"/>
                  </a:cubicBezTo>
                  <a:cubicBezTo>
                    <a:pt x="1970655" y="95723"/>
                    <a:pt x="1959979" y="100670"/>
                    <a:pt x="1956813" y="105516"/>
                  </a:cubicBezTo>
                  <a:cubicBezTo>
                    <a:pt x="1953647" y="110362"/>
                    <a:pt x="1968016" y="113371"/>
                    <a:pt x="1949142" y="115877"/>
                  </a:cubicBezTo>
                  <a:cubicBezTo>
                    <a:pt x="1933596" y="117916"/>
                    <a:pt x="1923733" y="115242"/>
                    <a:pt x="1907131" y="120256"/>
                  </a:cubicBezTo>
                  <a:cubicBezTo>
                    <a:pt x="1887648" y="126172"/>
                    <a:pt x="1869789" y="134728"/>
                    <a:pt x="1850306" y="140811"/>
                  </a:cubicBezTo>
                  <a:cubicBezTo>
                    <a:pt x="1839631" y="144154"/>
                    <a:pt x="1827332" y="146293"/>
                    <a:pt x="1819823" y="152576"/>
                  </a:cubicBezTo>
                  <a:cubicBezTo>
                    <a:pt x="1814343" y="157155"/>
                    <a:pt x="1812233" y="161333"/>
                    <a:pt x="1802247" y="164107"/>
                  </a:cubicBezTo>
                  <a:cubicBezTo>
                    <a:pt x="1798838" y="164943"/>
                    <a:pt x="1712098" y="182758"/>
                    <a:pt x="1718957" y="187504"/>
                  </a:cubicBezTo>
                  <a:cubicBezTo>
                    <a:pt x="1720540" y="188574"/>
                    <a:pt x="1728983" y="185833"/>
                    <a:pt x="1725289" y="189610"/>
                  </a:cubicBezTo>
                  <a:cubicBezTo>
                    <a:pt x="1719282" y="195793"/>
                    <a:pt x="1705441" y="197397"/>
                    <a:pt x="1696268" y="200205"/>
                  </a:cubicBezTo>
                  <a:cubicBezTo>
                    <a:pt x="1671224" y="207859"/>
                    <a:pt x="1692209" y="209463"/>
                    <a:pt x="1686932" y="215379"/>
                  </a:cubicBezTo>
                  <a:cubicBezTo>
                    <a:pt x="1678327" y="224738"/>
                    <a:pt x="1636154" y="227278"/>
                    <a:pt x="1630675" y="237974"/>
                  </a:cubicBezTo>
                  <a:cubicBezTo>
                    <a:pt x="1625966" y="247232"/>
                    <a:pt x="1624180" y="255287"/>
                    <a:pt x="1600273" y="258663"/>
                  </a:cubicBezTo>
                  <a:cubicBezTo>
                    <a:pt x="1583428" y="261036"/>
                    <a:pt x="1571048" y="261069"/>
                    <a:pt x="1553108" y="265983"/>
                  </a:cubicBezTo>
                  <a:cubicBezTo>
                    <a:pt x="1549049" y="267052"/>
                    <a:pt x="1523152" y="274004"/>
                    <a:pt x="1524005" y="277647"/>
                  </a:cubicBezTo>
                  <a:cubicBezTo>
                    <a:pt x="1524857" y="281291"/>
                    <a:pt x="1539510" y="277447"/>
                    <a:pt x="1523477" y="284867"/>
                  </a:cubicBezTo>
                  <a:cubicBezTo>
                    <a:pt x="1514831" y="288911"/>
                    <a:pt x="1503791" y="292554"/>
                    <a:pt x="1496282" y="297434"/>
                  </a:cubicBezTo>
                  <a:cubicBezTo>
                    <a:pt x="1489382" y="301880"/>
                    <a:pt x="1507566" y="298771"/>
                    <a:pt x="1505009" y="303417"/>
                  </a:cubicBezTo>
                  <a:cubicBezTo>
                    <a:pt x="1496526" y="318825"/>
                    <a:pt x="1464419" y="315951"/>
                    <a:pt x="1447574" y="321232"/>
                  </a:cubicBezTo>
                  <a:cubicBezTo>
                    <a:pt x="1425209" y="328217"/>
                    <a:pt x="1419973" y="337008"/>
                    <a:pt x="1411044" y="348505"/>
                  </a:cubicBezTo>
                  <a:cubicBezTo>
                    <a:pt x="1406091" y="354889"/>
                    <a:pt x="1386690" y="355792"/>
                    <a:pt x="1375690" y="360337"/>
                  </a:cubicBezTo>
                  <a:cubicBezTo>
                    <a:pt x="1359454" y="367022"/>
                    <a:pt x="1325074" y="382263"/>
                    <a:pt x="1317768" y="392792"/>
                  </a:cubicBezTo>
                  <a:cubicBezTo>
                    <a:pt x="1312126" y="400847"/>
                    <a:pt x="1352229" y="381327"/>
                    <a:pt x="1356044" y="378319"/>
                  </a:cubicBezTo>
                  <a:close/>
                  <a:moveTo>
                    <a:pt x="2051915" y="839264"/>
                  </a:moveTo>
                  <a:cubicBezTo>
                    <a:pt x="2061575" y="835153"/>
                    <a:pt x="2072941" y="810854"/>
                    <a:pt x="2047450" y="820313"/>
                  </a:cubicBezTo>
                  <a:cubicBezTo>
                    <a:pt x="2021960" y="829772"/>
                    <a:pt x="2037019" y="845648"/>
                    <a:pt x="2051915" y="839264"/>
                  </a:cubicBezTo>
                  <a:close/>
                  <a:moveTo>
                    <a:pt x="1918294" y="867741"/>
                  </a:moveTo>
                  <a:cubicBezTo>
                    <a:pt x="1944718" y="866538"/>
                    <a:pt x="1969274" y="835721"/>
                    <a:pt x="1963592" y="830975"/>
                  </a:cubicBezTo>
                  <a:cubicBezTo>
                    <a:pt x="1957909" y="826229"/>
                    <a:pt x="1886228" y="869178"/>
                    <a:pt x="1918294" y="867741"/>
                  </a:cubicBezTo>
                  <a:close/>
                  <a:moveTo>
                    <a:pt x="2001827" y="793307"/>
                  </a:moveTo>
                  <a:cubicBezTo>
                    <a:pt x="2001056" y="784249"/>
                    <a:pt x="1957179" y="798454"/>
                    <a:pt x="1949061" y="792872"/>
                  </a:cubicBezTo>
                  <a:cubicBezTo>
                    <a:pt x="1935626" y="783313"/>
                    <a:pt x="1904412" y="792137"/>
                    <a:pt x="1879530" y="795212"/>
                  </a:cubicBezTo>
                  <a:cubicBezTo>
                    <a:pt x="1865527" y="796950"/>
                    <a:pt x="1845841" y="801228"/>
                    <a:pt x="1833867" y="799390"/>
                  </a:cubicBezTo>
                  <a:cubicBezTo>
                    <a:pt x="1824450" y="797952"/>
                    <a:pt x="1825384" y="788895"/>
                    <a:pt x="1810244" y="798053"/>
                  </a:cubicBezTo>
                  <a:cubicBezTo>
                    <a:pt x="1795104" y="807211"/>
                    <a:pt x="1797011" y="814764"/>
                    <a:pt x="1797620" y="823588"/>
                  </a:cubicBezTo>
                  <a:cubicBezTo>
                    <a:pt x="1798229" y="831777"/>
                    <a:pt x="1790558" y="837760"/>
                    <a:pt x="1799569" y="843642"/>
                  </a:cubicBezTo>
                  <a:cubicBezTo>
                    <a:pt x="1806997" y="848656"/>
                    <a:pt x="1798310" y="856745"/>
                    <a:pt x="1790477" y="863697"/>
                  </a:cubicBezTo>
                  <a:cubicBezTo>
                    <a:pt x="1786174" y="867473"/>
                    <a:pt x="1775783" y="881043"/>
                    <a:pt x="1793561" y="873924"/>
                  </a:cubicBezTo>
                  <a:cubicBezTo>
                    <a:pt x="1800786" y="870983"/>
                    <a:pt x="1827779" y="852366"/>
                    <a:pt x="1832162" y="859385"/>
                  </a:cubicBezTo>
                  <a:cubicBezTo>
                    <a:pt x="1835653" y="864967"/>
                    <a:pt x="1836789" y="870114"/>
                    <a:pt x="1852457" y="863095"/>
                  </a:cubicBezTo>
                  <a:cubicBezTo>
                    <a:pt x="1866594" y="856524"/>
                    <a:pt x="1879011" y="847707"/>
                    <a:pt x="1888988" y="837158"/>
                  </a:cubicBezTo>
                  <a:cubicBezTo>
                    <a:pt x="1897106" y="828702"/>
                    <a:pt x="1898973" y="821015"/>
                    <a:pt x="1917401" y="817104"/>
                  </a:cubicBezTo>
                  <a:cubicBezTo>
                    <a:pt x="1929984" y="814430"/>
                    <a:pt x="2003289" y="810419"/>
                    <a:pt x="2001868" y="793106"/>
                  </a:cubicBezTo>
                  <a:close/>
                  <a:moveTo>
                    <a:pt x="2451724" y="581301"/>
                  </a:moveTo>
                  <a:cubicBezTo>
                    <a:pt x="2476484" y="575385"/>
                    <a:pt x="2501609" y="592197"/>
                    <a:pt x="2526166" y="591328"/>
                  </a:cubicBezTo>
                  <a:cubicBezTo>
                    <a:pt x="2536800" y="590927"/>
                    <a:pt x="2541834" y="587150"/>
                    <a:pt x="2543173" y="581735"/>
                  </a:cubicBezTo>
                  <a:cubicBezTo>
                    <a:pt x="2545243" y="573078"/>
                    <a:pt x="2548287" y="570806"/>
                    <a:pt x="2564077" y="565625"/>
                  </a:cubicBezTo>
                  <a:cubicBezTo>
                    <a:pt x="2578892" y="560745"/>
                    <a:pt x="2571383" y="558272"/>
                    <a:pt x="2575077" y="551621"/>
                  </a:cubicBezTo>
                  <a:cubicBezTo>
                    <a:pt x="2579663" y="543432"/>
                    <a:pt x="2592124" y="534909"/>
                    <a:pt x="2603774" y="528425"/>
                  </a:cubicBezTo>
                  <a:cubicBezTo>
                    <a:pt x="2637788" y="509173"/>
                    <a:pt x="2560627" y="526453"/>
                    <a:pt x="2551007" y="527255"/>
                  </a:cubicBezTo>
                  <a:cubicBezTo>
                    <a:pt x="2540535" y="528024"/>
                    <a:pt x="2534446" y="524447"/>
                    <a:pt x="2532539" y="519701"/>
                  </a:cubicBezTo>
                  <a:cubicBezTo>
                    <a:pt x="2530956" y="515690"/>
                    <a:pt x="2513867" y="516125"/>
                    <a:pt x="2507373" y="516125"/>
                  </a:cubicBezTo>
                  <a:cubicBezTo>
                    <a:pt x="2479528" y="516125"/>
                    <a:pt x="2453307" y="524380"/>
                    <a:pt x="2424692" y="525550"/>
                  </a:cubicBezTo>
                  <a:cubicBezTo>
                    <a:pt x="2403057" y="526386"/>
                    <a:pt x="2351955" y="540758"/>
                    <a:pt x="2349844" y="523244"/>
                  </a:cubicBezTo>
                  <a:cubicBezTo>
                    <a:pt x="2349032" y="516760"/>
                    <a:pt x="2407400" y="505496"/>
                    <a:pt x="2392747" y="501853"/>
                  </a:cubicBezTo>
                  <a:cubicBezTo>
                    <a:pt x="2390515" y="501251"/>
                    <a:pt x="2334217" y="512983"/>
                    <a:pt x="2353132" y="501853"/>
                  </a:cubicBezTo>
                  <a:cubicBezTo>
                    <a:pt x="2362102" y="496539"/>
                    <a:pt x="2377486" y="491024"/>
                    <a:pt x="2362995" y="487481"/>
                  </a:cubicBezTo>
                  <a:cubicBezTo>
                    <a:pt x="2349479" y="484138"/>
                    <a:pt x="2339412" y="484439"/>
                    <a:pt x="2329833" y="493831"/>
                  </a:cubicBezTo>
                  <a:cubicBezTo>
                    <a:pt x="2318468" y="505028"/>
                    <a:pt x="2315911" y="494332"/>
                    <a:pt x="2319523" y="488450"/>
                  </a:cubicBezTo>
                  <a:cubicBezTo>
                    <a:pt x="2324273" y="480696"/>
                    <a:pt x="2320822" y="479760"/>
                    <a:pt x="2306251" y="481498"/>
                  </a:cubicBezTo>
                  <a:cubicBezTo>
                    <a:pt x="2292353" y="482838"/>
                    <a:pt x="2278865" y="486237"/>
                    <a:pt x="2266432" y="491525"/>
                  </a:cubicBezTo>
                  <a:cubicBezTo>
                    <a:pt x="2244473" y="502321"/>
                    <a:pt x="2248694" y="491859"/>
                    <a:pt x="2237086" y="489820"/>
                  </a:cubicBezTo>
                  <a:cubicBezTo>
                    <a:pt x="2221864" y="487147"/>
                    <a:pt x="2186876" y="521573"/>
                    <a:pt x="2177703" y="511746"/>
                  </a:cubicBezTo>
                  <a:cubicBezTo>
                    <a:pt x="2175957" y="509875"/>
                    <a:pt x="2203153" y="496940"/>
                    <a:pt x="2206116" y="492361"/>
                  </a:cubicBezTo>
                  <a:cubicBezTo>
                    <a:pt x="2212935" y="482334"/>
                    <a:pt x="2193939" y="484038"/>
                    <a:pt x="2181762" y="487381"/>
                  </a:cubicBezTo>
                  <a:cubicBezTo>
                    <a:pt x="2157408" y="494065"/>
                    <a:pt x="2155825" y="509707"/>
                    <a:pt x="2131146" y="507134"/>
                  </a:cubicBezTo>
                  <a:cubicBezTo>
                    <a:pt x="2123028" y="506265"/>
                    <a:pt x="2110852" y="504393"/>
                    <a:pt x="2108457" y="499680"/>
                  </a:cubicBezTo>
                  <a:cubicBezTo>
                    <a:pt x="2106508" y="495536"/>
                    <a:pt x="2086132" y="502354"/>
                    <a:pt x="2080531" y="503691"/>
                  </a:cubicBezTo>
                  <a:cubicBezTo>
                    <a:pt x="2056177" y="509574"/>
                    <a:pt x="2064782" y="495135"/>
                    <a:pt x="2040834" y="498076"/>
                  </a:cubicBezTo>
                  <a:cubicBezTo>
                    <a:pt x="2016886" y="501017"/>
                    <a:pt x="1979949" y="509473"/>
                    <a:pt x="1960954" y="522609"/>
                  </a:cubicBezTo>
                  <a:cubicBezTo>
                    <a:pt x="1955636" y="526219"/>
                    <a:pt x="1950278" y="530865"/>
                    <a:pt x="1949954" y="534842"/>
                  </a:cubicBezTo>
                  <a:cubicBezTo>
                    <a:pt x="1949954" y="537014"/>
                    <a:pt x="1954784" y="539622"/>
                    <a:pt x="1950644" y="542362"/>
                  </a:cubicBezTo>
                  <a:cubicBezTo>
                    <a:pt x="1940090" y="549348"/>
                    <a:pt x="1931932" y="541259"/>
                    <a:pt x="1926290" y="540490"/>
                  </a:cubicBezTo>
                  <a:cubicBezTo>
                    <a:pt x="1910825" y="538352"/>
                    <a:pt x="1888257" y="570171"/>
                    <a:pt x="1874538" y="569101"/>
                  </a:cubicBezTo>
                  <a:cubicBezTo>
                    <a:pt x="1860819" y="568032"/>
                    <a:pt x="1874538" y="544100"/>
                    <a:pt x="1860453" y="539922"/>
                  </a:cubicBezTo>
                  <a:cubicBezTo>
                    <a:pt x="1837642" y="533238"/>
                    <a:pt x="1821771" y="523211"/>
                    <a:pt x="1787067" y="539922"/>
                  </a:cubicBezTo>
                  <a:cubicBezTo>
                    <a:pt x="1775499" y="545471"/>
                    <a:pt x="1770831" y="550651"/>
                    <a:pt x="1762307" y="557069"/>
                  </a:cubicBezTo>
                  <a:cubicBezTo>
                    <a:pt x="1752485" y="564522"/>
                    <a:pt x="1736817" y="570204"/>
                    <a:pt x="1724802" y="576454"/>
                  </a:cubicBezTo>
                  <a:cubicBezTo>
                    <a:pt x="1711083" y="583574"/>
                    <a:pt x="1694157" y="594603"/>
                    <a:pt x="1696024" y="603427"/>
                  </a:cubicBezTo>
                  <a:cubicBezTo>
                    <a:pt x="1698094" y="612886"/>
                    <a:pt x="1720378" y="607237"/>
                    <a:pt x="1725127" y="612752"/>
                  </a:cubicBezTo>
                  <a:cubicBezTo>
                    <a:pt x="1730282" y="619069"/>
                    <a:pt x="1685592" y="639825"/>
                    <a:pt x="1727603" y="631804"/>
                  </a:cubicBezTo>
                  <a:cubicBezTo>
                    <a:pt x="1762672" y="625119"/>
                    <a:pt x="1760075" y="639224"/>
                    <a:pt x="1724478" y="642900"/>
                  </a:cubicBezTo>
                  <a:cubicBezTo>
                    <a:pt x="1688880" y="646577"/>
                    <a:pt x="1689246" y="632873"/>
                    <a:pt x="1670331" y="623682"/>
                  </a:cubicBezTo>
                  <a:cubicBezTo>
                    <a:pt x="1660467" y="618869"/>
                    <a:pt x="1674390" y="604029"/>
                    <a:pt x="1680844" y="596274"/>
                  </a:cubicBezTo>
                  <a:cubicBezTo>
                    <a:pt x="1685999" y="590125"/>
                    <a:pt x="1710637" y="575251"/>
                    <a:pt x="1707755" y="569903"/>
                  </a:cubicBezTo>
                  <a:cubicBezTo>
                    <a:pt x="1704873" y="564555"/>
                    <a:pt x="1663593" y="582872"/>
                    <a:pt x="1658519" y="585211"/>
                  </a:cubicBezTo>
                  <a:cubicBezTo>
                    <a:pt x="1625804" y="600118"/>
                    <a:pt x="1594956" y="619571"/>
                    <a:pt x="1578070" y="640293"/>
                  </a:cubicBezTo>
                  <a:cubicBezTo>
                    <a:pt x="1562687" y="659144"/>
                    <a:pt x="1561834" y="677059"/>
                    <a:pt x="1572428" y="690429"/>
                  </a:cubicBezTo>
                  <a:cubicBezTo>
                    <a:pt x="1582129" y="702628"/>
                    <a:pt x="1590815" y="700623"/>
                    <a:pt x="1619106" y="690763"/>
                  </a:cubicBezTo>
                  <a:cubicBezTo>
                    <a:pt x="1633881" y="685616"/>
                    <a:pt x="1650848" y="679198"/>
                    <a:pt x="1665947" y="677594"/>
                  </a:cubicBezTo>
                  <a:cubicBezTo>
                    <a:pt x="1684456" y="675589"/>
                    <a:pt x="1659331" y="687020"/>
                    <a:pt x="1653040" y="688858"/>
                  </a:cubicBezTo>
                  <a:cubicBezTo>
                    <a:pt x="1635545" y="693905"/>
                    <a:pt x="1577421" y="712990"/>
                    <a:pt x="1620568" y="712455"/>
                  </a:cubicBezTo>
                  <a:cubicBezTo>
                    <a:pt x="1635598" y="712271"/>
                    <a:pt x="1650486" y="710012"/>
                    <a:pt x="1664608" y="705770"/>
                  </a:cubicBezTo>
                  <a:cubicBezTo>
                    <a:pt x="1676541" y="702094"/>
                    <a:pt x="1688150" y="692401"/>
                    <a:pt x="1700083" y="690562"/>
                  </a:cubicBezTo>
                  <a:cubicBezTo>
                    <a:pt x="1713072" y="688557"/>
                    <a:pt x="1717943" y="693370"/>
                    <a:pt x="1733245" y="689058"/>
                  </a:cubicBezTo>
                  <a:cubicBezTo>
                    <a:pt x="1756259" y="682574"/>
                    <a:pt x="1778137" y="672848"/>
                    <a:pt x="1801355" y="666497"/>
                  </a:cubicBezTo>
                  <a:cubicBezTo>
                    <a:pt x="1826277" y="659646"/>
                    <a:pt x="1878800" y="653128"/>
                    <a:pt x="1889191" y="633575"/>
                  </a:cubicBezTo>
                  <a:cubicBezTo>
                    <a:pt x="1892519" y="627158"/>
                    <a:pt x="1949061" y="617833"/>
                    <a:pt x="1958762" y="615292"/>
                  </a:cubicBezTo>
                  <a:cubicBezTo>
                    <a:pt x="2000041" y="604196"/>
                    <a:pt x="1941064" y="607003"/>
                    <a:pt x="1951253" y="597545"/>
                  </a:cubicBezTo>
                  <a:cubicBezTo>
                    <a:pt x="1956692" y="592531"/>
                    <a:pt x="1983724" y="591395"/>
                    <a:pt x="1990990" y="590860"/>
                  </a:cubicBezTo>
                  <a:cubicBezTo>
                    <a:pt x="1997200" y="590392"/>
                    <a:pt x="2003979" y="590359"/>
                    <a:pt x="2007550" y="592598"/>
                  </a:cubicBezTo>
                  <a:cubicBezTo>
                    <a:pt x="2012299" y="595639"/>
                    <a:pt x="2019727" y="592096"/>
                    <a:pt x="2026019" y="592932"/>
                  </a:cubicBezTo>
                  <a:cubicBezTo>
                    <a:pt x="2043594" y="595272"/>
                    <a:pt x="2063848" y="591228"/>
                    <a:pt x="2082601" y="592698"/>
                  </a:cubicBezTo>
                  <a:cubicBezTo>
                    <a:pt x="2101353" y="594169"/>
                    <a:pt x="2058612" y="611349"/>
                    <a:pt x="2058004" y="616696"/>
                  </a:cubicBezTo>
                  <a:cubicBezTo>
                    <a:pt x="2057111" y="624016"/>
                    <a:pt x="2082357" y="610446"/>
                    <a:pt x="2084834" y="608808"/>
                  </a:cubicBezTo>
                  <a:cubicBezTo>
                    <a:pt x="2092667" y="603661"/>
                    <a:pt x="2106590" y="592096"/>
                    <a:pt x="2118604" y="592966"/>
                  </a:cubicBezTo>
                  <a:cubicBezTo>
                    <a:pt x="2127818" y="593668"/>
                    <a:pt x="2131633" y="598648"/>
                    <a:pt x="2138899" y="600820"/>
                  </a:cubicBezTo>
                  <a:cubicBezTo>
                    <a:pt x="2147017" y="603193"/>
                    <a:pt x="2162238" y="593233"/>
                    <a:pt x="2174537" y="593634"/>
                  </a:cubicBezTo>
                  <a:cubicBezTo>
                    <a:pt x="2190773" y="594169"/>
                    <a:pt x="2211352" y="598414"/>
                    <a:pt x="2217278" y="606068"/>
                  </a:cubicBezTo>
                  <a:cubicBezTo>
                    <a:pt x="2221946" y="612084"/>
                    <a:pt x="2213828" y="621844"/>
                    <a:pt x="2218617" y="627158"/>
                  </a:cubicBezTo>
                  <a:cubicBezTo>
                    <a:pt x="2222351" y="631269"/>
                    <a:pt x="2246665" y="620841"/>
                    <a:pt x="2251657" y="618769"/>
                  </a:cubicBezTo>
                  <a:cubicBezTo>
                    <a:pt x="2269314" y="611248"/>
                    <a:pt x="2280070" y="601188"/>
                    <a:pt x="2300771" y="601656"/>
                  </a:cubicBezTo>
                  <a:cubicBezTo>
                    <a:pt x="2323177" y="602157"/>
                    <a:pt x="2343715" y="603461"/>
                    <a:pt x="2319239" y="617766"/>
                  </a:cubicBezTo>
                  <a:cubicBezTo>
                    <a:pt x="2311483" y="622358"/>
                    <a:pt x="2303235" y="626366"/>
                    <a:pt x="2294601" y="629731"/>
                  </a:cubicBezTo>
                  <a:cubicBezTo>
                    <a:pt x="2284048" y="633742"/>
                    <a:pt x="2288553" y="630367"/>
                    <a:pt x="2284251" y="628027"/>
                  </a:cubicBezTo>
                  <a:cubicBezTo>
                    <a:pt x="2260912" y="615226"/>
                    <a:pt x="2154364" y="645975"/>
                    <a:pt x="2180544" y="663356"/>
                  </a:cubicBezTo>
                  <a:cubicBezTo>
                    <a:pt x="2188378" y="668536"/>
                    <a:pt x="2208957" y="670040"/>
                    <a:pt x="2192315" y="680970"/>
                  </a:cubicBezTo>
                  <a:cubicBezTo>
                    <a:pt x="2164633" y="699186"/>
                    <a:pt x="2133419" y="698049"/>
                    <a:pt x="2102531" y="708912"/>
                  </a:cubicBezTo>
                  <a:cubicBezTo>
                    <a:pt x="2094413" y="711853"/>
                    <a:pt x="2085036" y="720777"/>
                    <a:pt x="2077243" y="725056"/>
                  </a:cubicBezTo>
                  <a:cubicBezTo>
                    <a:pt x="2052889" y="738425"/>
                    <a:pt x="2066081" y="754669"/>
                    <a:pt x="2094940" y="745644"/>
                  </a:cubicBezTo>
                  <a:cubicBezTo>
                    <a:pt x="2109918" y="740999"/>
                    <a:pt x="2123353" y="734147"/>
                    <a:pt x="2138168" y="728933"/>
                  </a:cubicBezTo>
                  <a:cubicBezTo>
                    <a:pt x="2149574" y="724855"/>
                    <a:pt x="2161061" y="722950"/>
                    <a:pt x="2172548" y="719541"/>
                  </a:cubicBezTo>
                  <a:cubicBezTo>
                    <a:pt x="2180666" y="717168"/>
                    <a:pt x="2176039" y="713324"/>
                    <a:pt x="2178961" y="710015"/>
                  </a:cubicBezTo>
                  <a:cubicBezTo>
                    <a:pt x="2185293" y="702729"/>
                    <a:pt x="2208308" y="699319"/>
                    <a:pt x="2218901" y="697281"/>
                  </a:cubicBezTo>
                  <a:cubicBezTo>
                    <a:pt x="2242484" y="692735"/>
                    <a:pt x="2249871" y="705637"/>
                    <a:pt x="2272196" y="700255"/>
                  </a:cubicBezTo>
                  <a:cubicBezTo>
                    <a:pt x="2295291" y="694707"/>
                    <a:pt x="2285631" y="715196"/>
                    <a:pt x="2305114" y="715396"/>
                  </a:cubicBezTo>
                  <a:cubicBezTo>
                    <a:pt x="2326424" y="715630"/>
                    <a:pt x="2351143" y="705001"/>
                    <a:pt x="2373224" y="703163"/>
                  </a:cubicBezTo>
                  <a:cubicBezTo>
                    <a:pt x="2393762" y="701492"/>
                    <a:pt x="2413448" y="704734"/>
                    <a:pt x="2434474" y="703531"/>
                  </a:cubicBezTo>
                  <a:cubicBezTo>
                    <a:pt x="2588715" y="695041"/>
                    <a:pt x="2391327" y="666096"/>
                    <a:pt x="2383818" y="674887"/>
                  </a:cubicBezTo>
                  <a:cubicBezTo>
                    <a:pt x="2390150" y="667400"/>
                    <a:pt x="2425503" y="664559"/>
                    <a:pt x="2434352" y="664559"/>
                  </a:cubicBezTo>
                  <a:cubicBezTo>
                    <a:pt x="2459802" y="664559"/>
                    <a:pt x="2484561" y="667066"/>
                    <a:pt x="2511838" y="656203"/>
                  </a:cubicBezTo>
                  <a:cubicBezTo>
                    <a:pt x="2524015" y="651357"/>
                    <a:pt x="2550520" y="631871"/>
                    <a:pt x="2527221" y="632038"/>
                  </a:cubicBezTo>
                  <a:cubicBezTo>
                    <a:pt x="2503923" y="632205"/>
                    <a:pt x="2509199" y="623949"/>
                    <a:pt x="2494750" y="617666"/>
                  </a:cubicBezTo>
                  <a:cubicBezTo>
                    <a:pt x="2472750" y="608107"/>
                    <a:pt x="2412230" y="629665"/>
                    <a:pt x="2396887" y="612151"/>
                  </a:cubicBezTo>
                  <a:cubicBezTo>
                    <a:pt x="2393803" y="608608"/>
                    <a:pt x="2405005" y="605666"/>
                    <a:pt x="2405290" y="601823"/>
                  </a:cubicBezTo>
                  <a:cubicBezTo>
                    <a:pt x="2405290" y="597311"/>
                    <a:pt x="2396238" y="596274"/>
                    <a:pt x="2397983" y="591027"/>
                  </a:cubicBezTo>
                  <a:cubicBezTo>
                    <a:pt x="2403504" y="574315"/>
                    <a:pt x="2435854" y="585044"/>
                    <a:pt x="2451440" y="581301"/>
                  </a:cubicBezTo>
                  <a:close/>
                  <a:moveTo>
                    <a:pt x="2124205" y="641697"/>
                  </a:moveTo>
                  <a:cubicBezTo>
                    <a:pt x="2143607" y="633609"/>
                    <a:pt x="2128873" y="621643"/>
                    <a:pt x="2118604" y="619136"/>
                  </a:cubicBezTo>
                  <a:cubicBezTo>
                    <a:pt x="2103343" y="615092"/>
                    <a:pt x="2070505" y="627091"/>
                    <a:pt x="2058612" y="636817"/>
                  </a:cubicBezTo>
                  <a:cubicBezTo>
                    <a:pt x="2044568" y="648282"/>
                    <a:pt x="2041808" y="665562"/>
                    <a:pt x="2067826" y="663556"/>
                  </a:cubicBezTo>
                  <a:cubicBezTo>
                    <a:pt x="2088365" y="662119"/>
                    <a:pt x="2106630" y="648850"/>
                    <a:pt x="2124205" y="641530"/>
                  </a:cubicBezTo>
                  <a:close/>
                  <a:moveTo>
                    <a:pt x="1848195" y="521372"/>
                  </a:moveTo>
                  <a:cubicBezTo>
                    <a:pt x="1844907" y="530397"/>
                    <a:pt x="1862808" y="527355"/>
                    <a:pt x="1871981" y="529528"/>
                  </a:cubicBezTo>
                  <a:cubicBezTo>
                    <a:pt x="1887121" y="533104"/>
                    <a:pt x="1886187" y="544067"/>
                    <a:pt x="1913423" y="534708"/>
                  </a:cubicBezTo>
                  <a:cubicBezTo>
                    <a:pt x="1930998" y="528692"/>
                    <a:pt x="1942566" y="518331"/>
                    <a:pt x="1961035" y="512047"/>
                  </a:cubicBezTo>
                  <a:cubicBezTo>
                    <a:pt x="1975850" y="506967"/>
                    <a:pt x="1994968" y="502822"/>
                    <a:pt x="2008200" y="495770"/>
                  </a:cubicBezTo>
                  <a:cubicBezTo>
                    <a:pt x="2032554" y="482835"/>
                    <a:pt x="1951050" y="490957"/>
                    <a:pt x="1943581" y="492428"/>
                  </a:cubicBezTo>
                  <a:cubicBezTo>
                    <a:pt x="1926655" y="495536"/>
                    <a:pt x="1912205" y="502455"/>
                    <a:pt x="1895604" y="505797"/>
                  </a:cubicBezTo>
                  <a:cubicBezTo>
                    <a:pt x="1883427" y="508270"/>
                    <a:pt x="1851808" y="511278"/>
                    <a:pt x="1848195" y="521305"/>
                  </a:cubicBezTo>
                  <a:cubicBezTo>
                    <a:pt x="1843812" y="533639"/>
                    <a:pt x="1852619" y="509273"/>
                    <a:pt x="1848236" y="521439"/>
                  </a:cubicBezTo>
                  <a:close/>
                  <a:moveTo>
                    <a:pt x="2668920" y="954308"/>
                  </a:moveTo>
                  <a:cubicBezTo>
                    <a:pt x="2674116" y="959121"/>
                    <a:pt x="2761992" y="954308"/>
                    <a:pt x="2761668" y="945885"/>
                  </a:cubicBezTo>
                  <a:cubicBezTo>
                    <a:pt x="2761343" y="937462"/>
                    <a:pt x="2664536" y="949963"/>
                    <a:pt x="2668961" y="954375"/>
                  </a:cubicBezTo>
                  <a:close/>
                  <a:moveTo>
                    <a:pt x="3040560" y="906880"/>
                  </a:moveTo>
                  <a:cubicBezTo>
                    <a:pt x="3036907" y="913331"/>
                    <a:pt x="3030291" y="905677"/>
                    <a:pt x="3032117" y="902334"/>
                  </a:cubicBezTo>
                  <a:cubicBezTo>
                    <a:pt x="3034390" y="898223"/>
                    <a:pt x="3045715" y="888965"/>
                    <a:pt x="3027652" y="895014"/>
                  </a:cubicBezTo>
                  <a:cubicBezTo>
                    <a:pt x="3001026" y="904039"/>
                    <a:pt x="3017464" y="887260"/>
                    <a:pt x="3019007" y="879974"/>
                  </a:cubicBezTo>
                  <a:cubicBezTo>
                    <a:pt x="3019616" y="876966"/>
                    <a:pt x="3004963" y="878771"/>
                    <a:pt x="3002162" y="879172"/>
                  </a:cubicBezTo>
                  <a:cubicBezTo>
                    <a:pt x="2992015" y="880676"/>
                    <a:pt x="2994247" y="881846"/>
                    <a:pt x="2990432" y="885856"/>
                  </a:cubicBezTo>
                  <a:cubicBezTo>
                    <a:pt x="2981461" y="895115"/>
                    <a:pt x="2953048" y="886157"/>
                    <a:pt x="2945336" y="884486"/>
                  </a:cubicBezTo>
                  <a:cubicBezTo>
                    <a:pt x="2939613" y="883216"/>
                    <a:pt x="2949395" y="878537"/>
                    <a:pt x="2939045" y="879707"/>
                  </a:cubicBezTo>
                  <a:cubicBezTo>
                    <a:pt x="2932713" y="880375"/>
                    <a:pt x="2920374" y="883450"/>
                    <a:pt x="2919887" y="888029"/>
                  </a:cubicBezTo>
                  <a:cubicBezTo>
                    <a:pt x="2919278" y="893778"/>
                    <a:pt x="2913555" y="886024"/>
                    <a:pt x="2913717" y="884185"/>
                  </a:cubicBezTo>
                  <a:cubicBezTo>
                    <a:pt x="2914447" y="876832"/>
                    <a:pt x="2923864" y="866471"/>
                    <a:pt x="2927639" y="858683"/>
                  </a:cubicBezTo>
                  <a:cubicBezTo>
                    <a:pt x="2929303" y="855341"/>
                    <a:pt x="2946879" y="844979"/>
                    <a:pt x="2932551" y="845982"/>
                  </a:cubicBezTo>
                  <a:cubicBezTo>
                    <a:pt x="2923568" y="846804"/>
                    <a:pt x="2915292" y="850384"/>
                    <a:pt x="2909374" y="856009"/>
                  </a:cubicBezTo>
                  <a:cubicBezTo>
                    <a:pt x="2896803" y="866782"/>
                    <a:pt x="2886940" y="879493"/>
                    <a:pt x="2880352" y="893410"/>
                  </a:cubicBezTo>
                  <a:cubicBezTo>
                    <a:pt x="2874832" y="906345"/>
                    <a:pt x="2889607" y="910791"/>
                    <a:pt x="2864360" y="920517"/>
                  </a:cubicBezTo>
                  <a:cubicBezTo>
                    <a:pt x="2857987" y="922990"/>
                    <a:pt x="2844958" y="931480"/>
                    <a:pt x="2856729" y="932716"/>
                  </a:cubicBezTo>
                  <a:cubicBezTo>
                    <a:pt x="2863751" y="933485"/>
                    <a:pt x="2854740" y="941707"/>
                    <a:pt x="2852670" y="944080"/>
                  </a:cubicBezTo>
                  <a:cubicBezTo>
                    <a:pt x="2838748" y="961093"/>
                    <a:pt x="2869352" y="952470"/>
                    <a:pt x="2885791" y="946921"/>
                  </a:cubicBezTo>
                  <a:cubicBezTo>
                    <a:pt x="2899105" y="942409"/>
                    <a:pt x="2913149" y="940905"/>
                    <a:pt x="2926381" y="936894"/>
                  </a:cubicBezTo>
                  <a:cubicBezTo>
                    <a:pt x="2935879" y="933920"/>
                    <a:pt x="2948949" y="922422"/>
                    <a:pt x="2958609" y="923892"/>
                  </a:cubicBezTo>
                  <a:cubicBezTo>
                    <a:pt x="2977240" y="926733"/>
                    <a:pt x="2984221" y="919180"/>
                    <a:pt x="2974561" y="932750"/>
                  </a:cubicBezTo>
                  <a:cubicBezTo>
                    <a:pt x="2970786" y="938031"/>
                    <a:pt x="2974886" y="940738"/>
                    <a:pt x="2982922" y="935491"/>
                  </a:cubicBezTo>
                  <a:cubicBezTo>
                    <a:pt x="2990959" y="930243"/>
                    <a:pt x="3003217" y="919113"/>
                    <a:pt x="3016612" y="921185"/>
                  </a:cubicBezTo>
                  <a:cubicBezTo>
                    <a:pt x="3023959" y="922322"/>
                    <a:pt x="3015435" y="927870"/>
                    <a:pt x="3024162" y="928438"/>
                  </a:cubicBezTo>
                  <a:cubicBezTo>
                    <a:pt x="3032657" y="928786"/>
                    <a:pt x="3041136" y="927539"/>
                    <a:pt x="3048962" y="924795"/>
                  </a:cubicBezTo>
                  <a:cubicBezTo>
                    <a:pt x="3078511" y="914768"/>
                    <a:pt x="3043239" y="901967"/>
                    <a:pt x="3040357" y="906980"/>
                  </a:cubicBezTo>
                  <a:cubicBezTo>
                    <a:pt x="3036826" y="913464"/>
                    <a:pt x="3044375" y="900329"/>
                    <a:pt x="3040601" y="906947"/>
                  </a:cubicBezTo>
                  <a:close/>
                  <a:moveTo>
                    <a:pt x="543965" y="1751661"/>
                  </a:moveTo>
                  <a:cubicBezTo>
                    <a:pt x="526227" y="1771448"/>
                    <a:pt x="592673" y="1765298"/>
                    <a:pt x="607366" y="1760117"/>
                  </a:cubicBezTo>
                  <a:cubicBezTo>
                    <a:pt x="626565" y="1753232"/>
                    <a:pt x="595758" y="1748720"/>
                    <a:pt x="592186" y="1747884"/>
                  </a:cubicBezTo>
                  <a:cubicBezTo>
                    <a:pt x="576843" y="1744107"/>
                    <a:pt x="566979" y="1726192"/>
                    <a:pt x="543965" y="1751661"/>
                  </a:cubicBezTo>
                  <a:cubicBezTo>
                    <a:pt x="526593" y="1771013"/>
                    <a:pt x="561378" y="1732342"/>
                    <a:pt x="543965" y="1751661"/>
                  </a:cubicBezTo>
                  <a:close/>
                  <a:moveTo>
                    <a:pt x="2829493" y="994015"/>
                  </a:moveTo>
                  <a:cubicBezTo>
                    <a:pt x="2815409" y="998895"/>
                    <a:pt x="2833836" y="975231"/>
                    <a:pt x="2816626" y="984456"/>
                  </a:cubicBezTo>
                  <a:cubicBezTo>
                    <a:pt x="2806276" y="989971"/>
                    <a:pt x="2800918" y="999898"/>
                    <a:pt x="2794180" y="1006649"/>
                  </a:cubicBezTo>
                  <a:cubicBezTo>
                    <a:pt x="2791663" y="1009223"/>
                    <a:pt x="2797387" y="1012866"/>
                    <a:pt x="2792962" y="1014838"/>
                  </a:cubicBezTo>
                  <a:cubicBezTo>
                    <a:pt x="2788538" y="1016810"/>
                    <a:pt x="2783870" y="1018749"/>
                    <a:pt x="2779811" y="1020420"/>
                  </a:cubicBezTo>
                  <a:cubicBezTo>
                    <a:pt x="2765593" y="1025804"/>
                    <a:pt x="2750323" y="1029053"/>
                    <a:pt x="2734716" y="1030012"/>
                  </a:cubicBezTo>
                  <a:cubicBezTo>
                    <a:pt x="2724163" y="1030614"/>
                    <a:pt x="2714786" y="1026904"/>
                    <a:pt x="2703218" y="1026971"/>
                  </a:cubicBezTo>
                  <a:cubicBezTo>
                    <a:pt x="2691042" y="1026971"/>
                    <a:pt x="2677403" y="1021957"/>
                    <a:pt x="2672857" y="1015908"/>
                  </a:cubicBezTo>
                  <a:cubicBezTo>
                    <a:pt x="2669570" y="1011496"/>
                    <a:pt x="2681543" y="1005179"/>
                    <a:pt x="2677200" y="1001201"/>
                  </a:cubicBezTo>
                  <a:cubicBezTo>
                    <a:pt x="2672857" y="997224"/>
                    <a:pt x="2661857" y="1004276"/>
                    <a:pt x="2659057" y="1006950"/>
                  </a:cubicBezTo>
                  <a:cubicBezTo>
                    <a:pt x="2656256" y="1009624"/>
                    <a:pt x="2648625" y="1013635"/>
                    <a:pt x="2646677" y="1009624"/>
                  </a:cubicBezTo>
                  <a:cubicBezTo>
                    <a:pt x="2644241" y="1004845"/>
                    <a:pt x="2656418" y="999898"/>
                    <a:pt x="2662588" y="996756"/>
                  </a:cubicBezTo>
                  <a:cubicBezTo>
                    <a:pt x="2691407" y="982183"/>
                    <a:pt x="2684222" y="963934"/>
                    <a:pt x="2647895" y="973861"/>
                  </a:cubicBezTo>
                  <a:cubicBezTo>
                    <a:pt x="2614165" y="983119"/>
                    <a:pt x="2581246" y="1000332"/>
                    <a:pt x="2554538" y="1016242"/>
                  </a:cubicBezTo>
                  <a:cubicBezTo>
                    <a:pt x="2527830" y="1032152"/>
                    <a:pt x="2519834" y="1052440"/>
                    <a:pt x="2496454" y="1069152"/>
                  </a:cubicBezTo>
                  <a:cubicBezTo>
                    <a:pt x="2484277" y="1077942"/>
                    <a:pt x="2490893" y="1067246"/>
                    <a:pt x="2495034" y="1063336"/>
                  </a:cubicBezTo>
                  <a:cubicBezTo>
                    <a:pt x="2499174" y="1059425"/>
                    <a:pt x="2503923" y="1055314"/>
                    <a:pt x="2507982" y="1051236"/>
                  </a:cubicBezTo>
                  <a:cubicBezTo>
                    <a:pt x="2512650" y="1046524"/>
                    <a:pt x="2507982" y="1041544"/>
                    <a:pt x="2511066" y="1038368"/>
                  </a:cubicBezTo>
                  <a:cubicBezTo>
                    <a:pt x="2513993" y="1037476"/>
                    <a:pt x="2516855" y="1036436"/>
                    <a:pt x="2519631" y="1035260"/>
                  </a:cubicBezTo>
                  <a:cubicBezTo>
                    <a:pt x="2523049" y="1032496"/>
                    <a:pt x="2526097" y="1029438"/>
                    <a:pt x="2528723" y="1026135"/>
                  </a:cubicBezTo>
                  <a:cubicBezTo>
                    <a:pt x="2535096" y="1018715"/>
                    <a:pt x="2540413" y="1010727"/>
                    <a:pt x="2549018" y="1003708"/>
                  </a:cubicBezTo>
                  <a:cubicBezTo>
                    <a:pt x="2554173" y="999430"/>
                    <a:pt x="2579420" y="993213"/>
                    <a:pt x="2579501" y="989236"/>
                  </a:cubicBezTo>
                  <a:cubicBezTo>
                    <a:pt x="2579501" y="983052"/>
                    <a:pt x="2589486" y="972825"/>
                    <a:pt x="2597442" y="967577"/>
                  </a:cubicBezTo>
                  <a:cubicBezTo>
                    <a:pt x="2607751" y="960892"/>
                    <a:pt x="2626463" y="955879"/>
                    <a:pt x="2639371" y="951768"/>
                  </a:cubicBezTo>
                  <a:cubicBezTo>
                    <a:pt x="2664861" y="943646"/>
                    <a:pt x="2690757" y="936226"/>
                    <a:pt x="2716735" y="929040"/>
                  </a:cubicBezTo>
                  <a:cubicBezTo>
                    <a:pt x="2759029" y="917375"/>
                    <a:pt x="2801973" y="911058"/>
                    <a:pt x="2831441" y="887160"/>
                  </a:cubicBezTo>
                  <a:cubicBezTo>
                    <a:pt x="2839235" y="880843"/>
                    <a:pt x="2842807" y="872253"/>
                    <a:pt x="2853888" y="867106"/>
                  </a:cubicBezTo>
                  <a:cubicBezTo>
                    <a:pt x="2867607" y="860923"/>
                    <a:pt x="2884858" y="860421"/>
                    <a:pt x="2898009" y="853970"/>
                  </a:cubicBezTo>
                  <a:cubicBezTo>
                    <a:pt x="2909414" y="848221"/>
                    <a:pt x="2913839" y="840601"/>
                    <a:pt x="2923215" y="834184"/>
                  </a:cubicBezTo>
                  <a:cubicBezTo>
                    <a:pt x="2943510" y="820413"/>
                    <a:pt x="2900079" y="832947"/>
                    <a:pt x="2902920" y="827298"/>
                  </a:cubicBezTo>
                  <a:cubicBezTo>
                    <a:pt x="2904665" y="823956"/>
                    <a:pt x="2918425" y="821015"/>
                    <a:pt x="2921104" y="815199"/>
                  </a:cubicBezTo>
                  <a:cubicBezTo>
                    <a:pt x="2923783" y="809383"/>
                    <a:pt x="2923905" y="806776"/>
                    <a:pt x="2914366" y="805606"/>
                  </a:cubicBezTo>
                  <a:cubicBezTo>
                    <a:pt x="2906249" y="804604"/>
                    <a:pt x="2894924" y="797819"/>
                    <a:pt x="2884898" y="803467"/>
                  </a:cubicBezTo>
                  <a:cubicBezTo>
                    <a:pt x="2880027" y="806241"/>
                    <a:pt x="2871666" y="814798"/>
                    <a:pt x="2863589" y="813494"/>
                  </a:cubicBezTo>
                  <a:cubicBezTo>
                    <a:pt x="2852751" y="811656"/>
                    <a:pt x="2876861" y="791903"/>
                    <a:pt x="2840777" y="804136"/>
                  </a:cubicBezTo>
                  <a:cubicBezTo>
                    <a:pt x="2817885" y="811957"/>
                    <a:pt x="2798807" y="827365"/>
                    <a:pt x="2779893" y="837559"/>
                  </a:cubicBezTo>
                  <a:cubicBezTo>
                    <a:pt x="2771775" y="842005"/>
                    <a:pt x="2770963" y="834518"/>
                    <a:pt x="2772343" y="831944"/>
                  </a:cubicBezTo>
                  <a:cubicBezTo>
                    <a:pt x="2774169" y="828602"/>
                    <a:pt x="2789025" y="821549"/>
                    <a:pt x="2794018" y="818575"/>
                  </a:cubicBezTo>
                  <a:cubicBezTo>
                    <a:pt x="2801040" y="814230"/>
                    <a:pt x="2811106" y="812993"/>
                    <a:pt x="2818372" y="808013"/>
                  </a:cubicBezTo>
                  <a:cubicBezTo>
                    <a:pt x="2825637" y="803033"/>
                    <a:pt x="2847637" y="797986"/>
                    <a:pt x="2851574" y="792170"/>
                  </a:cubicBezTo>
                  <a:cubicBezTo>
                    <a:pt x="2857297" y="783781"/>
                    <a:pt x="2831482" y="788059"/>
                    <a:pt x="2825150" y="790499"/>
                  </a:cubicBezTo>
                  <a:cubicBezTo>
                    <a:pt x="2815571" y="794142"/>
                    <a:pt x="2806235" y="791602"/>
                    <a:pt x="2798117" y="790700"/>
                  </a:cubicBezTo>
                  <a:cubicBezTo>
                    <a:pt x="2789999" y="789797"/>
                    <a:pt x="2784236" y="795412"/>
                    <a:pt x="2779081" y="794677"/>
                  </a:cubicBezTo>
                  <a:cubicBezTo>
                    <a:pt x="2766904" y="793006"/>
                    <a:pt x="2765930" y="799457"/>
                    <a:pt x="2754727" y="799490"/>
                  </a:cubicBezTo>
                  <a:cubicBezTo>
                    <a:pt x="2744336" y="799490"/>
                    <a:pt x="2740561" y="792805"/>
                    <a:pt x="2732484" y="790766"/>
                  </a:cubicBezTo>
                  <a:cubicBezTo>
                    <a:pt x="2721313" y="788193"/>
                    <a:pt x="2709782" y="786836"/>
                    <a:pt x="2698185" y="786722"/>
                  </a:cubicBezTo>
                  <a:cubicBezTo>
                    <a:pt x="2691772" y="786722"/>
                    <a:pt x="2669773" y="789530"/>
                    <a:pt x="2666485" y="786722"/>
                  </a:cubicBezTo>
                  <a:cubicBezTo>
                    <a:pt x="2662426" y="783380"/>
                    <a:pt x="2688403" y="780739"/>
                    <a:pt x="2691447" y="778868"/>
                  </a:cubicBezTo>
                  <a:cubicBezTo>
                    <a:pt x="2720834" y="760953"/>
                    <a:pt x="2678702" y="768306"/>
                    <a:pt x="2678783" y="756741"/>
                  </a:cubicBezTo>
                  <a:cubicBezTo>
                    <a:pt x="2678783" y="752597"/>
                    <a:pt x="2660680" y="753132"/>
                    <a:pt x="2655769" y="751828"/>
                  </a:cubicBezTo>
                  <a:cubicBezTo>
                    <a:pt x="2648536" y="749508"/>
                    <a:pt x="2641713" y="746407"/>
                    <a:pt x="2635474" y="742603"/>
                  </a:cubicBezTo>
                  <a:cubicBezTo>
                    <a:pt x="2622830" y="736567"/>
                    <a:pt x="2609627" y="731373"/>
                    <a:pt x="2595980" y="727061"/>
                  </a:cubicBezTo>
                  <a:cubicBezTo>
                    <a:pt x="2588715" y="724454"/>
                    <a:pt x="2560708" y="703664"/>
                    <a:pt x="2556324" y="717903"/>
                  </a:cubicBezTo>
                  <a:cubicBezTo>
                    <a:pt x="2554092" y="725256"/>
                    <a:pt x="2553564" y="729000"/>
                    <a:pt x="2544878" y="735918"/>
                  </a:cubicBezTo>
                  <a:cubicBezTo>
                    <a:pt x="2539682" y="740096"/>
                    <a:pt x="2555269" y="739662"/>
                    <a:pt x="2548206" y="745945"/>
                  </a:cubicBezTo>
                  <a:cubicBezTo>
                    <a:pt x="2543214" y="750324"/>
                    <a:pt x="2548206" y="758346"/>
                    <a:pt x="2541671" y="760217"/>
                  </a:cubicBezTo>
                  <a:cubicBezTo>
                    <a:pt x="2536638" y="761621"/>
                    <a:pt x="2534284" y="770244"/>
                    <a:pt x="2535096" y="770244"/>
                  </a:cubicBezTo>
                  <a:cubicBezTo>
                    <a:pt x="2529819" y="770244"/>
                    <a:pt x="2510011" y="767403"/>
                    <a:pt x="2513827" y="776495"/>
                  </a:cubicBezTo>
                  <a:cubicBezTo>
                    <a:pt x="2516140" y="781943"/>
                    <a:pt x="2498078" y="790532"/>
                    <a:pt x="2490122" y="793574"/>
                  </a:cubicBezTo>
                  <a:cubicBezTo>
                    <a:pt x="2477012" y="798554"/>
                    <a:pt x="2477945" y="789931"/>
                    <a:pt x="2468326" y="791502"/>
                  </a:cubicBezTo>
                  <a:cubicBezTo>
                    <a:pt x="2464672" y="792070"/>
                    <a:pt x="2463780" y="795212"/>
                    <a:pt x="2459964" y="794042"/>
                  </a:cubicBezTo>
                  <a:cubicBezTo>
                    <a:pt x="2456149" y="792872"/>
                    <a:pt x="2453713" y="789630"/>
                    <a:pt x="2447787" y="789764"/>
                  </a:cubicBezTo>
                  <a:cubicBezTo>
                    <a:pt x="2439953" y="789764"/>
                    <a:pt x="2421566" y="799323"/>
                    <a:pt x="2423433" y="789998"/>
                  </a:cubicBezTo>
                  <a:cubicBezTo>
                    <a:pt x="2424651" y="783647"/>
                    <a:pt x="2406548" y="788627"/>
                    <a:pt x="2404640" y="784616"/>
                  </a:cubicBezTo>
                  <a:cubicBezTo>
                    <a:pt x="2403666" y="782611"/>
                    <a:pt x="2408496" y="780338"/>
                    <a:pt x="2406751" y="777932"/>
                  </a:cubicBezTo>
                  <a:cubicBezTo>
                    <a:pt x="2403853" y="775000"/>
                    <a:pt x="2400675" y="772263"/>
                    <a:pt x="2397253" y="769743"/>
                  </a:cubicBezTo>
                  <a:cubicBezTo>
                    <a:pt x="2393446" y="766855"/>
                    <a:pt x="2391883" y="762470"/>
                    <a:pt x="2393194" y="758346"/>
                  </a:cubicBezTo>
                  <a:cubicBezTo>
                    <a:pt x="2394412" y="755538"/>
                    <a:pt x="2400054" y="751661"/>
                    <a:pt x="2398917" y="749054"/>
                  </a:cubicBezTo>
                  <a:cubicBezTo>
                    <a:pt x="2396400" y="743305"/>
                    <a:pt x="2379231" y="756741"/>
                    <a:pt x="2370504" y="754936"/>
                  </a:cubicBezTo>
                  <a:cubicBezTo>
                    <a:pt x="2362670" y="753332"/>
                    <a:pt x="2347896" y="759682"/>
                    <a:pt x="2338844" y="761387"/>
                  </a:cubicBezTo>
                  <a:cubicBezTo>
                    <a:pt x="2322121" y="764462"/>
                    <a:pt x="2324800" y="757644"/>
                    <a:pt x="2312988" y="757711"/>
                  </a:cubicBezTo>
                  <a:cubicBezTo>
                    <a:pt x="2307509" y="757711"/>
                    <a:pt x="2303734" y="758245"/>
                    <a:pt x="2300284" y="755972"/>
                  </a:cubicBezTo>
                  <a:cubicBezTo>
                    <a:pt x="2294926" y="752430"/>
                    <a:pt x="2290299" y="756908"/>
                    <a:pt x="2283764" y="756507"/>
                  </a:cubicBezTo>
                  <a:cubicBezTo>
                    <a:pt x="2279705" y="756240"/>
                    <a:pt x="2280760" y="752196"/>
                    <a:pt x="2276052" y="751728"/>
                  </a:cubicBezTo>
                  <a:cubicBezTo>
                    <a:pt x="2270572" y="751159"/>
                    <a:pt x="2264687" y="753900"/>
                    <a:pt x="2259004" y="753967"/>
                  </a:cubicBezTo>
                  <a:cubicBezTo>
                    <a:pt x="2242322" y="754268"/>
                    <a:pt x="2233879" y="754936"/>
                    <a:pt x="2218942" y="764195"/>
                  </a:cubicBezTo>
                  <a:cubicBezTo>
                    <a:pt x="2202706" y="774222"/>
                    <a:pt x="2177946" y="778500"/>
                    <a:pt x="2158869" y="780405"/>
                  </a:cubicBezTo>
                  <a:cubicBezTo>
                    <a:pt x="2133866" y="782912"/>
                    <a:pt x="2108051" y="790232"/>
                    <a:pt x="2098756" y="805606"/>
                  </a:cubicBezTo>
                  <a:cubicBezTo>
                    <a:pt x="2093560" y="814297"/>
                    <a:pt x="2106427" y="815199"/>
                    <a:pt x="2117224" y="814698"/>
                  </a:cubicBezTo>
                  <a:cubicBezTo>
                    <a:pt x="2131146" y="814029"/>
                    <a:pt x="2124693" y="823455"/>
                    <a:pt x="2120715" y="829471"/>
                  </a:cubicBezTo>
                  <a:cubicBezTo>
                    <a:pt x="2115316" y="837593"/>
                    <a:pt x="2113936" y="836390"/>
                    <a:pt x="2124368" y="839799"/>
                  </a:cubicBezTo>
                  <a:cubicBezTo>
                    <a:pt x="2132486" y="842506"/>
                    <a:pt x="2145028" y="847486"/>
                    <a:pt x="2149087" y="852500"/>
                  </a:cubicBezTo>
                  <a:cubicBezTo>
                    <a:pt x="2156596" y="861791"/>
                    <a:pt x="2138655" y="859920"/>
                    <a:pt x="2137641" y="866838"/>
                  </a:cubicBezTo>
                  <a:cubicBezTo>
                    <a:pt x="2136951" y="871417"/>
                    <a:pt x="2140563" y="872922"/>
                    <a:pt x="2136098" y="878403"/>
                  </a:cubicBezTo>
                  <a:cubicBezTo>
                    <a:pt x="2132039" y="883250"/>
                    <a:pt x="2124652" y="891772"/>
                    <a:pt x="2128873" y="895616"/>
                  </a:cubicBezTo>
                  <a:cubicBezTo>
                    <a:pt x="2133095" y="899460"/>
                    <a:pt x="2154688" y="896619"/>
                    <a:pt x="2162928" y="896686"/>
                  </a:cubicBezTo>
                  <a:cubicBezTo>
                    <a:pt x="2178393" y="896686"/>
                    <a:pt x="2191341" y="898758"/>
                    <a:pt x="2199459" y="905142"/>
                  </a:cubicBezTo>
                  <a:cubicBezTo>
                    <a:pt x="2217440" y="919079"/>
                    <a:pt x="2219754" y="936192"/>
                    <a:pt x="2194953" y="955845"/>
                  </a:cubicBezTo>
                  <a:cubicBezTo>
                    <a:pt x="2183507" y="965003"/>
                    <a:pt x="2176363" y="975900"/>
                    <a:pt x="2161345" y="983721"/>
                  </a:cubicBezTo>
                  <a:cubicBezTo>
                    <a:pt x="2155906" y="986562"/>
                    <a:pt x="2135124" y="992010"/>
                    <a:pt x="2136991" y="996422"/>
                  </a:cubicBezTo>
                  <a:cubicBezTo>
                    <a:pt x="2140563" y="1004410"/>
                    <a:pt x="2160777" y="1002204"/>
                    <a:pt x="2165404" y="1009190"/>
                  </a:cubicBezTo>
                  <a:cubicBezTo>
                    <a:pt x="2170031" y="1016175"/>
                    <a:pt x="2176404" y="1025534"/>
                    <a:pt x="2184887" y="1031249"/>
                  </a:cubicBezTo>
                  <a:cubicBezTo>
                    <a:pt x="2191625" y="1035795"/>
                    <a:pt x="2202990" y="1035694"/>
                    <a:pt x="2194548" y="1044953"/>
                  </a:cubicBezTo>
                  <a:cubicBezTo>
                    <a:pt x="2186430" y="1053643"/>
                    <a:pt x="2187039" y="1051337"/>
                    <a:pt x="2195968" y="1053676"/>
                  </a:cubicBezTo>
                  <a:cubicBezTo>
                    <a:pt x="2210946" y="1057620"/>
                    <a:pt x="2191463" y="1059793"/>
                    <a:pt x="2184887" y="1059693"/>
                  </a:cubicBezTo>
                  <a:cubicBezTo>
                    <a:pt x="2173522" y="1059693"/>
                    <a:pt x="2170884" y="1071926"/>
                    <a:pt x="2172710" y="1075335"/>
                  </a:cubicBezTo>
                  <a:cubicBezTo>
                    <a:pt x="2174131" y="1078176"/>
                    <a:pt x="2157205" y="1078176"/>
                    <a:pt x="2155703" y="1078209"/>
                  </a:cubicBezTo>
                  <a:cubicBezTo>
                    <a:pt x="2144622" y="1078610"/>
                    <a:pt x="2143932" y="1080281"/>
                    <a:pt x="2138493" y="1075669"/>
                  </a:cubicBezTo>
                  <a:cubicBezTo>
                    <a:pt x="2132039" y="1070188"/>
                    <a:pt x="2117346" y="1073196"/>
                    <a:pt x="2106508" y="1072327"/>
                  </a:cubicBezTo>
                  <a:cubicBezTo>
                    <a:pt x="2097498" y="1071524"/>
                    <a:pt x="2093885" y="1066812"/>
                    <a:pt x="2083129" y="1066143"/>
                  </a:cubicBezTo>
                  <a:cubicBezTo>
                    <a:pt x="2060683" y="1064840"/>
                    <a:pt x="2072860" y="1045187"/>
                    <a:pt x="2056948" y="1039404"/>
                  </a:cubicBezTo>
                  <a:cubicBezTo>
                    <a:pt x="2045867" y="1035527"/>
                    <a:pt x="2060398" y="1024364"/>
                    <a:pt x="2050576" y="1020821"/>
                  </a:cubicBezTo>
                  <a:cubicBezTo>
                    <a:pt x="2039657" y="1016910"/>
                    <a:pt x="2017170" y="1026336"/>
                    <a:pt x="2004141" y="1030313"/>
                  </a:cubicBezTo>
                  <a:cubicBezTo>
                    <a:pt x="1989285" y="1034825"/>
                    <a:pt x="1974632" y="1042279"/>
                    <a:pt x="1959492" y="1045254"/>
                  </a:cubicBezTo>
                  <a:cubicBezTo>
                    <a:pt x="1948777" y="1047359"/>
                    <a:pt x="1938020" y="1045955"/>
                    <a:pt x="1927426" y="1047092"/>
                  </a:cubicBezTo>
                  <a:cubicBezTo>
                    <a:pt x="1912895" y="1048629"/>
                    <a:pt x="1897958" y="1052974"/>
                    <a:pt x="1883589" y="1054378"/>
                  </a:cubicBezTo>
                  <a:cubicBezTo>
                    <a:pt x="1872184" y="1055515"/>
                    <a:pt x="1867354" y="1052039"/>
                    <a:pt x="1857977" y="1051972"/>
                  </a:cubicBezTo>
                  <a:cubicBezTo>
                    <a:pt x="1840361" y="1051771"/>
                    <a:pt x="1809919" y="1054612"/>
                    <a:pt x="1791897" y="1063403"/>
                  </a:cubicBezTo>
                  <a:cubicBezTo>
                    <a:pt x="1784307" y="1067113"/>
                    <a:pt x="1771034" y="1066745"/>
                    <a:pt x="1763484" y="1067480"/>
                  </a:cubicBezTo>
                  <a:cubicBezTo>
                    <a:pt x="1749846" y="1068984"/>
                    <a:pt x="1741566" y="1072661"/>
                    <a:pt x="1730160" y="1079479"/>
                  </a:cubicBezTo>
                  <a:cubicBezTo>
                    <a:pt x="1721758" y="1084526"/>
                    <a:pt x="1713924" y="1089874"/>
                    <a:pt x="1705522" y="1094921"/>
                  </a:cubicBezTo>
                  <a:cubicBezTo>
                    <a:pt x="1696105" y="1100570"/>
                    <a:pt x="1703899" y="1086799"/>
                    <a:pt x="1702681" y="1085395"/>
                  </a:cubicBezTo>
                  <a:cubicBezTo>
                    <a:pt x="1697607" y="1079513"/>
                    <a:pt x="1668261" y="1062901"/>
                    <a:pt x="1653973" y="1066478"/>
                  </a:cubicBezTo>
                  <a:cubicBezTo>
                    <a:pt x="1626250" y="1073162"/>
                    <a:pt x="1611395" y="1085262"/>
                    <a:pt x="1600719" y="1069820"/>
                  </a:cubicBezTo>
                  <a:cubicBezTo>
                    <a:pt x="1591993" y="1057219"/>
                    <a:pt x="1591018" y="1045788"/>
                    <a:pt x="1596214" y="1029411"/>
                  </a:cubicBezTo>
                  <a:cubicBezTo>
                    <a:pt x="1598081" y="1023595"/>
                    <a:pt x="1596214" y="1018414"/>
                    <a:pt x="1597837" y="1012900"/>
                  </a:cubicBezTo>
                  <a:cubicBezTo>
                    <a:pt x="1600232" y="1005212"/>
                    <a:pt x="1619837" y="999530"/>
                    <a:pt x="1618822" y="992578"/>
                  </a:cubicBezTo>
                  <a:cubicBezTo>
                    <a:pt x="1617727" y="985125"/>
                    <a:pt x="1616265" y="985626"/>
                    <a:pt x="1626940" y="978172"/>
                  </a:cubicBezTo>
                  <a:cubicBezTo>
                    <a:pt x="1630037" y="975996"/>
                    <a:pt x="1631413" y="972584"/>
                    <a:pt x="1630512" y="969315"/>
                  </a:cubicBezTo>
                  <a:cubicBezTo>
                    <a:pt x="1630512" y="965739"/>
                    <a:pt x="1638102" y="964569"/>
                    <a:pt x="1638630" y="962263"/>
                  </a:cubicBezTo>
                  <a:cubicBezTo>
                    <a:pt x="1639158" y="959956"/>
                    <a:pt x="1629457" y="962463"/>
                    <a:pt x="1631405" y="959422"/>
                  </a:cubicBezTo>
                  <a:cubicBezTo>
                    <a:pt x="1633353" y="956380"/>
                    <a:pt x="1644353" y="952737"/>
                    <a:pt x="1647885" y="951200"/>
                  </a:cubicBezTo>
                  <a:cubicBezTo>
                    <a:pt x="1658966" y="946854"/>
                    <a:pt x="1675080" y="939568"/>
                    <a:pt x="1679423" y="932014"/>
                  </a:cubicBezTo>
                  <a:cubicBezTo>
                    <a:pt x="1690220" y="913264"/>
                    <a:pt x="1637453" y="938699"/>
                    <a:pt x="1629254" y="936760"/>
                  </a:cubicBezTo>
                  <a:cubicBezTo>
                    <a:pt x="1614560" y="933418"/>
                    <a:pt x="1599299" y="939902"/>
                    <a:pt x="1579937" y="944615"/>
                  </a:cubicBezTo>
                  <a:cubicBezTo>
                    <a:pt x="1575878" y="945618"/>
                    <a:pt x="1566096" y="946687"/>
                    <a:pt x="1574742" y="942409"/>
                  </a:cubicBezTo>
                  <a:cubicBezTo>
                    <a:pt x="1586919" y="936393"/>
                    <a:pt x="1603155" y="932817"/>
                    <a:pt x="1616184" y="929541"/>
                  </a:cubicBezTo>
                  <a:cubicBezTo>
                    <a:pt x="1635667" y="924628"/>
                    <a:pt x="1676298" y="920550"/>
                    <a:pt x="1691519" y="907949"/>
                  </a:cubicBezTo>
                  <a:cubicBezTo>
                    <a:pt x="1698378" y="902268"/>
                    <a:pt x="1686486" y="898725"/>
                    <a:pt x="1687135" y="894145"/>
                  </a:cubicBezTo>
                  <a:cubicBezTo>
                    <a:pt x="1687703" y="890201"/>
                    <a:pt x="1719972" y="885556"/>
                    <a:pt x="1724640" y="884319"/>
                  </a:cubicBezTo>
                  <a:cubicBezTo>
                    <a:pt x="1755529" y="875996"/>
                    <a:pt x="1753946" y="853770"/>
                    <a:pt x="1770222" y="839866"/>
                  </a:cubicBezTo>
                  <a:cubicBezTo>
                    <a:pt x="1788691" y="824023"/>
                    <a:pt x="1710149" y="851497"/>
                    <a:pt x="1700042" y="852767"/>
                  </a:cubicBezTo>
                  <a:cubicBezTo>
                    <a:pt x="1693508" y="853469"/>
                    <a:pt x="1662700" y="856778"/>
                    <a:pt x="1666637" y="850093"/>
                  </a:cubicBezTo>
                  <a:cubicBezTo>
                    <a:pt x="1670574" y="843408"/>
                    <a:pt x="1692899" y="841503"/>
                    <a:pt x="1700083" y="840868"/>
                  </a:cubicBezTo>
                  <a:cubicBezTo>
                    <a:pt x="1731215" y="837994"/>
                    <a:pt x="1750983" y="840267"/>
                    <a:pt x="1771927" y="819043"/>
                  </a:cubicBezTo>
                  <a:cubicBezTo>
                    <a:pt x="1777041" y="813862"/>
                    <a:pt x="1791166" y="802598"/>
                    <a:pt x="1792222" y="797418"/>
                  </a:cubicBezTo>
                  <a:cubicBezTo>
                    <a:pt x="1793074" y="793273"/>
                    <a:pt x="1770872" y="798186"/>
                    <a:pt x="1766447" y="798120"/>
                  </a:cubicBezTo>
                  <a:cubicBezTo>
                    <a:pt x="1755610" y="797919"/>
                    <a:pt x="1785930" y="784750"/>
                    <a:pt x="1788975" y="783614"/>
                  </a:cubicBezTo>
                  <a:cubicBezTo>
                    <a:pt x="1806875" y="776929"/>
                    <a:pt x="1810487" y="786956"/>
                    <a:pt x="1829077" y="777765"/>
                  </a:cubicBezTo>
                  <a:cubicBezTo>
                    <a:pt x="1836221" y="774222"/>
                    <a:pt x="1858383" y="766735"/>
                    <a:pt x="1846369" y="764195"/>
                  </a:cubicBezTo>
                  <a:cubicBezTo>
                    <a:pt x="1841092" y="763058"/>
                    <a:pt x="1809838" y="767236"/>
                    <a:pt x="1815723" y="761220"/>
                  </a:cubicBezTo>
                  <a:cubicBezTo>
                    <a:pt x="1821609" y="755204"/>
                    <a:pt x="1836384" y="758880"/>
                    <a:pt x="1843487" y="758346"/>
                  </a:cubicBezTo>
                  <a:cubicBezTo>
                    <a:pt x="1861427" y="756942"/>
                    <a:pt x="1860088" y="765431"/>
                    <a:pt x="1877420" y="753399"/>
                  </a:cubicBezTo>
                  <a:cubicBezTo>
                    <a:pt x="1890084" y="744608"/>
                    <a:pt x="1899216" y="738258"/>
                    <a:pt x="1907497" y="728398"/>
                  </a:cubicBezTo>
                  <a:cubicBezTo>
                    <a:pt x="1913139" y="721713"/>
                    <a:pt x="1927102" y="719240"/>
                    <a:pt x="1924504" y="710884"/>
                  </a:cubicBezTo>
                  <a:cubicBezTo>
                    <a:pt x="1921500" y="701091"/>
                    <a:pt x="1893453" y="708879"/>
                    <a:pt x="1889921" y="700222"/>
                  </a:cubicBezTo>
                  <a:cubicBezTo>
                    <a:pt x="1888785" y="697348"/>
                    <a:pt x="1854527" y="696244"/>
                    <a:pt x="1879124" y="690195"/>
                  </a:cubicBezTo>
                  <a:cubicBezTo>
                    <a:pt x="1887973" y="688022"/>
                    <a:pt x="1914722" y="677460"/>
                    <a:pt x="1909445" y="671110"/>
                  </a:cubicBezTo>
                  <a:cubicBezTo>
                    <a:pt x="1907659" y="669004"/>
                    <a:pt x="1891423" y="672079"/>
                    <a:pt x="1893209" y="669071"/>
                  </a:cubicBezTo>
                  <a:cubicBezTo>
                    <a:pt x="1894995" y="666063"/>
                    <a:pt x="1905386" y="661217"/>
                    <a:pt x="1897715" y="660448"/>
                  </a:cubicBezTo>
                  <a:cubicBezTo>
                    <a:pt x="1890043" y="659679"/>
                    <a:pt x="1881032" y="664124"/>
                    <a:pt x="1873361" y="665963"/>
                  </a:cubicBezTo>
                  <a:cubicBezTo>
                    <a:pt x="1855785" y="670141"/>
                    <a:pt x="1854933" y="660013"/>
                    <a:pt x="1839509" y="664726"/>
                  </a:cubicBezTo>
                  <a:cubicBezTo>
                    <a:pt x="1811989" y="673149"/>
                    <a:pt x="1785240" y="678096"/>
                    <a:pt x="1758330" y="689292"/>
                  </a:cubicBezTo>
                  <a:cubicBezTo>
                    <a:pt x="1749927" y="692835"/>
                    <a:pt x="1758613" y="701559"/>
                    <a:pt x="1761820" y="702896"/>
                  </a:cubicBezTo>
                  <a:cubicBezTo>
                    <a:pt x="1764296" y="703932"/>
                    <a:pt x="1798107" y="698216"/>
                    <a:pt x="1783576" y="707007"/>
                  </a:cubicBezTo>
                  <a:cubicBezTo>
                    <a:pt x="1774281" y="712622"/>
                    <a:pt x="1791248" y="713090"/>
                    <a:pt x="1777325" y="717234"/>
                  </a:cubicBezTo>
                  <a:cubicBezTo>
                    <a:pt x="1761090" y="722081"/>
                    <a:pt x="1763728" y="728599"/>
                    <a:pt x="1765149" y="735116"/>
                  </a:cubicBezTo>
                  <a:cubicBezTo>
                    <a:pt x="1766001" y="739394"/>
                    <a:pt x="1765149" y="750290"/>
                    <a:pt x="1752972" y="753934"/>
                  </a:cubicBezTo>
                  <a:cubicBezTo>
                    <a:pt x="1744367" y="756474"/>
                    <a:pt x="1747857" y="743238"/>
                    <a:pt x="1736736" y="747817"/>
                  </a:cubicBezTo>
                  <a:cubicBezTo>
                    <a:pt x="1708120" y="759448"/>
                    <a:pt x="1760724" y="762256"/>
                    <a:pt x="1757031" y="768707"/>
                  </a:cubicBezTo>
                  <a:cubicBezTo>
                    <a:pt x="1755650" y="771180"/>
                    <a:pt x="1748222" y="773854"/>
                    <a:pt x="1745138" y="775592"/>
                  </a:cubicBezTo>
                  <a:cubicBezTo>
                    <a:pt x="1738725" y="779235"/>
                    <a:pt x="1739739" y="782277"/>
                    <a:pt x="1735315" y="785887"/>
                  </a:cubicBezTo>
                  <a:cubicBezTo>
                    <a:pt x="1734584" y="786455"/>
                    <a:pt x="1702843" y="781675"/>
                    <a:pt x="1699921" y="781241"/>
                  </a:cubicBezTo>
                  <a:cubicBezTo>
                    <a:pt x="1690545" y="779703"/>
                    <a:pt x="1676013" y="774222"/>
                    <a:pt x="1689733" y="765331"/>
                  </a:cubicBezTo>
                  <a:cubicBezTo>
                    <a:pt x="1700205" y="758646"/>
                    <a:pt x="1694806" y="753533"/>
                    <a:pt x="1685308" y="750190"/>
                  </a:cubicBezTo>
                  <a:cubicBezTo>
                    <a:pt x="1679220" y="748051"/>
                    <a:pt x="1652309" y="748753"/>
                    <a:pt x="1643866" y="750424"/>
                  </a:cubicBezTo>
                  <a:cubicBezTo>
                    <a:pt x="1622151" y="754702"/>
                    <a:pt x="1630431" y="763092"/>
                    <a:pt x="1625520" y="770478"/>
                  </a:cubicBezTo>
                  <a:cubicBezTo>
                    <a:pt x="1619188" y="780138"/>
                    <a:pt x="1615535" y="800994"/>
                    <a:pt x="1603642" y="785753"/>
                  </a:cubicBezTo>
                  <a:cubicBezTo>
                    <a:pt x="1599583" y="780305"/>
                    <a:pt x="1596173" y="779737"/>
                    <a:pt x="1588096" y="777397"/>
                  </a:cubicBezTo>
                  <a:cubicBezTo>
                    <a:pt x="1578436" y="774589"/>
                    <a:pt x="1613302" y="760184"/>
                    <a:pt x="1602262" y="759148"/>
                  </a:cubicBezTo>
                  <a:cubicBezTo>
                    <a:pt x="1595889" y="758546"/>
                    <a:pt x="1570602" y="765164"/>
                    <a:pt x="1561672" y="766601"/>
                  </a:cubicBezTo>
                  <a:cubicBezTo>
                    <a:pt x="1552742" y="768038"/>
                    <a:pt x="1541824" y="784616"/>
                    <a:pt x="1533706" y="778767"/>
                  </a:cubicBezTo>
                  <a:cubicBezTo>
                    <a:pt x="1530986" y="776729"/>
                    <a:pt x="1527739" y="764963"/>
                    <a:pt x="1535492" y="762624"/>
                  </a:cubicBezTo>
                  <a:cubicBezTo>
                    <a:pt x="1548967" y="758546"/>
                    <a:pt x="1554082" y="750859"/>
                    <a:pt x="1538252" y="753466"/>
                  </a:cubicBezTo>
                  <a:cubicBezTo>
                    <a:pt x="1525588" y="755571"/>
                    <a:pt x="1525669" y="751293"/>
                    <a:pt x="1515806" y="751694"/>
                  </a:cubicBezTo>
                  <a:cubicBezTo>
                    <a:pt x="1509433" y="751928"/>
                    <a:pt x="1488813" y="758880"/>
                    <a:pt x="1485485" y="756307"/>
                  </a:cubicBezTo>
                  <a:cubicBezTo>
                    <a:pt x="1480655" y="752630"/>
                    <a:pt x="1488976" y="743505"/>
                    <a:pt x="1479437" y="742068"/>
                  </a:cubicBezTo>
                  <a:cubicBezTo>
                    <a:pt x="1466477" y="740407"/>
                    <a:pt x="1453253" y="740791"/>
                    <a:pt x="1440471" y="743205"/>
                  </a:cubicBezTo>
                  <a:cubicBezTo>
                    <a:pt x="1432028" y="744809"/>
                    <a:pt x="1420176" y="751794"/>
                    <a:pt x="1417091" y="745644"/>
                  </a:cubicBezTo>
                  <a:cubicBezTo>
                    <a:pt x="1416320" y="744040"/>
                    <a:pt x="1431582" y="733645"/>
                    <a:pt x="1434058" y="730571"/>
                  </a:cubicBezTo>
                  <a:cubicBezTo>
                    <a:pt x="1437427" y="726359"/>
                    <a:pt x="1454353" y="708945"/>
                    <a:pt x="1438117" y="712622"/>
                  </a:cubicBezTo>
                  <a:cubicBezTo>
                    <a:pt x="1414615" y="717903"/>
                    <a:pt x="1442176" y="704834"/>
                    <a:pt x="1451146" y="702194"/>
                  </a:cubicBezTo>
                  <a:cubicBezTo>
                    <a:pt x="1486135" y="692167"/>
                    <a:pt x="1492020" y="687956"/>
                    <a:pt x="1503913" y="667834"/>
                  </a:cubicBezTo>
                  <a:cubicBezTo>
                    <a:pt x="1510813" y="656136"/>
                    <a:pt x="1539591" y="623214"/>
                    <a:pt x="1499854" y="638288"/>
                  </a:cubicBezTo>
                  <a:cubicBezTo>
                    <a:pt x="1483171" y="644672"/>
                    <a:pt x="1469046" y="651824"/>
                    <a:pt x="1451471" y="655000"/>
                  </a:cubicBezTo>
                  <a:cubicBezTo>
                    <a:pt x="1437082" y="657590"/>
                    <a:pt x="1423163" y="661715"/>
                    <a:pt x="1410069" y="667266"/>
                  </a:cubicBezTo>
                  <a:cubicBezTo>
                    <a:pt x="1395355" y="673333"/>
                    <a:pt x="1381157" y="680211"/>
                    <a:pt x="1367572" y="687855"/>
                  </a:cubicBezTo>
                  <a:cubicBezTo>
                    <a:pt x="1350727" y="697515"/>
                    <a:pt x="1360387" y="696044"/>
                    <a:pt x="1369885" y="698785"/>
                  </a:cubicBezTo>
                  <a:cubicBezTo>
                    <a:pt x="1380033" y="701693"/>
                    <a:pt x="1352188" y="706338"/>
                    <a:pt x="1349591" y="708177"/>
                  </a:cubicBezTo>
                  <a:cubicBezTo>
                    <a:pt x="1344801" y="711753"/>
                    <a:pt x="1356491" y="718939"/>
                    <a:pt x="1357709" y="721011"/>
                  </a:cubicBezTo>
                  <a:cubicBezTo>
                    <a:pt x="1361768" y="727228"/>
                    <a:pt x="1361768" y="735684"/>
                    <a:pt x="1374797" y="736921"/>
                  </a:cubicBezTo>
                  <a:cubicBezTo>
                    <a:pt x="1391033" y="738459"/>
                    <a:pt x="1394158" y="744475"/>
                    <a:pt x="1399151" y="752898"/>
                  </a:cubicBezTo>
                  <a:cubicBezTo>
                    <a:pt x="1403209" y="759582"/>
                    <a:pt x="1391033" y="763560"/>
                    <a:pt x="1384011" y="770044"/>
                  </a:cubicBezTo>
                  <a:cubicBezTo>
                    <a:pt x="1381900" y="772016"/>
                    <a:pt x="1399759" y="771648"/>
                    <a:pt x="1399719" y="775024"/>
                  </a:cubicBezTo>
                  <a:cubicBezTo>
                    <a:pt x="1399719" y="780539"/>
                    <a:pt x="1377760" y="781074"/>
                    <a:pt x="1371996" y="784717"/>
                  </a:cubicBezTo>
                  <a:cubicBezTo>
                    <a:pt x="1361970" y="791000"/>
                    <a:pt x="1364812" y="804136"/>
                    <a:pt x="1375528" y="803969"/>
                  </a:cubicBezTo>
                  <a:cubicBezTo>
                    <a:pt x="1393225" y="803735"/>
                    <a:pt x="1384254" y="807110"/>
                    <a:pt x="1382387" y="816703"/>
                  </a:cubicBezTo>
                  <a:cubicBezTo>
                    <a:pt x="1380398" y="827064"/>
                    <a:pt x="1398623" y="826496"/>
                    <a:pt x="1413925" y="823388"/>
                  </a:cubicBezTo>
                  <a:cubicBezTo>
                    <a:pt x="1430527" y="819845"/>
                    <a:pt x="1447250" y="813361"/>
                    <a:pt x="1463810" y="810520"/>
                  </a:cubicBezTo>
                  <a:cubicBezTo>
                    <a:pt x="1487109" y="806342"/>
                    <a:pt x="1470710" y="811489"/>
                    <a:pt x="1472375" y="816135"/>
                  </a:cubicBezTo>
                  <a:cubicBezTo>
                    <a:pt x="1473389" y="818909"/>
                    <a:pt x="1479275" y="818341"/>
                    <a:pt x="1477651" y="822385"/>
                  </a:cubicBezTo>
                  <a:cubicBezTo>
                    <a:pt x="1476393" y="825427"/>
                    <a:pt x="1472659" y="828535"/>
                    <a:pt x="1471603" y="831543"/>
                  </a:cubicBezTo>
                  <a:cubicBezTo>
                    <a:pt x="1467747" y="842840"/>
                    <a:pt x="1482968" y="826095"/>
                    <a:pt x="1484511" y="822151"/>
                  </a:cubicBezTo>
                  <a:cubicBezTo>
                    <a:pt x="1489219" y="809985"/>
                    <a:pt x="1502452" y="821516"/>
                    <a:pt x="1503953" y="824858"/>
                  </a:cubicBezTo>
                  <a:cubicBezTo>
                    <a:pt x="1505455" y="828201"/>
                    <a:pt x="1501599" y="830808"/>
                    <a:pt x="1496282" y="834150"/>
                  </a:cubicBezTo>
                  <a:cubicBezTo>
                    <a:pt x="1486825" y="840133"/>
                    <a:pt x="1486825" y="846651"/>
                    <a:pt x="1479031" y="852867"/>
                  </a:cubicBezTo>
                  <a:cubicBezTo>
                    <a:pt x="1472050" y="858449"/>
                    <a:pt x="1449441" y="862460"/>
                    <a:pt x="1453703" y="868476"/>
                  </a:cubicBezTo>
                  <a:cubicBezTo>
                    <a:pt x="1456910" y="873055"/>
                    <a:pt x="1472983" y="875161"/>
                    <a:pt x="1472375" y="880709"/>
                  </a:cubicBezTo>
                  <a:cubicBezTo>
                    <a:pt x="1471684" y="887394"/>
                    <a:pt x="1445829" y="891873"/>
                    <a:pt x="1439497" y="892174"/>
                  </a:cubicBezTo>
                  <a:cubicBezTo>
                    <a:pt x="1419202" y="893109"/>
                    <a:pt x="1435803" y="878035"/>
                    <a:pt x="1432881" y="870782"/>
                  </a:cubicBezTo>
                  <a:cubicBezTo>
                    <a:pt x="1431419" y="867173"/>
                    <a:pt x="1409258" y="877467"/>
                    <a:pt x="1403413" y="879105"/>
                  </a:cubicBezTo>
                  <a:cubicBezTo>
                    <a:pt x="1399638" y="880074"/>
                    <a:pt x="1374269" y="882046"/>
                    <a:pt x="1386730" y="876999"/>
                  </a:cubicBezTo>
                  <a:cubicBezTo>
                    <a:pt x="1392900" y="874526"/>
                    <a:pt x="1419730" y="868276"/>
                    <a:pt x="1418187" y="863128"/>
                  </a:cubicBezTo>
                  <a:cubicBezTo>
                    <a:pt x="1415792" y="854940"/>
                    <a:pt x="1434788" y="852867"/>
                    <a:pt x="1446600" y="848054"/>
                  </a:cubicBezTo>
                  <a:cubicBezTo>
                    <a:pt x="1461415" y="841971"/>
                    <a:pt x="1465799" y="832513"/>
                    <a:pt x="1453216" y="830674"/>
                  </a:cubicBezTo>
                  <a:cubicBezTo>
                    <a:pt x="1439862" y="828736"/>
                    <a:pt x="1433408" y="834618"/>
                    <a:pt x="1420744" y="840935"/>
                  </a:cubicBezTo>
                  <a:cubicBezTo>
                    <a:pt x="1408080" y="847252"/>
                    <a:pt x="1400449" y="842138"/>
                    <a:pt x="1414859" y="836690"/>
                  </a:cubicBezTo>
                  <a:cubicBezTo>
                    <a:pt x="1430364" y="830774"/>
                    <a:pt x="1442135" y="820781"/>
                    <a:pt x="1417457" y="828903"/>
                  </a:cubicBezTo>
                  <a:cubicBezTo>
                    <a:pt x="1398907" y="835019"/>
                    <a:pt x="1390383" y="844979"/>
                    <a:pt x="1370819" y="843743"/>
                  </a:cubicBezTo>
                  <a:cubicBezTo>
                    <a:pt x="1362336" y="843208"/>
                    <a:pt x="1348048" y="844578"/>
                    <a:pt x="1340214" y="851330"/>
                  </a:cubicBezTo>
                  <a:cubicBezTo>
                    <a:pt x="1330229" y="859987"/>
                    <a:pt x="1341960" y="866304"/>
                    <a:pt x="1331569" y="874726"/>
                  </a:cubicBezTo>
                  <a:cubicBezTo>
                    <a:pt x="1326292" y="879072"/>
                    <a:pt x="1305672" y="885255"/>
                    <a:pt x="1308757" y="890669"/>
                  </a:cubicBezTo>
                  <a:cubicBezTo>
                    <a:pt x="1312370" y="896886"/>
                    <a:pt x="1343299" y="882681"/>
                    <a:pt x="1351174" y="880642"/>
                  </a:cubicBezTo>
                  <a:cubicBezTo>
                    <a:pt x="1354299" y="879773"/>
                    <a:pt x="1383077" y="877534"/>
                    <a:pt x="1372686" y="881912"/>
                  </a:cubicBezTo>
                  <a:cubicBezTo>
                    <a:pt x="1367450" y="884085"/>
                    <a:pt x="1368059" y="886391"/>
                    <a:pt x="1366841" y="888965"/>
                  </a:cubicBezTo>
                  <a:cubicBezTo>
                    <a:pt x="1365218" y="892307"/>
                    <a:pt x="1355841" y="892976"/>
                    <a:pt x="1352351" y="894379"/>
                  </a:cubicBezTo>
                  <a:cubicBezTo>
                    <a:pt x="1345410" y="897120"/>
                    <a:pt x="1343299" y="901064"/>
                    <a:pt x="1349793" y="901733"/>
                  </a:cubicBezTo>
                  <a:cubicBezTo>
                    <a:pt x="1358723" y="902669"/>
                    <a:pt x="1350686" y="908852"/>
                    <a:pt x="1353852" y="912395"/>
                  </a:cubicBezTo>
                  <a:cubicBezTo>
                    <a:pt x="1357018" y="915938"/>
                    <a:pt x="1322355" y="925163"/>
                    <a:pt x="1317322" y="927268"/>
                  </a:cubicBezTo>
                  <a:cubicBezTo>
                    <a:pt x="1301212" y="934501"/>
                    <a:pt x="1285641" y="942513"/>
                    <a:pt x="1270684" y="951266"/>
                  </a:cubicBezTo>
                  <a:cubicBezTo>
                    <a:pt x="1235127" y="971321"/>
                    <a:pt x="1208257" y="967611"/>
                    <a:pt x="1173269" y="983320"/>
                  </a:cubicBezTo>
                  <a:cubicBezTo>
                    <a:pt x="1161376" y="988634"/>
                    <a:pt x="1153582" y="983821"/>
                    <a:pt x="1140797" y="989403"/>
                  </a:cubicBezTo>
                  <a:cubicBezTo>
                    <a:pt x="1127199" y="995219"/>
                    <a:pt x="1122856" y="991275"/>
                    <a:pt x="1118513" y="986562"/>
                  </a:cubicBezTo>
                  <a:cubicBezTo>
                    <a:pt x="1108447" y="975666"/>
                    <a:pt x="1065259" y="1010627"/>
                    <a:pt x="1054584" y="1017445"/>
                  </a:cubicBezTo>
                  <a:cubicBezTo>
                    <a:pt x="1043909" y="1024264"/>
                    <a:pt x="1026861" y="1032486"/>
                    <a:pt x="1025238" y="1040842"/>
                  </a:cubicBezTo>
                  <a:cubicBezTo>
                    <a:pt x="1023614" y="1049198"/>
                    <a:pt x="1033802" y="1045086"/>
                    <a:pt x="1043584" y="1040541"/>
                  </a:cubicBezTo>
                  <a:cubicBezTo>
                    <a:pt x="1052189" y="1036497"/>
                    <a:pt x="1053691" y="1029912"/>
                    <a:pt x="1062499" y="1025400"/>
                  </a:cubicBezTo>
                  <a:cubicBezTo>
                    <a:pt x="1080034" y="1016476"/>
                    <a:pt x="1085838" y="1010025"/>
                    <a:pt x="1100491" y="999931"/>
                  </a:cubicBezTo>
                  <a:cubicBezTo>
                    <a:pt x="1110963" y="992712"/>
                    <a:pt x="1110517" y="999931"/>
                    <a:pt x="1105849" y="1004577"/>
                  </a:cubicBezTo>
                  <a:cubicBezTo>
                    <a:pt x="1096501" y="1013173"/>
                    <a:pt x="1086171" y="1021008"/>
                    <a:pt x="1075001" y="1027974"/>
                  </a:cubicBezTo>
                  <a:cubicBezTo>
                    <a:pt x="1037090" y="1052707"/>
                    <a:pt x="1075610" y="1045320"/>
                    <a:pt x="1092008" y="1055448"/>
                  </a:cubicBezTo>
                  <a:cubicBezTo>
                    <a:pt x="1094687" y="1057119"/>
                    <a:pt x="1077842" y="1072995"/>
                    <a:pt x="1072971" y="1074399"/>
                  </a:cubicBezTo>
                  <a:cubicBezTo>
                    <a:pt x="1069602" y="1075402"/>
                    <a:pt x="1051499" y="1078878"/>
                    <a:pt x="1060226" y="1072861"/>
                  </a:cubicBezTo>
                  <a:cubicBezTo>
                    <a:pt x="1078289" y="1060461"/>
                    <a:pt x="1046385" y="1060762"/>
                    <a:pt x="1034452" y="1066177"/>
                  </a:cubicBezTo>
                  <a:cubicBezTo>
                    <a:pt x="1027511" y="1069319"/>
                    <a:pt x="1031894" y="1064071"/>
                    <a:pt x="1027470" y="1064305"/>
                  </a:cubicBezTo>
                  <a:cubicBezTo>
                    <a:pt x="1023980" y="1064506"/>
                    <a:pt x="1016552" y="1069452"/>
                    <a:pt x="1013101" y="1070689"/>
                  </a:cubicBezTo>
                  <a:cubicBezTo>
                    <a:pt x="998002" y="1075970"/>
                    <a:pt x="989519" y="1070288"/>
                    <a:pt x="975921" y="1082253"/>
                  </a:cubicBezTo>
                  <a:cubicBezTo>
                    <a:pt x="955910" y="1099834"/>
                    <a:pt x="914428" y="1119554"/>
                    <a:pt x="887679" y="1132990"/>
                  </a:cubicBezTo>
                  <a:cubicBezTo>
                    <a:pt x="880901" y="1136333"/>
                    <a:pt x="823750" y="1165445"/>
                    <a:pt x="823994" y="1155284"/>
                  </a:cubicBezTo>
                  <a:cubicBezTo>
                    <a:pt x="823994" y="1149635"/>
                    <a:pt x="835237" y="1140611"/>
                    <a:pt x="842300" y="1135430"/>
                  </a:cubicBezTo>
                  <a:cubicBezTo>
                    <a:pt x="850702" y="1129214"/>
                    <a:pt x="866856" y="1124167"/>
                    <a:pt x="850986" y="1122830"/>
                  </a:cubicBezTo>
                  <a:cubicBezTo>
                    <a:pt x="837429" y="1121693"/>
                    <a:pt x="821437" y="1124935"/>
                    <a:pt x="805363" y="1130150"/>
                  </a:cubicBezTo>
                  <a:cubicBezTo>
                    <a:pt x="802846" y="1130985"/>
                    <a:pt x="776382" y="1139909"/>
                    <a:pt x="779507" y="1142884"/>
                  </a:cubicBezTo>
                  <a:cubicBezTo>
                    <a:pt x="783566" y="1146895"/>
                    <a:pt x="707217" y="1172364"/>
                    <a:pt x="698044" y="1175004"/>
                  </a:cubicBezTo>
                  <a:cubicBezTo>
                    <a:pt x="685014" y="1178547"/>
                    <a:pt x="672594" y="1185833"/>
                    <a:pt x="659727" y="1190813"/>
                  </a:cubicBezTo>
                  <a:cubicBezTo>
                    <a:pt x="641056" y="1198133"/>
                    <a:pt x="625956" y="1200239"/>
                    <a:pt x="607894" y="1204550"/>
                  </a:cubicBezTo>
                  <a:cubicBezTo>
                    <a:pt x="578182" y="1211636"/>
                    <a:pt x="553747" y="1228749"/>
                    <a:pt x="543681" y="1246798"/>
                  </a:cubicBezTo>
                  <a:cubicBezTo>
                    <a:pt x="539906" y="1253482"/>
                    <a:pt x="520301" y="1266852"/>
                    <a:pt x="510113" y="1269526"/>
                  </a:cubicBezTo>
                  <a:cubicBezTo>
                    <a:pt x="503822" y="1271063"/>
                    <a:pt x="511006" y="1259866"/>
                    <a:pt x="509910" y="1258061"/>
                  </a:cubicBezTo>
                  <a:cubicBezTo>
                    <a:pt x="505149" y="1254990"/>
                    <a:pt x="499779" y="1252617"/>
                    <a:pt x="494039" y="1251043"/>
                  </a:cubicBezTo>
                  <a:cubicBezTo>
                    <a:pt x="483202" y="1251344"/>
                    <a:pt x="481863" y="1264947"/>
                    <a:pt x="481132" y="1268256"/>
                  </a:cubicBezTo>
                  <a:cubicBezTo>
                    <a:pt x="468022" y="1323939"/>
                    <a:pt x="416473" y="1277648"/>
                    <a:pt x="372554" y="1300008"/>
                  </a:cubicBezTo>
                  <a:cubicBezTo>
                    <a:pt x="358795" y="1307027"/>
                    <a:pt x="384731" y="1305590"/>
                    <a:pt x="385868" y="1307595"/>
                  </a:cubicBezTo>
                  <a:cubicBezTo>
                    <a:pt x="387491" y="1310135"/>
                    <a:pt x="374381" y="1315316"/>
                    <a:pt x="373691" y="1318759"/>
                  </a:cubicBezTo>
                  <a:cubicBezTo>
                    <a:pt x="372230" y="1326145"/>
                    <a:pt x="376248" y="1328786"/>
                    <a:pt x="366872" y="1338211"/>
                  </a:cubicBezTo>
                  <a:cubicBezTo>
                    <a:pt x="359200" y="1346066"/>
                    <a:pt x="356806" y="1338211"/>
                    <a:pt x="346009" y="1345331"/>
                  </a:cubicBezTo>
                  <a:cubicBezTo>
                    <a:pt x="331356" y="1354923"/>
                    <a:pt x="330990" y="1376615"/>
                    <a:pt x="312076" y="1382732"/>
                  </a:cubicBezTo>
                  <a:cubicBezTo>
                    <a:pt x="308301" y="1383935"/>
                    <a:pt x="307367" y="1381528"/>
                    <a:pt x="303633" y="1383868"/>
                  </a:cubicBezTo>
                  <a:cubicBezTo>
                    <a:pt x="297378" y="1388230"/>
                    <a:pt x="291777" y="1393186"/>
                    <a:pt x="286951" y="1398641"/>
                  </a:cubicBezTo>
                  <a:cubicBezTo>
                    <a:pt x="276560" y="1409337"/>
                    <a:pt x="270715" y="1415888"/>
                    <a:pt x="272014" y="1424210"/>
                  </a:cubicBezTo>
                  <a:cubicBezTo>
                    <a:pt x="273394" y="1434237"/>
                    <a:pt x="232195" y="1454024"/>
                    <a:pt x="256305" y="1428087"/>
                  </a:cubicBezTo>
                  <a:cubicBezTo>
                    <a:pt x="269335" y="1414049"/>
                    <a:pt x="278183" y="1399677"/>
                    <a:pt x="292349" y="1385773"/>
                  </a:cubicBezTo>
                  <a:cubicBezTo>
                    <a:pt x="305663" y="1372705"/>
                    <a:pt x="323278" y="1361608"/>
                    <a:pt x="335212" y="1347904"/>
                  </a:cubicBezTo>
                  <a:cubicBezTo>
                    <a:pt x="351448" y="1329220"/>
                    <a:pt x="315445" y="1350912"/>
                    <a:pt x="307043" y="1356628"/>
                  </a:cubicBezTo>
                  <a:cubicBezTo>
                    <a:pt x="285571" y="1371167"/>
                    <a:pt x="272298" y="1390586"/>
                    <a:pt x="251800" y="1406228"/>
                  </a:cubicBezTo>
                  <a:cubicBezTo>
                    <a:pt x="236822" y="1417659"/>
                    <a:pt x="253423" y="1416255"/>
                    <a:pt x="237025" y="1424578"/>
                  </a:cubicBezTo>
                  <a:cubicBezTo>
                    <a:pt x="227852" y="1429291"/>
                    <a:pt x="229516" y="1431831"/>
                    <a:pt x="223103" y="1436477"/>
                  </a:cubicBezTo>
                  <a:cubicBezTo>
                    <a:pt x="213767" y="1443161"/>
                    <a:pt x="219572" y="1432265"/>
                    <a:pt x="215472" y="1433134"/>
                  </a:cubicBezTo>
                  <a:cubicBezTo>
                    <a:pt x="195664" y="1436711"/>
                    <a:pt x="202646" y="1444331"/>
                    <a:pt x="191118" y="1453188"/>
                  </a:cubicBezTo>
                  <a:cubicBezTo>
                    <a:pt x="181742" y="1460207"/>
                    <a:pt x="171067" y="1465589"/>
                    <a:pt x="165384" y="1474078"/>
                  </a:cubicBezTo>
                  <a:cubicBezTo>
                    <a:pt x="157835" y="1485442"/>
                    <a:pt x="177845" y="1477822"/>
                    <a:pt x="185679" y="1477420"/>
                  </a:cubicBezTo>
                  <a:cubicBezTo>
                    <a:pt x="205040" y="1476284"/>
                    <a:pt x="155196" y="1494132"/>
                    <a:pt x="153938" y="1494801"/>
                  </a:cubicBezTo>
                  <a:cubicBezTo>
                    <a:pt x="132507" y="1504460"/>
                    <a:pt x="116798" y="1515423"/>
                    <a:pt x="93987" y="1522977"/>
                  </a:cubicBezTo>
                  <a:cubicBezTo>
                    <a:pt x="79902" y="1527623"/>
                    <a:pt x="67279" y="1528124"/>
                    <a:pt x="54899" y="1531567"/>
                  </a:cubicBezTo>
                  <a:cubicBezTo>
                    <a:pt x="39150" y="1535945"/>
                    <a:pt x="14796" y="1555999"/>
                    <a:pt x="-60" y="1564456"/>
                  </a:cubicBezTo>
                  <a:lnTo>
                    <a:pt x="172609" y="1746514"/>
                  </a:lnTo>
                  <a:cubicBezTo>
                    <a:pt x="180159" y="1754469"/>
                    <a:pt x="187696" y="1762413"/>
                    <a:pt x="195218" y="1770345"/>
                  </a:cubicBezTo>
                  <a:cubicBezTo>
                    <a:pt x="199764" y="1775158"/>
                    <a:pt x="237756" y="1740598"/>
                    <a:pt x="241246" y="1738325"/>
                  </a:cubicBezTo>
                  <a:cubicBezTo>
                    <a:pt x="253626" y="1730036"/>
                    <a:pt x="256427" y="1738091"/>
                    <a:pt x="263855" y="1738526"/>
                  </a:cubicBezTo>
                  <a:cubicBezTo>
                    <a:pt x="277331" y="1739328"/>
                    <a:pt x="295637" y="1733211"/>
                    <a:pt x="309924" y="1733479"/>
                  </a:cubicBezTo>
                  <a:cubicBezTo>
                    <a:pt x="325470" y="1733779"/>
                    <a:pt x="328799" y="1728198"/>
                    <a:pt x="339271" y="1717201"/>
                  </a:cubicBezTo>
                  <a:cubicBezTo>
                    <a:pt x="348282" y="1707743"/>
                    <a:pt x="343533" y="1704133"/>
                    <a:pt x="348931" y="1696646"/>
                  </a:cubicBezTo>
                  <a:cubicBezTo>
                    <a:pt x="353680" y="1689961"/>
                    <a:pt x="365167" y="1683276"/>
                    <a:pt x="373650" y="1679332"/>
                  </a:cubicBezTo>
                  <a:cubicBezTo>
                    <a:pt x="385827" y="1674051"/>
                    <a:pt x="385827" y="1679332"/>
                    <a:pt x="394595" y="1679332"/>
                  </a:cubicBezTo>
                  <a:cubicBezTo>
                    <a:pt x="416878" y="1679332"/>
                    <a:pt x="443302" y="1672213"/>
                    <a:pt x="465789" y="1672882"/>
                  </a:cubicBezTo>
                  <a:cubicBezTo>
                    <a:pt x="488276" y="1673550"/>
                    <a:pt x="506622" y="1684246"/>
                    <a:pt x="532356" y="1679566"/>
                  </a:cubicBezTo>
                  <a:cubicBezTo>
                    <a:pt x="547375" y="1676826"/>
                    <a:pt x="590359" y="1656571"/>
                    <a:pt x="594986" y="1667901"/>
                  </a:cubicBezTo>
                  <a:cubicBezTo>
                    <a:pt x="597340" y="1673584"/>
                    <a:pt x="597381" y="1675322"/>
                    <a:pt x="607853" y="1674954"/>
                  </a:cubicBezTo>
                  <a:cubicBezTo>
                    <a:pt x="623277" y="1674419"/>
                    <a:pt x="604281" y="1692067"/>
                    <a:pt x="598802" y="1699387"/>
                  </a:cubicBezTo>
                  <a:cubicBezTo>
                    <a:pt x="602536" y="1702361"/>
                    <a:pt x="625226" y="1695576"/>
                    <a:pt x="617514" y="1703230"/>
                  </a:cubicBezTo>
                  <a:cubicBezTo>
                    <a:pt x="608422" y="1712255"/>
                    <a:pt x="617717" y="1707709"/>
                    <a:pt x="621248" y="1713257"/>
                  </a:cubicBezTo>
                  <a:cubicBezTo>
                    <a:pt x="626849" y="1722215"/>
                    <a:pt x="645358" y="1712990"/>
                    <a:pt x="652502" y="1702395"/>
                  </a:cubicBezTo>
                  <a:cubicBezTo>
                    <a:pt x="660620" y="1690162"/>
                    <a:pt x="667764" y="1711352"/>
                    <a:pt x="669712" y="1711386"/>
                  </a:cubicBezTo>
                  <a:cubicBezTo>
                    <a:pt x="679738" y="1711386"/>
                    <a:pt x="680874" y="1701359"/>
                    <a:pt x="692118" y="1699888"/>
                  </a:cubicBezTo>
                  <a:cubicBezTo>
                    <a:pt x="699302" y="1698986"/>
                    <a:pt x="715660" y="1696345"/>
                    <a:pt x="720530" y="1698351"/>
                  </a:cubicBezTo>
                  <a:cubicBezTo>
                    <a:pt x="725401" y="1700356"/>
                    <a:pt x="707663" y="1709480"/>
                    <a:pt x="716877" y="1713124"/>
                  </a:cubicBezTo>
                  <a:cubicBezTo>
                    <a:pt x="720936" y="1714694"/>
                    <a:pt x="723737" y="1711453"/>
                    <a:pt x="728364" y="1711352"/>
                  </a:cubicBezTo>
                  <a:cubicBezTo>
                    <a:pt x="734412" y="1711352"/>
                    <a:pt x="733032" y="1717235"/>
                    <a:pt x="738512" y="1717135"/>
                  </a:cubicBezTo>
                  <a:cubicBezTo>
                    <a:pt x="750502" y="1715761"/>
                    <a:pt x="761766" y="1711596"/>
                    <a:pt x="770983" y="1705135"/>
                  </a:cubicBezTo>
                  <a:cubicBezTo>
                    <a:pt x="782714" y="1695509"/>
                    <a:pt x="795053" y="1702127"/>
                    <a:pt x="806865" y="1698752"/>
                  </a:cubicBezTo>
                  <a:cubicBezTo>
                    <a:pt x="818676" y="1695376"/>
                    <a:pt x="824684" y="1685382"/>
                    <a:pt x="833492" y="1688725"/>
                  </a:cubicBezTo>
                  <a:cubicBezTo>
                    <a:pt x="846846" y="1693738"/>
                    <a:pt x="845669" y="1693437"/>
                    <a:pt x="863366" y="1682574"/>
                  </a:cubicBezTo>
                  <a:cubicBezTo>
                    <a:pt x="872758" y="1679159"/>
                    <a:pt x="882394" y="1676224"/>
                    <a:pt x="892225" y="1673784"/>
                  </a:cubicBezTo>
                  <a:cubicBezTo>
                    <a:pt x="896852" y="1673416"/>
                    <a:pt x="913454" y="1680469"/>
                    <a:pt x="916254" y="1678798"/>
                  </a:cubicBezTo>
                  <a:lnTo>
                    <a:pt x="924697" y="1674219"/>
                  </a:lnTo>
                  <a:cubicBezTo>
                    <a:pt x="942151" y="1664726"/>
                    <a:pt x="959657" y="1655301"/>
                    <a:pt x="977220" y="1645942"/>
                  </a:cubicBezTo>
                  <a:cubicBezTo>
                    <a:pt x="1045464" y="1609554"/>
                    <a:pt x="1114251" y="1574125"/>
                    <a:pt x="1183578" y="1539655"/>
                  </a:cubicBezTo>
                  <a:cubicBezTo>
                    <a:pt x="1339066" y="1462336"/>
                    <a:pt x="1497065" y="1389918"/>
                    <a:pt x="1657586" y="1322402"/>
                  </a:cubicBezTo>
                  <a:cubicBezTo>
                    <a:pt x="1675961" y="1314671"/>
                    <a:pt x="1694372" y="1307017"/>
                    <a:pt x="1712828" y="1299440"/>
                  </a:cubicBezTo>
                  <a:lnTo>
                    <a:pt x="1721596" y="1295797"/>
                  </a:lnTo>
                  <a:cubicBezTo>
                    <a:pt x="1721060" y="1293591"/>
                    <a:pt x="1720719" y="1291358"/>
                    <a:pt x="1720581" y="1289112"/>
                  </a:cubicBezTo>
                  <a:cubicBezTo>
                    <a:pt x="1722894" y="1277982"/>
                    <a:pt x="1739496" y="1291084"/>
                    <a:pt x="1741688" y="1291552"/>
                  </a:cubicBezTo>
                  <a:cubicBezTo>
                    <a:pt x="1750333" y="1293357"/>
                    <a:pt x="1771805" y="1288845"/>
                    <a:pt x="1779599" y="1282728"/>
                  </a:cubicBezTo>
                  <a:cubicBezTo>
                    <a:pt x="1794495" y="1271063"/>
                    <a:pt x="1801842" y="1279185"/>
                    <a:pt x="1817428" y="1273737"/>
                  </a:cubicBezTo>
                  <a:cubicBezTo>
                    <a:pt x="1830052" y="1269325"/>
                    <a:pt x="1837723" y="1273136"/>
                    <a:pt x="1849575" y="1269091"/>
                  </a:cubicBezTo>
                  <a:cubicBezTo>
                    <a:pt x="1856678" y="1266685"/>
                    <a:pt x="1856557" y="1263175"/>
                    <a:pt x="1861509" y="1259967"/>
                  </a:cubicBezTo>
                  <a:cubicBezTo>
                    <a:pt x="1867719" y="1255923"/>
                    <a:pt x="1877745" y="1253917"/>
                    <a:pt x="1884929" y="1252380"/>
                  </a:cubicBezTo>
                  <a:cubicBezTo>
                    <a:pt x="1904980" y="1248101"/>
                    <a:pt x="1906360" y="1247333"/>
                    <a:pt x="1914519" y="1234264"/>
                  </a:cubicBezTo>
                  <a:cubicBezTo>
                    <a:pt x="1919390" y="1226476"/>
                    <a:pt x="1923408" y="1218221"/>
                    <a:pt x="1937005" y="1213374"/>
                  </a:cubicBezTo>
                  <a:cubicBezTo>
                    <a:pt x="1954865" y="1206957"/>
                    <a:pt x="1995739" y="1193320"/>
                    <a:pt x="2005156" y="1204584"/>
                  </a:cubicBezTo>
                  <a:cubicBezTo>
                    <a:pt x="2012949" y="1213876"/>
                    <a:pt x="2030484" y="1197899"/>
                    <a:pt x="2040915" y="1202378"/>
                  </a:cubicBezTo>
                  <a:cubicBezTo>
                    <a:pt x="2052037" y="1207024"/>
                    <a:pt x="2063848" y="1220259"/>
                    <a:pt x="2079029" y="1220025"/>
                  </a:cubicBezTo>
                  <a:cubicBezTo>
                    <a:pt x="2099324" y="1219725"/>
                    <a:pt x="2118807" y="1210299"/>
                    <a:pt x="2141172" y="1206923"/>
                  </a:cubicBezTo>
                  <a:cubicBezTo>
                    <a:pt x="2158788" y="1204216"/>
                    <a:pt x="2180463" y="1189443"/>
                    <a:pt x="2196821" y="1193086"/>
                  </a:cubicBezTo>
                  <a:cubicBezTo>
                    <a:pt x="2202219" y="1194256"/>
                    <a:pt x="2236680" y="1205319"/>
                    <a:pt x="2228481" y="1210500"/>
                  </a:cubicBezTo>
                  <a:cubicBezTo>
                    <a:pt x="2213503" y="1219892"/>
                    <a:pt x="2196739" y="1212706"/>
                    <a:pt x="2182776" y="1218689"/>
                  </a:cubicBezTo>
                  <a:cubicBezTo>
                    <a:pt x="2181112" y="1219357"/>
                    <a:pt x="2178961" y="1237072"/>
                    <a:pt x="2179732" y="1238743"/>
                  </a:cubicBezTo>
                  <a:cubicBezTo>
                    <a:pt x="2181721" y="1242586"/>
                    <a:pt x="2185212" y="1268824"/>
                    <a:pt x="2170112" y="1270696"/>
                  </a:cubicBezTo>
                  <a:cubicBezTo>
                    <a:pt x="2170234" y="1276010"/>
                    <a:pt x="2174979" y="1280479"/>
                    <a:pt x="2181356" y="1281291"/>
                  </a:cubicBezTo>
                  <a:cubicBezTo>
                    <a:pt x="2196861" y="1267186"/>
                    <a:pt x="2207577" y="1257527"/>
                    <a:pt x="2234123" y="1254251"/>
                  </a:cubicBezTo>
                  <a:cubicBezTo>
                    <a:pt x="2246300" y="1252747"/>
                    <a:pt x="2251211" y="1248870"/>
                    <a:pt x="2258476" y="1242185"/>
                  </a:cubicBezTo>
                  <a:cubicBezTo>
                    <a:pt x="2260060" y="1240782"/>
                    <a:pt x="2272642" y="1231724"/>
                    <a:pt x="2270248" y="1238843"/>
                  </a:cubicBezTo>
                  <a:cubicBezTo>
                    <a:pt x="2278366" y="1232961"/>
                    <a:pt x="2277919" y="1230520"/>
                    <a:pt x="2272399" y="1226209"/>
                  </a:cubicBezTo>
                  <a:cubicBezTo>
                    <a:pt x="2267000" y="1228549"/>
                    <a:pt x="2258517" y="1233128"/>
                    <a:pt x="2252753" y="1231724"/>
                  </a:cubicBezTo>
                  <a:cubicBezTo>
                    <a:pt x="2239278" y="1228381"/>
                    <a:pt x="2260019" y="1216583"/>
                    <a:pt x="2268218" y="1212137"/>
                  </a:cubicBezTo>
                  <a:cubicBezTo>
                    <a:pt x="2284900" y="1203013"/>
                    <a:pt x="2303653" y="1199069"/>
                    <a:pt x="2320538" y="1191047"/>
                  </a:cubicBezTo>
                  <a:cubicBezTo>
                    <a:pt x="2326627" y="1188173"/>
                    <a:pt x="2334542" y="1182424"/>
                    <a:pt x="2341888" y="1181355"/>
                  </a:cubicBezTo>
                  <a:cubicBezTo>
                    <a:pt x="2350980" y="1180051"/>
                    <a:pt x="2358124" y="1169422"/>
                    <a:pt x="2364253" y="1163707"/>
                  </a:cubicBezTo>
                  <a:cubicBezTo>
                    <a:pt x="2380002" y="1149335"/>
                    <a:pt x="2402083" y="1144889"/>
                    <a:pt x="2426234" y="1137168"/>
                  </a:cubicBezTo>
                  <a:cubicBezTo>
                    <a:pt x="2441171" y="1132355"/>
                    <a:pt x="2475754" y="1125437"/>
                    <a:pt x="2486591" y="1117114"/>
                  </a:cubicBezTo>
                  <a:cubicBezTo>
                    <a:pt x="2497428" y="1108792"/>
                    <a:pt x="2508753" y="1099166"/>
                    <a:pt x="2512284" y="1089907"/>
                  </a:cubicBezTo>
                  <a:cubicBezTo>
                    <a:pt x="2515816" y="1080649"/>
                    <a:pt x="2515450" y="1071491"/>
                    <a:pt x="2520767" y="1061731"/>
                  </a:cubicBezTo>
                  <a:cubicBezTo>
                    <a:pt x="2526085" y="1051972"/>
                    <a:pt x="2529779" y="1047727"/>
                    <a:pt x="2545933" y="1046357"/>
                  </a:cubicBezTo>
                  <a:cubicBezTo>
                    <a:pt x="2556324" y="1045488"/>
                    <a:pt x="2582464" y="1034792"/>
                    <a:pt x="2584696" y="1042680"/>
                  </a:cubicBezTo>
                  <a:cubicBezTo>
                    <a:pt x="2586275" y="1049412"/>
                    <a:pt x="2590001" y="1055675"/>
                    <a:pt x="2595493" y="1060829"/>
                  </a:cubicBezTo>
                  <a:cubicBezTo>
                    <a:pt x="2600916" y="1065448"/>
                    <a:pt x="2607240" y="1069292"/>
                    <a:pt x="2614205" y="1072193"/>
                  </a:cubicBezTo>
                  <a:cubicBezTo>
                    <a:pt x="2629751" y="1078878"/>
                    <a:pt x="2628330" y="1076772"/>
                    <a:pt x="2645013" y="1067346"/>
                  </a:cubicBezTo>
                  <a:cubicBezTo>
                    <a:pt x="2661695" y="1057921"/>
                    <a:pt x="2677200" y="1054311"/>
                    <a:pt x="2687267" y="1040875"/>
                  </a:cubicBezTo>
                  <a:cubicBezTo>
                    <a:pt x="2688647" y="1039037"/>
                    <a:pt x="2690879" y="1032853"/>
                    <a:pt x="2695912" y="1035561"/>
                  </a:cubicBezTo>
                  <a:cubicBezTo>
                    <a:pt x="2703178" y="1039505"/>
                    <a:pt x="2692340" y="1041911"/>
                    <a:pt x="2691610" y="1045588"/>
                  </a:cubicBezTo>
                  <a:cubicBezTo>
                    <a:pt x="2690636" y="1050468"/>
                    <a:pt x="2731388" y="1040708"/>
                    <a:pt x="2731469" y="1040240"/>
                  </a:cubicBezTo>
                  <a:cubicBezTo>
                    <a:pt x="2731022" y="1044719"/>
                    <a:pt x="2698997" y="1051938"/>
                    <a:pt x="2693152" y="1054077"/>
                  </a:cubicBezTo>
                  <a:cubicBezTo>
                    <a:pt x="2677809" y="1059592"/>
                    <a:pt x="2664739" y="1073530"/>
                    <a:pt x="2659828" y="1082354"/>
                  </a:cubicBezTo>
                  <a:cubicBezTo>
                    <a:pt x="2654917" y="1091178"/>
                    <a:pt x="2671640" y="1094420"/>
                    <a:pt x="2684507" y="1091378"/>
                  </a:cubicBezTo>
                  <a:cubicBezTo>
                    <a:pt x="2708333" y="1085729"/>
                    <a:pt x="2711986" y="1070722"/>
                    <a:pt x="2723879" y="1060161"/>
                  </a:cubicBezTo>
                  <a:cubicBezTo>
                    <a:pt x="2730982" y="1053910"/>
                    <a:pt x="2756959" y="1046791"/>
                    <a:pt x="2767634" y="1042045"/>
                  </a:cubicBezTo>
                  <a:cubicBezTo>
                    <a:pt x="2774007" y="1039104"/>
                    <a:pt x="2810213" y="1024999"/>
                    <a:pt x="2810213" y="1020453"/>
                  </a:cubicBezTo>
                  <a:cubicBezTo>
                    <a:pt x="2810213" y="1018147"/>
                    <a:pt x="2802095" y="1017779"/>
                    <a:pt x="2805342" y="1014638"/>
                  </a:cubicBezTo>
                  <a:cubicBezTo>
                    <a:pt x="2808590" y="1011496"/>
                    <a:pt x="2817519" y="1008688"/>
                    <a:pt x="2822674" y="1006649"/>
                  </a:cubicBezTo>
                  <a:cubicBezTo>
                    <a:pt x="2829895" y="1004266"/>
                    <a:pt x="2836714" y="1001131"/>
                    <a:pt x="2842969" y="997324"/>
                  </a:cubicBezTo>
                  <a:cubicBezTo>
                    <a:pt x="2853157" y="990038"/>
                    <a:pt x="2835419" y="991575"/>
                    <a:pt x="2828681" y="993982"/>
                  </a:cubicBezTo>
                  <a:close/>
                  <a:moveTo>
                    <a:pt x="781861" y="1236637"/>
                  </a:moveTo>
                  <a:cubicBezTo>
                    <a:pt x="776585" y="1247099"/>
                    <a:pt x="771430" y="1258128"/>
                    <a:pt x="754342" y="1266050"/>
                  </a:cubicBezTo>
                  <a:cubicBezTo>
                    <a:pt x="740866" y="1272266"/>
                    <a:pt x="713752" y="1285736"/>
                    <a:pt x="736645" y="1285001"/>
                  </a:cubicBezTo>
                  <a:cubicBezTo>
                    <a:pt x="750689" y="1284533"/>
                    <a:pt x="720165" y="1304186"/>
                    <a:pt x="715984" y="1308397"/>
                  </a:cubicBezTo>
                  <a:cubicBezTo>
                    <a:pt x="714604" y="1309667"/>
                    <a:pt x="691387" y="1333231"/>
                    <a:pt x="695365" y="1324240"/>
                  </a:cubicBezTo>
                  <a:cubicBezTo>
                    <a:pt x="698490" y="1317188"/>
                    <a:pt x="704416" y="1309835"/>
                    <a:pt x="706973" y="1302849"/>
                  </a:cubicBezTo>
                  <a:cubicBezTo>
                    <a:pt x="711276" y="1290917"/>
                    <a:pt x="692889" y="1302047"/>
                    <a:pt x="686476" y="1308832"/>
                  </a:cubicBezTo>
                  <a:cubicBezTo>
                    <a:pt x="678845" y="1316887"/>
                    <a:pt x="680752" y="1326179"/>
                    <a:pt x="673933" y="1332529"/>
                  </a:cubicBezTo>
                  <a:cubicBezTo>
                    <a:pt x="670159" y="1335872"/>
                    <a:pt x="631111" y="1358332"/>
                    <a:pt x="632288" y="1350244"/>
                  </a:cubicBezTo>
                  <a:cubicBezTo>
                    <a:pt x="634399" y="1348305"/>
                    <a:pt x="636591" y="1346367"/>
                    <a:pt x="638864" y="1344462"/>
                  </a:cubicBezTo>
                  <a:cubicBezTo>
                    <a:pt x="641137" y="1341119"/>
                    <a:pt x="638864" y="1338713"/>
                    <a:pt x="640934" y="1335203"/>
                  </a:cubicBezTo>
                  <a:cubicBezTo>
                    <a:pt x="645521" y="1327783"/>
                    <a:pt x="654044" y="1324574"/>
                    <a:pt x="643247" y="1322770"/>
                  </a:cubicBezTo>
                  <a:cubicBezTo>
                    <a:pt x="629488" y="1320497"/>
                    <a:pt x="668332" y="1306994"/>
                    <a:pt x="671417" y="1301980"/>
                  </a:cubicBezTo>
                  <a:cubicBezTo>
                    <a:pt x="677749" y="1291686"/>
                    <a:pt x="634886" y="1306827"/>
                    <a:pt x="628432" y="1314213"/>
                  </a:cubicBezTo>
                  <a:cubicBezTo>
                    <a:pt x="622149" y="1321640"/>
                    <a:pt x="614847" y="1328448"/>
                    <a:pt x="606676" y="1334501"/>
                  </a:cubicBezTo>
                  <a:cubicBezTo>
                    <a:pt x="602617" y="1337509"/>
                    <a:pt x="576356" y="1353553"/>
                    <a:pt x="572378" y="1350912"/>
                  </a:cubicBezTo>
                  <a:cubicBezTo>
                    <a:pt x="573190" y="1351414"/>
                    <a:pt x="690088" y="1258830"/>
                    <a:pt x="702752" y="1252981"/>
                  </a:cubicBezTo>
                  <a:cubicBezTo>
                    <a:pt x="735467" y="1236470"/>
                    <a:pt x="677992" y="1285068"/>
                    <a:pt x="725158" y="1264813"/>
                  </a:cubicBezTo>
                  <a:cubicBezTo>
                    <a:pt x="744316" y="1256591"/>
                    <a:pt x="752231" y="1248101"/>
                    <a:pt x="761688" y="1236537"/>
                  </a:cubicBezTo>
                  <a:cubicBezTo>
                    <a:pt x="771917" y="1224137"/>
                    <a:pt x="787869" y="1224805"/>
                    <a:pt x="781780" y="1236804"/>
                  </a:cubicBezTo>
                  <a:cubicBezTo>
                    <a:pt x="771917" y="1256290"/>
                    <a:pt x="791847" y="1216984"/>
                    <a:pt x="781861" y="1236637"/>
                  </a:cubicBezTo>
                  <a:close/>
                  <a:moveTo>
                    <a:pt x="1030393" y="1254385"/>
                  </a:moveTo>
                  <a:cubicBezTo>
                    <a:pt x="1023955" y="1263630"/>
                    <a:pt x="1015009" y="1271521"/>
                    <a:pt x="1004253" y="1277447"/>
                  </a:cubicBezTo>
                  <a:cubicBezTo>
                    <a:pt x="987246" y="1287207"/>
                    <a:pt x="996663" y="1288109"/>
                    <a:pt x="990290" y="1297501"/>
                  </a:cubicBezTo>
                  <a:cubicBezTo>
                    <a:pt x="981401" y="1310570"/>
                    <a:pt x="925346" y="1334067"/>
                    <a:pt x="907162" y="1339949"/>
                  </a:cubicBezTo>
                  <a:cubicBezTo>
                    <a:pt x="892631" y="1344629"/>
                    <a:pt x="895513" y="1340885"/>
                    <a:pt x="905904" y="1334836"/>
                  </a:cubicBezTo>
                  <a:cubicBezTo>
                    <a:pt x="921531" y="1325744"/>
                    <a:pt x="920638" y="1324307"/>
                    <a:pt x="923642" y="1314347"/>
                  </a:cubicBezTo>
                  <a:cubicBezTo>
                    <a:pt x="925996" y="1306726"/>
                    <a:pt x="946737" y="1295396"/>
                    <a:pt x="945154" y="1290649"/>
                  </a:cubicBezTo>
                  <a:cubicBezTo>
                    <a:pt x="942516" y="1282628"/>
                    <a:pt x="912682" y="1293658"/>
                    <a:pt x="911911" y="1289146"/>
                  </a:cubicBezTo>
                  <a:cubicBezTo>
                    <a:pt x="910003" y="1276578"/>
                    <a:pt x="961431" y="1267153"/>
                    <a:pt x="970076" y="1267387"/>
                  </a:cubicBezTo>
                  <a:cubicBezTo>
                    <a:pt x="1007135" y="1268055"/>
                    <a:pt x="1017363" y="1247767"/>
                    <a:pt x="1039647" y="1228281"/>
                  </a:cubicBezTo>
                  <a:cubicBezTo>
                    <a:pt x="1043381" y="1224939"/>
                    <a:pt x="1083849" y="1190646"/>
                    <a:pt x="1088355" y="1197197"/>
                  </a:cubicBezTo>
                  <a:cubicBezTo>
                    <a:pt x="1095012" y="1206756"/>
                    <a:pt x="1039647" y="1242319"/>
                    <a:pt x="1030271" y="1254385"/>
                  </a:cubicBezTo>
                  <a:cubicBezTo>
                    <a:pt x="1015537" y="1273503"/>
                    <a:pt x="1044924" y="1235434"/>
                    <a:pt x="1030393" y="1254385"/>
                  </a:cubicBezTo>
                  <a:close/>
                  <a:moveTo>
                    <a:pt x="1658722" y="1284901"/>
                  </a:moveTo>
                  <a:cubicBezTo>
                    <a:pt x="1650239" y="1289012"/>
                    <a:pt x="1646302" y="1280221"/>
                    <a:pt x="1644191" y="1277848"/>
                  </a:cubicBezTo>
                  <a:cubicBezTo>
                    <a:pt x="1636479" y="1269125"/>
                    <a:pt x="1626859" y="1268022"/>
                    <a:pt x="1608431" y="1269225"/>
                  </a:cubicBezTo>
                  <a:cubicBezTo>
                    <a:pt x="1588948" y="1270462"/>
                    <a:pt x="1533259" y="1264746"/>
                    <a:pt x="1553189" y="1243923"/>
                  </a:cubicBezTo>
                  <a:cubicBezTo>
                    <a:pt x="1576974" y="1219190"/>
                    <a:pt x="1607376" y="1240748"/>
                    <a:pt x="1620121" y="1247266"/>
                  </a:cubicBezTo>
                  <a:cubicBezTo>
                    <a:pt x="1628239" y="1251344"/>
                    <a:pt x="1684821" y="1272099"/>
                    <a:pt x="1658722" y="1284800"/>
                  </a:cubicBezTo>
                  <a:cubicBezTo>
                    <a:pt x="1644435" y="1291819"/>
                    <a:pt x="1670168" y="1279286"/>
                    <a:pt x="1658560" y="128496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E22C9F08-1B03-401C-9845-3E4AB37C96E6}"/>
                </a:ext>
              </a:extLst>
            </p:cNvPr>
            <p:cNvSpPr/>
            <p:nvPr/>
          </p:nvSpPr>
          <p:spPr>
            <a:xfrm>
              <a:off x="1855872" y="4330062"/>
              <a:ext cx="1764396" cy="853808"/>
            </a:xfrm>
            <a:custGeom>
              <a:avLst/>
              <a:gdLst>
                <a:gd name="connsiteX0" fmla="*/ 1718592 w 1764396"/>
                <a:gd name="connsiteY0" fmla="*/ 1121 h 853808"/>
                <a:gd name="connsiteX1" fmla="*/ 1668342 w 1764396"/>
                <a:gd name="connsiteY1" fmla="*/ 8274 h 853808"/>
                <a:gd name="connsiteX2" fmla="*/ 1648493 w 1764396"/>
                <a:gd name="connsiteY2" fmla="*/ 41430 h 853808"/>
                <a:gd name="connsiteX3" fmla="*/ 1598162 w 1764396"/>
                <a:gd name="connsiteY3" fmla="*/ 86184 h 853808"/>
                <a:gd name="connsiteX4" fmla="*/ 1544746 w 1764396"/>
                <a:gd name="connsiteY4" fmla="*/ 103164 h 853808"/>
                <a:gd name="connsiteX5" fmla="*/ 1507809 w 1764396"/>
                <a:gd name="connsiteY5" fmla="*/ 116934 h 853808"/>
                <a:gd name="connsiteX6" fmla="*/ 1484876 w 1764396"/>
                <a:gd name="connsiteY6" fmla="*/ 138158 h 853808"/>
                <a:gd name="connsiteX7" fmla="*/ 1484389 w 1764396"/>
                <a:gd name="connsiteY7" fmla="*/ 149823 h 853808"/>
                <a:gd name="connsiteX8" fmla="*/ 1407268 w 1764396"/>
                <a:gd name="connsiteY8" fmla="*/ 186990 h 853808"/>
                <a:gd name="connsiteX9" fmla="*/ 1334491 w 1764396"/>
                <a:gd name="connsiteY9" fmla="*/ 253202 h 853808"/>
                <a:gd name="connsiteX10" fmla="*/ 1283186 w 1764396"/>
                <a:gd name="connsiteY10" fmla="*/ 255809 h 853808"/>
                <a:gd name="connsiteX11" fmla="*/ 1298123 w 1764396"/>
                <a:gd name="connsiteY11" fmla="*/ 246852 h 853808"/>
                <a:gd name="connsiteX12" fmla="*/ 1316023 w 1764396"/>
                <a:gd name="connsiteY12" fmla="*/ 241938 h 853808"/>
                <a:gd name="connsiteX13" fmla="*/ 1283145 w 1764396"/>
                <a:gd name="connsiteY13" fmla="*/ 215199 h 853808"/>
                <a:gd name="connsiteX14" fmla="*/ 1256802 w 1764396"/>
                <a:gd name="connsiteY14" fmla="*/ 231243 h 853808"/>
                <a:gd name="connsiteX15" fmla="*/ 1256802 w 1764396"/>
                <a:gd name="connsiteY15" fmla="*/ 215400 h 853808"/>
                <a:gd name="connsiteX16" fmla="*/ 1243327 w 1764396"/>
                <a:gd name="connsiteY16" fmla="*/ 195112 h 853808"/>
                <a:gd name="connsiteX17" fmla="*/ 1204644 w 1764396"/>
                <a:gd name="connsiteY17" fmla="*/ 204370 h 853808"/>
                <a:gd name="connsiteX18" fmla="*/ 1200058 w 1764396"/>
                <a:gd name="connsiteY18" fmla="*/ 214899 h 853808"/>
                <a:gd name="connsiteX19" fmla="*/ 1183051 w 1764396"/>
                <a:gd name="connsiteY19" fmla="*/ 226898 h 853808"/>
                <a:gd name="connsiteX20" fmla="*/ 1178789 w 1764396"/>
                <a:gd name="connsiteY20" fmla="*/ 258416 h 853808"/>
                <a:gd name="connsiteX21" fmla="*/ 1193442 w 1764396"/>
                <a:gd name="connsiteY21" fmla="*/ 281812 h 853808"/>
                <a:gd name="connsiteX22" fmla="*/ 1170671 w 1764396"/>
                <a:gd name="connsiteY22" fmla="*/ 304875 h 853808"/>
                <a:gd name="connsiteX23" fmla="*/ 1139579 w 1764396"/>
                <a:gd name="connsiteY23" fmla="*/ 258750 h 853808"/>
                <a:gd name="connsiteX24" fmla="*/ 1137509 w 1764396"/>
                <a:gd name="connsiteY24" fmla="*/ 249659 h 853808"/>
                <a:gd name="connsiteX25" fmla="*/ 1127605 w 1764396"/>
                <a:gd name="connsiteY25" fmla="*/ 249893 h 853808"/>
                <a:gd name="connsiteX26" fmla="*/ 1143841 w 1764396"/>
                <a:gd name="connsiteY26" fmla="*/ 228335 h 853808"/>
                <a:gd name="connsiteX27" fmla="*/ 1190722 w 1764396"/>
                <a:gd name="connsiteY27" fmla="*/ 201362 h 853808"/>
                <a:gd name="connsiteX28" fmla="*/ 1218567 w 1764396"/>
                <a:gd name="connsiteY28" fmla="*/ 189363 h 853808"/>
                <a:gd name="connsiteX29" fmla="*/ 1228024 w 1764396"/>
                <a:gd name="connsiteY29" fmla="*/ 180840 h 853808"/>
                <a:gd name="connsiteX30" fmla="*/ 1205132 w 1764396"/>
                <a:gd name="connsiteY30" fmla="*/ 184583 h 853808"/>
                <a:gd name="connsiteX31" fmla="*/ 1190032 w 1764396"/>
                <a:gd name="connsiteY31" fmla="*/ 186221 h 853808"/>
                <a:gd name="connsiteX32" fmla="*/ 1133491 w 1764396"/>
                <a:gd name="connsiteY32" fmla="*/ 211055 h 853808"/>
                <a:gd name="connsiteX33" fmla="*/ 1108082 w 1764396"/>
                <a:gd name="connsiteY33" fmla="*/ 214197 h 853808"/>
                <a:gd name="connsiteX34" fmla="*/ 1088882 w 1764396"/>
                <a:gd name="connsiteY34" fmla="*/ 214598 h 853808"/>
                <a:gd name="connsiteX35" fmla="*/ 1076705 w 1764396"/>
                <a:gd name="connsiteY35" fmla="*/ 209551 h 853808"/>
                <a:gd name="connsiteX36" fmla="*/ 1031367 w 1764396"/>
                <a:gd name="connsiteY36" fmla="*/ 246317 h 853808"/>
                <a:gd name="connsiteX37" fmla="*/ 1009327 w 1764396"/>
                <a:gd name="connsiteY37" fmla="*/ 250495 h 853808"/>
                <a:gd name="connsiteX38" fmla="*/ 981726 w 1764396"/>
                <a:gd name="connsiteY38" fmla="*/ 261491 h 853808"/>
                <a:gd name="connsiteX39" fmla="*/ 986556 w 1764396"/>
                <a:gd name="connsiteY39" fmla="*/ 242740 h 853808"/>
                <a:gd name="connsiteX40" fmla="*/ 1038592 w 1764396"/>
                <a:gd name="connsiteY40" fmla="*/ 209584 h 853808"/>
                <a:gd name="connsiteX41" fmla="*/ 1000559 w 1764396"/>
                <a:gd name="connsiteY41" fmla="*/ 218542 h 853808"/>
                <a:gd name="connsiteX42" fmla="*/ 972146 w 1764396"/>
                <a:gd name="connsiteY42" fmla="*/ 231543 h 853808"/>
                <a:gd name="connsiteX43" fmla="*/ 938660 w 1764396"/>
                <a:gd name="connsiteY43" fmla="*/ 235788 h 853808"/>
                <a:gd name="connsiteX44" fmla="*/ 899369 w 1764396"/>
                <a:gd name="connsiteY44" fmla="*/ 249759 h 853808"/>
                <a:gd name="connsiteX45" fmla="*/ 868196 w 1764396"/>
                <a:gd name="connsiteY45" fmla="*/ 246183 h 853808"/>
                <a:gd name="connsiteX46" fmla="*/ 855735 w 1764396"/>
                <a:gd name="connsiteY46" fmla="*/ 254338 h 853808"/>
                <a:gd name="connsiteX47" fmla="*/ 850986 w 1764396"/>
                <a:gd name="connsiteY47" fmla="*/ 258750 h 853808"/>
                <a:gd name="connsiteX48" fmla="*/ 711276 w 1764396"/>
                <a:gd name="connsiteY48" fmla="*/ 317743 h 853808"/>
                <a:gd name="connsiteX49" fmla="*/ 214782 w 1764396"/>
                <a:gd name="connsiteY49" fmla="*/ 552610 h 853808"/>
                <a:gd name="connsiteX50" fmla="*/ 50881 w 1764396"/>
                <a:gd name="connsiteY50" fmla="*/ 639512 h 853808"/>
                <a:gd name="connsiteX51" fmla="*/ 74747 w 1764396"/>
                <a:gd name="connsiteY51" fmla="*/ 671331 h 853808"/>
                <a:gd name="connsiteX52" fmla="*/ 66629 w 1764396"/>
                <a:gd name="connsiteY52" fmla="*/ 662841 h 853808"/>
                <a:gd name="connsiteX53" fmla="*/ 44589 w 1764396"/>
                <a:gd name="connsiteY53" fmla="*/ 657093 h 853808"/>
                <a:gd name="connsiteX54" fmla="*/ -60 w 1764396"/>
                <a:gd name="connsiteY54" fmla="*/ 681525 h 853808"/>
                <a:gd name="connsiteX55" fmla="*/ 23848 w 1764396"/>
                <a:gd name="connsiteY55" fmla="*/ 692288 h 853808"/>
                <a:gd name="connsiteX56" fmla="*/ 54290 w 1764396"/>
                <a:gd name="connsiteY56" fmla="*/ 699641 h 853808"/>
                <a:gd name="connsiteX57" fmla="*/ 54290 w 1764396"/>
                <a:gd name="connsiteY57" fmla="*/ 707395 h 853808"/>
                <a:gd name="connsiteX58" fmla="*/ 66102 w 1764396"/>
                <a:gd name="connsiteY58" fmla="*/ 726513 h 853808"/>
                <a:gd name="connsiteX59" fmla="*/ 87898 w 1764396"/>
                <a:gd name="connsiteY59" fmla="*/ 765619 h 853808"/>
                <a:gd name="connsiteX60" fmla="*/ 103728 w 1764396"/>
                <a:gd name="connsiteY60" fmla="*/ 785105 h 853808"/>
                <a:gd name="connsiteX61" fmla="*/ 128975 w 1764396"/>
                <a:gd name="connsiteY61" fmla="*/ 811476 h 853808"/>
                <a:gd name="connsiteX62" fmla="*/ 154303 w 1764396"/>
                <a:gd name="connsiteY62" fmla="*/ 825715 h 853808"/>
                <a:gd name="connsiteX63" fmla="*/ 181052 w 1764396"/>
                <a:gd name="connsiteY63" fmla="*/ 831731 h 853808"/>
                <a:gd name="connsiteX64" fmla="*/ 217583 w 1764396"/>
                <a:gd name="connsiteY64" fmla="*/ 834037 h 853808"/>
                <a:gd name="connsiteX65" fmla="*/ 244169 w 1764396"/>
                <a:gd name="connsiteY65" fmla="*/ 838048 h 853808"/>
                <a:gd name="connsiteX66" fmla="*/ 258457 w 1764396"/>
                <a:gd name="connsiteY66" fmla="*/ 848075 h 853808"/>
                <a:gd name="connsiteX67" fmla="*/ 301360 w 1764396"/>
                <a:gd name="connsiteY67" fmla="*/ 848810 h 853808"/>
                <a:gd name="connsiteX68" fmla="*/ 320640 w 1764396"/>
                <a:gd name="connsiteY68" fmla="*/ 849813 h 853808"/>
                <a:gd name="connsiteX69" fmla="*/ 369672 w 1764396"/>
                <a:gd name="connsiteY69" fmla="*/ 837179 h 853808"/>
                <a:gd name="connsiteX70" fmla="*/ 428649 w 1764396"/>
                <a:gd name="connsiteY70" fmla="*/ 842059 h 853808"/>
                <a:gd name="connsiteX71" fmla="*/ 471431 w 1764396"/>
                <a:gd name="connsiteY71" fmla="*/ 816022 h 853808"/>
                <a:gd name="connsiteX72" fmla="*/ 508205 w 1764396"/>
                <a:gd name="connsiteY72" fmla="*/ 803187 h 853808"/>
                <a:gd name="connsiteX73" fmla="*/ 569902 w 1764396"/>
                <a:gd name="connsiteY73" fmla="*/ 786977 h 853808"/>
                <a:gd name="connsiteX74" fmla="*/ 607123 w 1764396"/>
                <a:gd name="connsiteY74" fmla="*/ 777117 h 853808"/>
                <a:gd name="connsiteX75" fmla="*/ 658996 w 1764396"/>
                <a:gd name="connsiteY75" fmla="*/ 752049 h 853808"/>
                <a:gd name="connsiteX76" fmla="*/ 686922 w 1764396"/>
                <a:gd name="connsiteY76" fmla="*/ 733365 h 853808"/>
                <a:gd name="connsiteX77" fmla="*/ 729298 w 1764396"/>
                <a:gd name="connsiteY77" fmla="*/ 710804 h 853808"/>
                <a:gd name="connsiteX78" fmla="*/ 799437 w 1764396"/>
                <a:gd name="connsiteY78" fmla="*/ 713980 h 853808"/>
                <a:gd name="connsiteX79" fmla="*/ 847657 w 1764396"/>
                <a:gd name="connsiteY79" fmla="*/ 715216 h 853808"/>
                <a:gd name="connsiteX80" fmla="*/ 862838 w 1764396"/>
                <a:gd name="connsiteY80" fmla="*/ 692154 h 853808"/>
                <a:gd name="connsiteX81" fmla="*/ 913251 w 1764396"/>
                <a:gd name="connsiteY81" fmla="*/ 680924 h 853808"/>
                <a:gd name="connsiteX82" fmla="*/ 961958 w 1764396"/>
                <a:gd name="connsiteY82" fmla="*/ 692990 h 853808"/>
                <a:gd name="connsiteX83" fmla="*/ 994998 w 1764396"/>
                <a:gd name="connsiteY83" fmla="*/ 707027 h 853808"/>
                <a:gd name="connsiteX84" fmla="*/ 1049104 w 1764396"/>
                <a:gd name="connsiteY84" fmla="*/ 696432 h 853808"/>
                <a:gd name="connsiteX85" fmla="*/ 1026983 w 1764396"/>
                <a:gd name="connsiteY85" fmla="*/ 683063 h 853808"/>
                <a:gd name="connsiteX86" fmla="*/ 1030068 w 1764396"/>
                <a:gd name="connsiteY86" fmla="*/ 668891 h 853808"/>
                <a:gd name="connsiteX87" fmla="*/ 1035223 w 1764396"/>
                <a:gd name="connsiteY87" fmla="*/ 655221 h 853808"/>
                <a:gd name="connsiteX88" fmla="*/ 1041352 w 1764396"/>
                <a:gd name="connsiteY88" fmla="*/ 642085 h 853808"/>
                <a:gd name="connsiteX89" fmla="*/ 1064244 w 1764396"/>
                <a:gd name="connsiteY89" fmla="*/ 629919 h 853808"/>
                <a:gd name="connsiteX90" fmla="*/ 1075975 w 1764396"/>
                <a:gd name="connsiteY90" fmla="*/ 615447 h 853808"/>
                <a:gd name="connsiteX91" fmla="*/ 1077396 w 1764396"/>
                <a:gd name="connsiteY91" fmla="*/ 605821 h 853808"/>
                <a:gd name="connsiteX92" fmla="*/ 1095499 w 1764396"/>
                <a:gd name="connsiteY92" fmla="*/ 597665 h 853808"/>
                <a:gd name="connsiteX93" fmla="*/ 1109827 w 1764396"/>
                <a:gd name="connsiteY93" fmla="*/ 587638 h 853808"/>
                <a:gd name="connsiteX94" fmla="*/ 1120786 w 1764396"/>
                <a:gd name="connsiteY94" fmla="*/ 580018 h 853808"/>
                <a:gd name="connsiteX95" fmla="*/ 1146966 w 1764396"/>
                <a:gd name="connsiteY95" fmla="*/ 578313 h 853808"/>
                <a:gd name="connsiteX96" fmla="*/ 1156302 w 1764396"/>
                <a:gd name="connsiteY96" fmla="*/ 568286 h 853808"/>
                <a:gd name="connsiteX97" fmla="*/ 1187110 w 1764396"/>
                <a:gd name="connsiteY97" fmla="*/ 568520 h 853808"/>
                <a:gd name="connsiteX98" fmla="*/ 1208582 w 1764396"/>
                <a:gd name="connsiteY98" fmla="*/ 560699 h 853808"/>
                <a:gd name="connsiteX99" fmla="*/ 1212641 w 1764396"/>
                <a:gd name="connsiteY99" fmla="*/ 551574 h 853808"/>
                <a:gd name="connsiteX100" fmla="*/ 1238009 w 1764396"/>
                <a:gd name="connsiteY100" fmla="*/ 553546 h 853808"/>
                <a:gd name="connsiteX101" fmla="*/ 1232205 w 1764396"/>
                <a:gd name="connsiteY101" fmla="*/ 547129 h 853808"/>
                <a:gd name="connsiteX102" fmla="*/ 1219500 w 1764396"/>
                <a:gd name="connsiteY102" fmla="*/ 537637 h 853808"/>
                <a:gd name="connsiteX103" fmla="*/ 1256599 w 1764396"/>
                <a:gd name="connsiteY103" fmla="*/ 520022 h 853808"/>
                <a:gd name="connsiteX104" fmla="*/ 1272470 w 1764396"/>
                <a:gd name="connsiteY104" fmla="*/ 511566 h 853808"/>
                <a:gd name="connsiteX105" fmla="*/ 1294997 w 1764396"/>
                <a:gd name="connsiteY105" fmla="*/ 506185 h 853808"/>
                <a:gd name="connsiteX106" fmla="*/ 1331772 w 1764396"/>
                <a:gd name="connsiteY106" fmla="*/ 494754 h 853808"/>
                <a:gd name="connsiteX107" fmla="*/ 1364852 w 1764396"/>
                <a:gd name="connsiteY107" fmla="*/ 492882 h 853808"/>
                <a:gd name="connsiteX108" fmla="*/ 1403250 w 1764396"/>
                <a:gd name="connsiteY108" fmla="*/ 481051 h 853808"/>
                <a:gd name="connsiteX109" fmla="*/ 1433895 w 1764396"/>
                <a:gd name="connsiteY109" fmla="*/ 494186 h 853808"/>
                <a:gd name="connsiteX110" fmla="*/ 1445504 w 1764396"/>
                <a:gd name="connsiteY110" fmla="*/ 510898 h 853808"/>
                <a:gd name="connsiteX111" fmla="*/ 1462146 w 1764396"/>
                <a:gd name="connsiteY111" fmla="*/ 515310 h 853808"/>
                <a:gd name="connsiteX112" fmla="*/ 1470629 w 1764396"/>
                <a:gd name="connsiteY112" fmla="*/ 525337 h 853808"/>
                <a:gd name="connsiteX113" fmla="*/ 1497378 w 1764396"/>
                <a:gd name="connsiteY113" fmla="*/ 529983 h 853808"/>
                <a:gd name="connsiteX114" fmla="*/ 1518525 w 1764396"/>
                <a:gd name="connsiteY114" fmla="*/ 533960 h 853808"/>
                <a:gd name="connsiteX115" fmla="*/ 1527982 w 1764396"/>
                <a:gd name="connsiteY115" fmla="*/ 514240 h 853808"/>
                <a:gd name="connsiteX116" fmla="*/ 1518444 w 1764396"/>
                <a:gd name="connsiteY116" fmla="*/ 492749 h 853808"/>
                <a:gd name="connsiteX117" fmla="*/ 1497053 w 1764396"/>
                <a:gd name="connsiteY117" fmla="*/ 479079 h 853808"/>
                <a:gd name="connsiteX118" fmla="*/ 1475947 w 1764396"/>
                <a:gd name="connsiteY118" fmla="*/ 465208 h 853808"/>
                <a:gd name="connsiteX119" fmla="*/ 1453216 w 1764396"/>
                <a:gd name="connsiteY119" fmla="*/ 418883 h 853808"/>
                <a:gd name="connsiteX120" fmla="*/ 1466854 w 1764396"/>
                <a:gd name="connsiteY120" fmla="*/ 397224 h 853808"/>
                <a:gd name="connsiteX121" fmla="*/ 1489382 w 1764396"/>
                <a:gd name="connsiteY121" fmla="*/ 376769 h 853808"/>
                <a:gd name="connsiteX122" fmla="*/ 1512315 w 1764396"/>
                <a:gd name="connsiteY122" fmla="*/ 357818 h 853808"/>
                <a:gd name="connsiteX123" fmla="*/ 1533827 w 1764396"/>
                <a:gd name="connsiteY123" fmla="*/ 336059 h 853808"/>
                <a:gd name="connsiteX124" fmla="*/ 1552620 w 1764396"/>
                <a:gd name="connsiteY124" fmla="*/ 319581 h 853808"/>
                <a:gd name="connsiteX125" fmla="*/ 1542676 w 1764396"/>
                <a:gd name="connsiteY125" fmla="*/ 314334 h 853808"/>
                <a:gd name="connsiteX126" fmla="*/ 1549901 w 1764396"/>
                <a:gd name="connsiteY126" fmla="*/ 308986 h 853808"/>
                <a:gd name="connsiteX127" fmla="*/ 1576934 w 1764396"/>
                <a:gd name="connsiteY127" fmla="*/ 297020 h 853808"/>
                <a:gd name="connsiteX128" fmla="*/ 1558100 w 1764396"/>
                <a:gd name="connsiteY128" fmla="*/ 292976 h 853808"/>
                <a:gd name="connsiteX129" fmla="*/ 1557004 w 1764396"/>
                <a:gd name="connsiteY129" fmla="*/ 281010 h 853808"/>
                <a:gd name="connsiteX130" fmla="*/ 1541377 w 1764396"/>
                <a:gd name="connsiteY130" fmla="*/ 273958 h 853808"/>
                <a:gd name="connsiteX131" fmla="*/ 1515765 w 1764396"/>
                <a:gd name="connsiteY131" fmla="*/ 266839 h 853808"/>
                <a:gd name="connsiteX132" fmla="*/ 1526643 w 1764396"/>
                <a:gd name="connsiteY132" fmla="*/ 253937 h 853808"/>
                <a:gd name="connsiteX133" fmla="*/ 1526156 w 1764396"/>
                <a:gd name="connsiteY133" fmla="*/ 229571 h 853808"/>
                <a:gd name="connsiteX134" fmla="*/ 1526805 w 1764396"/>
                <a:gd name="connsiteY134" fmla="*/ 239197 h 853808"/>
                <a:gd name="connsiteX135" fmla="*/ 1544989 w 1764396"/>
                <a:gd name="connsiteY135" fmla="*/ 252366 h 853808"/>
                <a:gd name="connsiteX136" fmla="*/ 1560292 w 1764396"/>
                <a:gd name="connsiteY136" fmla="*/ 261057 h 853808"/>
                <a:gd name="connsiteX137" fmla="*/ 1553879 w 1764396"/>
                <a:gd name="connsiteY137" fmla="*/ 233148 h 853808"/>
                <a:gd name="connsiteX138" fmla="*/ 1551606 w 1764396"/>
                <a:gd name="connsiteY138" fmla="*/ 226062 h 853808"/>
                <a:gd name="connsiteX139" fmla="*/ 1571901 w 1764396"/>
                <a:gd name="connsiteY139" fmla="*/ 223689 h 853808"/>
                <a:gd name="connsiteX140" fmla="*/ 1585173 w 1764396"/>
                <a:gd name="connsiteY140" fmla="*/ 204905 h 853808"/>
                <a:gd name="connsiteX141" fmla="*/ 1586919 w 1764396"/>
                <a:gd name="connsiteY141" fmla="*/ 197217 h 853808"/>
                <a:gd name="connsiteX142" fmla="*/ 1579856 w 1764396"/>
                <a:gd name="connsiteY142" fmla="*/ 192939 h 853808"/>
                <a:gd name="connsiteX143" fmla="*/ 1630796 w 1764396"/>
                <a:gd name="connsiteY143" fmla="*/ 169543 h 853808"/>
                <a:gd name="connsiteX144" fmla="*/ 1626169 w 1764396"/>
                <a:gd name="connsiteY144" fmla="*/ 165398 h 853808"/>
                <a:gd name="connsiteX145" fmla="*/ 1593251 w 1764396"/>
                <a:gd name="connsiteY145" fmla="*/ 178066 h 853808"/>
                <a:gd name="connsiteX146" fmla="*/ 1626859 w 1764396"/>
                <a:gd name="connsiteY146" fmla="*/ 158312 h 853808"/>
                <a:gd name="connsiteX147" fmla="*/ 1644678 w 1764396"/>
                <a:gd name="connsiteY147" fmla="*/ 150023 h 853808"/>
                <a:gd name="connsiteX148" fmla="*/ 1646992 w 1764396"/>
                <a:gd name="connsiteY148" fmla="*/ 142570 h 853808"/>
                <a:gd name="connsiteX149" fmla="*/ 1669478 w 1764396"/>
                <a:gd name="connsiteY149" fmla="*/ 140030 h 853808"/>
                <a:gd name="connsiteX150" fmla="*/ 1671832 w 1764396"/>
                <a:gd name="connsiteY150" fmla="*/ 126961 h 853808"/>
                <a:gd name="connsiteX151" fmla="*/ 1658194 w 1764396"/>
                <a:gd name="connsiteY151" fmla="*/ 125123 h 853808"/>
                <a:gd name="connsiteX152" fmla="*/ 1660833 w 1764396"/>
                <a:gd name="connsiteY152" fmla="*/ 115530 h 853808"/>
                <a:gd name="connsiteX153" fmla="*/ 1663674 w 1764396"/>
                <a:gd name="connsiteY153" fmla="*/ 102729 h 853808"/>
                <a:gd name="connsiteX154" fmla="*/ 1681615 w 1764396"/>
                <a:gd name="connsiteY154" fmla="*/ 88390 h 853808"/>
                <a:gd name="connsiteX155" fmla="*/ 1694563 w 1764396"/>
                <a:gd name="connsiteY155" fmla="*/ 80201 h 853808"/>
                <a:gd name="connsiteX156" fmla="*/ 1709906 w 1764396"/>
                <a:gd name="connsiteY156" fmla="*/ 61986 h 853808"/>
                <a:gd name="connsiteX157" fmla="*/ 1735112 w 1764396"/>
                <a:gd name="connsiteY157" fmla="*/ 59111 h 853808"/>
                <a:gd name="connsiteX158" fmla="*/ 1764337 w 1764396"/>
                <a:gd name="connsiteY158" fmla="*/ 38088 h 853808"/>
                <a:gd name="connsiteX159" fmla="*/ 1719120 w 1764396"/>
                <a:gd name="connsiteY159" fmla="*/ 854 h 853808"/>
                <a:gd name="connsiteX160" fmla="*/ 1718592 w 1764396"/>
                <a:gd name="connsiteY160" fmla="*/ 1121 h 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764396" h="853808">
                  <a:moveTo>
                    <a:pt x="1718592" y="1121"/>
                  </a:moveTo>
                  <a:cubicBezTo>
                    <a:pt x="1717456" y="-650"/>
                    <a:pt x="1671914" y="6536"/>
                    <a:pt x="1668342" y="8274"/>
                  </a:cubicBezTo>
                  <a:cubicBezTo>
                    <a:pt x="1653527" y="15259"/>
                    <a:pt x="1650198" y="33041"/>
                    <a:pt x="1648493" y="41430"/>
                  </a:cubicBezTo>
                  <a:cubicBezTo>
                    <a:pt x="1644434" y="60983"/>
                    <a:pt x="1630188" y="76124"/>
                    <a:pt x="1598162" y="86184"/>
                  </a:cubicBezTo>
                  <a:cubicBezTo>
                    <a:pt x="1580331" y="91756"/>
                    <a:pt x="1562524" y="97415"/>
                    <a:pt x="1544746" y="103164"/>
                  </a:cubicBezTo>
                  <a:cubicBezTo>
                    <a:pt x="1533381" y="106773"/>
                    <a:pt x="1516333" y="110383"/>
                    <a:pt x="1507809" y="116934"/>
                  </a:cubicBezTo>
                  <a:cubicBezTo>
                    <a:pt x="1499622" y="123599"/>
                    <a:pt x="1491963" y="130688"/>
                    <a:pt x="1484876" y="138158"/>
                  </a:cubicBezTo>
                  <a:cubicBezTo>
                    <a:pt x="1478098" y="144843"/>
                    <a:pt x="1489463" y="142971"/>
                    <a:pt x="1484389" y="149823"/>
                  </a:cubicBezTo>
                  <a:cubicBezTo>
                    <a:pt x="1472212" y="166267"/>
                    <a:pt x="1429877" y="177297"/>
                    <a:pt x="1407268" y="186990"/>
                  </a:cubicBezTo>
                  <a:cubicBezTo>
                    <a:pt x="1422612" y="199022"/>
                    <a:pt x="1355273" y="242607"/>
                    <a:pt x="1334491" y="253202"/>
                  </a:cubicBezTo>
                  <a:cubicBezTo>
                    <a:pt x="1319270" y="260823"/>
                    <a:pt x="1282820" y="271685"/>
                    <a:pt x="1283186" y="255809"/>
                  </a:cubicBezTo>
                  <a:cubicBezTo>
                    <a:pt x="1283186" y="251029"/>
                    <a:pt x="1290532" y="247119"/>
                    <a:pt x="1298123" y="246852"/>
                  </a:cubicBezTo>
                  <a:cubicBezTo>
                    <a:pt x="1308148" y="246484"/>
                    <a:pt x="1307174" y="249960"/>
                    <a:pt x="1316023" y="241938"/>
                  </a:cubicBezTo>
                  <a:cubicBezTo>
                    <a:pt x="1299787" y="239933"/>
                    <a:pt x="1303359" y="211857"/>
                    <a:pt x="1283145" y="215199"/>
                  </a:cubicBezTo>
                  <a:cubicBezTo>
                    <a:pt x="1270441" y="217272"/>
                    <a:pt x="1265570" y="225995"/>
                    <a:pt x="1256802" y="231243"/>
                  </a:cubicBezTo>
                  <a:cubicBezTo>
                    <a:pt x="1249253" y="235755"/>
                    <a:pt x="1256031" y="216737"/>
                    <a:pt x="1256802" y="215400"/>
                  </a:cubicBezTo>
                  <a:cubicBezTo>
                    <a:pt x="1261430" y="204972"/>
                    <a:pt x="1258832" y="197585"/>
                    <a:pt x="1243327" y="195112"/>
                  </a:cubicBezTo>
                  <a:cubicBezTo>
                    <a:pt x="1232164" y="193340"/>
                    <a:pt x="1213493" y="195446"/>
                    <a:pt x="1204644" y="204370"/>
                  </a:cubicBezTo>
                  <a:cubicBezTo>
                    <a:pt x="1200870" y="208180"/>
                    <a:pt x="1202412" y="211055"/>
                    <a:pt x="1200058" y="214899"/>
                  </a:cubicBezTo>
                  <a:cubicBezTo>
                    <a:pt x="1196932" y="219879"/>
                    <a:pt x="1188936" y="222987"/>
                    <a:pt x="1183051" y="226898"/>
                  </a:cubicBezTo>
                  <a:cubicBezTo>
                    <a:pt x="1169981" y="235688"/>
                    <a:pt x="1175704" y="251096"/>
                    <a:pt x="1178789" y="258416"/>
                  </a:cubicBezTo>
                  <a:cubicBezTo>
                    <a:pt x="1182198" y="266471"/>
                    <a:pt x="1195025" y="272287"/>
                    <a:pt x="1193442" y="281812"/>
                  </a:cubicBezTo>
                  <a:cubicBezTo>
                    <a:pt x="1192346" y="288497"/>
                    <a:pt x="1181874" y="300797"/>
                    <a:pt x="1170671" y="304875"/>
                  </a:cubicBezTo>
                  <a:cubicBezTo>
                    <a:pt x="1137306" y="317075"/>
                    <a:pt x="1139295" y="267574"/>
                    <a:pt x="1139579" y="258750"/>
                  </a:cubicBezTo>
                  <a:cubicBezTo>
                    <a:pt x="1139579" y="255909"/>
                    <a:pt x="1140229" y="251698"/>
                    <a:pt x="1137509" y="249659"/>
                  </a:cubicBezTo>
                  <a:cubicBezTo>
                    <a:pt x="1134789" y="247620"/>
                    <a:pt x="1129066" y="251665"/>
                    <a:pt x="1127605" y="249893"/>
                  </a:cubicBezTo>
                  <a:cubicBezTo>
                    <a:pt x="1123952" y="245481"/>
                    <a:pt x="1138808" y="232713"/>
                    <a:pt x="1143841" y="228335"/>
                  </a:cubicBezTo>
                  <a:cubicBezTo>
                    <a:pt x="1156586" y="217104"/>
                    <a:pt x="1172619" y="209116"/>
                    <a:pt x="1190722" y="201362"/>
                  </a:cubicBezTo>
                  <a:cubicBezTo>
                    <a:pt x="1199977" y="197418"/>
                    <a:pt x="1209637" y="193741"/>
                    <a:pt x="1218567" y="189363"/>
                  </a:cubicBezTo>
                  <a:cubicBezTo>
                    <a:pt x="1225264" y="186021"/>
                    <a:pt x="1223032" y="183781"/>
                    <a:pt x="1228024" y="180840"/>
                  </a:cubicBezTo>
                  <a:cubicBezTo>
                    <a:pt x="1217430" y="180405"/>
                    <a:pt x="1211788" y="178801"/>
                    <a:pt x="1205132" y="184583"/>
                  </a:cubicBezTo>
                  <a:cubicBezTo>
                    <a:pt x="1199774" y="189363"/>
                    <a:pt x="1195228" y="186890"/>
                    <a:pt x="1190032" y="186221"/>
                  </a:cubicBezTo>
                  <a:cubicBezTo>
                    <a:pt x="1169737" y="183614"/>
                    <a:pt x="1150051" y="203367"/>
                    <a:pt x="1133491" y="211055"/>
                  </a:cubicBezTo>
                  <a:cubicBezTo>
                    <a:pt x="1125089" y="214932"/>
                    <a:pt x="1115022" y="216336"/>
                    <a:pt x="1108082" y="214197"/>
                  </a:cubicBezTo>
                  <a:cubicBezTo>
                    <a:pt x="1099639" y="211589"/>
                    <a:pt x="1098908" y="213829"/>
                    <a:pt x="1088882" y="214598"/>
                  </a:cubicBezTo>
                  <a:cubicBezTo>
                    <a:pt x="1079709" y="215300"/>
                    <a:pt x="1092617" y="197084"/>
                    <a:pt x="1076705" y="209551"/>
                  </a:cubicBezTo>
                  <a:cubicBezTo>
                    <a:pt x="1061931" y="221282"/>
                    <a:pt x="1050403" y="236290"/>
                    <a:pt x="1031367" y="246317"/>
                  </a:cubicBezTo>
                  <a:cubicBezTo>
                    <a:pt x="1022437" y="250929"/>
                    <a:pt x="1018216" y="249057"/>
                    <a:pt x="1009327" y="250495"/>
                  </a:cubicBezTo>
                  <a:cubicBezTo>
                    <a:pt x="998773" y="252199"/>
                    <a:pt x="991792" y="259486"/>
                    <a:pt x="981726" y="261491"/>
                  </a:cubicBezTo>
                  <a:cubicBezTo>
                    <a:pt x="962567" y="265301"/>
                    <a:pt x="981726" y="247019"/>
                    <a:pt x="986556" y="242740"/>
                  </a:cubicBezTo>
                  <a:cubicBezTo>
                    <a:pt x="1000559" y="230440"/>
                    <a:pt x="1027389" y="221082"/>
                    <a:pt x="1038592" y="209584"/>
                  </a:cubicBezTo>
                  <a:cubicBezTo>
                    <a:pt x="1026415" y="211723"/>
                    <a:pt x="1012411" y="213628"/>
                    <a:pt x="1000559" y="218542"/>
                  </a:cubicBezTo>
                  <a:cubicBezTo>
                    <a:pt x="988707" y="223455"/>
                    <a:pt x="988626" y="231911"/>
                    <a:pt x="972146" y="231543"/>
                  </a:cubicBezTo>
                  <a:cubicBezTo>
                    <a:pt x="960659" y="231209"/>
                    <a:pt x="948929" y="237292"/>
                    <a:pt x="938660" y="235788"/>
                  </a:cubicBezTo>
                  <a:cubicBezTo>
                    <a:pt x="921409" y="233215"/>
                    <a:pt x="915524" y="247487"/>
                    <a:pt x="899369" y="249759"/>
                  </a:cubicBezTo>
                  <a:cubicBezTo>
                    <a:pt x="879074" y="252634"/>
                    <a:pt x="880048" y="251230"/>
                    <a:pt x="868196" y="246183"/>
                  </a:cubicBezTo>
                  <a:cubicBezTo>
                    <a:pt x="858820" y="242206"/>
                    <a:pt x="854314" y="249759"/>
                    <a:pt x="855735" y="254338"/>
                  </a:cubicBezTo>
                  <a:cubicBezTo>
                    <a:pt x="856628" y="257246"/>
                    <a:pt x="856019" y="256678"/>
                    <a:pt x="850986" y="258750"/>
                  </a:cubicBezTo>
                  <a:cubicBezTo>
                    <a:pt x="804226" y="278002"/>
                    <a:pt x="757658" y="297665"/>
                    <a:pt x="711276" y="317743"/>
                  </a:cubicBezTo>
                  <a:cubicBezTo>
                    <a:pt x="542962" y="390516"/>
                    <a:pt x="377466" y="468807"/>
                    <a:pt x="214782" y="552610"/>
                  </a:cubicBezTo>
                  <a:cubicBezTo>
                    <a:pt x="159771" y="580887"/>
                    <a:pt x="105137" y="609855"/>
                    <a:pt x="50881" y="639512"/>
                  </a:cubicBezTo>
                  <a:cubicBezTo>
                    <a:pt x="59810" y="640682"/>
                    <a:pt x="94961" y="660402"/>
                    <a:pt x="74747" y="671331"/>
                  </a:cubicBezTo>
                  <a:cubicBezTo>
                    <a:pt x="58511" y="680021"/>
                    <a:pt x="66629" y="666251"/>
                    <a:pt x="66629" y="662841"/>
                  </a:cubicBezTo>
                  <a:cubicBezTo>
                    <a:pt x="67035" y="653349"/>
                    <a:pt x="48851" y="663042"/>
                    <a:pt x="44589" y="657093"/>
                  </a:cubicBezTo>
                  <a:cubicBezTo>
                    <a:pt x="31682" y="667120"/>
                    <a:pt x="15121" y="674339"/>
                    <a:pt x="-60" y="681525"/>
                  </a:cubicBezTo>
                  <a:cubicBezTo>
                    <a:pt x="8667" y="684634"/>
                    <a:pt x="13376" y="690249"/>
                    <a:pt x="23848" y="692288"/>
                  </a:cubicBezTo>
                  <a:cubicBezTo>
                    <a:pt x="31073" y="693691"/>
                    <a:pt x="45401" y="701680"/>
                    <a:pt x="54290" y="699641"/>
                  </a:cubicBezTo>
                  <a:cubicBezTo>
                    <a:pt x="75275" y="694861"/>
                    <a:pt x="54655" y="704253"/>
                    <a:pt x="54290" y="707395"/>
                  </a:cubicBezTo>
                  <a:cubicBezTo>
                    <a:pt x="53478" y="713478"/>
                    <a:pt x="63220" y="721567"/>
                    <a:pt x="66102" y="726513"/>
                  </a:cubicBezTo>
                  <a:cubicBezTo>
                    <a:pt x="73489" y="739114"/>
                    <a:pt x="87533" y="749910"/>
                    <a:pt x="87898" y="765619"/>
                  </a:cubicBezTo>
                  <a:cubicBezTo>
                    <a:pt x="88223" y="776849"/>
                    <a:pt x="90171" y="781662"/>
                    <a:pt x="103728" y="785105"/>
                  </a:cubicBezTo>
                  <a:cubicBezTo>
                    <a:pt x="122115" y="789784"/>
                    <a:pt x="120776" y="800847"/>
                    <a:pt x="128975" y="811476"/>
                  </a:cubicBezTo>
                  <a:cubicBezTo>
                    <a:pt x="134374" y="818495"/>
                    <a:pt x="147890" y="819130"/>
                    <a:pt x="154303" y="825715"/>
                  </a:cubicBezTo>
                  <a:cubicBezTo>
                    <a:pt x="161894" y="833435"/>
                    <a:pt x="166480" y="831062"/>
                    <a:pt x="181052" y="831731"/>
                  </a:cubicBezTo>
                  <a:cubicBezTo>
                    <a:pt x="188805" y="832065"/>
                    <a:pt x="213524" y="830594"/>
                    <a:pt x="217583" y="834037"/>
                  </a:cubicBezTo>
                  <a:cubicBezTo>
                    <a:pt x="224442" y="840053"/>
                    <a:pt x="239339" y="833268"/>
                    <a:pt x="244169" y="838048"/>
                  </a:cubicBezTo>
                  <a:cubicBezTo>
                    <a:pt x="249527" y="843362"/>
                    <a:pt x="246158" y="848075"/>
                    <a:pt x="258457" y="848075"/>
                  </a:cubicBezTo>
                  <a:cubicBezTo>
                    <a:pt x="271486" y="848342"/>
                    <a:pt x="292024" y="843964"/>
                    <a:pt x="301360" y="848810"/>
                  </a:cubicBezTo>
                  <a:cubicBezTo>
                    <a:pt x="310696" y="853657"/>
                    <a:pt x="304810" y="855829"/>
                    <a:pt x="320640" y="849813"/>
                  </a:cubicBezTo>
                  <a:cubicBezTo>
                    <a:pt x="336470" y="843797"/>
                    <a:pt x="354573" y="845401"/>
                    <a:pt x="369672" y="837179"/>
                  </a:cubicBezTo>
                  <a:cubicBezTo>
                    <a:pt x="395122" y="823308"/>
                    <a:pt x="412982" y="836778"/>
                    <a:pt x="428649" y="842059"/>
                  </a:cubicBezTo>
                  <a:cubicBezTo>
                    <a:pt x="437133" y="840822"/>
                    <a:pt x="463759" y="820634"/>
                    <a:pt x="471431" y="816022"/>
                  </a:cubicBezTo>
                  <a:cubicBezTo>
                    <a:pt x="488113" y="805995"/>
                    <a:pt x="489088" y="806396"/>
                    <a:pt x="508205" y="803187"/>
                  </a:cubicBezTo>
                  <a:cubicBezTo>
                    <a:pt x="528135" y="799845"/>
                    <a:pt x="549810" y="792191"/>
                    <a:pt x="569902" y="786977"/>
                  </a:cubicBezTo>
                  <a:cubicBezTo>
                    <a:pt x="580618" y="784169"/>
                    <a:pt x="597016" y="782063"/>
                    <a:pt x="607123" y="777117"/>
                  </a:cubicBezTo>
                  <a:cubicBezTo>
                    <a:pt x="624414" y="768694"/>
                    <a:pt x="641705" y="760338"/>
                    <a:pt x="658996" y="752049"/>
                  </a:cubicBezTo>
                  <a:cubicBezTo>
                    <a:pt x="672959" y="745364"/>
                    <a:pt x="682417" y="743292"/>
                    <a:pt x="686922" y="733365"/>
                  </a:cubicBezTo>
                  <a:cubicBezTo>
                    <a:pt x="690981" y="724775"/>
                    <a:pt x="717689" y="716119"/>
                    <a:pt x="729298" y="710804"/>
                  </a:cubicBezTo>
                  <a:cubicBezTo>
                    <a:pt x="738268" y="706626"/>
                    <a:pt x="795946" y="708565"/>
                    <a:pt x="799437" y="713980"/>
                  </a:cubicBezTo>
                  <a:cubicBezTo>
                    <a:pt x="805688" y="723338"/>
                    <a:pt x="831909" y="717857"/>
                    <a:pt x="847657" y="715216"/>
                  </a:cubicBezTo>
                  <a:cubicBezTo>
                    <a:pt x="860971" y="712977"/>
                    <a:pt x="854030" y="699006"/>
                    <a:pt x="862838" y="692154"/>
                  </a:cubicBezTo>
                  <a:cubicBezTo>
                    <a:pt x="873391" y="683965"/>
                    <a:pt x="901845" y="680556"/>
                    <a:pt x="913251" y="680924"/>
                  </a:cubicBezTo>
                  <a:cubicBezTo>
                    <a:pt x="931881" y="681525"/>
                    <a:pt x="941988" y="692254"/>
                    <a:pt x="961958" y="692990"/>
                  </a:cubicBezTo>
                  <a:cubicBezTo>
                    <a:pt x="975596" y="693491"/>
                    <a:pt x="979453" y="710370"/>
                    <a:pt x="994998" y="707027"/>
                  </a:cubicBezTo>
                  <a:cubicBezTo>
                    <a:pt x="1010544" y="703685"/>
                    <a:pt x="1034127" y="697401"/>
                    <a:pt x="1049104" y="696432"/>
                  </a:cubicBezTo>
                  <a:cubicBezTo>
                    <a:pt x="1046588" y="691251"/>
                    <a:pt x="1024426" y="688377"/>
                    <a:pt x="1026983" y="683063"/>
                  </a:cubicBezTo>
                  <a:cubicBezTo>
                    <a:pt x="1029540" y="677748"/>
                    <a:pt x="1035710" y="673036"/>
                    <a:pt x="1030068" y="668891"/>
                  </a:cubicBezTo>
                  <a:cubicBezTo>
                    <a:pt x="1023695" y="664111"/>
                    <a:pt x="1027917" y="662006"/>
                    <a:pt x="1035223" y="655221"/>
                  </a:cubicBezTo>
                  <a:cubicBezTo>
                    <a:pt x="1041880" y="649071"/>
                    <a:pt x="1038551" y="647534"/>
                    <a:pt x="1041352" y="642085"/>
                  </a:cubicBezTo>
                  <a:cubicBezTo>
                    <a:pt x="1044153" y="636637"/>
                    <a:pt x="1058521" y="634565"/>
                    <a:pt x="1064244" y="629919"/>
                  </a:cubicBezTo>
                  <a:cubicBezTo>
                    <a:pt x="1069387" y="625855"/>
                    <a:pt x="1073393" y="620918"/>
                    <a:pt x="1075975" y="615447"/>
                  </a:cubicBezTo>
                  <a:cubicBezTo>
                    <a:pt x="1077314" y="612305"/>
                    <a:pt x="1072281" y="608428"/>
                    <a:pt x="1077396" y="605821"/>
                  </a:cubicBezTo>
                  <a:cubicBezTo>
                    <a:pt x="1083159" y="602913"/>
                    <a:pt x="1092333" y="602478"/>
                    <a:pt x="1095499" y="597665"/>
                  </a:cubicBezTo>
                  <a:cubicBezTo>
                    <a:pt x="1099964" y="590713"/>
                    <a:pt x="1096473" y="589945"/>
                    <a:pt x="1109827" y="587638"/>
                  </a:cubicBezTo>
                  <a:cubicBezTo>
                    <a:pt x="1120746" y="585833"/>
                    <a:pt x="1112749" y="582190"/>
                    <a:pt x="1120786" y="580018"/>
                  </a:cubicBezTo>
                  <a:cubicBezTo>
                    <a:pt x="1130406" y="577444"/>
                    <a:pt x="1136291" y="582057"/>
                    <a:pt x="1146966" y="578313"/>
                  </a:cubicBezTo>
                  <a:cubicBezTo>
                    <a:pt x="1156667" y="574971"/>
                    <a:pt x="1151025" y="571294"/>
                    <a:pt x="1156302" y="568286"/>
                  </a:cubicBezTo>
                  <a:cubicBezTo>
                    <a:pt x="1164420" y="563674"/>
                    <a:pt x="1178139" y="570325"/>
                    <a:pt x="1187110" y="568520"/>
                  </a:cubicBezTo>
                  <a:cubicBezTo>
                    <a:pt x="1194623" y="566635"/>
                    <a:pt x="1201832" y="564008"/>
                    <a:pt x="1208582" y="560699"/>
                  </a:cubicBezTo>
                  <a:cubicBezTo>
                    <a:pt x="1215522" y="557357"/>
                    <a:pt x="1210084" y="552811"/>
                    <a:pt x="1212641" y="551574"/>
                  </a:cubicBezTo>
                  <a:cubicBezTo>
                    <a:pt x="1216700" y="549602"/>
                    <a:pt x="1232935" y="554014"/>
                    <a:pt x="1238009" y="553546"/>
                  </a:cubicBezTo>
                  <a:cubicBezTo>
                    <a:pt x="1257858" y="551775"/>
                    <a:pt x="1239105" y="547396"/>
                    <a:pt x="1232205" y="547129"/>
                  </a:cubicBezTo>
                  <a:cubicBezTo>
                    <a:pt x="1228958" y="547129"/>
                    <a:pt x="1218161" y="539442"/>
                    <a:pt x="1219500" y="537637"/>
                  </a:cubicBezTo>
                  <a:cubicBezTo>
                    <a:pt x="1226725" y="528077"/>
                    <a:pt x="1244219" y="524936"/>
                    <a:pt x="1256599" y="520022"/>
                  </a:cubicBezTo>
                  <a:cubicBezTo>
                    <a:pt x="1262931" y="517516"/>
                    <a:pt x="1263094" y="505684"/>
                    <a:pt x="1272470" y="511566"/>
                  </a:cubicBezTo>
                  <a:cubicBezTo>
                    <a:pt x="1280141" y="516379"/>
                    <a:pt x="1283876" y="512469"/>
                    <a:pt x="1294997" y="506185"/>
                  </a:cubicBezTo>
                  <a:cubicBezTo>
                    <a:pt x="1306119" y="499901"/>
                    <a:pt x="1317930" y="494086"/>
                    <a:pt x="1331772" y="494754"/>
                  </a:cubicBezTo>
                  <a:cubicBezTo>
                    <a:pt x="1343949" y="495389"/>
                    <a:pt x="1352432" y="506686"/>
                    <a:pt x="1364852" y="492882"/>
                  </a:cubicBezTo>
                  <a:cubicBezTo>
                    <a:pt x="1377273" y="479079"/>
                    <a:pt x="1383848" y="476973"/>
                    <a:pt x="1403250" y="481051"/>
                  </a:cubicBezTo>
                  <a:cubicBezTo>
                    <a:pt x="1415711" y="483658"/>
                    <a:pt x="1434667" y="483658"/>
                    <a:pt x="1433895" y="494186"/>
                  </a:cubicBezTo>
                  <a:cubicBezTo>
                    <a:pt x="1433327" y="501706"/>
                    <a:pt x="1439456" y="505750"/>
                    <a:pt x="1445504" y="510898"/>
                  </a:cubicBezTo>
                  <a:cubicBezTo>
                    <a:pt x="1449563" y="514441"/>
                    <a:pt x="1456666" y="513237"/>
                    <a:pt x="1462146" y="515310"/>
                  </a:cubicBezTo>
                  <a:cubicBezTo>
                    <a:pt x="1467625" y="517382"/>
                    <a:pt x="1467625" y="521995"/>
                    <a:pt x="1470629" y="525337"/>
                  </a:cubicBezTo>
                  <a:cubicBezTo>
                    <a:pt x="1473633" y="528679"/>
                    <a:pt x="1490924" y="527075"/>
                    <a:pt x="1497378" y="529983"/>
                  </a:cubicBezTo>
                  <a:cubicBezTo>
                    <a:pt x="1503832" y="532890"/>
                    <a:pt x="1506957" y="536667"/>
                    <a:pt x="1518525" y="533960"/>
                  </a:cubicBezTo>
                  <a:cubicBezTo>
                    <a:pt x="1530093" y="531253"/>
                    <a:pt x="1526643" y="519488"/>
                    <a:pt x="1527982" y="514240"/>
                  </a:cubicBezTo>
                  <a:cubicBezTo>
                    <a:pt x="1530702" y="504714"/>
                    <a:pt x="1525750" y="499266"/>
                    <a:pt x="1518444" y="492749"/>
                  </a:cubicBezTo>
                  <a:cubicBezTo>
                    <a:pt x="1512741" y="486853"/>
                    <a:pt x="1505407" y="482167"/>
                    <a:pt x="1497053" y="479079"/>
                  </a:cubicBezTo>
                  <a:cubicBezTo>
                    <a:pt x="1488123" y="476405"/>
                    <a:pt x="1484876" y="468784"/>
                    <a:pt x="1475947" y="465208"/>
                  </a:cubicBezTo>
                  <a:cubicBezTo>
                    <a:pt x="1452161" y="455749"/>
                    <a:pt x="1444124" y="439171"/>
                    <a:pt x="1453216" y="418883"/>
                  </a:cubicBezTo>
                  <a:cubicBezTo>
                    <a:pt x="1456455" y="411155"/>
                    <a:pt x="1461050" y="403859"/>
                    <a:pt x="1466854" y="397224"/>
                  </a:cubicBezTo>
                  <a:cubicBezTo>
                    <a:pt x="1475662" y="387732"/>
                    <a:pt x="1485526" y="387197"/>
                    <a:pt x="1489382" y="376769"/>
                  </a:cubicBezTo>
                  <a:cubicBezTo>
                    <a:pt x="1492966" y="367828"/>
                    <a:pt x="1501469" y="360802"/>
                    <a:pt x="1512315" y="357818"/>
                  </a:cubicBezTo>
                  <a:cubicBezTo>
                    <a:pt x="1525506" y="353640"/>
                    <a:pt x="1523396" y="343278"/>
                    <a:pt x="1533827" y="336059"/>
                  </a:cubicBezTo>
                  <a:cubicBezTo>
                    <a:pt x="1540119" y="331681"/>
                    <a:pt x="1563458" y="324127"/>
                    <a:pt x="1552620" y="319581"/>
                  </a:cubicBezTo>
                  <a:cubicBezTo>
                    <a:pt x="1549252" y="318177"/>
                    <a:pt x="1543447" y="317375"/>
                    <a:pt x="1542676" y="314334"/>
                  </a:cubicBezTo>
                  <a:cubicBezTo>
                    <a:pt x="1542270" y="312696"/>
                    <a:pt x="1545233" y="307248"/>
                    <a:pt x="1549901" y="308986"/>
                  </a:cubicBezTo>
                  <a:cubicBezTo>
                    <a:pt x="1559602" y="312663"/>
                    <a:pt x="1572307" y="302101"/>
                    <a:pt x="1576934" y="297020"/>
                  </a:cubicBezTo>
                  <a:cubicBezTo>
                    <a:pt x="1589395" y="283250"/>
                    <a:pt x="1562606" y="297589"/>
                    <a:pt x="1558100" y="292976"/>
                  </a:cubicBezTo>
                  <a:cubicBezTo>
                    <a:pt x="1554650" y="289366"/>
                    <a:pt x="1571901" y="283818"/>
                    <a:pt x="1557004" y="281010"/>
                  </a:cubicBezTo>
                  <a:cubicBezTo>
                    <a:pt x="1546207" y="278938"/>
                    <a:pt x="1530215" y="286893"/>
                    <a:pt x="1541377" y="273958"/>
                  </a:cubicBezTo>
                  <a:cubicBezTo>
                    <a:pt x="1547587" y="266772"/>
                    <a:pt x="1521610" y="267039"/>
                    <a:pt x="1515765" y="266839"/>
                  </a:cubicBezTo>
                  <a:cubicBezTo>
                    <a:pt x="1504278" y="266471"/>
                    <a:pt x="1526968" y="257514"/>
                    <a:pt x="1526643" y="253937"/>
                  </a:cubicBezTo>
                  <a:cubicBezTo>
                    <a:pt x="1526156" y="248823"/>
                    <a:pt x="1511138" y="234485"/>
                    <a:pt x="1526156" y="229571"/>
                  </a:cubicBezTo>
                  <a:cubicBezTo>
                    <a:pt x="1533503" y="227198"/>
                    <a:pt x="1527049" y="237693"/>
                    <a:pt x="1526805" y="239197"/>
                  </a:cubicBezTo>
                  <a:cubicBezTo>
                    <a:pt x="1525547" y="247921"/>
                    <a:pt x="1538049" y="247520"/>
                    <a:pt x="1544989" y="252366"/>
                  </a:cubicBezTo>
                  <a:cubicBezTo>
                    <a:pt x="1550916" y="256544"/>
                    <a:pt x="1551768" y="279941"/>
                    <a:pt x="1560292" y="261057"/>
                  </a:cubicBezTo>
                  <a:cubicBezTo>
                    <a:pt x="1566056" y="248289"/>
                    <a:pt x="1568410" y="238462"/>
                    <a:pt x="1553879" y="233148"/>
                  </a:cubicBezTo>
                  <a:cubicBezTo>
                    <a:pt x="1552499" y="232646"/>
                    <a:pt x="1546248" y="227232"/>
                    <a:pt x="1551606" y="226062"/>
                  </a:cubicBezTo>
                  <a:cubicBezTo>
                    <a:pt x="1560373" y="224090"/>
                    <a:pt x="1563377" y="231711"/>
                    <a:pt x="1571901" y="223689"/>
                  </a:cubicBezTo>
                  <a:cubicBezTo>
                    <a:pt x="1577681" y="218147"/>
                    <a:pt x="1582182" y="211780"/>
                    <a:pt x="1585173" y="204905"/>
                  </a:cubicBezTo>
                  <a:cubicBezTo>
                    <a:pt x="1586387" y="202468"/>
                    <a:pt x="1586980" y="199851"/>
                    <a:pt x="1586919" y="197217"/>
                  </a:cubicBezTo>
                  <a:cubicBezTo>
                    <a:pt x="1586554" y="194276"/>
                    <a:pt x="1580140" y="194878"/>
                    <a:pt x="1579856" y="192939"/>
                  </a:cubicBezTo>
                  <a:cubicBezTo>
                    <a:pt x="1579410" y="189597"/>
                    <a:pt x="1624099" y="173219"/>
                    <a:pt x="1630796" y="169543"/>
                  </a:cubicBezTo>
                  <a:cubicBezTo>
                    <a:pt x="1642973" y="162858"/>
                    <a:pt x="1638914" y="160418"/>
                    <a:pt x="1626169" y="165398"/>
                  </a:cubicBezTo>
                  <a:cubicBezTo>
                    <a:pt x="1618985" y="168172"/>
                    <a:pt x="1601044" y="178400"/>
                    <a:pt x="1593251" y="178066"/>
                  </a:cubicBezTo>
                  <a:cubicBezTo>
                    <a:pt x="1586269" y="177732"/>
                    <a:pt x="1624099" y="159382"/>
                    <a:pt x="1626859" y="158312"/>
                  </a:cubicBezTo>
                  <a:cubicBezTo>
                    <a:pt x="1632379" y="156106"/>
                    <a:pt x="1641756" y="153934"/>
                    <a:pt x="1644678" y="150023"/>
                  </a:cubicBezTo>
                  <a:cubicBezTo>
                    <a:pt x="1645368" y="149121"/>
                    <a:pt x="1645855" y="142570"/>
                    <a:pt x="1646992" y="142570"/>
                  </a:cubicBezTo>
                  <a:cubicBezTo>
                    <a:pt x="1656084" y="142570"/>
                    <a:pt x="1659453" y="145177"/>
                    <a:pt x="1669478" y="140030"/>
                  </a:cubicBezTo>
                  <a:cubicBezTo>
                    <a:pt x="1679504" y="134883"/>
                    <a:pt x="1680762" y="129668"/>
                    <a:pt x="1671832" y="126961"/>
                  </a:cubicBezTo>
                  <a:cubicBezTo>
                    <a:pt x="1669357" y="126192"/>
                    <a:pt x="1657098" y="127295"/>
                    <a:pt x="1658194" y="125123"/>
                  </a:cubicBezTo>
                  <a:cubicBezTo>
                    <a:pt x="1660711" y="120243"/>
                    <a:pt x="1662903" y="119775"/>
                    <a:pt x="1660833" y="115530"/>
                  </a:cubicBezTo>
                  <a:cubicBezTo>
                    <a:pt x="1659087" y="111921"/>
                    <a:pt x="1661117" y="106840"/>
                    <a:pt x="1663674" y="102729"/>
                  </a:cubicBezTo>
                  <a:cubicBezTo>
                    <a:pt x="1667490" y="96746"/>
                    <a:pt x="1678246" y="93638"/>
                    <a:pt x="1681615" y="88390"/>
                  </a:cubicBezTo>
                  <a:cubicBezTo>
                    <a:pt x="1684984" y="83143"/>
                    <a:pt x="1688921" y="84045"/>
                    <a:pt x="1694563" y="80201"/>
                  </a:cubicBezTo>
                  <a:cubicBezTo>
                    <a:pt x="1702031" y="75121"/>
                    <a:pt x="1700245" y="66063"/>
                    <a:pt x="1709906" y="61986"/>
                  </a:cubicBezTo>
                  <a:cubicBezTo>
                    <a:pt x="1717537" y="58643"/>
                    <a:pt x="1727035" y="61183"/>
                    <a:pt x="1735112" y="59111"/>
                  </a:cubicBezTo>
                  <a:cubicBezTo>
                    <a:pt x="1746802" y="56170"/>
                    <a:pt x="1756543" y="43703"/>
                    <a:pt x="1764337" y="38088"/>
                  </a:cubicBezTo>
                  <a:cubicBezTo>
                    <a:pt x="1735924" y="29230"/>
                    <a:pt x="1729957" y="17365"/>
                    <a:pt x="1719120" y="854"/>
                  </a:cubicBezTo>
                  <a:cubicBezTo>
                    <a:pt x="1715629" y="-3358"/>
                    <a:pt x="1721311" y="5266"/>
                    <a:pt x="1718592" y="112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D96CF696-58A4-4CB8-A7D7-C82B4F750A7C}"/>
                </a:ext>
              </a:extLst>
            </p:cNvPr>
            <p:cNvSpPr/>
            <p:nvPr/>
          </p:nvSpPr>
          <p:spPr>
            <a:xfrm>
              <a:off x="652802" y="5602226"/>
              <a:ext cx="33518" cy="37941"/>
            </a:xfrm>
            <a:custGeom>
              <a:avLst/>
              <a:gdLst>
                <a:gd name="connsiteX0" fmla="*/ 28830 w 33518"/>
                <a:gd name="connsiteY0" fmla="*/ 1025 h 37941"/>
                <a:gd name="connsiteX1" fmla="*/ 417 w 33518"/>
                <a:gd name="connsiteY1" fmla="*/ 37557 h 37941"/>
                <a:gd name="connsiteX2" fmla="*/ 28830 w 33518"/>
                <a:gd name="connsiteY2" fmla="*/ 1025 h 3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18" h="37941">
                  <a:moveTo>
                    <a:pt x="28830" y="1025"/>
                  </a:moveTo>
                  <a:cubicBezTo>
                    <a:pt x="19291" y="5905"/>
                    <a:pt x="-3642" y="31775"/>
                    <a:pt x="417" y="37557"/>
                  </a:cubicBezTo>
                  <a:cubicBezTo>
                    <a:pt x="1756" y="39295"/>
                    <a:pt x="47948" y="-8969"/>
                    <a:pt x="28830" y="102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D979141B-BA13-4403-8E0B-27DE598BD0E4}"/>
                </a:ext>
              </a:extLst>
            </p:cNvPr>
            <p:cNvSpPr/>
            <p:nvPr/>
          </p:nvSpPr>
          <p:spPr>
            <a:xfrm>
              <a:off x="651006" y="5597707"/>
              <a:ext cx="41035" cy="43985"/>
            </a:xfrm>
            <a:custGeom>
              <a:avLst/>
              <a:gdLst>
                <a:gd name="connsiteX0" fmla="*/ 5257 w 41035"/>
                <a:gd name="connsiteY0" fmla="*/ 41808 h 43985"/>
                <a:gd name="connsiteX1" fmla="*/ 5257 w 41035"/>
                <a:gd name="connsiteY1" fmla="*/ 41808 h 43985"/>
                <a:gd name="connsiteX2" fmla="*/ 1969 w 41035"/>
                <a:gd name="connsiteY2" fmla="*/ 43647 h 43985"/>
                <a:gd name="connsiteX3" fmla="*/ 1117 w 41035"/>
                <a:gd name="connsiteY3" fmla="*/ 43647 h 43985"/>
                <a:gd name="connsiteX4" fmla="*/ 630 w 41035"/>
                <a:gd name="connsiteY4" fmla="*/ 43179 h 43985"/>
                <a:gd name="connsiteX5" fmla="*/ 24172 w 41035"/>
                <a:gd name="connsiteY5" fmla="*/ 8452 h 43985"/>
                <a:gd name="connsiteX6" fmla="*/ 24415 w 41035"/>
                <a:gd name="connsiteY6" fmla="*/ 7917 h 43985"/>
                <a:gd name="connsiteX7" fmla="*/ 25958 w 41035"/>
                <a:gd name="connsiteY7" fmla="*/ 6513 h 43985"/>
                <a:gd name="connsiteX8" fmla="*/ 25958 w 41035"/>
                <a:gd name="connsiteY8" fmla="*/ 6513 h 43985"/>
                <a:gd name="connsiteX9" fmla="*/ 26404 w 41035"/>
                <a:gd name="connsiteY9" fmla="*/ 6280 h 43985"/>
                <a:gd name="connsiteX10" fmla="*/ 34522 w 41035"/>
                <a:gd name="connsiteY10" fmla="*/ 2001 h 43985"/>
                <a:gd name="connsiteX11" fmla="*/ 34522 w 41035"/>
                <a:gd name="connsiteY11" fmla="*/ 2001 h 43985"/>
                <a:gd name="connsiteX12" fmla="*/ 34969 w 41035"/>
                <a:gd name="connsiteY12" fmla="*/ 1800 h 43985"/>
                <a:gd name="connsiteX13" fmla="*/ 40976 w 41035"/>
                <a:gd name="connsiteY13" fmla="*/ -339 h 43985"/>
                <a:gd name="connsiteX14" fmla="*/ 36917 w 41035"/>
                <a:gd name="connsiteY14" fmla="*/ 3004 h 43985"/>
                <a:gd name="connsiteX15" fmla="*/ 36917 w 41035"/>
                <a:gd name="connsiteY15" fmla="*/ 3004 h 43985"/>
                <a:gd name="connsiteX16" fmla="*/ 5257 w 41035"/>
                <a:gd name="connsiteY16" fmla="*/ 41808 h 43985"/>
                <a:gd name="connsiteX17" fmla="*/ 26891 w 41035"/>
                <a:gd name="connsiteY17" fmla="*/ 9488 h 43985"/>
                <a:gd name="connsiteX18" fmla="*/ 3796 w 41035"/>
                <a:gd name="connsiteY18" fmla="*/ 39870 h 43985"/>
                <a:gd name="connsiteX19" fmla="*/ 33386 w 41035"/>
                <a:gd name="connsiteY19" fmla="*/ 5711 h 43985"/>
                <a:gd name="connsiteX20" fmla="*/ 33386 w 41035"/>
                <a:gd name="connsiteY20" fmla="*/ 5711 h 43985"/>
                <a:gd name="connsiteX21" fmla="*/ 30910 w 41035"/>
                <a:gd name="connsiteY21" fmla="*/ 6747 h 43985"/>
                <a:gd name="connsiteX22" fmla="*/ 26891 w 41035"/>
                <a:gd name="connsiteY22" fmla="*/ 9488 h 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035" h="43985">
                  <a:moveTo>
                    <a:pt x="5257" y="41808"/>
                  </a:moveTo>
                  <a:lnTo>
                    <a:pt x="5257" y="41808"/>
                  </a:lnTo>
                  <a:cubicBezTo>
                    <a:pt x="4364" y="42644"/>
                    <a:pt x="3232" y="43279"/>
                    <a:pt x="1969" y="43647"/>
                  </a:cubicBezTo>
                  <a:lnTo>
                    <a:pt x="1117" y="43647"/>
                  </a:lnTo>
                  <a:lnTo>
                    <a:pt x="630" y="43179"/>
                  </a:lnTo>
                  <a:cubicBezTo>
                    <a:pt x="-3673" y="37597"/>
                    <a:pt x="13132" y="17510"/>
                    <a:pt x="24172" y="8452"/>
                  </a:cubicBezTo>
                  <a:lnTo>
                    <a:pt x="24415" y="7917"/>
                  </a:lnTo>
                  <a:cubicBezTo>
                    <a:pt x="24793" y="7349"/>
                    <a:pt x="25321" y="6881"/>
                    <a:pt x="25958" y="6513"/>
                  </a:cubicBezTo>
                  <a:lnTo>
                    <a:pt x="25958" y="6513"/>
                  </a:lnTo>
                  <a:lnTo>
                    <a:pt x="26404" y="6280"/>
                  </a:lnTo>
                  <a:cubicBezTo>
                    <a:pt x="28986" y="4708"/>
                    <a:pt x="31697" y="3271"/>
                    <a:pt x="34522" y="2001"/>
                  </a:cubicBezTo>
                  <a:lnTo>
                    <a:pt x="34522" y="2001"/>
                  </a:lnTo>
                  <a:lnTo>
                    <a:pt x="34969" y="1800"/>
                  </a:lnTo>
                  <a:lnTo>
                    <a:pt x="40976" y="-339"/>
                  </a:lnTo>
                  <a:lnTo>
                    <a:pt x="36917" y="3004"/>
                  </a:lnTo>
                  <a:lnTo>
                    <a:pt x="36917" y="3004"/>
                  </a:lnTo>
                  <a:cubicBezTo>
                    <a:pt x="39718" y="7750"/>
                    <a:pt x="11670" y="36595"/>
                    <a:pt x="5257" y="41808"/>
                  </a:cubicBezTo>
                  <a:close/>
                  <a:moveTo>
                    <a:pt x="26891" y="9488"/>
                  </a:moveTo>
                  <a:cubicBezTo>
                    <a:pt x="16866" y="17409"/>
                    <a:pt x="2862" y="34355"/>
                    <a:pt x="3796" y="39870"/>
                  </a:cubicBezTo>
                  <a:cubicBezTo>
                    <a:pt x="12726" y="32417"/>
                    <a:pt x="34563" y="7917"/>
                    <a:pt x="33386" y="5711"/>
                  </a:cubicBezTo>
                  <a:lnTo>
                    <a:pt x="33386" y="5711"/>
                  </a:lnTo>
                  <a:cubicBezTo>
                    <a:pt x="32513" y="5978"/>
                    <a:pt x="31681" y="6313"/>
                    <a:pt x="30910" y="6747"/>
                  </a:cubicBezTo>
                  <a:cubicBezTo>
                    <a:pt x="29469" y="7549"/>
                    <a:pt x="28125" y="8485"/>
                    <a:pt x="26891" y="948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227F62C9-077C-4EDC-B3BF-2960B3DA902D}"/>
                </a:ext>
              </a:extLst>
            </p:cNvPr>
            <p:cNvSpPr/>
            <p:nvPr/>
          </p:nvSpPr>
          <p:spPr>
            <a:xfrm>
              <a:off x="608327" y="5685688"/>
              <a:ext cx="14219" cy="22572"/>
            </a:xfrm>
            <a:custGeom>
              <a:avLst/>
              <a:gdLst>
                <a:gd name="connsiteX0" fmla="*/ 5316 w 14219"/>
                <a:gd name="connsiteY0" fmla="*/ 19907 h 22572"/>
                <a:gd name="connsiteX1" fmla="*/ 7873 w 14219"/>
                <a:gd name="connsiteY1" fmla="*/ -147 h 22572"/>
                <a:gd name="connsiteX2" fmla="*/ 5316 w 14219"/>
                <a:gd name="connsiteY2" fmla="*/ 19907 h 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9" h="22572">
                  <a:moveTo>
                    <a:pt x="5316" y="19907"/>
                  </a:moveTo>
                  <a:cubicBezTo>
                    <a:pt x="15626" y="6136"/>
                    <a:pt x="17493" y="-1685"/>
                    <a:pt x="7873" y="-147"/>
                  </a:cubicBezTo>
                  <a:cubicBezTo>
                    <a:pt x="-1747" y="1390"/>
                    <a:pt x="-2639" y="30536"/>
                    <a:pt x="5316" y="199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AF5CACCB-6F8F-4A99-8D05-5280849F493C}"/>
                </a:ext>
              </a:extLst>
            </p:cNvPr>
            <p:cNvSpPr/>
            <p:nvPr/>
          </p:nvSpPr>
          <p:spPr>
            <a:xfrm>
              <a:off x="606443" y="5686147"/>
              <a:ext cx="8152" cy="23664"/>
            </a:xfrm>
            <a:custGeom>
              <a:avLst/>
              <a:gdLst>
                <a:gd name="connsiteX0" fmla="*/ 6673 w 8152"/>
                <a:gd name="connsiteY0" fmla="*/ 21855 h 23664"/>
                <a:gd name="connsiteX1" fmla="*/ 1640 w 8152"/>
                <a:gd name="connsiteY1" fmla="*/ 22790 h 23664"/>
                <a:gd name="connsiteX2" fmla="*/ 259 w 8152"/>
                <a:gd name="connsiteY2" fmla="*/ 12329 h 23664"/>
                <a:gd name="connsiteX3" fmla="*/ 6186 w 8152"/>
                <a:gd name="connsiteY3" fmla="*/ -339 h 23664"/>
                <a:gd name="connsiteX4" fmla="*/ 8093 w 8152"/>
                <a:gd name="connsiteY4" fmla="*/ 1232 h 23664"/>
                <a:gd name="connsiteX5" fmla="*/ 4034 w 8152"/>
                <a:gd name="connsiteY5" fmla="*/ 11058 h 23664"/>
                <a:gd name="connsiteX6" fmla="*/ 4968 w 8152"/>
                <a:gd name="connsiteY6" fmla="*/ 20083 h 23664"/>
                <a:gd name="connsiteX7" fmla="*/ 4724 w 8152"/>
                <a:gd name="connsiteY7" fmla="*/ 20317 h 23664"/>
                <a:gd name="connsiteX8" fmla="*/ 6673 w 8152"/>
                <a:gd name="connsiteY8" fmla="*/ 21855 h 2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52" h="23664">
                  <a:moveTo>
                    <a:pt x="6673" y="21855"/>
                  </a:moveTo>
                  <a:cubicBezTo>
                    <a:pt x="4806" y="23392"/>
                    <a:pt x="2817" y="23760"/>
                    <a:pt x="1640" y="22790"/>
                  </a:cubicBezTo>
                  <a:cubicBezTo>
                    <a:pt x="-268" y="21186"/>
                    <a:pt x="-309" y="16105"/>
                    <a:pt x="259" y="12329"/>
                  </a:cubicBezTo>
                  <a:cubicBezTo>
                    <a:pt x="609" y="7716"/>
                    <a:pt x="2679" y="3271"/>
                    <a:pt x="6186" y="-339"/>
                  </a:cubicBezTo>
                  <a:lnTo>
                    <a:pt x="8093" y="1232"/>
                  </a:lnTo>
                  <a:cubicBezTo>
                    <a:pt x="5646" y="4140"/>
                    <a:pt x="4237" y="7549"/>
                    <a:pt x="4034" y="11058"/>
                  </a:cubicBezTo>
                  <a:cubicBezTo>
                    <a:pt x="3194" y="14067"/>
                    <a:pt x="3519" y="17242"/>
                    <a:pt x="4968" y="20083"/>
                  </a:cubicBezTo>
                  <a:cubicBezTo>
                    <a:pt x="4968" y="20083"/>
                    <a:pt x="4968" y="20083"/>
                    <a:pt x="4724" y="20317"/>
                  </a:cubicBezTo>
                  <a:cubicBezTo>
                    <a:pt x="5496" y="20852"/>
                    <a:pt x="5983" y="21353"/>
                    <a:pt x="6673" y="2185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6735F3E5-D1DA-41E3-9AAB-99C83B868643}"/>
                </a:ext>
              </a:extLst>
            </p:cNvPr>
            <p:cNvSpPr/>
            <p:nvPr/>
          </p:nvSpPr>
          <p:spPr>
            <a:xfrm>
              <a:off x="472869" y="5553108"/>
              <a:ext cx="49218" cy="38034"/>
            </a:xfrm>
            <a:custGeom>
              <a:avLst/>
              <a:gdLst>
                <a:gd name="connsiteX0" fmla="*/ 20508 w 49218"/>
                <a:gd name="connsiteY0" fmla="*/ 14748 h 38034"/>
                <a:gd name="connsiteX1" fmla="*/ 213 w 49218"/>
                <a:gd name="connsiteY1" fmla="*/ 33499 h 38034"/>
                <a:gd name="connsiteX2" fmla="*/ 29275 w 49218"/>
                <a:gd name="connsiteY2" fmla="*/ 25276 h 38034"/>
                <a:gd name="connsiteX3" fmla="*/ 44496 w 49218"/>
                <a:gd name="connsiteY3" fmla="*/ -259 h 38034"/>
                <a:gd name="connsiteX4" fmla="*/ 20386 w 49218"/>
                <a:gd name="connsiteY4" fmla="*/ 14748 h 3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18" h="38034">
                  <a:moveTo>
                    <a:pt x="20508" y="14748"/>
                  </a:moveTo>
                  <a:cubicBezTo>
                    <a:pt x="14094" y="11406"/>
                    <a:pt x="1430" y="29354"/>
                    <a:pt x="213" y="33499"/>
                  </a:cubicBezTo>
                  <a:cubicBezTo>
                    <a:pt x="-2994" y="45096"/>
                    <a:pt x="23065" y="29421"/>
                    <a:pt x="29275" y="25276"/>
                  </a:cubicBezTo>
                  <a:cubicBezTo>
                    <a:pt x="38408" y="19127"/>
                    <a:pt x="58134" y="1579"/>
                    <a:pt x="44496" y="-259"/>
                  </a:cubicBezTo>
                  <a:cubicBezTo>
                    <a:pt x="33618" y="-1730"/>
                    <a:pt x="25987" y="17723"/>
                    <a:pt x="20386" y="1474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E87E4E98-2FAC-45DF-8873-FD7D804D2FBF}"/>
                </a:ext>
              </a:extLst>
            </p:cNvPr>
            <p:cNvSpPr/>
            <p:nvPr/>
          </p:nvSpPr>
          <p:spPr>
            <a:xfrm>
              <a:off x="471045" y="5551766"/>
              <a:ext cx="52995" cy="40996"/>
            </a:xfrm>
            <a:custGeom>
              <a:avLst/>
              <a:gdLst>
                <a:gd name="connsiteX0" fmla="*/ 37755 w 52995"/>
                <a:gd name="connsiteY0" fmla="*/ 23276 h 40996"/>
                <a:gd name="connsiteX1" fmla="*/ 31870 w 52995"/>
                <a:gd name="connsiteY1" fmla="*/ 27655 h 40996"/>
                <a:gd name="connsiteX2" fmla="*/ 2524 w 52995"/>
                <a:gd name="connsiteY2" fmla="*/ 40556 h 40996"/>
                <a:gd name="connsiteX3" fmla="*/ 251 w 52995"/>
                <a:gd name="connsiteY3" fmla="*/ 35409 h 40996"/>
                <a:gd name="connsiteX4" fmla="*/ 13483 w 52995"/>
                <a:gd name="connsiteY4" fmla="*/ 17795 h 40996"/>
                <a:gd name="connsiteX5" fmla="*/ 19490 w 52995"/>
                <a:gd name="connsiteY5" fmla="*/ 14452 h 40996"/>
                <a:gd name="connsiteX6" fmla="*/ 19490 w 52995"/>
                <a:gd name="connsiteY6" fmla="*/ 14452 h 40996"/>
                <a:gd name="connsiteX7" fmla="*/ 21966 w 52995"/>
                <a:gd name="connsiteY7" fmla="*/ 13817 h 40996"/>
                <a:gd name="connsiteX8" fmla="*/ 21966 w 52995"/>
                <a:gd name="connsiteY8" fmla="*/ 13817 h 40996"/>
                <a:gd name="connsiteX9" fmla="*/ 22981 w 52995"/>
                <a:gd name="connsiteY9" fmla="*/ 14352 h 40996"/>
                <a:gd name="connsiteX10" fmla="*/ 23914 w 52995"/>
                <a:gd name="connsiteY10" fmla="*/ 14820 h 40996"/>
                <a:gd name="connsiteX11" fmla="*/ 25781 w 52995"/>
                <a:gd name="connsiteY11" fmla="*/ 14252 h 40996"/>
                <a:gd name="connsiteX12" fmla="*/ 29840 w 52995"/>
                <a:gd name="connsiteY12" fmla="*/ 10141 h 40996"/>
                <a:gd name="connsiteX13" fmla="*/ 36254 w 52995"/>
                <a:gd name="connsiteY13" fmla="*/ 3757 h 40996"/>
                <a:gd name="connsiteX14" fmla="*/ 47538 w 52995"/>
                <a:gd name="connsiteY14" fmla="*/ -321 h 40996"/>
                <a:gd name="connsiteX15" fmla="*/ 52895 w 52995"/>
                <a:gd name="connsiteY15" fmla="*/ 4826 h 40996"/>
                <a:gd name="connsiteX16" fmla="*/ 37755 w 52995"/>
                <a:gd name="connsiteY16" fmla="*/ 23276 h 40996"/>
                <a:gd name="connsiteX17" fmla="*/ 15390 w 52995"/>
                <a:gd name="connsiteY17" fmla="*/ 19366 h 40996"/>
                <a:gd name="connsiteX18" fmla="*/ 4025 w 52995"/>
                <a:gd name="connsiteY18" fmla="*/ 34373 h 40996"/>
                <a:gd name="connsiteX19" fmla="*/ 5081 w 52995"/>
                <a:gd name="connsiteY19" fmla="*/ 37414 h 40996"/>
                <a:gd name="connsiteX20" fmla="*/ 30571 w 52995"/>
                <a:gd name="connsiteY20" fmla="*/ 25649 h 40996"/>
                <a:gd name="connsiteX21" fmla="*/ 49161 w 52995"/>
                <a:gd name="connsiteY21" fmla="*/ 6097 h 40996"/>
                <a:gd name="connsiteX22" fmla="*/ 45102 w 52995"/>
                <a:gd name="connsiteY22" fmla="*/ 2754 h 40996"/>
                <a:gd name="connsiteX23" fmla="*/ 38121 w 52995"/>
                <a:gd name="connsiteY23" fmla="*/ 5294 h 40996"/>
                <a:gd name="connsiteX24" fmla="*/ 32519 w 52995"/>
                <a:gd name="connsiteY24" fmla="*/ 10876 h 40996"/>
                <a:gd name="connsiteX25" fmla="*/ 25822 w 52995"/>
                <a:gd name="connsiteY25" fmla="*/ 17026 h 40996"/>
                <a:gd name="connsiteX26" fmla="*/ 25335 w 52995"/>
                <a:gd name="connsiteY26" fmla="*/ 17627 h 40996"/>
                <a:gd name="connsiteX27" fmla="*/ 24686 w 52995"/>
                <a:gd name="connsiteY27" fmla="*/ 18296 h 40996"/>
                <a:gd name="connsiteX28" fmla="*/ 23833 w 52995"/>
                <a:gd name="connsiteY28" fmla="*/ 18597 h 40996"/>
                <a:gd name="connsiteX29" fmla="*/ 22453 w 52995"/>
                <a:gd name="connsiteY29" fmla="*/ 18597 h 40996"/>
                <a:gd name="connsiteX30" fmla="*/ 22453 w 52995"/>
                <a:gd name="connsiteY30" fmla="*/ 18597 h 40996"/>
                <a:gd name="connsiteX31" fmla="*/ 21641 w 52995"/>
                <a:gd name="connsiteY31" fmla="*/ 18162 h 40996"/>
                <a:gd name="connsiteX32" fmla="*/ 20627 w 52995"/>
                <a:gd name="connsiteY32" fmla="*/ 17661 h 40996"/>
                <a:gd name="connsiteX33" fmla="*/ 20627 w 52995"/>
                <a:gd name="connsiteY33" fmla="*/ 17661 h 40996"/>
                <a:gd name="connsiteX34" fmla="*/ 15390 w 52995"/>
                <a:gd name="connsiteY34" fmla="*/ 19432 h 4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995" h="40996">
                  <a:moveTo>
                    <a:pt x="37755" y="23276"/>
                  </a:moveTo>
                  <a:cubicBezTo>
                    <a:pt x="35726" y="24947"/>
                    <a:pt x="33696" y="26451"/>
                    <a:pt x="31870" y="27655"/>
                  </a:cubicBezTo>
                  <a:cubicBezTo>
                    <a:pt x="31870" y="27655"/>
                    <a:pt x="10195" y="41993"/>
                    <a:pt x="2524" y="40556"/>
                  </a:cubicBezTo>
                  <a:cubicBezTo>
                    <a:pt x="900" y="40255"/>
                    <a:pt x="-764" y="39119"/>
                    <a:pt x="251" y="35409"/>
                  </a:cubicBezTo>
                  <a:cubicBezTo>
                    <a:pt x="3157" y="28858"/>
                    <a:pt x="7662" y="22875"/>
                    <a:pt x="13483" y="17795"/>
                  </a:cubicBezTo>
                  <a:cubicBezTo>
                    <a:pt x="15175" y="16357"/>
                    <a:pt x="17221" y="15188"/>
                    <a:pt x="19490" y="14452"/>
                  </a:cubicBezTo>
                  <a:lnTo>
                    <a:pt x="19490" y="14452"/>
                  </a:lnTo>
                  <a:cubicBezTo>
                    <a:pt x="20505" y="13617"/>
                    <a:pt x="20911" y="13416"/>
                    <a:pt x="21966" y="13817"/>
                  </a:cubicBezTo>
                  <a:lnTo>
                    <a:pt x="21966" y="13817"/>
                  </a:lnTo>
                  <a:lnTo>
                    <a:pt x="22981" y="14352"/>
                  </a:lnTo>
                  <a:lnTo>
                    <a:pt x="23914" y="14820"/>
                  </a:lnTo>
                  <a:cubicBezTo>
                    <a:pt x="24483" y="15087"/>
                    <a:pt x="24807" y="15021"/>
                    <a:pt x="25781" y="14252"/>
                  </a:cubicBezTo>
                  <a:cubicBezTo>
                    <a:pt x="27222" y="12949"/>
                    <a:pt x="28578" y="11578"/>
                    <a:pt x="29840" y="10141"/>
                  </a:cubicBezTo>
                  <a:cubicBezTo>
                    <a:pt x="31768" y="7868"/>
                    <a:pt x="33912" y="5729"/>
                    <a:pt x="36254" y="3757"/>
                  </a:cubicBezTo>
                  <a:cubicBezTo>
                    <a:pt x="39006" y="983"/>
                    <a:pt x="43199" y="-521"/>
                    <a:pt x="47538" y="-321"/>
                  </a:cubicBezTo>
                  <a:cubicBezTo>
                    <a:pt x="51597" y="214"/>
                    <a:pt x="53220" y="1952"/>
                    <a:pt x="52895" y="4826"/>
                  </a:cubicBezTo>
                  <a:cubicBezTo>
                    <a:pt x="52287" y="11077"/>
                    <a:pt x="41165" y="20502"/>
                    <a:pt x="37755" y="23276"/>
                  </a:cubicBezTo>
                  <a:close/>
                  <a:moveTo>
                    <a:pt x="15390" y="19366"/>
                  </a:moveTo>
                  <a:cubicBezTo>
                    <a:pt x="10471" y="23711"/>
                    <a:pt x="6615" y="28825"/>
                    <a:pt x="4025" y="34373"/>
                  </a:cubicBezTo>
                  <a:cubicBezTo>
                    <a:pt x="3295" y="37080"/>
                    <a:pt x="4634" y="37347"/>
                    <a:pt x="5081" y="37414"/>
                  </a:cubicBezTo>
                  <a:cubicBezTo>
                    <a:pt x="9464" y="38250"/>
                    <a:pt x="24077" y="30028"/>
                    <a:pt x="30571" y="25649"/>
                  </a:cubicBezTo>
                  <a:cubicBezTo>
                    <a:pt x="37065" y="21271"/>
                    <a:pt x="48552" y="11244"/>
                    <a:pt x="49161" y="6097"/>
                  </a:cubicBezTo>
                  <a:cubicBezTo>
                    <a:pt x="49161" y="4191"/>
                    <a:pt x="48106" y="3088"/>
                    <a:pt x="45102" y="2754"/>
                  </a:cubicBezTo>
                  <a:cubicBezTo>
                    <a:pt x="42407" y="2587"/>
                    <a:pt x="39789" y="3556"/>
                    <a:pt x="38121" y="5294"/>
                  </a:cubicBezTo>
                  <a:cubicBezTo>
                    <a:pt x="36112" y="7066"/>
                    <a:pt x="34240" y="8904"/>
                    <a:pt x="32519" y="10876"/>
                  </a:cubicBezTo>
                  <a:cubicBezTo>
                    <a:pt x="30648" y="13182"/>
                    <a:pt x="28395" y="15255"/>
                    <a:pt x="25822" y="17026"/>
                  </a:cubicBezTo>
                  <a:lnTo>
                    <a:pt x="25335" y="17627"/>
                  </a:lnTo>
                  <a:cubicBezTo>
                    <a:pt x="25096" y="17828"/>
                    <a:pt x="24880" y="18062"/>
                    <a:pt x="24686" y="18296"/>
                  </a:cubicBezTo>
                  <a:lnTo>
                    <a:pt x="23833" y="18597"/>
                  </a:lnTo>
                  <a:cubicBezTo>
                    <a:pt x="23411" y="18831"/>
                    <a:pt x="22875" y="18831"/>
                    <a:pt x="22453" y="18597"/>
                  </a:cubicBezTo>
                  <a:lnTo>
                    <a:pt x="22453" y="18597"/>
                  </a:lnTo>
                  <a:cubicBezTo>
                    <a:pt x="22169" y="18463"/>
                    <a:pt x="21897" y="18330"/>
                    <a:pt x="21641" y="18162"/>
                  </a:cubicBezTo>
                  <a:lnTo>
                    <a:pt x="20627" y="17661"/>
                  </a:lnTo>
                  <a:lnTo>
                    <a:pt x="20627" y="17661"/>
                  </a:lnTo>
                  <a:cubicBezTo>
                    <a:pt x="19815" y="17093"/>
                    <a:pt x="18435" y="16892"/>
                    <a:pt x="15390" y="1943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13CFDF57-4DD5-4F81-BEC8-C0AFA7BC654A}"/>
                </a:ext>
              </a:extLst>
            </p:cNvPr>
            <p:cNvSpPr/>
            <p:nvPr/>
          </p:nvSpPr>
          <p:spPr>
            <a:xfrm>
              <a:off x="294219" y="4855383"/>
              <a:ext cx="1310283" cy="734334"/>
            </a:xfrm>
            <a:custGeom>
              <a:avLst/>
              <a:gdLst>
                <a:gd name="connsiteX0" fmla="*/ 1291630 w 1310283"/>
                <a:gd name="connsiteY0" fmla="*/ 107239 h 734334"/>
                <a:gd name="connsiteX1" fmla="*/ 1238620 w 1310283"/>
                <a:gd name="connsiteY1" fmla="*/ 112353 h 734334"/>
                <a:gd name="connsiteX2" fmla="*/ 1175625 w 1310283"/>
                <a:gd name="connsiteY2" fmla="*/ 109211 h 734334"/>
                <a:gd name="connsiteX3" fmla="*/ 1098504 w 1310283"/>
                <a:gd name="connsiteY3" fmla="*/ 113957 h 734334"/>
                <a:gd name="connsiteX4" fmla="*/ 1050771 w 1310283"/>
                <a:gd name="connsiteY4" fmla="*/ 125889 h 734334"/>
                <a:gd name="connsiteX5" fmla="*/ 1043099 w 1310283"/>
                <a:gd name="connsiteY5" fmla="*/ 142902 h 734334"/>
                <a:gd name="connsiteX6" fmla="*/ 1017649 w 1310283"/>
                <a:gd name="connsiteY6" fmla="*/ 167769 h 734334"/>
                <a:gd name="connsiteX7" fmla="*/ 977628 w 1310283"/>
                <a:gd name="connsiteY7" fmla="*/ 171111 h 734334"/>
                <a:gd name="connsiteX8" fmla="*/ 947510 w 1310283"/>
                <a:gd name="connsiteY8" fmla="*/ 169674 h 734334"/>
                <a:gd name="connsiteX9" fmla="*/ 891253 w 1310283"/>
                <a:gd name="connsiteY9" fmla="*/ 205504 h 734334"/>
                <a:gd name="connsiteX10" fmla="*/ 885530 w 1310283"/>
                <a:gd name="connsiteY10" fmla="*/ 199454 h 734334"/>
                <a:gd name="connsiteX11" fmla="*/ 702470 w 1310283"/>
                <a:gd name="connsiteY11" fmla="*/ 6433 h 734334"/>
                <a:gd name="connsiteX12" fmla="*/ 696016 w 1310283"/>
                <a:gd name="connsiteY12" fmla="*/ -252 h 734334"/>
                <a:gd name="connsiteX13" fmla="*/ 611874 w 1310283"/>
                <a:gd name="connsiteY13" fmla="*/ 39857 h 734334"/>
                <a:gd name="connsiteX14" fmla="*/ 539421 w 1310283"/>
                <a:gd name="connsiteY14" fmla="*/ 85346 h 734334"/>
                <a:gd name="connsiteX15" fmla="*/ 495624 w 1310283"/>
                <a:gd name="connsiteY15" fmla="*/ 114391 h 734334"/>
                <a:gd name="connsiteX16" fmla="*/ 439083 w 1310283"/>
                <a:gd name="connsiteY16" fmla="*/ 139760 h 734334"/>
                <a:gd name="connsiteX17" fmla="*/ 368091 w 1310283"/>
                <a:gd name="connsiteY17" fmla="*/ 193639 h 734334"/>
                <a:gd name="connsiteX18" fmla="*/ 356158 w 1310283"/>
                <a:gd name="connsiteY18" fmla="*/ 198184 h 734334"/>
                <a:gd name="connsiteX19" fmla="*/ 340977 w 1310283"/>
                <a:gd name="connsiteY19" fmla="*/ 206373 h 734334"/>
                <a:gd name="connsiteX20" fmla="*/ 316624 w 1310283"/>
                <a:gd name="connsiteY20" fmla="*/ 209080 h 734334"/>
                <a:gd name="connsiteX21" fmla="*/ 284598 w 1310283"/>
                <a:gd name="connsiteY21" fmla="*/ 235819 h 734334"/>
                <a:gd name="connsiteX22" fmla="*/ 267956 w 1310283"/>
                <a:gd name="connsiteY22" fmla="*/ 245846 h 734334"/>
                <a:gd name="connsiteX23" fmla="*/ 258743 w 1310283"/>
                <a:gd name="connsiteY23" fmla="*/ 243674 h 734334"/>
                <a:gd name="connsiteX24" fmla="*/ 238772 w 1310283"/>
                <a:gd name="connsiteY24" fmla="*/ 269176 h 734334"/>
                <a:gd name="connsiteX25" fmla="*/ 233861 w 1310283"/>
                <a:gd name="connsiteY25" fmla="*/ 260218 h 734334"/>
                <a:gd name="connsiteX26" fmla="*/ 205976 w 1310283"/>
                <a:gd name="connsiteY26" fmla="*/ 272218 h 734334"/>
                <a:gd name="connsiteX27" fmla="*/ 185438 w 1310283"/>
                <a:gd name="connsiteY27" fmla="*/ 302299 h 734334"/>
                <a:gd name="connsiteX28" fmla="*/ 151504 w 1310283"/>
                <a:gd name="connsiteY28" fmla="*/ 335990 h 734334"/>
                <a:gd name="connsiteX29" fmla="*/ 127151 w 1310283"/>
                <a:gd name="connsiteY29" fmla="*/ 363665 h 734334"/>
                <a:gd name="connsiteX30" fmla="*/ 138029 w 1310283"/>
                <a:gd name="connsiteY30" fmla="*/ 361392 h 734334"/>
                <a:gd name="connsiteX31" fmla="*/ 131940 w 1310283"/>
                <a:gd name="connsiteY31" fmla="*/ 370984 h 734334"/>
                <a:gd name="connsiteX32" fmla="*/ 113675 w 1310283"/>
                <a:gd name="connsiteY32" fmla="*/ 383886 h 734334"/>
                <a:gd name="connsiteX33" fmla="*/ 85749 w 1310283"/>
                <a:gd name="connsiteY33" fmla="*/ 409990 h 734334"/>
                <a:gd name="connsiteX34" fmla="*/ 66956 w 1310283"/>
                <a:gd name="connsiteY34" fmla="*/ 435057 h 734334"/>
                <a:gd name="connsiteX35" fmla="*/ 60624 w 1310283"/>
                <a:gd name="connsiteY35" fmla="*/ 456148 h 734334"/>
                <a:gd name="connsiteX36" fmla="*/ 63952 w 1310283"/>
                <a:gd name="connsiteY36" fmla="*/ 474698 h 734334"/>
                <a:gd name="connsiteX37" fmla="*/ 7614 w 1310283"/>
                <a:gd name="connsiteY37" fmla="*/ 532019 h 734334"/>
                <a:gd name="connsiteX38" fmla="*/ 18938 w 1310283"/>
                <a:gd name="connsiteY38" fmla="*/ 548196 h 734334"/>
                <a:gd name="connsiteX39" fmla="*/ 105151 w 1310283"/>
                <a:gd name="connsiteY39" fmla="*/ 518917 h 734334"/>
                <a:gd name="connsiteX40" fmla="*/ 156294 w 1310283"/>
                <a:gd name="connsiteY40" fmla="*/ 487065 h 734334"/>
                <a:gd name="connsiteX41" fmla="*/ 174438 w 1310283"/>
                <a:gd name="connsiteY41" fmla="*/ 487867 h 734334"/>
                <a:gd name="connsiteX42" fmla="*/ 210197 w 1310283"/>
                <a:gd name="connsiteY42" fmla="*/ 468280 h 734334"/>
                <a:gd name="connsiteX43" fmla="*/ 200293 w 1310283"/>
                <a:gd name="connsiteY43" fmla="*/ 482352 h 734334"/>
                <a:gd name="connsiteX44" fmla="*/ 175128 w 1310283"/>
                <a:gd name="connsiteY44" fmla="*/ 514405 h 734334"/>
                <a:gd name="connsiteX45" fmla="*/ 162707 w 1310283"/>
                <a:gd name="connsiteY45" fmla="*/ 519485 h 734334"/>
                <a:gd name="connsiteX46" fmla="*/ 146471 w 1310283"/>
                <a:gd name="connsiteY46" fmla="*/ 531184 h 734334"/>
                <a:gd name="connsiteX47" fmla="*/ 122808 w 1310283"/>
                <a:gd name="connsiteY47" fmla="*/ 542313 h 734334"/>
                <a:gd name="connsiteX48" fmla="*/ 79295 w 1310283"/>
                <a:gd name="connsiteY48" fmla="*/ 578712 h 734334"/>
                <a:gd name="connsiteX49" fmla="*/ 79295 w 1310283"/>
                <a:gd name="connsiteY49" fmla="*/ 588271 h 734334"/>
                <a:gd name="connsiteX50" fmla="*/ 46823 w 1310283"/>
                <a:gd name="connsiteY50" fmla="*/ 622463 h 734334"/>
                <a:gd name="connsiteX51" fmla="*/ 72476 w 1310283"/>
                <a:gd name="connsiteY51" fmla="*/ 624335 h 734334"/>
                <a:gd name="connsiteX52" fmla="*/ 85100 w 1310283"/>
                <a:gd name="connsiteY52" fmla="*/ 620525 h 734334"/>
                <a:gd name="connsiteX53" fmla="*/ 93218 w 1310283"/>
                <a:gd name="connsiteY53" fmla="*/ 624803 h 734334"/>
                <a:gd name="connsiteX54" fmla="*/ 161165 w 1310283"/>
                <a:gd name="connsiteY54" fmla="*/ 584695 h 734334"/>
                <a:gd name="connsiteX55" fmla="*/ 190511 w 1310283"/>
                <a:gd name="connsiteY55" fmla="*/ 564941 h 734334"/>
                <a:gd name="connsiteX56" fmla="*/ 209670 w 1310283"/>
                <a:gd name="connsiteY56" fmla="*/ 535094 h 734334"/>
                <a:gd name="connsiteX57" fmla="*/ 237636 w 1310283"/>
                <a:gd name="connsiteY57" fmla="*/ 511497 h 734334"/>
                <a:gd name="connsiteX58" fmla="*/ 239868 w 1310283"/>
                <a:gd name="connsiteY58" fmla="*/ 520421 h 734334"/>
                <a:gd name="connsiteX59" fmla="*/ 248960 w 1310283"/>
                <a:gd name="connsiteY59" fmla="*/ 554480 h 734334"/>
                <a:gd name="connsiteX60" fmla="*/ 228219 w 1310283"/>
                <a:gd name="connsiteY60" fmla="*/ 574868 h 734334"/>
                <a:gd name="connsiteX61" fmla="*/ 216042 w 1310283"/>
                <a:gd name="connsiteY61" fmla="*/ 598264 h 734334"/>
                <a:gd name="connsiteX62" fmla="*/ 192622 w 1310283"/>
                <a:gd name="connsiteY62" fmla="*/ 631889 h 734334"/>
                <a:gd name="connsiteX63" fmla="*/ 181135 w 1310283"/>
                <a:gd name="connsiteY63" fmla="*/ 646428 h 734334"/>
                <a:gd name="connsiteX64" fmla="*/ 176630 w 1310283"/>
                <a:gd name="connsiteY64" fmla="*/ 669824 h 734334"/>
                <a:gd name="connsiteX65" fmla="*/ 167375 w 1310283"/>
                <a:gd name="connsiteY65" fmla="*/ 683194 h 734334"/>
                <a:gd name="connsiteX66" fmla="*/ 198751 w 1310283"/>
                <a:gd name="connsiteY66" fmla="*/ 676710 h 734334"/>
                <a:gd name="connsiteX67" fmla="*/ 217057 w 1310283"/>
                <a:gd name="connsiteY67" fmla="*/ 684731 h 734334"/>
                <a:gd name="connsiteX68" fmla="*/ 277252 w 1310283"/>
                <a:gd name="connsiteY68" fmla="*/ 669490 h 734334"/>
                <a:gd name="connsiteX69" fmla="*/ 303716 w 1310283"/>
                <a:gd name="connsiteY69" fmla="*/ 631722 h 734334"/>
                <a:gd name="connsiteX70" fmla="*/ 324011 w 1310283"/>
                <a:gd name="connsiteY70" fmla="*/ 628145 h 734334"/>
                <a:gd name="connsiteX71" fmla="*/ 336188 w 1310283"/>
                <a:gd name="connsiteY71" fmla="*/ 641849 h 734334"/>
                <a:gd name="connsiteX72" fmla="*/ 369066 w 1310283"/>
                <a:gd name="connsiteY72" fmla="*/ 633359 h 734334"/>
                <a:gd name="connsiteX73" fmla="*/ 374708 w 1310283"/>
                <a:gd name="connsiteY73" fmla="*/ 619990 h 734334"/>
                <a:gd name="connsiteX74" fmla="*/ 404785 w 1310283"/>
                <a:gd name="connsiteY74" fmla="*/ 599936 h 734334"/>
                <a:gd name="connsiteX75" fmla="*/ 432548 w 1310283"/>
                <a:gd name="connsiteY75" fmla="*/ 592449 h 734334"/>
                <a:gd name="connsiteX76" fmla="*/ 431817 w 1310283"/>
                <a:gd name="connsiteY76" fmla="*/ 572963 h 734334"/>
                <a:gd name="connsiteX77" fmla="*/ 449149 w 1310283"/>
                <a:gd name="connsiteY77" fmla="*/ 569621 h 734334"/>
                <a:gd name="connsiteX78" fmla="*/ 475248 w 1310283"/>
                <a:gd name="connsiteY78" fmla="*/ 543584 h 734334"/>
                <a:gd name="connsiteX79" fmla="*/ 473300 w 1310283"/>
                <a:gd name="connsiteY79" fmla="*/ 567916 h 734334"/>
                <a:gd name="connsiteX80" fmla="*/ 486898 w 1310283"/>
                <a:gd name="connsiteY80" fmla="*/ 583057 h 734334"/>
                <a:gd name="connsiteX81" fmla="*/ 478333 w 1310283"/>
                <a:gd name="connsiteY81" fmla="*/ 605284 h 734334"/>
                <a:gd name="connsiteX82" fmla="*/ 458566 w 1310283"/>
                <a:gd name="connsiteY82" fmla="*/ 634830 h 734334"/>
                <a:gd name="connsiteX83" fmla="*/ 438758 w 1310283"/>
                <a:gd name="connsiteY83" fmla="*/ 677645 h 734334"/>
                <a:gd name="connsiteX84" fmla="*/ 412253 w 1310283"/>
                <a:gd name="connsiteY84" fmla="*/ 695661 h 734334"/>
                <a:gd name="connsiteX85" fmla="*/ 401619 w 1310283"/>
                <a:gd name="connsiteY85" fmla="*/ 721464 h 734334"/>
                <a:gd name="connsiteX86" fmla="*/ 419559 w 1310283"/>
                <a:gd name="connsiteY86" fmla="*/ 712306 h 734334"/>
                <a:gd name="connsiteX87" fmla="*/ 431127 w 1310283"/>
                <a:gd name="connsiteY87" fmla="*/ 696196 h 734334"/>
                <a:gd name="connsiteX88" fmla="*/ 456780 w 1310283"/>
                <a:gd name="connsiteY88" fmla="*/ 667351 h 734334"/>
                <a:gd name="connsiteX89" fmla="*/ 494285 w 1310283"/>
                <a:gd name="connsiteY89" fmla="*/ 623533 h 734334"/>
                <a:gd name="connsiteX90" fmla="*/ 522292 w 1310283"/>
                <a:gd name="connsiteY90" fmla="*/ 573865 h 734334"/>
                <a:gd name="connsiteX91" fmla="*/ 527244 w 1310283"/>
                <a:gd name="connsiteY91" fmla="*/ 557655 h 734334"/>
                <a:gd name="connsiteX92" fmla="*/ 538487 w 1310283"/>
                <a:gd name="connsiteY92" fmla="*/ 544286 h 734334"/>
                <a:gd name="connsiteX93" fmla="*/ 550136 w 1310283"/>
                <a:gd name="connsiteY93" fmla="*/ 523697 h 734334"/>
                <a:gd name="connsiteX94" fmla="*/ 568199 w 1310283"/>
                <a:gd name="connsiteY94" fmla="*/ 501904 h 734334"/>
                <a:gd name="connsiteX95" fmla="*/ 564424 w 1310283"/>
                <a:gd name="connsiteY95" fmla="*/ 494217 h 734334"/>
                <a:gd name="connsiteX96" fmla="*/ 573516 w 1310283"/>
                <a:gd name="connsiteY96" fmla="*/ 479343 h 734334"/>
                <a:gd name="connsiteX97" fmla="*/ 546280 w 1310283"/>
                <a:gd name="connsiteY97" fmla="*/ 475734 h 734334"/>
                <a:gd name="connsiteX98" fmla="*/ 562516 w 1310283"/>
                <a:gd name="connsiteY98" fmla="*/ 454142 h 734334"/>
                <a:gd name="connsiteX99" fmla="*/ 571000 w 1310283"/>
                <a:gd name="connsiteY99" fmla="*/ 424963 h 734334"/>
                <a:gd name="connsiteX100" fmla="*/ 582649 w 1310283"/>
                <a:gd name="connsiteY100" fmla="*/ 396587 h 734334"/>
                <a:gd name="connsiteX101" fmla="*/ 600914 w 1310283"/>
                <a:gd name="connsiteY101" fmla="*/ 369179 h 734334"/>
                <a:gd name="connsiteX102" fmla="*/ 607043 w 1310283"/>
                <a:gd name="connsiteY102" fmla="*/ 368812 h 734334"/>
                <a:gd name="connsiteX103" fmla="*/ 624740 w 1310283"/>
                <a:gd name="connsiteY103" fmla="*/ 359787 h 734334"/>
                <a:gd name="connsiteX104" fmla="*/ 633345 w 1310283"/>
                <a:gd name="connsiteY104" fmla="*/ 360055 h 734334"/>
                <a:gd name="connsiteX105" fmla="*/ 616095 w 1310283"/>
                <a:gd name="connsiteY105" fmla="*/ 371385 h 734334"/>
                <a:gd name="connsiteX106" fmla="*/ 596612 w 1310283"/>
                <a:gd name="connsiteY106" fmla="*/ 399829 h 734334"/>
                <a:gd name="connsiteX107" fmla="*/ 600955 w 1310283"/>
                <a:gd name="connsiteY107" fmla="*/ 422022 h 734334"/>
                <a:gd name="connsiteX108" fmla="*/ 612036 w 1310283"/>
                <a:gd name="connsiteY108" fmla="*/ 425732 h 734334"/>
                <a:gd name="connsiteX109" fmla="*/ 627135 w 1310283"/>
                <a:gd name="connsiteY109" fmla="*/ 423860 h 734334"/>
                <a:gd name="connsiteX110" fmla="*/ 662245 w 1310283"/>
                <a:gd name="connsiteY110" fmla="*/ 375363 h 734334"/>
                <a:gd name="connsiteX111" fmla="*/ 701902 w 1310283"/>
                <a:gd name="connsiteY111" fmla="*/ 344947 h 734334"/>
                <a:gd name="connsiteX112" fmla="*/ 685666 w 1310283"/>
                <a:gd name="connsiteY112" fmla="*/ 340034 h 734334"/>
                <a:gd name="connsiteX113" fmla="*/ 677954 w 1310283"/>
                <a:gd name="connsiteY113" fmla="*/ 323656 h 734334"/>
                <a:gd name="connsiteX114" fmla="*/ 716392 w 1310283"/>
                <a:gd name="connsiteY114" fmla="*/ 306042 h 734334"/>
                <a:gd name="connsiteX115" fmla="*/ 746226 w 1310283"/>
                <a:gd name="connsiteY115" fmla="*/ 294511 h 734334"/>
                <a:gd name="connsiteX116" fmla="*/ 729381 w 1310283"/>
                <a:gd name="connsiteY116" fmla="*/ 310120 h 734334"/>
                <a:gd name="connsiteX117" fmla="*/ 737255 w 1310283"/>
                <a:gd name="connsiteY117" fmla="*/ 312393 h 734334"/>
                <a:gd name="connsiteX118" fmla="*/ 753491 w 1310283"/>
                <a:gd name="connsiteY118" fmla="*/ 294110 h 734334"/>
                <a:gd name="connsiteX119" fmla="*/ 768509 w 1310283"/>
                <a:gd name="connsiteY119" fmla="*/ 289464 h 734334"/>
                <a:gd name="connsiteX120" fmla="*/ 779347 w 1310283"/>
                <a:gd name="connsiteY120" fmla="*/ 275393 h 734334"/>
                <a:gd name="connsiteX121" fmla="*/ 796395 w 1310283"/>
                <a:gd name="connsiteY121" fmla="*/ 274724 h 734334"/>
                <a:gd name="connsiteX122" fmla="*/ 834427 w 1310283"/>
                <a:gd name="connsiteY122" fmla="*/ 253734 h 734334"/>
                <a:gd name="connsiteX123" fmla="*/ 888127 w 1310283"/>
                <a:gd name="connsiteY123" fmla="*/ 218272 h 734334"/>
                <a:gd name="connsiteX124" fmla="*/ 932776 w 1310283"/>
                <a:gd name="connsiteY124" fmla="*/ 194006 h 734334"/>
                <a:gd name="connsiteX125" fmla="*/ 950311 w 1310283"/>
                <a:gd name="connsiteY125" fmla="*/ 184882 h 734334"/>
                <a:gd name="connsiteX126" fmla="*/ 957252 w 1310283"/>
                <a:gd name="connsiteY126" fmla="*/ 195945 h 734334"/>
                <a:gd name="connsiteX127" fmla="*/ 1019922 w 1310283"/>
                <a:gd name="connsiteY127" fmla="*/ 178431 h 734334"/>
                <a:gd name="connsiteX128" fmla="*/ 1056818 w 1310283"/>
                <a:gd name="connsiteY128" fmla="*/ 162087 h 734334"/>
                <a:gd name="connsiteX129" fmla="*/ 1078047 w 1310283"/>
                <a:gd name="connsiteY129" fmla="*/ 148918 h 734334"/>
                <a:gd name="connsiteX130" fmla="*/ 1097165 w 1310283"/>
                <a:gd name="connsiteY130" fmla="*/ 142400 h 734334"/>
                <a:gd name="connsiteX131" fmla="*/ 1075409 w 1310283"/>
                <a:gd name="connsiteY131" fmla="*/ 129900 h 734334"/>
                <a:gd name="connsiteX132" fmla="*/ 1093187 w 1310283"/>
                <a:gd name="connsiteY132" fmla="*/ 127861 h 734334"/>
                <a:gd name="connsiteX133" fmla="*/ 1111168 w 1310283"/>
                <a:gd name="connsiteY133" fmla="*/ 144573 h 734334"/>
                <a:gd name="connsiteX134" fmla="*/ 1089980 w 1310283"/>
                <a:gd name="connsiteY134" fmla="*/ 156338 h 734334"/>
                <a:gd name="connsiteX135" fmla="*/ 1072892 w 1310283"/>
                <a:gd name="connsiteY135" fmla="*/ 164025 h 734334"/>
                <a:gd name="connsiteX136" fmla="*/ 1116485 w 1310283"/>
                <a:gd name="connsiteY136" fmla="*/ 169841 h 734334"/>
                <a:gd name="connsiteX137" fmla="*/ 1141123 w 1310283"/>
                <a:gd name="connsiteY137" fmla="*/ 164594 h 734334"/>
                <a:gd name="connsiteX138" fmla="*/ 1120220 w 1310283"/>
                <a:gd name="connsiteY138" fmla="*/ 155636 h 734334"/>
                <a:gd name="connsiteX139" fmla="*/ 1132397 w 1310283"/>
                <a:gd name="connsiteY139" fmla="*/ 151291 h 734334"/>
                <a:gd name="connsiteX140" fmla="*/ 1149769 w 1310283"/>
                <a:gd name="connsiteY140" fmla="*/ 139894 h 734334"/>
                <a:gd name="connsiteX141" fmla="*/ 1137592 w 1310283"/>
                <a:gd name="connsiteY141" fmla="*/ 127126 h 734334"/>
                <a:gd name="connsiteX142" fmla="*/ 1166005 w 1310283"/>
                <a:gd name="connsiteY142" fmla="*/ 128630 h 734334"/>
                <a:gd name="connsiteX143" fmla="*/ 1161946 w 1310283"/>
                <a:gd name="connsiteY143" fmla="*/ 143771 h 734334"/>
                <a:gd name="connsiteX144" fmla="*/ 1150216 w 1310283"/>
                <a:gd name="connsiteY144" fmla="*/ 158778 h 734334"/>
                <a:gd name="connsiteX145" fmla="*/ 1165274 w 1310283"/>
                <a:gd name="connsiteY145" fmla="*/ 167134 h 734334"/>
                <a:gd name="connsiteX146" fmla="*/ 1168440 w 1310283"/>
                <a:gd name="connsiteY146" fmla="*/ 155837 h 734334"/>
                <a:gd name="connsiteX147" fmla="*/ 1180617 w 1310283"/>
                <a:gd name="connsiteY147" fmla="*/ 149152 h 734334"/>
                <a:gd name="connsiteX148" fmla="*/ 1199491 w 1310283"/>
                <a:gd name="connsiteY148" fmla="*/ 143637 h 734334"/>
                <a:gd name="connsiteX149" fmla="*/ 1219502 w 1310283"/>
                <a:gd name="connsiteY149" fmla="*/ 134078 h 734334"/>
                <a:gd name="connsiteX150" fmla="*/ 1193647 w 1310283"/>
                <a:gd name="connsiteY150" fmla="*/ 135983 h 734334"/>
                <a:gd name="connsiteX151" fmla="*/ 1216702 w 1310283"/>
                <a:gd name="connsiteY151" fmla="*/ 126324 h 734334"/>
                <a:gd name="connsiteX152" fmla="*/ 1227823 w 1310283"/>
                <a:gd name="connsiteY152" fmla="*/ 139192 h 734334"/>
                <a:gd name="connsiteX153" fmla="*/ 1202414 w 1310283"/>
                <a:gd name="connsiteY153" fmla="*/ 151993 h 734334"/>
                <a:gd name="connsiteX154" fmla="*/ 1201886 w 1310283"/>
                <a:gd name="connsiteY154" fmla="*/ 162020 h 734334"/>
                <a:gd name="connsiteX155" fmla="*/ 1214063 w 1310283"/>
                <a:gd name="connsiteY155" fmla="*/ 176492 h 734334"/>
                <a:gd name="connsiteX156" fmla="*/ 1224617 w 1310283"/>
                <a:gd name="connsiteY156" fmla="*/ 166031 h 734334"/>
                <a:gd name="connsiteX157" fmla="*/ 1245561 w 1310283"/>
                <a:gd name="connsiteY157" fmla="*/ 152895 h 734334"/>
                <a:gd name="connsiteX158" fmla="*/ 1259037 w 1310283"/>
                <a:gd name="connsiteY158" fmla="*/ 141899 h 734334"/>
                <a:gd name="connsiteX159" fmla="*/ 1269347 w 1310283"/>
                <a:gd name="connsiteY159" fmla="*/ 130702 h 734334"/>
                <a:gd name="connsiteX160" fmla="*/ 1282213 w 1310283"/>
                <a:gd name="connsiteY160" fmla="*/ 139492 h 734334"/>
                <a:gd name="connsiteX161" fmla="*/ 1294390 w 1310283"/>
                <a:gd name="connsiteY161" fmla="*/ 134579 h 734334"/>
                <a:gd name="connsiteX162" fmla="*/ 1309611 w 1310283"/>
                <a:gd name="connsiteY162" fmla="*/ 110949 h 734334"/>
                <a:gd name="connsiteX163" fmla="*/ 1291265 w 1310283"/>
                <a:gd name="connsiteY163" fmla="*/ 107205 h 734334"/>
                <a:gd name="connsiteX164" fmla="*/ 1291630 w 1310283"/>
                <a:gd name="connsiteY164" fmla="*/ 107239 h 73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310283" h="734334">
                  <a:moveTo>
                    <a:pt x="1291630" y="107239"/>
                  </a:moveTo>
                  <a:cubicBezTo>
                    <a:pt x="1290940" y="91229"/>
                    <a:pt x="1256398" y="107239"/>
                    <a:pt x="1238620" y="112353"/>
                  </a:cubicBezTo>
                  <a:cubicBezTo>
                    <a:pt x="1212561" y="119672"/>
                    <a:pt x="1195189" y="112085"/>
                    <a:pt x="1175625" y="109211"/>
                  </a:cubicBezTo>
                  <a:cubicBezTo>
                    <a:pt x="1152489" y="105868"/>
                    <a:pt x="1125293" y="111116"/>
                    <a:pt x="1098504" y="113957"/>
                  </a:cubicBezTo>
                  <a:cubicBezTo>
                    <a:pt x="1078940" y="116063"/>
                    <a:pt x="1073866" y="107272"/>
                    <a:pt x="1050771" y="125889"/>
                  </a:cubicBezTo>
                  <a:cubicBezTo>
                    <a:pt x="1040339" y="134312"/>
                    <a:pt x="1047970" y="135181"/>
                    <a:pt x="1043099" y="142902"/>
                  </a:cubicBezTo>
                  <a:cubicBezTo>
                    <a:pt x="1039649" y="148316"/>
                    <a:pt x="1026214" y="165496"/>
                    <a:pt x="1017649" y="167769"/>
                  </a:cubicBezTo>
                  <a:cubicBezTo>
                    <a:pt x="1004417" y="171111"/>
                    <a:pt x="991063" y="168805"/>
                    <a:pt x="977628" y="171111"/>
                  </a:cubicBezTo>
                  <a:cubicBezTo>
                    <a:pt x="962163" y="173952"/>
                    <a:pt x="959971" y="169072"/>
                    <a:pt x="947510" y="169674"/>
                  </a:cubicBezTo>
                  <a:cubicBezTo>
                    <a:pt x="929570" y="170576"/>
                    <a:pt x="908625" y="206440"/>
                    <a:pt x="891253" y="205504"/>
                  </a:cubicBezTo>
                  <a:cubicBezTo>
                    <a:pt x="888817" y="205504"/>
                    <a:pt x="886666" y="200658"/>
                    <a:pt x="885530" y="199454"/>
                  </a:cubicBezTo>
                  <a:lnTo>
                    <a:pt x="702470" y="6433"/>
                  </a:lnTo>
                  <a:lnTo>
                    <a:pt x="696016" y="-252"/>
                  </a:lnTo>
                  <a:cubicBezTo>
                    <a:pt x="694149" y="-2324"/>
                    <a:pt x="619383" y="33172"/>
                    <a:pt x="611874" y="39857"/>
                  </a:cubicBezTo>
                  <a:cubicBezTo>
                    <a:pt x="587195" y="60579"/>
                    <a:pt x="567793" y="70740"/>
                    <a:pt x="539421" y="85346"/>
                  </a:cubicBezTo>
                  <a:cubicBezTo>
                    <a:pt x="523185" y="93702"/>
                    <a:pt x="511211" y="105768"/>
                    <a:pt x="495624" y="114391"/>
                  </a:cubicBezTo>
                  <a:cubicBezTo>
                    <a:pt x="477237" y="124418"/>
                    <a:pt x="457714" y="129900"/>
                    <a:pt x="439083" y="139760"/>
                  </a:cubicBezTo>
                  <a:cubicBezTo>
                    <a:pt x="412180" y="154593"/>
                    <a:pt x="388232" y="172766"/>
                    <a:pt x="368091" y="193639"/>
                  </a:cubicBezTo>
                  <a:cubicBezTo>
                    <a:pt x="364032" y="197984"/>
                    <a:pt x="360420" y="197616"/>
                    <a:pt x="356158" y="198184"/>
                  </a:cubicBezTo>
                  <a:cubicBezTo>
                    <a:pt x="349664" y="199120"/>
                    <a:pt x="346822" y="203532"/>
                    <a:pt x="340977" y="206373"/>
                  </a:cubicBezTo>
                  <a:cubicBezTo>
                    <a:pt x="332859" y="210384"/>
                    <a:pt x="332454" y="198218"/>
                    <a:pt x="316624" y="209080"/>
                  </a:cubicBezTo>
                  <a:cubicBezTo>
                    <a:pt x="305283" y="217436"/>
                    <a:pt x="294587" y="226364"/>
                    <a:pt x="284598" y="235819"/>
                  </a:cubicBezTo>
                  <a:cubicBezTo>
                    <a:pt x="279930" y="239897"/>
                    <a:pt x="274004" y="244944"/>
                    <a:pt x="267956" y="245846"/>
                  </a:cubicBezTo>
                  <a:cubicBezTo>
                    <a:pt x="264263" y="246481"/>
                    <a:pt x="262274" y="242237"/>
                    <a:pt x="258743" y="243674"/>
                  </a:cubicBezTo>
                  <a:cubicBezTo>
                    <a:pt x="248352" y="247852"/>
                    <a:pt x="248352" y="262124"/>
                    <a:pt x="238772" y="269176"/>
                  </a:cubicBezTo>
                  <a:cubicBezTo>
                    <a:pt x="217097" y="285219"/>
                    <a:pt x="235525" y="262491"/>
                    <a:pt x="233861" y="260218"/>
                  </a:cubicBezTo>
                  <a:cubicBezTo>
                    <a:pt x="231263" y="256542"/>
                    <a:pt x="210928" y="269577"/>
                    <a:pt x="205976" y="272218"/>
                  </a:cubicBezTo>
                  <a:cubicBezTo>
                    <a:pt x="194692" y="278200"/>
                    <a:pt x="188725" y="295614"/>
                    <a:pt x="185438" y="302299"/>
                  </a:cubicBezTo>
                  <a:cubicBezTo>
                    <a:pt x="179593" y="314431"/>
                    <a:pt x="165427" y="326230"/>
                    <a:pt x="151504" y="335990"/>
                  </a:cubicBezTo>
                  <a:cubicBezTo>
                    <a:pt x="147811" y="338530"/>
                    <a:pt x="109453" y="367542"/>
                    <a:pt x="127151" y="363665"/>
                  </a:cubicBezTo>
                  <a:cubicBezTo>
                    <a:pt x="129911" y="363029"/>
                    <a:pt x="136852" y="359319"/>
                    <a:pt x="138029" y="361392"/>
                  </a:cubicBezTo>
                  <a:cubicBezTo>
                    <a:pt x="139206" y="363464"/>
                    <a:pt x="136527" y="368979"/>
                    <a:pt x="131940" y="370984"/>
                  </a:cubicBezTo>
                  <a:cubicBezTo>
                    <a:pt x="119520" y="376432"/>
                    <a:pt x="121143" y="372756"/>
                    <a:pt x="113675" y="383886"/>
                  </a:cubicBezTo>
                  <a:cubicBezTo>
                    <a:pt x="107546" y="393010"/>
                    <a:pt x="95856" y="402436"/>
                    <a:pt x="85749" y="409990"/>
                  </a:cubicBezTo>
                  <a:cubicBezTo>
                    <a:pt x="73937" y="418813"/>
                    <a:pt x="71258" y="424696"/>
                    <a:pt x="66956" y="435057"/>
                  </a:cubicBezTo>
                  <a:cubicBezTo>
                    <a:pt x="64724" y="440371"/>
                    <a:pt x="57458" y="452872"/>
                    <a:pt x="60624" y="456148"/>
                  </a:cubicBezTo>
                  <a:cubicBezTo>
                    <a:pt x="65495" y="461228"/>
                    <a:pt x="67281" y="465005"/>
                    <a:pt x="63952" y="474698"/>
                  </a:cubicBezTo>
                  <a:cubicBezTo>
                    <a:pt x="57377" y="493682"/>
                    <a:pt x="27787" y="516243"/>
                    <a:pt x="7614" y="532019"/>
                  </a:cubicBezTo>
                  <a:cubicBezTo>
                    <a:pt x="-7892" y="544185"/>
                    <a:pt x="2256" y="556285"/>
                    <a:pt x="18938" y="548196"/>
                  </a:cubicBezTo>
                  <a:cubicBezTo>
                    <a:pt x="53196" y="531484"/>
                    <a:pt x="74343" y="518516"/>
                    <a:pt x="105151" y="518917"/>
                  </a:cubicBezTo>
                  <a:cubicBezTo>
                    <a:pt x="125730" y="519218"/>
                    <a:pt x="136527" y="502473"/>
                    <a:pt x="156294" y="487065"/>
                  </a:cubicBezTo>
                  <a:cubicBezTo>
                    <a:pt x="168917" y="477037"/>
                    <a:pt x="169120" y="484491"/>
                    <a:pt x="174438" y="487867"/>
                  </a:cubicBezTo>
                  <a:cubicBezTo>
                    <a:pt x="183002" y="493348"/>
                    <a:pt x="199847" y="472224"/>
                    <a:pt x="210197" y="468280"/>
                  </a:cubicBezTo>
                  <a:cubicBezTo>
                    <a:pt x="225703" y="462298"/>
                    <a:pt x="202079" y="480847"/>
                    <a:pt x="200293" y="482352"/>
                  </a:cubicBezTo>
                  <a:cubicBezTo>
                    <a:pt x="186858" y="493348"/>
                    <a:pt x="186371" y="503809"/>
                    <a:pt x="175128" y="514405"/>
                  </a:cubicBezTo>
                  <a:cubicBezTo>
                    <a:pt x="170703" y="518549"/>
                    <a:pt x="167334" y="517313"/>
                    <a:pt x="162707" y="519485"/>
                  </a:cubicBezTo>
                  <a:cubicBezTo>
                    <a:pt x="156683" y="522761"/>
                    <a:pt x="151222" y="526705"/>
                    <a:pt x="146471" y="531184"/>
                  </a:cubicBezTo>
                  <a:cubicBezTo>
                    <a:pt x="136527" y="539840"/>
                    <a:pt x="124999" y="554346"/>
                    <a:pt x="122808" y="542313"/>
                  </a:cubicBezTo>
                  <a:cubicBezTo>
                    <a:pt x="119073" y="521858"/>
                    <a:pt x="83232" y="568117"/>
                    <a:pt x="79295" y="578712"/>
                  </a:cubicBezTo>
                  <a:cubicBezTo>
                    <a:pt x="78037" y="582054"/>
                    <a:pt x="86804" y="583625"/>
                    <a:pt x="79295" y="588271"/>
                  </a:cubicBezTo>
                  <a:cubicBezTo>
                    <a:pt x="61761" y="599067"/>
                    <a:pt x="57417" y="607890"/>
                    <a:pt x="46823" y="622463"/>
                  </a:cubicBezTo>
                  <a:cubicBezTo>
                    <a:pt x="23931" y="653547"/>
                    <a:pt x="47919" y="640278"/>
                    <a:pt x="72476" y="624335"/>
                  </a:cubicBezTo>
                  <a:cubicBezTo>
                    <a:pt x="77509" y="620993"/>
                    <a:pt x="90214" y="611199"/>
                    <a:pt x="85100" y="620525"/>
                  </a:cubicBezTo>
                  <a:cubicBezTo>
                    <a:pt x="78483" y="632557"/>
                    <a:pt x="84166" y="625371"/>
                    <a:pt x="93218" y="624803"/>
                  </a:cubicBezTo>
                  <a:cubicBezTo>
                    <a:pt x="119479" y="623065"/>
                    <a:pt x="139003" y="604949"/>
                    <a:pt x="161165" y="584695"/>
                  </a:cubicBezTo>
                  <a:cubicBezTo>
                    <a:pt x="171596" y="575102"/>
                    <a:pt x="178172" y="571960"/>
                    <a:pt x="190511" y="564941"/>
                  </a:cubicBezTo>
                  <a:cubicBezTo>
                    <a:pt x="200456" y="559326"/>
                    <a:pt x="204636" y="542548"/>
                    <a:pt x="209670" y="535094"/>
                  </a:cubicBezTo>
                  <a:cubicBezTo>
                    <a:pt x="215474" y="526471"/>
                    <a:pt x="225378" y="514472"/>
                    <a:pt x="237636" y="511497"/>
                  </a:cubicBezTo>
                  <a:cubicBezTo>
                    <a:pt x="247824" y="509024"/>
                    <a:pt x="244861" y="514104"/>
                    <a:pt x="239868" y="520421"/>
                  </a:cubicBezTo>
                  <a:cubicBezTo>
                    <a:pt x="230046" y="532922"/>
                    <a:pt x="291904" y="520421"/>
                    <a:pt x="248960" y="554480"/>
                  </a:cubicBezTo>
                  <a:cubicBezTo>
                    <a:pt x="238935" y="562468"/>
                    <a:pt x="225094" y="566312"/>
                    <a:pt x="228219" y="574868"/>
                  </a:cubicBezTo>
                  <a:cubicBezTo>
                    <a:pt x="231564" y="584059"/>
                    <a:pt x="226437" y="593920"/>
                    <a:pt x="216042" y="598264"/>
                  </a:cubicBezTo>
                  <a:cubicBezTo>
                    <a:pt x="187021" y="611166"/>
                    <a:pt x="174356" y="619689"/>
                    <a:pt x="192622" y="631889"/>
                  </a:cubicBezTo>
                  <a:cubicBezTo>
                    <a:pt x="195991" y="634128"/>
                    <a:pt x="183936" y="643219"/>
                    <a:pt x="181135" y="646428"/>
                  </a:cubicBezTo>
                  <a:cubicBezTo>
                    <a:pt x="171637" y="657458"/>
                    <a:pt x="180770" y="660566"/>
                    <a:pt x="176630" y="669824"/>
                  </a:cubicBezTo>
                  <a:cubicBezTo>
                    <a:pt x="175371" y="672732"/>
                    <a:pt x="164453" y="682325"/>
                    <a:pt x="167375" y="683194"/>
                  </a:cubicBezTo>
                  <a:cubicBezTo>
                    <a:pt x="173301" y="685099"/>
                    <a:pt x="190105" y="683595"/>
                    <a:pt x="198751" y="676710"/>
                  </a:cubicBezTo>
                  <a:cubicBezTo>
                    <a:pt x="220101" y="659664"/>
                    <a:pt x="213282" y="679818"/>
                    <a:pt x="217057" y="684731"/>
                  </a:cubicBezTo>
                  <a:cubicBezTo>
                    <a:pt x="217057" y="684397"/>
                    <a:pt x="273111" y="671964"/>
                    <a:pt x="277252" y="669490"/>
                  </a:cubicBezTo>
                  <a:cubicBezTo>
                    <a:pt x="293487" y="659463"/>
                    <a:pt x="303107" y="641314"/>
                    <a:pt x="303716" y="631722"/>
                  </a:cubicBezTo>
                  <a:cubicBezTo>
                    <a:pt x="303960" y="627778"/>
                    <a:pt x="322469" y="628012"/>
                    <a:pt x="324011" y="628145"/>
                  </a:cubicBezTo>
                  <a:cubicBezTo>
                    <a:pt x="337284" y="629181"/>
                    <a:pt x="329937" y="636401"/>
                    <a:pt x="336188" y="641849"/>
                  </a:cubicBezTo>
                  <a:cubicBezTo>
                    <a:pt x="345726" y="650071"/>
                    <a:pt x="353154" y="651876"/>
                    <a:pt x="369066" y="633359"/>
                  </a:cubicBezTo>
                  <a:cubicBezTo>
                    <a:pt x="374139" y="627510"/>
                    <a:pt x="371095" y="625204"/>
                    <a:pt x="374708" y="619990"/>
                  </a:cubicBezTo>
                  <a:cubicBezTo>
                    <a:pt x="382010" y="610932"/>
                    <a:pt x="392506" y="603947"/>
                    <a:pt x="404785" y="599936"/>
                  </a:cubicBezTo>
                  <a:cubicBezTo>
                    <a:pt x="408844" y="598666"/>
                    <a:pt x="429626" y="597229"/>
                    <a:pt x="432548" y="592449"/>
                  </a:cubicBezTo>
                  <a:cubicBezTo>
                    <a:pt x="434537" y="589106"/>
                    <a:pt x="420696" y="578277"/>
                    <a:pt x="431817" y="572963"/>
                  </a:cubicBezTo>
                  <a:cubicBezTo>
                    <a:pt x="438555" y="569621"/>
                    <a:pt x="438718" y="577308"/>
                    <a:pt x="449149" y="569621"/>
                  </a:cubicBezTo>
                  <a:cubicBezTo>
                    <a:pt x="452883" y="566780"/>
                    <a:pt x="474599" y="543082"/>
                    <a:pt x="475248" y="543584"/>
                  </a:cubicBezTo>
                  <a:cubicBezTo>
                    <a:pt x="479835" y="546926"/>
                    <a:pt x="470540" y="562368"/>
                    <a:pt x="473300" y="567916"/>
                  </a:cubicBezTo>
                  <a:cubicBezTo>
                    <a:pt x="475735" y="572863"/>
                    <a:pt x="488399" y="576305"/>
                    <a:pt x="486898" y="583057"/>
                  </a:cubicBezTo>
                  <a:cubicBezTo>
                    <a:pt x="485558" y="589274"/>
                    <a:pt x="480079" y="598331"/>
                    <a:pt x="478333" y="605284"/>
                  </a:cubicBezTo>
                  <a:cubicBezTo>
                    <a:pt x="475451" y="616481"/>
                    <a:pt x="465507" y="623834"/>
                    <a:pt x="458566" y="634830"/>
                  </a:cubicBezTo>
                  <a:cubicBezTo>
                    <a:pt x="452559" y="644356"/>
                    <a:pt x="448540" y="670292"/>
                    <a:pt x="438758" y="677645"/>
                  </a:cubicBezTo>
                  <a:cubicBezTo>
                    <a:pt x="430234" y="684063"/>
                    <a:pt x="420615" y="689010"/>
                    <a:pt x="412253" y="695661"/>
                  </a:cubicBezTo>
                  <a:cubicBezTo>
                    <a:pt x="400076" y="705320"/>
                    <a:pt x="404866" y="711938"/>
                    <a:pt x="401619" y="721464"/>
                  </a:cubicBezTo>
                  <a:cubicBezTo>
                    <a:pt x="393014" y="746699"/>
                    <a:pt x="410711" y="728683"/>
                    <a:pt x="419559" y="712306"/>
                  </a:cubicBezTo>
                  <a:cubicBezTo>
                    <a:pt x="423618" y="704953"/>
                    <a:pt x="417854" y="698201"/>
                    <a:pt x="431127" y="696196"/>
                  </a:cubicBezTo>
                  <a:cubicBezTo>
                    <a:pt x="442614" y="694458"/>
                    <a:pt x="448824" y="673601"/>
                    <a:pt x="456780" y="667351"/>
                  </a:cubicBezTo>
                  <a:cubicBezTo>
                    <a:pt x="467861" y="658561"/>
                    <a:pt x="497167" y="632023"/>
                    <a:pt x="494285" y="623533"/>
                  </a:cubicBezTo>
                  <a:cubicBezTo>
                    <a:pt x="489942" y="610966"/>
                    <a:pt x="509384" y="589173"/>
                    <a:pt x="522292" y="573865"/>
                  </a:cubicBezTo>
                  <a:cubicBezTo>
                    <a:pt x="529679" y="565075"/>
                    <a:pt x="524687" y="565142"/>
                    <a:pt x="527244" y="557655"/>
                  </a:cubicBezTo>
                  <a:cubicBezTo>
                    <a:pt x="528421" y="554313"/>
                    <a:pt x="536133" y="547828"/>
                    <a:pt x="538487" y="544286"/>
                  </a:cubicBezTo>
                  <a:cubicBezTo>
                    <a:pt x="542818" y="537601"/>
                    <a:pt x="546707" y="530716"/>
                    <a:pt x="550136" y="523697"/>
                  </a:cubicBezTo>
                  <a:cubicBezTo>
                    <a:pt x="553343" y="517513"/>
                    <a:pt x="567590" y="506985"/>
                    <a:pt x="568199" y="501904"/>
                  </a:cubicBezTo>
                  <a:cubicBezTo>
                    <a:pt x="568564" y="498562"/>
                    <a:pt x="565601" y="496757"/>
                    <a:pt x="564424" y="494217"/>
                  </a:cubicBezTo>
                  <a:cubicBezTo>
                    <a:pt x="562476" y="490005"/>
                    <a:pt x="571324" y="484558"/>
                    <a:pt x="573516" y="479343"/>
                  </a:cubicBezTo>
                  <a:cubicBezTo>
                    <a:pt x="582933" y="456649"/>
                    <a:pt x="538487" y="496055"/>
                    <a:pt x="546280" y="475734"/>
                  </a:cubicBezTo>
                  <a:cubicBezTo>
                    <a:pt x="549609" y="467010"/>
                    <a:pt x="554723" y="462097"/>
                    <a:pt x="562516" y="454142"/>
                  </a:cubicBezTo>
                  <a:cubicBezTo>
                    <a:pt x="574693" y="441675"/>
                    <a:pt x="564018" y="436461"/>
                    <a:pt x="571000" y="424963"/>
                  </a:cubicBezTo>
                  <a:cubicBezTo>
                    <a:pt x="575546" y="417476"/>
                    <a:pt x="575059" y="402570"/>
                    <a:pt x="582649" y="396587"/>
                  </a:cubicBezTo>
                  <a:cubicBezTo>
                    <a:pt x="593486" y="388164"/>
                    <a:pt x="590767" y="377201"/>
                    <a:pt x="600914" y="369179"/>
                  </a:cubicBezTo>
                  <a:cubicBezTo>
                    <a:pt x="602700" y="367809"/>
                    <a:pt x="605663" y="369012"/>
                    <a:pt x="607043" y="368812"/>
                  </a:cubicBezTo>
                  <a:cubicBezTo>
                    <a:pt x="613091" y="367943"/>
                    <a:pt x="618896" y="362394"/>
                    <a:pt x="624740" y="359787"/>
                  </a:cubicBezTo>
                  <a:cubicBezTo>
                    <a:pt x="628191" y="358250"/>
                    <a:pt x="633305" y="357180"/>
                    <a:pt x="633345" y="360055"/>
                  </a:cubicBezTo>
                  <a:cubicBezTo>
                    <a:pt x="633345" y="365202"/>
                    <a:pt x="620438" y="369213"/>
                    <a:pt x="616095" y="371385"/>
                  </a:cubicBezTo>
                  <a:cubicBezTo>
                    <a:pt x="603431" y="377636"/>
                    <a:pt x="592959" y="393044"/>
                    <a:pt x="596612" y="399829"/>
                  </a:cubicBezTo>
                  <a:cubicBezTo>
                    <a:pt x="599331" y="404909"/>
                    <a:pt x="594095" y="420585"/>
                    <a:pt x="600955" y="422022"/>
                  </a:cubicBezTo>
                  <a:cubicBezTo>
                    <a:pt x="607815" y="423459"/>
                    <a:pt x="626161" y="408653"/>
                    <a:pt x="612036" y="425732"/>
                  </a:cubicBezTo>
                  <a:cubicBezTo>
                    <a:pt x="597911" y="442811"/>
                    <a:pt x="615040" y="435458"/>
                    <a:pt x="627135" y="423860"/>
                  </a:cubicBezTo>
                  <a:cubicBezTo>
                    <a:pt x="642925" y="408686"/>
                    <a:pt x="649541" y="391038"/>
                    <a:pt x="662245" y="375363"/>
                  </a:cubicBezTo>
                  <a:cubicBezTo>
                    <a:pt x="665533" y="371285"/>
                    <a:pt x="701820" y="344880"/>
                    <a:pt x="701902" y="344947"/>
                  </a:cubicBezTo>
                  <a:cubicBezTo>
                    <a:pt x="697315" y="340101"/>
                    <a:pt x="695854" y="337828"/>
                    <a:pt x="685666" y="340034"/>
                  </a:cubicBezTo>
                  <a:cubicBezTo>
                    <a:pt x="668659" y="343711"/>
                    <a:pt x="672230" y="333817"/>
                    <a:pt x="677954" y="323656"/>
                  </a:cubicBezTo>
                  <a:cubicBezTo>
                    <a:pt x="680227" y="319579"/>
                    <a:pt x="712130" y="305340"/>
                    <a:pt x="716392" y="306042"/>
                  </a:cubicBezTo>
                  <a:cubicBezTo>
                    <a:pt x="718543" y="306343"/>
                    <a:pt x="750244" y="288328"/>
                    <a:pt x="746226" y="294511"/>
                  </a:cubicBezTo>
                  <a:cubicBezTo>
                    <a:pt x="742613" y="300026"/>
                    <a:pt x="732100" y="304304"/>
                    <a:pt x="729381" y="310120"/>
                  </a:cubicBezTo>
                  <a:cubicBezTo>
                    <a:pt x="727798" y="313462"/>
                    <a:pt x="732222" y="316270"/>
                    <a:pt x="737255" y="312393"/>
                  </a:cubicBezTo>
                  <a:cubicBezTo>
                    <a:pt x="744683" y="306744"/>
                    <a:pt x="743100" y="299291"/>
                    <a:pt x="753491" y="294110"/>
                  </a:cubicBezTo>
                  <a:cubicBezTo>
                    <a:pt x="758524" y="292506"/>
                    <a:pt x="763517" y="290935"/>
                    <a:pt x="768509" y="289464"/>
                  </a:cubicBezTo>
                  <a:cubicBezTo>
                    <a:pt x="775328" y="285788"/>
                    <a:pt x="773705" y="278000"/>
                    <a:pt x="779347" y="275393"/>
                  </a:cubicBezTo>
                  <a:cubicBezTo>
                    <a:pt x="784136" y="273187"/>
                    <a:pt x="786207" y="279638"/>
                    <a:pt x="796395" y="274724"/>
                  </a:cubicBezTo>
                  <a:cubicBezTo>
                    <a:pt x="809598" y="268397"/>
                    <a:pt x="822303" y="261385"/>
                    <a:pt x="834427" y="253734"/>
                  </a:cubicBezTo>
                  <a:cubicBezTo>
                    <a:pt x="844575" y="247050"/>
                    <a:pt x="877452" y="218873"/>
                    <a:pt x="888127" y="218272"/>
                  </a:cubicBezTo>
                  <a:cubicBezTo>
                    <a:pt x="907489" y="217135"/>
                    <a:pt x="923075" y="210852"/>
                    <a:pt x="932776" y="194006"/>
                  </a:cubicBezTo>
                  <a:cubicBezTo>
                    <a:pt x="935861" y="188725"/>
                    <a:pt x="943532" y="181773"/>
                    <a:pt x="950311" y="184882"/>
                  </a:cubicBezTo>
                  <a:cubicBezTo>
                    <a:pt x="957089" y="187990"/>
                    <a:pt x="933426" y="206507"/>
                    <a:pt x="957252" y="195945"/>
                  </a:cubicBezTo>
                  <a:cubicBezTo>
                    <a:pt x="976532" y="186757"/>
                    <a:pt x="997833" y="180804"/>
                    <a:pt x="1019922" y="178431"/>
                  </a:cubicBezTo>
                  <a:cubicBezTo>
                    <a:pt x="1028974" y="177462"/>
                    <a:pt x="1067494" y="171479"/>
                    <a:pt x="1056818" y="162087"/>
                  </a:cubicBezTo>
                  <a:cubicBezTo>
                    <a:pt x="1048701" y="155101"/>
                    <a:pt x="1067047" y="153397"/>
                    <a:pt x="1078047" y="148918"/>
                  </a:cubicBezTo>
                  <a:cubicBezTo>
                    <a:pt x="1081091" y="147715"/>
                    <a:pt x="1099438" y="146311"/>
                    <a:pt x="1097165" y="142400"/>
                  </a:cubicBezTo>
                  <a:cubicBezTo>
                    <a:pt x="1094202" y="137153"/>
                    <a:pt x="1074232" y="136418"/>
                    <a:pt x="1075409" y="129900"/>
                  </a:cubicBezTo>
                  <a:cubicBezTo>
                    <a:pt x="1075896" y="126992"/>
                    <a:pt x="1091969" y="127761"/>
                    <a:pt x="1093187" y="127861"/>
                  </a:cubicBezTo>
                  <a:cubicBezTo>
                    <a:pt x="1104268" y="128763"/>
                    <a:pt x="1110072" y="137086"/>
                    <a:pt x="1111168" y="144573"/>
                  </a:cubicBezTo>
                  <a:cubicBezTo>
                    <a:pt x="1112061" y="150790"/>
                    <a:pt x="1096272" y="157541"/>
                    <a:pt x="1089980" y="156338"/>
                  </a:cubicBezTo>
                  <a:cubicBezTo>
                    <a:pt x="1083689" y="155135"/>
                    <a:pt x="1079427" y="156338"/>
                    <a:pt x="1072892" y="164025"/>
                  </a:cubicBezTo>
                  <a:cubicBezTo>
                    <a:pt x="1057671" y="182275"/>
                    <a:pt x="1112183" y="165496"/>
                    <a:pt x="1116485" y="169841"/>
                  </a:cubicBezTo>
                  <a:cubicBezTo>
                    <a:pt x="1120788" y="174186"/>
                    <a:pt x="1155614" y="176526"/>
                    <a:pt x="1141123" y="164594"/>
                  </a:cubicBezTo>
                  <a:cubicBezTo>
                    <a:pt x="1135847" y="160215"/>
                    <a:pt x="1124076" y="160683"/>
                    <a:pt x="1120220" y="155636"/>
                  </a:cubicBezTo>
                  <a:cubicBezTo>
                    <a:pt x="1115146" y="148951"/>
                    <a:pt x="1129068" y="144874"/>
                    <a:pt x="1132397" y="151291"/>
                  </a:cubicBezTo>
                  <a:cubicBezTo>
                    <a:pt x="1137876" y="161318"/>
                    <a:pt x="1144898" y="145542"/>
                    <a:pt x="1149769" y="139894"/>
                  </a:cubicBezTo>
                  <a:cubicBezTo>
                    <a:pt x="1156872" y="131605"/>
                    <a:pt x="1137592" y="132774"/>
                    <a:pt x="1137592" y="127126"/>
                  </a:cubicBezTo>
                  <a:cubicBezTo>
                    <a:pt x="1137592" y="120207"/>
                    <a:pt x="1164422" y="125622"/>
                    <a:pt x="1166005" y="128630"/>
                  </a:cubicBezTo>
                  <a:cubicBezTo>
                    <a:pt x="1166979" y="130334"/>
                    <a:pt x="1163367" y="141398"/>
                    <a:pt x="1161946" y="143771"/>
                  </a:cubicBezTo>
                  <a:cubicBezTo>
                    <a:pt x="1158130" y="150255"/>
                    <a:pt x="1146400" y="152661"/>
                    <a:pt x="1150216" y="158778"/>
                  </a:cubicBezTo>
                  <a:cubicBezTo>
                    <a:pt x="1151474" y="160850"/>
                    <a:pt x="1158861" y="170476"/>
                    <a:pt x="1165274" y="167134"/>
                  </a:cubicBezTo>
                  <a:cubicBezTo>
                    <a:pt x="1169942" y="164727"/>
                    <a:pt x="1167020" y="158410"/>
                    <a:pt x="1168440" y="155837"/>
                  </a:cubicBezTo>
                  <a:cubicBezTo>
                    <a:pt x="1173664" y="155569"/>
                    <a:pt x="1178312" y="153019"/>
                    <a:pt x="1180617" y="149152"/>
                  </a:cubicBezTo>
                  <a:cubicBezTo>
                    <a:pt x="1186381" y="139125"/>
                    <a:pt x="1189709" y="144205"/>
                    <a:pt x="1199491" y="143637"/>
                  </a:cubicBezTo>
                  <a:cubicBezTo>
                    <a:pt x="1202982" y="143436"/>
                    <a:pt x="1231314" y="136117"/>
                    <a:pt x="1219502" y="134078"/>
                  </a:cubicBezTo>
                  <a:cubicBezTo>
                    <a:pt x="1211384" y="132707"/>
                    <a:pt x="1195148" y="143771"/>
                    <a:pt x="1193647" y="135983"/>
                  </a:cubicBezTo>
                  <a:cubicBezTo>
                    <a:pt x="1191901" y="127193"/>
                    <a:pt x="1210735" y="125956"/>
                    <a:pt x="1216702" y="126324"/>
                  </a:cubicBezTo>
                  <a:cubicBezTo>
                    <a:pt x="1227742" y="126792"/>
                    <a:pt x="1236509" y="128529"/>
                    <a:pt x="1227823" y="139192"/>
                  </a:cubicBezTo>
                  <a:cubicBezTo>
                    <a:pt x="1218122" y="151124"/>
                    <a:pt x="1218569" y="149787"/>
                    <a:pt x="1202414" y="151993"/>
                  </a:cubicBezTo>
                  <a:cubicBezTo>
                    <a:pt x="1184879" y="154399"/>
                    <a:pt x="1195270" y="160583"/>
                    <a:pt x="1201886" y="162020"/>
                  </a:cubicBezTo>
                  <a:cubicBezTo>
                    <a:pt x="1212074" y="164193"/>
                    <a:pt x="1205945" y="174353"/>
                    <a:pt x="1214063" y="176492"/>
                  </a:cubicBezTo>
                  <a:cubicBezTo>
                    <a:pt x="1227864" y="180035"/>
                    <a:pt x="1224860" y="169808"/>
                    <a:pt x="1224617" y="166031"/>
                  </a:cubicBezTo>
                  <a:cubicBezTo>
                    <a:pt x="1224089" y="158912"/>
                    <a:pt x="1250472" y="163725"/>
                    <a:pt x="1245561" y="152895"/>
                  </a:cubicBezTo>
                  <a:cubicBezTo>
                    <a:pt x="1242720" y="146578"/>
                    <a:pt x="1243937" y="140596"/>
                    <a:pt x="1259037" y="141899"/>
                  </a:cubicBezTo>
                  <a:cubicBezTo>
                    <a:pt x="1265977" y="142500"/>
                    <a:pt x="1263096" y="133643"/>
                    <a:pt x="1269347" y="130702"/>
                  </a:cubicBezTo>
                  <a:cubicBezTo>
                    <a:pt x="1280914" y="125254"/>
                    <a:pt x="1275354" y="141732"/>
                    <a:pt x="1282213" y="139492"/>
                  </a:cubicBezTo>
                  <a:cubicBezTo>
                    <a:pt x="1290575" y="136785"/>
                    <a:pt x="1288302" y="129800"/>
                    <a:pt x="1294390" y="134579"/>
                  </a:cubicBezTo>
                  <a:cubicBezTo>
                    <a:pt x="1297678" y="130201"/>
                    <a:pt x="1313508" y="113990"/>
                    <a:pt x="1309611" y="110949"/>
                  </a:cubicBezTo>
                  <a:cubicBezTo>
                    <a:pt x="1305715" y="107907"/>
                    <a:pt x="1291549" y="113456"/>
                    <a:pt x="1291265" y="107205"/>
                  </a:cubicBezTo>
                  <a:cubicBezTo>
                    <a:pt x="1291265" y="99384"/>
                    <a:pt x="1291874" y="115026"/>
                    <a:pt x="1291630" y="1072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898B7AA6-1920-4018-83E4-83002D56FD61}"/>
                </a:ext>
              </a:extLst>
            </p:cNvPr>
            <p:cNvSpPr/>
            <p:nvPr/>
          </p:nvSpPr>
          <p:spPr>
            <a:xfrm>
              <a:off x="864710" y="5312038"/>
              <a:ext cx="58215" cy="75051"/>
            </a:xfrm>
            <a:custGeom>
              <a:avLst/>
              <a:gdLst>
                <a:gd name="connsiteX0" fmla="*/ 43006 w 58215"/>
                <a:gd name="connsiteY0" fmla="*/ 629 h 75051"/>
                <a:gd name="connsiteX1" fmla="*/ 14594 w 58215"/>
                <a:gd name="connsiteY1" fmla="*/ 52837 h 75051"/>
                <a:gd name="connsiteX2" fmla="*/ 6476 w 58215"/>
                <a:gd name="connsiteY2" fmla="*/ 74128 h 75051"/>
                <a:gd name="connsiteX3" fmla="*/ 32047 w 58215"/>
                <a:gd name="connsiteY3" fmla="*/ 60992 h 75051"/>
                <a:gd name="connsiteX4" fmla="*/ 54980 w 58215"/>
                <a:gd name="connsiteY4" fmla="*/ 18410 h 75051"/>
                <a:gd name="connsiteX5" fmla="*/ 46619 w 58215"/>
                <a:gd name="connsiteY5" fmla="*/ 11726 h 75051"/>
                <a:gd name="connsiteX6" fmla="*/ 42803 w 58215"/>
                <a:gd name="connsiteY6" fmla="*/ 763 h 75051"/>
                <a:gd name="connsiteX7" fmla="*/ 43006 w 58215"/>
                <a:gd name="connsiteY7" fmla="*/ 629 h 7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15" h="75051">
                  <a:moveTo>
                    <a:pt x="43006" y="629"/>
                  </a:moveTo>
                  <a:cubicBezTo>
                    <a:pt x="36066" y="-8429"/>
                    <a:pt x="16420" y="50765"/>
                    <a:pt x="14594" y="52837"/>
                  </a:cubicBezTo>
                  <a:cubicBezTo>
                    <a:pt x="5664" y="62630"/>
                    <a:pt x="-8461" y="70183"/>
                    <a:pt x="6476" y="74128"/>
                  </a:cubicBezTo>
                  <a:cubicBezTo>
                    <a:pt x="19099" y="77470"/>
                    <a:pt x="20276" y="65604"/>
                    <a:pt x="32047" y="60992"/>
                  </a:cubicBezTo>
                  <a:cubicBezTo>
                    <a:pt x="43818" y="56379"/>
                    <a:pt x="66508" y="17541"/>
                    <a:pt x="54980" y="18410"/>
                  </a:cubicBezTo>
                  <a:cubicBezTo>
                    <a:pt x="45482" y="19146"/>
                    <a:pt x="32412" y="25095"/>
                    <a:pt x="46619" y="11726"/>
                  </a:cubicBezTo>
                  <a:cubicBezTo>
                    <a:pt x="64762" y="-5554"/>
                    <a:pt x="47349" y="6746"/>
                    <a:pt x="42803" y="763"/>
                  </a:cubicBezTo>
                  <a:cubicBezTo>
                    <a:pt x="40327" y="-2947"/>
                    <a:pt x="45726" y="4205"/>
                    <a:pt x="43006" y="62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A01C664E-1BD5-4080-87C3-BD6B6FA4D62F}"/>
                </a:ext>
              </a:extLst>
            </p:cNvPr>
            <p:cNvSpPr/>
            <p:nvPr/>
          </p:nvSpPr>
          <p:spPr>
            <a:xfrm>
              <a:off x="862871" y="5310599"/>
              <a:ext cx="62157" cy="78016"/>
            </a:xfrm>
            <a:custGeom>
              <a:avLst/>
              <a:gdLst>
                <a:gd name="connsiteX0" fmla="*/ 20288 w 62157"/>
                <a:gd name="connsiteY0" fmla="*/ 74697 h 78016"/>
                <a:gd name="connsiteX1" fmla="*/ 7178 w 62157"/>
                <a:gd name="connsiteY1" fmla="*/ 77070 h 78016"/>
                <a:gd name="connsiteX2" fmla="*/ -47 w 62157"/>
                <a:gd name="connsiteY2" fmla="*/ 71221 h 78016"/>
                <a:gd name="connsiteX3" fmla="*/ 8639 w 62157"/>
                <a:gd name="connsiteY3" fmla="*/ 60158 h 78016"/>
                <a:gd name="connsiteX4" fmla="*/ 15052 w 62157"/>
                <a:gd name="connsiteY4" fmla="*/ 53908 h 78016"/>
                <a:gd name="connsiteX5" fmla="*/ 18705 w 62157"/>
                <a:gd name="connsiteY5" fmla="*/ 44683 h 78016"/>
                <a:gd name="connsiteX6" fmla="*/ 40583 w 62157"/>
                <a:gd name="connsiteY6" fmla="*/ 964 h 78016"/>
                <a:gd name="connsiteX7" fmla="*/ 43627 w 62157"/>
                <a:gd name="connsiteY7" fmla="*/ -339 h 78016"/>
                <a:gd name="connsiteX8" fmla="*/ 44277 w 62157"/>
                <a:gd name="connsiteY8" fmla="*/ -339 h 78016"/>
                <a:gd name="connsiteX9" fmla="*/ 44804 w 62157"/>
                <a:gd name="connsiteY9" fmla="*/ -339 h 78016"/>
                <a:gd name="connsiteX10" fmla="*/ 45900 w 62157"/>
                <a:gd name="connsiteY10" fmla="*/ -5 h 78016"/>
                <a:gd name="connsiteX11" fmla="*/ 45900 w 62157"/>
                <a:gd name="connsiteY11" fmla="*/ -5 h 78016"/>
                <a:gd name="connsiteX12" fmla="*/ 46266 w 62157"/>
                <a:gd name="connsiteY12" fmla="*/ 497 h 78016"/>
                <a:gd name="connsiteX13" fmla="*/ 46672 w 62157"/>
                <a:gd name="connsiteY13" fmla="*/ 1031 h 78016"/>
                <a:gd name="connsiteX14" fmla="*/ 46672 w 62157"/>
                <a:gd name="connsiteY14" fmla="*/ 1031 h 78016"/>
                <a:gd name="connsiteX15" fmla="*/ 54059 w 62157"/>
                <a:gd name="connsiteY15" fmla="*/ 2168 h 78016"/>
                <a:gd name="connsiteX16" fmla="*/ 58645 w 62157"/>
                <a:gd name="connsiteY16" fmla="*/ 2870 h 78016"/>
                <a:gd name="connsiteX17" fmla="*/ 49919 w 62157"/>
                <a:gd name="connsiteY17" fmla="*/ 13666 h 78016"/>
                <a:gd name="connsiteX18" fmla="*/ 44317 w 62157"/>
                <a:gd name="connsiteY18" fmla="*/ 20350 h 78016"/>
                <a:gd name="connsiteX19" fmla="*/ 50365 w 62157"/>
                <a:gd name="connsiteY19" fmla="*/ 19715 h 78016"/>
                <a:gd name="connsiteX20" fmla="*/ 57793 w 62157"/>
                <a:gd name="connsiteY20" fmla="*/ 18545 h 78016"/>
                <a:gd name="connsiteX21" fmla="*/ 62096 w 62157"/>
                <a:gd name="connsiteY21" fmla="*/ 22423 h 78016"/>
                <a:gd name="connsiteX22" fmla="*/ 37742 w 62157"/>
                <a:gd name="connsiteY22" fmla="*/ 61863 h 78016"/>
                <a:gd name="connsiteX23" fmla="*/ 37742 w 62157"/>
                <a:gd name="connsiteY23" fmla="*/ 61863 h 78016"/>
                <a:gd name="connsiteX24" fmla="*/ 34007 w 62157"/>
                <a:gd name="connsiteY24" fmla="*/ 63968 h 78016"/>
                <a:gd name="connsiteX25" fmla="*/ 24875 w 62157"/>
                <a:gd name="connsiteY25" fmla="*/ 70653 h 78016"/>
                <a:gd name="connsiteX26" fmla="*/ 20288 w 62157"/>
                <a:gd name="connsiteY26" fmla="*/ 74697 h 78016"/>
                <a:gd name="connsiteX27" fmla="*/ 42207 w 62157"/>
                <a:gd name="connsiteY27" fmla="*/ 2636 h 78016"/>
                <a:gd name="connsiteX28" fmla="*/ 22480 w 62157"/>
                <a:gd name="connsiteY28" fmla="*/ 43981 h 78016"/>
                <a:gd name="connsiteX29" fmla="*/ 17934 w 62157"/>
                <a:gd name="connsiteY29" fmla="*/ 54609 h 78016"/>
                <a:gd name="connsiteX30" fmla="*/ 11074 w 62157"/>
                <a:gd name="connsiteY30" fmla="*/ 61294 h 78016"/>
                <a:gd name="connsiteX31" fmla="*/ 3849 w 62157"/>
                <a:gd name="connsiteY31" fmla="*/ 69851 h 78016"/>
                <a:gd name="connsiteX32" fmla="*/ 9897 w 62157"/>
                <a:gd name="connsiteY32" fmla="*/ 74095 h 78016"/>
                <a:gd name="connsiteX33" fmla="*/ 18502 w 62157"/>
                <a:gd name="connsiteY33" fmla="*/ 73026 h 78016"/>
                <a:gd name="connsiteX34" fmla="*/ 22277 w 62157"/>
                <a:gd name="connsiteY34" fmla="*/ 69684 h 78016"/>
                <a:gd name="connsiteX35" fmla="*/ 34048 w 62157"/>
                <a:gd name="connsiteY35" fmla="*/ 61227 h 78016"/>
                <a:gd name="connsiteX36" fmla="*/ 36037 w 62157"/>
                <a:gd name="connsiteY36" fmla="*/ 60058 h 78016"/>
                <a:gd name="connsiteX37" fmla="*/ 36037 w 62157"/>
                <a:gd name="connsiteY37" fmla="*/ 60058 h 78016"/>
                <a:gd name="connsiteX38" fmla="*/ 58199 w 62157"/>
                <a:gd name="connsiteY38" fmla="*/ 23860 h 78016"/>
                <a:gd name="connsiteX39" fmla="*/ 56210 w 62157"/>
                <a:gd name="connsiteY39" fmla="*/ 21453 h 78016"/>
                <a:gd name="connsiteX40" fmla="*/ 49350 w 62157"/>
                <a:gd name="connsiteY40" fmla="*/ 22523 h 78016"/>
                <a:gd name="connsiteX41" fmla="*/ 40502 w 62157"/>
                <a:gd name="connsiteY41" fmla="*/ 22289 h 78016"/>
                <a:gd name="connsiteX42" fmla="*/ 47402 w 62157"/>
                <a:gd name="connsiteY42" fmla="*/ 12630 h 78016"/>
                <a:gd name="connsiteX43" fmla="*/ 54708 w 62157"/>
                <a:gd name="connsiteY43" fmla="*/ 4909 h 78016"/>
                <a:gd name="connsiteX44" fmla="*/ 52719 w 62157"/>
                <a:gd name="connsiteY44" fmla="*/ 5142 h 78016"/>
                <a:gd name="connsiteX45" fmla="*/ 44601 w 62157"/>
                <a:gd name="connsiteY45" fmla="*/ 4741 h 78016"/>
                <a:gd name="connsiteX46" fmla="*/ 43749 w 62157"/>
                <a:gd name="connsiteY46" fmla="*/ 4374 h 78016"/>
                <a:gd name="connsiteX47" fmla="*/ 43749 w 62157"/>
                <a:gd name="connsiteY47" fmla="*/ 4374 h 78016"/>
                <a:gd name="connsiteX48" fmla="*/ 43343 w 62157"/>
                <a:gd name="connsiteY48" fmla="*/ 3839 h 78016"/>
                <a:gd name="connsiteX49" fmla="*/ 42897 w 62157"/>
                <a:gd name="connsiteY49" fmla="*/ 3237 h 78016"/>
                <a:gd name="connsiteX50" fmla="*/ 42207 w 62157"/>
                <a:gd name="connsiteY50" fmla="*/ 2636 h 7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157" h="78016">
                  <a:moveTo>
                    <a:pt x="20288" y="74697"/>
                  </a:moveTo>
                  <a:cubicBezTo>
                    <a:pt x="16834" y="77505"/>
                    <a:pt x="11740" y="78407"/>
                    <a:pt x="7178" y="77070"/>
                  </a:cubicBezTo>
                  <a:cubicBezTo>
                    <a:pt x="2063" y="75733"/>
                    <a:pt x="-250" y="73728"/>
                    <a:pt x="-47" y="71221"/>
                  </a:cubicBezTo>
                  <a:cubicBezTo>
                    <a:pt x="196" y="67879"/>
                    <a:pt x="4296" y="64135"/>
                    <a:pt x="8639" y="60158"/>
                  </a:cubicBezTo>
                  <a:cubicBezTo>
                    <a:pt x="10908" y="58153"/>
                    <a:pt x="13047" y="56080"/>
                    <a:pt x="15052" y="53908"/>
                  </a:cubicBezTo>
                  <a:cubicBezTo>
                    <a:pt x="15336" y="53406"/>
                    <a:pt x="16960" y="49161"/>
                    <a:pt x="18705" y="44683"/>
                  </a:cubicBezTo>
                  <a:cubicBezTo>
                    <a:pt x="28122" y="20117"/>
                    <a:pt x="34941" y="5076"/>
                    <a:pt x="40583" y="964"/>
                  </a:cubicBezTo>
                  <a:cubicBezTo>
                    <a:pt x="41440" y="330"/>
                    <a:pt x="42491" y="-138"/>
                    <a:pt x="43627" y="-339"/>
                  </a:cubicBezTo>
                  <a:lnTo>
                    <a:pt x="44277" y="-339"/>
                  </a:lnTo>
                  <a:lnTo>
                    <a:pt x="44804" y="-339"/>
                  </a:lnTo>
                  <a:cubicBezTo>
                    <a:pt x="45332" y="-339"/>
                    <a:pt x="45535" y="-339"/>
                    <a:pt x="45900" y="-5"/>
                  </a:cubicBezTo>
                  <a:lnTo>
                    <a:pt x="45900" y="-5"/>
                  </a:lnTo>
                  <a:lnTo>
                    <a:pt x="46266" y="497"/>
                  </a:lnTo>
                  <a:lnTo>
                    <a:pt x="46672" y="1031"/>
                  </a:lnTo>
                  <a:lnTo>
                    <a:pt x="46672" y="1031"/>
                  </a:lnTo>
                  <a:cubicBezTo>
                    <a:pt x="48173" y="3004"/>
                    <a:pt x="51299" y="2569"/>
                    <a:pt x="54059" y="2168"/>
                  </a:cubicBezTo>
                  <a:cubicBezTo>
                    <a:pt x="56088" y="1900"/>
                    <a:pt x="58118" y="1600"/>
                    <a:pt x="58645" y="2870"/>
                  </a:cubicBezTo>
                  <a:cubicBezTo>
                    <a:pt x="59173" y="4140"/>
                    <a:pt x="56941" y="6947"/>
                    <a:pt x="49919" y="13666"/>
                  </a:cubicBezTo>
                  <a:cubicBezTo>
                    <a:pt x="44155" y="19181"/>
                    <a:pt x="44317" y="20350"/>
                    <a:pt x="44317" y="20350"/>
                  </a:cubicBezTo>
                  <a:cubicBezTo>
                    <a:pt x="44317" y="20350"/>
                    <a:pt x="48052" y="20350"/>
                    <a:pt x="50365" y="19715"/>
                  </a:cubicBezTo>
                  <a:cubicBezTo>
                    <a:pt x="52809" y="19181"/>
                    <a:pt x="55289" y="18813"/>
                    <a:pt x="57793" y="18545"/>
                  </a:cubicBezTo>
                  <a:cubicBezTo>
                    <a:pt x="59701" y="18545"/>
                    <a:pt x="61852" y="18946"/>
                    <a:pt x="62096" y="22423"/>
                  </a:cubicBezTo>
                  <a:cubicBezTo>
                    <a:pt x="62299" y="31246"/>
                    <a:pt x="47970" y="54442"/>
                    <a:pt x="37742" y="61863"/>
                  </a:cubicBezTo>
                  <a:lnTo>
                    <a:pt x="37742" y="61863"/>
                  </a:lnTo>
                  <a:cubicBezTo>
                    <a:pt x="36626" y="62698"/>
                    <a:pt x="35367" y="63433"/>
                    <a:pt x="34007" y="63968"/>
                  </a:cubicBezTo>
                  <a:cubicBezTo>
                    <a:pt x="30432" y="65639"/>
                    <a:pt x="27318" y="67912"/>
                    <a:pt x="24875" y="70653"/>
                  </a:cubicBezTo>
                  <a:cubicBezTo>
                    <a:pt x="23466" y="72090"/>
                    <a:pt x="21932" y="73427"/>
                    <a:pt x="20288" y="74697"/>
                  </a:cubicBezTo>
                  <a:close/>
                  <a:moveTo>
                    <a:pt x="42207" y="2636"/>
                  </a:moveTo>
                  <a:cubicBezTo>
                    <a:pt x="36971" y="6479"/>
                    <a:pt x="26742" y="32717"/>
                    <a:pt x="22480" y="43981"/>
                  </a:cubicBezTo>
                  <a:cubicBezTo>
                    <a:pt x="21429" y="47658"/>
                    <a:pt x="19907" y="51200"/>
                    <a:pt x="17934" y="54609"/>
                  </a:cubicBezTo>
                  <a:cubicBezTo>
                    <a:pt x="15742" y="57016"/>
                    <a:pt x="13266" y="59289"/>
                    <a:pt x="11074" y="61294"/>
                  </a:cubicBezTo>
                  <a:cubicBezTo>
                    <a:pt x="7259" y="64637"/>
                    <a:pt x="4012" y="67745"/>
                    <a:pt x="3849" y="69851"/>
                  </a:cubicBezTo>
                  <a:cubicBezTo>
                    <a:pt x="3687" y="71957"/>
                    <a:pt x="5716" y="73193"/>
                    <a:pt x="9897" y="74095"/>
                  </a:cubicBezTo>
                  <a:cubicBezTo>
                    <a:pt x="12759" y="75232"/>
                    <a:pt x="16180" y="74831"/>
                    <a:pt x="18502" y="73026"/>
                  </a:cubicBezTo>
                  <a:cubicBezTo>
                    <a:pt x="19854" y="71990"/>
                    <a:pt x="21116" y="70853"/>
                    <a:pt x="22277" y="69684"/>
                  </a:cubicBezTo>
                  <a:cubicBezTo>
                    <a:pt x="25455" y="66241"/>
                    <a:pt x="29461" y="63366"/>
                    <a:pt x="34048" y="61227"/>
                  </a:cubicBezTo>
                  <a:cubicBezTo>
                    <a:pt x="34779" y="60927"/>
                    <a:pt x="35448" y="60526"/>
                    <a:pt x="36037" y="60058"/>
                  </a:cubicBezTo>
                  <a:lnTo>
                    <a:pt x="36037" y="60058"/>
                  </a:lnTo>
                  <a:cubicBezTo>
                    <a:pt x="44926" y="53607"/>
                    <a:pt x="58402" y="31647"/>
                    <a:pt x="58199" y="23860"/>
                  </a:cubicBezTo>
                  <a:cubicBezTo>
                    <a:pt x="58199" y="22155"/>
                    <a:pt x="57468" y="21353"/>
                    <a:pt x="56210" y="21453"/>
                  </a:cubicBezTo>
                  <a:cubicBezTo>
                    <a:pt x="53897" y="21687"/>
                    <a:pt x="51603" y="22021"/>
                    <a:pt x="49350" y="22523"/>
                  </a:cubicBezTo>
                  <a:cubicBezTo>
                    <a:pt x="45007" y="23392"/>
                    <a:pt x="41232" y="24127"/>
                    <a:pt x="40502" y="22289"/>
                  </a:cubicBezTo>
                  <a:cubicBezTo>
                    <a:pt x="39771" y="20451"/>
                    <a:pt x="41882" y="17877"/>
                    <a:pt x="47402" y="12630"/>
                  </a:cubicBezTo>
                  <a:cubicBezTo>
                    <a:pt x="50138" y="10256"/>
                    <a:pt x="52585" y="7683"/>
                    <a:pt x="54708" y="4909"/>
                  </a:cubicBezTo>
                  <a:cubicBezTo>
                    <a:pt x="54039" y="4942"/>
                    <a:pt x="53377" y="5042"/>
                    <a:pt x="52719" y="5142"/>
                  </a:cubicBezTo>
                  <a:cubicBezTo>
                    <a:pt x="50036" y="5778"/>
                    <a:pt x="47171" y="5644"/>
                    <a:pt x="44601" y="4741"/>
                  </a:cubicBezTo>
                  <a:cubicBezTo>
                    <a:pt x="44236" y="4741"/>
                    <a:pt x="44074" y="4741"/>
                    <a:pt x="43749" y="4374"/>
                  </a:cubicBezTo>
                  <a:lnTo>
                    <a:pt x="43749" y="4374"/>
                  </a:lnTo>
                  <a:cubicBezTo>
                    <a:pt x="43749" y="4374"/>
                    <a:pt x="43465" y="4040"/>
                    <a:pt x="43343" y="3839"/>
                  </a:cubicBezTo>
                  <a:lnTo>
                    <a:pt x="42897" y="3237"/>
                  </a:lnTo>
                  <a:cubicBezTo>
                    <a:pt x="42531" y="2669"/>
                    <a:pt x="42247" y="2636"/>
                    <a:pt x="42207" y="263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E56B0076-7D79-4193-916D-A72C8B85A297}"/>
                </a:ext>
              </a:extLst>
            </p:cNvPr>
            <p:cNvSpPr/>
            <p:nvPr/>
          </p:nvSpPr>
          <p:spPr>
            <a:xfrm>
              <a:off x="5470978" y="4062935"/>
              <a:ext cx="409341" cy="152581"/>
            </a:xfrm>
            <a:custGeom>
              <a:avLst/>
              <a:gdLst>
                <a:gd name="connsiteX0" fmla="*/ 403991 w 409341"/>
                <a:gd name="connsiteY0" fmla="*/ 13159 h 152581"/>
                <a:gd name="connsiteX1" fmla="*/ 336937 w 409341"/>
                <a:gd name="connsiteY1" fmla="*/ 11120 h 152581"/>
                <a:gd name="connsiteX2" fmla="*/ 317657 w 409341"/>
                <a:gd name="connsiteY2" fmla="*/ 8614 h 152581"/>
                <a:gd name="connsiteX3" fmla="*/ 292329 w 409341"/>
                <a:gd name="connsiteY3" fmla="*/ 10819 h 152581"/>
                <a:gd name="connsiteX4" fmla="*/ 172467 w 409341"/>
                <a:gd name="connsiteY4" fmla="*/ 592 h 152581"/>
                <a:gd name="connsiteX5" fmla="*/ 50333 w 409341"/>
                <a:gd name="connsiteY5" fmla="*/ 2865 h 152581"/>
                <a:gd name="connsiteX6" fmla="*/ 15223 w 409341"/>
                <a:gd name="connsiteY6" fmla="*/ 12892 h 152581"/>
                <a:gd name="connsiteX7" fmla="*/ 3533 w 409341"/>
                <a:gd name="connsiteY7" fmla="*/ 23220 h 152581"/>
                <a:gd name="connsiteX8" fmla="*/ 16846 w 409341"/>
                <a:gd name="connsiteY8" fmla="*/ 41904 h 152581"/>
                <a:gd name="connsiteX9" fmla="*/ 34746 w 409341"/>
                <a:gd name="connsiteY9" fmla="*/ 36756 h 152581"/>
                <a:gd name="connsiteX10" fmla="*/ 50536 w 409341"/>
                <a:gd name="connsiteY10" fmla="*/ 40934 h 152581"/>
                <a:gd name="connsiteX11" fmla="*/ 69126 w 409341"/>
                <a:gd name="connsiteY11" fmla="*/ 39597 h 152581"/>
                <a:gd name="connsiteX12" fmla="*/ 90192 w 409341"/>
                <a:gd name="connsiteY12" fmla="*/ 41536 h 152581"/>
                <a:gd name="connsiteX13" fmla="*/ 99893 w 409341"/>
                <a:gd name="connsiteY13" fmla="*/ 44343 h 152581"/>
                <a:gd name="connsiteX14" fmla="*/ 79598 w 409341"/>
                <a:gd name="connsiteY14" fmla="*/ 54972 h 152581"/>
                <a:gd name="connsiteX15" fmla="*/ 83657 w 409341"/>
                <a:gd name="connsiteY15" fmla="*/ 66704 h 152581"/>
                <a:gd name="connsiteX16" fmla="*/ 79882 w 409341"/>
                <a:gd name="connsiteY16" fmla="*/ 82179 h 152581"/>
                <a:gd name="connsiteX17" fmla="*/ 66731 w 409341"/>
                <a:gd name="connsiteY17" fmla="*/ 87426 h 152581"/>
                <a:gd name="connsiteX18" fmla="*/ 80816 w 409341"/>
                <a:gd name="connsiteY18" fmla="*/ 98222 h 152581"/>
                <a:gd name="connsiteX19" fmla="*/ 72170 w 409341"/>
                <a:gd name="connsiteY19" fmla="*/ 105475 h 152581"/>
                <a:gd name="connsiteX20" fmla="*/ 83860 w 409341"/>
                <a:gd name="connsiteY20" fmla="*/ 115502 h 152581"/>
                <a:gd name="connsiteX21" fmla="*/ 70709 w 409341"/>
                <a:gd name="connsiteY21" fmla="*/ 122521 h 152581"/>
                <a:gd name="connsiteX22" fmla="*/ 73794 w 409341"/>
                <a:gd name="connsiteY22" fmla="*/ 135222 h 152581"/>
                <a:gd name="connsiteX23" fmla="*/ 116616 w 409341"/>
                <a:gd name="connsiteY23" fmla="*/ 149828 h 152581"/>
                <a:gd name="connsiteX24" fmla="*/ 148195 w 409341"/>
                <a:gd name="connsiteY24" fmla="*/ 144748 h 152581"/>
                <a:gd name="connsiteX25" fmla="*/ 165729 w 409341"/>
                <a:gd name="connsiteY25" fmla="*/ 141171 h 152581"/>
                <a:gd name="connsiteX26" fmla="*/ 202260 w 409341"/>
                <a:gd name="connsiteY26" fmla="*/ 135690 h 152581"/>
                <a:gd name="connsiteX27" fmla="*/ 231566 w 409341"/>
                <a:gd name="connsiteY27" fmla="*/ 133718 h 152581"/>
                <a:gd name="connsiteX28" fmla="*/ 254378 w 409341"/>
                <a:gd name="connsiteY28" fmla="*/ 121084 h 152581"/>
                <a:gd name="connsiteX29" fmla="*/ 279219 w 409341"/>
                <a:gd name="connsiteY29" fmla="*/ 113162 h 152581"/>
                <a:gd name="connsiteX30" fmla="*/ 285672 w 409341"/>
                <a:gd name="connsiteY30" fmla="*/ 100495 h 152581"/>
                <a:gd name="connsiteX31" fmla="*/ 300041 w 409341"/>
                <a:gd name="connsiteY31" fmla="*/ 82781 h 152581"/>
                <a:gd name="connsiteX32" fmla="*/ 325410 w 409341"/>
                <a:gd name="connsiteY32" fmla="*/ 52064 h 152581"/>
                <a:gd name="connsiteX33" fmla="*/ 333528 w 409341"/>
                <a:gd name="connsiteY33" fmla="*/ 42806 h 152581"/>
                <a:gd name="connsiteX34" fmla="*/ 370058 w 409341"/>
                <a:gd name="connsiteY34" fmla="*/ 35887 h 152581"/>
                <a:gd name="connsiteX35" fmla="*/ 404235 w 409341"/>
                <a:gd name="connsiteY35" fmla="*/ 13126 h 152581"/>
                <a:gd name="connsiteX36" fmla="*/ 403991 w 409341"/>
                <a:gd name="connsiteY36" fmla="*/ 13159 h 152581"/>
                <a:gd name="connsiteX37" fmla="*/ 408984 w 409341"/>
                <a:gd name="connsiteY37" fmla="*/ 68141 h 152581"/>
                <a:gd name="connsiteX38" fmla="*/ 381464 w 409341"/>
                <a:gd name="connsiteY38" fmla="*/ 73990 h 152581"/>
                <a:gd name="connsiteX39" fmla="*/ 408984 w 409341"/>
                <a:gd name="connsiteY39" fmla="*/ 68141 h 1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09341" h="152581">
                  <a:moveTo>
                    <a:pt x="403991" y="13159"/>
                  </a:moveTo>
                  <a:cubicBezTo>
                    <a:pt x="382519" y="13494"/>
                    <a:pt x="357476" y="15031"/>
                    <a:pt x="336937" y="11120"/>
                  </a:cubicBezTo>
                  <a:cubicBezTo>
                    <a:pt x="334664" y="10686"/>
                    <a:pt x="317373" y="3333"/>
                    <a:pt x="317657" y="8614"/>
                  </a:cubicBezTo>
                  <a:cubicBezTo>
                    <a:pt x="317941" y="13895"/>
                    <a:pt x="296672" y="11956"/>
                    <a:pt x="292329" y="10819"/>
                  </a:cubicBezTo>
                  <a:cubicBezTo>
                    <a:pt x="254499" y="-43"/>
                    <a:pt x="215574" y="-1781"/>
                    <a:pt x="172467" y="592"/>
                  </a:cubicBezTo>
                  <a:cubicBezTo>
                    <a:pt x="136505" y="2497"/>
                    <a:pt x="83170" y="9249"/>
                    <a:pt x="50333" y="2865"/>
                  </a:cubicBezTo>
                  <a:cubicBezTo>
                    <a:pt x="31783" y="-745"/>
                    <a:pt x="31580" y="11488"/>
                    <a:pt x="15223" y="12892"/>
                  </a:cubicBezTo>
                  <a:cubicBezTo>
                    <a:pt x="4507" y="13794"/>
                    <a:pt x="-5681" y="17972"/>
                    <a:pt x="3533" y="23220"/>
                  </a:cubicBezTo>
                  <a:cubicBezTo>
                    <a:pt x="14573" y="29503"/>
                    <a:pt x="17496" y="32445"/>
                    <a:pt x="16846" y="41904"/>
                  </a:cubicBezTo>
                  <a:cubicBezTo>
                    <a:pt x="21879" y="41235"/>
                    <a:pt x="30566" y="35219"/>
                    <a:pt x="34746" y="36756"/>
                  </a:cubicBezTo>
                  <a:cubicBezTo>
                    <a:pt x="42296" y="39664"/>
                    <a:pt x="37141" y="42171"/>
                    <a:pt x="50536" y="40934"/>
                  </a:cubicBezTo>
                  <a:cubicBezTo>
                    <a:pt x="57395" y="40299"/>
                    <a:pt x="63484" y="42204"/>
                    <a:pt x="69126" y="39597"/>
                  </a:cubicBezTo>
                  <a:cubicBezTo>
                    <a:pt x="80775" y="34183"/>
                    <a:pt x="83251" y="38795"/>
                    <a:pt x="90192" y="41536"/>
                  </a:cubicBezTo>
                  <a:cubicBezTo>
                    <a:pt x="92100" y="42338"/>
                    <a:pt x="100745" y="42271"/>
                    <a:pt x="99893" y="44343"/>
                  </a:cubicBezTo>
                  <a:cubicBezTo>
                    <a:pt x="97863" y="49056"/>
                    <a:pt x="84672" y="51396"/>
                    <a:pt x="79598" y="54972"/>
                  </a:cubicBezTo>
                  <a:cubicBezTo>
                    <a:pt x="74524" y="58548"/>
                    <a:pt x="82277" y="63562"/>
                    <a:pt x="83657" y="66704"/>
                  </a:cubicBezTo>
                  <a:cubicBezTo>
                    <a:pt x="86011" y="71918"/>
                    <a:pt x="78299" y="76463"/>
                    <a:pt x="79882" y="82179"/>
                  </a:cubicBezTo>
                  <a:cubicBezTo>
                    <a:pt x="81140" y="86658"/>
                    <a:pt x="71115" y="84853"/>
                    <a:pt x="66731" y="87426"/>
                  </a:cubicBezTo>
                  <a:cubicBezTo>
                    <a:pt x="61049" y="90769"/>
                    <a:pt x="77974" y="96183"/>
                    <a:pt x="80816" y="98222"/>
                  </a:cubicBezTo>
                  <a:cubicBezTo>
                    <a:pt x="84875" y="101063"/>
                    <a:pt x="74200" y="102267"/>
                    <a:pt x="72170" y="105475"/>
                  </a:cubicBezTo>
                  <a:cubicBezTo>
                    <a:pt x="68111" y="111792"/>
                    <a:pt x="78827" y="111625"/>
                    <a:pt x="83860" y="115502"/>
                  </a:cubicBezTo>
                  <a:cubicBezTo>
                    <a:pt x="87432" y="118310"/>
                    <a:pt x="73144" y="120182"/>
                    <a:pt x="70709" y="122521"/>
                  </a:cubicBezTo>
                  <a:cubicBezTo>
                    <a:pt x="66082" y="126933"/>
                    <a:pt x="68882" y="131746"/>
                    <a:pt x="73794" y="135222"/>
                  </a:cubicBezTo>
                  <a:cubicBezTo>
                    <a:pt x="98148" y="131278"/>
                    <a:pt x="102207" y="143177"/>
                    <a:pt x="116616" y="149828"/>
                  </a:cubicBezTo>
                  <a:cubicBezTo>
                    <a:pt x="132852" y="157449"/>
                    <a:pt x="133339" y="144581"/>
                    <a:pt x="148195" y="144748"/>
                  </a:cubicBezTo>
                  <a:cubicBezTo>
                    <a:pt x="154364" y="145119"/>
                    <a:pt x="160493" y="143866"/>
                    <a:pt x="165729" y="141171"/>
                  </a:cubicBezTo>
                  <a:cubicBezTo>
                    <a:pt x="176242" y="136626"/>
                    <a:pt x="189677" y="136693"/>
                    <a:pt x="202260" y="135690"/>
                  </a:cubicBezTo>
                  <a:cubicBezTo>
                    <a:pt x="211799" y="134921"/>
                    <a:pt x="222230" y="135022"/>
                    <a:pt x="231566" y="133718"/>
                  </a:cubicBezTo>
                  <a:cubicBezTo>
                    <a:pt x="245286" y="131813"/>
                    <a:pt x="244555" y="125329"/>
                    <a:pt x="254378" y="121084"/>
                  </a:cubicBezTo>
                  <a:cubicBezTo>
                    <a:pt x="261521" y="118009"/>
                    <a:pt x="275403" y="118109"/>
                    <a:pt x="279219" y="113162"/>
                  </a:cubicBezTo>
                  <a:cubicBezTo>
                    <a:pt x="283034" y="108216"/>
                    <a:pt x="278772" y="104472"/>
                    <a:pt x="285672" y="100495"/>
                  </a:cubicBezTo>
                  <a:cubicBezTo>
                    <a:pt x="298701" y="92941"/>
                    <a:pt x="305317" y="92941"/>
                    <a:pt x="300041" y="82781"/>
                  </a:cubicBezTo>
                  <a:cubicBezTo>
                    <a:pt x="292410" y="68141"/>
                    <a:pt x="309985" y="62258"/>
                    <a:pt x="325410" y="52064"/>
                  </a:cubicBezTo>
                  <a:cubicBezTo>
                    <a:pt x="329996" y="49023"/>
                    <a:pt x="326830" y="45380"/>
                    <a:pt x="333528" y="42806"/>
                  </a:cubicBezTo>
                  <a:cubicBezTo>
                    <a:pt x="344446" y="38628"/>
                    <a:pt x="358774" y="39731"/>
                    <a:pt x="370058" y="35887"/>
                  </a:cubicBezTo>
                  <a:cubicBezTo>
                    <a:pt x="386051" y="30406"/>
                    <a:pt x="408497" y="24724"/>
                    <a:pt x="404235" y="13126"/>
                  </a:cubicBezTo>
                  <a:cubicBezTo>
                    <a:pt x="392585" y="13326"/>
                    <a:pt x="406630" y="20278"/>
                    <a:pt x="403991" y="13159"/>
                  </a:cubicBezTo>
                  <a:close/>
                  <a:moveTo>
                    <a:pt x="408984" y="68141"/>
                  </a:moveTo>
                  <a:cubicBezTo>
                    <a:pt x="406264" y="59618"/>
                    <a:pt x="374442" y="71684"/>
                    <a:pt x="381464" y="73990"/>
                  </a:cubicBezTo>
                  <a:cubicBezTo>
                    <a:pt x="395792" y="78603"/>
                    <a:pt x="411663" y="76664"/>
                    <a:pt x="408984" y="6814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10BBF503-FFA0-4989-9474-E8B8C162A748}"/>
                </a:ext>
              </a:extLst>
            </p:cNvPr>
            <p:cNvSpPr/>
            <p:nvPr/>
          </p:nvSpPr>
          <p:spPr>
            <a:xfrm>
              <a:off x="6184814" y="3979688"/>
              <a:ext cx="108851" cy="29931"/>
            </a:xfrm>
            <a:custGeom>
              <a:avLst/>
              <a:gdLst>
                <a:gd name="connsiteX0" fmla="*/ 99 w 108851"/>
                <a:gd name="connsiteY0" fmla="*/ 25950 h 29931"/>
                <a:gd name="connsiteX1" fmla="*/ 20800 w 108851"/>
                <a:gd name="connsiteY1" fmla="*/ 24746 h 29931"/>
                <a:gd name="connsiteX2" fmla="*/ 32206 w 108851"/>
                <a:gd name="connsiteY2" fmla="*/ 29459 h 29931"/>
                <a:gd name="connsiteX3" fmla="*/ 66423 w 108851"/>
                <a:gd name="connsiteY3" fmla="*/ 29125 h 29931"/>
                <a:gd name="connsiteX4" fmla="*/ 84729 w 108851"/>
                <a:gd name="connsiteY4" fmla="*/ 18262 h 29931"/>
                <a:gd name="connsiteX5" fmla="*/ 107987 w 108851"/>
                <a:gd name="connsiteY5" fmla="*/ 6698 h 29931"/>
                <a:gd name="connsiteX6" fmla="*/ 99179 w 108851"/>
                <a:gd name="connsiteY6" fmla="*/ -188 h 29931"/>
                <a:gd name="connsiteX7" fmla="*/ 54977 w 108851"/>
                <a:gd name="connsiteY7" fmla="*/ 7266 h 29931"/>
                <a:gd name="connsiteX8" fmla="*/ 15077 w 108851"/>
                <a:gd name="connsiteY8" fmla="*/ 3923 h 29931"/>
                <a:gd name="connsiteX9" fmla="*/ 1276 w 108851"/>
                <a:gd name="connsiteY9" fmla="*/ 7065 h 29931"/>
                <a:gd name="connsiteX10" fmla="*/ 99 w 108851"/>
                <a:gd name="connsiteY10" fmla="*/ 25883 h 29931"/>
                <a:gd name="connsiteX11" fmla="*/ 99 w 108851"/>
                <a:gd name="connsiteY11" fmla="*/ 25950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51" h="29931">
                  <a:moveTo>
                    <a:pt x="99" y="25950"/>
                  </a:moveTo>
                  <a:cubicBezTo>
                    <a:pt x="6797" y="24275"/>
                    <a:pt x="13859" y="23864"/>
                    <a:pt x="20800" y="24746"/>
                  </a:cubicBezTo>
                  <a:cubicBezTo>
                    <a:pt x="30014" y="26752"/>
                    <a:pt x="20353" y="30328"/>
                    <a:pt x="32206" y="29459"/>
                  </a:cubicBezTo>
                  <a:cubicBezTo>
                    <a:pt x="43571" y="28714"/>
                    <a:pt x="55017" y="28603"/>
                    <a:pt x="66423" y="29125"/>
                  </a:cubicBezTo>
                  <a:cubicBezTo>
                    <a:pt x="67681" y="29125"/>
                    <a:pt x="84201" y="19766"/>
                    <a:pt x="84729" y="18262"/>
                  </a:cubicBezTo>
                  <a:cubicBezTo>
                    <a:pt x="87083" y="11577"/>
                    <a:pt x="98326" y="10842"/>
                    <a:pt x="107987" y="6698"/>
                  </a:cubicBezTo>
                  <a:cubicBezTo>
                    <a:pt x="111234" y="5294"/>
                    <a:pt x="103928" y="-1424"/>
                    <a:pt x="99179" y="-188"/>
                  </a:cubicBezTo>
                  <a:cubicBezTo>
                    <a:pt x="85378" y="3456"/>
                    <a:pt x="69467" y="4057"/>
                    <a:pt x="54977" y="7266"/>
                  </a:cubicBezTo>
                  <a:cubicBezTo>
                    <a:pt x="44342" y="9639"/>
                    <a:pt x="26320" y="4425"/>
                    <a:pt x="15077" y="3923"/>
                  </a:cubicBezTo>
                  <a:cubicBezTo>
                    <a:pt x="5741" y="3589"/>
                    <a:pt x="2332" y="1283"/>
                    <a:pt x="1276" y="7065"/>
                  </a:cubicBezTo>
                  <a:cubicBezTo>
                    <a:pt x="59" y="13285"/>
                    <a:pt x="-307" y="19592"/>
                    <a:pt x="99" y="25883"/>
                  </a:cubicBezTo>
                  <a:cubicBezTo>
                    <a:pt x="8217" y="24379"/>
                    <a:pt x="-429" y="17861"/>
                    <a:pt x="99" y="259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4EBE6436-102C-44F9-B2B5-B9872C8CA5E4}"/>
                </a:ext>
              </a:extLst>
            </p:cNvPr>
            <p:cNvSpPr/>
            <p:nvPr/>
          </p:nvSpPr>
          <p:spPr>
            <a:xfrm>
              <a:off x="6403305" y="4097892"/>
              <a:ext cx="204258" cy="133001"/>
            </a:xfrm>
            <a:custGeom>
              <a:avLst/>
              <a:gdLst>
                <a:gd name="connsiteX0" fmla="*/ 202118 w 204258"/>
                <a:gd name="connsiteY0" fmla="*/ 395 h 133001"/>
                <a:gd name="connsiteX1" fmla="*/ 180889 w 204258"/>
                <a:gd name="connsiteY1" fmla="*/ 6779 h 133001"/>
                <a:gd name="connsiteX2" fmla="*/ 150041 w 204258"/>
                <a:gd name="connsiteY2" fmla="*/ 4206 h 133001"/>
                <a:gd name="connsiteX3" fmla="*/ 94271 w 204258"/>
                <a:gd name="connsiteY3" fmla="*/ 1966 h 133001"/>
                <a:gd name="connsiteX4" fmla="*/ 69308 w 204258"/>
                <a:gd name="connsiteY4" fmla="*/ 7180 h 133001"/>
                <a:gd name="connsiteX5" fmla="*/ 44427 w 204258"/>
                <a:gd name="connsiteY5" fmla="*/ 11559 h 133001"/>
                <a:gd name="connsiteX6" fmla="*/ 17556 w 204258"/>
                <a:gd name="connsiteY6" fmla="*/ 21586 h 133001"/>
                <a:gd name="connsiteX7" fmla="*/ -60 w 204258"/>
                <a:gd name="connsiteY7" fmla="*/ 36660 h 133001"/>
                <a:gd name="connsiteX8" fmla="*/ 17434 w 204258"/>
                <a:gd name="connsiteY8" fmla="*/ 48459 h 133001"/>
                <a:gd name="connsiteX9" fmla="*/ 35294 w 204258"/>
                <a:gd name="connsiteY9" fmla="*/ 58486 h 133001"/>
                <a:gd name="connsiteX10" fmla="*/ 59404 w 204258"/>
                <a:gd name="connsiteY10" fmla="*/ 58285 h 133001"/>
                <a:gd name="connsiteX11" fmla="*/ 58552 w 204258"/>
                <a:gd name="connsiteY11" fmla="*/ 63499 h 133001"/>
                <a:gd name="connsiteX12" fmla="*/ 30829 w 204258"/>
                <a:gd name="connsiteY12" fmla="*/ 65705 h 133001"/>
                <a:gd name="connsiteX13" fmla="*/ 40043 w 204258"/>
                <a:gd name="connsiteY13" fmla="*/ 78373 h 133001"/>
                <a:gd name="connsiteX14" fmla="*/ 61109 w 204258"/>
                <a:gd name="connsiteY14" fmla="*/ 91742 h 133001"/>
                <a:gd name="connsiteX15" fmla="*/ 86153 w 204258"/>
                <a:gd name="connsiteY15" fmla="*/ 98427 h 133001"/>
                <a:gd name="connsiteX16" fmla="*/ 80633 w 204258"/>
                <a:gd name="connsiteY16" fmla="*/ 85492 h 133001"/>
                <a:gd name="connsiteX17" fmla="*/ 97275 w 204258"/>
                <a:gd name="connsiteY17" fmla="*/ 83787 h 133001"/>
                <a:gd name="connsiteX18" fmla="*/ 87898 w 204258"/>
                <a:gd name="connsiteY18" fmla="*/ 75164 h 133001"/>
                <a:gd name="connsiteX19" fmla="*/ 87533 w 204258"/>
                <a:gd name="connsiteY19" fmla="*/ 71454 h 133001"/>
                <a:gd name="connsiteX20" fmla="*/ 106894 w 204258"/>
                <a:gd name="connsiteY20" fmla="*/ 74128 h 133001"/>
                <a:gd name="connsiteX21" fmla="*/ 106610 w 204258"/>
                <a:gd name="connsiteY21" fmla="*/ 56848 h 133001"/>
                <a:gd name="connsiteX22" fmla="*/ 86640 w 204258"/>
                <a:gd name="connsiteY22" fmla="*/ 56848 h 133001"/>
                <a:gd name="connsiteX23" fmla="*/ 96219 w 204258"/>
                <a:gd name="connsiteY23" fmla="*/ 50163 h 133001"/>
                <a:gd name="connsiteX24" fmla="*/ 78563 w 204258"/>
                <a:gd name="connsiteY24" fmla="*/ 21619 h 133001"/>
                <a:gd name="connsiteX25" fmla="*/ 108072 w 204258"/>
                <a:gd name="connsiteY25" fmla="*/ 27936 h 133001"/>
                <a:gd name="connsiteX26" fmla="*/ 116677 w 204258"/>
                <a:gd name="connsiteY26" fmla="*/ 16238 h 133001"/>
                <a:gd name="connsiteX27" fmla="*/ 138554 w 204258"/>
                <a:gd name="connsiteY27" fmla="*/ 17575 h 133001"/>
                <a:gd name="connsiteX28" fmla="*/ 158606 w 204258"/>
                <a:gd name="connsiteY28" fmla="*/ 13765 h 133001"/>
                <a:gd name="connsiteX29" fmla="*/ 194365 w 204258"/>
                <a:gd name="connsiteY29" fmla="*/ 14634 h 133001"/>
                <a:gd name="connsiteX30" fmla="*/ 202483 w 204258"/>
                <a:gd name="connsiteY30" fmla="*/ 9720 h 133001"/>
                <a:gd name="connsiteX31" fmla="*/ 202036 w 204258"/>
                <a:gd name="connsiteY31" fmla="*/ 395 h 133001"/>
                <a:gd name="connsiteX32" fmla="*/ 202118 w 204258"/>
                <a:gd name="connsiteY32" fmla="*/ 395 h 133001"/>
                <a:gd name="connsiteX33" fmla="*/ 166033 w 204258"/>
                <a:gd name="connsiteY33" fmla="*/ 126001 h 133001"/>
                <a:gd name="connsiteX34" fmla="*/ 129746 w 204258"/>
                <a:gd name="connsiteY34" fmla="*/ 123461 h 133001"/>
                <a:gd name="connsiteX35" fmla="*/ 96422 w 204258"/>
                <a:gd name="connsiteY35" fmla="*/ 122124 h 133001"/>
                <a:gd name="connsiteX36" fmla="*/ 133968 w 204258"/>
                <a:gd name="connsiteY36" fmla="*/ 131783 h 133001"/>
                <a:gd name="connsiteX37" fmla="*/ 185435 w 204258"/>
                <a:gd name="connsiteY37" fmla="*/ 127739 h 133001"/>
                <a:gd name="connsiteX38" fmla="*/ 166033 w 204258"/>
                <a:gd name="connsiteY38" fmla="*/ 126001 h 13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4258" h="133001">
                  <a:moveTo>
                    <a:pt x="202118" y="395"/>
                  </a:moveTo>
                  <a:cubicBezTo>
                    <a:pt x="187546" y="395"/>
                    <a:pt x="190550" y="5777"/>
                    <a:pt x="180889" y="6779"/>
                  </a:cubicBezTo>
                  <a:cubicBezTo>
                    <a:pt x="171229" y="7782"/>
                    <a:pt x="159174" y="5543"/>
                    <a:pt x="150041" y="4206"/>
                  </a:cubicBezTo>
                  <a:cubicBezTo>
                    <a:pt x="133196" y="1732"/>
                    <a:pt x="108883" y="-3281"/>
                    <a:pt x="94271" y="1966"/>
                  </a:cubicBezTo>
                  <a:cubicBezTo>
                    <a:pt x="86356" y="4837"/>
                    <a:pt x="77913" y="6599"/>
                    <a:pt x="69308" y="7180"/>
                  </a:cubicBezTo>
                  <a:cubicBezTo>
                    <a:pt x="59729" y="7615"/>
                    <a:pt x="55142" y="11726"/>
                    <a:pt x="44427" y="11559"/>
                  </a:cubicBezTo>
                  <a:cubicBezTo>
                    <a:pt x="25309" y="11258"/>
                    <a:pt x="30585" y="15169"/>
                    <a:pt x="17556" y="21586"/>
                  </a:cubicBezTo>
                  <a:cubicBezTo>
                    <a:pt x="10331" y="25420"/>
                    <a:pt x="4324" y="30580"/>
                    <a:pt x="-60" y="36660"/>
                  </a:cubicBezTo>
                  <a:cubicBezTo>
                    <a:pt x="8992" y="39300"/>
                    <a:pt x="15811" y="42743"/>
                    <a:pt x="17434" y="48459"/>
                  </a:cubicBezTo>
                  <a:cubicBezTo>
                    <a:pt x="19058" y="54174"/>
                    <a:pt x="19708" y="61828"/>
                    <a:pt x="35294" y="58486"/>
                  </a:cubicBezTo>
                  <a:cubicBezTo>
                    <a:pt x="45198" y="56447"/>
                    <a:pt x="48486" y="54441"/>
                    <a:pt x="59404" y="58285"/>
                  </a:cubicBezTo>
                  <a:cubicBezTo>
                    <a:pt x="68090" y="61360"/>
                    <a:pt x="71581" y="65237"/>
                    <a:pt x="58552" y="63499"/>
                  </a:cubicBezTo>
                  <a:cubicBezTo>
                    <a:pt x="50718" y="62463"/>
                    <a:pt x="35213" y="60558"/>
                    <a:pt x="30829" y="65705"/>
                  </a:cubicBezTo>
                  <a:cubicBezTo>
                    <a:pt x="26770" y="70317"/>
                    <a:pt x="43006" y="73593"/>
                    <a:pt x="40043" y="78373"/>
                  </a:cubicBezTo>
                  <a:cubicBezTo>
                    <a:pt x="34523" y="87230"/>
                    <a:pt x="51083" y="88968"/>
                    <a:pt x="61109" y="91742"/>
                  </a:cubicBezTo>
                  <a:cubicBezTo>
                    <a:pt x="64356" y="92578"/>
                    <a:pt x="83920" y="103006"/>
                    <a:pt x="86153" y="98427"/>
                  </a:cubicBezTo>
                  <a:cubicBezTo>
                    <a:pt x="88101" y="94583"/>
                    <a:pt x="82540" y="89202"/>
                    <a:pt x="80633" y="85492"/>
                  </a:cubicBezTo>
                  <a:cubicBezTo>
                    <a:pt x="77020" y="78606"/>
                    <a:pt x="90577" y="84222"/>
                    <a:pt x="97275" y="83787"/>
                  </a:cubicBezTo>
                  <a:cubicBezTo>
                    <a:pt x="113510" y="82784"/>
                    <a:pt x="96422" y="75298"/>
                    <a:pt x="87898" y="75164"/>
                  </a:cubicBezTo>
                  <a:cubicBezTo>
                    <a:pt x="81566" y="75164"/>
                    <a:pt x="84164" y="72323"/>
                    <a:pt x="87533" y="71454"/>
                  </a:cubicBezTo>
                  <a:cubicBezTo>
                    <a:pt x="94839" y="69649"/>
                    <a:pt x="100034" y="73593"/>
                    <a:pt x="106894" y="74128"/>
                  </a:cubicBezTo>
                  <a:cubicBezTo>
                    <a:pt x="132750" y="76100"/>
                    <a:pt x="130761" y="57416"/>
                    <a:pt x="106610" y="56848"/>
                  </a:cubicBezTo>
                  <a:cubicBezTo>
                    <a:pt x="97518" y="56681"/>
                    <a:pt x="94677" y="61962"/>
                    <a:pt x="86640" y="56848"/>
                  </a:cubicBezTo>
                  <a:cubicBezTo>
                    <a:pt x="77954" y="51467"/>
                    <a:pt x="91795" y="52670"/>
                    <a:pt x="96219" y="50163"/>
                  </a:cubicBezTo>
                  <a:cubicBezTo>
                    <a:pt x="106691" y="43813"/>
                    <a:pt x="52666" y="23625"/>
                    <a:pt x="78563" y="21619"/>
                  </a:cubicBezTo>
                  <a:cubicBezTo>
                    <a:pt x="90537" y="20717"/>
                    <a:pt x="94027" y="28805"/>
                    <a:pt x="108072" y="27936"/>
                  </a:cubicBezTo>
                  <a:cubicBezTo>
                    <a:pt x="125890" y="26833"/>
                    <a:pt x="109411" y="21252"/>
                    <a:pt x="116677" y="16238"/>
                  </a:cubicBezTo>
                  <a:cubicBezTo>
                    <a:pt x="123008" y="11927"/>
                    <a:pt x="133359" y="13999"/>
                    <a:pt x="138554" y="17575"/>
                  </a:cubicBezTo>
                  <a:cubicBezTo>
                    <a:pt x="143750" y="21152"/>
                    <a:pt x="153207" y="14233"/>
                    <a:pt x="158606" y="13765"/>
                  </a:cubicBezTo>
                  <a:cubicBezTo>
                    <a:pt x="169971" y="12394"/>
                    <a:pt x="193553" y="25363"/>
                    <a:pt x="194365" y="14634"/>
                  </a:cubicBezTo>
                  <a:cubicBezTo>
                    <a:pt x="194365" y="12428"/>
                    <a:pt x="200494" y="11292"/>
                    <a:pt x="202483" y="9720"/>
                  </a:cubicBezTo>
                  <a:cubicBezTo>
                    <a:pt x="205974" y="7147"/>
                    <a:pt x="203254" y="3236"/>
                    <a:pt x="202036" y="395"/>
                  </a:cubicBezTo>
                  <a:cubicBezTo>
                    <a:pt x="194974" y="395"/>
                    <a:pt x="203051" y="2668"/>
                    <a:pt x="202118" y="395"/>
                  </a:cubicBezTo>
                  <a:close/>
                  <a:moveTo>
                    <a:pt x="166033" y="126001"/>
                  </a:moveTo>
                  <a:cubicBezTo>
                    <a:pt x="156982" y="122659"/>
                    <a:pt x="139975" y="124397"/>
                    <a:pt x="129746" y="123461"/>
                  </a:cubicBezTo>
                  <a:cubicBezTo>
                    <a:pt x="118503" y="122458"/>
                    <a:pt x="106042" y="115105"/>
                    <a:pt x="96422" y="122124"/>
                  </a:cubicBezTo>
                  <a:cubicBezTo>
                    <a:pt x="93540" y="124196"/>
                    <a:pt x="129341" y="131082"/>
                    <a:pt x="133968" y="131783"/>
                  </a:cubicBezTo>
                  <a:cubicBezTo>
                    <a:pt x="140340" y="132653"/>
                    <a:pt x="186085" y="134424"/>
                    <a:pt x="185435" y="127739"/>
                  </a:cubicBezTo>
                  <a:cubicBezTo>
                    <a:pt x="185435" y="126202"/>
                    <a:pt x="168834" y="127004"/>
                    <a:pt x="166033" y="1260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F9A51ADE-40D4-440B-90FA-7A1637DFE95D}"/>
                </a:ext>
              </a:extLst>
            </p:cNvPr>
            <p:cNvSpPr/>
            <p:nvPr/>
          </p:nvSpPr>
          <p:spPr>
            <a:xfrm>
              <a:off x="6772790" y="4234827"/>
              <a:ext cx="74213" cy="17814"/>
            </a:xfrm>
            <a:custGeom>
              <a:avLst/>
              <a:gdLst>
                <a:gd name="connsiteX0" fmla="*/ 49382 w 74213"/>
                <a:gd name="connsiteY0" fmla="*/ 12329 h 17814"/>
                <a:gd name="connsiteX1" fmla="*/ 74060 w 74213"/>
                <a:gd name="connsiteY1" fmla="*/ -339 h 17814"/>
                <a:gd name="connsiteX2" fmla="*/ 715 w 74213"/>
                <a:gd name="connsiteY2" fmla="*/ 7616 h 17814"/>
                <a:gd name="connsiteX3" fmla="*/ 49423 w 74213"/>
                <a:gd name="connsiteY3" fmla="*/ 12329 h 17814"/>
                <a:gd name="connsiteX4" fmla="*/ 49382 w 74213"/>
                <a:gd name="connsiteY4" fmla="*/ 12329 h 1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13" h="17814">
                  <a:moveTo>
                    <a:pt x="49382" y="12329"/>
                  </a:moveTo>
                  <a:cubicBezTo>
                    <a:pt x="47880" y="4976"/>
                    <a:pt x="75969" y="3739"/>
                    <a:pt x="74060" y="-339"/>
                  </a:cubicBezTo>
                  <a:cubicBezTo>
                    <a:pt x="75360" y="2369"/>
                    <a:pt x="4530" y="1901"/>
                    <a:pt x="715" y="7616"/>
                  </a:cubicBezTo>
                  <a:cubicBezTo>
                    <a:pt x="-7403" y="19816"/>
                    <a:pt x="51006" y="19849"/>
                    <a:pt x="49423" y="12329"/>
                  </a:cubicBezTo>
                  <a:cubicBezTo>
                    <a:pt x="48936" y="9454"/>
                    <a:pt x="50113" y="15170"/>
                    <a:pt x="49382" y="1232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6AFF8DF0-03DC-434F-BDE9-45E0FF49E47F}"/>
                </a:ext>
              </a:extLst>
            </p:cNvPr>
            <p:cNvSpPr/>
            <p:nvPr/>
          </p:nvSpPr>
          <p:spPr>
            <a:xfrm>
              <a:off x="4894682" y="3539638"/>
              <a:ext cx="369449" cy="97718"/>
            </a:xfrm>
            <a:custGeom>
              <a:avLst/>
              <a:gdLst>
                <a:gd name="connsiteX0" fmla="*/ 316361 w 369449"/>
                <a:gd name="connsiteY0" fmla="*/ 58298 h 97718"/>
                <a:gd name="connsiteX1" fmla="*/ 339862 w 369449"/>
                <a:gd name="connsiteY1" fmla="*/ 45564 h 97718"/>
                <a:gd name="connsiteX2" fmla="*/ 367585 w 369449"/>
                <a:gd name="connsiteY2" fmla="*/ 30155 h 97718"/>
                <a:gd name="connsiteX3" fmla="*/ 339172 w 369449"/>
                <a:gd name="connsiteY3" fmla="*/ 17655 h 97718"/>
                <a:gd name="connsiteX4" fmla="*/ 320095 w 369449"/>
                <a:gd name="connsiteY4" fmla="*/ 1144 h 97718"/>
                <a:gd name="connsiteX5" fmla="*/ 281819 w 369449"/>
                <a:gd name="connsiteY5" fmla="*/ 2146 h 97718"/>
                <a:gd name="connsiteX6" fmla="*/ 259292 w 369449"/>
                <a:gd name="connsiteY6" fmla="*/ 7528 h 97718"/>
                <a:gd name="connsiteX7" fmla="*/ 238753 w 369449"/>
                <a:gd name="connsiteY7" fmla="*/ 12942 h 97718"/>
                <a:gd name="connsiteX8" fmla="*/ 205064 w 369449"/>
                <a:gd name="connsiteY8" fmla="*/ 18123 h 97718"/>
                <a:gd name="connsiteX9" fmla="*/ 168127 w 369449"/>
                <a:gd name="connsiteY9" fmla="*/ 21465 h 97718"/>
                <a:gd name="connsiteX10" fmla="*/ 150227 w 369449"/>
                <a:gd name="connsiteY10" fmla="*/ 25276 h 97718"/>
                <a:gd name="connsiteX11" fmla="*/ 138050 w 369449"/>
                <a:gd name="connsiteY11" fmla="*/ 35303 h 97718"/>
                <a:gd name="connsiteX12" fmla="*/ 109921 w 369449"/>
                <a:gd name="connsiteY12" fmla="*/ 47937 h 97718"/>
                <a:gd name="connsiteX13" fmla="*/ 95512 w 369449"/>
                <a:gd name="connsiteY13" fmla="*/ 37509 h 97718"/>
                <a:gd name="connsiteX14" fmla="*/ 86054 w 369449"/>
                <a:gd name="connsiteY14" fmla="*/ 28685 h 97718"/>
                <a:gd name="connsiteX15" fmla="*/ 46399 w 369449"/>
                <a:gd name="connsiteY15" fmla="*/ 24407 h 97718"/>
                <a:gd name="connsiteX16" fmla="*/ 52852 w 369449"/>
                <a:gd name="connsiteY16" fmla="*/ 35002 h 97718"/>
                <a:gd name="connsiteX17" fmla="*/ 25170 w 369449"/>
                <a:gd name="connsiteY17" fmla="*/ 35002 h 97718"/>
                <a:gd name="connsiteX18" fmla="*/ 1222 w 369449"/>
                <a:gd name="connsiteY18" fmla="*/ 56928 h 97718"/>
                <a:gd name="connsiteX19" fmla="*/ 69494 w 369449"/>
                <a:gd name="connsiteY19" fmla="*/ 56393 h 97718"/>
                <a:gd name="connsiteX20" fmla="*/ 63081 w 369449"/>
                <a:gd name="connsiteY20" fmla="*/ 64749 h 97718"/>
                <a:gd name="connsiteX21" fmla="*/ 14373 w 369449"/>
                <a:gd name="connsiteY21" fmla="*/ 75879 h 97718"/>
                <a:gd name="connsiteX22" fmla="*/ 46439 w 369449"/>
                <a:gd name="connsiteY22" fmla="*/ 71901 h 97718"/>
                <a:gd name="connsiteX23" fmla="*/ 67140 w 369449"/>
                <a:gd name="connsiteY23" fmla="*/ 75411 h 97718"/>
                <a:gd name="connsiteX24" fmla="*/ 86542 w 369449"/>
                <a:gd name="connsiteY24" fmla="*/ 78753 h 97718"/>
                <a:gd name="connsiteX25" fmla="*/ 69981 w 369449"/>
                <a:gd name="connsiteY25" fmla="*/ 90351 h 97718"/>
                <a:gd name="connsiteX26" fmla="*/ 76841 w 369449"/>
                <a:gd name="connsiteY26" fmla="*/ 97036 h 97718"/>
                <a:gd name="connsiteX27" fmla="*/ 136711 w 369449"/>
                <a:gd name="connsiteY27" fmla="*/ 91187 h 97718"/>
                <a:gd name="connsiteX28" fmla="*/ 185946 w 369449"/>
                <a:gd name="connsiteY28" fmla="*/ 95766 h 97718"/>
                <a:gd name="connsiteX29" fmla="*/ 228971 w 369449"/>
                <a:gd name="connsiteY29" fmla="*/ 83065 h 97718"/>
                <a:gd name="connsiteX30" fmla="*/ 266030 w 369449"/>
                <a:gd name="connsiteY30" fmla="*/ 73439 h 97718"/>
                <a:gd name="connsiteX31" fmla="*/ 315996 w 369449"/>
                <a:gd name="connsiteY31" fmla="*/ 58632 h 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9449" h="97718">
                  <a:moveTo>
                    <a:pt x="316361" y="58298"/>
                  </a:moveTo>
                  <a:cubicBezTo>
                    <a:pt x="332353" y="56426"/>
                    <a:pt x="329715" y="49775"/>
                    <a:pt x="339862" y="45564"/>
                  </a:cubicBezTo>
                  <a:cubicBezTo>
                    <a:pt x="352039" y="40617"/>
                    <a:pt x="360888" y="38244"/>
                    <a:pt x="367585" y="30155"/>
                  </a:cubicBezTo>
                  <a:cubicBezTo>
                    <a:pt x="376352" y="19493"/>
                    <a:pt x="350943" y="18858"/>
                    <a:pt x="339172" y="17655"/>
                  </a:cubicBezTo>
                  <a:cubicBezTo>
                    <a:pt x="330283" y="16719"/>
                    <a:pt x="319730" y="5723"/>
                    <a:pt x="320095" y="1144"/>
                  </a:cubicBezTo>
                  <a:cubicBezTo>
                    <a:pt x="320095" y="2046"/>
                    <a:pt x="287948" y="3684"/>
                    <a:pt x="281819" y="2146"/>
                  </a:cubicBezTo>
                  <a:cubicBezTo>
                    <a:pt x="268221" y="-1196"/>
                    <a:pt x="256491" y="-2633"/>
                    <a:pt x="259292" y="7528"/>
                  </a:cubicBezTo>
                  <a:cubicBezTo>
                    <a:pt x="261403" y="15315"/>
                    <a:pt x="238185" y="8931"/>
                    <a:pt x="238753" y="12942"/>
                  </a:cubicBezTo>
                  <a:cubicBezTo>
                    <a:pt x="239971" y="20964"/>
                    <a:pt x="201695" y="7996"/>
                    <a:pt x="205064" y="18123"/>
                  </a:cubicBezTo>
                  <a:cubicBezTo>
                    <a:pt x="205064" y="18390"/>
                    <a:pt x="175961" y="15349"/>
                    <a:pt x="168127" y="21465"/>
                  </a:cubicBezTo>
                  <a:cubicBezTo>
                    <a:pt x="160293" y="27582"/>
                    <a:pt x="165854" y="35403"/>
                    <a:pt x="150227" y="25276"/>
                  </a:cubicBezTo>
                  <a:cubicBezTo>
                    <a:pt x="135371" y="15616"/>
                    <a:pt x="136183" y="31659"/>
                    <a:pt x="138050" y="35303"/>
                  </a:cubicBezTo>
                  <a:cubicBezTo>
                    <a:pt x="141622" y="41753"/>
                    <a:pt x="117106" y="40684"/>
                    <a:pt x="109921" y="47937"/>
                  </a:cubicBezTo>
                  <a:cubicBezTo>
                    <a:pt x="106228" y="51613"/>
                    <a:pt x="92874" y="41052"/>
                    <a:pt x="95512" y="37509"/>
                  </a:cubicBezTo>
                  <a:cubicBezTo>
                    <a:pt x="99571" y="31860"/>
                    <a:pt x="98475" y="31325"/>
                    <a:pt x="86054" y="28685"/>
                  </a:cubicBezTo>
                  <a:cubicBezTo>
                    <a:pt x="73147" y="25784"/>
                    <a:pt x="59793" y="24343"/>
                    <a:pt x="46399" y="24407"/>
                  </a:cubicBezTo>
                  <a:cubicBezTo>
                    <a:pt x="18919" y="25142"/>
                    <a:pt x="51716" y="32930"/>
                    <a:pt x="52852" y="35002"/>
                  </a:cubicBezTo>
                  <a:cubicBezTo>
                    <a:pt x="53664" y="36439"/>
                    <a:pt x="27930" y="33899"/>
                    <a:pt x="25170" y="35002"/>
                  </a:cubicBezTo>
                  <a:cubicBezTo>
                    <a:pt x="18838" y="37141"/>
                    <a:pt x="-5922" y="54120"/>
                    <a:pt x="1222" y="56928"/>
                  </a:cubicBezTo>
                  <a:cubicBezTo>
                    <a:pt x="10923" y="60705"/>
                    <a:pt x="96568" y="40517"/>
                    <a:pt x="69494" y="56393"/>
                  </a:cubicBezTo>
                  <a:cubicBezTo>
                    <a:pt x="63122" y="60103"/>
                    <a:pt x="84350" y="61573"/>
                    <a:pt x="63081" y="64749"/>
                  </a:cubicBezTo>
                  <a:cubicBezTo>
                    <a:pt x="59428" y="65250"/>
                    <a:pt x="7391" y="70999"/>
                    <a:pt x="14373" y="75879"/>
                  </a:cubicBezTo>
                  <a:cubicBezTo>
                    <a:pt x="18432" y="78453"/>
                    <a:pt x="41325" y="72771"/>
                    <a:pt x="46439" y="71901"/>
                  </a:cubicBezTo>
                  <a:cubicBezTo>
                    <a:pt x="64258" y="68793"/>
                    <a:pt x="59590" y="69762"/>
                    <a:pt x="67140" y="75411"/>
                  </a:cubicBezTo>
                  <a:cubicBezTo>
                    <a:pt x="73350" y="80057"/>
                    <a:pt x="80412" y="71333"/>
                    <a:pt x="86542" y="78753"/>
                  </a:cubicBezTo>
                  <a:cubicBezTo>
                    <a:pt x="92671" y="86173"/>
                    <a:pt x="90195" y="86407"/>
                    <a:pt x="69981" y="90351"/>
                  </a:cubicBezTo>
                  <a:cubicBezTo>
                    <a:pt x="51838" y="93928"/>
                    <a:pt x="63243" y="98707"/>
                    <a:pt x="76841" y="97036"/>
                  </a:cubicBezTo>
                  <a:cubicBezTo>
                    <a:pt x="100789" y="93694"/>
                    <a:pt x="112641" y="87845"/>
                    <a:pt x="136711" y="91187"/>
                  </a:cubicBezTo>
                  <a:cubicBezTo>
                    <a:pt x="152500" y="93426"/>
                    <a:pt x="168127" y="97471"/>
                    <a:pt x="185946" y="95766"/>
                  </a:cubicBezTo>
                  <a:cubicBezTo>
                    <a:pt x="197798" y="94629"/>
                    <a:pt x="224790" y="90284"/>
                    <a:pt x="228971" y="83065"/>
                  </a:cubicBezTo>
                  <a:cubicBezTo>
                    <a:pt x="232381" y="77149"/>
                    <a:pt x="257059" y="75912"/>
                    <a:pt x="266030" y="73439"/>
                  </a:cubicBezTo>
                  <a:cubicBezTo>
                    <a:pt x="283930" y="68526"/>
                    <a:pt x="295092" y="61106"/>
                    <a:pt x="315996" y="5863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5DAD1E59-B78E-4D16-9C5B-A038C62BB5B5}"/>
                </a:ext>
              </a:extLst>
            </p:cNvPr>
            <p:cNvSpPr/>
            <p:nvPr/>
          </p:nvSpPr>
          <p:spPr>
            <a:xfrm>
              <a:off x="5413047" y="3811841"/>
              <a:ext cx="137872" cy="87325"/>
            </a:xfrm>
            <a:custGeom>
              <a:avLst/>
              <a:gdLst>
                <a:gd name="connsiteX0" fmla="*/ 126488 w 137872"/>
                <a:gd name="connsiteY0" fmla="*/ 22099 h 87325"/>
                <a:gd name="connsiteX1" fmla="*/ 99253 w 137872"/>
                <a:gd name="connsiteY1" fmla="*/ 16450 h 87325"/>
                <a:gd name="connsiteX2" fmla="*/ 85249 w 137872"/>
                <a:gd name="connsiteY2" fmla="*/ 22801 h 87325"/>
                <a:gd name="connsiteX3" fmla="*/ 89511 w 137872"/>
                <a:gd name="connsiteY3" fmla="*/ 374 h 87325"/>
                <a:gd name="connsiteX4" fmla="*/ 57486 w 137872"/>
                <a:gd name="connsiteY4" fmla="*/ 1343 h 87325"/>
                <a:gd name="connsiteX5" fmla="*/ 62478 w 137872"/>
                <a:gd name="connsiteY5" fmla="*/ 10635 h 87325"/>
                <a:gd name="connsiteX6" fmla="*/ 56552 w 137872"/>
                <a:gd name="connsiteY6" fmla="*/ 17821 h 87325"/>
                <a:gd name="connsiteX7" fmla="*/ 35486 w 137872"/>
                <a:gd name="connsiteY7" fmla="*/ 23670 h 87325"/>
                <a:gd name="connsiteX8" fmla="*/ 13892 w 137872"/>
                <a:gd name="connsiteY8" fmla="*/ 23369 h 87325"/>
                <a:gd name="connsiteX9" fmla="*/ 9833 w 137872"/>
                <a:gd name="connsiteY9" fmla="*/ 30622 h 87325"/>
                <a:gd name="connsiteX10" fmla="*/ 9833 w 137872"/>
                <a:gd name="connsiteY10" fmla="*/ 42655 h 87325"/>
                <a:gd name="connsiteX11" fmla="*/ 33619 w 137872"/>
                <a:gd name="connsiteY11" fmla="*/ 52114 h 87325"/>
                <a:gd name="connsiteX12" fmla="*/ 25014 w 137872"/>
                <a:gd name="connsiteY12" fmla="*/ 58063 h 87325"/>
                <a:gd name="connsiteX13" fmla="*/ 20143 w 137872"/>
                <a:gd name="connsiteY13" fmla="*/ 66085 h 87325"/>
                <a:gd name="connsiteX14" fmla="*/ 376 w 137872"/>
                <a:gd name="connsiteY14" fmla="*/ 75811 h 87325"/>
                <a:gd name="connsiteX15" fmla="*/ 19737 w 137872"/>
                <a:gd name="connsiteY15" fmla="*/ 86139 h 87325"/>
                <a:gd name="connsiteX16" fmla="*/ 90526 w 137872"/>
                <a:gd name="connsiteY16" fmla="*/ 70998 h 87325"/>
                <a:gd name="connsiteX17" fmla="*/ 137813 w 137872"/>
                <a:gd name="connsiteY17" fmla="*/ 52982 h 87325"/>
                <a:gd name="connsiteX18" fmla="*/ 134200 w 137872"/>
                <a:gd name="connsiteY18" fmla="*/ 36271 h 87325"/>
                <a:gd name="connsiteX19" fmla="*/ 126082 w 137872"/>
                <a:gd name="connsiteY19" fmla="*/ 22032 h 87325"/>
                <a:gd name="connsiteX20" fmla="*/ 126488 w 137872"/>
                <a:gd name="connsiteY20" fmla="*/ 22099 h 87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7872" h="87325">
                  <a:moveTo>
                    <a:pt x="126488" y="22099"/>
                  </a:moveTo>
                  <a:cubicBezTo>
                    <a:pt x="120765" y="20294"/>
                    <a:pt x="106193" y="11069"/>
                    <a:pt x="99253" y="16450"/>
                  </a:cubicBezTo>
                  <a:cubicBezTo>
                    <a:pt x="93733" y="20729"/>
                    <a:pt x="98075" y="25542"/>
                    <a:pt x="85249" y="22801"/>
                  </a:cubicBezTo>
                  <a:cubicBezTo>
                    <a:pt x="60327" y="17487"/>
                    <a:pt x="85817" y="11404"/>
                    <a:pt x="89511" y="374"/>
                  </a:cubicBezTo>
                  <a:cubicBezTo>
                    <a:pt x="78511" y="1009"/>
                    <a:pt x="68567" y="-2167"/>
                    <a:pt x="57486" y="1343"/>
                  </a:cubicBezTo>
                  <a:cubicBezTo>
                    <a:pt x="46405" y="4853"/>
                    <a:pt x="53995" y="9732"/>
                    <a:pt x="62478" y="10635"/>
                  </a:cubicBezTo>
                  <a:cubicBezTo>
                    <a:pt x="76319" y="12139"/>
                    <a:pt x="62925" y="16517"/>
                    <a:pt x="56552" y="17821"/>
                  </a:cubicBezTo>
                  <a:cubicBezTo>
                    <a:pt x="49571" y="19292"/>
                    <a:pt x="42670" y="22834"/>
                    <a:pt x="35486" y="23670"/>
                  </a:cubicBezTo>
                  <a:cubicBezTo>
                    <a:pt x="28302" y="24506"/>
                    <a:pt x="21239" y="22901"/>
                    <a:pt x="13892" y="23369"/>
                  </a:cubicBezTo>
                  <a:cubicBezTo>
                    <a:pt x="457" y="24272"/>
                    <a:pt x="4151" y="27681"/>
                    <a:pt x="9833" y="30622"/>
                  </a:cubicBezTo>
                  <a:cubicBezTo>
                    <a:pt x="18316" y="34967"/>
                    <a:pt x="4841" y="39011"/>
                    <a:pt x="9833" y="42655"/>
                  </a:cubicBezTo>
                  <a:cubicBezTo>
                    <a:pt x="14826" y="46298"/>
                    <a:pt x="35648" y="46766"/>
                    <a:pt x="33619" y="52114"/>
                  </a:cubicBezTo>
                  <a:cubicBezTo>
                    <a:pt x="32767" y="54420"/>
                    <a:pt x="27652" y="56325"/>
                    <a:pt x="25014" y="58063"/>
                  </a:cubicBezTo>
                  <a:cubicBezTo>
                    <a:pt x="20955" y="60837"/>
                    <a:pt x="22781" y="63177"/>
                    <a:pt x="20143" y="66085"/>
                  </a:cubicBezTo>
                  <a:cubicBezTo>
                    <a:pt x="16084" y="70563"/>
                    <a:pt x="3664" y="71165"/>
                    <a:pt x="376" y="75811"/>
                  </a:cubicBezTo>
                  <a:cubicBezTo>
                    <a:pt x="-2912" y="80457"/>
                    <a:pt x="13283" y="85036"/>
                    <a:pt x="19737" y="86139"/>
                  </a:cubicBezTo>
                  <a:cubicBezTo>
                    <a:pt x="42508" y="89982"/>
                    <a:pt x="74818" y="80022"/>
                    <a:pt x="90526" y="70998"/>
                  </a:cubicBezTo>
                  <a:cubicBezTo>
                    <a:pt x="108142" y="60971"/>
                    <a:pt x="137123" y="70998"/>
                    <a:pt x="137813" y="52982"/>
                  </a:cubicBezTo>
                  <a:cubicBezTo>
                    <a:pt x="137813" y="47280"/>
                    <a:pt x="136595" y="41618"/>
                    <a:pt x="134200" y="36271"/>
                  </a:cubicBezTo>
                  <a:cubicBezTo>
                    <a:pt x="132861" y="32928"/>
                    <a:pt x="124621" y="25441"/>
                    <a:pt x="126082" y="22032"/>
                  </a:cubicBezTo>
                  <a:cubicBezTo>
                    <a:pt x="122429" y="20762"/>
                    <a:pt x="126123" y="22834"/>
                    <a:pt x="126488" y="2209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8443F2CF-F61F-4143-8FFB-23490C0D5E53}"/>
                </a:ext>
              </a:extLst>
            </p:cNvPr>
            <p:cNvSpPr/>
            <p:nvPr/>
          </p:nvSpPr>
          <p:spPr>
            <a:xfrm>
              <a:off x="5485393" y="3660260"/>
              <a:ext cx="332681" cy="264004"/>
            </a:xfrm>
            <a:custGeom>
              <a:avLst/>
              <a:gdLst>
                <a:gd name="connsiteX0" fmla="*/ 58729 w 332681"/>
                <a:gd name="connsiteY0" fmla="*/ 145939 h 264004"/>
                <a:gd name="connsiteX1" fmla="*/ 22929 w 332681"/>
                <a:gd name="connsiteY1" fmla="*/ 151086 h 264004"/>
                <a:gd name="connsiteX2" fmla="*/ 117 w 332681"/>
                <a:gd name="connsiteY2" fmla="*/ 169469 h 264004"/>
                <a:gd name="connsiteX3" fmla="*/ 23619 w 332681"/>
                <a:gd name="connsiteY3" fmla="*/ 173513 h 264004"/>
                <a:gd name="connsiteX4" fmla="*/ 54143 w 332681"/>
                <a:gd name="connsiteY4" fmla="*/ 173680 h 264004"/>
                <a:gd name="connsiteX5" fmla="*/ 79146 w 332681"/>
                <a:gd name="connsiteY5" fmla="*/ 163954 h 264004"/>
                <a:gd name="connsiteX6" fmla="*/ 58851 w 332681"/>
                <a:gd name="connsiteY6" fmla="*/ 145939 h 264004"/>
                <a:gd name="connsiteX7" fmla="*/ 332548 w 332681"/>
                <a:gd name="connsiteY7" fmla="*/ 196074 h 264004"/>
                <a:gd name="connsiteX8" fmla="*/ 313511 w 332681"/>
                <a:gd name="connsiteY8" fmla="*/ 187384 h 264004"/>
                <a:gd name="connsiteX9" fmla="*/ 292851 w 332681"/>
                <a:gd name="connsiteY9" fmla="*/ 191128 h 264004"/>
                <a:gd name="connsiteX10" fmla="*/ 281608 w 332681"/>
                <a:gd name="connsiteY10" fmla="*/ 179697 h 264004"/>
                <a:gd name="connsiteX11" fmla="*/ 268619 w 332681"/>
                <a:gd name="connsiteY11" fmla="*/ 168500 h 264004"/>
                <a:gd name="connsiteX12" fmla="*/ 256888 w 332681"/>
                <a:gd name="connsiteY12" fmla="*/ 155130 h 264004"/>
                <a:gd name="connsiteX13" fmla="*/ 231885 w 332681"/>
                <a:gd name="connsiteY13" fmla="*/ 147309 h 264004"/>
                <a:gd name="connsiteX14" fmla="*/ 219708 w 332681"/>
                <a:gd name="connsiteY14" fmla="*/ 132971 h 264004"/>
                <a:gd name="connsiteX15" fmla="*/ 195355 w 332681"/>
                <a:gd name="connsiteY15" fmla="*/ 122943 h 264004"/>
                <a:gd name="connsiteX16" fmla="*/ 164872 w 332681"/>
                <a:gd name="connsiteY16" fmla="*/ 121874 h 264004"/>
                <a:gd name="connsiteX17" fmla="*/ 176034 w 332681"/>
                <a:gd name="connsiteY17" fmla="*/ 110209 h 264004"/>
                <a:gd name="connsiteX18" fmla="*/ 199901 w 332681"/>
                <a:gd name="connsiteY18" fmla="*/ 79326 h 264004"/>
                <a:gd name="connsiteX19" fmla="*/ 144536 w 332681"/>
                <a:gd name="connsiteY19" fmla="*/ 79326 h 264004"/>
                <a:gd name="connsiteX20" fmla="*/ 122374 w 332681"/>
                <a:gd name="connsiteY20" fmla="*/ 77889 h 264004"/>
                <a:gd name="connsiteX21" fmla="*/ 147012 w 332681"/>
                <a:gd name="connsiteY21" fmla="*/ 64519 h 264004"/>
                <a:gd name="connsiteX22" fmla="*/ 142953 w 332681"/>
                <a:gd name="connsiteY22" fmla="*/ 55428 h 264004"/>
                <a:gd name="connsiteX23" fmla="*/ 83326 w 332681"/>
                <a:gd name="connsiteY23" fmla="*/ 72908 h 264004"/>
                <a:gd name="connsiteX24" fmla="*/ 71637 w 332681"/>
                <a:gd name="connsiteY24" fmla="*/ 83871 h 264004"/>
                <a:gd name="connsiteX25" fmla="*/ 61246 w 332681"/>
                <a:gd name="connsiteY25" fmla="*/ 92996 h 264004"/>
                <a:gd name="connsiteX26" fmla="*/ 38110 w 332681"/>
                <a:gd name="connsiteY26" fmla="*/ 92729 h 264004"/>
                <a:gd name="connsiteX27" fmla="*/ 69364 w 332681"/>
                <a:gd name="connsiteY27" fmla="*/ 99413 h 264004"/>
                <a:gd name="connsiteX28" fmla="*/ 67253 w 332681"/>
                <a:gd name="connsiteY28" fmla="*/ 117696 h 264004"/>
                <a:gd name="connsiteX29" fmla="*/ 47689 w 332681"/>
                <a:gd name="connsiteY29" fmla="*/ 134007 h 264004"/>
                <a:gd name="connsiteX30" fmla="*/ 69729 w 332681"/>
                <a:gd name="connsiteY30" fmla="*/ 126887 h 264004"/>
                <a:gd name="connsiteX31" fmla="*/ 74438 w 332681"/>
                <a:gd name="connsiteY31" fmla="*/ 134508 h 264004"/>
                <a:gd name="connsiteX32" fmla="*/ 102850 w 332681"/>
                <a:gd name="connsiteY32" fmla="*/ 121974 h 264004"/>
                <a:gd name="connsiteX33" fmla="*/ 107478 w 332681"/>
                <a:gd name="connsiteY33" fmla="*/ 136413 h 264004"/>
                <a:gd name="connsiteX34" fmla="*/ 95828 w 332681"/>
                <a:gd name="connsiteY34" fmla="*/ 151420 h 264004"/>
                <a:gd name="connsiteX35" fmla="*/ 143603 w 332681"/>
                <a:gd name="connsiteY35" fmla="*/ 146574 h 264004"/>
                <a:gd name="connsiteX36" fmla="*/ 152897 w 332681"/>
                <a:gd name="connsiteY36" fmla="*/ 151153 h 264004"/>
                <a:gd name="connsiteX37" fmla="*/ 165399 w 332681"/>
                <a:gd name="connsiteY37" fmla="*/ 162283 h 264004"/>
                <a:gd name="connsiteX38" fmla="*/ 166820 w 332681"/>
                <a:gd name="connsiteY38" fmla="*/ 175151 h 264004"/>
                <a:gd name="connsiteX39" fmla="*/ 149325 w 332681"/>
                <a:gd name="connsiteY39" fmla="*/ 186382 h 264004"/>
                <a:gd name="connsiteX40" fmla="*/ 130167 w 332681"/>
                <a:gd name="connsiteY40" fmla="*/ 184276 h 264004"/>
                <a:gd name="connsiteX41" fmla="*/ 119086 w 332681"/>
                <a:gd name="connsiteY41" fmla="*/ 194303 h 264004"/>
                <a:gd name="connsiteX42" fmla="*/ 119086 w 332681"/>
                <a:gd name="connsiteY42" fmla="*/ 214357 h 264004"/>
                <a:gd name="connsiteX43" fmla="*/ 97574 w 332681"/>
                <a:gd name="connsiteY43" fmla="*/ 223916 h 264004"/>
                <a:gd name="connsiteX44" fmla="*/ 120142 w 332681"/>
                <a:gd name="connsiteY44" fmla="*/ 223716 h 264004"/>
                <a:gd name="connsiteX45" fmla="*/ 142953 w 332681"/>
                <a:gd name="connsiteY45" fmla="*/ 226323 h 264004"/>
                <a:gd name="connsiteX46" fmla="*/ 162883 w 332681"/>
                <a:gd name="connsiteY46" fmla="*/ 228094 h 264004"/>
                <a:gd name="connsiteX47" fmla="*/ 180823 w 332681"/>
                <a:gd name="connsiteY47" fmla="*/ 225487 h 264004"/>
                <a:gd name="connsiteX48" fmla="*/ 166982 w 332681"/>
                <a:gd name="connsiteY48" fmla="*/ 233041 h 264004"/>
                <a:gd name="connsiteX49" fmla="*/ 134998 w 332681"/>
                <a:gd name="connsiteY49" fmla="*/ 236383 h 264004"/>
                <a:gd name="connsiteX50" fmla="*/ 98467 w 332681"/>
                <a:gd name="connsiteY50" fmla="*/ 259780 h 264004"/>
                <a:gd name="connsiteX51" fmla="*/ 134024 w 332681"/>
                <a:gd name="connsiteY51" fmla="*/ 254900 h 264004"/>
                <a:gd name="connsiteX52" fmla="*/ 152654 w 332681"/>
                <a:gd name="connsiteY52" fmla="*/ 254332 h 264004"/>
                <a:gd name="connsiteX53" fmla="*/ 170027 w 332681"/>
                <a:gd name="connsiteY53" fmla="*/ 247647 h 264004"/>
                <a:gd name="connsiteX54" fmla="*/ 204731 w 332681"/>
                <a:gd name="connsiteY54" fmla="*/ 243202 h 264004"/>
                <a:gd name="connsiteX55" fmla="*/ 228273 w 332681"/>
                <a:gd name="connsiteY55" fmla="*/ 243001 h 264004"/>
                <a:gd name="connsiteX56" fmla="*/ 283434 w 332681"/>
                <a:gd name="connsiteY56" fmla="*/ 236951 h 264004"/>
                <a:gd name="connsiteX57" fmla="*/ 303729 w 332681"/>
                <a:gd name="connsiteY57" fmla="*/ 223749 h 264004"/>
                <a:gd name="connsiteX58" fmla="*/ 311035 w 332681"/>
                <a:gd name="connsiteY58" fmla="*/ 210981 h 264004"/>
                <a:gd name="connsiteX59" fmla="*/ 332264 w 332681"/>
                <a:gd name="connsiteY59" fmla="*/ 196308 h 264004"/>
                <a:gd name="connsiteX60" fmla="*/ 332548 w 332681"/>
                <a:gd name="connsiteY60" fmla="*/ 195907 h 264004"/>
                <a:gd name="connsiteX61" fmla="*/ 26014 w 332681"/>
                <a:gd name="connsiteY61" fmla="*/ 83905 h 264004"/>
                <a:gd name="connsiteX62" fmla="*/ 47121 w 332681"/>
                <a:gd name="connsiteY62" fmla="*/ 67427 h 264004"/>
                <a:gd name="connsiteX63" fmla="*/ 26014 w 332681"/>
                <a:gd name="connsiteY63" fmla="*/ 83738 h 264004"/>
                <a:gd name="connsiteX64" fmla="*/ 215974 w 332681"/>
                <a:gd name="connsiteY64" fmla="*/ 18996 h 264004"/>
                <a:gd name="connsiteX65" fmla="*/ 220317 w 332681"/>
                <a:gd name="connsiteY65" fmla="*/ -122 h 264004"/>
                <a:gd name="connsiteX66" fmla="*/ 215974 w 332681"/>
                <a:gd name="connsiteY66" fmla="*/ 18829 h 2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32681" h="264004">
                  <a:moveTo>
                    <a:pt x="58729" y="145939"/>
                  </a:moveTo>
                  <a:cubicBezTo>
                    <a:pt x="47364" y="141293"/>
                    <a:pt x="33645" y="148713"/>
                    <a:pt x="22929" y="151086"/>
                  </a:cubicBezTo>
                  <a:cubicBezTo>
                    <a:pt x="17856" y="152223"/>
                    <a:pt x="2635" y="165024"/>
                    <a:pt x="117" y="169469"/>
                  </a:cubicBezTo>
                  <a:cubicBezTo>
                    <a:pt x="-2399" y="173914"/>
                    <a:pt x="22726" y="177190"/>
                    <a:pt x="23619" y="173513"/>
                  </a:cubicBezTo>
                  <a:cubicBezTo>
                    <a:pt x="26501" y="160512"/>
                    <a:pt x="43386" y="170171"/>
                    <a:pt x="54143" y="173680"/>
                  </a:cubicBezTo>
                  <a:cubicBezTo>
                    <a:pt x="56294" y="169235"/>
                    <a:pt x="73504" y="167297"/>
                    <a:pt x="79146" y="163954"/>
                  </a:cubicBezTo>
                  <a:cubicBezTo>
                    <a:pt x="90511" y="157270"/>
                    <a:pt x="66360" y="149081"/>
                    <a:pt x="58851" y="145939"/>
                  </a:cubicBezTo>
                  <a:close/>
                  <a:moveTo>
                    <a:pt x="332548" y="196074"/>
                  </a:moveTo>
                  <a:cubicBezTo>
                    <a:pt x="332954" y="191128"/>
                    <a:pt x="321061" y="188420"/>
                    <a:pt x="313511" y="187384"/>
                  </a:cubicBezTo>
                  <a:cubicBezTo>
                    <a:pt x="299873" y="185579"/>
                    <a:pt x="302633" y="188821"/>
                    <a:pt x="292851" y="191128"/>
                  </a:cubicBezTo>
                  <a:cubicBezTo>
                    <a:pt x="277630" y="194737"/>
                    <a:pt x="281121" y="182705"/>
                    <a:pt x="281608" y="179697"/>
                  </a:cubicBezTo>
                  <a:cubicBezTo>
                    <a:pt x="281608" y="178694"/>
                    <a:pt x="269431" y="171909"/>
                    <a:pt x="268619" y="168500"/>
                  </a:cubicBezTo>
                  <a:cubicBezTo>
                    <a:pt x="266589" y="163102"/>
                    <a:pt x="262490" y="158403"/>
                    <a:pt x="256888" y="155130"/>
                  </a:cubicBezTo>
                  <a:cubicBezTo>
                    <a:pt x="249866" y="150618"/>
                    <a:pt x="239232" y="151086"/>
                    <a:pt x="231885" y="147309"/>
                  </a:cubicBezTo>
                  <a:cubicBezTo>
                    <a:pt x="224538" y="143532"/>
                    <a:pt x="222266" y="137951"/>
                    <a:pt x="219708" y="132971"/>
                  </a:cubicBezTo>
                  <a:cubicBezTo>
                    <a:pt x="215650" y="124715"/>
                    <a:pt x="204649" y="128124"/>
                    <a:pt x="195355" y="122943"/>
                  </a:cubicBezTo>
                  <a:cubicBezTo>
                    <a:pt x="187237" y="118130"/>
                    <a:pt x="175384" y="120972"/>
                    <a:pt x="164872" y="121874"/>
                  </a:cubicBezTo>
                  <a:cubicBezTo>
                    <a:pt x="154359" y="122776"/>
                    <a:pt x="174491" y="110811"/>
                    <a:pt x="176034" y="110209"/>
                  </a:cubicBezTo>
                  <a:cubicBezTo>
                    <a:pt x="189631" y="104861"/>
                    <a:pt x="200388" y="87548"/>
                    <a:pt x="199901" y="79326"/>
                  </a:cubicBezTo>
                  <a:cubicBezTo>
                    <a:pt x="199535" y="73777"/>
                    <a:pt x="150868" y="78557"/>
                    <a:pt x="144536" y="79326"/>
                  </a:cubicBezTo>
                  <a:cubicBezTo>
                    <a:pt x="138204" y="80094"/>
                    <a:pt x="122049" y="84172"/>
                    <a:pt x="122374" y="77889"/>
                  </a:cubicBezTo>
                  <a:cubicBezTo>
                    <a:pt x="122374" y="75148"/>
                    <a:pt x="143359" y="67561"/>
                    <a:pt x="147012" y="64519"/>
                  </a:cubicBezTo>
                  <a:cubicBezTo>
                    <a:pt x="155130" y="57834"/>
                    <a:pt x="157403" y="42025"/>
                    <a:pt x="142953" y="55428"/>
                  </a:cubicBezTo>
                  <a:cubicBezTo>
                    <a:pt x="128503" y="68831"/>
                    <a:pt x="86493" y="50782"/>
                    <a:pt x="83326" y="72908"/>
                  </a:cubicBezTo>
                  <a:cubicBezTo>
                    <a:pt x="82556" y="78356"/>
                    <a:pt x="78578" y="79593"/>
                    <a:pt x="71637" y="83871"/>
                  </a:cubicBezTo>
                  <a:cubicBezTo>
                    <a:pt x="68552" y="85743"/>
                    <a:pt x="71353" y="96840"/>
                    <a:pt x="61246" y="92996"/>
                  </a:cubicBezTo>
                  <a:cubicBezTo>
                    <a:pt x="57471" y="91559"/>
                    <a:pt x="38556" y="84272"/>
                    <a:pt x="38110" y="92729"/>
                  </a:cubicBezTo>
                  <a:cubicBezTo>
                    <a:pt x="37744" y="99848"/>
                    <a:pt x="63275" y="96940"/>
                    <a:pt x="69364" y="99413"/>
                  </a:cubicBezTo>
                  <a:cubicBezTo>
                    <a:pt x="75452" y="101887"/>
                    <a:pt x="36527" y="113718"/>
                    <a:pt x="67253" y="117696"/>
                  </a:cubicBezTo>
                  <a:cubicBezTo>
                    <a:pt x="91323" y="120804"/>
                    <a:pt x="36648" y="131667"/>
                    <a:pt x="47689" y="134007"/>
                  </a:cubicBezTo>
                  <a:cubicBezTo>
                    <a:pt x="53372" y="135210"/>
                    <a:pt x="65346" y="128358"/>
                    <a:pt x="69729" y="126887"/>
                  </a:cubicBezTo>
                  <a:cubicBezTo>
                    <a:pt x="74113" y="125417"/>
                    <a:pt x="73545" y="133405"/>
                    <a:pt x="74438" y="134508"/>
                  </a:cubicBezTo>
                  <a:cubicBezTo>
                    <a:pt x="84382" y="146540"/>
                    <a:pt x="102850" y="121974"/>
                    <a:pt x="102850" y="121974"/>
                  </a:cubicBezTo>
                  <a:cubicBezTo>
                    <a:pt x="104474" y="121974"/>
                    <a:pt x="107680" y="134909"/>
                    <a:pt x="107478" y="136413"/>
                  </a:cubicBezTo>
                  <a:cubicBezTo>
                    <a:pt x="106828" y="141393"/>
                    <a:pt x="94164" y="146674"/>
                    <a:pt x="95828" y="151420"/>
                  </a:cubicBezTo>
                  <a:cubicBezTo>
                    <a:pt x="98223" y="158105"/>
                    <a:pt x="138448" y="149649"/>
                    <a:pt x="143603" y="146574"/>
                  </a:cubicBezTo>
                  <a:cubicBezTo>
                    <a:pt x="153425" y="140625"/>
                    <a:pt x="160326" y="146306"/>
                    <a:pt x="152897" y="151153"/>
                  </a:cubicBezTo>
                  <a:cubicBezTo>
                    <a:pt x="142344" y="158038"/>
                    <a:pt x="155008" y="160578"/>
                    <a:pt x="165399" y="162283"/>
                  </a:cubicBezTo>
                  <a:cubicBezTo>
                    <a:pt x="174329" y="163787"/>
                    <a:pt x="166373" y="171341"/>
                    <a:pt x="166820" y="175151"/>
                  </a:cubicBezTo>
                  <a:cubicBezTo>
                    <a:pt x="167713" y="183072"/>
                    <a:pt x="165318" y="185512"/>
                    <a:pt x="149325" y="186382"/>
                  </a:cubicBezTo>
                  <a:cubicBezTo>
                    <a:pt x="140640" y="186883"/>
                    <a:pt x="136743" y="184610"/>
                    <a:pt x="130167" y="184276"/>
                  </a:cubicBezTo>
                  <a:cubicBezTo>
                    <a:pt x="119777" y="183774"/>
                    <a:pt x="123429" y="191228"/>
                    <a:pt x="119086" y="194303"/>
                  </a:cubicBezTo>
                  <a:cubicBezTo>
                    <a:pt x="103175" y="205199"/>
                    <a:pt x="155901" y="202358"/>
                    <a:pt x="119086" y="214357"/>
                  </a:cubicBezTo>
                  <a:cubicBezTo>
                    <a:pt x="114743" y="215761"/>
                    <a:pt x="89618" y="219705"/>
                    <a:pt x="97574" y="223916"/>
                  </a:cubicBezTo>
                  <a:cubicBezTo>
                    <a:pt x="105529" y="228128"/>
                    <a:pt x="111659" y="224651"/>
                    <a:pt x="120142" y="223716"/>
                  </a:cubicBezTo>
                  <a:cubicBezTo>
                    <a:pt x="123673" y="223315"/>
                    <a:pt x="138813" y="225955"/>
                    <a:pt x="142953" y="226323"/>
                  </a:cubicBezTo>
                  <a:cubicBezTo>
                    <a:pt x="149529" y="227409"/>
                    <a:pt x="156185" y="228000"/>
                    <a:pt x="162883" y="228094"/>
                  </a:cubicBezTo>
                  <a:cubicBezTo>
                    <a:pt x="166942" y="227860"/>
                    <a:pt x="176764" y="224417"/>
                    <a:pt x="180823" y="225487"/>
                  </a:cubicBezTo>
                  <a:cubicBezTo>
                    <a:pt x="185897" y="226857"/>
                    <a:pt x="168240" y="232807"/>
                    <a:pt x="166982" y="233041"/>
                  </a:cubicBezTo>
                  <a:cubicBezTo>
                    <a:pt x="156388" y="234779"/>
                    <a:pt x="144414" y="232372"/>
                    <a:pt x="134998" y="236383"/>
                  </a:cubicBezTo>
                  <a:cubicBezTo>
                    <a:pt x="121075" y="242366"/>
                    <a:pt x="105489" y="250989"/>
                    <a:pt x="98467" y="259780"/>
                  </a:cubicBezTo>
                  <a:cubicBezTo>
                    <a:pt x="88969" y="271177"/>
                    <a:pt x="125581" y="253763"/>
                    <a:pt x="134024" y="254900"/>
                  </a:cubicBezTo>
                  <a:cubicBezTo>
                    <a:pt x="141046" y="255836"/>
                    <a:pt x="147743" y="259780"/>
                    <a:pt x="152654" y="254332"/>
                  </a:cubicBezTo>
                  <a:cubicBezTo>
                    <a:pt x="157565" y="248883"/>
                    <a:pt x="159960" y="249886"/>
                    <a:pt x="170027" y="247647"/>
                  </a:cubicBezTo>
                  <a:cubicBezTo>
                    <a:pt x="181676" y="244973"/>
                    <a:pt x="193650" y="247212"/>
                    <a:pt x="204731" y="243202"/>
                  </a:cubicBezTo>
                  <a:cubicBezTo>
                    <a:pt x="214513" y="239659"/>
                    <a:pt x="217760" y="241029"/>
                    <a:pt x="228273" y="243001"/>
                  </a:cubicBezTo>
                  <a:cubicBezTo>
                    <a:pt x="238785" y="244973"/>
                    <a:pt x="272150" y="239057"/>
                    <a:pt x="283434" y="236951"/>
                  </a:cubicBezTo>
                  <a:cubicBezTo>
                    <a:pt x="294718" y="234846"/>
                    <a:pt x="340706" y="219638"/>
                    <a:pt x="303729" y="223749"/>
                  </a:cubicBezTo>
                  <a:cubicBezTo>
                    <a:pt x="287128" y="225654"/>
                    <a:pt x="307788" y="212385"/>
                    <a:pt x="311035" y="210981"/>
                  </a:cubicBezTo>
                  <a:cubicBezTo>
                    <a:pt x="319722" y="207037"/>
                    <a:pt x="331736" y="202826"/>
                    <a:pt x="332264" y="196308"/>
                  </a:cubicBezTo>
                  <a:cubicBezTo>
                    <a:pt x="333197" y="188320"/>
                    <a:pt x="331939" y="203494"/>
                    <a:pt x="332548" y="195907"/>
                  </a:cubicBezTo>
                  <a:close/>
                  <a:moveTo>
                    <a:pt x="26014" y="83905"/>
                  </a:moveTo>
                  <a:cubicBezTo>
                    <a:pt x="39449" y="82802"/>
                    <a:pt x="53899" y="70301"/>
                    <a:pt x="47121" y="67427"/>
                  </a:cubicBezTo>
                  <a:cubicBezTo>
                    <a:pt x="40342" y="64553"/>
                    <a:pt x="15948" y="84573"/>
                    <a:pt x="26014" y="83738"/>
                  </a:cubicBezTo>
                  <a:close/>
                  <a:moveTo>
                    <a:pt x="215974" y="18996"/>
                  </a:moveTo>
                  <a:cubicBezTo>
                    <a:pt x="224092" y="14350"/>
                    <a:pt x="233347" y="-2428"/>
                    <a:pt x="220317" y="-122"/>
                  </a:cubicBezTo>
                  <a:cubicBezTo>
                    <a:pt x="207288" y="2184"/>
                    <a:pt x="212443" y="20868"/>
                    <a:pt x="215974" y="1882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21F76FDB-88CC-4127-AA59-221487A84BA9}"/>
                </a:ext>
              </a:extLst>
            </p:cNvPr>
            <p:cNvSpPr/>
            <p:nvPr/>
          </p:nvSpPr>
          <p:spPr>
            <a:xfrm>
              <a:off x="6025946" y="3726809"/>
              <a:ext cx="155655" cy="75462"/>
            </a:xfrm>
            <a:custGeom>
              <a:avLst/>
              <a:gdLst>
                <a:gd name="connsiteX0" fmla="*/ 78924 w 155655"/>
                <a:gd name="connsiteY0" fmla="*/ 27249 h 75462"/>
                <a:gd name="connsiteX1" fmla="*/ 67803 w 155655"/>
                <a:gd name="connsiteY1" fmla="*/ 845 h 75462"/>
                <a:gd name="connsiteX2" fmla="*/ 45275 w 155655"/>
                <a:gd name="connsiteY2" fmla="*/ 12509 h 75462"/>
                <a:gd name="connsiteX3" fmla="*/ 35006 w 155655"/>
                <a:gd name="connsiteY3" fmla="*/ 21333 h 75462"/>
                <a:gd name="connsiteX4" fmla="*/ 10084 w 155655"/>
                <a:gd name="connsiteY4" fmla="*/ 18726 h 75462"/>
                <a:gd name="connsiteX5" fmla="*/ 1113 w 155655"/>
                <a:gd name="connsiteY5" fmla="*/ 43627 h 75462"/>
                <a:gd name="connsiteX6" fmla="*/ 8947 w 155655"/>
                <a:gd name="connsiteY6" fmla="*/ 53654 h 75462"/>
                <a:gd name="connsiteX7" fmla="*/ 16253 w 155655"/>
                <a:gd name="connsiteY7" fmla="*/ 65686 h 75462"/>
                <a:gd name="connsiteX8" fmla="*/ 63744 w 155655"/>
                <a:gd name="connsiteY8" fmla="*/ 70633 h 75462"/>
                <a:gd name="connsiteX9" fmla="*/ 53677 w 155655"/>
                <a:gd name="connsiteY9" fmla="*/ 59770 h 75462"/>
                <a:gd name="connsiteX10" fmla="*/ 78599 w 155655"/>
                <a:gd name="connsiteY10" fmla="*/ 65486 h 75462"/>
                <a:gd name="connsiteX11" fmla="*/ 83713 w 155655"/>
                <a:gd name="connsiteY11" fmla="*/ 52117 h 75462"/>
                <a:gd name="connsiteX12" fmla="*/ 64109 w 155655"/>
                <a:gd name="connsiteY12" fmla="*/ 51381 h 75462"/>
                <a:gd name="connsiteX13" fmla="*/ 73525 w 155655"/>
                <a:gd name="connsiteY13" fmla="*/ 40819 h 75462"/>
                <a:gd name="connsiteX14" fmla="*/ 91953 w 155655"/>
                <a:gd name="connsiteY14" fmla="*/ 36474 h 75462"/>
                <a:gd name="connsiteX15" fmla="*/ 78924 w 155655"/>
                <a:gd name="connsiteY15" fmla="*/ 27015 h 75462"/>
                <a:gd name="connsiteX16" fmla="*/ 154096 w 155655"/>
                <a:gd name="connsiteY16" fmla="*/ 42858 h 75462"/>
                <a:gd name="connsiteX17" fmla="*/ 140377 w 155655"/>
                <a:gd name="connsiteY17" fmla="*/ 46200 h 75462"/>
                <a:gd name="connsiteX18" fmla="*/ 132259 w 155655"/>
                <a:gd name="connsiteY18" fmla="*/ 41087 h 75462"/>
                <a:gd name="connsiteX19" fmla="*/ 120529 w 155655"/>
                <a:gd name="connsiteY19" fmla="*/ 44262 h 75462"/>
                <a:gd name="connsiteX20" fmla="*/ 106484 w 155655"/>
                <a:gd name="connsiteY20" fmla="*/ 54022 h 75462"/>
                <a:gd name="connsiteX21" fmla="*/ 121949 w 155655"/>
                <a:gd name="connsiteY21" fmla="*/ 62946 h 75462"/>
                <a:gd name="connsiteX22" fmla="*/ 108270 w 155655"/>
                <a:gd name="connsiteY22" fmla="*/ 69363 h 75462"/>
                <a:gd name="connsiteX23" fmla="*/ 145532 w 155655"/>
                <a:gd name="connsiteY23" fmla="*/ 62678 h 75462"/>
                <a:gd name="connsiteX24" fmla="*/ 153893 w 155655"/>
                <a:gd name="connsiteY24" fmla="*/ 42624 h 75462"/>
                <a:gd name="connsiteX25" fmla="*/ 154096 w 155655"/>
                <a:gd name="connsiteY25" fmla="*/ 42858 h 7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5655" h="75462">
                  <a:moveTo>
                    <a:pt x="78924" y="27249"/>
                  </a:moveTo>
                  <a:cubicBezTo>
                    <a:pt x="64636" y="23706"/>
                    <a:pt x="101817" y="-6642"/>
                    <a:pt x="67803" y="845"/>
                  </a:cubicBezTo>
                  <a:cubicBezTo>
                    <a:pt x="55382" y="3585"/>
                    <a:pt x="59685" y="12142"/>
                    <a:pt x="45275" y="12509"/>
                  </a:cubicBezTo>
                  <a:cubicBezTo>
                    <a:pt x="29770" y="12944"/>
                    <a:pt x="44545" y="22169"/>
                    <a:pt x="35006" y="21333"/>
                  </a:cubicBezTo>
                  <a:cubicBezTo>
                    <a:pt x="26888" y="20631"/>
                    <a:pt x="18770" y="10705"/>
                    <a:pt x="10084" y="18726"/>
                  </a:cubicBezTo>
                  <a:cubicBezTo>
                    <a:pt x="1398" y="26748"/>
                    <a:pt x="-2093" y="34536"/>
                    <a:pt x="1113" y="43627"/>
                  </a:cubicBezTo>
                  <a:cubicBezTo>
                    <a:pt x="2169" y="47631"/>
                    <a:pt x="4970" y="51187"/>
                    <a:pt x="8947" y="53654"/>
                  </a:cubicBezTo>
                  <a:cubicBezTo>
                    <a:pt x="16010" y="58300"/>
                    <a:pt x="12276" y="60974"/>
                    <a:pt x="16253" y="65686"/>
                  </a:cubicBezTo>
                  <a:cubicBezTo>
                    <a:pt x="21084" y="71402"/>
                    <a:pt x="51120" y="71536"/>
                    <a:pt x="63744" y="70633"/>
                  </a:cubicBezTo>
                  <a:cubicBezTo>
                    <a:pt x="62891" y="69898"/>
                    <a:pt x="42434" y="60305"/>
                    <a:pt x="53677" y="59770"/>
                  </a:cubicBezTo>
                  <a:cubicBezTo>
                    <a:pt x="62729" y="59336"/>
                    <a:pt x="69466" y="64851"/>
                    <a:pt x="78599" y="65486"/>
                  </a:cubicBezTo>
                  <a:cubicBezTo>
                    <a:pt x="95119" y="66656"/>
                    <a:pt x="95972" y="54289"/>
                    <a:pt x="83713" y="52117"/>
                  </a:cubicBezTo>
                  <a:cubicBezTo>
                    <a:pt x="75596" y="50679"/>
                    <a:pt x="71131" y="56395"/>
                    <a:pt x="64109" y="51381"/>
                  </a:cubicBezTo>
                  <a:cubicBezTo>
                    <a:pt x="60293" y="48640"/>
                    <a:pt x="71983" y="43293"/>
                    <a:pt x="73525" y="40819"/>
                  </a:cubicBezTo>
                  <a:cubicBezTo>
                    <a:pt x="75677" y="37310"/>
                    <a:pt x="86758" y="37811"/>
                    <a:pt x="91953" y="36474"/>
                  </a:cubicBezTo>
                  <a:cubicBezTo>
                    <a:pt x="103359" y="33600"/>
                    <a:pt x="83105" y="28051"/>
                    <a:pt x="78924" y="27015"/>
                  </a:cubicBezTo>
                  <a:close/>
                  <a:moveTo>
                    <a:pt x="154096" y="42858"/>
                  </a:moveTo>
                  <a:cubicBezTo>
                    <a:pt x="148698" y="41087"/>
                    <a:pt x="145653" y="48975"/>
                    <a:pt x="140377" y="46200"/>
                  </a:cubicBezTo>
                  <a:cubicBezTo>
                    <a:pt x="139362" y="45699"/>
                    <a:pt x="134167" y="40452"/>
                    <a:pt x="132259" y="41087"/>
                  </a:cubicBezTo>
                  <a:cubicBezTo>
                    <a:pt x="125440" y="43560"/>
                    <a:pt x="131447" y="44696"/>
                    <a:pt x="120529" y="44262"/>
                  </a:cubicBezTo>
                  <a:cubicBezTo>
                    <a:pt x="110868" y="43894"/>
                    <a:pt x="104293" y="49710"/>
                    <a:pt x="106484" y="54022"/>
                  </a:cubicBezTo>
                  <a:cubicBezTo>
                    <a:pt x="108676" y="58333"/>
                    <a:pt x="115577" y="60706"/>
                    <a:pt x="121949" y="62946"/>
                  </a:cubicBezTo>
                  <a:cubicBezTo>
                    <a:pt x="134126" y="66990"/>
                    <a:pt x="107134" y="66622"/>
                    <a:pt x="108270" y="69363"/>
                  </a:cubicBezTo>
                  <a:cubicBezTo>
                    <a:pt x="113709" y="82732"/>
                    <a:pt x="142244" y="69564"/>
                    <a:pt x="145532" y="62678"/>
                  </a:cubicBezTo>
                  <a:cubicBezTo>
                    <a:pt x="146831" y="59938"/>
                    <a:pt x="157709" y="43861"/>
                    <a:pt x="153893" y="42624"/>
                  </a:cubicBezTo>
                  <a:cubicBezTo>
                    <a:pt x="150078" y="41387"/>
                    <a:pt x="158967" y="44195"/>
                    <a:pt x="154096" y="4285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94EC706C-4EC9-4450-9B80-305CBCD7917D}"/>
                </a:ext>
              </a:extLst>
            </p:cNvPr>
            <p:cNvSpPr/>
            <p:nvPr/>
          </p:nvSpPr>
          <p:spPr>
            <a:xfrm>
              <a:off x="6133094" y="3422086"/>
              <a:ext cx="437081" cy="362666"/>
            </a:xfrm>
            <a:custGeom>
              <a:avLst/>
              <a:gdLst>
                <a:gd name="connsiteX0" fmla="*/ 432347 w 437081"/>
                <a:gd name="connsiteY0" fmla="*/ 89049 h 362666"/>
                <a:gd name="connsiteX1" fmla="*/ 432103 w 437081"/>
                <a:gd name="connsiteY1" fmla="*/ 77652 h 362666"/>
                <a:gd name="connsiteX2" fmla="*/ 425447 w 437081"/>
                <a:gd name="connsiteY2" fmla="*/ 63414 h 362666"/>
                <a:gd name="connsiteX3" fmla="*/ 424838 w 437081"/>
                <a:gd name="connsiteY3" fmla="*/ 54322 h 362666"/>
                <a:gd name="connsiteX4" fmla="*/ 418060 w 437081"/>
                <a:gd name="connsiteY4" fmla="*/ 47404 h 362666"/>
                <a:gd name="connsiteX5" fmla="*/ 412986 w 437081"/>
                <a:gd name="connsiteY5" fmla="*/ 27650 h 362666"/>
                <a:gd name="connsiteX6" fmla="*/ 371381 w 437081"/>
                <a:gd name="connsiteY6" fmla="*/ 16788 h 362666"/>
                <a:gd name="connsiteX7" fmla="*/ 330102 w 437081"/>
                <a:gd name="connsiteY7" fmla="*/ 744 h 362666"/>
                <a:gd name="connsiteX8" fmla="*/ 309807 w 437081"/>
                <a:gd name="connsiteY8" fmla="*/ 10069 h 362666"/>
                <a:gd name="connsiteX9" fmla="*/ 279486 w 437081"/>
                <a:gd name="connsiteY9" fmla="*/ 13813 h 362666"/>
                <a:gd name="connsiteX10" fmla="*/ 240561 w 437081"/>
                <a:gd name="connsiteY10" fmla="*/ 11239 h 362666"/>
                <a:gd name="connsiteX11" fmla="*/ 238085 w 437081"/>
                <a:gd name="connsiteY11" fmla="*/ 25578 h 362666"/>
                <a:gd name="connsiteX12" fmla="*/ 199159 w 437081"/>
                <a:gd name="connsiteY12" fmla="*/ 28920 h 362666"/>
                <a:gd name="connsiteX13" fmla="*/ 174805 w 437081"/>
                <a:gd name="connsiteY13" fmla="*/ 46602 h 362666"/>
                <a:gd name="connsiteX14" fmla="*/ 173344 w 437081"/>
                <a:gd name="connsiteY14" fmla="*/ 54757 h 362666"/>
                <a:gd name="connsiteX15" fmla="*/ 159016 w 437081"/>
                <a:gd name="connsiteY15" fmla="*/ 62110 h 362666"/>
                <a:gd name="connsiteX16" fmla="*/ 146108 w 437081"/>
                <a:gd name="connsiteY16" fmla="*/ 77117 h 362666"/>
                <a:gd name="connsiteX17" fmla="*/ 112662 w 437081"/>
                <a:gd name="connsiteY17" fmla="*/ 84838 h 362666"/>
                <a:gd name="connsiteX18" fmla="*/ 95452 w 437081"/>
                <a:gd name="connsiteY18" fmla="*/ 115454 h 362666"/>
                <a:gd name="connsiteX19" fmla="*/ 97482 w 437081"/>
                <a:gd name="connsiteY19" fmla="*/ 128456 h 362666"/>
                <a:gd name="connsiteX20" fmla="*/ 79866 w 437081"/>
                <a:gd name="connsiteY20" fmla="*/ 139720 h 362666"/>
                <a:gd name="connsiteX21" fmla="*/ 45040 w 437081"/>
                <a:gd name="connsiteY21" fmla="*/ 146204 h 362666"/>
                <a:gd name="connsiteX22" fmla="*/ 36516 w 437081"/>
                <a:gd name="connsiteY22" fmla="*/ 169400 h 362666"/>
                <a:gd name="connsiteX23" fmla="*/ 33147 w 437081"/>
                <a:gd name="connsiteY23" fmla="*/ 179427 h 362666"/>
                <a:gd name="connsiteX24" fmla="*/ 38383 w 437081"/>
                <a:gd name="connsiteY24" fmla="*/ 191259 h 362666"/>
                <a:gd name="connsiteX25" fmla="*/ 45567 w 437081"/>
                <a:gd name="connsiteY25" fmla="*/ 206233 h 362666"/>
                <a:gd name="connsiteX26" fmla="*/ 48855 w 437081"/>
                <a:gd name="connsiteY26" fmla="*/ 220772 h 362666"/>
                <a:gd name="connsiteX27" fmla="*/ 49424 w 437081"/>
                <a:gd name="connsiteY27" fmla="*/ 233540 h 362666"/>
                <a:gd name="connsiteX28" fmla="*/ 39195 w 437081"/>
                <a:gd name="connsiteY28" fmla="*/ 247110 h 362666"/>
                <a:gd name="connsiteX29" fmla="*/ 22269 w 437081"/>
                <a:gd name="connsiteY29" fmla="*/ 256669 h 362666"/>
                <a:gd name="connsiteX30" fmla="*/ 16058 w 437081"/>
                <a:gd name="connsiteY30" fmla="*/ 273380 h 362666"/>
                <a:gd name="connsiteX31" fmla="*/ 2340 w 437081"/>
                <a:gd name="connsiteY31" fmla="*/ 282773 h 362666"/>
                <a:gd name="connsiteX32" fmla="*/ 22269 w 437081"/>
                <a:gd name="connsiteY32" fmla="*/ 302526 h 362666"/>
                <a:gd name="connsiteX33" fmla="*/ 44269 w 437081"/>
                <a:gd name="connsiteY33" fmla="*/ 325622 h 362666"/>
                <a:gd name="connsiteX34" fmla="*/ 52387 w 437081"/>
                <a:gd name="connsiteY34" fmla="*/ 342801 h 362666"/>
                <a:gd name="connsiteX35" fmla="*/ 60910 w 437081"/>
                <a:gd name="connsiteY35" fmla="*/ 360783 h 362666"/>
                <a:gd name="connsiteX36" fmla="*/ 94559 w 437081"/>
                <a:gd name="connsiteY36" fmla="*/ 360148 h 362666"/>
                <a:gd name="connsiteX37" fmla="*/ 104504 w 437081"/>
                <a:gd name="connsiteY37" fmla="*/ 347447 h 362666"/>
                <a:gd name="connsiteX38" fmla="*/ 138234 w 437081"/>
                <a:gd name="connsiteY38" fmla="*/ 344506 h 362666"/>
                <a:gd name="connsiteX39" fmla="*/ 160112 w 437081"/>
                <a:gd name="connsiteY39" fmla="*/ 334713 h 362666"/>
                <a:gd name="connsiteX40" fmla="*/ 175130 w 437081"/>
                <a:gd name="connsiteY40" fmla="*/ 337721 h 362666"/>
                <a:gd name="connsiteX41" fmla="*/ 190514 w 437081"/>
                <a:gd name="connsiteY41" fmla="*/ 319538 h 362666"/>
                <a:gd name="connsiteX42" fmla="*/ 171152 w 437081"/>
                <a:gd name="connsiteY42" fmla="*/ 326223 h 362666"/>
                <a:gd name="connsiteX43" fmla="*/ 178499 w 437081"/>
                <a:gd name="connsiteY43" fmla="*/ 310648 h 362666"/>
                <a:gd name="connsiteX44" fmla="*/ 183167 w 437081"/>
                <a:gd name="connsiteY44" fmla="*/ 288956 h 362666"/>
                <a:gd name="connsiteX45" fmla="*/ 215638 w 437081"/>
                <a:gd name="connsiteY45" fmla="*/ 276455 h 362666"/>
                <a:gd name="connsiteX46" fmla="*/ 236583 w 437081"/>
                <a:gd name="connsiteY46" fmla="*/ 261682 h 362666"/>
                <a:gd name="connsiteX47" fmla="*/ 253671 w 437081"/>
                <a:gd name="connsiteY47" fmla="*/ 250485 h 362666"/>
                <a:gd name="connsiteX48" fmla="*/ 225989 w 437081"/>
                <a:gd name="connsiteY48" fmla="*/ 234542 h 362666"/>
                <a:gd name="connsiteX49" fmla="*/ 199037 w 437081"/>
                <a:gd name="connsiteY49" fmla="*/ 227523 h 362666"/>
                <a:gd name="connsiteX50" fmla="*/ 199037 w 437081"/>
                <a:gd name="connsiteY50" fmla="*/ 203592 h 362666"/>
                <a:gd name="connsiteX51" fmla="*/ 212513 w 437081"/>
                <a:gd name="connsiteY51" fmla="*/ 182903 h 362666"/>
                <a:gd name="connsiteX52" fmla="*/ 243686 w 437081"/>
                <a:gd name="connsiteY52" fmla="*/ 170269 h 362666"/>
                <a:gd name="connsiteX53" fmla="*/ 327829 w 437081"/>
                <a:gd name="connsiteY53" fmla="*/ 142895 h 362666"/>
                <a:gd name="connsiteX54" fmla="*/ 345891 w 437081"/>
                <a:gd name="connsiteY54" fmla="*/ 129960 h 362666"/>
                <a:gd name="connsiteX55" fmla="*/ 352426 w 437081"/>
                <a:gd name="connsiteY55" fmla="*/ 111677 h 362666"/>
                <a:gd name="connsiteX56" fmla="*/ 437015 w 437081"/>
                <a:gd name="connsiteY56" fmla="*/ 97706 h 362666"/>
                <a:gd name="connsiteX57" fmla="*/ 432672 w 437081"/>
                <a:gd name="connsiteY57" fmla="*/ 89116 h 362666"/>
                <a:gd name="connsiteX58" fmla="*/ 248638 w 437081"/>
                <a:gd name="connsiteY58" fmla="*/ 304531 h 362666"/>
                <a:gd name="connsiteX59" fmla="*/ 224812 w 437081"/>
                <a:gd name="connsiteY59" fmla="*/ 326123 h 362666"/>
                <a:gd name="connsiteX60" fmla="*/ 248638 w 437081"/>
                <a:gd name="connsiteY60" fmla="*/ 304531 h 3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37081" h="362666">
                  <a:moveTo>
                    <a:pt x="432347" y="89049"/>
                  </a:moveTo>
                  <a:cubicBezTo>
                    <a:pt x="418669" y="81596"/>
                    <a:pt x="426665" y="82899"/>
                    <a:pt x="432103" y="77652"/>
                  </a:cubicBezTo>
                  <a:cubicBezTo>
                    <a:pt x="439085" y="70967"/>
                    <a:pt x="430034" y="68828"/>
                    <a:pt x="425447" y="63414"/>
                  </a:cubicBezTo>
                  <a:cubicBezTo>
                    <a:pt x="423052" y="60539"/>
                    <a:pt x="424838" y="57197"/>
                    <a:pt x="424838" y="54322"/>
                  </a:cubicBezTo>
                  <a:cubicBezTo>
                    <a:pt x="424838" y="50579"/>
                    <a:pt x="420414" y="50545"/>
                    <a:pt x="418060" y="47404"/>
                  </a:cubicBezTo>
                  <a:cubicBezTo>
                    <a:pt x="412458" y="39984"/>
                    <a:pt x="428857" y="33433"/>
                    <a:pt x="412986" y="27650"/>
                  </a:cubicBezTo>
                  <a:cubicBezTo>
                    <a:pt x="400322" y="23038"/>
                    <a:pt x="385141" y="20397"/>
                    <a:pt x="371381" y="16788"/>
                  </a:cubicBezTo>
                  <a:cubicBezTo>
                    <a:pt x="355470" y="12676"/>
                    <a:pt x="345201" y="5323"/>
                    <a:pt x="330102" y="744"/>
                  </a:cubicBezTo>
                  <a:cubicBezTo>
                    <a:pt x="316463" y="-3400"/>
                    <a:pt x="310984" y="5357"/>
                    <a:pt x="309807" y="10069"/>
                  </a:cubicBezTo>
                  <a:cubicBezTo>
                    <a:pt x="306560" y="22436"/>
                    <a:pt x="296493" y="16520"/>
                    <a:pt x="279486" y="13813"/>
                  </a:cubicBezTo>
                  <a:cubicBezTo>
                    <a:pt x="274534" y="12977"/>
                    <a:pt x="242712" y="9969"/>
                    <a:pt x="240561" y="11239"/>
                  </a:cubicBezTo>
                  <a:cubicBezTo>
                    <a:pt x="233944" y="15050"/>
                    <a:pt x="245147" y="22002"/>
                    <a:pt x="238085" y="25578"/>
                  </a:cubicBezTo>
                  <a:cubicBezTo>
                    <a:pt x="229439" y="29923"/>
                    <a:pt x="210200" y="26514"/>
                    <a:pt x="199159" y="28920"/>
                  </a:cubicBezTo>
                  <a:cubicBezTo>
                    <a:pt x="189458" y="31093"/>
                    <a:pt x="177241" y="41521"/>
                    <a:pt x="174805" y="46602"/>
                  </a:cubicBezTo>
                  <a:cubicBezTo>
                    <a:pt x="172938" y="50211"/>
                    <a:pt x="180569" y="51080"/>
                    <a:pt x="173344" y="54757"/>
                  </a:cubicBezTo>
                  <a:cubicBezTo>
                    <a:pt x="168270" y="56812"/>
                    <a:pt x="163481" y="59276"/>
                    <a:pt x="159016" y="62110"/>
                  </a:cubicBezTo>
                  <a:cubicBezTo>
                    <a:pt x="151831" y="67658"/>
                    <a:pt x="150898" y="71636"/>
                    <a:pt x="146108" y="77117"/>
                  </a:cubicBezTo>
                  <a:cubicBezTo>
                    <a:pt x="140304" y="84036"/>
                    <a:pt x="114610" y="77786"/>
                    <a:pt x="112662" y="84838"/>
                  </a:cubicBezTo>
                  <a:cubicBezTo>
                    <a:pt x="109131" y="97338"/>
                    <a:pt x="111688" y="104458"/>
                    <a:pt x="95452" y="115454"/>
                  </a:cubicBezTo>
                  <a:cubicBezTo>
                    <a:pt x="86928" y="121236"/>
                    <a:pt x="80596" y="125481"/>
                    <a:pt x="97482" y="128456"/>
                  </a:cubicBezTo>
                  <a:cubicBezTo>
                    <a:pt x="110146" y="130695"/>
                    <a:pt x="95168" y="142360"/>
                    <a:pt x="79866" y="139720"/>
                  </a:cubicBezTo>
                  <a:cubicBezTo>
                    <a:pt x="67689" y="137905"/>
                    <a:pt x="55106" y="140244"/>
                    <a:pt x="45040" y="146204"/>
                  </a:cubicBezTo>
                  <a:cubicBezTo>
                    <a:pt x="28520" y="155295"/>
                    <a:pt x="39195" y="160008"/>
                    <a:pt x="36516" y="169400"/>
                  </a:cubicBezTo>
                  <a:cubicBezTo>
                    <a:pt x="35501" y="172742"/>
                    <a:pt x="32457" y="175750"/>
                    <a:pt x="33147" y="179427"/>
                  </a:cubicBezTo>
                  <a:cubicBezTo>
                    <a:pt x="33837" y="183103"/>
                    <a:pt x="40534" y="186914"/>
                    <a:pt x="38383" y="191259"/>
                  </a:cubicBezTo>
                  <a:cubicBezTo>
                    <a:pt x="35014" y="197943"/>
                    <a:pt x="30712" y="202188"/>
                    <a:pt x="45567" y="206233"/>
                  </a:cubicBezTo>
                  <a:cubicBezTo>
                    <a:pt x="55918" y="209074"/>
                    <a:pt x="64442" y="217764"/>
                    <a:pt x="48855" y="220772"/>
                  </a:cubicBezTo>
                  <a:cubicBezTo>
                    <a:pt x="30590" y="224281"/>
                    <a:pt x="47597" y="227189"/>
                    <a:pt x="49424" y="233540"/>
                  </a:cubicBezTo>
                  <a:cubicBezTo>
                    <a:pt x="50722" y="238252"/>
                    <a:pt x="51534" y="246642"/>
                    <a:pt x="39195" y="247110"/>
                  </a:cubicBezTo>
                  <a:cubicBezTo>
                    <a:pt x="21538" y="247745"/>
                    <a:pt x="26774" y="248781"/>
                    <a:pt x="22269" y="256669"/>
                  </a:cubicBezTo>
                  <a:cubicBezTo>
                    <a:pt x="19265" y="261983"/>
                    <a:pt x="20645" y="268434"/>
                    <a:pt x="16058" y="273380"/>
                  </a:cubicBezTo>
                  <a:cubicBezTo>
                    <a:pt x="11472" y="278327"/>
                    <a:pt x="-6469" y="268634"/>
                    <a:pt x="2340" y="282773"/>
                  </a:cubicBezTo>
                  <a:cubicBezTo>
                    <a:pt x="7373" y="290828"/>
                    <a:pt x="20767" y="293635"/>
                    <a:pt x="22269" y="302526"/>
                  </a:cubicBezTo>
                  <a:cubicBezTo>
                    <a:pt x="23324" y="308709"/>
                    <a:pt x="34771" y="321444"/>
                    <a:pt x="44269" y="325622"/>
                  </a:cubicBezTo>
                  <a:cubicBezTo>
                    <a:pt x="56648" y="331070"/>
                    <a:pt x="45080" y="339893"/>
                    <a:pt x="52387" y="342801"/>
                  </a:cubicBezTo>
                  <a:cubicBezTo>
                    <a:pt x="66349" y="348350"/>
                    <a:pt x="53726" y="353330"/>
                    <a:pt x="60910" y="360783"/>
                  </a:cubicBezTo>
                  <a:cubicBezTo>
                    <a:pt x="64076" y="364126"/>
                    <a:pt x="89729" y="361151"/>
                    <a:pt x="94559" y="360148"/>
                  </a:cubicBezTo>
                  <a:cubicBezTo>
                    <a:pt x="105518" y="357875"/>
                    <a:pt x="93707" y="349219"/>
                    <a:pt x="104504" y="347447"/>
                  </a:cubicBezTo>
                  <a:cubicBezTo>
                    <a:pt x="117614" y="345275"/>
                    <a:pt x="121024" y="340462"/>
                    <a:pt x="138234" y="344506"/>
                  </a:cubicBezTo>
                  <a:cubicBezTo>
                    <a:pt x="158001" y="349252"/>
                    <a:pt x="150411" y="336016"/>
                    <a:pt x="160112" y="334713"/>
                  </a:cubicBezTo>
                  <a:cubicBezTo>
                    <a:pt x="167824" y="333677"/>
                    <a:pt x="166525" y="343670"/>
                    <a:pt x="175130" y="337721"/>
                  </a:cubicBezTo>
                  <a:cubicBezTo>
                    <a:pt x="177646" y="335983"/>
                    <a:pt x="195628" y="321210"/>
                    <a:pt x="190514" y="319538"/>
                  </a:cubicBezTo>
                  <a:cubicBezTo>
                    <a:pt x="186170" y="318168"/>
                    <a:pt x="173669" y="328329"/>
                    <a:pt x="171152" y="326223"/>
                  </a:cubicBezTo>
                  <a:cubicBezTo>
                    <a:pt x="166687" y="322212"/>
                    <a:pt x="176632" y="314525"/>
                    <a:pt x="178499" y="310648"/>
                  </a:cubicBezTo>
                  <a:cubicBezTo>
                    <a:pt x="181909" y="303562"/>
                    <a:pt x="179920" y="296008"/>
                    <a:pt x="183167" y="288956"/>
                  </a:cubicBezTo>
                  <a:cubicBezTo>
                    <a:pt x="187510" y="279597"/>
                    <a:pt x="201635" y="280567"/>
                    <a:pt x="215638" y="276455"/>
                  </a:cubicBezTo>
                  <a:cubicBezTo>
                    <a:pt x="230616" y="272077"/>
                    <a:pt x="227815" y="266729"/>
                    <a:pt x="236583" y="261682"/>
                  </a:cubicBezTo>
                  <a:cubicBezTo>
                    <a:pt x="241210" y="259042"/>
                    <a:pt x="257487" y="254998"/>
                    <a:pt x="253671" y="250485"/>
                  </a:cubicBezTo>
                  <a:cubicBezTo>
                    <a:pt x="248475" y="244402"/>
                    <a:pt x="236015" y="238720"/>
                    <a:pt x="225989" y="234542"/>
                  </a:cubicBezTo>
                  <a:cubicBezTo>
                    <a:pt x="217303" y="230932"/>
                    <a:pt x="198834" y="233640"/>
                    <a:pt x="199037" y="227523"/>
                  </a:cubicBezTo>
                  <a:cubicBezTo>
                    <a:pt x="199281" y="219769"/>
                    <a:pt x="190635" y="210578"/>
                    <a:pt x="199037" y="203592"/>
                  </a:cubicBezTo>
                  <a:cubicBezTo>
                    <a:pt x="206465" y="197342"/>
                    <a:pt x="204476" y="188117"/>
                    <a:pt x="212513" y="182903"/>
                  </a:cubicBezTo>
                  <a:cubicBezTo>
                    <a:pt x="220550" y="177689"/>
                    <a:pt x="236867" y="175483"/>
                    <a:pt x="243686" y="170269"/>
                  </a:cubicBezTo>
                  <a:cubicBezTo>
                    <a:pt x="262235" y="155897"/>
                    <a:pt x="299538" y="152253"/>
                    <a:pt x="327829" y="142895"/>
                  </a:cubicBezTo>
                  <a:cubicBezTo>
                    <a:pt x="335947" y="140221"/>
                    <a:pt x="351817" y="135943"/>
                    <a:pt x="345891" y="129960"/>
                  </a:cubicBezTo>
                  <a:cubicBezTo>
                    <a:pt x="334648" y="118529"/>
                    <a:pt x="349585" y="122005"/>
                    <a:pt x="352426" y="111677"/>
                  </a:cubicBezTo>
                  <a:cubicBezTo>
                    <a:pt x="356932" y="94965"/>
                    <a:pt x="409252" y="93127"/>
                    <a:pt x="437015" y="97706"/>
                  </a:cubicBezTo>
                  <a:cubicBezTo>
                    <a:pt x="437137" y="94457"/>
                    <a:pt x="435554" y="91322"/>
                    <a:pt x="432672" y="89116"/>
                  </a:cubicBezTo>
                  <a:close/>
                  <a:moveTo>
                    <a:pt x="248638" y="304531"/>
                  </a:moveTo>
                  <a:cubicBezTo>
                    <a:pt x="229561" y="304297"/>
                    <a:pt x="220225" y="322914"/>
                    <a:pt x="224812" y="326123"/>
                  </a:cubicBezTo>
                  <a:cubicBezTo>
                    <a:pt x="228668" y="328730"/>
                    <a:pt x="267634" y="304799"/>
                    <a:pt x="248638" y="30453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60F2A4A7-F856-491E-BF88-4056860C01C2}"/>
                </a:ext>
              </a:extLst>
            </p:cNvPr>
            <p:cNvSpPr/>
            <p:nvPr/>
          </p:nvSpPr>
          <p:spPr>
            <a:xfrm>
              <a:off x="6485433" y="3690407"/>
              <a:ext cx="205999" cy="54197"/>
            </a:xfrm>
            <a:custGeom>
              <a:avLst/>
              <a:gdLst>
                <a:gd name="connsiteX0" fmla="*/ 195730 w 205999"/>
                <a:gd name="connsiteY0" fmla="*/ 16591 h 54197"/>
                <a:gd name="connsiteX1" fmla="*/ 203604 w 205999"/>
                <a:gd name="connsiteY1" fmla="*/ 5795 h 54197"/>
                <a:gd name="connsiteX2" fmla="*/ 138376 w 205999"/>
                <a:gd name="connsiteY2" fmla="*/ 414 h 54197"/>
                <a:gd name="connsiteX3" fmla="*/ 71444 w 205999"/>
                <a:gd name="connsiteY3" fmla="*/ 2587 h 54197"/>
                <a:gd name="connsiteX4" fmla="*/ 46157 w 205999"/>
                <a:gd name="connsiteY4" fmla="*/ 9271 h 54197"/>
                <a:gd name="connsiteX5" fmla="*/ 50581 w 205999"/>
                <a:gd name="connsiteY5" fmla="*/ 20502 h 54197"/>
                <a:gd name="connsiteX6" fmla="*/ 78994 w 205999"/>
                <a:gd name="connsiteY6" fmla="*/ 37815 h 54197"/>
                <a:gd name="connsiteX7" fmla="*/ 131314 w 205999"/>
                <a:gd name="connsiteY7" fmla="*/ 46037 h 54197"/>
                <a:gd name="connsiteX8" fmla="*/ 180914 w 205999"/>
                <a:gd name="connsiteY8" fmla="*/ 53858 h 54197"/>
                <a:gd name="connsiteX9" fmla="*/ 188140 w 205999"/>
                <a:gd name="connsiteY9" fmla="*/ 40823 h 54197"/>
                <a:gd name="connsiteX10" fmla="*/ 195852 w 205999"/>
                <a:gd name="connsiteY10" fmla="*/ 16625 h 54197"/>
                <a:gd name="connsiteX11" fmla="*/ 17135 w 205999"/>
                <a:gd name="connsiteY11" fmla="*/ 20234 h 54197"/>
                <a:gd name="connsiteX12" fmla="*/ 12791 w 205999"/>
                <a:gd name="connsiteY12" fmla="*/ 33035 h 54197"/>
                <a:gd name="connsiteX13" fmla="*/ 17135 w 205999"/>
                <a:gd name="connsiteY13" fmla="*/ 20234 h 54197"/>
                <a:gd name="connsiteX14" fmla="*/ 32640 w 205999"/>
                <a:gd name="connsiteY14" fmla="*/ 13550 h 54197"/>
                <a:gd name="connsiteX15" fmla="*/ 10965 w 205999"/>
                <a:gd name="connsiteY15" fmla="*/ 13984 h 54197"/>
                <a:gd name="connsiteX16" fmla="*/ 32559 w 205999"/>
                <a:gd name="connsiteY16" fmla="*/ 13516 h 5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5999" h="54197">
                  <a:moveTo>
                    <a:pt x="195730" y="16591"/>
                  </a:moveTo>
                  <a:cubicBezTo>
                    <a:pt x="200113" y="12447"/>
                    <a:pt x="210586" y="11678"/>
                    <a:pt x="203604" y="5795"/>
                  </a:cubicBezTo>
                  <a:cubicBezTo>
                    <a:pt x="187368" y="11477"/>
                    <a:pt x="156398" y="1316"/>
                    <a:pt x="138376" y="414"/>
                  </a:cubicBezTo>
                  <a:cubicBezTo>
                    <a:pt x="119299" y="-555"/>
                    <a:pt x="88654" y="-1224"/>
                    <a:pt x="71444" y="2587"/>
                  </a:cubicBezTo>
                  <a:cubicBezTo>
                    <a:pt x="62798" y="4258"/>
                    <a:pt x="54356" y="6491"/>
                    <a:pt x="46157" y="9271"/>
                  </a:cubicBezTo>
                  <a:cubicBezTo>
                    <a:pt x="43924" y="10140"/>
                    <a:pt x="50216" y="18095"/>
                    <a:pt x="50581" y="20502"/>
                  </a:cubicBezTo>
                  <a:cubicBezTo>
                    <a:pt x="52732" y="31498"/>
                    <a:pt x="96041" y="29493"/>
                    <a:pt x="78994" y="37815"/>
                  </a:cubicBezTo>
                  <a:cubicBezTo>
                    <a:pt x="103916" y="37815"/>
                    <a:pt x="112236" y="38417"/>
                    <a:pt x="131314" y="46037"/>
                  </a:cubicBezTo>
                  <a:cubicBezTo>
                    <a:pt x="146535" y="52120"/>
                    <a:pt x="162690" y="51652"/>
                    <a:pt x="180914" y="53858"/>
                  </a:cubicBezTo>
                  <a:cubicBezTo>
                    <a:pt x="175476" y="45503"/>
                    <a:pt x="199058" y="51051"/>
                    <a:pt x="188140" y="40823"/>
                  </a:cubicBezTo>
                  <a:cubicBezTo>
                    <a:pt x="177221" y="30596"/>
                    <a:pt x="187449" y="24512"/>
                    <a:pt x="195852" y="16625"/>
                  </a:cubicBezTo>
                  <a:close/>
                  <a:moveTo>
                    <a:pt x="17135" y="20234"/>
                  </a:moveTo>
                  <a:cubicBezTo>
                    <a:pt x="1427" y="21805"/>
                    <a:pt x="-10020" y="38651"/>
                    <a:pt x="12791" y="33035"/>
                  </a:cubicBezTo>
                  <a:cubicBezTo>
                    <a:pt x="29271" y="29025"/>
                    <a:pt x="56304" y="16324"/>
                    <a:pt x="17135" y="20234"/>
                  </a:cubicBezTo>
                  <a:close/>
                  <a:moveTo>
                    <a:pt x="32640" y="13550"/>
                  </a:moveTo>
                  <a:cubicBezTo>
                    <a:pt x="36943" y="9940"/>
                    <a:pt x="3740" y="10207"/>
                    <a:pt x="10965" y="13984"/>
                  </a:cubicBezTo>
                  <a:cubicBezTo>
                    <a:pt x="16283" y="16691"/>
                    <a:pt x="28256" y="17126"/>
                    <a:pt x="32559" y="1351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60E52B42-D2EA-4F31-B566-CED0DC2B9E87}"/>
                </a:ext>
              </a:extLst>
            </p:cNvPr>
            <p:cNvSpPr/>
            <p:nvPr/>
          </p:nvSpPr>
          <p:spPr>
            <a:xfrm>
              <a:off x="6740807" y="4790963"/>
              <a:ext cx="238344" cy="176141"/>
            </a:xfrm>
            <a:custGeom>
              <a:avLst/>
              <a:gdLst>
                <a:gd name="connsiteX0" fmla="*/ 208168 w 238344"/>
                <a:gd name="connsiteY0" fmla="*/ 52804 h 176141"/>
                <a:gd name="connsiteX1" fmla="*/ 238285 w 238344"/>
                <a:gd name="connsiteY1" fmla="*/ 31614 h 176141"/>
                <a:gd name="connsiteX2" fmla="*/ 213526 w 238344"/>
                <a:gd name="connsiteY2" fmla="*/ 30410 h 176141"/>
                <a:gd name="connsiteX3" fmla="*/ 192216 w 238344"/>
                <a:gd name="connsiteY3" fmla="*/ 27068 h 176141"/>
                <a:gd name="connsiteX4" fmla="*/ 167862 w 238344"/>
                <a:gd name="connsiteY4" fmla="*/ 35691 h 176141"/>
                <a:gd name="connsiteX5" fmla="*/ 147567 w 238344"/>
                <a:gd name="connsiteY5" fmla="*/ 31213 h 176141"/>
                <a:gd name="connsiteX6" fmla="*/ 102350 w 238344"/>
                <a:gd name="connsiteY6" fmla="*/ 14768 h 176141"/>
                <a:gd name="connsiteX7" fmla="*/ 77063 w 238344"/>
                <a:gd name="connsiteY7" fmla="*/ 9688 h 176141"/>
                <a:gd name="connsiteX8" fmla="*/ 53967 w 238344"/>
                <a:gd name="connsiteY8" fmla="*/ 764 h 176141"/>
                <a:gd name="connsiteX9" fmla="*/ 13661 w 238344"/>
                <a:gd name="connsiteY9" fmla="*/ 9788 h 176141"/>
                <a:gd name="connsiteX10" fmla="*/ 24864 w 238344"/>
                <a:gd name="connsiteY10" fmla="*/ 17242 h 176141"/>
                <a:gd name="connsiteX11" fmla="*/ 26853 w 238344"/>
                <a:gd name="connsiteY11" fmla="*/ 27035 h 176141"/>
                <a:gd name="connsiteX12" fmla="*/ 34241 w 238344"/>
                <a:gd name="connsiteY12" fmla="*/ 34789 h 176141"/>
                <a:gd name="connsiteX13" fmla="*/ 36351 w 238344"/>
                <a:gd name="connsiteY13" fmla="*/ 45986 h 176141"/>
                <a:gd name="connsiteX14" fmla="*/ 4326 w 238344"/>
                <a:gd name="connsiteY14" fmla="*/ 79410 h 176141"/>
                <a:gd name="connsiteX15" fmla="*/ 2702 w 238344"/>
                <a:gd name="connsiteY15" fmla="*/ 98962 h 176141"/>
                <a:gd name="connsiteX16" fmla="*/ 55469 w 238344"/>
                <a:gd name="connsiteY16" fmla="*/ 121189 h 176141"/>
                <a:gd name="connsiteX17" fmla="*/ 101173 w 238344"/>
                <a:gd name="connsiteY17" fmla="*/ 140876 h 176141"/>
                <a:gd name="connsiteX18" fmla="*/ 99387 w 238344"/>
                <a:gd name="connsiteY18" fmla="*/ 151738 h 176141"/>
                <a:gd name="connsiteX19" fmla="*/ 142006 w 238344"/>
                <a:gd name="connsiteY19" fmla="*/ 175803 h 176141"/>
                <a:gd name="connsiteX20" fmla="*/ 167943 w 238344"/>
                <a:gd name="connsiteY20" fmla="*/ 147460 h 176141"/>
                <a:gd name="connsiteX21" fmla="*/ 193271 w 238344"/>
                <a:gd name="connsiteY21" fmla="*/ 134625 h 176141"/>
                <a:gd name="connsiteX22" fmla="*/ 211536 w 238344"/>
                <a:gd name="connsiteY22" fmla="*/ 127740 h 176141"/>
                <a:gd name="connsiteX23" fmla="*/ 200374 w 238344"/>
                <a:gd name="connsiteY23" fmla="*/ 113468 h 176141"/>
                <a:gd name="connsiteX24" fmla="*/ 208168 w 238344"/>
                <a:gd name="connsiteY24" fmla="*/ 52804 h 17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8344" h="176141">
                  <a:moveTo>
                    <a:pt x="208168" y="52804"/>
                  </a:moveTo>
                  <a:cubicBezTo>
                    <a:pt x="218031" y="45618"/>
                    <a:pt x="228016" y="38566"/>
                    <a:pt x="238285" y="31614"/>
                  </a:cubicBezTo>
                  <a:cubicBezTo>
                    <a:pt x="230857" y="31814"/>
                    <a:pt x="220101" y="34288"/>
                    <a:pt x="213526" y="30410"/>
                  </a:cubicBezTo>
                  <a:cubicBezTo>
                    <a:pt x="205773" y="25831"/>
                    <a:pt x="203784" y="25163"/>
                    <a:pt x="192216" y="27068"/>
                  </a:cubicBezTo>
                  <a:cubicBezTo>
                    <a:pt x="182149" y="28639"/>
                    <a:pt x="177035" y="33753"/>
                    <a:pt x="167862" y="35691"/>
                  </a:cubicBezTo>
                  <a:cubicBezTo>
                    <a:pt x="164493" y="36427"/>
                    <a:pt x="151139" y="31881"/>
                    <a:pt x="147567" y="31213"/>
                  </a:cubicBezTo>
                  <a:cubicBezTo>
                    <a:pt x="129383" y="27870"/>
                    <a:pt x="115826" y="23893"/>
                    <a:pt x="102350" y="14768"/>
                  </a:cubicBezTo>
                  <a:cubicBezTo>
                    <a:pt x="96465" y="10758"/>
                    <a:pt x="84775" y="11025"/>
                    <a:pt x="77063" y="9688"/>
                  </a:cubicBezTo>
                  <a:cubicBezTo>
                    <a:pt x="68052" y="8117"/>
                    <a:pt x="62166" y="2602"/>
                    <a:pt x="53967" y="764"/>
                  </a:cubicBezTo>
                  <a:cubicBezTo>
                    <a:pt x="35742" y="-3314"/>
                    <a:pt x="25798" y="4875"/>
                    <a:pt x="13661" y="9788"/>
                  </a:cubicBezTo>
                  <a:cubicBezTo>
                    <a:pt x="13661" y="11392"/>
                    <a:pt x="22916" y="15938"/>
                    <a:pt x="24864" y="17242"/>
                  </a:cubicBezTo>
                  <a:cubicBezTo>
                    <a:pt x="27746" y="19180"/>
                    <a:pt x="26569" y="24628"/>
                    <a:pt x="26853" y="27035"/>
                  </a:cubicBezTo>
                  <a:cubicBezTo>
                    <a:pt x="27300" y="30979"/>
                    <a:pt x="29451" y="31681"/>
                    <a:pt x="34241" y="34789"/>
                  </a:cubicBezTo>
                  <a:cubicBezTo>
                    <a:pt x="39842" y="38432"/>
                    <a:pt x="37569" y="41106"/>
                    <a:pt x="36351" y="45986"/>
                  </a:cubicBezTo>
                  <a:cubicBezTo>
                    <a:pt x="32779" y="60458"/>
                    <a:pt x="13864" y="67043"/>
                    <a:pt x="4326" y="79410"/>
                  </a:cubicBezTo>
                  <a:cubicBezTo>
                    <a:pt x="49340" y="89971"/>
                    <a:pt x="-13574" y="92177"/>
                    <a:pt x="2702" y="98962"/>
                  </a:cubicBezTo>
                  <a:cubicBezTo>
                    <a:pt x="20318" y="106315"/>
                    <a:pt x="37894" y="113725"/>
                    <a:pt x="55469" y="121189"/>
                  </a:cubicBezTo>
                  <a:cubicBezTo>
                    <a:pt x="70771" y="127717"/>
                    <a:pt x="85993" y="134281"/>
                    <a:pt x="101173" y="140876"/>
                  </a:cubicBezTo>
                  <a:cubicBezTo>
                    <a:pt x="104014" y="142112"/>
                    <a:pt x="96181" y="149900"/>
                    <a:pt x="99387" y="151738"/>
                  </a:cubicBezTo>
                  <a:cubicBezTo>
                    <a:pt x="113513" y="159827"/>
                    <a:pt x="127719" y="167848"/>
                    <a:pt x="142006" y="175803"/>
                  </a:cubicBezTo>
                  <a:cubicBezTo>
                    <a:pt x="150124" y="166144"/>
                    <a:pt x="158648" y="156651"/>
                    <a:pt x="167943" y="147460"/>
                  </a:cubicBezTo>
                  <a:cubicBezTo>
                    <a:pt x="174965" y="140575"/>
                    <a:pt x="184504" y="139739"/>
                    <a:pt x="193271" y="134625"/>
                  </a:cubicBezTo>
                  <a:cubicBezTo>
                    <a:pt x="196072" y="132987"/>
                    <a:pt x="215799" y="133088"/>
                    <a:pt x="211536" y="127740"/>
                  </a:cubicBezTo>
                  <a:cubicBezTo>
                    <a:pt x="208898" y="124398"/>
                    <a:pt x="199928" y="116944"/>
                    <a:pt x="200374" y="113468"/>
                  </a:cubicBezTo>
                  <a:cubicBezTo>
                    <a:pt x="202972" y="93237"/>
                    <a:pt x="205570" y="73015"/>
                    <a:pt x="208168" y="5280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70CDE094-A778-474B-81AA-8433B2FC1B0B}"/>
                </a:ext>
              </a:extLst>
            </p:cNvPr>
            <p:cNvSpPr/>
            <p:nvPr/>
          </p:nvSpPr>
          <p:spPr>
            <a:xfrm>
              <a:off x="6618227" y="4801043"/>
              <a:ext cx="160371" cy="86995"/>
            </a:xfrm>
            <a:custGeom>
              <a:avLst/>
              <a:gdLst>
                <a:gd name="connsiteX0" fmla="*/ 149919 w 160371"/>
                <a:gd name="connsiteY0" fmla="*/ 20097 h 86995"/>
                <a:gd name="connsiteX1" fmla="*/ 147565 w 160371"/>
                <a:gd name="connsiteY1" fmla="*/ 7095 h 86995"/>
                <a:gd name="connsiteX2" fmla="*/ 137255 w 160371"/>
                <a:gd name="connsiteY2" fmla="*/ 243 h 86995"/>
                <a:gd name="connsiteX3" fmla="*/ 123699 w 160371"/>
                <a:gd name="connsiteY3" fmla="*/ 5691 h 86995"/>
                <a:gd name="connsiteX4" fmla="*/ 87168 w 160371"/>
                <a:gd name="connsiteY4" fmla="*/ 6460 h 86995"/>
                <a:gd name="connsiteX5" fmla="*/ 73935 w 160371"/>
                <a:gd name="connsiteY5" fmla="*/ 2215 h 86995"/>
                <a:gd name="connsiteX6" fmla="*/ 54087 w 160371"/>
                <a:gd name="connsiteY6" fmla="*/ 2950 h 86995"/>
                <a:gd name="connsiteX7" fmla="*/ 44305 w 160371"/>
                <a:gd name="connsiteY7" fmla="*/ 18292 h 86995"/>
                <a:gd name="connsiteX8" fmla="*/ 52870 w 160371"/>
                <a:gd name="connsiteY8" fmla="*/ 27216 h 86995"/>
                <a:gd name="connsiteX9" fmla="*/ 41707 w 160371"/>
                <a:gd name="connsiteY9" fmla="*/ 37243 h 86995"/>
                <a:gd name="connsiteX10" fmla="*/ 15405 w 160371"/>
                <a:gd name="connsiteY10" fmla="*/ 53286 h 86995"/>
                <a:gd name="connsiteX11" fmla="*/ 6800 w 160371"/>
                <a:gd name="connsiteY11" fmla="*/ 69196 h 86995"/>
                <a:gd name="connsiteX12" fmla="*/ -60 w 160371"/>
                <a:gd name="connsiteY12" fmla="*/ 86309 h 86995"/>
                <a:gd name="connsiteX13" fmla="*/ 44346 w 160371"/>
                <a:gd name="connsiteY13" fmla="*/ 82365 h 86995"/>
                <a:gd name="connsiteX14" fmla="*/ 65128 w 160371"/>
                <a:gd name="connsiteY14" fmla="*/ 82766 h 86995"/>
                <a:gd name="connsiteX15" fmla="*/ 89482 w 160371"/>
                <a:gd name="connsiteY15" fmla="*/ 65887 h 86995"/>
                <a:gd name="connsiteX16" fmla="*/ 126743 w 160371"/>
                <a:gd name="connsiteY16" fmla="*/ 69229 h 86995"/>
                <a:gd name="connsiteX17" fmla="*/ 148824 w 160371"/>
                <a:gd name="connsiteY17" fmla="*/ 51247 h 86995"/>
                <a:gd name="connsiteX18" fmla="*/ 160270 w 160371"/>
                <a:gd name="connsiteY18" fmla="*/ 28252 h 86995"/>
                <a:gd name="connsiteX19" fmla="*/ 149919 w 160371"/>
                <a:gd name="connsiteY19" fmla="*/ 20097 h 8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0371" h="86995">
                  <a:moveTo>
                    <a:pt x="149919" y="20097"/>
                  </a:moveTo>
                  <a:cubicBezTo>
                    <a:pt x="149554" y="16955"/>
                    <a:pt x="151137" y="9501"/>
                    <a:pt x="147565" y="7095"/>
                  </a:cubicBezTo>
                  <a:lnTo>
                    <a:pt x="137255" y="243"/>
                  </a:lnTo>
                  <a:cubicBezTo>
                    <a:pt x="133196" y="-2464"/>
                    <a:pt x="127230" y="5123"/>
                    <a:pt x="123699" y="5691"/>
                  </a:cubicBezTo>
                  <a:cubicBezTo>
                    <a:pt x="112131" y="7563"/>
                    <a:pt x="97600" y="-1261"/>
                    <a:pt x="87168" y="6460"/>
                  </a:cubicBezTo>
                  <a:cubicBezTo>
                    <a:pt x="84814" y="8231"/>
                    <a:pt x="75884" y="2850"/>
                    <a:pt x="73935" y="2215"/>
                  </a:cubicBezTo>
                  <a:cubicBezTo>
                    <a:pt x="68172" y="310"/>
                    <a:pt x="59770" y="2215"/>
                    <a:pt x="54087" y="2950"/>
                  </a:cubicBezTo>
                  <a:cubicBezTo>
                    <a:pt x="44102" y="4287"/>
                    <a:pt x="44874" y="12510"/>
                    <a:pt x="44305" y="18292"/>
                  </a:cubicBezTo>
                  <a:cubicBezTo>
                    <a:pt x="43899" y="22370"/>
                    <a:pt x="53235" y="23439"/>
                    <a:pt x="52870" y="27216"/>
                  </a:cubicBezTo>
                  <a:cubicBezTo>
                    <a:pt x="52585" y="29723"/>
                    <a:pt x="44995" y="35672"/>
                    <a:pt x="41707" y="37243"/>
                  </a:cubicBezTo>
                  <a:cubicBezTo>
                    <a:pt x="31316" y="42156"/>
                    <a:pt x="19342" y="43928"/>
                    <a:pt x="15405" y="53286"/>
                  </a:cubicBezTo>
                  <a:cubicBezTo>
                    <a:pt x="13132" y="58734"/>
                    <a:pt x="8627" y="63648"/>
                    <a:pt x="6800" y="69196"/>
                  </a:cubicBezTo>
                  <a:cubicBezTo>
                    <a:pt x="4974" y="74744"/>
                    <a:pt x="6800" y="81997"/>
                    <a:pt x="-60" y="86309"/>
                  </a:cubicBezTo>
                  <a:cubicBezTo>
                    <a:pt x="14634" y="88147"/>
                    <a:pt x="29409" y="82097"/>
                    <a:pt x="44346" y="82365"/>
                  </a:cubicBezTo>
                  <a:lnTo>
                    <a:pt x="65128" y="82766"/>
                  </a:lnTo>
                  <a:cubicBezTo>
                    <a:pt x="70729" y="82766"/>
                    <a:pt x="78400" y="67057"/>
                    <a:pt x="89482" y="65887"/>
                  </a:cubicBezTo>
                  <a:cubicBezTo>
                    <a:pt x="102064" y="65005"/>
                    <a:pt x="114688" y="66141"/>
                    <a:pt x="126743" y="69229"/>
                  </a:cubicBezTo>
                  <a:cubicBezTo>
                    <a:pt x="132507" y="61742"/>
                    <a:pt x="140990" y="57665"/>
                    <a:pt x="148824" y="51247"/>
                  </a:cubicBezTo>
                  <a:cubicBezTo>
                    <a:pt x="156657" y="44830"/>
                    <a:pt x="159012" y="36708"/>
                    <a:pt x="160270" y="28252"/>
                  </a:cubicBezTo>
                  <a:cubicBezTo>
                    <a:pt x="160960" y="25511"/>
                    <a:pt x="153045" y="22136"/>
                    <a:pt x="149919" y="2009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822B04E9-153D-40C4-B349-00CD0B2F1E4F}"/>
                </a:ext>
              </a:extLst>
            </p:cNvPr>
            <p:cNvSpPr/>
            <p:nvPr/>
          </p:nvSpPr>
          <p:spPr>
            <a:xfrm>
              <a:off x="7543958" y="4132244"/>
              <a:ext cx="538747" cy="228958"/>
            </a:xfrm>
            <a:custGeom>
              <a:avLst/>
              <a:gdLst>
                <a:gd name="connsiteX0" fmla="*/ 535157 w 538747"/>
                <a:gd name="connsiteY0" fmla="*/ 187074 h 228958"/>
                <a:gd name="connsiteX1" fmla="*/ 506460 w 538747"/>
                <a:gd name="connsiteY1" fmla="*/ 169460 h 228958"/>
                <a:gd name="connsiteX2" fmla="*/ 486733 w 538747"/>
                <a:gd name="connsiteY2" fmla="*/ 168557 h 228958"/>
                <a:gd name="connsiteX3" fmla="*/ 465789 w 538747"/>
                <a:gd name="connsiteY3" fmla="*/ 157461 h 228958"/>
                <a:gd name="connsiteX4" fmla="*/ 425199 w 538747"/>
                <a:gd name="connsiteY4" fmla="*/ 152648 h 228958"/>
                <a:gd name="connsiteX5" fmla="*/ 404174 w 538747"/>
                <a:gd name="connsiteY5" fmla="*/ 160068 h 228958"/>
                <a:gd name="connsiteX6" fmla="*/ 385868 w 538747"/>
                <a:gd name="connsiteY6" fmla="*/ 151478 h 228958"/>
                <a:gd name="connsiteX7" fmla="*/ 354613 w 538747"/>
                <a:gd name="connsiteY7" fmla="*/ 140883 h 228958"/>
                <a:gd name="connsiteX8" fmla="*/ 333872 w 538747"/>
                <a:gd name="connsiteY8" fmla="*/ 122466 h 228958"/>
                <a:gd name="connsiteX9" fmla="*/ 332046 w 538747"/>
                <a:gd name="connsiteY9" fmla="*/ 102746 h 228958"/>
                <a:gd name="connsiteX10" fmla="*/ 309477 w 538747"/>
                <a:gd name="connsiteY10" fmla="*/ 84263 h 228958"/>
                <a:gd name="connsiteX11" fmla="*/ 251516 w 538747"/>
                <a:gd name="connsiteY11" fmla="*/ 71696 h 228958"/>
                <a:gd name="connsiteX12" fmla="*/ 204472 w 538747"/>
                <a:gd name="connsiteY12" fmla="*/ 65011 h 228958"/>
                <a:gd name="connsiteX13" fmla="*/ 168753 w 538747"/>
                <a:gd name="connsiteY13" fmla="*/ 34930 h 228958"/>
                <a:gd name="connsiteX14" fmla="*/ 117691 w 538747"/>
                <a:gd name="connsiteY14" fmla="*/ 33426 h 228958"/>
                <a:gd name="connsiteX15" fmla="*/ 119396 w 538747"/>
                <a:gd name="connsiteY15" fmla="*/ 6052 h 228958"/>
                <a:gd name="connsiteX16" fmla="*/ 105149 w 538747"/>
                <a:gd name="connsiteY16" fmla="*/ 27577 h 228958"/>
                <a:gd name="connsiteX17" fmla="*/ 104824 w 538747"/>
                <a:gd name="connsiteY17" fmla="*/ 1439 h 228958"/>
                <a:gd name="connsiteX18" fmla="*/ 41382 w 538747"/>
                <a:gd name="connsiteY18" fmla="*/ -64 h 228958"/>
                <a:gd name="connsiteX19" fmla="*/ 18936 w 538747"/>
                <a:gd name="connsiteY19" fmla="*/ 8358 h 228958"/>
                <a:gd name="connsiteX20" fmla="*/ 7084 w 538747"/>
                <a:gd name="connsiteY20" fmla="*/ 49402 h 228958"/>
                <a:gd name="connsiteX21" fmla="*/ -60 w 538747"/>
                <a:gd name="connsiteY21" fmla="*/ 73100 h 228958"/>
                <a:gd name="connsiteX22" fmla="*/ 32128 w 538747"/>
                <a:gd name="connsiteY22" fmla="*/ 78581 h 228958"/>
                <a:gd name="connsiteX23" fmla="*/ 46619 w 538747"/>
                <a:gd name="connsiteY23" fmla="*/ 68019 h 228958"/>
                <a:gd name="connsiteX24" fmla="*/ 68699 w 538747"/>
                <a:gd name="connsiteY24" fmla="*/ 65479 h 228958"/>
                <a:gd name="connsiteX25" fmla="*/ 88994 w 538747"/>
                <a:gd name="connsiteY25" fmla="*/ 61802 h 228958"/>
                <a:gd name="connsiteX26" fmla="*/ 111643 w 538747"/>
                <a:gd name="connsiteY26" fmla="*/ 71328 h 228958"/>
                <a:gd name="connsiteX27" fmla="*/ 136443 w 538747"/>
                <a:gd name="connsiteY27" fmla="*/ 84063 h 228958"/>
                <a:gd name="connsiteX28" fmla="*/ 160229 w 538747"/>
                <a:gd name="connsiteY28" fmla="*/ 103883 h 228958"/>
                <a:gd name="connsiteX29" fmla="*/ 182756 w 538747"/>
                <a:gd name="connsiteY29" fmla="*/ 108395 h 228958"/>
                <a:gd name="connsiteX30" fmla="*/ 198992 w 538747"/>
                <a:gd name="connsiteY30" fmla="*/ 130321 h 228958"/>
                <a:gd name="connsiteX31" fmla="*/ 238405 w 538747"/>
                <a:gd name="connsiteY31" fmla="*/ 161973 h 228958"/>
                <a:gd name="connsiteX32" fmla="*/ 269213 w 538747"/>
                <a:gd name="connsiteY32" fmla="*/ 176947 h 228958"/>
                <a:gd name="connsiteX33" fmla="*/ 296733 w 538747"/>
                <a:gd name="connsiteY33" fmla="*/ 192556 h 228958"/>
                <a:gd name="connsiteX34" fmla="*/ 317312 w 538747"/>
                <a:gd name="connsiteY34" fmla="*/ 213145 h 228958"/>
                <a:gd name="connsiteX35" fmla="*/ 355628 w 538747"/>
                <a:gd name="connsiteY35" fmla="*/ 228620 h 228958"/>
                <a:gd name="connsiteX36" fmla="*/ 369672 w 538747"/>
                <a:gd name="connsiteY36" fmla="*/ 214883 h 228958"/>
                <a:gd name="connsiteX37" fmla="*/ 374381 w 538747"/>
                <a:gd name="connsiteY37" fmla="*/ 198505 h 228958"/>
                <a:gd name="connsiteX38" fmla="*/ 358997 w 538747"/>
                <a:gd name="connsiteY38" fmla="*/ 183799 h 228958"/>
                <a:gd name="connsiteX39" fmla="*/ 384894 w 538747"/>
                <a:gd name="connsiteY39" fmla="*/ 181793 h 228958"/>
                <a:gd name="connsiteX40" fmla="*/ 402996 w 538747"/>
                <a:gd name="connsiteY40" fmla="*/ 174774 h 228958"/>
                <a:gd name="connsiteX41" fmla="*/ 428487 w 538747"/>
                <a:gd name="connsiteY41" fmla="*/ 168491 h 228958"/>
                <a:gd name="connsiteX42" fmla="*/ 463962 w 538747"/>
                <a:gd name="connsiteY42" fmla="*/ 171365 h 228958"/>
                <a:gd name="connsiteX43" fmla="*/ 451785 w 538747"/>
                <a:gd name="connsiteY43" fmla="*/ 184367 h 228958"/>
                <a:gd name="connsiteX44" fmla="*/ 497124 w 538747"/>
                <a:gd name="connsiteY44" fmla="*/ 190082 h 228958"/>
                <a:gd name="connsiteX45" fmla="*/ 518759 w 538747"/>
                <a:gd name="connsiteY45" fmla="*/ 192455 h 228958"/>
                <a:gd name="connsiteX46" fmla="*/ 538688 w 538747"/>
                <a:gd name="connsiteY46" fmla="*/ 191419 h 228958"/>
                <a:gd name="connsiteX47" fmla="*/ 534994 w 538747"/>
                <a:gd name="connsiteY47" fmla="*/ 186974 h 22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8747" h="228958">
                  <a:moveTo>
                    <a:pt x="535157" y="187074"/>
                  </a:moveTo>
                  <a:cubicBezTo>
                    <a:pt x="526552" y="180219"/>
                    <a:pt x="516892" y="174300"/>
                    <a:pt x="506460" y="169460"/>
                  </a:cubicBezTo>
                  <a:cubicBezTo>
                    <a:pt x="495866" y="164680"/>
                    <a:pt x="496759" y="169460"/>
                    <a:pt x="486733" y="168557"/>
                  </a:cubicBezTo>
                  <a:cubicBezTo>
                    <a:pt x="474556" y="167388"/>
                    <a:pt x="471999" y="162541"/>
                    <a:pt x="465789" y="157461"/>
                  </a:cubicBezTo>
                  <a:cubicBezTo>
                    <a:pt x="456250" y="149707"/>
                    <a:pt x="436727" y="151411"/>
                    <a:pt x="425199" y="152648"/>
                  </a:cubicBezTo>
                  <a:cubicBezTo>
                    <a:pt x="413672" y="153885"/>
                    <a:pt x="411723" y="156726"/>
                    <a:pt x="404174" y="160068"/>
                  </a:cubicBezTo>
                  <a:cubicBezTo>
                    <a:pt x="391997" y="165482"/>
                    <a:pt x="392281" y="155322"/>
                    <a:pt x="385868" y="151478"/>
                  </a:cubicBezTo>
                  <a:cubicBezTo>
                    <a:pt x="376329" y="146381"/>
                    <a:pt x="365735" y="142788"/>
                    <a:pt x="354613" y="140883"/>
                  </a:cubicBezTo>
                  <a:cubicBezTo>
                    <a:pt x="339677" y="137808"/>
                    <a:pt x="339960" y="129820"/>
                    <a:pt x="333872" y="122466"/>
                  </a:cubicBezTo>
                  <a:cubicBezTo>
                    <a:pt x="327784" y="115113"/>
                    <a:pt x="332533" y="110100"/>
                    <a:pt x="332046" y="102746"/>
                  </a:cubicBezTo>
                  <a:cubicBezTo>
                    <a:pt x="331802" y="98702"/>
                    <a:pt x="315201" y="87672"/>
                    <a:pt x="309477" y="84263"/>
                  </a:cubicBezTo>
                  <a:cubicBezTo>
                    <a:pt x="298356" y="77579"/>
                    <a:pt x="265925" y="74905"/>
                    <a:pt x="251516" y="71696"/>
                  </a:cubicBezTo>
                  <a:cubicBezTo>
                    <a:pt x="235767" y="68153"/>
                    <a:pt x="219855" y="68354"/>
                    <a:pt x="204472" y="65011"/>
                  </a:cubicBezTo>
                  <a:cubicBezTo>
                    <a:pt x="194122" y="62705"/>
                    <a:pt x="177074" y="40712"/>
                    <a:pt x="168753" y="34930"/>
                  </a:cubicBezTo>
                  <a:cubicBezTo>
                    <a:pt x="162827" y="42016"/>
                    <a:pt x="112414" y="46695"/>
                    <a:pt x="117691" y="33426"/>
                  </a:cubicBezTo>
                  <a:cubicBezTo>
                    <a:pt x="118016" y="32624"/>
                    <a:pt x="140096" y="2008"/>
                    <a:pt x="119396" y="6052"/>
                  </a:cubicBezTo>
                  <a:cubicBezTo>
                    <a:pt x="106610" y="8559"/>
                    <a:pt x="114728" y="23198"/>
                    <a:pt x="105149" y="27577"/>
                  </a:cubicBezTo>
                  <a:cubicBezTo>
                    <a:pt x="96544" y="31521"/>
                    <a:pt x="101090" y="4749"/>
                    <a:pt x="104824" y="1439"/>
                  </a:cubicBezTo>
                  <a:cubicBezTo>
                    <a:pt x="83636" y="871"/>
                    <a:pt x="62530" y="370"/>
                    <a:pt x="41382" y="-64"/>
                  </a:cubicBezTo>
                  <a:cubicBezTo>
                    <a:pt x="21371" y="-465"/>
                    <a:pt x="21818" y="-1736"/>
                    <a:pt x="18936" y="8358"/>
                  </a:cubicBezTo>
                  <a:cubicBezTo>
                    <a:pt x="14958" y="22062"/>
                    <a:pt x="11021" y="35742"/>
                    <a:pt x="7084" y="49402"/>
                  </a:cubicBezTo>
                  <a:cubicBezTo>
                    <a:pt x="6029" y="53246"/>
                    <a:pt x="5907" y="71161"/>
                    <a:pt x="-60" y="73100"/>
                  </a:cubicBezTo>
                  <a:cubicBezTo>
                    <a:pt x="6029" y="75807"/>
                    <a:pt x="26567" y="83127"/>
                    <a:pt x="32128" y="78581"/>
                  </a:cubicBezTo>
                  <a:cubicBezTo>
                    <a:pt x="37689" y="74036"/>
                    <a:pt x="34239" y="69991"/>
                    <a:pt x="46619" y="68019"/>
                  </a:cubicBezTo>
                  <a:cubicBezTo>
                    <a:pt x="55102" y="66682"/>
                    <a:pt x="63991" y="70292"/>
                    <a:pt x="68699" y="65479"/>
                  </a:cubicBezTo>
                  <a:cubicBezTo>
                    <a:pt x="70688" y="63440"/>
                    <a:pt x="84367" y="61435"/>
                    <a:pt x="88994" y="61802"/>
                  </a:cubicBezTo>
                  <a:cubicBezTo>
                    <a:pt x="99060" y="62672"/>
                    <a:pt x="104297" y="68019"/>
                    <a:pt x="111643" y="71328"/>
                  </a:cubicBezTo>
                  <a:cubicBezTo>
                    <a:pt x="121994" y="75941"/>
                    <a:pt x="133805" y="76241"/>
                    <a:pt x="136443" y="84063"/>
                  </a:cubicBezTo>
                  <a:cubicBezTo>
                    <a:pt x="140868" y="97432"/>
                    <a:pt x="133034" y="98401"/>
                    <a:pt x="160229" y="103883"/>
                  </a:cubicBezTo>
                  <a:cubicBezTo>
                    <a:pt x="167657" y="105353"/>
                    <a:pt x="175531" y="106490"/>
                    <a:pt x="182756" y="108395"/>
                  </a:cubicBezTo>
                  <a:cubicBezTo>
                    <a:pt x="189981" y="110300"/>
                    <a:pt x="197085" y="126644"/>
                    <a:pt x="198992" y="130321"/>
                  </a:cubicBezTo>
                  <a:cubicBezTo>
                    <a:pt x="205568" y="141852"/>
                    <a:pt x="222981" y="152548"/>
                    <a:pt x="238405" y="161973"/>
                  </a:cubicBezTo>
                  <a:cubicBezTo>
                    <a:pt x="247741" y="167655"/>
                    <a:pt x="259877" y="171365"/>
                    <a:pt x="269213" y="176947"/>
                  </a:cubicBezTo>
                  <a:cubicBezTo>
                    <a:pt x="279401" y="182996"/>
                    <a:pt x="283866" y="188545"/>
                    <a:pt x="296733" y="192556"/>
                  </a:cubicBezTo>
                  <a:cubicBezTo>
                    <a:pt x="318002" y="199240"/>
                    <a:pt x="318164" y="202014"/>
                    <a:pt x="317312" y="213145"/>
                  </a:cubicBezTo>
                  <a:cubicBezTo>
                    <a:pt x="329935" y="214448"/>
                    <a:pt x="346252" y="222871"/>
                    <a:pt x="355628" y="228620"/>
                  </a:cubicBezTo>
                  <a:cubicBezTo>
                    <a:pt x="356805" y="222232"/>
                    <a:pt x="362244" y="216928"/>
                    <a:pt x="369672" y="214883"/>
                  </a:cubicBezTo>
                  <a:cubicBezTo>
                    <a:pt x="383473" y="210805"/>
                    <a:pt x="369672" y="205357"/>
                    <a:pt x="374381" y="198505"/>
                  </a:cubicBezTo>
                  <a:cubicBezTo>
                    <a:pt x="377709" y="193659"/>
                    <a:pt x="361757" y="188478"/>
                    <a:pt x="358997" y="183799"/>
                  </a:cubicBezTo>
                  <a:cubicBezTo>
                    <a:pt x="354938" y="177114"/>
                    <a:pt x="380144" y="181392"/>
                    <a:pt x="384894" y="181793"/>
                  </a:cubicBezTo>
                  <a:cubicBezTo>
                    <a:pt x="395731" y="182662"/>
                    <a:pt x="395771" y="173270"/>
                    <a:pt x="402996" y="174774"/>
                  </a:cubicBezTo>
                  <a:cubicBezTo>
                    <a:pt x="417040" y="177682"/>
                    <a:pt x="415945" y="165783"/>
                    <a:pt x="428487" y="168491"/>
                  </a:cubicBezTo>
                  <a:cubicBezTo>
                    <a:pt x="441029" y="171198"/>
                    <a:pt x="453287" y="168190"/>
                    <a:pt x="463962" y="171365"/>
                  </a:cubicBezTo>
                  <a:cubicBezTo>
                    <a:pt x="474637" y="174540"/>
                    <a:pt x="454789" y="182829"/>
                    <a:pt x="451785" y="184367"/>
                  </a:cubicBezTo>
                  <a:cubicBezTo>
                    <a:pt x="465505" y="187041"/>
                    <a:pt x="484988" y="186205"/>
                    <a:pt x="497124" y="190082"/>
                  </a:cubicBezTo>
                  <a:cubicBezTo>
                    <a:pt x="503862" y="192221"/>
                    <a:pt x="513360" y="195865"/>
                    <a:pt x="518759" y="192455"/>
                  </a:cubicBezTo>
                  <a:cubicBezTo>
                    <a:pt x="524157" y="189046"/>
                    <a:pt x="534994" y="193558"/>
                    <a:pt x="538688" y="191419"/>
                  </a:cubicBezTo>
                  <a:cubicBezTo>
                    <a:pt x="538688" y="189815"/>
                    <a:pt x="537592" y="188344"/>
                    <a:pt x="534994" y="1869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52240FBF-4F21-4C1B-BC22-C10D08C0656D}"/>
                </a:ext>
              </a:extLst>
            </p:cNvPr>
            <p:cNvSpPr/>
            <p:nvPr/>
          </p:nvSpPr>
          <p:spPr>
            <a:xfrm>
              <a:off x="5919452" y="3026621"/>
              <a:ext cx="906744" cy="691640"/>
            </a:xfrm>
            <a:custGeom>
              <a:avLst/>
              <a:gdLst>
                <a:gd name="connsiteX0" fmla="*/ 879299 w 906744"/>
                <a:gd name="connsiteY0" fmla="*/ 389425 h 691640"/>
                <a:gd name="connsiteX1" fmla="*/ 862333 w 906744"/>
                <a:gd name="connsiteY1" fmla="*/ 385748 h 691640"/>
                <a:gd name="connsiteX2" fmla="*/ 841307 w 906744"/>
                <a:gd name="connsiteY2" fmla="*/ 377626 h 691640"/>
                <a:gd name="connsiteX3" fmla="*/ 870492 w 906744"/>
                <a:gd name="connsiteY3" fmla="*/ 380969 h 691640"/>
                <a:gd name="connsiteX4" fmla="*/ 883115 w 906744"/>
                <a:gd name="connsiteY4" fmla="*/ 377626 h 691640"/>
                <a:gd name="connsiteX5" fmla="*/ 904465 w 906744"/>
                <a:gd name="connsiteY5" fmla="*/ 376222 h 691640"/>
                <a:gd name="connsiteX6" fmla="*/ 863876 w 906744"/>
                <a:gd name="connsiteY6" fmla="*/ 358876 h 691640"/>
                <a:gd name="connsiteX7" fmla="*/ 816548 w 906744"/>
                <a:gd name="connsiteY7" fmla="*/ 360747 h 691640"/>
                <a:gd name="connsiteX8" fmla="*/ 807943 w 906744"/>
                <a:gd name="connsiteY8" fmla="*/ 361750 h 691640"/>
                <a:gd name="connsiteX9" fmla="*/ 808470 w 906744"/>
                <a:gd name="connsiteY9" fmla="*/ 353661 h 691640"/>
                <a:gd name="connsiteX10" fmla="*/ 818496 w 906744"/>
                <a:gd name="connsiteY10" fmla="*/ 349885 h 691640"/>
                <a:gd name="connsiteX11" fmla="*/ 776121 w 906744"/>
                <a:gd name="connsiteY11" fmla="*/ 350319 h 691640"/>
                <a:gd name="connsiteX12" fmla="*/ 752781 w 906744"/>
                <a:gd name="connsiteY12" fmla="*/ 355266 h 691640"/>
                <a:gd name="connsiteX13" fmla="*/ 718320 w 906744"/>
                <a:gd name="connsiteY13" fmla="*/ 359644 h 691640"/>
                <a:gd name="connsiteX14" fmla="*/ 693642 w 906744"/>
                <a:gd name="connsiteY14" fmla="*/ 366697 h 691640"/>
                <a:gd name="connsiteX15" fmla="*/ 710162 w 906744"/>
                <a:gd name="connsiteY15" fmla="*/ 354731 h 691640"/>
                <a:gd name="connsiteX16" fmla="*/ 728306 w 906744"/>
                <a:gd name="connsiteY16" fmla="*/ 344704 h 691640"/>
                <a:gd name="connsiteX17" fmla="*/ 717874 w 906744"/>
                <a:gd name="connsiteY17" fmla="*/ 337652 h 691640"/>
                <a:gd name="connsiteX18" fmla="*/ 701029 w 906744"/>
                <a:gd name="connsiteY18" fmla="*/ 344804 h 691640"/>
                <a:gd name="connsiteX19" fmla="*/ 679232 w 906744"/>
                <a:gd name="connsiteY19" fmla="*/ 341830 h 691640"/>
                <a:gd name="connsiteX20" fmla="*/ 674118 w 906744"/>
                <a:gd name="connsiteY20" fmla="*/ 344203 h 691640"/>
                <a:gd name="connsiteX21" fmla="*/ 674118 w 906744"/>
                <a:gd name="connsiteY21" fmla="*/ 350887 h 691640"/>
                <a:gd name="connsiteX22" fmla="*/ 652606 w 906744"/>
                <a:gd name="connsiteY22" fmla="*/ 348247 h 691640"/>
                <a:gd name="connsiteX23" fmla="*/ 628252 w 906744"/>
                <a:gd name="connsiteY23" fmla="*/ 358274 h 691640"/>
                <a:gd name="connsiteX24" fmla="*/ 622854 w 906744"/>
                <a:gd name="connsiteY24" fmla="*/ 368669 h 691640"/>
                <a:gd name="connsiteX25" fmla="*/ 616197 w 906744"/>
                <a:gd name="connsiteY25" fmla="*/ 357873 h 691640"/>
                <a:gd name="connsiteX26" fmla="*/ 616197 w 906744"/>
                <a:gd name="connsiteY26" fmla="*/ 351823 h 691640"/>
                <a:gd name="connsiteX27" fmla="*/ 640551 w 906744"/>
                <a:gd name="connsiteY27" fmla="*/ 344771 h 691640"/>
                <a:gd name="connsiteX28" fmla="*/ 628374 w 906744"/>
                <a:gd name="connsiteY28" fmla="*/ 344203 h 691640"/>
                <a:gd name="connsiteX29" fmla="*/ 594562 w 906744"/>
                <a:gd name="connsiteY29" fmla="*/ 354698 h 691640"/>
                <a:gd name="connsiteX30" fmla="*/ 562090 w 906744"/>
                <a:gd name="connsiteY30" fmla="*/ 360480 h 691640"/>
                <a:gd name="connsiteX31" fmla="*/ 583116 w 906744"/>
                <a:gd name="connsiteY31" fmla="*/ 368903 h 691640"/>
                <a:gd name="connsiteX32" fmla="*/ 556124 w 906744"/>
                <a:gd name="connsiteY32" fmla="*/ 366429 h 691640"/>
                <a:gd name="connsiteX33" fmla="*/ 542689 w 906744"/>
                <a:gd name="connsiteY33" fmla="*/ 359444 h 691640"/>
                <a:gd name="connsiteX34" fmla="*/ 532419 w 906744"/>
                <a:gd name="connsiteY34" fmla="*/ 362987 h 691640"/>
                <a:gd name="connsiteX35" fmla="*/ 544921 w 906744"/>
                <a:gd name="connsiteY35" fmla="*/ 369504 h 691640"/>
                <a:gd name="connsiteX36" fmla="*/ 538508 w 906744"/>
                <a:gd name="connsiteY36" fmla="*/ 377693 h 691640"/>
                <a:gd name="connsiteX37" fmla="*/ 531689 w 906744"/>
                <a:gd name="connsiteY37" fmla="*/ 368836 h 691640"/>
                <a:gd name="connsiteX38" fmla="*/ 508349 w 906744"/>
                <a:gd name="connsiteY38" fmla="*/ 370540 h 691640"/>
                <a:gd name="connsiteX39" fmla="*/ 509730 w 906744"/>
                <a:gd name="connsiteY39" fmla="*/ 360146 h 691640"/>
                <a:gd name="connsiteX40" fmla="*/ 473199 w 906744"/>
                <a:gd name="connsiteY40" fmla="*/ 361583 h 691640"/>
                <a:gd name="connsiteX41" fmla="*/ 471332 w 906744"/>
                <a:gd name="connsiteY41" fmla="*/ 372680 h 691640"/>
                <a:gd name="connsiteX42" fmla="*/ 449454 w 906744"/>
                <a:gd name="connsiteY42" fmla="*/ 378863 h 691640"/>
                <a:gd name="connsiteX43" fmla="*/ 427251 w 906744"/>
                <a:gd name="connsiteY43" fmla="*/ 375888 h 691640"/>
                <a:gd name="connsiteX44" fmla="*/ 404034 w 906744"/>
                <a:gd name="connsiteY44" fmla="*/ 389057 h 691640"/>
                <a:gd name="connsiteX45" fmla="*/ 430539 w 906744"/>
                <a:gd name="connsiteY45" fmla="*/ 390127 h 691640"/>
                <a:gd name="connsiteX46" fmla="*/ 432122 w 906744"/>
                <a:gd name="connsiteY46" fmla="*/ 400455 h 691640"/>
                <a:gd name="connsiteX47" fmla="*/ 409473 w 906744"/>
                <a:gd name="connsiteY47" fmla="*/ 399987 h 691640"/>
                <a:gd name="connsiteX48" fmla="*/ 387554 w 906744"/>
                <a:gd name="connsiteY48" fmla="*/ 395107 h 691640"/>
                <a:gd name="connsiteX49" fmla="*/ 380127 w 906744"/>
                <a:gd name="connsiteY49" fmla="*/ 384177 h 691640"/>
                <a:gd name="connsiteX50" fmla="*/ 354393 w 906744"/>
                <a:gd name="connsiteY50" fmla="*/ 395809 h 691640"/>
                <a:gd name="connsiteX51" fmla="*/ 338157 w 906744"/>
                <a:gd name="connsiteY51" fmla="*/ 399719 h 691640"/>
                <a:gd name="connsiteX52" fmla="*/ 337142 w 906744"/>
                <a:gd name="connsiteY52" fmla="*/ 404098 h 691640"/>
                <a:gd name="connsiteX53" fmla="*/ 310272 w 906744"/>
                <a:gd name="connsiteY53" fmla="*/ 414827 h 691640"/>
                <a:gd name="connsiteX54" fmla="*/ 274431 w 906744"/>
                <a:gd name="connsiteY54" fmla="*/ 424553 h 691640"/>
                <a:gd name="connsiteX55" fmla="*/ 318471 w 906744"/>
                <a:gd name="connsiteY55" fmla="*/ 415729 h 691640"/>
                <a:gd name="connsiteX56" fmla="*/ 353094 w 906744"/>
                <a:gd name="connsiteY56" fmla="*/ 410114 h 691640"/>
                <a:gd name="connsiteX57" fmla="*/ 381506 w 906744"/>
                <a:gd name="connsiteY57" fmla="*/ 406237 h 691640"/>
                <a:gd name="connsiteX58" fmla="*/ 395551 w 906744"/>
                <a:gd name="connsiteY58" fmla="*/ 411785 h 691640"/>
                <a:gd name="connsiteX59" fmla="*/ 392831 w 906744"/>
                <a:gd name="connsiteY59" fmla="*/ 421311 h 691640"/>
                <a:gd name="connsiteX60" fmla="*/ 374160 w 906744"/>
                <a:gd name="connsiteY60" fmla="*/ 415361 h 691640"/>
                <a:gd name="connsiteX61" fmla="*/ 346884 w 906744"/>
                <a:gd name="connsiteY61" fmla="*/ 424586 h 691640"/>
                <a:gd name="connsiteX62" fmla="*/ 336330 w 906744"/>
                <a:gd name="connsiteY62" fmla="*/ 437956 h 691640"/>
                <a:gd name="connsiteX63" fmla="*/ 322733 w 906744"/>
                <a:gd name="connsiteY63" fmla="*/ 443671 h 691640"/>
                <a:gd name="connsiteX64" fmla="*/ 291966 w 906744"/>
                <a:gd name="connsiteY64" fmla="*/ 461854 h 691640"/>
                <a:gd name="connsiteX65" fmla="*/ 286121 w 906744"/>
                <a:gd name="connsiteY65" fmla="*/ 474387 h 691640"/>
                <a:gd name="connsiteX66" fmla="*/ 263228 w 906744"/>
                <a:gd name="connsiteY66" fmla="*/ 476025 h 691640"/>
                <a:gd name="connsiteX67" fmla="*/ 257302 w 906744"/>
                <a:gd name="connsiteY67" fmla="*/ 486988 h 691640"/>
                <a:gd name="connsiteX68" fmla="*/ 253893 w 906744"/>
                <a:gd name="connsiteY68" fmla="*/ 492102 h 691640"/>
                <a:gd name="connsiteX69" fmla="*/ 253893 w 906744"/>
                <a:gd name="connsiteY69" fmla="*/ 503700 h 691640"/>
                <a:gd name="connsiteX70" fmla="*/ 234369 w 906744"/>
                <a:gd name="connsiteY70" fmla="*/ 503967 h 691640"/>
                <a:gd name="connsiteX71" fmla="*/ 218133 w 906744"/>
                <a:gd name="connsiteY71" fmla="*/ 508212 h 691640"/>
                <a:gd name="connsiteX72" fmla="*/ 215048 w 906744"/>
                <a:gd name="connsiteY72" fmla="*/ 514496 h 691640"/>
                <a:gd name="connsiteX73" fmla="*/ 202871 w 906744"/>
                <a:gd name="connsiteY73" fmla="*/ 522952 h 691640"/>
                <a:gd name="connsiteX74" fmla="*/ 175839 w 906744"/>
                <a:gd name="connsiteY74" fmla="*/ 532143 h 691640"/>
                <a:gd name="connsiteX75" fmla="*/ 159278 w 906744"/>
                <a:gd name="connsiteY75" fmla="*/ 539530 h 691640"/>
                <a:gd name="connsiteX76" fmla="*/ 147426 w 906744"/>
                <a:gd name="connsiteY76" fmla="*/ 551629 h 691640"/>
                <a:gd name="connsiteX77" fmla="*/ 133666 w 906744"/>
                <a:gd name="connsiteY77" fmla="*/ 545246 h 691640"/>
                <a:gd name="connsiteX78" fmla="*/ 119946 w 906744"/>
                <a:gd name="connsiteY78" fmla="*/ 550326 h 691640"/>
                <a:gd name="connsiteX79" fmla="*/ 115319 w 906744"/>
                <a:gd name="connsiteY79" fmla="*/ 557579 h 691640"/>
                <a:gd name="connsiteX80" fmla="*/ 74080 w 906744"/>
                <a:gd name="connsiteY80" fmla="*/ 569210 h 691640"/>
                <a:gd name="connsiteX81" fmla="*/ 90600 w 906744"/>
                <a:gd name="connsiteY81" fmla="*/ 574224 h 691640"/>
                <a:gd name="connsiteX82" fmla="*/ 61334 w 906744"/>
                <a:gd name="connsiteY82" fmla="*/ 573689 h 691640"/>
                <a:gd name="connsiteX83" fmla="*/ 43110 w 906744"/>
                <a:gd name="connsiteY83" fmla="*/ 580006 h 691640"/>
                <a:gd name="connsiteX84" fmla="*/ 29593 w 906744"/>
                <a:gd name="connsiteY84" fmla="*/ 590033 h 691640"/>
                <a:gd name="connsiteX85" fmla="*/ 1708 w 906744"/>
                <a:gd name="connsiteY85" fmla="*/ 594478 h 691640"/>
                <a:gd name="connsiteX86" fmla="*/ 12749 w 906744"/>
                <a:gd name="connsiteY86" fmla="*/ 606143 h 691640"/>
                <a:gd name="connsiteX87" fmla="*/ 5564 w 906744"/>
                <a:gd name="connsiteY87" fmla="*/ 611458 h 691640"/>
                <a:gd name="connsiteX88" fmla="*/ 11125 w 906744"/>
                <a:gd name="connsiteY88" fmla="*/ 616805 h 691640"/>
                <a:gd name="connsiteX89" fmla="*/ 1586 w 906744"/>
                <a:gd name="connsiteY89" fmla="*/ 623490 h 691640"/>
                <a:gd name="connsiteX90" fmla="*/ 2520 w 906744"/>
                <a:gd name="connsiteY90" fmla="*/ 632247 h 691640"/>
                <a:gd name="connsiteX91" fmla="*/ 18756 w 906744"/>
                <a:gd name="connsiteY91" fmla="*/ 638364 h 691640"/>
                <a:gd name="connsiteX92" fmla="*/ 30527 w 906744"/>
                <a:gd name="connsiteY92" fmla="*/ 640770 h 691640"/>
                <a:gd name="connsiteX93" fmla="*/ 50294 w 906744"/>
                <a:gd name="connsiteY93" fmla="*/ 633317 h 691640"/>
                <a:gd name="connsiteX94" fmla="*/ 56464 w 906744"/>
                <a:gd name="connsiteY94" fmla="*/ 637495 h 691640"/>
                <a:gd name="connsiteX95" fmla="*/ 44693 w 906744"/>
                <a:gd name="connsiteY95" fmla="*/ 640402 h 691640"/>
                <a:gd name="connsiteX96" fmla="*/ 21881 w 906744"/>
                <a:gd name="connsiteY96" fmla="*/ 648491 h 691640"/>
                <a:gd name="connsiteX97" fmla="*/ 15955 w 906744"/>
                <a:gd name="connsiteY97" fmla="*/ 643812 h 691640"/>
                <a:gd name="connsiteX98" fmla="*/ 7310 w 906744"/>
                <a:gd name="connsiteY98" fmla="*/ 648926 h 691640"/>
                <a:gd name="connsiteX99" fmla="*/ 10476 w 906744"/>
                <a:gd name="connsiteY99" fmla="*/ 656145 h 691640"/>
                <a:gd name="connsiteX100" fmla="*/ 8974 w 906744"/>
                <a:gd name="connsiteY100" fmla="*/ 663131 h 691640"/>
                <a:gd name="connsiteX101" fmla="*/ 40350 w 906744"/>
                <a:gd name="connsiteY101" fmla="*/ 657749 h 691640"/>
                <a:gd name="connsiteX102" fmla="*/ 42541 w 906744"/>
                <a:gd name="connsiteY102" fmla="*/ 662830 h 691640"/>
                <a:gd name="connsiteX103" fmla="*/ 34423 w 906744"/>
                <a:gd name="connsiteY103" fmla="*/ 669849 h 691640"/>
                <a:gd name="connsiteX104" fmla="*/ 25940 w 906744"/>
                <a:gd name="connsiteY104" fmla="*/ 678071 h 691640"/>
                <a:gd name="connsiteX105" fmla="*/ 57682 w 906744"/>
                <a:gd name="connsiteY105" fmla="*/ 686260 h 691640"/>
                <a:gd name="connsiteX106" fmla="*/ 97419 w 906744"/>
                <a:gd name="connsiteY106" fmla="*/ 691039 h 691640"/>
                <a:gd name="connsiteX107" fmla="*/ 137400 w 906744"/>
                <a:gd name="connsiteY107" fmla="*/ 678405 h 691640"/>
                <a:gd name="connsiteX108" fmla="*/ 160414 w 906744"/>
                <a:gd name="connsiteY108" fmla="*/ 667075 h 691640"/>
                <a:gd name="connsiteX109" fmla="*/ 188827 w 906744"/>
                <a:gd name="connsiteY109" fmla="*/ 659253 h 691640"/>
                <a:gd name="connsiteX110" fmla="*/ 201004 w 906744"/>
                <a:gd name="connsiteY110" fmla="*/ 657281 h 691640"/>
                <a:gd name="connsiteX111" fmla="*/ 210461 w 906744"/>
                <a:gd name="connsiteY111" fmla="*/ 662729 h 691640"/>
                <a:gd name="connsiteX112" fmla="*/ 214520 w 906744"/>
                <a:gd name="connsiteY112" fmla="*/ 669180 h 691640"/>
                <a:gd name="connsiteX113" fmla="*/ 225155 w 906744"/>
                <a:gd name="connsiteY113" fmla="*/ 669949 h 691640"/>
                <a:gd name="connsiteX114" fmla="*/ 242690 w 906744"/>
                <a:gd name="connsiteY114" fmla="*/ 642776 h 691640"/>
                <a:gd name="connsiteX115" fmla="*/ 263472 w 906744"/>
                <a:gd name="connsiteY115" fmla="*/ 635656 h 691640"/>
                <a:gd name="connsiteX116" fmla="*/ 254501 w 906744"/>
                <a:gd name="connsiteY116" fmla="*/ 617641 h 691640"/>
                <a:gd name="connsiteX117" fmla="*/ 268911 w 906744"/>
                <a:gd name="connsiteY117" fmla="*/ 605074 h 691640"/>
                <a:gd name="connsiteX118" fmla="*/ 248616 w 906744"/>
                <a:gd name="connsiteY118" fmla="*/ 592105 h 691640"/>
                <a:gd name="connsiteX119" fmla="*/ 252675 w 906744"/>
                <a:gd name="connsiteY119" fmla="*/ 583516 h 691640"/>
                <a:gd name="connsiteX120" fmla="*/ 247358 w 906744"/>
                <a:gd name="connsiteY120" fmla="*/ 570982 h 691640"/>
                <a:gd name="connsiteX121" fmla="*/ 248941 w 906744"/>
                <a:gd name="connsiteY121" fmla="*/ 549791 h 691640"/>
                <a:gd name="connsiteX122" fmla="*/ 284010 w 906744"/>
                <a:gd name="connsiteY122" fmla="*/ 534149 h 691640"/>
                <a:gd name="connsiteX123" fmla="*/ 314655 w 906744"/>
                <a:gd name="connsiteY123" fmla="*/ 529135 h 691640"/>
                <a:gd name="connsiteX124" fmla="*/ 299799 w 906744"/>
                <a:gd name="connsiteY124" fmla="*/ 518206 h 691640"/>
                <a:gd name="connsiteX125" fmla="*/ 327197 w 906744"/>
                <a:gd name="connsiteY125" fmla="*/ 488125 h 691640"/>
                <a:gd name="connsiteX126" fmla="*/ 355610 w 906744"/>
                <a:gd name="connsiteY126" fmla="*/ 474989 h 691640"/>
                <a:gd name="connsiteX127" fmla="*/ 373145 w 906744"/>
                <a:gd name="connsiteY127" fmla="*/ 457509 h 691640"/>
                <a:gd name="connsiteX128" fmla="*/ 387474 w 906744"/>
                <a:gd name="connsiteY128" fmla="*/ 450155 h 691640"/>
                <a:gd name="connsiteX129" fmla="*/ 391248 w 906744"/>
                <a:gd name="connsiteY129" fmla="*/ 440128 h 691640"/>
                <a:gd name="connsiteX130" fmla="*/ 427251 w 906744"/>
                <a:gd name="connsiteY130" fmla="*/ 423015 h 691640"/>
                <a:gd name="connsiteX131" fmla="*/ 453472 w 906744"/>
                <a:gd name="connsiteY131" fmla="*/ 413657 h 691640"/>
                <a:gd name="connsiteX132" fmla="*/ 486999 w 906744"/>
                <a:gd name="connsiteY132" fmla="*/ 408777 h 691640"/>
                <a:gd name="connsiteX133" fmla="*/ 523530 w 906744"/>
                <a:gd name="connsiteY133" fmla="*/ 408576 h 691640"/>
                <a:gd name="connsiteX134" fmla="*/ 547884 w 906744"/>
                <a:gd name="connsiteY134" fmla="*/ 397413 h 691640"/>
                <a:gd name="connsiteX135" fmla="*/ 592086 w 906744"/>
                <a:gd name="connsiteY135" fmla="*/ 398616 h 691640"/>
                <a:gd name="connsiteX136" fmla="*/ 619728 w 906744"/>
                <a:gd name="connsiteY136" fmla="*/ 406638 h 691640"/>
                <a:gd name="connsiteX137" fmla="*/ 637344 w 906744"/>
                <a:gd name="connsiteY137" fmla="*/ 409044 h 691640"/>
                <a:gd name="connsiteX138" fmla="*/ 652241 w 906744"/>
                <a:gd name="connsiteY138" fmla="*/ 406437 h 691640"/>
                <a:gd name="connsiteX139" fmla="*/ 687635 w 906744"/>
                <a:gd name="connsiteY139" fmla="*/ 414526 h 691640"/>
                <a:gd name="connsiteX140" fmla="*/ 700299 w 906744"/>
                <a:gd name="connsiteY140" fmla="*/ 407641 h 691640"/>
                <a:gd name="connsiteX141" fmla="*/ 716535 w 906744"/>
                <a:gd name="connsiteY141" fmla="*/ 404064 h 691640"/>
                <a:gd name="connsiteX142" fmla="*/ 724652 w 906744"/>
                <a:gd name="connsiteY142" fmla="*/ 385715 h 691640"/>
                <a:gd name="connsiteX143" fmla="*/ 763659 w 906744"/>
                <a:gd name="connsiteY143" fmla="*/ 378194 h 691640"/>
                <a:gd name="connsiteX144" fmla="*/ 809201 w 906744"/>
                <a:gd name="connsiteY144" fmla="*/ 381303 h 691640"/>
                <a:gd name="connsiteX145" fmla="*/ 841064 w 906744"/>
                <a:gd name="connsiteY145" fmla="*/ 403028 h 691640"/>
                <a:gd name="connsiteX146" fmla="*/ 893425 w 906744"/>
                <a:gd name="connsiteY146" fmla="*/ 396343 h 691640"/>
                <a:gd name="connsiteX147" fmla="*/ 879827 w 906744"/>
                <a:gd name="connsiteY147" fmla="*/ 389659 h 691640"/>
                <a:gd name="connsiteX148" fmla="*/ 879299 w 906744"/>
                <a:gd name="connsiteY148" fmla="*/ 389425 h 691640"/>
                <a:gd name="connsiteX149" fmla="*/ 245450 w 906744"/>
                <a:gd name="connsiteY149" fmla="*/ 43892 h 691640"/>
                <a:gd name="connsiteX150" fmla="*/ 225885 w 906744"/>
                <a:gd name="connsiteY150" fmla="*/ 65717 h 691640"/>
                <a:gd name="connsiteX151" fmla="*/ 295335 w 906744"/>
                <a:gd name="connsiteY151" fmla="*/ 83499 h 691640"/>
                <a:gd name="connsiteX152" fmla="*/ 320744 w 906744"/>
                <a:gd name="connsiteY152" fmla="*/ 76647 h 691640"/>
                <a:gd name="connsiteX153" fmla="*/ 329389 w 906744"/>
                <a:gd name="connsiteY153" fmla="*/ 68993 h 691640"/>
                <a:gd name="connsiteX154" fmla="*/ 344245 w 906744"/>
                <a:gd name="connsiteY154" fmla="*/ 66586 h 691640"/>
                <a:gd name="connsiteX155" fmla="*/ 362308 w 906744"/>
                <a:gd name="connsiteY155" fmla="*/ 62509 h 691640"/>
                <a:gd name="connsiteX156" fmla="*/ 360156 w 906744"/>
                <a:gd name="connsiteY156" fmla="*/ 75076 h 691640"/>
                <a:gd name="connsiteX157" fmla="*/ 396159 w 906744"/>
                <a:gd name="connsiteY157" fmla="*/ 68057 h 691640"/>
                <a:gd name="connsiteX158" fmla="*/ 396159 w 906744"/>
                <a:gd name="connsiteY158" fmla="*/ 79254 h 691640"/>
                <a:gd name="connsiteX159" fmla="*/ 363363 w 906744"/>
                <a:gd name="connsiteY159" fmla="*/ 82997 h 691640"/>
                <a:gd name="connsiteX160" fmla="*/ 326832 w 906744"/>
                <a:gd name="connsiteY160" fmla="*/ 89014 h 691640"/>
                <a:gd name="connsiteX161" fmla="*/ 325493 w 906744"/>
                <a:gd name="connsiteY161" fmla="*/ 100311 h 691640"/>
                <a:gd name="connsiteX162" fmla="*/ 411584 w 906744"/>
                <a:gd name="connsiteY162" fmla="*/ 100311 h 691640"/>
                <a:gd name="connsiteX163" fmla="*/ 344002 w 906744"/>
                <a:gd name="connsiteY163" fmla="*/ 105592 h 691640"/>
                <a:gd name="connsiteX164" fmla="*/ 337426 w 906744"/>
                <a:gd name="connsiteY164" fmla="*/ 109402 h 691640"/>
                <a:gd name="connsiteX165" fmla="*/ 310718 w 906744"/>
                <a:gd name="connsiteY165" fmla="*/ 108800 h 691640"/>
                <a:gd name="connsiteX166" fmla="*/ 335518 w 906744"/>
                <a:gd name="connsiteY166" fmla="*/ 122905 h 691640"/>
                <a:gd name="connsiteX167" fmla="*/ 351024 w 906744"/>
                <a:gd name="connsiteY167" fmla="*/ 127751 h 691640"/>
                <a:gd name="connsiteX168" fmla="*/ 379843 w 906744"/>
                <a:gd name="connsiteY168" fmla="*/ 128955 h 691640"/>
                <a:gd name="connsiteX169" fmla="*/ 360075 w 906744"/>
                <a:gd name="connsiteY169" fmla="*/ 135038 h 691640"/>
                <a:gd name="connsiteX170" fmla="*/ 389706 w 906744"/>
                <a:gd name="connsiteY170" fmla="*/ 142993 h 691640"/>
                <a:gd name="connsiteX171" fmla="*/ 430580 w 906744"/>
                <a:gd name="connsiteY171" fmla="*/ 121033 h 691640"/>
                <a:gd name="connsiteX172" fmla="*/ 466136 w 906744"/>
                <a:gd name="connsiteY172" fmla="*/ 108800 h 691640"/>
                <a:gd name="connsiteX173" fmla="*/ 472184 w 906744"/>
                <a:gd name="connsiteY173" fmla="*/ 96333 h 691640"/>
                <a:gd name="connsiteX174" fmla="*/ 489678 w 906744"/>
                <a:gd name="connsiteY174" fmla="*/ 90350 h 691640"/>
                <a:gd name="connsiteX175" fmla="*/ 517807 w 906744"/>
                <a:gd name="connsiteY175" fmla="*/ 73104 h 691640"/>
                <a:gd name="connsiteX176" fmla="*/ 563064 w 906744"/>
                <a:gd name="connsiteY176" fmla="*/ 71132 h 691640"/>
                <a:gd name="connsiteX177" fmla="*/ 545895 w 906744"/>
                <a:gd name="connsiteY177" fmla="*/ 77817 h 691640"/>
                <a:gd name="connsiteX178" fmla="*/ 577068 w 906744"/>
                <a:gd name="connsiteY178" fmla="*/ 104555 h 691640"/>
                <a:gd name="connsiteX179" fmla="*/ 565987 w 906744"/>
                <a:gd name="connsiteY179" fmla="*/ 117724 h 691640"/>
                <a:gd name="connsiteX180" fmla="*/ 615060 w 906744"/>
                <a:gd name="connsiteY180" fmla="*/ 115017 h 691640"/>
                <a:gd name="connsiteX181" fmla="*/ 618875 w 906744"/>
                <a:gd name="connsiteY181" fmla="*/ 123841 h 691640"/>
                <a:gd name="connsiteX182" fmla="*/ 661657 w 906744"/>
                <a:gd name="connsiteY182" fmla="*/ 119997 h 691640"/>
                <a:gd name="connsiteX183" fmla="*/ 699365 w 906744"/>
                <a:gd name="connsiteY183" fmla="*/ 110371 h 691640"/>
                <a:gd name="connsiteX184" fmla="*/ 668801 w 906744"/>
                <a:gd name="connsiteY184" fmla="*/ 105124 h 691640"/>
                <a:gd name="connsiteX185" fmla="*/ 644447 w 906744"/>
                <a:gd name="connsiteY185" fmla="*/ 99943 h 691640"/>
                <a:gd name="connsiteX186" fmla="*/ 616968 w 906744"/>
                <a:gd name="connsiteY186" fmla="*/ 91119 h 691640"/>
                <a:gd name="connsiteX187" fmla="*/ 612909 w 906744"/>
                <a:gd name="connsiteY187" fmla="*/ 83365 h 691640"/>
                <a:gd name="connsiteX188" fmla="*/ 581817 w 906744"/>
                <a:gd name="connsiteY188" fmla="*/ 73104 h 691640"/>
                <a:gd name="connsiteX189" fmla="*/ 568017 w 906744"/>
                <a:gd name="connsiteY189" fmla="*/ 61205 h 691640"/>
                <a:gd name="connsiteX190" fmla="*/ 548980 w 906744"/>
                <a:gd name="connsiteY190" fmla="*/ 54821 h 691640"/>
                <a:gd name="connsiteX191" fmla="*/ 523489 w 906744"/>
                <a:gd name="connsiteY191" fmla="*/ 52816 h 691640"/>
                <a:gd name="connsiteX192" fmla="*/ 488948 w 906744"/>
                <a:gd name="connsiteY192" fmla="*/ 48805 h 691640"/>
                <a:gd name="connsiteX193" fmla="*/ 474579 w 906744"/>
                <a:gd name="connsiteY193" fmla="*/ 35202 h 691640"/>
                <a:gd name="connsiteX194" fmla="*/ 441580 w 906744"/>
                <a:gd name="connsiteY194" fmla="*/ 39346 h 691640"/>
                <a:gd name="connsiteX195" fmla="*/ 452133 w 906744"/>
                <a:gd name="connsiteY195" fmla="*/ 25810 h 691640"/>
                <a:gd name="connsiteX196" fmla="*/ 421447 w 906744"/>
                <a:gd name="connsiteY196" fmla="*/ 20328 h 691640"/>
                <a:gd name="connsiteX197" fmla="*/ 403506 w 906744"/>
                <a:gd name="connsiteY197" fmla="*/ 17153 h 691640"/>
                <a:gd name="connsiteX198" fmla="*/ 386337 w 906744"/>
                <a:gd name="connsiteY198" fmla="*/ 21598 h 691640"/>
                <a:gd name="connsiteX199" fmla="*/ 388407 w 906744"/>
                <a:gd name="connsiteY199" fmla="*/ 33430 h 691640"/>
                <a:gd name="connsiteX200" fmla="*/ 403141 w 906744"/>
                <a:gd name="connsiteY200" fmla="*/ 52080 h 691640"/>
                <a:gd name="connsiteX201" fmla="*/ 366285 w 906744"/>
                <a:gd name="connsiteY201" fmla="*/ 37942 h 691640"/>
                <a:gd name="connsiteX202" fmla="*/ 345990 w 906744"/>
                <a:gd name="connsiteY202" fmla="*/ 22367 h 691640"/>
                <a:gd name="connsiteX203" fmla="*/ 321840 w 906744"/>
                <a:gd name="connsiteY203" fmla="*/ 34667 h 691640"/>
                <a:gd name="connsiteX204" fmla="*/ 320541 w 906744"/>
                <a:gd name="connsiteY204" fmla="*/ 42521 h 691640"/>
                <a:gd name="connsiteX205" fmla="*/ 312423 w 906744"/>
                <a:gd name="connsiteY205" fmla="*/ 40650 h 691640"/>
                <a:gd name="connsiteX206" fmla="*/ 283320 w 906744"/>
                <a:gd name="connsiteY206" fmla="*/ 29820 h 691640"/>
                <a:gd name="connsiteX207" fmla="*/ 307674 w 906744"/>
                <a:gd name="connsiteY207" fmla="*/ 20629 h 691640"/>
                <a:gd name="connsiteX208" fmla="*/ 244597 w 906744"/>
                <a:gd name="connsiteY208" fmla="*/ 23637 h 691640"/>
                <a:gd name="connsiteX209" fmla="*/ 198609 w 906744"/>
                <a:gd name="connsiteY209" fmla="*/ 32762 h 691640"/>
                <a:gd name="connsiteX210" fmla="*/ 217402 w 906744"/>
                <a:gd name="connsiteY210" fmla="*/ 48972 h 691640"/>
                <a:gd name="connsiteX211" fmla="*/ 245490 w 906744"/>
                <a:gd name="connsiteY211" fmla="*/ 43959 h 691640"/>
                <a:gd name="connsiteX212" fmla="*/ 211557 w 906744"/>
                <a:gd name="connsiteY212" fmla="*/ 74441 h 691640"/>
                <a:gd name="connsiteX213" fmla="*/ 237819 w 906744"/>
                <a:gd name="connsiteY213" fmla="*/ 82830 h 691640"/>
                <a:gd name="connsiteX214" fmla="*/ 200517 w 906744"/>
                <a:gd name="connsiteY214" fmla="*/ 60035 h 691640"/>
                <a:gd name="connsiteX215" fmla="*/ 185661 w 906744"/>
                <a:gd name="connsiteY215" fmla="*/ 63846 h 691640"/>
                <a:gd name="connsiteX216" fmla="*/ 211557 w 906744"/>
                <a:gd name="connsiteY216" fmla="*/ 74441 h 691640"/>
                <a:gd name="connsiteX217" fmla="*/ 475391 w 906744"/>
                <a:gd name="connsiteY217" fmla="*/ 16618 h 691640"/>
                <a:gd name="connsiteX218" fmla="*/ 474579 w 906744"/>
                <a:gd name="connsiteY218" fmla="*/ 24372 h 691640"/>
                <a:gd name="connsiteX219" fmla="*/ 509324 w 906744"/>
                <a:gd name="connsiteY219" fmla="*/ 28717 h 691640"/>
                <a:gd name="connsiteX220" fmla="*/ 593020 w 906744"/>
                <a:gd name="connsiteY220" fmla="*/ 28049 h 691640"/>
                <a:gd name="connsiteX221" fmla="*/ 587987 w 906744"/>
                <a:gd name="connsiteY221" fmla="*/ 32394 h 691640"/>
                <a:gd name="connsiteX222" fmla="*/ 529619 w 906744"/>
                <a:gd name="connsiteY222" fmla="*/ 37341 h 691640"/>
                <a:gd name="connsiteX223" fmla="*/ 578326 w 906744"/>
                <a:gd name="connsiteY223" fmla="*/ 45997 h 691640"/>
                <a:gd name="connsiteX224" fmla="*/ 630646 w 906744"/>
                <a:gd name="connsiteY224" fmla="*/ 49340 h 691640"/>
                <a:gd name="connsiteX225" fmla="*/ 711096 w 906744"/>
                <a:gd name="connsiteY225" fmla="*/ 52381 h 691640"/>
                <a:gd name="connsiteX226" fmla="*/ 776364 w 906744"/>
                <a:gd name="connsiteY226" fmla="*/ 39012 h 691640"/>
                <a:gd name="connsiteX227" fmla="*/ 781843 w 906744"/>
                <a:gd name="connsiteY227" fmla="*/ 22935 h 691640"/>
                <a:gd name="connsiteX228" fmla="*/ 739833 w 906744"/>
                <a:gd name="connsiteY228" fmla="*/ 20428 h 691640"/>
                <a:gd name="connsiteX229" fmla="*/ 703302 w 906744"/>
                <a:gd name="connsiteY229" fmla="*/ 13409 h 691640"/>
                <a:gd name="connsiteX230" fmla="*/ 669816 w 906744"/>
                <a:gd name="connsiteY230" fmla="*/ 16752 h 691640"/>
                <a:gd name="connsiteX231" fmla="*/ 651672 w 906744"/>
                <a:gd name="connsiteY231" fmla="*/ 11872 h 691640"/>
                <a:gd name="connsiteX232" fmla="*/ 625979 w 906744"/>
                <a:gd name="connsiteY232" fmla="*/ 6858 h 691640"/>
                <a:gd name="connsiteX233" fmla="*/ 626222 w 906744"/>
                <a:gd name="connsiteY233" fmla="*/ 20896 h 691640"/>
                <a:gd name="connsiteX234" fmla="*/ 598337 w 906744"/>
                <a:gd name="connsiteY234" fmla="*/ 15782 h 691640"/>
                <a:gd name="connsiteX235" fmla="*/ 576013 w 906744"/>
                <a:gd name="connsiteY235" fmla="*/ 13376 h 691640"/>
                <a:gd name="connsiteX236" fmla="*/ 553080 w 906744"/>
                <a:gd name="connsiteY236" fmla="*/ 4652 h 691640"/>
                <a:gd name="connsiteX237" fmla="*/ 523287 w 906744"/>
                <a:gd name="connsiteY237" fmla="*/ 341 h 691640"/>
                <a:gd name="connsiteX238" fmla="*/ 511110 w 906744"/>
                <a:gd name="connsiteY238" fmla="*/ 5455 h 691640"/>
                <a:gd name="connsiteX239" fmla="*/ 500962 w 906744"/>
                <a:gd name="connsiteY239" fmla="*/ 10234 h 691640"/>
                <a:gd name="connsiteX240" fmla="*/ 482453 w 906744"/>
                <a:gd name="connsiteY240" fmla="*/ 5154 h 691640"/>
                <a:gd name="connsiteX241" fmla="*/ 466217 w 906744"/>
                <a:gd name="connsiteY241" fmla="*/ 3382 h 691640"/>
                <a:gd name="connsiteX242" fmla="*/ 454527 w 906744"/>
                <a:gd name="connsiteY242" fmla="*/ 9265 h 691640"/>
                <a:gd name="connsiteX243" fmla="*/ 475269 w 906744"/>
                <a:gd name="connsiteY243" fmla="*/ 16652 h 69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</a:cxnLst>
              <a:rect l="l" t="t" r="r" b="b"/>
              <a:pathLst>
                <a:path w="906744" h="691640">
                  <a:moveTo>
                    <a:pt x="879299" y="389425"/>
                  </a:moveTo>
                  <a:cubicBezTo>
                    <a:pt x="874429" y="396611"/>
                    <a:pt x="864647" y="387319"/>
                    <a:pt x="862333" y="385748"/>
                  </a:cubicBezTo>
                  <a:cubicBezTo>
                    <a:pt x="858274" y="382941"/>
                    <a:pt x="842809" y="380601"/>
                    <a:pt x="841307" y="377626"/>
                  </a:cubicBezTo>
                  <a:cubicBezTo>
                    <a:pt x="840211" y="375287"/>
                    <a:pt x="866960" y="381303"/>
                    <a:pt x="870492" y="380969"/>
                  </a:cubicBezTo>
                  <a:cubicBezTo>
                    <a:pt x="874875" y="380367"/>
                    <a:pt x="879137" y="379241"/>
                    <a:pt x="883115" y="377626"/>
                  </a:cubicBezTo>
                  <a:cubicBezTo>
                    <a:pt x="890056" y="375053"/>
                    <a:pt x="896794" y="376958"/>
                    <a:pt x="904465" y="376222"/>
                  </a:cubicBezTo>
                  <a:cubicBezTo>
                    <a:pt x="916642" y="375053"/>
                    <a:pt x="875281" y="358608"/>
                    <a:pt x="863876" y="358876"/>
                  </a:cubicBezTo>
                  <a:cubicBezTo>
                    <a:pt x="851699" y="359143"/>
                    <a:pt x="818131" y="343033"/>
                    <a:pt x="816548" y="360747"/>
                  </a:cubicBezTo>
                  <a:cubicBezTo>
                    <a:pt x="816020" y="366931"/>
                    <a:pt x="803356" y="364925"/>
                    <a:pt x="807943" y="361750"/>
                  </a:cubicBezTo>
                  <a:cubicBezTo>
                    <a:pt x="812002" y="359076"/>
                    <a:pt x="806075" y="356269"/>
                    <a:pt x="808470" y="353661"/>
                  </a:cubicBezTo>
                  <a:cubicBezTo>
                    <a:pt x="810865" y="351054"/>
                    <a:pt x="818252" y="353127"/>
                    <a:pt x="818496" y="349885"/>
                  </a:cubicBezTo>
                  <a:cubicBezTo>
                    <a:pt x="819470" y="336515"/>
                    <a:pt x="762929" y="342197"/>
                    <a:pt x="776121" y="350319"/>
                  </a:cubicBezTo>
                  <a:cubicBezTo>
                    <a:pt x="782736" y="354363"/>
                    <a:pt x="743649" y="371911"/>
                    <a:pt x="752781" y="355266"/>
                  </a:cubicBezTo>
                  <a:cubicBezTo>
                    <a:pt x="763619" y="335513"/>
                    <a:pt x="729239" y="354297"/>
                    <a:pt x="718320" y="359644"/>
                  </a:cubicBezTo>
                  <a:cubicBezTo>
                    <a:pt x="714951" y="361282"/>
                    <a:pt x="700704" y="369671"/>
                    <a:pt x="693642" y="366697"/>
                  </a:cubicBezTo>
                  <a:cubicBezTo>
                    <a:pt x="682602" y="362184"/>
                    <a:pt x="706468" y="356369"/>
                    <a:pt x="710162" y="354731"/>
                  </a:cubicBezTo>
                  <a:cubicBezTo>
                    <a:pt x="714951" y="352592"/>
                    <a:pt x="720106" y="344303"/>
                    <a:pt x="728306" y="344704"/>
                  </a:cubicBezTo>
                  <a:cubicBezTo>
                    <a:pt x="741781" y="345406"/>
                    <a:pt x="729199" y="336549"/>
                    <a:pt x="717874" y="337652"/>
                  </a:cubicBezTo>
                  <a:cubicBezTo>
                    <a:pt x="709756" y="338387"/>
                    <a:pt x="708741" y="345272"/>
                    <a:pt x="701029" y="344804"/>
                  </a:cubicBezTo>
                  <a:cubicBezTo>
                    <a:pt x="699081" y="344804"/>
                    <a:pt x="679111" y="341061"/>
                    <a:pt x="679232" y="341830"/>
                  </a:cubicBezTo>
                  <a:cubicBezTo>
                    <a:pt x="677974" y="343136"/>
                    <a:pt x="676148" y="343989"/>
                    <a:pt x="674118" y="344203"/>
                  </a:cubicBezTo>
                  <a:cubicBezTo>
                    <a:pt x="668192" y="346208"/>
                    <a:pt x="674443" y="348147"/>
                    <a:pt x="674118" y="350887"/>
                  </a:cubicBezTo>
                  <a:cubicBezTo>
                    <a:pt x="673306" y="355700"/>
                    <a:pt x="659100" y="347244"/>
                    <a:pt x="652606" y="348247"/>
                  </a:cubicBezTo>
                  <a:cubicBezTo>
                    <a:pt x="648547" y="348848"/>
                    <a:pt x="628536" y="356135"/>
                    <a:pt x="628252" y="358274"/>
                  </a:cubicBezTo>
                  <a:cubicBezTo>
                    <a:pt x="628252" y="356970"/>
                    <a:pt x="638805" y="375587"/>
                    <a:pt x="622854" y="368669"/>
                  </a:cubicBezTo>
                  <a:cubicBezTo>
                    <a:pt x="616643" y="365995"/>
                    <a:pt x="621311" y="360747"/>
                    <a:pt x="616197" y="357873"/>
                  </a:cubicBezTo>
                  <a:cubicBezTo>
                    <a:pt x="612787" y="355968"/>
                    <a:pt x="604994" y="354865"/>
                    <a:pt x="616197" y="351823"/>
                  </a:cubicBezTo>
                  <a:cubicBezTo>
                    <a:pt x="625573" y="349216"/>
                    <a:pt x="634827" y="350553"/>
                    <a:pt x="640551" y="344771"/>
                  </a:cubicBezTo>
                  <a:cubicBezTo>
                    <a:pt x="644366" y="340827"/>
                    <a:pt x="628780" y="339590"/>
                    <a:pt x="628374" y="344203"/>
                  </a:cubicBezTo>
                  <a:cubicBezTo>
                    <a:pt x="628008" y="350052"/>
                    <a:pt x="569113" y="340860"/>
                    <a:pt x="594562" y="354698"/>
                  </a:cubicBezTo>
                  <a:cubicBezTo>
                    <a:pt x="629429" y="373549"/>
                    <a:pt x="559330" y="350119"/>
                    <a:pt x="562090" y="360480"/>
                  </a:cubicBezTo>
                  <a:cubicBezTo>
                    <a:pt x="563186" y="364524"/>
                    <a:pt x="581533" y="364992"/>
                    <a:pt x="583116" y="368903"/>
                  </a:cubicBezTo>
                  <a:cubicBezTo>
                    <a:pt x="582710" y="367800"/>
                    <a:pt x="559330" y="367365"/>
                    <a:pt x="556124" y="366429"/>
                  </a:cubicBezTo>
                  <a:cubicBezTo>
                    <a:pt x="550482" y="364791"/>
                    <a:pt x="549102" y="359377"/>
                    <a:pt x="542689" y="359444"/>
                  </a:cubicBezTo>
                  <a:cubicBezTo>
                    <a:pt x="540497" y="359444"/>
                    <a:pt x="529375" y="360848"/>
                    <a:pt x="532419" y="362987"/>
                  </a:cubicBezTo>
                  <a:cubicBezTo>
                    <a:pt x="536803" y="366028"/>
                    <a:pt x="545408" y="364457"/>
                    <a:pt x="544921" y="369504"/>
                  </a:cubicBezTo>
                  <a:cubicBezTo>
                    <a:pt x="544921" y="371309"/>
                    <a:pt x="545652" y="378829"/>
                    <a:pt x="538508" y="377693"/>
                  </a:cubicBezTo>
                  <a:cubicBezTo>
                    <a:pt x="527589" y="376022"/>
                    <a:pt x="535910" y="371543"/>
                    <a:pt x="531689" y="368836"/>
                  </a:cubicBezTo>
                  <a:cubicBezTo>
                    <a:pt x="525681" y="365025"/>
                    <a:pt x="514154" y="371276"/>
                    <a:pt x="508349" y="370540"/>
                  </a:cubicBezTo>
                  <a:cubicBezTo>
                    <a:pt x="506807" y="370340"/>
                    <a:pt x="511069" y="361583"/>
                    <a:pt x="509730" y="360146"/>
                  </a:cubicBezTo>
                  <a:cubicBezTo>
                    <a:pt x="506239" y="356269"/>
                    <a:pt x="478760" y="359945"/>
                    <a:pt x="473199" y="361583"/>
                  </a:cubicBezTo>
                  <a:cubicBezTo>
                    <a:pt x="469789" y="362552"/>
                    <a:pt x="488948" y="374651"/>
                    <a:pt x="471332" y="372680"/>
                  </a:cubicBezTo>
                  <a:cubicBezTo>
                    <a:pt x="456719" y="371075"/>
                    <a:pt x="460495" y="382707"/>
                    <a:pt x="449454" y="378863"/>
                  </a:cubicBezTo>
                  <a:cubicBezTo>
                    <a:pt x="441336" y="376089"/>
                    <a:pt x="440200" y="372178"/>
                    <a:pt x="427251" y="375888"/>
                  </a:cubicBezTo>
                  <a:cubicBezTo>
                    <a:pt x="420798" y="377693"/>
                    <a:pt x="402897" y="385046"/>
                    <a:pt x="404034" y="389057"/>
                  </a:cubicBezTo>
                  <a:cubicBezTo>
                    <a:pt x="405495" y="393837"/>
                    <a:pt x="425425" y="384879"/>
                    <a:pt x="430539" y="390127"/>
                  </a:cubicBezTo>
                  <a:cubicBezTo>
                    <a:pt x="431595" y="391196"/>
                    <a:pt x="434598" y="400154"/>
                    <a:pt x="432122" y="400455"/>
                  </a:cubicBezTo>
                  <a:cubicBezTo>
                    <a:pt x="425587" y="400922"/>
                    <a:pt x="412355" y="391330"/>
                    <a:pt x="409473" y="399987"/>
                  </a:cubicBezTo>
                  <a:cubicBezTo>
                    <a:pt x="407322" y="406671"/>
                    <a:pt x="394901" y="391965"/>
                    <a:pt x="387554" y="395107"/>
                  </a:cubicBezTo>
                  <a:cubicBezTo>
                    <a:pt x="356057" y="408476"/>
                    <a:pt x="392709" y="385080"/>
                    <a:pt x="380127" y="384177"/>
                  </a:cubicBezTo>
                  <a:cubicBezTo>
                    <a:pt x="373876" y="383743"/>
                    <a:pt x="360116" y="394204"/>
                    <a:pt x="354393" y="395809"/>
                  </a:cubicBezTo>
                  <a:cubicBezTo>
                    <a:pt x="351267" y="396678"/>
                    <a:pt x="340186" y="397914"/>
                    <a:pt x="338157" y="399719"/>
                  </a:cubicBezTo>
                  <a:cubicBezTo>
                    <a:pt x="336127" y="401524"/>
                    <a:pt x="343840" y="401791"/>
                    <a:pt x="337142" y="404098"/>
                  </a:cubicBezTo>
                  <a:cubicBezTo>
                    <a:pt x="327116" y="407440"/>
                    <a:pt x="321880" y="412520"/>
                    <a:pt x="310272" y="414827"/>
                  </a:cubicBezTo>
                  <a:cubicBezTo>
                    <a:pt x="306213" y="415562"/>
                    <a:pt x="270412" y="421511"/>
                    <a:pt x="274431" y="424553"/>
                  </a:cubicBezTo>
                  <a:cubicBezTo>
                    <a:pt x="276826" y="426425"/>
                    <a:pt x="313559" y="417133"/>
                    <a:pt x="318471" y="415729"/>
                  </a:cubicBezTo>
                  <a:cubicBezTo>
                    <a:pt x="324925" y="413824"/>
                    <a:pt x="344692" y="407139"/>
                    <a:pt x="353094" y="410114"/>
                  </a:cubicBezTo>
                  <a:cubicBezTo>
                    <a:pt x="366813" y="415027"/>
                    <a:pt x="370142" y="407908"/>
                    <a:pt x="381506" y="406237"/>
                  </a:cubicBezTo>
                  <a:cubicBezTo>
                    <a:pt x="387554" y="405301"/>
                    <a:pt x="402410" y="408209"/>
                    <a:pt x="395551" y="411785"/>
                  </a:cubicBezTo>
                  <a:cubicBezTo>
                    <a:pt x="388691" y="415361"/>
                    <a:pt x="397621" y="419807"/>
                    <a:pt x="392831" y="421311"/>
                  </a:cubicBezTo>
                  <a:cubicBezTo>
                    <a:pt x="381669" y="424921"/>
                    <a:pt x="383374" y="415930"/>
                    <a:pt x="374160" y="415361"/>
                  </a:cubicBezTo>
                  <a:cubicBezTo>
                    <a:pt x="372577" y="415361"/>
                    <a:pt x="349806" y="423450"/>
                    <a:pt x="346884" y="424586"/>
                  </a:cubicBezTo>
                  <a:cubicBezTo>
                    <a:pt x="337873" y="428263"/>
                    <a:pt x="342825" y="434613"/>
                    <a:pt x="336330" y="437956"/>
                  </a:cubicBezTo>
                  <a:cubicBezTo>
                    <a:pt x="329836" y="441298"/>
                    <a:pt x="328212" y="437722"/>
                    <a:pt x="322733" y="443671"/>
                  </a:cubicBezTo>
                  <a:cubicBezTo>
                    <a:pt x="316279" y="450724"/>
                    <a:pt x="303290" y="456640"/>
                    <a:pt x="291966" y="461854"/>
                  </a:cubicBezTo>
                  <a:cubicBezTo>
                    <a:pt x="280641" y="467068"/>
                    <a:pt x="291641" y="469407"/>
                    <a:pt x="286121" y="474387"/>
                  </a:cubicBezTo>
                  <a:cubicBezTo>
                    <a:pt x="282062" y="478064"/>
                    <a:pt x="269885" y="475992"/>
                    <a:pt x="263228" y="476025"/>
                  </a:cubicBezTo>
                  <a:cubicBezTo>
                    <a:pt x="252350" y="476025"/>
                    <a:pt x="257424" y="483746"/>
                    <a:pt x="257302" y="486988"/>
                  </a:cubicBezTo>
                  <a:cubicBezTo>
                    <a:pt x="257505" y="489101"/>
                    <a:pt x="256165" y="491116"/>
                    <a:pt x="253893" y="492102"/>
                  </a:cubicBezTo>
                  <a:cubicBezTo>
                    <a:pt x="246018" y="495444"/>
                    <a:pt x="253893" y="499923"/>
                    <a:pt x="253893" y="503700"/>
                  </a:cubicBezTo>
                  <a:cubicBezTo>
                    <a:pt x="253893" y="506608"/>
                    <a:pt x="237657" y="503433"/>
                    <a:pt x="234369" y="503967"/>
                  </a:cubicBezTo>
                  <a:cubicBezTo>
                    <a:pt x="228037" y="504937"/>
                    <a:pt x="227306" y="507811"/>
                    <a:pt x="218133" y="508212"/>
                  </a:cubicBezTo>
                  <a:cubicBezTo>
                    <a:pt x="205347" y="508780"/>
                    <a:pt x="205022" y="510117"/>
                    <a:pt x="215048" y="514496"/>
                  </a:cubicBezTo>
                  <a:cubicBezTo>
                    <a:pt x="244192" y="527297"/>
                    <a:pt x="216469" y="518741"/>
                    <a:pt x="202871" y="522952"/>
                  </a:cubicBezTo>
                  <a:cubicBezTo>
                    <a:pt x="194307" y="525592"/>
                    <a:pt x="181074" y="527598"/>
                    <a:pt x="175839" y="532143"/>
                  </a:cubicBezTo>
                  <a:cubicBezTo>
                    <a:pt x="169750" y="537424"/>
                    <a:pt x="168086" y="536188"/>
                    <a:pt x="159278" y="539530"/>
                  </a:cubicBezTo>
                  <a:cubicBezTo>
                    <a:pt x="151647" y="542471"/>
                    <a:pt x="155219" y="548722"/>
                    <a:pt x="147426" y="551629"/>
                  </a:cubicBezTo>
                  <a:cubicBezTo>
                    <a:pt x="141297" y="553936"/>
                    <a:pt x="137603" y="546549"/>
                    <a:pt x="133666" y="545246"/>
                  </a:cubicBezTo>
                  <a:cubicBezTo>
                    <a:pt x="125548" y="542572"/>
                    <a:pt x="115928" y="545647"/>
                    <a:pt x="119946" y="550326"/>
                  </a:cubicBezTo>
                  <a:cubicBezTo>
                    <a:pt x="125020" y="556242"/>
                    <a:pt x="129485" y="556409"/>
                    <a:pt x="115319" y="557579"/>
                  </a:cubicBezTo>
                  <a:cubicBezTo>
                    <a:pt x="108338" y="558147"/>
                    <a:pt x="67220" y="567372"/>
                    <a:pt x="74080" y="569210"/>
                  </a:cubicBezTo>
                  <a:cubicBezTo>
                    <a:pt x="75500" y="569611"/>
                    <a:pt x="95187" y="572285"/>
                    <a:pt x="90600" y="574224"/>
                  </a:cubicBezTo>
                  <a:cubicBezTo>
                    <a:pt x="84633" y="576664"/>
                    <a:pt x="67869" y="574224"/>
                    <a:pt x="61334" y="573689"/>
                  </a:cubicBezTo>
                  <a:cubicBezTo>
                    <a:pt x="50659" y="572653"/>
                    <a:pt x="53216" y="580842"/>
                    <a:pt x="43110" y="580006"/>
                  </a:cubicBezTo>
                  <a:cubicBezTo>
                    <a:pt x="21678" y="578268"/>
                    <a:pt x="31664" y="586691"/>
                    <a:pt x="29593" y="590033"/>
                  </a:cubicBezTo>
                  <a:cubicBezTo>
                    <a:pt x="27929" y="593008"/>
                    <a:pt x="7959" y="587660"/>
                    <a:pt x="1708" y="594478"/>
                  </a:cubicBezTo>
                  <a:cubicBezTo>
                    <a:pt x="-5963" y="602901"/>
                    <a:pt x="13885" y="601163"/>
                    <a:pt x="12749" y="606143"/>
                  </a:cubicBezTo>
                  <a:cubicBezTo>
                    <a:pt x="12302" y="608182"/>
                    <a:pt x="5118" y="609486"/>
                    <a:pt x="5564" y="611458"/>
                  </a:cubicBezTo>
                  <a:cubicBezTo>
                    <a:pt x="6092" y="614131"/>
                    <a:pt x="19162" y="612293"/>
                    <a:pt x="11125" y="616805"/>
                  </a:cubicBezTo>
                  <a:cubicBezTo>
                    <a:pt x="7066" y="619078"/>
                    <a:pt x="-1052" y="619613"/>
                    <a:pt x="1586" y="623490"/>
                  </a:cubicBezTo>
                  <a:cubicBezTo>
                    <a:pt x="5199" y="628804"/>
                    <a:pt x="8771" y="627401"/>
                    <a:pt x="2520" y="632247"/>
                  </a:cubicBezTo>
                  <a:cubicBezTo>
                    <a:pt x="-7100" y="639767"/>
                    <a:pt x="14413" y="637829"/>
                    <a:pt x="18756" y="638364"/>
                  </a:cubicBezTo>
                  <a:cubicBezTo>
                    <a:pt x="24682" y="639099"/>
                    <a:pt x="21759" y="643110"/>
                    <a:pt x="30527" y="640770"/>
                  </a:cubicBezTo>
                  <a:cubicBezTo>
                    <a:pt x="37224" y="638999"/>
                    <a:pt x="42704" y="634085"/>
                    <a:pt x="50294" y="633317"/>
                  </a:cubicBezTo>
                  <a:cubicBezTo>
                    <a:pt x="54962" y="632949"/>
                    <a:pt x="56870" y="635723"/>
                    <a:pt x="56464" y="637495"/>
                  </a:cubicBezTo>
                  <a:cubicBezTo>
                    <a:pt x="55733" y="640670"/>
                    <a:pt x="48995" y="639767"/>
                    <a:pt x="44693" y="640402"/>
                  </a:cubicBezTo>
                  <a:cubicBezTo>
                    <a:pt x="36210" y="641672"/>
                    <a:pt x="31460" y="655443"/>
                    <a:pt x="21881" y="648491"/>
                  </a:cubicBezTo>
                  <a:cubicBezTo>
                    <a:pt x="20014" y="647154"/>
                    <a:pt x="21678" y="643010"/>
                    <a:pt x="15955" y="643812"/>
                  </a:cubicBezTo>
                  <a:cubicBezTo>
                    <a:pt x="11896" y="644380"/>
                    <a:pt x="7432" y="646686"/>
                    <a:pt x="7310" y="648926"/>
                  </a:cubicBezTo>
                  <a:cubicBezTo>
                    <a:pt x="7310" y="651934"/>
                    <a:pt x="13641" y="652736"/>
                    <a:pt x="10476" y="656145"/>
                  </a:cubicBezTo>
                  <a:cubicBezTo>
                    <a:pt x="8933" y="657816"/>
                    <a:pt x="3494" y="661660"/>
                    <a:pt x="8974" y="663131"/>
                  </a:cubicBezTo>
                  <a:cubicBezTo>
                    <a:pt x="22166" y="666673"/>
                    <a:pt x="28051" y="652602"/>
                    <a:pt x="40350" y="657749"/>
                  </a:cubicBezTo>
                  <a:cubicBezTo>
                    <a:pt x="42339" y="658551"/>
                    <a:pt x="47372" y="661794"/>
                    <a:pt x="42541" y="662830"/>
                  </a:cubicBezTo>
                  <a:cubicBezTo>
                    <a:pt x="34180" y="664668"/>
                    <a:pt x="39294" y="667208"/>
                    <a:pt x="34423" y="669849"/>
                  </a:cubicBezTo>
                  <a:cubicBezTo>
                    <a:pt x="29553" y="672489"/>
                    <a:pt x="12830" y="672222"/>
                    <a:pt x="25940" y="678071"/>
                  </a:cubicBezTo>
                  <a:cubicBezTo>
                    <a:pt x="35885" y="682225"/>
                    <a:pt x="46641" y="684993"/>
                    <a:pt x="57682" y="686260"/>
                  </a:cubicBezTo>
                  <a:cubicBezTo>
                    <a:pt x="72172" y="687830"/>
                    <a:pt x="81224" y="692443"/>
                    <a:pt x="97419" y="691039"/>
                  </a:cubicBezTo>
                  <a:cubicBezTo>
                    <a:pt x="112315" y="689736"/>
                    <a:pt x="126400" y="683185"/>
                    <a:pt x="137400" y="678405"/>
                  </a:cubicBezTo>
                  <a:cubicBezTo>
                    <a:pt x="145477" y="675213"/>
                    <a:pt x="153189" y="671420"/>
                    <a:pt x="160414" y="667075"/>
                  </a:cubicBezTo>
                  <a:cubicBezTo>
                    <a:pt x="168532" y="661760"/>
                    <a:pt x="185864" y="669481"/>
                    <a:pt x="188827" y="659253"/>
                  </a:cubicBezTo>
                  <a:cubicBezTo>
                    <a:pt x="190653" y="652769"/>
                    <a:pt x="194266" y="649494"/>
                    <a:pt x="201004" y="657281"/>
                  </a:cubicBezTo>
                  <a:cubicBezTo>
                    <a:pt x="203805" y="660624"/>
                    <a:pt x="205915" y="660457"/>
                    <a:pt x="210461" y="662729"/>
                  </a:cubicBezTo>
                  <a:cubicBezTo>
                    <a:pt x="213181" y="664070"/>
                    <a:pt x="214764" y="666570"/>
                    <a:pt x="214520" y="669180"/>
                  </a:cubicBezTo>
                  <a:cubicBezTo>
                    <a:pt x="218092" y="668769"/>
                    <a:pt x="221745" y="669033"/>
                    <a:pt x="225155" y="669949"/>
                  </a:cubicBezTo>
                  <a:cubicBezTo>
                    <a:pt x="230553" y="672021"/>
                    <a:pt x="237007" y="643210"/>
                    <a:pt x="242690" y="642776"/>
                  </a:cubicBezTo>
                  <a:cubicBezTo>
                    <a:pt x="255272" y="641840"/>
                    <a:pt x="261767" y="643244"/>
                    <a:pt x="263472" y="635656"/>
                  </a:cubicBezTo>
                  <a:cubicBezTo>
                    <a:pt x="264730" y="630275"/>
                    <a:pt x="250808" y="621117"/>
                    <a:pt x="254501" y="617641"/>
                  </a:cubicBezTo>
                  <a:cubicBezTo>
                    <a:pt x="258195" y="614165"/>
                    <a:pt x="281900" y="613931"/>
                    <a:pt x="268911" y="605074"/>
                  </a:cubicBezTo>
                  <a:cubicBezTo>
                    <a:pt x="261645" y="600094"/>
                    <a:pt x="244841" y="600328"/>
                    <a:pt x="248616" y="592105"/>
                  </a:cubicBezTo>
                  <a:cubicBezTo>
                    <a:pt x="250036" y="589131"/>
                    <a:pt x="253689" y="586758"/>
                    <a:pt x="252675" y="583516"/>
                  </a:cubicBezTo>
                  <a:cubicBezTo>
                    <a:pt x="251498" y="578970"/>
                    <a:pt x="245693" y="575795"/>
                    <a:pt x="247358" y="570982"/>
                  </a:cubicBezTo>
                  <a:cubicBezTo>
                    <a:pt x="249834" y="563929"/>
                    <a:pt x="243948" y="556409"/>
                    <a:pt x="248941" y="549791"/>
                  </a:cubicBezTo>
                  <a:cubicBezTo>
                    <a:pt x="253933" y="543173"/>
                    <a:pt x="268099" y="535285"/>
                    <a:pt x="284010" y="534149"/>
                  </a:cubicBezTo>
                  <a:cubicBezTo>
                    <a:pt x="298135" y="533146"/>
                    <a:pt x="309865" y="540366"/>
                    <a:pt x="314655" y="529135"/>
                  </a:cubicBezTo>
                  <a:cubicBezTo>
                    <a:pt x="317700" y="521949"/>
                    <a:pt x="297242" y="524289"/>
                    <a:pt x="299799" y="518206"/>
                  </a:cubicBezTo>
                  <a:cubicBezTo>
                    <a:pt x="304589" y="506842"/>
                    <a:pt x="328212" y="501494"/>
                    <a:pt x="327197" y="488125"/>
                  </a:cubicBezTo>
                  <a:cubicBezTo>
                    <a:pt x="326021" y="473151"/>
                    <a:pt x="335802" y="481039"/>
                    <a:pt x="355610" y="474989"/>
                  </a:cubicBezTo>
                  <a:cubicBezTo>
                    <a:pt x="361780" y="473084"/>
                    <a:pt x="368193" y="461285"/>
                    <a:pt x="373145" y="457509"/>
                  </a:cubicBezTo>
                  <a:cubicBezTo>
                    <a:pt x="377610" y="454674"/>
                    <a:pt x="382400" y="452211"/>
                    <a:pt x="387474" y="450155"/>
                  </a:cubicBezTo>
                  <a:cubicBezTo>
                    <a:pt x="394861" y="446412"/>
                    <a:pt x="385565" y="443471"/>
                    <a:pt x="391248" y="440128"/>
                  </a:cubicBezTo>
                  <a:cubicBezTo>
                    <a:pt x="402248" y="433076"/>
                    <a:pt x="403101" y="422481"/>
                    <a:pt x="427251" y="423015"/>
                  </a:cubicBezTo>
                  <a:cubicBezTo>
                    <a:pt x="444786" y="423383"/>
                    <a:pt x="455258" y="423015"/>
                    <a:pt x="453472" y="413657"/>
                  </a:cubicBezTo>
                  <a:cubicBezTo>
                    <a:pt x="451199" y="402025"/>
                    <a:pt x="469992" y="408242"/>
                    <a:pt x="486999" y="408777"/>
                  </a:cubicBezTo>
                  <a:cubicBezTo>
                    <a:pt x="496822" y="409044"/>
                    <a:pt x="523043" y="420074"/>
                    <a:pt x="523530" y="408576"/>
                  </a:cubicBezTo>
                  <a:cubicBezTo>
                    <a:pt x="523855" y="401624"/>
                    <a:pt x="529984" y="391296"/>
                    <a:pt x="547884" y="397413"/>
                  </a:cubicBezTo>
                  <a:cubicBezTo>
                    <a:pt x="560061" y="385280"/>
                    <a:pt x="578083" y="390728"/>
                    <a:pt x="592086" y="398616"/>
                  </a:cubicBezTo>
                  <a:cubicBezTo>
                    <a:pt x="600204" y="403329"/>
                    <a:pt x="607876" y="404766"/>
                    <a:pt x="619728" y="406638"/>
                  </a:cubicBezTo>
                  <a:cubicBezTo>
                    <a:pt x="625532" y="407684"/>
                    <a:pt x="631418" y="408486"/>
                    <a:pt x="637344" y="409044"/>
                  </a:cubicBezTo>
                  <a:cubicBezTo>
                    <a:pt x="645746" y="409646"/>
                    <a:pt x="645462" y="406671"/>
                    <a:pt x="652241" y="406437"/>
                  </a:cubicBezTo>
                  <a:cubicBezTo>
                    <a:pt x="666203" y="405936"/>
                    <a:pt x="678056" y="411217"/>
                    <a:pt x="687635" y="414526"/>
                  </a:cubicBezTo>
                  <a:cubicBezTo>
                    <a:pt x="693966" y="416698"/>
                    <a:pt x="699812" y="409479"/>
                    <a:pt x="700299" y="407641"/>
                  </a:cubicBezTo>
                  <a:cubicBezTo>
                    <a:pt x="702206" y="401691"/>
                    <a:pt x="707239" y="405401"/>
                    <a:pt x="716535" y="404064"/>
                  </a:cubicBezTo>
                  <a:cubicBezTo>
                    <a:pt x="729158" y="402293"/>
                    <a:pt x="711989" y="389458"/>
                    <a:pt x="724652" y="385715"/>
                  </a:cubicBezTo>
                  <a:cubicBezTo>
                    <a:pt x="740888" y="381035"/>
                    <a:pt x="743121" y="377125"/>
                    <a:pt x="763659" y="378194"/>
                  </a:cubicBezTo>
                  <a:cubicBezTo>
                    <a:pt x="785862" y="379331"/>
                    <a:pt x="789068" y="371510"/>
                    <a:pt x="809201" y="381303"/>
                  </a:cubicBezTo>
                  <a:cubicBezTo>
                    <a:pt x="829334" y="391096"/>
                    <a:pt x="842687" y="387352"/>
                    <a:pt x="841064" y="403028"/>
                  </a:cubicBezTo>
                  <a:cubicBezTo>
                    <a:pt x="851617" y="398817"/>
                    <a:pt x="879584" y="395608"/>
                    <a:pt x="893425" y="396343"/>
                  </a:cubicBezTo>
                  <a:cubicBezTo>
                    <a:pt x="925125" y="397814"/>
                    <a:pt x="886362" y="380066"/>
                    <a:pt x="879827" y="389659"/>
                  </a:cubicBezTo>
                  <a:cubicBezTo>
                    <a:pt x="876823" y="393068"/>
                    <a:pt x="881573" y="386149"/>
                    <a:pt x="879299" y="389425"/>
                  </a:cubicBezTo>
                  <a:close/>
                  <a:moveTo>
                    <a:pt x="245450" y="43892"/>
                  </a:moveTo>
                  <a:cubicBezTo>
                    <a:pt x="255394" y="44861"/>
                    <a:pt x="217362" y="59333"/>
                    <a:pt x="225885" y="65717"/>
                  </a:cubicBezTo>
                  <a:cubicBezTo>
                    <a:pt x="238874" y="75410"/>
                    <a:pt x="270818" y="84267"/>
                    <a:pt x="295335" y="83499"/>
                  </a:cubicBezTo>
                  <a:cubicBezTo>
                    <a:pt x="306821" y="83164"/>
                    <a:pt x="316360" y="81928"/>
                    <a:pt x="320744" y="76647"/>
                  </a:cubicBezTo>
                  <a:cubicBezTo>
                    <a:pt x="322773" y="74207"/>
                    <a:pt x="324113" y="70530"/>
                    <a:pt x="329389" y="68993"/>
                  </a:cubicBezTo>
                  <a:cubicBezTo>
                    <a:pt x="334666" y="67455"/>
                    <a:pt x="341039" y="69461"/>
                    <a:pt x="344245" y="66586"/>
                  </a:cubicBezTo>
                  <a:cubicBezTo>
                    <a:pt x="346396" y="64648"/>
                    <a:pt x="356828" y="56559"/>
                    <a:pt x="362308" y="62509"/>
                  </a:cubicBezTo>
                  <a:cubicBezTo>
                    <a:pt x="366367" y="66586"/>
                    <a:pt x="346559" y="74508"/>
                    <a:pt x="360156" y="75076"/>
                  </a:cubicBezTo>
                  <a:cubicBezTo>
                    <a:pt x="376068" y="75778"/>
                    <a:pt x="383130" y="70230"/>
                    <a:pt x="396159" y="68057"/>
                  </a:cubicBezTo>
                  <a:cubicBezTo>
                    <a:pt x="408336" y="66052"/>
                    <a:pt x="406023" y="77650"/>
                    <a:pt x="396159" y="79254"/>
                  </a:cubicBezTo>
                  <a:cubicBezTo>
                    <a:pt x="385565" y="80992"/>
                    <a:pt x="373186" y="80123"/>
                    <a:pt x="363363" y="82997"/>
                  </a:cubicBezTo>
                  <a:cubicBezTo>
                    <a:pt x="351754" y="86908"/>
                    <a:pt x="339374" y="88950"/>
                    <a:pt x="326832" y="89014"/>
                  </a:cubicBezTo>
                  <a:cubicBezTo>
                    <a:pt x="294360" y="90183"/>
                    <a:pt x="286242" y="102182"/>
                    <a:pt x="325493" y="100311"/>
                  </a:cubicBezTo>
                  <a:cubicBezTo>
                    <a:pt x="341404" y="99509"/>
                    <a:pt x="399731" y="93225"/>
                    <a:pt x="411584" y="100311"/>
                  </a:cubicBezTo>
                  <a:cubicBezTo>
                    <a:pt x="411056" y="99943"/>
                    <a:pt x="349847" y="102851"/>
                    <a:pt x="344002" y="105592"/>
                  </a:cubicBezTo>
                  <a:cubicBezTo>
                    <a:pt x="340552" y="107163"/>
                    <a:pt x="343352" y="109502"/>
                    <a:pt x="337426" y="109402"/>
                  </a:cubicBezTo>
                  <a:cubicBezTo>
                    <a:pt x="328740" y="109235"/>
                    <a:pt x="319283" y="107564"/>
                    <a:pt x="310718" y="108800"/>
                  </a:cubicBezTo>
                  <a:cubicBezTo>
                    <a:pt x="288678" y="112143"/>
                    <a:pt x="331256" y="121702"/>
                    <a:pt x="335518" y="122905"/>
                  </a:cubicBezTo>
                  <a:cubicBezTo>
                    <a:pt x="341648" y="124610"/>
                    <a:pt x="343231" y="127417"/>
                    <a:pt x="351024" y="127751"/>
                  </a:cubicBezTo>
                  <a:cubicBezTo>
                    <a:pt x="353703" y="127751"/>
                    <a:pt x="380410" y="126615"/>
                    <a:pt x="379843" y="128955"/>
                  </a:cubicBezTo>
                  <a:cubicBezTo>
                    <a:pt x="379356" y="130726"/>
                    <a:pt x="356666" y="133433"/>
                    <a:pt x="360075" y="135038"/>
                  </a:cubicBezTo>
                  <a:cubicBezTo>
                    <a:pt x="367868" y="138681"/>
                    <a:pt x="383820" y="138213"/>
                    <a:pt x="389706" y="142993"/>
                  </a:cubicBezTo>
                  <a:cubicBezTo>
                    <a:pt x="405455" y="155727"/>
                    <a:pt x="426236" y="123774"/>
                    <a:pt x="430580" y="121033"/>
                  </a:cubicBezTo>
                  <a:cubicBezTo>
                    <a:pt x="440605" y="114349"/>
                    <a:pt x="451483" y="112477"/>
                    <a:pt x="466136" y="108800"/>
                  </a:cubicBezTo>
                  <a:cubicBezTo>
                    <a:pt x="477623" y="105892"/>
                    <a:pt x="469627" y="101013"/>
                    <a:pt x="472184" y="96333"/>
                  </a:cubicBezTo>
                  <a:cubicBezTo>
                    <a:pt x="474742" y="91654"/>
                    <a:pt x="493778" y="94395"/>
                    <a:pt x="489678" y="90350"/>
                  </a:cubicBezTo>
                  <a:cubicBezTo>
                    <a:pt x="481804" y="82630"/>
                    <a:pt x="502505" y="74140"/>
                    <a:pt x="517807" y="73104"/>
                  </a:cubicBezTo>
                  <a:cubicBezTo>
                    <a:pt x="528442" y="72369"/>
                    <a:pt x="553648" y="69461"/>
                    <a:pt x="563064" y="71132"/>
                  </a:cubicBezTo>
                  <a:cubicBezTo>
                    <a:pt x="578286" y="73806"/>
                    <a:pt x="547275" y="76413"/>
                    <a:pt x="545895" y="77817"/>
                  </a:cubicBezTo>
                  <a:cubicBezTo>
                    <a:pt x="535017" y="88111"/>
                    <a:pt x="590097" y="92389"/>
                    <a:pt x="577068" y="104555"/>
                  </a:cubicBezTo>
                  <a:cubicBezTo>
                    <a:pt x="574470" y="106962"/>
                    <a:pt x="551253" y="115886"/>
                    <a:pt x="565987" y="117724"/>
                  </a:cubicBezTo>
                  <a:cubicBezTo>
                    <a:pt x="583238" y="119897"/>
                    <a:pt x="598459" y="113847"/>
                    <a:pt x="615060" y="115017"/>
                  </a:cubicBezTo>
                  <a:cubicBezTo>
                    <a:pt x="623178" y="115585"/>
                    <a:pt x="617455" y="121535"/>
                    <a:pt x="618875" y="123841"/>
                  </a:cubicBezTo>
                  <a:cubicBezTo>
                    <a:pt x="624274" y="132464"/>
                    <a:pt x="655406" y="122370"/>
                    <a:pt x="661657" y="119997"/>
                  </a:cubicBezTo>
                  <a:cubicBezTo>
                    <a:pt x="672657" y="115752"/>
                    <a:pt x="689745" y="114382"/>
                    <a:pt x="699365" y="110371"/>
                  </a:cubicBezTo>
                  <a:cubicBezTo>
                    <a:pt x="713653" y="104355"/>
                    <a:pt x="670952" y="105023"/>
                    <a:pt x="668801" y="105124"/>
                  </a:cubicBezTo>
                  <a:cubicBezTo>
                    <a:pt x="665351" y="105124"/>
                    <a:pt x="633934" y="103854"/>
                    <a:pt x="644447" y="99943"/>
                  </a:cubicBezTo>
                  <a:cubicBezTo>
                    <a:pt x="665229" y="92256"/>
                    <a:pt x="626709" y="92623"/>
                    <a:pt x="616968" y="91119"/>
                  </a:cubicBezTo>
                  <a:cubicBezTo>
                    <a:pt x="596389" y="87777"/>
                    <a:pt x="617820" y="87944"/>
                    <a:pt x="612909" y="83365"/>
                  </a:cubicBezTo>
                  <a:cubicBezTo>
                    <a:pt x="606983" y="78051"/>
                    <a:pt x="582791" y="77883"/>
                    <a:pt x="581817" y="73104"/>
                  </a:cubicBezTo>
                  <a:cubicBezTo>
                    <a:pt x="580356" y="65784"/>
                    <a:pt x="585227" y="64547"/>
                    <a:pt x="568017" y="61205"/>
                  </a:cubicBezTo>
                  <a:cubicBezTo>
                    <a:pt x="556368" y="58966"/>
                    <a:pt x="559452" y="55924"/>
                    <a:pt x="548980" y="54821"/>
                  </a:cubicBezTo>
                  <a:cubicBezTo>
                    <a:pt x="541390" y="53986"/>
                    <a:pt x="523124" y="60871"/>
                    <a:pt x="523489" y="52816"/>
                  </a:cubicBezTo>
                  <a:cubicBezTo>
                    <a:pt x="523733" y="47501"/>
                    <a:pt x="495280" y="48738"/>
                    <a:pt x="488948" y="48805"/>
                  </a:cubicBezTo>
                  <a:cubicBezTo>
                    <a:pt x="479653" y="48805"/>
                    <a:pt x="481195" y="37675"/>
                    <a:pt x="474579" y="35202"/>
                  </a:cubicBezTo>
                  <a:cubicBezTo>
                    <a:pt x="467963" y="32728"/>
                    <a:pt x="441863" y="42354"/>
                    <a:pt x="441580" y="39346"/>
                  </a:cubicBezTo>
                  <a:cubicBezTo>
                    <a:pt x="441133" y="34934"/>
                    <a:pt x="460535" y="29987"/>
                    <a:pt x="452133" y="25810"/>
                  </a:cubicBezTo>
                  <a:cubicBezTo>
                    <a:pt x="442594" y="21942"/>
                    <a:pt x="432082" y="20061"/>
                    <a:pt x="421447" y="20328"/>
                  </a:cubicBezTo>
                  <a:cubicBezTo>
                    <a:pt x="409270" y="20729"/>
                    <a:pt x="413329" y="24172"/>
                    <a:pt x="403506" y="17153"/>
                  </a:cubicBezTo>
                  <a:cubicBezTo>
                    <a:pt x="388772" y="6758"/>
                    <a:pt x="395023" y="20863"/>
                    <a:pt x="386337" y="21598"/>
                  </a:cubicBezTo>
                  <a:cubicBezTo>
                    <a:pt x="365433" y="23370"/>
                    <a:pt x="382927" y="29286"/>
                    <a:pt x="388407" y="33430"/>
                  </a:cubicBezTo>
                  <a:cubicBezTo>
                    <a:pt x="395185" y="38504"/>
                    <a:pt x="400259" y="44924"/>
                    <a:pt x="403141" y="52080"/>
                  </a:cubicBezTo>
                  <a:cubicBezTo>
                    <a:pt x="407200" y="62408"/>
                    <a:pt x="369898" y="41117"/>
                    <a:pt x="366285" y="37942"/>
                  </a:cubicBezTo>
                  <a:cubicBezTo>
                    <a:pt x="360359" y="32695"/>
                    <a:pt x="361658" y="24339"/>
                    <a:pt x="345990" y="22367"/>
                  </a:cubicBezTo>
                  <a:cubicBezTo>
                    <a:pt x="338685" y="21431"/>
                    <a:pt x="323260" y="31625"/>
                    <a:pt x="321840" y="34667"/>
                  </a:cubicBezTo>
                  <a:cubicBezTo>
                    <a:pt x="320419" y="37708"/>
                    <a:pt x="325899" y="40382"/>
                    <a:pt x="320541" y="42521"/>
                  </a:cubicBezTo>
                  <a:cubicBezTo>
                    <a:pt x="316807" y="44059"/>
                    <a:pt x="312423" y="42856"/>
                    <a:pt x="312423" y="40650"/>
                  </a:cubicBezTo>
                  <a:cubicBezTo>
                    <a:pt x="312423" y="37575"/>
                    <a:pt x="289043" y="27715"/>
                    <a:pt x="283320" y="29820"/>
                  </a:cubicBezTo>
                  <a:cubicBezTo>
                    <a:pt x="287379" y="28350"/>
                    <a:pt x="341648" y="22534"/>
                    <a:pt x="307674" y="20629"/>
                  </a:cubicBezTo>
                  <a:cubicBezTo>
                    <a:pt x="286526" y="19459"/>
                    <a:pt x="263025" y="27314"/>
                    <a:pt x="244597" y="23637"/>
                  </a:cubicBezTo>
                  <a:cubicBezTo>
                    <a:pt x="233395" y="21398"/>
                    <a:pt x="199665" y="26979"/>
                    <a:pt x="198609" y="32762"/>
                  </a:cubicBezTo>
                  <a:cubicBezTo>
                    <a:pt x="197757" y="37307"/>
                    <a:pt x="203886" y="49106"/>
                    <a:pt x="217402" y="48972"/>
                  </a:cubicBezTo>
                  <a:cubicBezTo>
                    <a:pt x="227956" y="48972"/>
                    <a:pt x="233922" y="42789"/>
                    <a:pt x="245490" y="43959"/>
                  </a:cubicBezTo>
                  <a:close/>
                  <a:moveTo>
                    <a:pt x="211557" y="74441"/>
                  </a:moveTo>
                  <a:cubicBezTo>
                    <a:pt x="221543" y="75611"/>
                    <a:pt x="226941" y="83231"/>
                    <a:pt x="237819" y="82830"/>
                  </a:cubicBezTo>
                  <a:cubicBezTo>
                    <a:pt x="234125" y="82830"/>
                    <a:pt x="206443" y="62408"/>
                    <a:pt x="200517" y="60035"/>
                  </a:cubicBezTo>
                  <a:cubicBezTo>
                    <a:pt x="193779" y="57294"/>
                    <a:pt x="180750" y="59367"/>
                    <a:pt x="185661" y="63846"/>
                  </a:cubicBezTo>
                  <a:cubicBezTo>
                    <a:pt x="192845" y="69387"/>
                    <a:pt x="201856" y="73074"/>
                    <a:pt x="211557" y="74441"/>
                  </a:cubicBezTo>
                  <a:close/>
                  <a:moveTo>
                    <a:pt x="475391" y="16618"/>
                  </a:moveTo>
                  <a:cubicBezTo>
                    <a:pt x="481317" y="18891"/>
                    <a:pt x="461590" y="19960"/>
                    <a:pt x="474579" y="24372"/>
                  </a:cubicBezTo>
                  <a:cubicBezTo>
                    <a:pt x="484442" y="27715"/>
                    <a:pt x="497796" y="28316"/>
                    <a:pt x="509324" y="28717"/>
                  </a:cubicBezTo>
                  <a:cubicBezTo>
                    <a:pt x="537412" y="29720"/>
                    <a:pt x="565054" y="27782"/>
                    <a:pt x="593020" y="28049"/>
                  </a:cubicBezTo>
                  <a:cubicBezTo>
                    <a:pt x="617374" y="28283"/>
                    <a:pt x="602193" y="31391"/>
                    <a:pt x="587987" y="32394"/>
                  </a:cubicBezTo>
                  <a:cubicBezTo>
                    <a:pt x="571223" y="33464"/>
                    <a:pt x="543622" y="32695"/>
                    <a:pt x="529619" y="37341"/>
                  </a:cubicBezTo>
                  <a:cubicBezTo>
                    <a:pt x="522028" y="39814"/>
                    <a:pt x="573983" y="45596"/>
                    <a:pt x="578326" y="45997"/>
                  </a:cubicBezTo>
                  <a:cubicBezTo>
                    <a:pt x="595496" y="47334"/>
                    <a:pt x="616765" y="44961"/>
                    <a:pt x="630646" y="49340"/>
                  </a:cubicBezTo>
                  <a:cubicBezTo>
                    <a:pt x="660358" y="58832"/>
                    <a:pt x="680735" y="52949"/>
                    <a:pt x="711096" y="52381"/>
                  </a:cubicBezTo>
                  <a:cubicBezTo>
                    <a:pt x="740564" y="51813"/>
                    <a:pt x="751360" y="43323"/>
                    <a:pt x="776364" y="39012"/>
                  </a:cubicBezTo>
                  <a:cubicBezTo>
                    <a:pt x="797430" y="35335"/>
                    <a:pt x="819064" y="26211"/>
                    <a:pt x="781843" y="22935"/>
                  </a:cubicBezTo>
                  <a:cubicBezTo>
                    <a:pt x="767881" y="21732"/>
                    <a:pt x="753756" y="21765"/>
                    <a:pt x="739833" y="20428"/>
                  </a:cubicBezTo>
                  <a:cubicBezTo>
                    <a:pt x="727291" y="19192"/>
                    <a:pt x="715885" y="15181"/>
                    <a:pt x="703302" y="13409"/>
                  </a:cubicBezTo>
                  <a:cubicBezTo>
                    <a:pt x="685483" y="10802"/>
                    <a:pt x="681668" y="11905"/>
                    <a:pt x="669816" y="16752"/>
                  </a:cubicBezTo>
                  <a:cubicBezTo>
                    <a:pt x="657963" y="21598"/>
                    <a:pt x="652809" y="16752"/>
                    <a:pt x="651672" y="11872"/>
                  </a:cubicBezTo>
                  <a:cubicBezTo>
                    <a:pt x="650170" y="5555"/>
                    <a:pt x="637506" y="3015"/>
                    <a:pt x="625979" y="6858"/>
                  </a:cubicBezTo>
                  <a:cubicBezTo>
                    <a:pt x="615385" y="10401"/>
                    <a:pt x="625654" y="16384"/>
                    <a:pt x="626222" y="20896"/>
                  </a:cubicBezTo>
                  <a:cubicBezTo>
                    <a:pt x="626791" y="25408"/>
                    <a:pt x="600610" y="17286"/>
                    <a:pt x="598337" y="15782"/>
                  </a:cubicBezTo>
                  <a:cubicBezTo>
                    <a:pt x="590219" y="10334"/>
                    <a:pt x="590219" y="11905"/>
                    <a:pt x="576013" y="13376"/>
                  </a:cubicBezTo>
                  <a:cubicBezTo>
                    <a:pt x="564526" y="14579"/>
                    <a:pt x="561928" y="7427"/>
                    <a:pt x="553080" y="4652"/>
                  </a:cubicBezTo>
                  <a:cubicBezTo>
                    <a:pt x="551415" y="4151"/>
                    <a:pt x="522028" y="-2433"/>
                    <a:pt x="523287" y="341"/>
                  </a:cubicBezTo>
                  <a:cubicBezTo>
                    <a:pt x="525966" y="6290"/>
                    <a:pt x="529497" y="10368"/>
                    <a:pt x="511110" y="5455"/>
                  </a:cubicBezTo>
                  <a:cubicBezTo>
                    <a:pt x="494102" y="1009"/>
                    <a:pt x="499623" y="4218"/>
                    <a:pt x="500962" y="10234"/>
                  </a:cubicBezTo>
                  <a:cubicBezTo>
                    <a:pt x="502464" y="17119"/>
                    <a:pt x="484726" y="6156"/>
                    <a:pt x="482453" y="5154"/>
                  </a:cubicBezTo>
                  <a:cubicBezTo>
                    <a:pt x="478394" y="3382"/>
                    <a:pt x="471575" y="1277"/>
                    <a:pt x="466217" y="3382"/>
                  </a:cubicBezTo>
                  <a:cubicBezTo>
                    <a:pt x="466217" y="3382"/>
                    <a:pt x="455299" y="10368"/>
                    <a:pt x="454527" y="9265"/>
                  </a:cubicBezTo>
                  <a:cubicBezTo>
                    <a:pt x="456598" y="12206"/>
                    <a:pt x="470276" y="14713"/>
                    <a:pt x="475269" y="1665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C8810151-1012-4895-949B-F8AC3426744F}"/>
                </a:ext>
              </a:extLst>
            </p:cNvPr>
            <p:cNvSpPr/>
            <p:nvPr/>
          </p:nvSpPr>
          <p:spPr>
            <a:xfrm>
              <a:off x="11777845" y="5475123"/>
              <a:ext cx="77660" cy="70717"/>
            </a:xfrm>
            <a:custGeom>
              <a:avLst/>
              <a:gdLst>
                <a:gd name="connsiteX0" fmla="*/ 38856 w 77660"/>
                <a:gd name="connsiteY0" fmla="*/ 23613 h 70717"/>
                <a:gd name="connsiteX1" fmla="*/ 214 w 77660"/>
                <a:gd name="connsiteY1" fmla="*/ 16 h 70717"/>
                <a:gd name="connsiteX2" fmla="*/ 43726 w 77660"/>
                <a:gd name="connsiteY2" fmla="*/ 46809 h 70717"/>
                <a:gd name="connsiteX3" fmla="*/ 74128 w 77660"/>
                <a:gd name="connsiteY3" fmla="*/ 61782 h 70717"/>
                <a:gd name="connsiteX4" fmla="*/ 38856 w 77660"/>
                <a:gd name="connsiteY4" fmla="*/ 23746 h 7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60" h="70717">
                  <a:moveTo>
                    <a:pt x="38856" y="23613"/>
                  </a:moveTo>
                  <a:cubicBezTo>
                    <a:pt x="32889" y="21507"/>
                    <a:pt x="3055" y="-3594"/>
                    <a:pt x="214" y="16"/>
                  </a:cubicBezTo>
                  <a:cubicBezTo>
                    <a:pt x="-3845" y="5297"/>
                    <a:pt x="38490" y="38186"/>
                    <a:pt x="43726" y="46809"/>
                  </a:cubicBezTo>
                  <a:cubicBezTo>
                    <a:pt x="51033" y="58440"/>
                    <a:pt x="89146" y="83575"/>
                    <a:pt x="74128" y="61782"/>
                  </a:cubicBezTo>
                  <a:cubicBezTo>
                    <a:pt x="68771" y="53961"/>
                    <a:pt x="50262" y="27691"/>
                    <a:pt x="38856" y="2374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1EDE554F-BE7D-479D-84AD-14F886B0317E}"/>
                </a:ext>
              </a:extLst>
            </p:cNvPr>
            <p:cNvSpPr/>
            <p:nvPr/>
          </p:nvSpPr>
          <p:spPr>
            <a:xfrm>
              <a:off x="11775862" y="5473516"/>
              <a:ext cx="81478" cy="73590"/>
            </a:xfrm>
            <a:custGeom>
              <a:avLst/>
              <a:gdLst>
                <a:gd name="connsiteX0" fmla="*/ 55613 w 81478"/>
                <a:gd name="connsiteY0" fmla="*/ 60147 h 73590"/>
                <a:gd name="connsiteX1" fmla="*/ 44005 w 81478"/>
                <a:gd name="connsiteY1" fmla="*/ 48248 h 73590"/>
                <a:gd name="connsiteX2" fmla="*/ 26836 w 81478"/>
                <a:gd name="connsiteY2" fmla="*/ 31269 h 73590"/>
                <a:gd name="connsiteX3" fmla="*/ 371 w 81478"/>
                <a:gd name="connsiteY3" fmla="*/ 352 h 73590"/>
                <a:gd name="connsiteX4" fmla="*/ 2766 w 81478"/>
                <a:gd name="connsiteY4" fmla="*/ -249 h 73590"/>
                <a:gd name="connsiteX5" fmla="*/ 26795 w 81478"/>
                <a:gd name="connsiteY5" fmla="*/ 14424 h 73590"/>
                <a:gd name="connsiteX6" fmla="*/ 40595 w 81478"/>
                <a:gd name="connsiteY6" fmla="*/ 23749 h 73590"/>
                <a:gd name="connsiteX7" fmla="*/ 40595 w 81478"/>
                <a:gd name="connsiteY7" fmla="*/ 23749 h 73590"/>
                <a:gd name="connsiteX8" fmla="*/ 42219 w 81478"/>
                <a:gd name="connsiteY8" fmla="*/ 24317 h 73590"/>
                <a:gd name="connsiteX9" fmla="*/ 42665 w 81478"/>
                <a:gd name="connsiteY9" fmla="*/ 24317 h 73590"/>
                <a:gd name="connsiteX10" fmla="*/ 42665 w 81478"/>
                <a:gd name="connsiteY10" fmla="*/ 24317 h 73590"/>
                <a:gd name="connsiteX11" fmla="*/ 43883 w 81478"/>
                <a:gd name="connsiteY11" fmla="*/ 24986 h 73590"/>
                <a:gd name="connsiteX12" fmla="*/ 44613 w 81478"/>
                <a:gd name="connsiteY12" fmla="*/ 25587 h 73590"/>
                <a:gd name="connsiteX13" fmla="*/ 77613 w 81478"/>
                <a:gd name="connsiteY13" fmla="*/ 62988 h 73590"/>
                <a:gd name="connsiteX14" fmla="*/ 80048 w 81478"/>
                <a:gd name="connsiteY14" fmla="*/ 73015 h 73590"/>
                <a:gd name="connsiteX15" fmla="*/ 55613 w 81478"/>
                <a:gd name="connsiteY15" fmla="*/ 60147 h 73590"/>
                <a:gd name="connsiteX16" fmla="*/ 36414 w 81478"/>
                <a:gd name="connsiteY16" fmla="*/ 24150 h 73590"/>
                <a:gd name="connsiteX17" fmla="*/ 25252 w 81478"/>
                <a:gd name="connsiteY17" fmla="*/ 16296 h 73590"/>
                <a:gd name="connsiteX18" fmla="*/ 4308 w 81478"/>
                <a:gd name="connsiteY18" fmla="*/ 2926 h 73590"/>
                <a:gd name="connsiteX19" fmla="*/ 29068 w 81478"/>
                <a:gd name="connsiteY19" fmla="*/ 30033 h 73590"/>
                <a:gd name="connsiteX20" fmla="*/ 47415 w 81478"/>
                <a:gd name="connsiteY20" fmla="*/ 48349 h 73590"/>
                <a:gd name="connsiteX21" fmla="*/ 57481 w 81478"/>
                <a:gd name="connsiteY21" fmla="*/ 58610 h 73590"/>
                <a:gd name="connsiteX22" fmla="*/ 77288 w 81478"/>
                <a:gd name="connsiteY22" fmla="*/ 70275 h 73590"/>
                <a:gd name="connsiteX23" fmla="*/ 74488 w 81478"/>
                <a:gd name="connsiteY23" fmla="*/ 63356 h 73590"/>
                <a:gd name="connsiteX24" fmla="*/ 46846 w 81478"/>
                <a:gd name="connsiteY24" fmla="*/ 30266 h 73590"/>
                <a:gd name="connsiteX25" fmla="*/ 41407 w 81478"/>
                <a:gd name="connsiteY25" fmla="*/ 26924 h 73590"/>
                <a:gd name="connsiteX26" fmla="*/ 38931 w 81478"/>
                <a:gd name="connsiteY26" fmla="*/ 26055 h 73590"/>
                <a:gd name="connsiteX27" fmla="*/ 38931 w 81478"/>
                <a:gd name="connsiteY27" fmla="*/ 26055 h 73590"/>
                <a:gd name="connsiteX28" fmla="*/ 37632 w 81478"/>
                <a:gd name="connsiteY28" fmla="*/ 25353 h 73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1478" h="73590">
                  <a:moveTo>
                    <a:pt x="55613" y="60147"/>
                  </a:moveTo>
                  <a:cubicBezTo>
                    <a:pt x="51068" y="56671"/>
                    <a:pt x="47171" y="52660"/>
                    <a:pt x="44005" y="48248"/>
                  </a:cubicBezTo>
                  <a:cubicBezTo>
                    <a:pt x="38809" y="42232"/>
                    <a:pt x="33087" y="36550"/>
                    <a:pt x="26836" y="31269"/>
                  </a:cubicBezTo>
                  <a:cubicBezTo>
                    <a:pt x="11655" y="17398"/>
                    <a:pt x="-2755" y="4363"/>
                    <a:pt x="371" y="352"/>
                  </a:cubicBezTo>
                  <a:cubicBezTo>
                    <a:pt x="939" y="-249"/>
                    <a:pt x="1913" y="-483"/>
                    <a:pt x="2766" y="-249"/>
                  </a:cubicBezTo>
                  <a:cubicBezTo>
                    <a:pt x="6825" y="319"/>
                    <a:pt x="14943" y="5901"/>
                    <a:pt x="26795" y="14424"/>
                  </a:cubicBezTo>
                  <a:cubicBezTo>
                    <a:pt x="31138" y="17799"/>
                    <a:pt x="35724" y="20908"/>
                    <a:pt x="40595" y="23749"/>
                  </a:cubicBezTo>
                  <a:lnTo>
                    <a:pt x="40595" y="23749"/>
                  </a:lnTo>
                  <a:lnTo>
                    <a:pt x="42219" y="24317"/>
                  </a:lnTo>
                  <a:lnTo>
                    <a:pt x="42665" y="24317"/>
                  </a:lnTo>
                  <a:lnTo>
                    <a:pt x="42665" y="24317"/>
                  </a:lnTo>
                  <a:cubicBezTo>
                    <a:pt x="43112" y="24451"/>
                    <a:pt x="43558" y="24685"/>
                    <a:pt x="43883" y="24986"/>
                  </a:cubicBezTo>
                  <a:lnTo>
                    <a:pt x="44613" y="25587"/>
                  </a:lnTo>
                  <a:cubicBezTo>
                    <a:pt x="53016" y="30801"/>
                    <a:pt x="64015" y="43268"/>
                    <a:pt x="77613" y="62988"/>
                  </a:cubicBezTo>
                  <a:cubicBezTo>
                    <a:pt x="81672" y="68904"/>
                    <a:pt x="82484" y="72313"/>
                    <a:pt x="80048" y="73015"/>
                  </a:cubicBezTo>
                  <a:cubicBezTo>
                    <a:pt x="75746" y="74787"/>
                    <a:pt x="63204" y="66230"/>
                    <a:pt x="55613" y="60147"/>
                  </a:cubicBezTo>
                  <a:close/>
                  <a:moveTo>
                    <a:pt x="36414" y="24150"/>
                  </a:moveTo>
                  <a:cubicBezTo>
                    <a:pt x="33654" y="22345"/>
                    <a:pt x="29961" y="19671"/>
                    <a:pt x="25252" y="16296"/>
                  </a:cubicBezTo>
                  <a:cubicBezTo>
                    <a:pt x="18108" y="11115"/>
                    <a:pt x="7271" y="3294"/>
                    <a:pt x="4308" y="2926"/>
                  </a:cubicBezTo>
                  <a:cubicBezTo>
                    <a:pt x="2116" y="5466"/>
                    <a:pt x="18352" y="20206"/>
                    <a:pt x="29068" y="30033"/>
                  </a:cubicBezTo>
                  <a:cubicBezTo>
                    <a:pt x="35806" y="35681"/>
                    <a:pt x="41975" y="41798"/>
                    <a:pt x="47415" y="48349"/>
                  </a:cubicBezTo>
                  <a:cubicBezTo>
                    <a:pt x="50175" y="52125"/>
                    <a:pt x="53584" y="55602"/>
                    <a:pt x="57481" y="58610"/>
                  </a:cubicBezTo>
                  <a:cubicBezTo>
                    <a:pt x="66411" y="65896"/>
                    <a:pt x="75462" y="70876"/>
                    <a:pt x="77288" y="70275"/>
                  </a:cubicBezTo>
                  <a:cubicBezTo>
                    <a:pt x="78019" y="70007"/>
                    <a:pt x="77735" y="68069"/>
                    <a:pt x="74488" y="63356"/>
                  </a:cubicBezTo>
                  <a:cubicBezTo>
                    <a:pt x="60606" y="43302"/>
                    <a:pt x="51757" y="34277"/>
                    <a:pt x="46846" y="30266"/>
                  </a:cubicBezTo>
                  <a:cubicBezTo>
                    <a:pt x="45263" y="28930"/>
                    <a:pt x="43396" y="27793"/>
                    <a:pt x="41407" y="26924"/>
                  </a:cubicBezTo>
                  <a:lnTo>
                    <a:pt x="38931" y="26055"/>
                  </a:lnTo>
                  <a:lnTo>
                    <a:pt x="38931" y="26055"/>
                  </a:lnTo>
                  <a:cubicBezTo>
                    <a:pt x="38403" y="25922"/>
                    <a:pt x="37957" y="25687"/>
                    <a:pt x="37632" y="2535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D1E95CB8-9657-4042-BB38-19A11C7D8581}"/>
                </a:ext>
              </a:extLst>
            </p:cNvPr>
            <p:cNvSpPr/>
            <p:nvPr/>
          </p:nvSpPr>
          <p:spPr>
            <a:xfrm>
              <a:off x="9654605" y="4966909"/>
              <a:ext cx="618513" cy="154301"/>
            </a:xfrm>
            <a:custGeom>
              <a:avLst/>
              <a:gdLst>
                <a:gd name="connsiteX0" fmla="*/ 589973 w 618513"/>
                <a:gd name="connsiteY0" fmla="*/ 78168 h 154301"/>
                <a:gd name="connsiteX1" fmla="*/ 556285 w 618513"/>
                <a:gd name="connsiteY1" fmla="*/ 65033 h 154301"/>
                <a:gd name="connsiteX2" fmla="*/ 528643 w 618513"/>
                <a:gd name="connsiteY2" fmla="*/ 34617 h 154301"/>
                <a:gd name="connsiteX3" fmla="*/ 512407 w 618513"/>
                <a:gd name="connsiteY3" fmla="*/ 6241 h 154301"/>
                <a:gd name="connsiteX4" fmla="*/ 495197 w 618513"/>
                <a:gd name="connsiteY4" fmla="*/ 291 h 154301"/>
                <a:gd name="connsiteX5" fmla="*/ 493208 w 618513"/>
                <a:gd name="connsiteY5" fmla="*/ 12157 h 154301"/>
                <a:gd name="connsiteX6" fmla="*/ 469991 w 618513"/>
                <a:gd name="connsiteY6" fmla="*/ 24824 h 154301"/>
                <a:gd name="connsiteX7" fmla="*/ 440604 w 618513"/>
                <a:gd name="connsiteY7" fmla="*/ 24022 h 154301"/>
                <a:gd name="connsiteX8" fmla="*/ 426640 w 618513"/>
                <a:gd name="connsiteY8" fmla="*/ 23821 h 154301"/>
                <a:gd name="connsiteX9" fmla="*/ 406345 w 618513"/>
                <a:gd name="connsiteY9" fmla="*/ 23821 h 154301"/>
                <a:gd name="connsiteX10" fmla="*/ 407401 w 618513"/>
                <a:gd name="connsiteY10" fmla="*/ 33849 h 154301"/>
                <a:gd name="connsiteX11" fmla="*/ 397091 w 618513"/>
                <a:gd name="connsiteY11" fmla="*/ 43876 h 154301"/>
                <a:gd name="connsiteX12" fmla="*/ 420187 w 618513"/>
                <a:gd name="connsiteY12" fmla="*/ 47218 h 154301"/>
                <a:gd name="connsiteX13" fmla="*/ 431268 w 618513"/>
                <a:gd name="connsiteY13" fmla="*/ 50059 h 154301"/>
                <a:gd name="connsiteX14" fmla="*/ 433581 w 618513"/>
                <a:gd name="connsiteY14" fmla="*/ 37458 h 154301"/>
                <a:gd name="connsiteX15" fmla="*/ 480503 w 618513"/>
                <a:gd name="connsiteY15" fmla="*/ 65334 h 154301"/>
                <a:gd name="connsiteX16" fmla="*/ 515004 w 618513"/>
                <a:gd name="connsiteY16" fmla="*/ 74759 h 154301"/>
                <a:gd name="connsiteX17" fmla="*/ 570774 w 618513"/>
                <a:gd name="connsiteY17" fmla="*/ 94646 h 154301"/>
                <a:gd name="connsiteX18" fmla="*/ 573737 w 618513"/>
                <a:gd name="connsiteY18" fmla="*/ 89465 h 154301"/>
                <a:gd name="connsiteX19" fmla="*/ 584494 w 618513"/>
                <a:gd name="connsiteY19" fmla="*/ 87694 h 154301"/>
                <a:gd name="connsiteX20" fmla="*/ 618427 w 618513"/>
                <a:gd name="connsiteY20" fmla="*/ 88195 h 154301"/>
                <a:gd name="connsiteX21" fmla="*/ 589731 w 618513"/>
                <a:gd name="connsiteY21" fmla="*/ 78168 h 154301"/>
                <a:gd name="connsiteX22" fmla="*/ 392545 w 618513"/>
                <a:gd name="connsiteY22" fmla="*/ 56877 h 154301"/>
                <a:gd name="connsiteX23" fmla="*/ 373995 w 618513"/>
                <a:gd name="connsiteY23" fmla="*/ 76063 h 154301"/>
                <a:gd name="connsiteX24" fmla="*/ 355771 w 618513"/>
                <a:gd name="connsiteY24" fmla="*/ 80809 h 154301"/>
                <a:gd name="connsiteX25" fmla="*/ 338074 w 618513"/>
                <a:gd name="connsiteY25" fmla="*/ 89933 h 154301"/>
                <a:gd name="connsiteX26" fmla="*/ 291964 w 618513"/>
                <a:gd name="connsiteY26" fmla="*/ 89933 h 154301"/>
                <a:gd name="connsiteX27" fmla="*/ 266108 w 618513"/>
                <a:gd name="connsiteY27" fmla="*/ 79505 h 154301"/>
                <a:gd name="connsiteX28" fmla="*/ 266636 w 618513"/>
                <a:gd name="connsiteY28" fmla="*/ 72820 h 154301"/>
                <a:gd name="connsiteX29" fmla="*/ 229456 w 618513"/>
                <a:gd name="connsiteY29" fmla="*/ 81377 h 154301"/>
                <a:gd name="connsiteX30" fmla="*/ 212124 w 618513"/>
                <a:gd name="connsiteY30" fmla="*/ 81377 h 154301"/>
                <a:gd name="connsiteX31" fmla="*/ 201976 w 618513"/>
                <a:gd name="connsiteY31" fmla="*/ 84452 h 154301"/>
                <a:gd name="connsiteX32" fmla="*/ 192884 w 618513"/>
                <a:gd name="connsiteY32" fmla="*/ 76163 h 154301"/>
                <a:gd name="connsiteX33" fmla="*/ 166217 w 618513"/>
                <a:gd name="connsiteY33" fmla="*/ 65902 h 154301"/>
                <a:gd name="connsiteX34" fmla="*/ 109025 w 618513"/>
                <a:gd name="connsiteY34" fmla="*/ 45647 h 154301"/>
                <a:gd name="connsiteX35" fmla="*/ 72982 w 618513"/>
                <a:gd name="connsiteY35" fmla="*/ 45146 h 154301"/>
                <a:gd name="connsiteX36" fmla="*/ 49318 w 618513"/>
                <a:gd name="connsiteY36" fmla="*/ 43307 h 154301"/>
                <a:gd name="connsiteX37" fmla="*/ 87432 w 618513"/>
                <a:gd name="connsiteY37" fmla="*/ 61456 h 154301"/>
                <a:gd name="connsiteX38" fmla="*/ 144258 w 618513"/>
                <a:gd name="connsiteY38" fmla="*/ 77399 h 154301"/>
                <a:gd name="connsiteX39" fmla="*/ 170032 w 618513"/>
                <a:gd name="connsiteY39" fmla="*/ 99994 h 154301"/>
                <a:gd name="connsiteX40" fmla="*/ 199459 w 618513"/>
                <a:gd name="connsiteY40" fmla="*/ 119212 h 154301"/>
                <a:gd name="connsiteX41" fmla="*/ 216466 w 618513"/>
                <a:gd name="connsiteY41" fmla="*/ 114032 h 154301"/>
                <a:gd name="connsiteX42" fmla="*/ 226249 w 618513"/>
                <a:gd name="connsiteY42" fmla="*/ 115903 h 154301"/>
                <a:gd name="connsiteX43" fmla="*/ 245853 w 618513"/>
                <a:gd name="connsiteY43" fmla="*/ 130376 h 154301"/>
                <a:gd name="connsiteX44" fmla="*/ 271101 w 618513"/>
                <a:gd name="connsiteY44" fmla="*/ 132615 h 154301"/>
                <a:gd name="connsiteX45" fmla="*/ 286078 w 618513"/>
                <a:gd name="connsiteY45" fmla="*/ 144113 h 154301"/>
                <a:gd name="connsiteX46" fmla="*/ 305033 w 618513"/>
                <a:gd name="connsiteY46" fmla="*/ 141406 h 154301"/>
                <a:gd name="connsiteX47" fmla="*/ 307672 w 618513"/>
                <a:gd name="connsiteY47" fmla="*/ 148090 h 154301"/>
                <a:gd name="connsiteX48" fmla="*/ 332472 w 618513"/>
                <a:gd name="connsiteY48" fmla="*/ 153906 h 154301"/>
                <a:gd name="connsiteX49" fmla="*/ 355284 w 618513"/>
                <a:gd name="connsiteY49" fmla="*/ 137194 h 154301"/>
                <a:gd name="connsiteX50" fmla="*/ 378623 w 618513"/>
                <a:gd name="connsiteY50" fmla="*/ 118243 h 154301"/>
                <a:gd name="connsiteX51" fmla="*/ 410201 w 618513"/>
                <a:gd name="connsiteY51" fmla="*/ 115135 h 154301"/>
                <a:gd name="connsiteX52" fmla="*/ 429644 w 618513"/>
                <a:gd name="connsiteY52" fmla="*/ 79973 h 154301"/>
                <a:gd name="connsiteX53" fmla="*/ 427655 w 618513"/>
                <a:gd name="connsiteY53" fmla="*/ 64197 h 154301"/>
                <a:gd name="connsiteX54" fmla="*/ 392586 w 618513"/>
                <a:gd name="connsiteY54" fmla="*/ 57145 h 154301"/>
                <a:gd name="connsiteX55" fmla="*/ 129239 w 618513"/>
                <a:gd name="connsiteY55" fmla="*/ 80040 h 154301"/>
                <a:gd name="connsiteX56" fmla="*/ 83941 w 618513"/>
                <a:gd name="connsiteY56" fmla="*/ 75127 h 154301"/>
                <a:gd name="connsiteX57" fmla="*/ 100665 w 618513"/>
                <a:gd name="connsiteY57" fmla="*/ 92707 h 154301"/>
                <a:gd name="connsiteX58" fmla="*/ 127819 w 618513"/>
                <a:gd name="connsiteY58" fmla="*/ 99192 h 154301"/>
                <a:gd name="connsiteX59" fmla="*/ 152700 w 618513"/>
                <a:gd name="connsiteY59" fmla="*/ 98156 h 154301"/>
                <a:gd name="connsiteX60" fmla="*/ 129239 w 618513"/>
                <a:gd name="connsiteY60" fmla="*/ 80040 h 154301"/>
                <a:gd name="connsiteX61" fmla="*/ 60561 w 618513"/>
                <a:gd name="connsiteY61" fmla="*/ 70381 h 154301"/>
                <a:gd name="connsiteX62" fmla="*/ 46761 w 618513"/>
                <a:gd name="connsiteY62" fmla="*/ 54103 h 154301"/>
                <a:gd name="connsiteX63" fmla="*/ 5197 w 618513"/>
                <a:gd name="connsiteY63" fmla="*/ 44845 h 154301"/>
                <a:gd name="connsiteX64" fmla="*/ 13558 w 618513"/>
                <a:gd name="connsiteY64" fmla="*/ 55407 h 154301"/>
                <a:gd name="connsiteX65" fmla="*/ 20256 w 618513"/>
                <a:gd name="connsiteY65" fmla="*/ 65434 h 154301"/>
                <a:gd name="connsiteX66" fmla="*/ 3614 w 618513"/>
                <a:gd name="connsiteY66" fmla="*/ 84352 h 154301"/>
                <a:gd name="connsiteX67" fmla="*/ 26994 w 618513"/>
                <a:gd name="connsiteY67" fmla="*/ 91705 h 154301"/>
                <a:gd name="connsiteX68" fmla="*/ 64824 w 618513"/>
                <a:gd name="connsiteY68" fmla="*/ 81678 h 154301"/>
                <a:gd name="connsiteX69" fmla="*/ 60561 w 618513"/>
                <a:gd name="connsiteY69" fmla="*/ 70381 h 1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18513" h="154301">
                  <a:moveTo>
                    <a:pt x="589973" y="78168"/>
                  </a:moveTo>
                  <a:cubicBezTo>
                    <a:pt x="586767" y="70280"/>
                    <a:pt x="564199" y="69946"/>
                    <a:pt x="556285" y="65033"/>
                  </a:cubicBezTo>
                  <a:cubicBezTo>
                    <a:pt x="543701" y="57178"/>
                    <a:pt x="535137" y="43942"/>
                    <a:pt x="528643" y="34617"/>
                  </a:cubicBezTo>
                  <a:cubicBezTo>
                    <a:pt x="522148" y="25292"/>
                    <a:pt x="519754" y="14931"/>
                    <a:pt x="512407" y="6241"/>
                  </a:cubicBezTo>
                  <a:cubicBezTo>
                    <a:pt x="508348" y="1662"/>
                    <a:pt x="500027" y="-1815"/>
                    <a:pt x="495197" y="291"/>
                  </a:cubicBezTo>
                  <a:cubicBezTo>
                    <a:pt x="490366" y="2397"/>
                    <a:pt x="496536" y="8981"/>
                    <a:pt x="493208" y="12157"/>
                  </a:cubicBezTo>
                  <a:cubicBezTo>
                    <a:pt x="488580" y="16602"/>
                    <a:pt x="478595" y="23788"/>
                    <a:pt x="469991" y="24824"/>
                  </a:cubicBezTo>
                  <a:cubicBezTo>
                    <a:pt x="455825" y="26562"/>
                    <a:pt x="461426" y="33414"/>
                    <a:pt x="440604" y="24022"/>
                  </a:cubicBezTo>
                  <a:cubicBezTo>
                    <a:pt x="431998" y="20145"/>
                    <a:pt x="430294" y="20212"/>
                    <a:pt x="426640" y="23821"/>
                  </a:cubicBezTo>
                  <a:cubicBezTo>
                    <a:pt x="422988" y="27431"/>
                    <a:pt x="412271" y="22050"/>
                    <a:pt x="406345" y="23821"/>
                  </a:cubicBezTo>
                  <a:cubicBezTo>
                    <a:pt x="400419" y="25593"/>
                    <a:pt x="408132" y="30306"/>
                    <a:pt x="407401" y="33849"/>
                  </a:cubicBezTo>
                  <a:cubicBezTo>
                    <a:pt x="406914" y="36121"/>
                    <a:pt x="394940" y="41603"/>
                    <a:pt x="397091" y="43876"/>
                  </a:cubicBezTo>
                  <a:cubicBezTo>
                    <a:pt x="401637" y="48388"/>
                    <a:pt x="414504" y="44611"/>
                    <a:pt x="420187" y="47218"/>
                  </a:cubicBezTo>
                  <a:cubicBezTo>
                    <a:pt x="423069" y="48555"/>
                    <a:pt x="431998" y="56443"/>
                    <a:pt x="431268" y="50059"/>
                  </a:cubicBezTo>
                  <a:cubicBezTo>
                    <a:pt x="430821" y="45781"/>
                    <a:pt x="410404" y="21816"/>
                    <a:pt x="433581" y="37458"/>
                  </a:cubicBezTo>
                  <a:cubicBezTo>
                    <a:pt x="450061" y="48622"/>
                    <a:pt x="466581" y="49858"/>
                    <a:pt x="480503" y="65334"/>
                  </a:cubicBezTo>
                  <a:cubicBezTo>
                    <a:pt x="501163" y="88396"/>
                    <a:pt x="491341" y="73288"/>
                    <a:pt x="515004" y="74759"/>
                  </a:cubicBezTo>
                  <a:cubicBezTo>
                    <a:pt x="534447" y="75962"/>
                    <a:pt x="553524" y="93543"/>
                    <a:pt x="570774" y="94646"/>
                  </a:cubicBezTo>
                  <a:cubicBezTo>
                    <a:pt x="575118" y="94913"/>
                    <a:pt x="576092" y="92407"/>
                    <a:pt x="573737" y="89465"/>
                  </a:cubicBezTo>
                  <a:cubicBezTo>
                    <a:pt x="571384" y="86524"/>
                    <a:pt x="582992" y="87627"/>
                    <a:pt x="584494" y="87694"/>
                  </a:cubicBezTo>
                  <a:cubicBezTo>
                    <a:pt x="590907" y="87961"/>
                    <a:pt x="616316" y="92473"/>
                    <a:pt x="618427" y="88195"/>
                  </a:cubicBezTo>
                  <a:cubicBezTo>
                    <a:pt x="619442" y="86056"/>
                    <a:pt x="591962" y="83683"/>
                    <a:pt x="589731" y="78168"/>
                  </a:cubicBezTo>
                  <a:close/>
                  <a:moveTo>
                    <a:pt x="392545" y="56877"/>
                  </a:moveTo>
                  <a:cubicBezTo>
                    <a:pt x="372250" y="52666"/>
                    <a:pt x="375213" y="68876"/>
                    <a:pt x="373995" y="76063"/>
                  </a:cubicBezTo>
                  <a:cubicBezTo>
                    <a:pt x="373265" y="80274"/>
                    <a:pt x="360641" y="79940"/>
                    <a:pt x="355771" y="80809"/>
                  </a:cubicBezTo>
                  <a:cubicBezTo>
                    <a:pt x="347409" y="82313"/>
                    <a:pt x="345989" y="88663"/>
                    <a:pt x="338074" y="89933"/>
                  </a:cubicBezTo>
                  <a:cubicBezTo>
                    <a:pt x="322853" y="92497"/>
                    <a:pt x="307185" y="92497"/>
                    <a:pt x="291964" y="89933"/>
                  </a:cubicBezTo>
                  <a:cubicBezTo>
                    <a:pt x="284293" y="88697"/>
                    <a:pt x="266879" y="88329"/>
                    <a:pt x="266108" y="79505"/>
                  </a:cubicBezTo>
                  <a:cubicBezTo>
                    <a:pt x="265905" y="76965"/>
                    <a:pt x="273333" y="74592"/>
                    <a:pt x="266636" y="72820"/>
                  </a:cubicBezTo>
                  <a:cubicBezTo>
                    <a:pt x="244352" y="66437"/>
                    <a:pt x="245042" y="80909"/>
                    <a:pt x="229456" y="81377"/>
                  </a:cubicBezTo>
                  <a:cubicBezTo>
                    <a:pt x="225397" y="81377"/>
                    <a:pt x="214072" y="78903"/>
                    <a:pt x="212124" y="81377"/>
                  </a:cubicBezTo>
                  <a:cubicBezTo>
                    <a:pt x="209566" y="84719"/>
                    <a:pt x="211799" y="87594"/>
                    <a:pt x="201976" y="84452"/>
                  </a:cubicBezTo>
                  <a:cubicBezTo>
                    <a:pt x="192153" y="81310"/>
                    <a:pt x="195036" y="80441"/>
                    <a:pt x="192884" y="76163"/>
                  </a:cubicBezTo>
                  <a:cubicBezTo>
                    <a:pt x="190408" y="71183"/>
                    <a:pt x="171331" y="67205"/>
                    <a:pt x="166217" y="65902"/>
                  </a:cubicBezTo>
                  <a:cubicBezTo>
                    <a:pt x="145232" y="60487"/>
                    <a:pt x="128265" y="44811"/>
                    <a:pt x="109025" y="45647"/>
                  </a:cubicBezTo>
                  <a:cubicBezTo>
                    <a:pt x="97011" y="46476"/>
                    <a:pt x="84956" y="46309"/>
                    <a:pt x="72982" y="45146"/>
                  </a:cubicBezTo>
                  <a:cubicBezTo>
                    <a:pt x="65960" y="44277"/>
                    <a:pt x="52118" y="38227"/>
                    <a:pt x="49318" y="43307"/>
                  </a:cubicBezTo>
                  <a:cubicBezTo>
                    <a:pt x="45259" y="50694"/>
                    <a:pt x="80004" y="63027"/>
                    <a:pt x="87432" y="61456"/>
                  </a:cubicBezTo>
                  <a:cubicBezTo>
                    <a:pt x="99609" y="58849"/>
                    <a:pt x="131268" y="72386"/>
                    <a:pt x="144258" y="77399"/>
                  </a:cubicBezTo>
                  <a:cubicBezTo>
                    <a:pt x="161873" y="84084"/>
                    <a:pt x="183345" y="91003"/>
                    <a:pt x="170032" y="99994"/>
                  </a:cubicBezTo>
                  <a:cubicBezTo>
                    <a:pt x="155825" y="109586"/>
                    <a:pt x="184482" y="120449"/>
                    <a:pt x="199459" y="119212"/>
                  </a:cubicBezTo>
                  <a:cubicBezTo>
                    <a:pt x="206481" y="118577"/>
                    <a:pt x="222717" y="122555"/>
                    <a:pt x="216466" y="114032"/>
                  </a:cubicBezTo>
                  <a:cubicBezTo>
                    <a:pt x="210216" y="105509"/>
                    <a:pt x="223854" y="108617"/>
                    <a:pt x="226249" y="115903"/>
                  </a:cubicBezTo>
                  <a:cubicBezTo>
                    <a:pt x="228197" y="121853"/>
                    <a:pt x="237614" y="127602"/>
                    <a:pt x="245853" y="130376"/>
                  </a:cubicBezTo>
                  <a:cubicBezTo>
                    <a:pt x="252997" y="132749"/>
                    <a:pt x="266473" y="129674"/>
                    <a:pt x="271101" y="132615"/>
                  </a:cubicBezTo>
                  <a:cubicBezTo>
                    <a:pt x="276946" y="136325"/>
                    <a:pt x="276621" y="142976"/>
                    <a:pt x="286078" y="144113"/>
                  </a:cubicBezTo>
                  <a:cubicBezTo>
                    <a:pt x="292451" y="143565"/>
                    <a:pt x="298782" y="142662"/>
                    <a:pt x="305033" y="141406"/>
                  </a:cubicBezTo>
                  <a:cubicBezTo>
                    <a:pt x="307063" y="143979"/>
                    <a:pt x="302720" y="144748"/>
                    <a:pt x="307672" y="148090"/>
                  </a:cubicBezTo>
                  <a:cubicBezTo>
                    <a:pt x="314896" y="152288"/>
                    <a:pt x="323665" y="154337"/>
                    <a:pt x="332472" y="153906"/>
                  </a:cubicBezTo>
                  <a:cubicBezTo>
                    <a:pt x="347085" y="153304"/>
                    <a:pt x="342945" y="139233"/>
                    <a:pt x="355284" y="137194"/>
                  </a:cubicBezTo>
                  <a:cubicBezTo>
                    <a:pt x="367623" y="135155"/>
                    <a:pt x="380409" y="128370"/>
                    <a:pt x="378623" y="118243"/>
                  </a:cubicBezTo>
                  <a:cubicBezTo>
                    <a:pt x="376958" y="108751"/>
                    <a:pt x="400948" y="114199"/>
                    <a:pt x="410201" y="115135"/>
                  </a:cubicBezTo>
                  <a:cubicBezTo>
                    <a:pt x="432647" y="117341"/>
                    <a:pt x="428224" y="90969"/>
                    <a:pt x="429644" y="79973"/>
                  </a:cubicBezTo>
                  <a:cubicBezTo>
                    <a:pt x="430131" y="76196"/>
                    <a:pt x="436382" y="67840"/>
                    <a:pt x="427655" y="64197"/>
                  </a:cubicBezTo>
                  <a:cubicBezTo>
                    <a:pt x="416169" y="59417"/>
                    <a:pt x="403951" y="59518"/>
                    <a:pt x="392586" y="57145"/>
                  </a:cubicBezTo>
                  <a:close/>
                  <a:moveTo>
                    <a:pt x="129239" y="80040"/>
                  </a:moveTo>
                  <a:cubicBezTo>
                    <a:pt x="117062" y="85922"/>
                    <a:pt x="96767" y="63094"/>
                    <a:pt x="83941" y="75127"/>
                  </a:cubicBezTo>
                  <a:cubicBezTo>
                    <a:pt x="76838" y="81811"/>
                    <a:pt x="87189" y="101865"/>
                    <a:pt x="100665" y="92707"/>
                  </a:cubicBezTo>
                  <a:cubicBezTo>
                    <a:pt x="106793" y="88596"/>
                    <a:pt x="120959" y="93042"/>
                    <a:pt x="127819" y="99192"/>
                  </a:cubicBezTo>
                  <a:cubicBezTo>
                    <a:pt x="135327" y="106077"/>
                    <a:pt x="148925" y="100662"/>
                    <a:pt x="152700" y="98156"/>
                  </a:cubicBezTo>
                  <a:cubicBezTo>
                    <a:pt x="162929" y="91471"/>
                    <a:pt x="139265" y="75160"/>
                    <a:pt x="129239" y="80040"/>
                  </a:cubicBezTo>
                  <a:close/>
                  <a:moveTo>
                    <a:pt x="60561" y="70381"/>
                  </a:moveTo>
                  <a:cubicBezTo>
                    <a:pt x="64093" y="65267"/>
                    <a:pt x="44325" y="59250"/>
                    <a:pt x="46761" y="54103"/>
                  </a:cubicBezTo>
                  <a:cubicBezTo>
                    <a:pt x="50048" y="46349"/>
                    <a:pt x="9784" y="44577"/>
                    <a:pt x="5197" y="44845"/>
                  </a:cubicBezTo>
                  <a:cubicBezTo>
                    <a:pt x="-5275" y="45346"/>
                    <a:pt x="1138" y="58214"/>
                    <a:pt x="13558" y="55407"/>
                  </a:cubicBezTo>
                  <a:cubicBezTo>
                    <a:pt x="26994" y="52265"/>
                    <a:pt x="25735" y="58749"/>
                    <a:pt x="20256" y="65434"/>
                  </a:cubicBezTo>
                  <a:cubicBezTo>
                    <a:pt x="14776" y="72119"/>
                    <a:pt x="1991" y="73723"/>
                    <a:pt x="3614" y="84352"/>
                  </a:cubicBezTo>
                  <a:cubicBezTo>
                    <a:pt x="5359" y="95649"/>
                    <a:pt x="18348" y="94111"/>
                    <a:pt x="26994" y="91705"/>
                  </a:cubicBezTo>
                  <a:cubicBezTo>
                    <a:pt x="39171" y="88362"/>
                    <a:pt x="53255" y="85655"/>
                    <a:pt x="64824" y="81678"/>
                  </a:cubicBezTo>
                  <a:cubicBezTo>
                    <a:pt x="72738" y="78937"/>
                    <a:pt x="57923" y="74224"/>
                    <a:pt x="60561" y="7038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5C4416CB-3D57-4F05-83D9-1A2FD8C01303}"/>
                </a:ext>
              </a:extLst>
            </p:cNvPr>
            <p:cNvSpPr/>
            <p:nvPr/>
          </p:nvSpPr>
          <p:spPr>
            <a:xfrm>
              <a:off x="8095516" y="4254715"/>
              <a:ext cx="1885653" cy="828110"/>
            </a:xfrm>
            <a:custGeom>
              <a:avLst/>
              <a:gdLst>
                <a:gd name="connsiteX0" fmla="*/ 1884214 w 1885653"/>
                <a:gd name="connsiteY0" fmla="*/ 558738 h 828110"/>
                <a:gd name="connsiteX1" fmla="*/ 1853407 w 1885653"/>
                <a:gd name="connsiteY1" fmla="*/ 541491 h 828110"/>
                <a:gd name="connsiteX2" fmla="*/ 1825928 w 1885653"/>
                <a:gd name="connsiteY2" fmla="*/ 536912 h 828110"/>
                <a:gd name="connsiteX3" fmla="*/ 1796541 w 1885653"/>
                <a:gd name="connsiteY3" fmla="*/ 524412 h 828110"/>
                <a:gd name="connsiteX4" fmla="*/ 1780994 w 1885653"/>
                <a:gd name="connsiteY4" fmla="*/ 492693 h 828110"/>
                <a:gd name="connsiteX5" fmla="*/ 1742597 w 1885653"/>
                <a:gd name="connsiteY5" fmla="*/ 457063 h 828110"/>
                <a:gd name="connsiteX6" fmla="*/ 1704889 w 1885653"/>
                <a:gd name="connsiteY6" fmla="*/ 430324 h 828110"/>
                <a:gd name="connsiteX7" fmla="*/ 1709435 w 1885653"/>
                <a:gd name="connsiteY7" fmla="*/ 419194 h 828110"/>
                <a:gd name="connsiteX8" fmla="*/ 1705376 w 1885653"/>
                <a:gd name="connsiteY8" fmla="*/ 399140 h 828110"/>
                <a:gd name="connsiteX9" fmla="*/ 1700667 w 1885653"/>
                <a:gd name="connsiteY9" fmla="*/ 387241 h 828110"/>
                <a:gd name="connsiteX10" fmla="*/ 1698922 w 1885653"/>
                <a:gd name="connsiteY10" fmla="*/ 365315 h 828110"/>
                <a:gd name="connsiteX11" fmla="*/ 1692671 w 1885653"/>
                <a:gd name="connsiteY11" fmla="*/ 355021 h 828110"/>
                <a:gd name="connsiteX12" fmla="*/ 1687354 w 1885653"/>
                <a:gd name="connsiteY12" fmla="*/ 340248 h 828110"/>
                <a:gd name="connsiteX13" fmla="*/ 1581212 w 1885653"/>
                <a:gd name="connsiteY13" fmla="*/ 281690 h 828110"/>
                <a:gd name="connsiteX14" fmla="*/ 1541393 w 1885653"/>
                <a:gd name="connsiteY14" fmla="*/ 268320 h 828110"/>
                <a:gd name="connsiteX15" fmla="*/ 1517932 w 1885653"/>
                <a:gd name="connsiteY15" fmla="*/ 273467 h 828110"/>
                <a:gd name="connsiteX16" fmla="*/ 1528851 w 1885653"/>
                <a:gd name="connsiteY16" fmla="*/ 282826 h 828110"/>
                <a:gd name="connsiteX17" fmla="*/ 1502751 w 1885653"/>
                <a:gd name="connsiteY17" fmla="*/ 294691 h 828110"/>
                <a:gd name="connsiteX18" fmla="*/ 1462446 w 1885653"/>
                <a:gd name="connsiteY18" fmla="*/ 307760 h 828110"/>
                <a:gd name="connsiteX19" fmla="*/ 1440933 w 1885653"/>
                <a:gd name="connsiteY19" fmla="*/ 312305 h 828110"/>
                <a:gd name="connsiteX20" fmla="*/ 1411871 w 1885653"/>
                <a:gd name="connsiteY20" fmla="*/ 308963 h 828110"/>
                <a:gd name="connsiteX21" fmla="*/ 1375341 w 1885653"/>
                <a:gd name="connsiteY21" fmla="*/ 287305 h 828110"/>
                <a:gd name="connsiteX22" fmla="*/ 1340839 w 1885653"/>
                <a:gd name="connsiteY22" fmla="*/ 300674 h 828110"/>
                <a:gd name="connsiteX23" fmla="*/ 1332721 w 1885653"/>
                <a:gd name="connsiteY23" fmla="*/ 306891 h 828110"/>
                <a:gd name="connsiteX24" fmla="*/ 1319733 w 1885653"/>
                <a:gd name="connsiteY24" fmla="*/ 311704 h 828110"/>
                <a:gd name="connsiteX25" fmla="*/ 1344655 w 1885653"/>
                <a:gd name="connsiteY25" fmla="*/ 326377 h 828110"/>
                <a:gd name="connsiteX26" fmla="*/ 1374772 w 1885653"/>
                <a:gd name="connsiteY26" fmla="*/ 342587 h 828110"/>
                <a:gd name="connsiteX27" fmla="*/ 1401318 w 1885653"/>
                <a:gd name="connsiteY27" fmla="*/ 344626 h 828110"/>
                <a:gd name="connsiteX28" fmla="*/ 1425672 w 1885653"/>
                <a:gd name="connsiteY28" fmla="*/ 370563 h 828110"/>
                <a:gd name="connsiteX29" fmla="*/ 1436307 w 1885653"/>
                <a:gd name="connsiteY29" fmla="*/ 388645 h 828110"/>
                <a:gd name="connsiteX30" fmla="*/ 1404443 w 1885653"/>
                <a:gd name="connsiteY30" fmla="*/ 378050 h 828110"/>
                <a:gd name="connsiteX31" fmla="*/ 1363650 w 1885653"/>
                <a:gd name="connsiteY31" fmla="*/ 366519 h 828110"/>
                <a:gd name="connsiteX32" fmla="*/ 1310884 w 1885653"/>
                <a:gd name="connsiteY32" fmla="*/ 362374 h 828110"/>
                <a:gd name="connsiteX33" fmla="*/ 1274800 w 1885653"/>
                <a:gd name="connsiteY33" fmla="*/ 357695 h 828110"/>
                <a:gd name="connsiteX34" fmla="*/ 1230151 w 1885653"/>
                <a:gd name="connsiteY34" fmla="*/ 351010 h 828110"/>
                <a:gd name="connsiteX35" fmla="*/ 1190576 w 1885653"/>
                <a:gd name="connsiteY35" fmla="*/ 335435 h 828110"/>
                <a:gd name="connsiteX36" fmla="*/ 1155953 w 1885653"/>
                <a:gd name="connsiteY36" fmla="*/ 330622 h 828110"/>
                <a:gd name="connsiteX37" fmla="*/ 1157130 w 1885653"/>
                <a:gd name="connsiteY37" fmla="*/ 349439 h 828110"/>
                <a:gd name="connsiteX38" fmla="*/ 1127052 w 1885653"/>
                <a:gd name="connsiteY38" fmla="*/ 350275 h 828110"/>
                <a:gd name="connsiteX39" fmla="*/ 1083094 w 1885653"/>
                <a:gd name="connsiteY39" fmla="*/ 351010 h 828110"/>
                <a:gd name="connsiteX40" fmla="*/ 1041490 w 1885653"/>
                <a:gd name="connsiteY40" fmla="*/ 338309 h 828110"/>
                <a:gd name="connsiteX41" fmla="*/ 943871 w 1885653"/>
                <a:gd name="connsiteY41" fmla="*/ 318790 h 828110"/>
                <a:gd name="connsiteX42" fmla="*/ 917691 w 1885653"/>
                <a:gd name="connsiteY42" fmla="*/ 310467 h 828110"/>
                <a:gd name="connsiteX43" fmla="*/ 880430 w 1885653"/>
                <a:gd name="connsiteY43" fmla="*/ 291215 h 828110"/>
                <a:gd name="connsiteX44" fmla="*/ 850718 w 1885653"/>
                <a:gd name="connsiteY44" fmla="*/ 277111 h 828110"/>
                <a:gd name="connsiteX45" fmla="*/ 815080 w 1885653"/>
                <a:gd name="connsiteY45" fmla="*/ 256789 h 828110"/>
                <a:gd name="connsiteX46" fmla="*/ 742018 w 1885653"/>
                <a:gd name="connsiteY46" fmla="*/ 231487 h 828110"/>
                <a:gd name="connsiteX47" fmla="*/ 682270 w 1885653"/>
                <a:gd name="connsiteY47" fmla="*/ 207523 h 828110"/>
                <a:gd name="connsiteX48" fmla="*/ 672367 w 1885653"/>
                <a:gd name="connsiteY48" fmla="*/ 183290 h 828110"/>
                <a:gd name="connsiteX49" fmla="*/ 646673 w 1885653"/>
                <a:gd name="connsiteY49" fmla="*/ 160696 h 828110"/>
                <a:gd name="connsiteX50" fmla="*/ 588752 w 1885653"/>
                <a:gd name="connsiteY50" fmla="*/ 129378 h 828110"/>
                <a:gd name="connsiteX51" fmla="*/ 554981 w 1885653"/>
                <a:gd name="connsiteY51" fmla="*/ 112666 h 828110"/>
                <a:gd name="connsiteX52" fmla="*/ 571582 w 1885653"/>
                <a:gd name="connsiteY52" fmla="*/ 92612 h 828110"/>
                <a:gd name="connsiteX53" fmla="*/ 563464 w 1885653"/>
                <a:gd name="connsiteY53" fmla="*/ 66943 h 828110"/>
                <a:gd name="connsiteX54" fmla="*/ 534362 w 1885653"/>
                <a:gd name="connsiteY54" fmla="*/ 45184 h 828110"/>
                <a:gd name="connsiteX55" fmla="*/ 503960 w 1885653"/>
                <a:gd name="connsiteY55" fmla="*/ 22155 h 828110"/>
                <a:gd name="connsiteX56" fmla="*/ 499901 w 1885653"/>
                <a:gd name="connsiteY56" fmla="*/ 8786 h 828110"/>
                <a:gd name="connsiteX57" fmla="*/ 481107 w 1885653"/>
                <a:gd name="connsiteY57" fmla="*/ -339 h 828110"/>
                <a:gd name="connsiteX58" fmla="*/ 465967 w 1885653"/>
                <a:gd name="connsiteY58" fmla="*/ 7081 h 828110"/>
                <a:gd name="connsiteX59" fmla="*/ 443684 w 1885653"/>
                <a:gd name="connsiteY59" fmla="*/ 11293 h 828110"/>
                <a:gd name="connsiteX60" fmla="*/ 423389 w 1885653"/>
                <a:gd name="connsiteY60" fmla="*/ 19013 h 828110"/>
                <a:gd name="connsiteX61" fmla="*/ 422699 w 1885653"/>
                <a:gd name="connsiteY61" fmla="*/ 33152 h 828110"/>
                <a:gd name="connsiteX62" fmla="*/ 370541 w 1885653"/>
                <a:gd name="connsiteY62" fmla="*/ 24261 h 828110"/>
                <a:gd name="connsiteX63" fmla="*/ 345132 w 1885653"/>
                <a:gd name="connsiteY63" fmla="*/ 14234 h 828110"/>
                <a:gd name="connsiteX64" fmla="*/ 331007 w 1885653"/>
                <a:gd name="connsiteY64" fmla="*/ 24528 h 828110"/>
                <a:gd name="connsiteX65" fmla="*/ 310346 w 1885653"/>
                <a:gd name="connsiteY65" fmla="*/ 42744 h 828110"/>
                <a:gd name="connsiteX66" fmla="*/ 298778 w 1885653"/>
                <a:gd name="connsiteY66" fmla="*/ 47892 h 828110"/>
                <a:gd name="connsiteX67" fmla="*/ 269837 w 1885653"/>
                <a:gd name="connsiteY67" fmla="*/ 39034 h 828110"/>
                <a:gd name="connsiteX68" fmla="*/ 238178 w 1885653"/>
                <a:gd name="connsiteY68" fmla="*/ 41775 h 828110"/>
                <a:gd name="connsiteX69" fmla="*/ 237244 w 1885653"/>
                <a:gd name="connsiteY69" fmla="*/ 57116 h 828110"/>
                <a:gd name="connsiteX70" fmla="*/ 243739 w 1885653"/>
                <a:gd name="connsiteY70" fmla="*/ 74229 h 828110"/>
                <a:gd name="connsiteX71" fmla="*/ 228761 w 1885653"/>
                <a:gd name="connsiteY71" fmla="*/ 80246 h 828110"/>
                <a:gd name="connsiteX72" fmla="*/ 215935 w 1885653"/>
                <a:gd name="connsiteY72" fmla="*/ 93916 h 828110"/>
                <a:gd name="connsiteX73" fmla="*/ 155618 w 1885653"/>
                <a:gd name="connsiteY73" fmla="*/ 97559 h 828110"/>
                <a:gd name="connsiteX74" fmla="*/ 102405 w 1885653"/>
                <a:gd name="connsiteY74" fmla="*/ 94685 h 828110"/>
                <a:gd name="connsiteX75" fmla="*/ 81663 w 1885653"/>
                <a:gd name="connsiteY75" fmla="*/ 96857 h 828110"/>
                <a:gd name="connsiteX76" fmla="*/ 57310 w 1885653"/>
                <a:gd name="connsiteY76" fmla="*/ 88100 h 828110"/>
                <a:gd name="connsiteX77" fmla="*/ 31698 w 1885653"/>
                <a:gd name="connsiteY77" fmla="*/ 89470 h 828110"/>
                <a:gd name="connsiteX78" fmla="*/ 7059 w 1885653"/>
                <a:gd name="connsiteY78" fmla="*/ 95253 h 828110"/>
                <a:gd name="connsiteX79" fmla="*/ 1945 w 1885653"/>
                <a:gd name="connsiteY79" fmla="*/ 113703 h 828110"/>
                <a:gd name="connsiteX80" fmla="*/ 28735 w 1885653"/>
                <a:gd name="connsiteY80" fmla="*/ 130982 h 828110"/>
                <a:gd name="connsiteX81" fmla="*/ 26380 w 1885653"/>
                <a:gd name="connsiteY81" fmla="*/ 154379 h 828110"/>
                <a:gd name="connsiteX82" fmla="*/ 49192 w 1885653"/>
                <a:gd name="connsiteY82" fmla="*/ 171458 h 828110"/>
                <a:gd name="connsiteX83" fmla="*/ 55848 w 1885653"/>
                <a:gd name="connsiteY83" fmla="*/ 185530 h 828110"/>
                <a:gd name="connsiteX84" fmla="*/ 84261 w 1885653"/>
                <a:gd name="connsiteY84" fmla="*/ 200136 h 828110"/>
                <a:gd name="connsiteX85" fmla="*/ 102161 w 1885653"/>
                <a:gd name="connsiteY85" fmla="*/ 207155 h 828110"/>
                <a:gd name="connsiteX86" fmla="*/ 169540 w 1885653"/>
                <a:gd name="connsiteY86" fmla="*/ 229114 h 828110"/>
                <a:gd name="connsiteX87" fmla="*/ 135770 w 1885653"/>
                <a:gd name="connsiteY87" fmla="*/ 241147 h 828110"/>
                <a:gd name="connsiteX88" fmla="*/ 116692 w 1885653"/>
                <a:gd name="connsiteY88" fmla="*/ 241782 h 828110"/>
                <a:gd name="connsiteX89" fmla="*/ 123877 w 1885653"/>
                <a:gd name="connsiteY89" fmla="*/ 257992 h 828110"/>
                <a:gd name="connsiteX90" fmla="*/ 120711 w 1885653"/>
                <a:gd name="connsiteY90" fmla="*/ 268019 h 828110"/>
                <a:gd name="connsiteX91" fmla="*/ 102770 w 1885653"/>
                <a:gd name="connsiteY91" fmla="*/ 261702 h 828110"/>
                <a:gd name="connsiteX92" fmla="*/ 100091 w 1885653"/>
                <a:gd name="connsiteY92" fmla="*/ 282926 h 828110"/>
                <a:gd name="connsiteX93" fmla="*/ 148149 w 1885653"/>
                <a:gd name="connsiteY93" fmla="*/ 324405 h 828110"/>
                <a:gd name="connsiteX94" fmla="*/ 174411 w 1885653"/>
                <a:gd name="connsiteY94" fmla="*/ 325875 h 828110"/>
                <a:gd name="connsiteX95" fmla="*/ 198765 w 1885653"/>
                <a:gd name="connsiteY95" fmla="*/ 341752 h 828110"/>
                <a:gd name="connsiteX96" fmla="*/ 249908 w 1885653"/>
                <a:gd name="connsiteY96" fmla="*/ 380824 h 828110"/>
                <a:gd name="connsiteX97" fmla="*/ 315096 w 1885653"/>
                <a:gd name="connsiteY97" fmla="*/ 411707 h 828110"/>
                <a:gd name="connsiteX98" fmla="*/ 336405 w 1885653"/>
                <a:gd name="connsiteY98" fmla="*/ 418793 h 828110"/>
                <a:gd name="connsiteX99" fmla="*/ 350976 w 1885653"/>
                <a:gd name="connsiteY99" fmla="*/ 417189 h 828110"/>
                <a:gd name="connsiteX100" fmla="*/ 352072 w 1885653"/>
                <a:gd name="connsiteY100" fmla="*/ 435873 h 828110"/>
                <a:gd name="connsiteX101" fmla="*/ 382109 w 1885653"/>
                <a:gd name="connsiteY101" fmla="*/ 426982 h 828110"/>
                <a:gd name="connsiteX102" fmla="*/ 413769 w 1885653"/>
                <a:gd name="connsiteY102" fmla="*/ 438078 h 828110"/>
                <a:gd name="connsiteX103" fmla="*/ 441005 w 1885653"/>
                <a:gd name="connsiteY103" fmla="*/ 450746 h 828110"/>
                <a:gd name="connsiteX104" fmla="*/ 478104 w 1885653"/>
                <a:gd name="connsiteY104" fmla="*/ 445231 h 828110"/>
                <a:gd name="connsiteX105" fmla="*/ 491458 w 1885653"/>
                <a:gd name="connsiteY105" fmla="*/ 446702 h 828110"/>
                <a:gd name="connsiteX106" fmla="*/ 512443 w 1885653"/>
                <a:gd name="connsiteY106" fmla="*/ 444763 h 828110"/>
                <a:gd name="connsiteX107" fmla="*/ 547269 w 1885653"/>
                <a:gd name="connsiteY107" fmla="*/ 454790 h 828110"/>
                <a:gd name="connsiteX108" fmla="*/ 567928 w 1885653"/>
                <a:gd name="connsiteY108" fmla="*/ 468728 h 828110"/>
                <a:gd name="connsiteX109" fmla="*/ 575844 w 1885653"/>
                <a:gd name="connsiteY109" fmla="*/ 478588 h 828110"/>
                <a:gd name="connsiteX110" fmla="*/ 594556 w 1885653"/>
                <a:gd name="connsiteY110" fmla="*/ 483000 h 828110"/>
                <a:gd name="connsiteX111" fmla="*/ 605231 w 1885653"/>
                <a:gd name="connsiteY111" fmla="*/ 501349 h 828110"/>
                <a:gd name="connsiteX112" fmla="*/ 616677 w 1885653"/>
                <a:gd name="connsiteY112" fmla="*/ 515487 h 828110"/>
                <a:gd name="connsiteX113" fmla="*/ 598736 w 1885653"/>
                <a:gd name="connsiteY113" fmla="*/ 536511 h 828110"/>
                <a:gd name="connsiteX114" fmla="*/ 565372 w 1885653"/>
                <a:gd name="connsiteY114" fmla="*/ 549546 h 828110"/>
                <a:gd name="connsiteX115" fmla="*/ 591471 w 1885653"/>
                <a:gd name="connsiteY115" fmla="*/ 570570 h 828110"/>
                <a:gd name="connsiteX116" fmla="*/ 590293 w 1885653"/>
                <a:gd name="connsiteY116" fmla="*/ 585543 h 828110"/>
                <a:gd name="connsiteX117" fmla="*/ 602024 w 1885653"/>
                <a:gd name="connsiteY117" fmla="*/ 592696 h 828110"/>
                <a:gd name="connsiteX118" fmla="*/ 594191 w 1885653"/>
                <a:gd name="connsiteY118" fmla="*/ 603826 h 828110"/>
                <a:gd name="connsiteX119" fmla="*/ 609655 w 1885653"/>
                <a:gd name="connsiteY119" fmla="*/ 617998 h 828110"/>
                <a:gd name="connsiteX120" fmla="*/ 631615 w 1885653"/>
                <a:gd name="connsiteY120" fmla="*/ 629529 h 828110"/>
                <a:gd name="connsiteX121" fmla="*/ 644766 w 1885653"/>
                <a:gd name="connsiteY121" fmla="*/ 641060 h 828110"/>
                <a:gd name="connsiteX122" fmla="*/ 656455 w 1885653"/>
                <a:gd name="connsiteY122" fmla="*/ 633406 h 828110"/>
                <a:gd name="connsiteX123" fmla="*/ 664086 w 1885653"/>
                <a:gd name="connsiteY123" fmla="*/ 624950 h 828110"/>
                <a:gd name="connsiteX124" fmla="*/ 693919 w 1885653"/>
                <a:gd name="connsiteY124" fmla="*/ 629596 h 828110"/>
                <a:gd name="connsiteX125" fmla="*/ 719572 w 1885653"/>
                <a:gd name="connsiteY125" fmla="*/ 637818 h 828110"/>
                <a:gd name="connsiteX126" fmla="*/ 751192 w 1885653"/>
                <a:gd name="connsiteY126" fmla="*/ 646341 h 828110"/>
                <a:gd name="connsiteX127" fmla="*/ 797464 w 1885653"/>
                <a:gd name="connsiteY127" fmla="*/ 660947 h 828110"/>
                <a:gd name="connsiteX128" fmla="*/ 800427 w 1885653"/>
                <a:gd name="connsiteY128" fmla="*/ 672979 h 828110"/>
                <a:gd name="connsiteX129" fmla="*/ 818855 w 1885653"/>
                <a:gd name="connsiteY129" fmla="*/ 692733 h 828110"/>
                <a:gd name="connsiteX130" fmla="*/ 841098 w 1885653"/>
                <a:gd name="connsiteY130" fmla="*/ 703395 h 828110"/>
                <a:gd name="connsiteX131" fmla="*/ 853275 w 1885653"/>
                <a:gd name="connsiteY131" fmla="*/ 702659 h 828110"/>
                <a:gd name="connsiteX132" fmla="*/ 861393 w 1885653"/>
                <a:gd name="connsiteY132" fmla="*/ 711751 h 828110"/>
                <a:gd name="connsiteX133" fmla="*/ 883920 w 1885653"/>
                <a:gd name="connsiteY133" fmla="*/ 718435 h 828110"/>
                <a:gd name="connsiteX134" fmla="*/ 875802 w 1885653"/>
                <a:gd name="connsiteY134" fmla="*/ 735147 h 828110"/>
                <a:gd name="connsiteX135" fmla="*/ 889441 w 1885653"/>
                <a:gd name="connsiteY135" fmla="*/ 735481 h 828110"/>
                <a:gd name="connsiteX136" fmla="*/ 918381 w 1885653"/>
                <a:gd name="connsiteY136" fmla="*/ 734178 h 828110"/>
                <a:gd name="connsiteX137" fmla="*/ 974395 w 1885653"/>
                <a:gd name="connsiteY137" fmla="*/ 740863 h 828110"/>
                <a:gd name="connsiteX138" fmla="*/ 1001265 w 1885653"/>
                <a:gd name="connsiteY138" fmla="*/ 739760 h 828110"/>
                <a:gd name="connsiteX139" fmla="*/ 1026674 w 1885653"/>
                <a:gd name="connsiteY139" fmla="*/ 750689 h 828110"/>
                <a:gd name="connsiteX140" fmla="*/ 1064626 w 1885653"/>
                <a:gd name="connsiteY140" fmla="*/ 760716 h 828110"/>
                <a:gd name="connsiteX141" fmla="*/ 1098234 w 1885653"/>
                <a:gd name="connsiteY141" fmla="*/ 763791 h 828110"/>
                <a:gd name="connsiteX142" fmla="*/ 1137850 w 1885653"/>
                <a:gd name="connsiteY142" fmla="*/ 762053 h 828110"/>
                <a:gd name="connsiteX143" fmla="*/ 1160864 w 1885653"/>
                <a:gd name="connsiteY143" fmla="*/ 762053 h 828110"/>
                <a:gd name="connsiteX144" fmla="*/ 1184203 w 1885653"/>
                <a:gd name="connsiteY144" fmla="*/ 758109 h 828110"/>
                <a:gd name="connsiteX145" fmla="*/ 1196989 w 1885653"/>
                <a:gd name="connsiteY145" fmla="*/ 758811 h 828110"/>
                <a:gd name="connsiteX146" fmla="*/ 1204335 w 1885653"/>
                <a:gd name="connsiteY146" fmla="*/ 748784 h 828110"/>
                <a:gd name="connsiteX147" fmla="*/ 1210871 w 1885653"/>
                <a:gd name="connsiteY147" fmla="*/ 745442 h 828110"/>
                <a:gd name="connsiteX148" fmla="*/ 1213956 w 1885653"/>
                <a:gd name="connsiteY148" fmla="*/ 739225 h 828110"/>
                <a:gd name="connsiteX149" fmla="*/ 1246753 w 1885653"/>
                <a:gd name="connsiteY149" fmla="*/ 739559 h 828110"/>
                <a:gd name="connsiteX150" fmla="*/ 1258483 w 1885653"/>
                <a:gd name="connsiteY150" fmla="*/ 734546 h 828110"/>
                <a:gd name="connsiteX151" fmla="*/ 1278452 w 1885653"/>
                <a:gd name="connsiteY151" fmla="*/ 735147 h 828110"/>
                <a:gd name="connsiteX152" fmla="*/ 1287423 w 1885653"/>
                <a:gd name="connsiteY152" fmla="*/ 725488 h 828110"/>
                <a:gd name="connsiteX153" fmla="*/ 1296312 w 1885653"/>
                <a:gd name="connsiteY153" fmla="*/ 722948 h 828110"/>
                <a:gd name="connsiteX154" fmla="*/ 1297083 w 1885653"/>
                <a:gd name="connsiteY154" fmla="*/ 717533 h 828110"/>
                <a:gd name="connsiteX155" fmla="*/ 1317053 w 1885653"/>
                <a:gd name="connsiteY155" fmla="*/ 717533 h 828110"/>
                <a:gd name="connsiteX156" fmla="*/ 1302806 w 1885653"/>
                <a:gd name="connsiteY156" fmla="*/ 710548 h 828110"/>
                <a:gd name="connsiteX157" fmla="*/ 1291563 w 1885653"/>
                <a:gd name="connsiteY157" fmla="*/ 700888 h 828110"/>
                <a:gd name="connsiteX158" fmla="*/ 1278169 w 1885653"/>
                <a:gd name="connsiteY158" fmla="*/ 696443 h 828110"/>
                <a:gd name="connsiteX159" fmla="*/ 1292254 w 1885653"/>
                <a:gd name="connsiteY159" fmla="*/ 695306 h 828110"/>
                <a:gd name="connsiteX160" fmla="*/ 1310031 w 1885653"/>
                <a:gd name="connsiteY160" fmla="*/ 686951 h 828110"/>
                <a:gd name="connsiteX161" fmla="*/ 1294688 w 1885653"/>
                <a:gd name="connsiteY161" fmla="*/ 674082 h 828110"/>
                <a:gd name="connsiteX162" fmla="*/ 1281619 w 1885653"/>
                <a:gd name="connsiteY162" fmla="*/ 660713 h 828110"/>
                <a:gd name="connsiteX163" fmla="*/ 1320219 w 1885653"/>
                <a:gd name="connsiteY163" fmla="*/ 671342 h 828110"/>
                <a:gd name="connsiteX164" fmla="*/ 1308042 w 1885653"/>
                <a:gd name="connsiteY164" fmla="*/ 650352 h 828110"/>
                <a:gd name="connsiteX165" fmla="*/ 1303131 w 1885653"/>
                <a:gd name="connsiteY165" fmla="*/ 626955 h 828110"/>
                <a:gd name="connsiteX166" fmla="*/ 1288681 w 1885653"/>
                <a:gd name="connsiteY166" fmla="*/ 605664 h 828110"/>
                <a:gd name="connsiteX167" fmla="*/ 1291928 w 1885653"/>
                <a:gd name="connsiteY167" fmla="*/ 591025 h 828110"/>
                <a:gd name="connsiteX168" fmla="*/ 1311939 w 1885653"/>
                <a:gd name="connsiteY168" fmla="*/ 591392 h 828110"/>
                <a:gd name="connsiteX169" fmla="*/ 1320707 w 1885653"/>
                <a:gd name="connsiteY169" fmla="*/ 587749 h 828110"/>
                <a:gd name="connsiteX170" fmla="*/ 1332071 w 1885653"/>
                <a:gd name="connsiteY170" fmla="*/ 591092 h 828110"/>
                <a:gd name="connsiteX171" fmla="*/ 1353301 w 1885653"/>
                <a:gd name="connsiteY171" fmla="*/ 589354 h 828110"/>
                <a:gd name="connsiteX172" fmla="*/ 1401683 w 1885653"/>
                <a:gd name="connsiteY172" fmla="*/ 594568 h 828110"/>
                <a:gd name="connsiteX173" fmla="*/ 1376030 w 1885653"/>
                <a:gd name="connsiteY173" fmla="*/ 578357 h 828110"/>
                <a:gd name="connsiteX174" fmla="*/ 1350459 w 1885653"/>
                <a:gd name="connsiteY174" fmla="*/ 561813 h 828110"/>
                <a:gd name="connsiteX175" fmla="*/ 1303902 w 1885653"/>
                <a:gd name="connsiteY175" fmla="*/ 545870 h 828110"/>
                <a:gd name="connsiteX176" fmla="*/ 1272081 w 1885653"/>
                <a:gd name="connsiteY176" fmla="*/ 514585 h 828110"/>
                <a:gd name="connsiteX177" fmla="*/ 1314902 w 1885653"/>
                <a:gd name="connsiteY177" fmla="*/ 517627 h 828110"/>
                <a:gd name="connsiteX178" fmla="*/ 1343843 w 1885653"/>
                <a:gd name="connsiteY178" fmla="*/ 513482 h 828110"/>
                <a:gd name="connsiteX179" fmla="*/ 1388492 w 1885653"/>
                <a:gd name="connsiteY179" fmla="*/ 515955 h 828110"/>
                <a:gd name="connsiteX180" fmla="*/ 1412846 w 1885653"/>
                <a:gd name="connsiteY180" fmla="*/ 537647 h 828110"/>
                <a:gd name="connsiteX181" fmla="*/ 1390237 w 1885653"/>
                <a:gd name="connsiteY181" fmla="*/ 546271 h 828110"/>
                <a:gd name="connsiteX182" fmla="*/ 1394296 w 1885653"/>
                <a:gd name="connsiteY182" fmla="*/ 557267 h 828110"/>
                <a:gd name="connsiteX183" fmla="*/ 1449701 w 1885653"/>
                <a:gd name="connsiteY183" fmla="*/ 562548 h 828110"/>
                <a:gd name="connsiteX184" fmla="*/ 1474055 w 1885653"/>
                <a:gd name="connsiteY184" fmla="*/ 567294 h 828110"/>
                <a:gd name="connsiteX185" fmla="*/ 1493619 w 1885653"/>
                <a:gd name="connsiteY185" fmla="*/ 567294 h 828110"/>
                <a:gd name="connsiteX186" fmla="*/ 1562621 w 1885653"/>
                <a:gd name="connsiteY186" fmla="*/ 574179 h 828110"/>
                <a:gd name="connsiteX187" fmla="*/ 1589736 w 1885653"/>
                <a:gd name="connsiteY187" fmla="*/ 578324 h 828110"/>
                <a:gd name="connsiteX188" fmla="*/ 1619488 w 1885653"/>
                <a:gd name="connsiteY188" fmla="*/ 593164 h 828110"/>
                <a:gd name="connsiteX189" fmla="*/ 1634628 w 1885653"/>
                <a:gd name="connsiteY189" fmla="*/ 589654 h 828110"/>
                <a:gd name="connsiteX190" fmla="*/ 1663974 w 1885653"/>
                <a:gd name="connsiteY190" fmla="*/ 592128 h 828110"/>
                <a:gd name="connsiteX191" fmla="*/ 1689221 w 1885653"/>
                <a:gd name="connsiteY191" fmla="*/ 590289 h 828110"/>
                <a:gd name="connsiteX192" fmla="*/ 1727010 w 1885653"/>
                <a:gd name="connsiteY192" fmla="*/ 599414 h 828110"/>
                <a:gd name="connsiteX193" fmla="*/ 1736954 w 1885653"/>
                <a:gd name="connsiteY193" fmla="*/ 577020 h 828110"/>
                <a:gd name="connsiteX194" fmla="*/ 1767113 w 1885653"/>
                <a:gd name="connsiteY194" fmla="*/ 572775 h 828110"/>
                <a:gd name="connsiteX195" fmla="*/ 1798894 w 1885653"/>
                <a:gd name="connsiteY195" fmla="*/ 589487 h 828110"/>
                <a:gd name="connsiteX196" fmla="*/ 1831123 w 1885653"/>
                <a:gd name="connsiteY196" fmla="*/ 583337 h 828110"/>
                <a:gd name="connsiteX197" fmla="*/ 1866233 w 1885653"/>
                <a:gd name="connsiteY197" fmla="*/ 571773 h 828110"/>
                <a:gd name="connsiteX198" fmla="*/ 1880642 w 1885653"/>
                <a:gd name="connsiteY198" fmla="*/ 569868 h 828110"/>
                <a:gd name="connsiteX199" fmla="*/ 1883199 w 1885653"/>
                <a:gd name="connsiteY199" fmla="*/ 558203 h 828110"/>
                <a:gd name="connsiteX200" fmla="*/ 1197476 w 1885653"/>
                <a:gd name="connsiteY200" fmla="*/ 795577 h 828110"/>
                <a:gd name="connsiteX201" fmla="*/ 1196218 w 1885653"/>
                <a:gd name="connsiteY201" fmla="*/ 827764 h 828110"/>
                <a:gd name="connsiteX202" fmla="*/ 1236807 w 1885653"/>
                <a:gd name="connsiteY202" fmla="*/ 812690 h 828110"/>
                <a:gd name="connsiteX203" fmla="*/ 1258158 w 1885653"/>
                <a:gd name="connsiteY203" fmla="*/ 793037 h 828110"/>
                <a:gd name="connsiteX204" fmla="*/ 1197517 w 1885653"/>
                <a:gd name="connsiteY204" fmla="*/ 795577 h 828110"/>
                <a:gd name="connsiteX205" fmla="*/ 869795 w 1885653"/>
                <a:gd name="connsiteY205" fmla="*/ 744004 h 828110"/>
                <a:gd name="connsiteX206" fmla="*/ 862489 w 1885653"/>
                <a:gd name="connsiteY206" fmla="*/ 772582 h 828110"/>
                <a:gd name="connsiteX207" fmla="*/ 894960 w 1885653"/>
                <a:gd name="connsiteY207" fmla="*/ 763591 h 828110"/>
                <a:gd name="connsiteX208" fmla="*/ 869795 w 1885653"/>
                <a:gd name="connsiteY208" fmla="*/ 744004 h 82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885653" h="828110">
                  <a:moveTo>
                    <a:pt x="1884214" y="558738"/>
                  </a:moveTo>
                  <a:cubicBezTo>
                    <a:pt x="1892332" y="549145"/>
                    <a:pt x="1862377" y="545101"/>
                    <a:pt x="1853407" y="541491"/>
                  </a:cubicBezTo>
                  <a:cubicBezTo>
                    <a:pt x="1839931" y="536010"/>
                    <a:pt x="1837739" y="537881"/>
                    <a:pt x="1825928" y="536912"/>
                  </a:cubicBezTo>
                  <a:cubicBezTo>
                    <a:pt x="1818621" y="536310"/>
                    <a:pt x="1803319" y="527754"/>
                    <a:pt x="1796541" y="524412"/>
                  </a:cubicBezTo>
                  <a:cubicBezTo>
                    <a:pt x="1777666" y="515220"/>
                    <a:pt x="1772673" y="501550"/>
                    <a:pt x="1780994" y="492693"/>
                  </a:cubicBezTo>
                  <a:cubicBezTo>
                    <a:pt x="1784282" y="489350"/>
                    <a:pt x="1750511" y="461141"/>
                    <a:pt x="1742597" y="457063"/>
                  </a:cubicBezTo>
                  <a:cubicBezTo>
                    <a:pt x="1734682" y="452985"/>
                    <a:pt x="1707243" y="435405"/>
                    <a:pt x="1704889" y="430324"/>
                  </a:cubicBezTo>
                  <a:cubicBezTo>
                    <a:pt x="1702534" y="425244"/>
                    <a:pt x="1710044" y="423639"/>
                    <a:pt x="1709435" y="419194"/>
                  </a:cubicBezTo>
                  <a:cubicBezTo>
                    <a:pt x="1708541" y="412509"/>
                    <a:pt x="1704685" y="405290"/>
                    <a:pt x="1705376" y="399140"/>
                  </a:cubicBezTo>
                  <a:cubicBezTo>
                    <a:pt x="1705863" y="395463"/>
                    <a:pt x="1702453" y="391218"/>
                    <a:pt x="1700667" y="387241"/>
                  </a:cubicBezTo>
                  <a:cubicBezTo>
                    <a:pt x="1697014" y="379153"/>
                    <a:pt x="1701885" y="373136"/>
                    <a:pt x="1698922" y="365315"/>
                  </a:cubicBezTo>
                  <a:cubicBezTo>
                    <a:pt x="1697826" y="362374"/>
                    <a:pt x="1691656" y="357528"/>
                    <a:pt x="1692671" y="355021"/>
                  </a:cubicBezTo>
                  <a:cubicBezTo>
                    <a:pt x="1694944" y="349339"/>
                    <a:pt x="1694822" y="347501"/>
                    <a:pt x="1687354" y="340248"/>
                  </a:cubicBezTo>
                  <a:cubicBezTo>
                    <a:pt x="1663447" y="316851"/>
                    <a:pt x="1620056" y="293889"/>
                    <a:pt x="1581212" y="281690"/>
                  </a:cubicBezTo>
                  <a:cubicBezTo>
                    <a:pt x="1567898" y="277512"/>
                    <a:pt x="1554991" y="270192"/>
                    <a:pt x="1541393" y="268320"/>
                  </a:cubicBezTo>
                  <a:cubicBezTo>
                    <a:pt x="1535711" y="267518"/>
                    <a:pt x="1514361" y="267685"/>
                    <a:pt x="1517932" y="273467"/>
                  </a:cubicBezTo>
                  <a:cubicBezTo>
                    <a:pt x="1520652" y="277946"/>
                    <a:pt x="1528120" y="276810"/>
                    <a:pt x="1528851" y="282826"/>
                  </a:cubicBezTo>
                  <a:cubicBezTo>
                    <a:pt x="1530637" y="296997"/>
                    <a:pt x="1518298" y="292184"/>
                    <a:pt x="1502751" y="294691"/>
                  </a:cubicBezTo>
                  <a:cubicBezTo>
                    <a:pt x="1488667" y="297542"/>
                    <a:pt x="1475110" y="301937"/>
                    <a:pt x="1462446" y="307760"/>
                  </a:cubicBezTo>
                  <a:cubicBezTo>
                    <a:pt x="1455424" y="310701"/>
                    <a:pt x="1455302" y="316884"/>
                    <a:pt x="1440933" y="312305"/>
                  </a:cubicBezTo>
                  <a:cubicBezTo>
                    <a:pt x="1431719" y="309364"/>
                    <a:pt x="1420638" y="309966"/>
                    <a:pt x="1411871" y="308963"/>
                  </a:cubicBezTo>
                  <a:cubicBezTo>
                    <a:pt x="1392997" y="306991"/>
                    <a:pt x="1386625" y="294959"/>
                    <a:pt x="1375341" y="287305"/>
                  </a:cubicBezTo>
                  <a:cubicBezTo>
                    <a:pt x="1363813" y="291760"/>
                    <a:pt x="1352326" y="296219"/>
                    <a:pt x="1340839" y="300674"/>
                  </a:cubicBezTo>
                  <a:cubicBezTo>
                    <a:pt x="1337470" y="302085"/>
                    <a:pt x="1334670" y="304237"/>
                    <a:pt x="1332721" y="306891"/>
                  </a:cubicBezTo>
                  <a:cubicBezTo>
                    <a:pt x="1329921" y="309932"/>
                    <a:pt x="1318961" y="307091"/>
                    <a:pt x="1319733" y="311704"/>
                  </a:cubicBezTo>
                  <a:cubicBezTo>
                    <a:pt x="1321356" y="321062"/>
                    <a:pt x="1333249" y="323135"/>
                    <a:pt x="1344655" y="326377"/>
                  </a:cubicBezTo>
                  <a:cubicBezTo>
                    <a:pt x="1358617" y="330388"/>
                    <a:pt x="1363367" y="337340"/>
                    <a:pt x="1374772" y="342587"/>
                  </a:cubicBezTo>
                  <a:cubicBezTo>
                    <a:pt x="1381551" y="345696"/>
                    <a:pt x="1389871" y="339044"/>
                    <a:pt x="1401318" y="344626"/>
                  </a:cubicBezTo>
                  <a:cubicBezTo>
                    <a:pt x="1411709" y="349706"/>
                    <a:pt x="1419705" y="363711"/>
                    <a:pt x="1425672" y="370563"/>
                  </a:cubicBezTo>
                  <a:cubicBezTo>
                    <a:pt x="1429244" y="374641"/>
                    <a:pt x="1440366" y="385236"/>
                    <a:pt x="1436307" y="388645"/>
                  </a:cubicBezTo>
                  <a:cubicBezTo>
                    <a:pt x="1430259" y="393725"/>
                    <a:pt x="1410735" y="381960"/>
                    <a:pt x="1404443" y="378050"/>
                  </a:cubicBezTo>
                  <a:cubicBezTo>
                    <a:pt x="1392673" y="370496"/>
                    <a:pt x="1376559" y="371666"/>
                    <a:pt x="1363650" y="366519"/>
                  </a:cubicBezTo>
                  <a:cubicBezTo>
                    <a:pt x="1344736" y="358931"/>
                    <a:pt x="1325131" y="357828"/>
                    <a:pt x="1310884" y="362374"/>
                  </a:cubicBezTo>
                  <a:cubicBezTo>
                    <a:pt x="1299154" y="366084"/>
                    <a:pt x="1289533" y="362574"/>
                    <a:pt x="1274800" y="357695"/>
                  </a:cubicBezTo>
                  <a:cubicBezTo>
                    <a:pt x="1258564" y="352280"/>
                    <a:pt x="1246102" y="353450"/>
                    <a:pt x="1230151" y="351010"/>
                  </a:cubicBezTo>
                  <a:cubicBezTo>
                    <a:pt x="1215498" y="348794"/>
                    <a:pt x="1201860" y="343420"/>
                    <a:pt x="1190576" y="335435"/>
                  </a:cubicBezTo>
                  <a:cubicBezTo>
                    <a:pt x="1180754" y="328148"/>
                    <a:pt x="1162163" y="323569"/>
                    <a:pt x="1155953" y="330622"/>
                  </a:cubicBezTo>
                  <a:cubicBezTo>
                    <a:pt x="1151488" y="335735"/>
                    <a:pt x="1161879" y="343991"/>
                    <a:pt x="1157130" y="349439"/>
                  </a:cubicBezTo>
                  <a:cubicBezTo>
                    <a:pt x="1152381" y="354887"/>
                    <a:pt x="1136835" y="350843"/>
                    <a:pt x="1127052" y="350275"/>
                  </a:cubicBezTo>
                  <a:cubicBezTo>
                    <a:pt x="1111467" y="349339"/>
                    <a:pt x="1099493" y="352948"/>
                    <a:pt x="1083094" y="351010"/>
                  </a:cubicBezTo>
                  <a:cubicBezTo>
                    <a:pt x="1068319" y="349098"/>
                    <a:pt x="1054194" y="344780"/>
                    <a:pt x="1041490" y="338309"/>
                  </a:cubicBezTo>
                  <a:cubicBezTo>
                    <a:pt x="1006542" y="321898"/>
                    <a:pt x="979509" y="319425"/>
                    <a:pt x="943871" y="318790"/>
                  </a:cubicBezTo>
                  <a:cubicBezTo>
                    <a:pt x="933277" y="318589"/>
                    <a:pt x="923861" y="318155"/>
                    <a:pt x="917691" y="310467"/>
                  </a:cubicBezTo>
                  <a:cubicBezTo>
                    <a:pt x="910344" y="301242"/>
                    <a:pt x="891754" y="299304"/>
                    <a:pt x="880430" y="291215"/>
                  </a:cubicBezTo>
                  <a:cubicBezTo>
                    <a:pt x="870972" y="284530"/>
                    <a:pt x="860378" y="283127"/>
                    <a:pt x="850718" y="277111"/>
                  </a:cubicBezTo>
                  <a:cubicBezTo>
                    <a:pt x="838216" y="269356"/>
                    <a:pt x="830423" y="262805"/>
                    <a:pt x="815080" y="256789"/>
                  </a:cubicBezTo>
                  <a:cubicBezTo>
                    <a:pt x="791092" y="247464"/>
                    <a:pt x="766779" y="239476"/>
                    <a:pt x="742018" y="231487"/>
                  </a:cubicBezTo>
                  <a:cubicBezTo>
                    <a:pt x="725133" y="225972"/>
                    <a:pt x="687871" y="218118"/>
                    <a:pt x="682270" y="207523"/>
                  </a:cubicBezTo>
                  <a:cubicBezTo>
                    <a:pt x="677927" y="199762"/>
                    <a:pt x="674598" y="191636"/>
                    <a:pt x="672367" y="183290"/>
                  </a:cubicBezTo>
                  <a:cubicBezTo>
                    <a:pt x="669565" y="172762"/>
                    <a:pt x="653898" y="169687"/>
                    <a:pt x="646673" y="160696"/>
                  </a:cubicBezTo>
                  <a:cubicBezTo>
                    <a:pt x="633968" y="144887"/>
                    <a:pt x="612497" y="138737"/>
                    <a:pt x="588752" y="129378"/>
                  </a:cubicBezTo>
                  <a:cubicBezTo>
                    <a:pt x="577671" y="125000"/>
                    <a:pt x="562531" y="119351"/>
                    <a:pt x="554981" y="112666"/>
                  </a:cubicBezTo>
                  <a:cubicBezTo>
                    <a:pt x="548446" y="106817"/>
                    <a:pt x="567157" y="97057"/>
                    <a:pt x="571582" y="92612"/>
                  </a:cubicBezTo>
                  <a:cubicBezTo>
                    <a:pt x="580715" y="83387"/>
                    <a:pt x="562043" y="77371"/>
                    <a:pt x="563464" y="66943"/>
                  </a:cubicBezTo>
                  <a:cubicBezTo>
                    <a:pt x="564763" y="57718"/>
                    <a:pt x="545604" y="50799"/>
                    <a:pt x="534362" y="45184"/>
                  </a:cubicBezTo>
                  <a:cubicBezTo>
                    <a:pt x="522793" y="38881"/>
                    <a:pt x="512564" y="31106"/>
                    <a:pt x="503960" y="22155"/>
                  </a:cubicBezTo>
                  <a:cubicBezTo>
                    <a:pt x="499901" y="17576"/>
                    <a:pt x="500591" y="13231"/>
                    <a:pt x="499901" y="8786"/>
                  </a:cubicBezTo>
                  <a:cubicBezTo>
                    <a:pt x="492837" y="6379"/>
                    <a:pt x="485248" y="3973"/>
                    <a:pt x="481107" y="-339"/>
                  </a:cubicBezTo>
                  <a:cubicBezTo>
                    <a:pt x="477536" y="2803"/>
                    <a:pt x="467550" y="3004"/>
                    <a:pt x="465967" y="7081"/>
                  </a:cubicBezTo>
                  <a:cubicBezTo>
                    <a:pt x="463045" y="14234"/>
                    <a:pt x="455332" y="12797"/>
                    <a:pt x="443684" y="11293"/>
                  </a:cubicBezTo>
                  <a:cubicBezTo>
                    <a:pt x="432725" y="9855"/>
                    <a:pt x="425825" y="14000"/>
                    <a:pt x="423389" y="19013"/>
                  </a:cubicBezTo>
                  <a:cubicBezTo>
                    <a:pt x="421644" y="22356"/>
                    <a:pt x="427732" y="31113"/>
                    <a:pt x="422699" y="33152"/>
                  </a:cubicBezTo>
                  <a:cubicBezTo>
                    <a:pt x="408290" y="39068"/>
                    <a:pt x="386168" y="28539"/>
                    <a:pt x="370541" y="24261"/>
                  </a:cubicBezTo>
                  <a:cubicBezTo>
                    <a:pt x="365873" y="22957"/>
                    <a:pt x="348542" y="13398"/>
                    <a:pt x="345132" y="14234"/>
                  </a:cubicBezTo>
                  <a:cubicBezTo>
                    <a:pt x="339531" y="15404"/>
                    <a:pt x="334659" y="22022"/>
                    <a:pt x="331007" y="24528"/>
                  </a:cubicBezTo>
                  <a:cubicBezTo>
                    <a:pt x="327354" y="27035"/>
                    <a:pt x="305313" y="38399"/>
                    <a:pt x="310346" y="42744"/>
                  </a:cubicBezTo>
                  <a:cubicBezTo>
                    <a:pt x="319601" y="50799"/>
                    <a:pt x="310022" y="51635"/>
                    <a:pt x="298778" y="47892"/>
                  </a:cubicBezTo>
                  <a:cubicBezTo>
                    <a:pt x="285262" y="43446"/>
                    <a:pt x="285140" y="39870"/>
                    <a:pt x="269837" y="39034"/>
                  </a:cubicBezTo>
                  <a:cubicBezTo>
                    <a:pt x="257093" y="38299"/>
                    <a:pt x="232292" y="31313"/>
                    <a:pt x="238178" y="41775"/>
                  </a:cubicBezTo>
                  <a:cubicBezTo>
                    <a:pt x="241385" y="47490"/>
                    <a:pt x="235824" y="51802"/>
                    <a:pt x="237244" y="57116"/>
                  </a:cubicBezTo>
                  <a:cubicBezTo>
                    <a:pt x="238665" y="62431"/>
                    <a:pt x="244022" y="68748"/>
                    <a:pt x="243739" y="74229"/>
                  </a:cubicBezTo>
                  <a:cubicBezTo>
                    <a:pt x="243495" y="78207"/>
                    <a:pt x="233591" y="78875"/>
                    <a:pt x="228761" y="80246"/>
                  </a:cubicBezTo>
                  <a:cubicBezTo>
                    <a:pt x="221211" y="82351"/>
                    <a:pt x="223038" y="94083"/>
                    <a:pt x="215935" y="93916"/>
                  </a:cubicBezTo>
                  <a:cubicBezTo>
                    <a:pt x="196533" y="93481"/>
                    <a:pt x="169703" y="91810"/>
                    <a:pt x="155618" y="97559"/>
                  </a:cubicBezTo>
                  <a:cubicBezTo>
                    <a:pt x="139382" y="104244"/>
                    <a:pt x="119859" y="88902"/>
                    <a:pt x="102405" y="94685"/>
                  </a:cubicBezTo>
                  <a:cubicBezTo>
                    <a:pt x="95342" y="97057"/>
                    <a:pt x="89092" y="95654"/>
                    <a:pt x="81663" y="96857"/>
                  </a:cubicBezTo>
                  <a:cubicBezTo>
                    <a:pt x="71475" y="98562"/>
                    <a:pt x="67863" y="88133"/>
                    <a:pt x="57310" y="88100"/>
                  </a:cubicBezTo>
                  <a:cubicBezTo>
                    <a:pt x="48745" y="87729"/>
                    <a:pt x="40140" y="88190"/>
                    <a:pt x="31698" y="89470"/>
                  </a:cubicBezTo>
                  <a:cubicBezTo>
                    <a:pt x="16517" y="92378"/>
                    <a:pt x="15827" y="86763"/>
                    <a:pt x="7059" y="95253"/>
                  </a:cubicBezTo>
                  <a:cubicBezTo>
                    <a:pt x="2595" y="99598"/>
                    <a:pt x="-3169" y="107085"/>
                    <a:pt x="1945" y="113703"/>
                  </a:cubicBezTo>
                  <a:cubicBezTo>
                    <a:pt x="6329" y="119385"/>
                    <a:pt x="29587" y="123028"/>
                    <a:pt x="28735" y="130982"/>
                  </a:cubicBezTo>
                  <a:cubicBezTo>
                    <a:pt x="28491" y="133556"/>
                    <a:pt x="27801" y="154379"/>
                    <a:pt x="26380" y="154379"/>
                  </a:cubicBezTo>
                  <a:cubicBezTo>
                    <a:pt x="33646" y="159927"/>
                    <a:pt x="43509" y="165375"/>
                    <a:pt x="49192" y="171458"/>
                  </a:cubicBezTo>
                  <a:cubicBezTo>
                    <a:pt x="53251" y="176004"/>
                    <a:pt x="49192" y="180249"/>
                    <a:pt x="55848" y="185530"/>
                  </a:cubicBezTo>
                  <a:cubicBezTo>
                    <a:pt x="64453" y="191479"/>
                    <a:pt x="73992" y="196396"/>
                    <a:pt x="84261" y="200136"/>
                  </a:cubicBezTo>
                  <a:cubicBezTo>
                    <a:pt x="93678" y="203177"/>
                    <a:pt x="96032" y="200738"/>
                    <a:pt x="102161" y="207155"/>
                  </a:cubicBezTo>
                  <a:cubicBezTo>
                    <a:pt x="118884" y="191379"/>
                    <a:pt x="182326" y="218953"/>
                    <a:pt x="169540" y="229114"/>
                  </a:cubicBezTo>
                  <a:cubicBezTo>
                    <a:pt x="159880" y="235648"/>
                    <a:pt x="148190" y="239816"/>
                    <a:pt x="135770" y="241147"/>
                  </a:cubicBezTo>
                  <a:cubicBezTo>
                    <a:pt x="126597" y="242049"/>
                    <a:pt x="121198" y="236133"/>
                    <a:pt x="116692" y="241782"/>
                  </a:cubicBezTo>
                  <a:cubicBezTo>
                    <a:pt x="112633" y="246728"/>
                    <a:pt x="119980" y="252578"/>
                    <a:pt x="123877" y="257992"/>
                  </a:cubicBezTo>
                  <a:cubicBezTo>
                    <a:pt x="126759" y="262036"/>
                    <a:pt x="130006" y="267652"/>
                    <a:pt x="120711" y="268019"/>
                  </a:cubicBezTo>
                  <a:cubicBezTo>
                    <a:pt x="111416" y="268387"/>
                    <a:pt x="110036" y="263307"/>
                    <a:pt x="102770" y="261702"/>
                  </a:cubicBezTo>
                  <a:cubicBezTo>
                    <a:pt x="92947" y="259496"/>
                    <a:pt x="97250" y="279951"/>
                    <a:pt x="100091" y="282926"/>
                  </a:cubicBezTo>
                  <a:cubicBezTo>
                    <a:pt x="104922" y="287873"/>
                    <a:pt x="157282" y="319692"/>
                    <a:pt x="148149" y="324405"/>
                  </a:cubicBezTo>
                  <a:cubicBezTo>
                    <a:pt x="157648" y="326243"/>
                    <a:pt x="167064" y="324104"/>
                    <a:pt x="174411" y="325875"/>
                  </a:cubicBezTo>
                  <a:cubicBezTo>
                    <a:pt x="185898" y="328650"/>
                    <a:pt x="191702" y="336170"/>
                    <a:pt x="198765" y="341752"/>
                  </a:cubicBezTo>
                  <a:cubicBezTo>
                    <a:pt x="215001" y="354620"/>
                    <a:pt x="231683" y="368791"/>
                    <a:pt x="249908" y="380824"/>
                  </a:cubicBezTo>
                  <a:cubicBezTo>
                    <a:pt x="269473" y="393792"/>
                    <a:pt x="292365" y="401680"/>
                    <a:pt x="315096" y="411707"/>
                  </a:cubicBezTo>
                  <a:cubicBezTo>
                    <a:pt x="322036" y="414391"/>
                    <a:pt x="329140" y="416757"/>
                    <a:pt x="336405" y="418793"/>
                  </a:cubicBezTo>
                  <a:cubicBezTo>
                    <a:pt x="341154" y="417657"/>
                    <a:pt x="346065" y="417115"/>
                    <a:pt x="350976" y="417189"/>
                  </a:cubicBezTo>
                  <a:cubicBezTo>
                    <a:pt x="360881" y="419963"/>
                    <a:pt x="350976" y="432296"/>
                    <a:pt x="352072" y="435873"/>
                  </a:cubicBezTo>
                  <a:cubicBezTo>
                    <a:pt x="362911" y="431728"/>
                    <a:pt x="366929" y="426681"/>
                    <a:pt x="382109" y="426982"/>
                  </a:cubicBezTo>
                  <a:cubicBezTo>
                    <a:pt x="398669" y="427349"/>
                    <a:pt x="399238" y="432329"/>
                    <a:pt x="413769" y="438078"/>
                  </a:cubicBezTo>
                  <a:cubicBezTo>
                    <a:pt x="425621" y="442791"/>
                    <a:pt x="432440" y="441955"/>
                    <a:pt x="441005" y="450746"/>
                  </a:cubicBezTo>
                  <a:cubicBezTo>
                    <a:pt x="458256" y="451481"/>
                    <a:pt x="463491" y="448206"/>
                    <a:pt x="478104" y="445231"/>
                  </a:cubicBezTo>
                  <a:cubicBezTo>
                    <a:pt x="481392" y="444563"/>
                    <a:pt x="487399" y="447203"/>
                    <a:pt x="491458" y="446702"/>
                  </a:cubicBezTo>
                  <a:cubicBezTo>
                    <a:pt x="498399" y="445602"/>
                    <a:pt x="505380" y="444954"/>
                    <a:pt x="512443" y="444763"/>
                  </a:cubicBezTo>
                  <a:cubicBezTo>
                    <a:pt x="524294" y="444763"/>
                    <a:pt x="537892" y="455826"/>
                    <a:pt x="547269" y="454790"/>
                  </a:cubicBezTo>
                  <a:cubicBezTo>
                    <a:pt x="564195" y="452685"/>
                    <a:pt x="563220" y="460606"/>
                    <a:pt x="567928" y="468728"/>
                  </a:cubicBezTo>
                  <a:cubicBezTo>
                    <a:pt x="570324" y="472839"/>
                    <a:pt x="569918" y="475078"/>
                    <a:pt x="575844" y="478588"/>
                  </a:cubicBezTo>
                  <a:cubicBezTo>
                    <a:pt x="584205" y="483568"/>
                    <a:pt x="585545" y="480894"/>
                    <a:pt x="594556" y="483000"/>
                  </a:cubicBezTo>
                  <a:cubicBezTo>
                    <a:pt x="612699" y="487211"/>
                    <a:pt x="601984" y="494798"/>
                    <a:pt x="605231" y="501349"/>
                  </a:cubicBezTo>
                  <a:cubicBezTo>
                    <a:pt x="608721" y="508468"/>
                    <a:pt x="621467" y="505561"/>
                    <a:pt x="616677" y="515487"/>
                  </a:cubicBezTo>
                  <a:cubicBezTo>
                    <a:pt x="612943" y="523476"/>
                    <a:pt x="613349" y="533770"/>
                    <a:pt x="598736" y="536511"/>
                  </a:cubicBezTo>
                  <a:cubicBezTo>
                    <a:pt x="587169" y="538683"/>
                    <a:pt x="570608" y="542627"/>
                    <a:pt x="565372" y="549546"/>
                  </a:cubicBezTo>
                  <a:cubicBezTo>
                    <a:pt x="552221" y="566859"/>
                    <a:pt x="585179" y="556498"/>
                    <a:pt x="591471" y="570570"/>
                  </a:cubicBezTo>
                  <a:cubicBezTo>
                    <a:pt x="593622" y="575383"/>
                    <a:pt x="583353" y="578625"/>
                    <a:pt x="590293" y="585543"/>
                  </a:cubicBezTo>
                  <a:cubicBezTo>
                    <a:pt x="593378" y="588585"/>
                    <a:pt x="599346" y="589287"/>
                    <a:pt x="602024" y="592696"/>
                  </a:cubicBezTo>
                  <a:cubicBezTo>
                    <a:pt x="605718" y="597542"/>
                    <a:pt x="596666" y="600718"/>
                    <a:pt x="594191" y="603826"/>
                  </a:cubicBezTo>
                  <a:cubicBezTo>
                    <a:pt x="588711" y="610511"/>
                    <a:pt x="615379" y="611279"/>
                    <a:pt x="609655" y="617998"/>
                  </a:cubicBezTo>
                  <a:cubicBezTo>
                    <a:pt x="602917" y="625852"/>
                    <a:pt x="623334" y="628827"/>
                    <a:pt x="631615" y="629529"/>
                  </a:cubicBezTo>
                  <a:cubicBezTo>
                    <a:pt x="642005" y="630364"/>
                    <a:pt x="640544" y="636581"/>
                    <a:pt x="644766" y="641060"/>
                  </a:cubicBezTo>
                  <a:cubicBezTo>
                    <a:pt x="653939" y="650786"/>
                    <a:pt x="657348" y="637149"/>
                    <a:pt x="656455" y="633406"/>
                  </a:cubicBezTo>
                  <a:cubicBezTo>
                    <a:pt x="656050" y="631634"/>
                    <a:pt x="660514" y="620672"/>
                    <a:pt x="664086" y="624950"/>
                  </a:cubicBezTo>
                  <a:cubicBezTo>
                    <a:pt x="669769" y="631935"/>
                    <a:pt x="685801" y="625284"/>
                    <a:pt x="693919" y="629596"/>
                  </a:cubicBezTo>
                  <a:cubicBezTo>
                    <a:pt x="704189" y="635044"/>
                    <a:pt x="709465" y="631868"/>
                    <a:pt x="719572" y="637818"/>
                  </a:cubicBezTo>
                  <a:cubicBezTo>
                    <a:pt x="723631" y="640091"/>
                    <a:pt x="747579" y="647845"/>
                    <a:pt x="751192" y="646341"/>
                  </a:cubicBezTo>
                  <a:cubicBezTo>
                    <a:pt x="774084" y="636648"/>
                    <a:pt x="778549" y="652691"/>
                    <a:pt x="797464" y="660947"/>
                  </a:cubicBezTo>
                  <a:cubicBezTo>
                    <a:pt x="811995" y="667297"/>
                    <a:pt x="803147" y="667632"/>
                    <a:pt x="800427" y="672979"/>
                  </a:cubicBezTo>
                  <a:cubicBezTo>
                    <a:pt x="798033" y="677592"/>
                    <a:pt x="813335" y="689156"/>
                    <a:pt x="818855" y="692733"/>
                  </a:cubicBezTo>
                  <a:cubicBezTo>
                    <a:pt x="825917" y="697379"/>
                    <a:pt x="830504" y="702125"/>
                    <a:pt x="841098" y="703395"/>
                  </a:cubicBezTo>
                  <a:cubicBezTo>
                    <a:pt x="846415" y="703996"/>
                    <a:pt x="846943" y="699819"/>
                    <a:pt x="853275" y="702659"/>
                  </a:cubicBezTo>
                  <a:cubicBezTo>
                    <a:pt x="859607" y="705501"/>
                    <a:pt x="858633" y="708475"/>
                    <a:pt x="861393" y="711751"/>
                  </a:cubicBezTo>
                  <a:cubicBezTo>
                    <a:pt x="867035" y="718001"/>
                    <a:pt x="882459" y="710748"/>
                    <a:pt x="883920" y="718435"/>
                  </a:cubicBezTo>
                  <a:cubicBezTo>
                    <a:pt x="885382" y="726123"/>
                    <a:pt x="871459" y="725120"/>
                    <a:pt x="875802" y="735147"/>
                  </a:cubicBezTo>
                  <a:cubicBezTo>
                    <a:pt x="880146" y="745174"/>
                    <a:pt x="888507" y="742668"/>
                    <a:pt x="889441" y="735481"/>
                  </a:cubicBezTo>
                  <a:cubicBezTo>
                    <a:pt x="890171" y="729499"/>
                    <a:pt x="912049" y="733309"/>
                    <a:pt x="918381" y="734178"/>
                  </a:cubicBezTo>
                  <a:cubicBezTo>
                    <a:pt x="936890" y="737236"/>
                    <a:pt x="955601" y="739469"/>
                    <a:pt x="974395" y="740863"/>
                  </a:cubicBezTo>
                  <a:cubicBezTo>
                    <a:pt x="979062" y="741063"/>
                    <a:pt x="997571" y="738490"/>
                    <a:pt x="1001265" y="739760"/>
                  </a:cubicBezTo>
                  <a:cubicBezTo>
                    <a:pt x="1009952" y="742701"/>
                    <a:pt x="1016445" y="750990"/>
                    <a:pt x="1026674" y="750689"/>
                  </a:cubicBezTo>
                  <a:cubicBezTo>
                    <a:pt x="1037836" y="750355"/>
                    <a:pt x="1053748" y="756772"/>
                    <a:pt x="1064626" y="760716"/>
                  </a:cubicBezTo>
                  <a:cubicBezTo>
                    <a:pt x="1081309" y="766565"/>
                    <a:pt x="1082851" y="764393"/>
                    <a:pt x="1098234" y="763791"/>
                  </a:cubicBezTo>
                  <a:cubicBezTo>
                    <a:pt x="1109396" y="763290"/>
                    <a:pt x="1129976" y="765730"/>
                    <a:pt x="1137850" y="762053"/>
                  </a:cubicBezTo>
                  <a:cubicBezTo>
                    <a:pt x="1145724" y="758377"/>
                    <a:pt x="1150554" y="762053"/>
                    <a:pt x="1160864" y="762053"/>
                  </a:cubicBezTo>
                  <a:cubicBezTo>
                    <a:pt x="1169469" y="761853"/>
                    <a:pt x="1176695" y="759112"/>
                    <a:pt x="1184203" y="758109"/>
                  </a:cubicBezTo>
                  <a:cubicBezTo>
                    <a:pt x="1188262" y="757575"/>
                    <a:pt x="1193011" y="759680"/>
                    <a:pt x="1196989" y="758811"/>
                  </a:cubicBezTo>
                  <a:cubicBezTo>
                    <a:pt x="1202550" y="757541"/>
                    <a:pt x="1200358" y="751191"/>
                    <a:pt x="1204335" y="748784"/>
                  </a:cubicBezTo>
                  <a:cubicBezTo>
                    <a:pt x="1207502" y="747013"/>
                    <a:pt x="1212453" y="750288"/>
                    <a:pt x="1210871" y="745442"/>
                  </a:cubicBezTo>
                  <a:cubicBezTo>
                    <a:pt x="1209653" y="741765"/>
                    <a:pt x="1205635" y="737554"/>
                    <a:pt x="1213956" y="739225"/>
                  </a:cubicBezTo>
                  <a:cubicBezTo>
                    <a:pt x="1226538" y="741765"/>
                    <a:pt x="1237863" y="744305"/>
                    <a:pt x="1246753" y="739559"/>
                  </a:cubicBezTo>
                  <a:cubicBezTo>
                    <a:pt x="1250812" y="737353"/>
                    <a:pt x="1252232" y="735047"/>
                    <a:pt x="1258483" y="734546"/>
                  </a:cubicBezTo>
                  <a:cubicBezTo>
                    <a:pt x="1264734" y="734044"/>
                    <a:pt x="1273582" y="736584"/>
                    <a:pt x="1278452" y="735147"/>
                  </a:cubicBezTo>
                  <a:cubicBezTo>
                    <a:pt x="1283243" y="733392"/>
                    <a:pt x="1286611" y="729753"/>
                    <a:pt x="1287423" y="725488"/>
                  </a:cubicBezTo>
                  <a:cubicBezTo>
                    <a:pt x="1288600" y="721009"/>
                    <a:pt x="1294202" y="724920"/>
                    <a:pt x="1296312" y="722948"/>
                  </a:cubicBezTo>
                  <a:cubicBezTo>
                    <a:pt x="1298423" y="720976"/>
                    <a:pt x="1292984" y="719305"/>
                    <a:pt x="1297083" y="717533"/>
                  </a:cubicBezTo>
                  <a:cubicBezTo>
                    <a:pt x="1301183" y="715762"/>
                    <a:pt x="1314415" y="719338"/>
                    <a:pt x="1317053" y="717533"/>
                  </a:cubicBezTo>
                  <a:cubicBezTo>
                    <a:pt x="1319692" y="715728"/>
                    <a:pt x="1304876" y="710514"/>
                    <a:pt x="1302806" y="710548"/>
                  </a:cubicBezTo>
                  <a:cubicBezTo>
                    <a:pt x="1296677" y="710548"/>
                    <a:pt x="1296109" y="702793"/>
                    <a:pt x="1291563" y="700888"/>
                  </a:cubicBezTo>
                  <a:cubicBezTo>
                    <a:pt x="1286246" y="698615"/>
                    <a:pt x="1283445" y="701423"/>
                    <a:pt x="1278169" y="696443"/>
                  </a:cubicBezTo>
                  <a:cubicBezTo>
                    <a:pt x="1271715" y="690092"/>
                    <a:pt x="1288437" y="694872"/>
                    <a:pt x="1292254" y="695306"/>
                  </a:cubicBezTo>
                  <a:cubicBezTo>
                    <a:pt x="1307312" y="697044"/>
                    <a:pt x="1326064" y="701256"/>
                    <a:pt x="1310031" y="686951"/>
                  </a:cubicBezTo>
                  <a:cubicBezTo>
                    <a:pt x="1304268" y="681803"/>
                    <a:pt x="1298625" y="680266"/>
                    <a:pt x="1294688" y="674082"/>
                  </a:cubicBezTo>
                  <a:cubicBezTo>
                    <a:pt x="1294039" y="673046"/>
                    <a:pt x="1281822" y="659777"/>
                    <a:pt x="1281619" y="660713"/>
                  </a:cubicBezTo>
                  <a:cubicBezTo>
                    <a:pt x="1282836" y="656000"/>
                    <a:pt x="1340352" y="699518"/>
                    <a:pt x="1320219" y="671342"/>
                  </a:cubicBezTo>
                  <a:cubicBezTo>
                    <a:pt x="1315917" y="665325"/>
                    <a:pt x="1303984" y="655499"/>
                    <a:pt x="1308042" y="650352"/>
                  </a:cubicBezTo>
                  <a:cubicBezTo>
                    <a:pt x="1312101" y="645204"/>
                    <a:pt x="1304227" y="633640"/>
                    <a:pt x="1303131" y="626955"/>
                  </a:cubicBezTo>
                  <a:cubicBezTo>
                    <a:pt x="1301588" y="617797"/>
                    <a:pt x="1299762" y="614154"/>
                    <a:pt x="1288681" y="605664"/>
                  </a:cubicBezTo>
                  <a:cubicBezTo>
                    <a:pt x="1279508" y="598612"/>
                    <a:pt x="1281862" y="593097"/>
                    <a:pt x="1291928" y="591025"/>
                  </a:cubicBezTo>
                  <a:cubicBezTo>
                    <a:pt x="1298261" y="589755"/>
                    <a:pt x="1305445" y="592027"/>
                    <a:pt x="1311939" y="591392"/>
                  </a:cubicBezTo>
                  <a:cubicBezTo>
                    <a:pt x="1315998" y="590958"/>
                    <a:pt x="1316972" y="588284"/>
                    <a:pt x="1320707" y="587749"/>
                  </a:cubicBezTo>
                  <a:cubicBezTo>
                    <a:pt x="1323182" y="587415"/>
                    <a:pt x="1328825" y="591092"/>
                    <a:pt x="1332071" y="591092"/>
                  </a:cubicBezTo>
                  <a:cubicBezTo>
                    <a:pt x="1340189" y="591559"/>
                    <a:pt x="1343802" y="586111"/>
                    <a:pt x="1353301" y="589354"/>
                  </a:cubicBezTo>
                  <a:cubicBezTo>
                    <a:pt x="1362798" y="592596"/>
                    <a:pt x="1406635" y="605430"/>
                    <a:pt x="1401683" y="594568"/>
                  </a:cubicBezTo>
                  <a:cubicBezTo>
                    <a:pt x="1397299" y="585042"/>
                    <a:pt x="1386340" y="584541"/>
                    <a:pt x="1376030" y="578357"/>
                  </a:cubicBezTo>
                  <a:cubicBezTo>
                    <a:pt x="1364219" y="571271"/>
                    <a:pt x="1366898" y="561378"/>
                    <a:pt x="1350459" y="561813"/>
                  </a:cubicBezTo>
                  <a:cubicBezTo>
                    <a:pt x="1337754" y="562147"/>
                    <a:pt x="1288519" y="565389"/>
                    <a:pt x="1303902" y="545870"/>
                  </a:cubicBezTo>
                  <a:cubicBezTo>
                    <a:pt x="1316485" y="529926"/>
                    <a:pt x="1264896" y="530194"/>
                    <a:pt x="1272081" y="514585"/>
                  </a:cubicBezTo>
                  <a:cubicBezTo>
                    <a:pt x="1279630" y="498107"/>
                    <a:pt x="1296028" y="512513"/>
                    <a:pt x="1314902" y="517627"/>
                  </a:cubicBezTo>
                  <a:cubicBezTo>
                    <a:pt x="1328703" y="521336"/>
                    <a:pt x="1330936" y="510674"/>
                    <a:pt x="1343843" y="513482"/>
                  </a:cubicBezTo>
                  <a:cubicBezTo>
                    <a:pt x="1362595" y="517593"/>
                    <a:pt x="1370835" y="516256"/>
                    <a:pt x="1388492" y="515955"/>
                  </a:cubicBezTo>
                  <a:cubicBezTo>
                    <a:pt x="1414550" y="515521"/>
                    <a:pt x="1446697" y="534405"/>
                    <a:pt x="1412846" y="537647"/>
                  </a:cubicBezTo>
                  <a:cubicBezTo>
                    <a:pt x="1402129" y="538683"/>
                    <a:pt x="1392022" y="538617"/>
                    <a:pt x="1390237" y="546271"/>
                  </a:cubicBezTo>
                  <a:cubicBezTo>
                    <a:pt x="1388978" y="551752"/>
                    <a:pt x="1367304" y="552955"/>
                    <a:pt x="1394296" y="557267"/>
                  </a:cubicBezTo>
                  <a:cubicBezTo>
                    <a:pt x="1412927" y="560208"/>
                    <a:pt x="1431152" y="560108"/>
                    <a:pt x="1449701" y="562548"/>
                  </a:cubicBezTo>
                  <a:cubicBezTo>
                    <a:pt x="1458021" y="563280"/>
                    <a:pt x="1466221" y="564874"/>
                    <a:pt x="1474055" y="567294"/>
                  </a:cubicBezTo>
                  <a:cubicBezTo>
                    <a:pt x="1486841" y="571840"/>
                    <a:pt x="1482173" y="565523"/>
                    <a:pt x="1493619" y="567294"/>
                  </a:cubicBezTo>
                  <a:cubicBezTo>
                    <a:pt x="1515010" y="570403"/>
                    <a:pt x="1545006" y="578524"/>
                    <a:pt x="1562621" y="574179"/>
                  </a:cubicBezTo>
                  <a:cubicBezTo>
                    <a:pt x="1571227" y="572040"/>
                    <a:pt x="1581658" y="568765"/>
                    <a:pt x="1589736" y="578324"/>
                  </a:cubicBezTo>
                  <a:cubicBezTo>
                    <a:pt x="1592130" y="581131"/>
                    <a:pt x="1615876" y="595871"/>
                    <a:pt x="1619488" y="593164"/>
                  </a:cubicBezTo>
                  <a:cubicBezTo>
                    <a:pt x="1626226" y="588084"/>
                    <a:pt x="1613927" y="582234"/>
                    <a:pt x="1634628" y="589654"/>
                  </a:cubicBezTo>
                  <a:cubicBezTo>
                    <a:pt x="1641000" y="591961"/>
                    <a:pt x="1657926" y="591994"/>
                    <a:pt x="1663974" y="592128"/>
                  </a:cubicBezTo>
                  <a:cubicBezTo>
                    <a:pt x="1672092" y="592128"/>
                    <a:pt x="1678546" y="580730"/>
                    <a:pt x="1689221" y="590289"/>
                  </a:cubicBezTo>
                  <a:cubicBezTo>
                    <a:pt x="1704442" y="603960"/>
                    <a:pt x="1717633" y="614120"/>
                    <a:pt x="1727010" y="599414"/>
                  </a:cubicBezTo>
                  <a:cubicBezTo>
                    <a:pt x="1731109" y="592201"/>
                    <a:pt x="1734438" y="584708"/>
                    <a:pt x="1736954" y="577020"/>
                  </a:cubicBezTo>
                  <a:cubicBezTo>
                    <a:pt x="1740120" y="568898"/>
                    <a:pt x="1753434" y="570904"/>
                    <a:pt x="1767113" y="572775"/>
                  </a:cubicBezTo>
                  <a:cubicBezTo>
                    <a:pt x="1778762" y="574346"/>
                    <a:pt x="1785460" y="589755"/>
                    <a:pt x="1798894" y="589487"/>
                  </a:cubicBezTo>
                  <a:cubicBezTo>
                    <a:pt x="1810259" y="589487"/>
                    <a:pt x="1819189" y="583204"/>
                    <a:pt x="1831123" y="583337"/>
                  </a:cubicBezTo>
                  <a:cubicBezTo>
                    <a:pt x="1849023" y="583605"/>
                    <a:pt x="1852757" y="575917"/>
                    <a:pt x="1866233" y="571773"/>
                  </a:cubicBezTo>
                  <a:cubicBezTo>
                    <a:pt x="1869318" y="570804"/>
                    <a:pt x="1879709" y="572107"/>
                    <a:pt x="1880642" y="569868"/>
                  </a:cubicBezTo>
                  <a:cubicBezTo>
                    <a:pt x="1882266" y="566024"/>
                    <a:pt x="1880155" y="561712"/>
                    <a:pt x="1883199" y="558203"/>
                  </a:cubicBezTo>
                  <a:close/>
                  <a:moveTo>
                    <a:pt x="1197476" y="795577"/>
                  </a:moveTo>
                  <a:cubicBezTo>
                    <a:pt x="1195203" y="797215"/>
                    <a:pt x="1179454" y="827396"/>
                    <a:pt x="1196218" y="827764"/>
                  </a:cubicBezTo>
                  <a:cubicBezTo>
                    <a:pt x="1211196" y="828098"/>
                    <a:pt x="1226944" y="817737"/>
                    <a:pt x="1236807" y="812690"/>
                  </a:cubicBezTo>
                  <a:cubicBezTo>
                    <a:pt x="1241962" y="810083"/>
                    <a:pt x="1266194" y="800457"/>
                    <a:pt x="1258158" y="793037"/>
                  </a:cubicBezTo>
                  <a:cubicBezTo>
                    <a:pt x="1242287" y="778431"/>
                    <a:pt x="1205838" y="789695"/>
                    <a:pt x="1197517" y="795577"/>
                  </a:cubicBezTo>
                  <a:close/>
                  <a:moveTo>
                    <a:pt x="869795" y="744004"/>
                  </a:moveTo>
                  <a:cubicBezTo>
                    <a:pt x="830139" y="729599"/>
                    <a:pt x="815161" y="766733"/>
                    <a:pt x="862489" y="772582"/>
                  </a:cubicBezTo>
                  <a:cubicBezTo>
                    <a:pt x="877750" y="774487"/>
                    <a:pt x="884083" y="767468"/>
                    <a:pt x="894960" y="763591"/>
                  </a:cubicBezTo>
                  <a:cubicBezTo>
                    <a:pt x="915743" y="756037"/>
                    <a:pt x="883758" y="749152"/>
                    <a:pt x="869795" y="74400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7A0EA71E-55D2-4055-9192-EC0CEB0C6327}"/>
                </a:ext>
              </a:extLst>
            </p:cNvPr>
            <p:cNvSpPr/>
            <p:nvPr/>
          </p:nvSpPr>
          <p:spPr>
            <a:xfrm>
              <a:off x="9067530" y="5140575"/>
              <a:ext cx="250020" cy="257086"/>
            </a:xfrm>
            <a:custGeom>
              <a:avLst/>
              <a:gdLst>
                <a:gd name="connsiteX0" fmla="*/ 181910 w 250020"/>
                <a:gd name="connsiteY0" fmla="*/ 95151 h 257086"/>
                <a:gd name="connsiteX1" fmla="*/ 205776 w 250020"/>
                <a:gd name="connsiteY1" fmla="*/ 122291 h 257086"/>
                <a:gd name="connsiteX2" fmla="*/ 199769 w 250020"/>
                <a:gd name="connsiteY2" fmla="*/ 134691 h 257086"/>
                <a:gd name="connsiteX3" fmla="*/ 214584 w 250020"/>
                <a:gd name="connsiteY3" fmla="*/ 142011 h 257086"/>
                <a:gd name="connsiteX4" fmla="*/ 207805 w 250020"/>
                <a:gd name="connsiteY4" fmla="*/ 155113 h 257086"/>
                <a:gd name="connsiteX5" fmla="*/ 213123 w 250020"/>
                <a:gd name="connsiteY5" fmla="*/ 174933 h 257086"/>
                <a:gd name="connsiteX6" fmla="*/ 224244 w 250020"/>
                <a:gd name="connsiteY6" fmla="*/ 174632 h 257086"/>
                <a:gd name="connsiteX7" fmla="*/ 241617 w 250020"/>
                <a:gd name="connsiteY7" fmla="*/ 170789 h 257086"/>
                <a:gd name="connsiteX8" fmla="*/ 238979 w 250020"/>
                <a:gd name="connsiteY8" fmla="*/ 139972 h 257086"/>
                <a:gd name="connsiteX9" fmla="*/ 223798 w 250020"/>
                <a:gd name="connsiteY9" fmla="*/ 126903 h 257086"/>
                <a:gd name="connsiteX10" fmla="*/ 219171 w 250020"/>
                <a:gd name="connsiteY10" fmla="*/ 111261 h 257086"/>
                <a:gd name="connsiteX11" fmla="*/ 186090 w 250020"/>
                <a:gd name="connsiteY11" fmla="*/ 85024 h 257086"/>
                <a:gd name="connsiteX12" fmla="*/ 173548 w 250020"/>
                <a:gd name="connsiteY12" fmla="*/ 77537 h 257086"/>
                <a:gd name="connsiteX13" fmla="*/ 174076 w 250020"/>
                <a:gd name="connsiteY13" fmla="*/ 60825 h 257086"/>
                <a:gd name="connsiteX14" fmla="*/ 216492 w 250020"/>
                <a:gd name="connsiteY14" fmla="*/ 42776 h 257086"/>
                <a:gd name="connsiteX15" fmla="*/ 220307 w 250020"/>
                <a:gd name="connsiteY15" fmla="*/ 25262 h 257086"/>
                <a:gd name="connsiteX16" fmla="*/ 216248 w 250020"/>
                <a:gd name="connsiteY16" fmla="*/ 17107 h 257086"/>
                <a:gd name="connsiteX17" fmla="*/ 176470 w 250020"/>
                <a:gd name="connsiteY17" fmla="*/ 763 h 257086"/>
                <a:gd name="connsiteX18" fmla="*/ 159585 w 250020"/>
                <a:gd name="connsiteY18" fmla="*/ 25797 h 257086"/>
                <a:gd name="connsiteX19" fmla="*/ 154593 w 250020"/>
                <a:gd name="connsiteY19" fmla="*/ 32482 h 257086"/>
                <a:gd name="connsiteX20" fmla="*/ 143796 w 250020"/>
                <a:gd name="connsiteY20" fmla="*/ 25797 h 257086"/>
                <a:gd name="connsiteX21" fmla="*/ 134866 w 250020"/>
                <a:gd name="connsiteY21" fmla="*/ 48391 h 257086"/>
                <a:gd name="connsiteX22" fmla="*/ 140224 w 250020"/>
                <a:gd name="connsiteY22" fmla="*/ 60892 h 257086"/>
                <a:gd name="connsiteX23" fmla="*/ 141157 w 250020"/>
                <a:gd name="connsiteY23" fmla="*/ 74529 h 257086"/>
                <a:gd name="connsiteX24" fmla="*/ 169245 w 250020"/>
                <a:gd name="connsiteY24" fmla="*/ 83854 h 257086"/>
                <a:gd name="connsiteX25" fmla="*/ 181950 w 250020"/>
                <a:gd name="connsiteY25" fmla="*/ 95184 h 257086"/>
                <a:gd name="connsiteX26" fmla="*/ 181910 w 250020"/>
                <a:gd name="connsiteY26" fmla="*/ 95151 h 257086"/>
                <a:gd name="connsiteX27" fmla="*/ 128940 w 250020"/>
                <a:gd name="connsiteY27" fmla="*/ 78105 h 257086"/>
                <a:gd name="connsiteX28" fmla="*/ 144242 w 250020"/>
                <a:gd name="connsiteY28" fmla="*/ 104844 h 257086"/>
                <a:gd name="connsiteX29" fmla="*/ 129143 w 250020"/>
                <a:gd name="connsiteY29" fmla="*/ 78105 h 257086"/>
                <a:gd name="connsiteX30" fmla="*/ 146109 w 250020"/>
                <a:gd name="connsiteY30" fmla="*/ 140106 h 257086"/>
                <a:gd name="connsiteX31" fmla="*/ 154755 w 250020"/>
                <a:gd name="connsiteY31" fmla="*/ 142813 h 257086"/>
                <a:gd name="connsiteX32" fmla="*/ 164132 w 250020"/>
                <a:gd name="connsiteY32" fmla="*/ 140874 h 257086"/>
                <a:gd name="connsiteX33" fmla="*/ 153862 w 250020"/>
                <a:gd name="connsiteY33" fmla="*/ 155681 h 257086"/>
                <a:gd name="connsiteX34" fmla="*/ 156825 w 250020"/>
                <a:gd name="connsiteY34" fmla="*/ 174365 h 257086"/>
                <a:gd name="connsiteX35" fmla="*/ 187876 w 250020"/>
                <a:gd name="connsiteY35" fmla="*/ 166443 h 257086"/>
                <a:gd name="connsiteX36" fmla="*/ 194452 w 250020"/>
                <a:gd name="connsiteY36" fmla="*/ 160628 h 257086"/>
                <a:gd name="connsiteX37" fmla="*/ 184669 w 250020"/>
                <a:gd name="connsiteY37" fmla="*/ 155514 h 257086"/>
                <a:gd name="connsiteX38" fmla="*/ 182518 w 250020"/>
                <a:gd name="connsiteY38" fmla="*/ 141175 h 257086"/>
                <a:gd name="connsiteX39" fmla="*/ 160397 w 250020"/>
                <a:gd name="connsiteY39" fmla="*/ 119985 h 257086"/>
                <a:gd name="connsiteX40" fmla="*/ 146109 w 250020"/>
                <a:gd name="connsiteY40" fmla="*/ 140039 h 257086"/>
                <a:gd name="connsiteX41" fmla="*/ 48694 w 250020"/>
                <a:gd name="connsiteY41" fmla="*/ 110559 h 257086"/>
                <a:gd name="connsiteX42" fmla="*/ 433 w 250020"/>
                <a:gd name="connsiteY42" fmla="*/ 121088 h 257086"/>
                <a:gd name="connsiteX43" fmla="*/ 32905 w 250020"/>
                <a:gd name="connsiteY43" fmla="*/ 120352 h 257086"/>
                <a:gd name="connsiteX44" fmla="*/ 80273 w 250020"/>
                <a:gd name="connsiteY44" fmla="*/ 109155 h 257086"/>
                <a:gd name="connsiteX45" fmla="*/ 48856 w 250020"/>
                <a:gd name="connsiteY45" fmla="*/ 110559 h 257086"/>
                <a:gd name="connsiteX46" fmla="*/ 182031 w 250020"/>
                <a:gd name="connsiteY46" fmla="*/ 177406 h 257086"/>
                <a:gd name="connsiteX47" fmla="*/ 205979 w 250020"/>
                <a:gd name="connsiteY47" fmla="*/ 178610 h 257086"/>
                <a:gd name="connsiteX48" fmla="*/ 181910 w 250020"/>
                <a:gd name="connsiteY48" fmla="*/ 177406 h 257086"/>
                <a:gd name="connsiteX49" fmla="*/ 229156 w 250020"/>
                <a:gd name="connsiteY49" fmla="*/ 242382 h 257086"/>
                <a:gd name="connsiteX50" fmla="*/ 239669 w 250020"/>
                <a:gd name="connsiteY50" fmla="*/ 225670 h 257086"/>
                <a:gd name="connsiteX51" fmla="*/ 245189 w 250020"/>
                <a:gd name="connsiteY51" fmla="*/ 200502 h 257086"/>
                <a:gd name="connsiteX52" fmla="*/ 228181 w 250020"/>
                <a:gd name="connsiteY52" fmla="*/ 193817 h 257086"/>
                <a:gd name="connsiteX53" fmla="*/ 216411 w 250020"/>
                <a:gd name="connsiteY53" fmla="*/ 198664 h 257086"/>
                <a:gd name="connsiteX54" fmla="*/ 195791 w 250020"/>
                <a:gd name="connsiteY54" fmla="*/ 199399 h 257086"/>
                <a:gd name="connsiteX55" fmla="*/ 173385 w 250020"/>
                <a:gd name="connsiteY55" fmla="*/ 193717 h 257086"/>
                <a:gd name="connsiteX56" fmla="*/ 144972 w 250020"/>
                <a:gd name="connsiteY56" fmla="*/ 184125 h 257086"/>
                <a:gd name="connsiteX57" fmla="*/ 113191 w 250020"/>
                <a:gd name="connsiteY57" fmla="*/ 186264 h 257086"/>
                <a:gd name="connsiteX58" fmla="*/ 115180 w 250020"/>
                <a:gd name="connsiteY58" fmla="*/ 196291 h 257086"/>
                <a:gd name="connsiteX59" fmla="*/ 131740 w 250020"/>
                <a:gd name="connsiteY59" fmla="*/ 196291 h 257086"/>
                <a:gd name="connsiteX60" fmla="*/ 146840 w 250020"/>
                <a:gd name="connsiteY60" fmla="*/ 199031 h 257086"/>
                <a:gd name="connsiteX61" fmla="*/ 158043 w 250020"/>
                <a:gd name="connsiteY61" fmla="*/ 227408 h 257086"/>
                <a:gd name="connsiteX62" fmla="*/ 190149 w 250020"/>
                <a:gd name="connsiteY62" fmla="*/ 256487 h 257086"/>
                <a:gd name="connsiteX63" fmla="*/ 197334 w 250020"/>
                <a:gd name="connsiteY63" fmla="*/ 237435 h 257086"/>
                <a:gd name="connsiteX64" fmla="*/ 229237 w 250020"/>
                <a:gd name="connsiteY64" fmla="*/ 242850 h 25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50020" h="257086">
                  <a:moveTo>
                    <a:pt x="181910" y="95151"/>
                  </a:moveTo>
                  <a:cubicBezTo>
                    <a:pt x="190920" y="97925"/>
                    <a:pt x="215680" y="117578"/>
                    <a:pt x="205776" y="122291"/>
                  </a:cubicBezTo>
                  <a:cubicBezTo>
                    <a:pt x="201027" y="124497"/>
                    <a:pt x="199241" y="130413"/>
                    <a:pt x="199769" y="134691"/>
                  </a:cubicBezTo>
                  <a:cubicBezTo>
                    <a:pt x="200500" y="141108"/>
                    <a:pt x="209267" y="137566"/>
                    <a:pt x="214584" y="142011"/>
                  </a:cubicBezTo>
                  <a:cubicBezTo>
                    <a:pt x="222702" y="148963"/>
                    <a:pt x="207644" y="149798"/>
                    <a:pt x="207805" y="155113"/>
                  </a:cubicBezTo>
                  <a:cubicBezTo>
                    <a:pt x="207805" y="161564"/>
                    <a:pt x="214788" y="168683"/>
                    <a:pt x="213123" y="174933"/>
                  </a:cubicBezTo>
                  <a:cubicBezTo>
                    <a:pt x="210769" y="183490"/>
                    <a:pt x="222987" y="178676"/>
                    <a:pt x="224244" y="174632"/>
                  </a:cubicBezTo>
                  <a:cubicBezTo>
                    <a:pt x="226071" y="168683"/>
                    <a:pt x="233296" y="170521"/>
                    <a:pt x="241617" y="170789"/>
                  </a:cubicBezTo>
                  <a:cubicBezTo>
                    <a:pt x="257326" y="171290"/>
                    <a:pt x="247583" y="146556"/>
                    <a:pt x="238979" y="139972"/>
                  </a:cubicBezTo>
                  <a:cubicBezTo>
                    <a:pt x="234270" y="136329"/>
                    <a:pt x="224732" y="131649"/>
                    <a:pt x="223798" y="126903"/>
                  </a:cubicBezTo>
                  <a:cubicBezTo>
                    <a:pt x="222540" y="120519"/>
                    <a:pt x="225137" y="118280"/>
                    <a:pt x="219171" y="111261"/>
                  </a:cubicBezTo>
                  <a:cubicBezTo>
                    <a:pt x="209511" y="99964"/>
                    <a:pt x="209389" y="90505"/>
                    <a:pt x="186090" y="85024"/>
                  </a:cubicBezTo>
                  <a:cubicBezTo>
                    <a:pt x="177972" y="83185"/>
                    <a:pt x="170666" y="84088"/>
                    <a:pt x="173548" y="77537"/>
                  </a:cubicBezTo>
                  <a:cubicBezTo>
                    <a:pt x="176105" y="71721"/>
                    <a:pt x="173061" y="66473"/>
                    <a:pt x="174076" y="60825"/>
                  </a:cubicBezTo>
                  <a:cubicBezTo>
                    <a:pt x="176309" y="47790"/>
                    <a:pt x="211825" y="55811"/>
                    <a:pt x="216492" y="42776"/>
                  </a:cubicBezTo>
                  <a:cubicBezTo>
                    <a:pt x="218359" y="37529"/>
                    <a:pt x="215884" y="29407"/>
                    <a:pt x="220307" y="25262"/>
                  </a:cubicBezTo>
                  <a:cubicBezTo>
                    <a:pt x="226111" y="19781"/>
                    <a:pt x="224366" y="20416"/>
                    <a:pt x="216248" y="17107"/>
                  </a:cubicBezTo>
                  <a:cubicBezTo>
                    <a:pt x="206426" y="13029"/>
                    <a:pt x="186739" y="-4919"/>
                    <a:pt x="176470" y="763"/>
                  </a:cubicBezTo>
                  <a:cubicBezTo>
                    <a:pt x="166201" y="6445"/>
                    <a:pt x="164010" y="17675"/>
                    <a:pt x="159585" y="25797"/>
                  </a:cubicBezTo>
                  <a:cubicBezTo>
                    <a:pt x="158570" y="28321"/>
                    <a:pt x="156866" y="30610"/>
                    <a:pt x="154593" y="32482"/>
                  </a:cubicBezTo>
                  <a:cubicBezTo>
                    <a:pt x="150331" y="35122"/>
                    <a:pt x="146475" y="26967"/>
                    <a:pt x="143796" y="25797"/>
                  </a:cubicBezTo>
                  <a:cubicBezTo>
                    <a:pt x="138519" y="23123"/>
                    <a:pt x="132228" y="44715"/>
                    <a:pt x="134866" y="48391"/>
                  </a:cubicBezTo>
                  <a:cubicBezTo>
                    <a:pt x="138722" y="53806"/>
                    <a:pt x="144891" y="54876"/>
                    <a:pt x="140224" y="60892"/>
                  </a:cubicBezTo>
                  <a:cubicBezTo>
                    <a:pt x="136612" y="65504"/>
                    <a:pt x="129265" y="68646"/>
                    <a:pt x="141157" y="74529"/>
                  </a:cubicBezTo>
                  <a:cubicBezTo>
                    <a:pt x="148870" y="78339"/>
                    <a:pt x="163522" y="78874"/>
                    <a:pt x="169245" y="83854"/>
                  </a:cubicBezTo>
                  <a:cubicBezTo>
                    <a:pt x="174969" y="88834"/>
                    <a:pt x="172250" y="92143"/>
                    <a:pt x="181950" y="95184"/>
                  </a:cubicBezTo>
                  <a:cubicBezTo>
                    <a:pt x="197902" y="100098"/>
                    <a:pt x="166282" y="90171"/>
                    <a:pt x="181910" y="95151"/>
                  </a:cubicBezTo>
                  <a:close/>
                  <a:moveTo>
                    <a:pt x="128940" y="78105"/>
                  </a:moveTo>
                  <a:cubicBezTo>
                    <a:pt x="127438" y="85425"/>
                    <a:pt x="124881" y="100766"/>
                    <a:pt x="144242" y="104844"/>
                  </a:cubicBezTo>
                  <a:cubicBezTo>
                    <a:pt x="163604" y="108921"/>
                    <a:pt x="130198" y="72991"/>
                    <a:pt x="129143" y="78105"/>
                  </a:cubicBezTo>
                  <a:close/>
                  <a:moveTo>
                    <a:pt x="146109" y="140106"/>
                  </a:moveTo>
                  <a:cubicBezTo>
                    <a:pt x="148950" y="141108"/>
                    <a:pt x="151833" y="142011"/>
                    <a:pt x="154755" y="142813"/>
                  </a:cubicBezTo>
                  <a:cubicBezTo>
                    <a:pt x="160356" y="144083"/>
                    <a:pt x="160681" y="140373"/>
                    <a:pt x="164132" y="140874"/>
                  </a:cubicBezTo>
                  <a:cubicBezTo>
                    <a:pt x="173102" y="142111"/>
                    <a:pt x="155201" y="155113"/>
                    <a:pt x="153862" y="155681"/>
                  </a:cubicBezTo>
                  <a:cubicBezTo>
                    <a:pt x="147490" y="158422"/>
                    <a:pt x="140549" y="173228"/>
                    <a:pt x="156825" y="174365"/>
                  </a:cubicBezTo>
                  <a:cubicBezTo>
                    <a:pt x="168637" y="175200"/>
                    <a:pt x="180124" y="170488"/>
                    <a:pt x="187876" y="166443"/>
                  </a:cubicBezTo>
                  <a:cubicBezTo>
                    <a:pt x="190190" y="165240"/>
                    <a:pt x="194736" y="163101"/>
                    <a:pt x="194452" y="160628"/>
                  </a:cubicBezTo>
                  <a:cubicBezTo>
                    <a:pt x="194005" y="156216"/>
                    <a:pt x="185441" y="157921"/>
                    <a:pt x="184669" y="155514"/>
                  </a:cubicBezTo>
                  <a:cubicBezTo>
                    <a:pt x="183046" y="150601"/>
                    <a:pt x="186902" y="147726"/>
                    <a:pt x="182518" y="141175"/>
                  </a:cubicBezTo>
                  <a:cubicBezTo>
                    <a:pt x="178135" y="134624"/>
                    <a:pt x="170341" y="124998"/>
                    <a:pt x="160397" y="119985"/>
                  </a:cubicBezTo>
                  <a:cubicBezTo>
                    <a:pt x="144161" y="111963"/>
                    <a:pt x="135556" y="137098"/>
                    <a:pt x="146109" y="140039"/>
                  </a:cubicBezTo>
                  <a:close/>
                  <a:moveTo>
                    <a:pt x="48694" y="110559"/>
                  </a:moveTo>
                  <a:cubicBezTo>
                    <a:pt x="35502" y="113634"/>
                    <a:pt x="8104" y="113267"/>
                    <a:pt x="433" y="121088"/>
                  </a:cubicBezTo>
                  <a:cubicBezTo>
                    <a:pt x="-4600" y="126101"/>
                    <a:pt x="30550" y="120753"/>
                    <a:pt x="32905" y="120352"/>
                  </a:cubicBezTo>
                  <a:cubicBezTo>
                    <a:pt x="44878" y="118013"/>
                    <a:pt x="77838" y="118046"/>
                    <a:pt x="80273" y="109155"/>
                  </a:cubicBezTo>
                  <a:cubicBezTo>
                    <a:pt x="85224" y="91040"/>
                    <a:pt x="56852" y="108687"/>
                    <a:pt x="48856" y="110559"/>
                  </a:cubicBezTo>
                  <a:close/>
                  <a:moveTo>
                    <a:pt x="182031" y="177406"/>
                  </a:moveTo>
                  <a:cubicBezTo>
                    <a:pt x="182316" y="183189"/>
                    <a:pt x="209308" y="185762"/>
                    <a:pt x="205979" y="178610"/>
                  </a:cubicBezTo>
                  <a:cubicBezTo>
                    <a:pt x="202651" y="171457"/>
                    <a:pt x="181910" y="173061"/>
                    <a:pt x="181910" y="177406"/>
                  </a:cubicBezTo>
                  <a:close/>
                  <a:moveTo>
                    <a:pt x="229156" y="242382"/>
                  </a:moveTo>
                  <a:cubicBezTo>
                    <a:pt x="238288" y="240911"/>
                    <a:pt x="238735" y="231118"/>
                    <a:pt x="239669" y="225670"/>
                  </a:cubicBezTo>
                  <a:cubicBezTo>
                    <a:pt x="240724" y="218986"/>
                    <a:pt x="248476" y="207421"/>
                    <a:pt x="245189" y="200502"/>
                  </a:cubicBezTo>
                  <a:cubicBezTo>
                    <a:pt x="243119" y="196157"/>
                    <a:pt x="233377" y="191177"/>
                    <a:pt x="228181" y="193817"/>
                  </a:cubicBezTo>
                  <a:cubicBezTo>
                    <a:pt x="220632" y="197394"/>
                    <a:pt x="231957" y="203276"/>
                    <a:pt x="216411" y="198664"/>
                  </a:cubicBezTo>
                  <a:cubicBezTo>
                    <a:pt x="206629" y="195756"/>
                    <a:pt x="206020" y="203243"/>
                    <a:pt x="195791" y="199399"/>
                  </a:cubicBezTo>
                  <a:cubicBezTo>
                    <a:pt x="183858" y="194887"/>
                    <a:pt x="185969" y="205048"/>
                    <a:pt x="173385" y="193717"/>
                  </a:cubicBezTo>
                  <a:cubicBezTo>
                    <a:pt x="162223" y="183690"/>
                    <a:pt x="160803" y="182821"/>
                    <a:pt x="144972" y="184125"/>
                  </a:cubicBezTo>
                  <a:cubicBezTo>
                    <a:pt x="133567" y="185094"/>
                    <a:pt x="121999" y="181384"/>
                    <a:pt x="113191" y="186264"/>
                  </a:cubicBezTo>
                  <a:cubicBezTo>
                    <a:pt x="108767" y="188737"/>
                    <a:pt x="102353" y="195388"/>
                    <a:pt x="115180" y="196291"/>
                  </a:cubicBezTo>
                  <a:cubicBezTo>
                    <a:pt x="120903" y="196759"/>
                    <a:pt x="125855" y="195288"/>
                    <a:pt x="131740" y="196291"/>
                  </a:cubicBezTo>
                  <a:cubicBezTo>
                    <a:pt x="137626" y="197293"/>
                    <a:pt x="140671" y="199867"/>
                    <a:pt x="146840" y="199031"/>
                  </a:cubicBezTo>
                  <a:cubicBezTo>
                    <a:pt x="171518" y="195689"/>
                    <a:pt x="158124" y="222428"/>
                    <a:pt x="158043" y="227408"/>
                  </a:cubicBezTo>
                  <a:cubicBezTo>
                    <a:pt x="157962" y="232388"/>
                    <a:pt x="186456" y="259695"/>
                    <a:pt x="190149" y="256487"/>
                  </a:cubicBezTo>
                  <a:cubicBezTo>
                    <a:pt x="195791" y="251540"/>
                    <a:pt x="192747" y="242850"/>
                    <a:pt x="197334" y="237435"/>
                  </a:cubicBezTo>
                  <a:cubicBezTo>
                    <a:pt x="200581" y="233625"/>
                    <a:pt x="221688" y="244120"/>
                    <a:pt x="229237" y="2428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6EB29894-54B6-4DC8-9812-F71E62C01273}"/>
                </a:ext>
              </a:extLst>
            </p:cNvPr>
            <p:cNvSpPr/>
            <p:nvPr/>
          </p:nvSpPr>
          <p:spPr>
            <a:xfrm>
              <a:off x="9493695" y="5705866"/>
              <a:ext cx="345044" cy="234940"/>
            </a:xfrm>
            <a:custGeom>
              <a:avLst/>
              <a:gdLst>
                <a:gd name="connsiteX0" fmla="*/ 200121 w 345044"/>
                <a:gd name="connsiteY0" fmla="*/ 222296 h 234940"/>
                <a:gd name="connsiteX1" fmla="*/ 186118 w 345044"/>
                <a:gd name="connsiteY1" fmla="*/ 195858 h 234940"/>
                <a:gd name="connsiteX2" fmla="*/ 174468 w 345044"/>
                <a:gd name="connsiteY2" fmla="*/ 162434 h 234940"/>
                <a:gd name="connsiteX3" fmla="*/ 175605 w 345044"/>
                <a:gd name="connsiteY3" fmla="*/ 140809 h 234940"/>
                <a:gd name="connsiteX4" fmla="*/ 177797 w 345044"/>
                <a:gd name="connsiteY4" fmla="*/ 122861 h 234940"/>
                <a:gd name="connsiteX5" fmla="*/ 152550 w 345044"/>
                <a:gd name="connsiteY5" fmla="*/ 95119 h 234940"/>
                <a:gd name="connsiteX6" fmla="*/ 140779 w 345044"/>
                <a:gd name="connsiteY6" fmla="*/ 69851 h 234940"/>
                <a:gd name="connsiteX7" fmla="*/ 66378 w 345044"/>
                <a:gd name="connsiteY7" fmla="*/ -339 h 234940"/>
                <a:gd name="connsiteX8" fmla="*/ 27087 w 345044"/>
                <a:gd name="connsiteY8" fmla="*/ 51869 h 234940"/>
                <a:gd name="connsiteX9" fmla="*/ 3910 w 345044"/>
                <a:gd name="connsiteY9" fmla="*/ 82619 h 234940"/>
                <a:gd name="connsiteX10" fmla="*/ 19010 w 345044"/>
                <a:gd name="connsiteY10" fmla="*/ 109358 h 234940"/>
                <a:gd name="connsiteX11" fmla="*/ 58950 w 345044"/>
                <a:gd name="connsiteY11" fmla="*/ 115508 h 234940"/>
                <a:gd name="connsiteX12" fmla="*/ 88580 w 345044"/>
                <a:gd name="connsiteY12" fmla="*/ 114204 h 234940"/>
                <a:gd name="connsiteX13" fmla="*/ 122392 w 345044"/>
                <a:gd name="connsiteY13" fmla="*/ 144686 h 234940"/>
                <a:gd name="connsiteX14" fmla="*/ 151738 w 345044"/>
                <a:gd name="connsiteY14" fmla="*/ 200504 h 234940"/>
                <a:gd name="connsiteX15" fmla="*/ 190744 w 345044"/>
                <a:gd name="connsiteY15" fmla="*/ 229716 h 234940"/>
                <a:gd name="connsiteX16" fmla="*/ 200121 w 345044"/>
                <a:gd name="connsiteY16" fmla="*/ 222463 h 234940"/>
                <a:gd name="connsiteX17" fmla="*/ 200121 w 345044"/>
                <a:gd name="connsiteY17" fmla="*/ 222296 h 234940"/>
                <a:gd name="connsiteX18" fmla="*/ 301230 w 345044"/>
                <a:gd name="connsiteY18" fmla="*/ 170490 h 234940"/>
                <a:gd name="connsiteX19" fmla="*/ 235150 w 345044"/>
                <a:gd name="connsiteY19" fmla="*/ 148229 h 234940"/>
                <a:gd name="connsiteX20" fmla="*/ 214409 w 345044"/>
                <a:gd name="connsiteY20" fmla="*/ 136731 h 234940"/>
                <a:gd name="connsiteX21" fmla="*/ 225733 w 345044"/>
                <a:gd name="connsiteY21" fmla="*/ 157120 h 234940"/>
                <a:gd name="connsiteX22" fmla="*/ 296643 w 345044"/>
                <a:gd name="connsiteY22" fmla="*/ 183224 h 234940"/>
                <a:gd name="connsiteX23" fmla="*/ 318197 w 345044"/>
                <a:gd name="connsiteY23" fmla="*/ 178043 h 234940"/>
                <a:gd name="connsiteX24" fmla="*/ 301230 w 345044"/>
                <a:gd name="connsiteY24" fmla="*/ 170490 h 234940"/>
                <a:gd name="connsiteX25" fmla="*/ 338289 w 345044"/>
                <a:gd name="connsiteY25" fmla="*/ 168317 h 234940"/>
                <a:gd name="connsiteX26" fmla="*/ 328060 w 345044"/>
                <a:gd name="connsiteY26" fmla="*/ 156385 h 234940"/>
                <a:gd name="connsiteX27" fmla="*/ 332606 w 345044"/>
                <a:gd name="connsiteY27" fmla="*/ 171158 h 234940"/>
                <a:gd name="connsiteX28" fmla="*/ 330577 w 345044"/>
                <a:gd name="connsiteY28" fmla="*/ 183792 h 234940"/>
                <a:gd name="connsiteX29" fmla="*/ 342754 w 345044"/>
                <a:gd name="connsiteY29" fmla="*/ 187435 h 234940"/>
                <a:gd name="connsiteX30" fmla="*/ 338248 w 345044"/>
                <a:gd name="connsiteY30" fmla="*/ 168317 h 23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5044" h="234940">
                  <a:moveTo>
                    <a:pt x="200121" y="222296"/>
                  </a:moveTo>
                  <a:cubicBezTo>
                    <a:pt x="191110" y="212870"/>
                    <a:pt x="195210" y="203412"/>
                    <a:pt x="186118" y="195858"/>
                  </a:cubicBezTo>
                  <a:cubicBezTo>
                    <a:pt x="167934" y="180817"/>
                    <a:pt x="174468" y="177274"/>
                    <a:pt x="174468" y="162434"/>
                  </a:cubicBezTo>
                  <a:cubicBezTo>
                    <a:pt x="174468" y="160228"/>
                    <a:pt x="156446" y="129479"/>
                    <a:pt x="175605" y="140809"/>
                  </a:cubicBezTo>
                  <a:cubicBezTo>
                    <a:pt x="198620" y="154546"/>
                    <a:pt x="185752" y="130181"/>
                    <a:pt x="177797" y="122861"/>
                  </a:cubicBezTo>
                  <a:cubicBezTo>
                    <a:pt x="169841" y="115541"/>
                    <a:pt x="152875" y="104010"/>
                    <a:pt x="152550" y="95119"/>
                  </a:cubicBezTo>
                  <a:cubicBezTo>
                    <a:pt x="152225" y="86228"/>
                    <a:pt x="148247" y="79277"/>
                    <a:pt x="140779" y="69851"/>
                  </a:cubicBezTo>
                  <a:cubicBezTo>
                    <a:pt x="120241" y="43848"/>
                    <a:pt x="93695" y="22523"/>
                    <a:pt x="66378" y="-339"/>
                  </a:cubicBezTo>
                  <a:lnTo>
                    <a:pt x="27087" y="51869"/>
                  </a:lnTo>
                  <a:lnTo>
                    <a:pt x="3910" y="82619"/>
                  </a:lnTo>
                  <a:cubicBezTo>
                    <a:pt x="-3924" y="93014"/>
                    <a:pt x="-798" y="98294"/>
                    <a:pt x="19010" y="109358"/>
                  </a:cubicBezTo>
                  <a:cubicBezTo>
                    <a:pt x="37802" y="119853"/>
                    <a:pt x="43364" y="114806"/>
                    <a:pt x="58950" y="115508"/>
                  </a:cubicBezTo>
                  <a:cubicBezTo>
                    <a:pt x="70437" y="116076"/>
                    <a:pt x="75429" y="107720"/>
                    <a:pt x="88580" y="114204"/>
                  </a:cubicBezTo>
                  <a:cubicBezTo>
                    <a:pt x="102909" y="121758"/>
                    <a:pt x="114557" y="132253"/>
                    <a:pt x="122392" y="144686"/>
                  </a:cubicBezTo>
                  <a:cubicBezTo>
                    <a:pt x="130753" y="158056"/>
                    <a:pt x="129779" y="192115"/>
                    <a:pt x="151738" y="200504"/>
                  </a:cubicBezTo>
                  <a:cubicBezTo>
                    <a:pt x="168379" y="206888"/>
                    <a:pt x="177390" y="220558"/>
                    <a:pt x="190744" y="229716"/>
                  </a:cubicBezTo>
                  <a:cubicBezTo>
                    <a:pt x="205642" y="240111"/>
                    <a:pt x="209416" y="232123"/>
                    <a:pt x="200121" y="222463"/>
                  </a:cubicBezTo>
                  <a:cubicBezTo>
                    <a:pt x="196346" y="218352"/>
                    <a:pt x="203936" y="226307"/>
                    <a:pt x="200121" y="222296"/>
                  </a:cubicBezTo>
                  <a:close/>
                  <a:moveTo>
                    <a:pt x="301230" y="170490"/>
                  </a:moveTo>
                  <a:cubicBezTo>
                    <a:pt x="292259" y="181185"/>
                    <a:pt x="245784" y="155616"/>
                    <a:pt x="235150" y="148229"/>
                  </a:cubicBezTo>
                  <a:cubicBezTo>
                    <a:pt x="230888" y="145221"/>
                    <a:pt x="220456" y="136164"/>
                    <a:pt x="214409" y="136731"/>
                  </a:cubicBezTo>
                  <a:cubicBezTo>
                    <a:pt x="205113" y="137601"/>
                    <a:pt x="222933" y="154580"/>
                    <a:pt x="225733" y="157120"/>
                  </a:cubicBezTo>
                  <a:cubicBezTo>
                    <a:pt x="244242" y="173631"/>
                    <a:pt x="272127" y="182188"/>
                    <a:pt x="296643" y="183224"/>
                  </a:cubicBezTo>
                  <a:cubicBezTo>
                    <a:pt x="303869" y="183524"/>
                    <a:pt x="312636" y="180216"/>
                    <a:pt x="318197" y="178043"/>
                  </a:cubicBezTo>
                  <a:cubicBezTo>
                    <a:pt x="329359" y="173732"/>
                    <a:pt x="306913" y="163705"/>
                    <a:pt x="301230" y="170490"/>
                  </a:cubicBezTo>
                  <a:close/>
                  <a:moveTo>
                    <a:pt x="338289" y="168317"/>
                  </a:moveTo>
                  <a:cubicBezTo>
                    <a:pt x="336625" y="166044"/>
                    <a:pt x="331916" y="157722"/>
                    <a:pt x="328060" y="156385"/>
                  </a:cubicBezTo>
                  <a:cubicBezTo>
                    <a:pt x="327167" y="156084"/>
                    <a:pt x="332485" y="170556"/>
                    <a:pt x="332606" y="171158"/>
                  </a:cubicBezTo>
                  <a:cubicBezTo>
                    <a:pt x="333581" y="176171"/>
                    <a:pt x="330617" y="179247"/>
                    <a:pt x="330577" y="183792"/>
                  </a:cubicBezTo>
                  <a:cubicBezTo>
                    <a:pt x="330577" y="187435"/>
                    <a:pt x="340481" y="188873"/>
                    <a:pt x="342754" y="187435"/>
                  </a:cubicBezTo>
                  <a:cubicBezTo>
                    <a:pt x="348436" y="184093"/>
                    <a:pt x="341901" y="173331"/>
                    <a:pt x="338248" y="16831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1351FB51-1334-4EF8-9794-411343E3D5C1}"/>
                </a:ext>
              </a:extLst>
            </p:cNvPr>
            <p:cNvSpPr/>
            <p:nvPr/>
          </p:nvSpPr>
          <p:spPr>
            <a:xfrm>
              <a:off x="8067306" y="4925650"/>
              <a:ext cx="57559" cy="66327"/>
            </a:xfrm>
            <a:custGeom>
              <a:avLst/>
              <a:gdLst>
                <a:gd name="connsiteX0" fmla="*/ 26706 w 57559"/>
                <a:gd name="connsiteY0" fmla="*/ -162 h 66327"/>
                <a:gd name="connsiteX1" fmla="*/ 647 w 57559"/>
                <a:gd name="connsiteY1" fmla="*/ 38209 h 66327"/>
                <a:gd name="connsiteX2" fmla="*/ 34986 w 57559"/>
                <a:gd name="connsiteY2" fmla="*/ 64246 h 66327"/>
                <a:gd name="connsiteX3" fmla="*/ 53739 w 57559"/>
                <a:gd name="connsiteY3" fmla="*/ 30822 h 66327"/>
                <a:gd name="connsiteX4" fmla="*/ 26706 w 57559"/>
                <a:gd name="connsiteY4" fmla="*/ -162 h 6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59" h="66327">
                  <a:moveTo>
                    <a:pt x="26706" y="-162"/>
                  </a:moveTo>
                  <a:cubicBezTo>
                    <a:pt x="10227" y="-3136"/>
                    <a:pt x="2109" y="32259"/>
                    <a:pt x="647" y="38209"/>
                  </a:cubicBezTo>
                  <a:cubicBezTo>
                    <a:pt x="-2762" y="52547"/>
                    <a:pt x="5762" y="71933"/>
                    <a:pt x="34986" y="64246"/>
                  </a:cubicBezTo>
                  <a:cubicBezTo>
                    <a:pt x="57189" y="58463"/>
                    <a:pt x="61938" y="46163"/>
                    <a:pt x="53739" y="30822"/>
                  </a:cubicBezTo>
                  <a:cubicBezTo>
                    <a:pt x="50735" y="25140"/>
                    <a:pt x="38477" y="1944"/>
                    <a:pt x="26706" y="-16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E2CA66C1-7851-4AF0-A7A7-A1153EA40C98}"/>
                </a:ext>
              </a:extLst>
            </p:cNvPr>
            <p:cNvSpPr/>
            <p:nvPr/>
          </p:nvSpPr>
          <p:spPr>
            <a:xfrm>
              <a:off x="6939174" y="5121049"/>
              <a:ext cx="212223" cy="226932"/>
            </a:xfrm>
            <a:custGeom>
              <a:avLst/>
              <a:gdLst>
                <a:gd name="connsiteX0" fmla="*/ 193875 w 212223"/>
                <a:gd name="connsiteY0" fmla="*/ 3008 h 226932"/>
                <a:gd name="connsiteX1" fmla="*/ 192413 w 212223"/>
                <a:gd name="connsiteY1" fmla="*/ -130 h 226932"/>
                <a:gd name="connsiteX2" fmla="*/ 191074 w 212223"/>
                <a:gd name="connsiteY2" fmla="*/ -334 h 226932"/>
                <a:gd name="connsiteX3" fmla="*/ 170779 w 212223"/>
                <a:gd name="connsiteY3" fmla="*/ 22795 h 226932"/>
                <a:gd name="connsiteX4" fmla="*/ 147643 w 212223"/>
                <a:gd name="connsiteY4" fmla="*/ 24299 h 226932"/>
                <a:gd name="connsiteX5" fmla="*/ 142041 w 212223"/>
                <a:gd name="connsiteY5" fmla="*/ 35462 h 226932"/>
                <a:gd name="connsiteX6" fmla="*/ 127916 w 212223"/>
                <a:gd name="connsiteY6" fmla="*/ 46091 h 226932"/>
                <a:gd name="connsiteX7" fmla="*/ 101858 w 212223"/>
                <a:gd name="connsiteY7" fmla="*/ 50470 h 226932"/>
                <a:gd name="connsiteX8" fmla="*/ 75190 w 212223"/>
                <a:gd name="connsiteY8" fmla="*/ 52943 h 226932"/>
                <a:gd name="connsiteX9" fmla="*/ 42718 w 212223"/>
                <a:gd name="connsiteY9" fmla="*/ 54982 h 226932"/>
                <a:gd name="connsiteX10" fmla="*/ 36102 w 212223"/>
                <a:gd name="connsiteY10" fmla="*/ 71694 h 226932"/>
                <a:gd name="connsiteX11" fmla="*/ 27375 w 212223"/>
                <a:gd name="connsiteY11" fmla="*/ 94422 h 226932"/>
                <a:gd name="connsiteX12" fmla="*/ 24818 w 212223"/>
                <a:gd name="connsiteY12" fmla="*/ 135967 h 226932"/>
                <a:gd name="connsiteX13" fmla="*/ 1236 w 212223"/>
                <a:gd name="connsiteY13" fmla="*/ 175607 h 226932"/>
                <a:gd name="connsiteX14" fmla="*/ 21003 w 212223"/>
                <a:gd name="connsiteY14" fmla="*/ 217688 h 226932"/>
                <a:gd name="connsiteX15" fmla="*/ 46088 w 212223"/>
                <a:gd name="connsiteY15" fmla="*/ 226345 h 226932"/>
                <a:gd name="connsiteX16" fmla="*/ 68696 w 212223"/>
                <a:gd name="connsiteY16" fmla="*/ 224272 h 226932"/>
                <a:gd name="connsiteX17" fmla="*/ 100153 w 212223"/>
                <a:gd name="connsiteY17" fmla="*/ 206792 h 226932"/>
                <a:gd name="connsiteX18" fmla="*/ 160713 w 212223"/>
                <a:gd name="connsiteY18" fmla="*/ 122999 h 226932"/>
                <a:gd name="connsiteX19" fmla="*/ 177355 w 212223"/>
                <a:gd name="connsiteY19" fmla="*/ 94255 h 226932"/>
                <a:gd name="connsiteX20" fmla="*/ 186244 w 212223"/>
                <a:gd name="connsiteY20" fmla="*/ 79615 h 226932"/>
                <a:gd name="connsiteX21" fmla="*/ 194849 w 212223"/>
                <a:gd name="connsiteY21" fmla="*/ 66446 h 226932"/>
                <a:gd name="connsiteX22" fmla="*/ 210841 w 212223"/>
                <a:gd name="connsiteY22" fmla="*/ 66446 h 226932"/>
                <a:gd name="connsiteX23" fmla="*/ 208649 w 212223"/>
                <a:gd name="connsiteY23" fmla="*/ 46760 h 226932"/>
                <a:gd name="connsiteX24" fmla="*/ 205808 w 212223"/>
                <a:gd name="connsiteY24" fmla="*/ 24399 h 226932"/>
                <a:gd name="connsiteX25" fmla="*/ 193631 w 212223"/>
                <a:gd name="connsiteY25" fmla="*/ 2807 h 226932"/>
                <a:gd name="connsiteX26" fmla="*/ 193875 w 212223"/>
                <a:gd name="connsiteY26" fmla="*/ 3008 h 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2223" h="226932">
                  <a:moveTo>
                    <a:pt x="193875" y="3008"/>
                  </a:moveTo>
                  <a:cubicBezTo>
                    <a:pt x="194524" y="1812"/>
                    <a:pt x="193875" y="408"/>
                    <a:pt x="192413" y="-130"/>
                  </a:cubicBezTo>
                  <a:cubicBezTo>
                    <a:pt x="192008" y="-287"/>
                    <a:pt x="191521" y="-358"/>
                    <a:pt x="191074" y="-334"/>
                  </a:cubicBezTo>
                  <a:cubicBezTo>
                    <a:pt x="178085" y="3911"/>
                    <a:pt x="182712" y="19386"/>
                    <a:pt x="170779" y="22795"/>
                  </a:cubicBezTo>
                  <a:cubicBezTo>
                    <a:pt x="163311" y="24934"/>
                    <a:pt x="154543" y="21190"/>
                    <a:pt x="147643" y="24299"/>
                  </a:cubicBezTo>
                  <a:cubicBezTo>
                    <a:pt x="144477" y="25736"/>
                    <a:pt x="143097" y="32889"/>
                    <a:pt x="142041" y="35462"/>
                  </a:cubicBezTo>
                  <a:cubicBezTo>
                    <a:pt x="139403" y="41779"/>
                    <a:pt x="142041" y="44988"/>
                    <a:pt x="127916" y="46091"/>
                  </a:cubicBezTo>
                  <a:cubicBezTo>
                    <a:pt x="118987" y="46355"/>
                    <a:pt x="110179" y="47836"/>
                    <a:pt x="101858" y="50470"/>
                  </a:cubicBezTo>
                  <a:cubicBezTo>
                    <a:pt x="91589" y="53812"/>
                    <a:pt x="86434" y="53077"/>
                    <a:pt x="75190" y="52943"/>
                  </a:cubicBezTo>
                  <a:cubicBezTo>
                    <a:pt x="69995" y="52943"/>
                    <a:pt x="44992" y="52442"/>
                    <a:pt x="42718" y="54982"/>
                  </a:cubicBezTo>
                  <a:cubicBezTo>
                    <a:pt x="38416" y="59795"/>
                    <a:pt x="39512" y="66480"/>
                    <a:pt x="36102" y="71694"/>
                  </a:cubicBezTo>
                  <a:cubicBezTo>
                    <a:pt x="30745" y="79849"/>
                    <a:pt x="25427" y="84729"/>
                    <a:pt x="27375" y="94422"/>
                  </a:cubicBezTo>
                  <a:cubicBezTo>
                    <a:pt x="30541" y="110030"/>
                    <a:pt x="42556" y="122932"/>
                    <a:pt x="24818" y="135967"/>
                  </a:cubicBezTo>
                  <a:cubicBezTo>
                    <a:pt x="9070" y="147532"/>
                    <a:pt x="-4366" y="158328"/>
                    <a:pt x="1236" y="175607"/>
                  </a:cubicBezTo>
                  <a:cubicBezTo>
                    <a:pt x="5538" y="188810"/>
                    <a:pt x="3752" y="208129"/>
                    <a:pt x="21003" y="217688"/>
                  </a:cubicBezTo>
                  <a:cubicBezTo>
                    <a:pt x="28553" y="221932"/>
                    <a:pt x="37117" y="224907"/>
                    <a:pt x="46088" y="226345"/>
                  </a:cubicBezTo>
                  <a:cubicBezTo>
                    <a:pt x="54936" y="227648"/>
                    <a:pt x="60213" y="223370"/>
                    <a:pt x="68696" y="224272"/>
                  </a:cubicBezTo>
                  <a:cubicBezTo>
                    <a:pt x="87367" y="226211"/>
                    <a:pt x="93050" y="216083"/>
                    <a:pt x="100153" y="206792"/>
                  </a:cubicBezTo>
                  <a:cubicBezTo>
                    <a:pt x="121057" y="179217"/>
                    <a:pt x="140743" y="150941"/>
                    <a:pt x="160713" y="122999"/>
                  </a:cubicBezTo>
                  <a:cubicBezTo>
                    <a:pt x="166436" y="114877"/>
                    <a:pt x="177598" y="103780"/>
                    <a:pt x="177355" y="94255"/>
                  </a:cubicBezTo>
                  <a:cubicBezTo>
                    <a:pt x="177355" y="88472"/>
                    <a:pt x="185473" y="85130"/>
                    <a:pt x="186244" y="79615"/>
                  </a:cubicBezTo>
                  <a:cubicBezTo>
                    <a:pt x="186244" y="78880"/>
                    <a:pt x="188071" y="55851"/>
                    <a:pt x="194849" y="66446"/>
                  </a:cubicBezTo>
                  <a:cubicBezTo>
                    <a:pt x="199192" y="73131"/>
                    <a:pt x="207472" y="73131"/>
                    <a:pt x="210841" y="66446"/>
                  </a:cubicBezTo>
                  <a:cubicBezTo>
                    <a:pt x="214210" y="59761"/>
                    <a:pt x="210273" y="53077"/>
                    <a:pt x="208649" y="46760"/>
                  </a:cubicBezTo>
                  <a:cubicBezTo>
                    <a:pt x="206701" y="39306"/>
                    <a:pt x="208649" y="31752"/>
                    <a:pt x="205808" y="24399"/>
                  </a:cubicBezTo>
                  <a:cubicBezTo>
                    <a:pt x="202967" y="17046"/>
                    <a:pt x="195376" y="10127"/>
                    <a:pt x="193631" y="2807"/>
                  </a:cubicBezTo>
                  <a:cubicBezTo>
                    <a:pt x="191926" y="-5615"/>
                    <a:pt x="195174" y="8957"/>
                    <a:pt x="193875" y="300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26A554CE-C848-483B-A263-F29DE9B7ACEB}"/>
                </a:ext>
              </a:extLst>
            </p:cNvPr>
            <p:cNvSpPr/>
            <p:nvPr/>
          </p:nvSpPr>
          <p:spPr>
            <a:xfrm>
              <a:off x="7035373" y="4597804"/>
              <a:ext cx="334418" cy="132428"/>
            </a:xfrm>
            <a:custGeom>
              <a:avLst/>
              <a:gdLst>
                <a:gd name="connsiteX0" fmla="*/ 257153 w 334418"/>
                <a:gd name="connsiteY0" fmla="*/ 6484 h 132428"/>
                <a:gd name="connsiteX1" fmla="*/ 181737 w 334418"/>
                <a:gd name="connsiteY1" fmla="*/ 4712 h 132428"/>
                <a:gd name="connsiteX2" fmla="*/ 149266 w 334418"/>
                <a:gd name="connsiteY2" fmla="*/ 17313 h 132428"/>
                <a:gd name="connsiteX3" fmla="*/ 109406 w 334418"/>
                <a:gd name="connsiteY3" fmla="*/ 14205 h 132428"/>
                <a:gd name="connsiteX4" fmla="*/ 76447 w 334418"/>
                <a:gd name="connsiteY4" fmla="*/ 7185 h 132428"/>
                <a:gd name="connsiteX5" fmla="*/ 52093 w 334418"/>
                <a:gd name="connsiteY5" fmla="*/ 4111 h 132428"/>
                <a:gd name="connsiteX6" fmla="*/ 30581 w 334418"/>
                <a:gd name="connsiteY6" fmla="*/ -301 h 132428"/>
                <a:gd name="connsiteX7" fmla="*/ 9190 w 334418"/>
                <a:gd name="connsiteY7" fmla="*/ 15441 h 132428"/>
                <a:gd name="connsiteX8" fmla="*/ 2858 w 334418"/>
                <a:gd name="connsiteY8" fmla="*/ 27340 h 132428"/>
                <a:gd name="connsiteX9" fmla="*/ 1154 w 334418"/>
                <a:gd name="connsiteY9" fmla="*/ 44052 h 132428"/>
                <a:gd name="connsiteX10" fmla="*/ 11382 w 334418"/>
                <a:gd name="connsiteY10" fmla="*/ 73832 h 132428"/>
                <a:gd name="connsiteX11" fmla="*/ 34965 w 334418"/>
                <a:gd name="connsiteY11" fmla="*/ 85096 h 132428"/>
                <a:gd name="connsiteX12" fmla="*/ 86919 w 334418"/>
                <a:gd name="connsiteY12" fmla="*/ 80517 h 132428"/>
                <a:gd name="connsiteX13" fmla="*/ 134856 w 334418"/>
                <a:gd name="connsiteY13" fmla="*/ 77743 h 132428"/>
                <a:gd name="connsiteX14" fmla="*/ 172889 w 334418"/>
                <a:gd name="connsiteY14" fmla="*/ 77743 h 132428"/>
                <a:gd name="connsiteX15" fmla="*/ 195457 w 334418"/>
                <a:gd name="connsiteY15" fmla="*/ 70523 h 132428"/>
                <a:gd name="connsiteX16" fmla="*/ 220257 w 334418"/>
                <a:gd name="connsiteY16" fmla="*/ 68919 h 132428"/>
                <a:gd name="connsiteX17" fmla="*/ 278097 w 334418"/>
                <a:gd name="connsiteY17" fmla="*/ 63638 h 132428"/>
                <a:gd name="connsiteX18" fmla="*/ 285079 w 334418"/>
                <a:gd name="connsiteY18" fmla="*/ 56719 h 132428"/>
                <a:gd name="connsiteX19" fmla="*/ 313492 w 334418"/>
                <a:gd name="connsiteY19" fmla="*/ 53611 h 132428"/>
                <a:gd name="connsiteX20" fmla="*/ 293197 w 334418"/>
                <a:gd name="connsiteY20" fmla="*/ 17313 h 132428"/>
                <a:gd name="connsiteX21" fmla="*/ 286824 w 334418"/>
                <a:gd name="connsiteY21" fmla="*/ 5982 h 132428"/>
                <a:gd name="connsiteX22" fmla="*/ 257478 w 334418"/>
                <a:gd name="connsiteY22" fmla="*/ 6684 h 132428"/>
                <a:gd name="connsiteX23" fmla="*/ 257153 w 334418"/>
                <a:gd name="connsiteY23" fmla="*/ 6484 h 132428"/>
                <a:gd name="connsiteX24" fmla="*/ 304318 w 334418"/>
                <a:gd name="connsiteY24" fmla="*/ 127945 h 132428"/>
                <a:gd name="connsiteX25" fmla="*/ 334314 w 334418"/>
                <a:gd name="connsiteY25" fmla="*/ 129081 h 132428"/>
                <a:gd name="connsiteX26" fmla="*/ 304318 w 334418"/>
                <a:gd name="connsiteY26" fmla="*/ 127945 h 13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4418" h="132428">
                  <a:moveTo>
                    <a:pt x="257153" y="6484"/>
                  </a:moveTo>
                  <a:cubicBezTo>
                    <a:pt x="228740" y="6149"/>
                    <a:pt x="207390" y="-2441"/>
                    <a:pt x="181737" y="4712"/>
                  </a:cubicBezTo>
                  <a:cubicBezTo>
                    <a:pt x="171143" y="7687"/>
                    <a:pt x="155395" y="11196"/>
                    <a:pt x="149266" y="17313"/>
                  </a:cubicBezTo>
                  <a:cubicBezTo>
                    <a:pt x="139321" y="26972"/>
                    <a:pt x="123978" y="16678"/>
                    <a:pt x="109406" y="14205"/>
                  </a:cubicBezTo>
                  <a:cubicBezTo>
                    <a:pt x="97798" y="12232"/>
                    <a:pt x="87731" y="9358"/>
                    <a:pt x="76447" y="7185"/>
                  </a:cubicBezTo>
                  <a:cubicBezTo>
                    <a:pt x="68451" y="5518"/>
                    <a:pt x="60293" y="4488"/>
                    <a:pt x="52093" y="4111"/>
                  </a:cubicBezTo>
                  <a:cubicBezTo>
                    <a:pt x="44828" y="3910"/>
                    <a:pt x="37157" y="-803"/>
                    <a:pt x="30581" y="-301"/>
                  </a:cubicBezTo>
                  <a:cubicBezTo>
                    <a:pt x="10286" y="1203"/>
                    <a:pt x="23559" y="13068"/>
                    <a:pt x="9190" y="15441"/>
                  </a:cubicBezTo>
                  <a:cubicBezTo>
                    <a:pt x="-4001" y="17781"/>
                    <a:pt x="7850" y="21190"/>
                    <a:pt x="2858" y="27340"/>
                  </a:cubicBezTo>
                  <a:cubicBezTo>
                    <a:pt x="-1201" y="32086"/>
                    <a:pt x="-267" y="38704"/>
                    <a:pt x="1154" y="44052"/>
                  </a:cubicBezTo>
                  <a:cubicBezTo>
                    <a:pt x="3995" y="54647"/>
                    <a:pt x="11544" y="62869"/>
                    <a:pt x="11382" y="73832"/>
                  </a:cubicBezTo>
                  <a:cubicBezTo>
                    <a:pt x="11382" y="83291"/>
                    <a:pt x="20027" y="84093"/>
                    <a:pt x="34965" y="85096"/>
                  </a:cubicBezTo>
                  <a:cubicBezTo>
                    <a:pt x="54691" y="86433"/>
                    <a:pt x="68289" y="81286"/>
                    <a:pt x="86919" y="80517"/>
                  </a:cubicBezTo>
                  <a:cubicBezTo>
                    <a:pt x="104373" y="79815"/>
                    <a:pt x="118945" y="83258"/>
                    <a:pt x="134856" y="77743"/>
                  </a:cubicBezTo>
                  <a:cubicBezTo>
                    <a:pt x="148210" y="73164"/>
                    <a:pt x="159210" y="79046"/>
                    <a:pt x="172889" y="77743"/>
                  </a:cubicBezTo>
                  <a:cubicBezTo>
                    <a:pt x="181859" y="76773"/>
                    <a:pt x="187217" y="72228"/>
                    <a:pt x="195457" y="70523"/>
                  </a:cubicBezTo>
                  <a:cubicBezTo>
                    <a:pt x="203615" y="69240"/>
                    <a:pt x="211936" y="68702"/>
                    <a:pt x="220257" y="68919"/>
                  </a:cubicBezTo>
                  <a:cubicBezTo>
                    <a:pt x="237426" y="68651"/>
                    <a:pt x="265839" y="71392"/>
                    <a:pt x="278097" y="63638"/>
                  </a:cubicBezTo>
                  <a:cubicBezTo>
                    <a:pt x="281263" y="61633"/>
                    <a:pt x="282440" y="58925"/>
                    <a:pt x="285079" y="56719"/>
                  </a:cubicBezTo>
                  <a:cubicBezTo>
                    <a:pt x="290843" y="51873"/>
                    <a:pt x="304359" y="54313"/>
                    <a:pt x="313492" y="53611"/>
                  </a:cubicBezTo>
                  <a:lnTo>
                    <a:pt x="293197" y="17313"/>
                  </a:lnTo>
                  <a:lnTo>
                    <a:pt x="286824" y="5982"/>
                  </a:lnTo>
                  <a:cubicBezTo>
                    <a:pt x="277123" y="6283"/>
                    <a:pt x="267300" y="6818"/>
                    <a:pt x="257478" y="6684"/>
                  </a:cubicBezTo>
                  <a:cubicBezTo>
                    <a:pt x="241648" y="6316"/>
                    <a:pt x="261455" y="6550"/>
                    <a:pt x="257153" y="6484"/>
                  </a:cubicBezTo>
                  <a:close/>
                  <a:moveTo>
                    <a:pt x="304318" y="127945"/>
                  </a:moveTo>
                  <a:cubicBezTo>
                    <a:pt x="312436" y="135098"/>
                    <a:pt x="332731" y="131287"/>
                    <a:pt x="334314" y="129081"/>
                  </a:cubicBezTo>
                  <a:cubicBezTo>
                    <a:pt x="335897" y="126875"/>
                    <a:pt x="294982" y="119856"/>
                    <a:pt x="304318" y="12794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9AF3490B-C7B5-463B-88D7-2CCBC4C19868}"/>
                </a:ext>
              </a:extLst>
            </p:cNvPr>
            <p:cNvSpPr/>
            <p:nvPr/>
          </p:nvSpPr>
          <p:spPr>
            <a:xfrm>
              <a:off x="7434516" y="5899842"/>
              <a:ext cx="46983" cy="25794"/>
            </a:xfrm>
            <a:custGeom>
              <a:avLst/>
              <a:gdLst>
                <a:gd name="connsiteX0" fmla="*/ 19436 w 46983"/>
                <a:gd name="connsiteY0" fmla="*/ 1380 h 25794"/>
                <a:gd name="connsiteX1" fmla="*/ 845 w 46983"/>
                <a:gd name="connsiteY1" fmla="*/ 8867 h 25794"/>
                <a:gd name="connsiteX2" fmla="*/ 24550 w 46983"/>
                <a:gd name="connsiteY2" fmla="*/ 22237 h 25794"/>
                <a:gd name="connsiteX3" fmla="*/ 45860 w 46983"/>
                <a:gd name="connsiteY3" fmla="*/ 16087 h 25794"/>
                <a:gd name="connsiteX4" fmla="*/ 19436 w 46983"/>
                <a:gd name="connsiteY4" fmla="*/ 1380 h 25794"/>
                <a:gd name="connsiteX5" fmla="*/ 19436 w 46983"/>
                <a:gd name="connsiteY5" fmla="*/ 1380 h 2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83" h="25794">
                  <a:moveTo>
                    <a:pt x="19436" y="1380"/>
                  </a:moveTo>
                  <a:cubicBezTo>
                    <a:pt x="17934" y="-4536"/>
                    <a:pt x="1860" y="6528"/>
                    <a:pt x="845" y="8867"/>
                  </a:cubicBezTo>
                  <a:cubicBezTo>
                    <a:pt x="-5040" y="21936"/>
                    <a:pt x="19517" y="17190"/>
                    <a:pt x="24550" y="22237"/>
                  </a:cubicBezTo>
                  <a:cubicBezTo>
                    <a:pt x="31328" y="28921"/>
                    <a:pt x="51786" y="24376"/>
                    <a:pt x="45860" y="16087"/>
                  </a:cubicBezTo>
                  <a:cubicBezTo>
                    <a:pt x="41232" y="9603"/>
                    <a:pt x="21181" y="8366"/>
                    <a:pt x="19436" y="1380"/>
                  </a:cubicBezTo>
                  <a:cubicBezTo>
                    <a:pt x="18015" y="-4234"/>
                    <a:pt x="20856" y="7029"/>
                    <a:pt x="19436" y="138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93698830-3D98-4AAA-957A-C7FD09217BFA}"/>
                </a:ext>
              </a:extLst>
            </p:cNvPr>
            <p:cNvSpPr/>
            <p:nvPr/>
          </p:nvSpPr>
          <p:spPr>
            <a:xfrm>
              <a:off x="7433016" y="5898654"/>
              <a:ext cx="49706" cy="28125"/>
            </a:xfrm>
            <a:custGeom>
              <a:avLst/>
              <a:gdLst>
                <a:gd name="connsiteX0" fmla="*/ 31570 w 49706"/>
                <a:gd name="connsiteY0" fmla="*/ 27403 h 28125"/>
                <a:gd name="connsiteX1" fmla="*/ 31570 w 49706"/>
                <a:gd name="connsiteY1" fmla="*/ 27403 h 28125"/>
                <a:gd name="connsiteX2" fmla="*/ 24832 w 49706"/>
                <a:gd name="connsiteY2" fmla="*/ 24061 h 28125"/>
                <a:gd name="connsiteX3" fmla="*/ 20773 w 49706"/>
                <a:gd name="connsiteY3" fmla="*/ 22423 h 28125"/>
                <a:gd name="connsiteX4" fmla="*/ 15172 w 49706"/>
                <a:gd name="connsiteY4" fmla="*/ 21587 h 28125"/>
                <a:gd name="connsiteX5" fmla="*/ 8799 w 49706"/>
                <a:gd name="connsiteY5" fmla="*/ 20651 h 28125"/>
                <a:gd name="connsiteX6" fmla="*/ 1006 w 49706"/>
                <a:gd name="connsiteY6" fmla="*/ 16841 h 28125"/>
                <a:gd name="connsiteX7" fmla="*/ 1006 w 49706"/>
                <a:gd name="connsiteY7" fmla="*/ 9655 h 28125"/>
                <a:gd name="connsiteX8" fmla="*/ 19636 w 49706"/>
                <a:gd name="connsiteY8" fmla="*/ -138 h 28125"/>
                <a:gd name="connsiteX9" fmla="*/ 19880 w 49706"/>
                <a:gd name="connsiteY9" fmla="*/ -138 h 28125"/>
                <a:gd name="connsiteX10" fmla="*/ 20164 w 49706"/>
                <a:gd name="connsiteY10" fmla="*/ -339 h 28125"/>
                <a:gd name="connsiteX11" fmla="*/ 20976 w 49706"/>
                <a:gd name="connsiteY11" fmla="*/ -339 h 28125"/>
                <a:gd name="connsiteX12" fmla="*/ 22112 w 49706"/>
                <a:gd name="connsiteY12" fmla="*/ 597 h 28125"/>
                <a:gd name="connsiteX13" fmla="*/ 22112 w 49706"/>
                <a:gd name="connsiteY13" fmla="*/ 597 h 28125"/>
                <a:gd name="connsiteX14" fmla="*/ 22112 w 49706"/>
                <a:gd name="connsiteY14" fmla="*/ 1232 h 28125"/>
                <a:gd name="connsiteX15" fmla="*/ 22356 w 49706"/>
                <a:gd name="connsiteY15" fmla="*/ 2202 h 28125"/>
                <a:gd name="connsiteX16" fmla="*/ 34533 w 49706"/>
                <a:gd name="connsiteY16" fmla="*/ 9254 h 28125"/>
                <a:gd name="connsiteX17" fmla="*/ 48415 w 49706"/>
                <a:gd name="connsiteY17" fmla="*/ 16574 h 28125"/>
                <a:gd name="connsiteX18" fmla="*/ 47765 w 49706"/>
                <a:gd name="connsiteY18" fmla="*/ 23860 h 28125"/>
                <a:gd name="connsiteX19" fmla="*/ 31570 w 49706"/>
                <a:gd name="connsiteY19" fmla="*/ 27403 h 28125"/>
                <a:gd name="connsiteX20" fmla="*/ 21423 w 49706"/>
                <a:gd name="connsiteY20" fmla="*/ 20284 h 28125"/>
                <a:gd name="connsiteX21" fmla="*/ 27227 w 49706"/>
                <a:gd name="connsiteY21" fmla="*/ 22824 h 28125"/>
                <a:gd name="connsiteX22" fmla="*/ 32220 w 49706"/>
                <a:gd name="connsiteY22" fmla="*/ 25230 h 28125"/>
                <a:gd name="connsiteX23" fmla="*/ 45655 w 49706"/>
                <a:gd name="connsiteY23" fmla="*/ 22623 h 28125"/>
                <a:gd name="connsiteX24" fmla="*/ 46020 w 49706"/>
                <a:gd name="connsiteY24" fmla="*/ 17744 h 28125"/>
                <a:gd name="connsiteX25" fmla="*/ 33843 w 49706"/>
                <a:gd name="connsiteY25" fmla="*/ 11493 h 28125"/>
                <a:gd name="connsiteX26" fmla="*/ 21057 w 49706"/>
                <a:gd name="connsiteY26" fmla="*/ 5243 h 28125"/>
                <a:gd name="connsiteX27" fmla="*/ 20043 w 49706"/>
                <a:gd name="connsiteY27" fmla="*/ 4341 h 28125"/>
                <a:gd name="connsiteX28" fmla="*/ 20043 w 49706"/>
                <a:gd name="connsiteY28" fmla="*/ 4341 h 28125"/>
                <a:gd name="connsiteX29" fmla="*/ 20043 w 49706"/>
                <a:gd name="connsiteY29" fmla="*/ 3639 h 28125"/>
                <a:gd name="connsiteX30" fmla="*/ 19758 w 49706"/>
                <a:gd name="connsiteY30" fmla="*/ 2536 h 28125"/>
                <a:gd name="connsiteX31" fmla="*/ 19231 w 49706"/>
                <a:gd name="connsiteY31" fmla="*/ 2001 h 28125"/>
                <a:gd name="connsiteX32" fmla="*/ 4131 w 49706"/>
                <a:gd name="connsiteY32" fmla="*/ 10457 h 28125"/>
                <a:gd name="connsiteX33" fmla="*/ 4131 w 49706"/>
                <a:gd name="connsiteY33" fmla="*/ 15838 h 28125"/>
                <a:gd name="connsiteX34" fmla="*/ 9976 w 49706"/>
                <a:gd name="connsiteY34" fmla="*/ 18479 h 28125"/>
                <a:gd name="connsiteX35" fmla="*/ 16024 w 49706"/>
                <a:gd name="connsiteY35" fmla="*/ 19415 h 28125"/>
                <a:gd name="connsiteX36" fmla="*/ 21423 w 49706"/>
                <a:gd name="connsiteY36" fmla="*/ 20150 h 2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706" h="28125">
                  <a:moveTo>
                    <a:pt x="31570" y="27403"/>
                  </a:moveTo>
                  <a:lnTo>
                    <a:pt x="31570" y="27403"/>
                  </a:lnTo>
                  <a:cubicBezTo>
                    <a:pt x="28932" y="26902"/>
                    <a:pt x="26578" y="25732"/>
                    <a:pt x="24832" y="24061"/>
                  </a:cubicBezTo>
                  <a:cubicBezTo>
                    <a:pt x="23695" y="23192"/>
                    <a:pt x="22315" y="22623"/>
                    <a:pt x="20773" y="22423"/>
                  </a:cubicBezTo>
                  <a:cubicBezTo>
                    <a:pt x="19109" y="22088"/>
                    <a:pt x="17201" y="21855"/>
                    <a:pt x="15172" y="21587"/>
                  </a:cubicBezTo>
                  <a:cubicBezTo>
                    <a:pt x="13142" y="21320"/>
                    <a:pt x="10829" y="21052"/>
                    <a:pt x="8799" y="20651"/>
                  </a:cubicBezTo>
                  <a:cubicBezTo>
                    <a:pt x="5714" y="20250"/>
                    <a:pt x="2913" y="18880"/>
                    <a:pt x="1006" y="16841"/>
                  </a:cubicBezTo>
                  <a:cubicBezTo>
                    <a:pt x="-415" y="14602"/>
                    <a:pt x="-415" y="11894"/>
                    <a:pt x="1006" y="9655"/>
                  </a:cubicBezTo>
                  <a:cubicBezTo>
                    <a:pt x="1980" y="7482"/>
                    <a:pt x="13914" y="-1308"/>
                    <a:pt x="19636" y="-138"/>
                  </a:cubicBezTo>
                  <a:lnTo>
                    <a:pt x="19880" y="-138"/>
                  </a:lnTo>
                  <a:lnTo>
                    <a:pt x="20164" y="-339"/>
                  </a:lnTo>
                  <a:lnTo>
                    <a:pt x="20976" y="-339"/>
                  </a:lnTo>
                  <a:cubicBezTo>
                    <a:pt x="21666" y="-339"/>
                    <a:pt x="21869" y="-339"/>
                    <a:pt x="22112" y="597"/>
                  </a:cubicBezTo>
                  <a:lnTo>
                    <a:pt x="22112" y="597"/>
                  </a:lnTo>
                  <a:cubicBezTo>
                    <a:pt x="22072" y="798"/>
                    <a:pt x="22072" y="1032"/>
                    <a:pt x="22112" y="1232"/>
                  </a:cubicBezTo>
                  <a:cubicBezTo>
                    <a:pt x="22153" y="1566"/>
                    <a:pt x="22234" y="1867"/>
                    <a:pt x="22356" y="2202"/>
                  </a:cubicBezTo>
                  <a:cubicBezTo>
                    <a:pt x="23127" y="5310"/>
                    <a:pt x="28769" y="7215"/>
                    <a:pt x="34533" y="9254"/>
                  </a:cubicBezTo>
                  <a:cubicBezTo>
                    <a:pt x="40297" y="11293"/>
                    <a:pt x="45979" y="13165"/>
                    <a:pt x="48415" y="16574"/>
                  </a:cubicBezTo>
                  <a:cubicBezTo>
                    <a:pt x="50282" y="18846"/>
                    <a:pt x="49998" y="21855"/>
                    <a:pt x="47765" y="23860"/>
                  </a:cubicBezTo>
                  <a:cubicBezTo>
                    <a:pt x="43422" y="27202"/>
                    <a:pt x="37333" y="28506"/>
                    <a:pt x="31570" y="27403"/>
                  </a:cubicBezTo>
                  <a:close/>
                  <a:moveTo>
                    <a:pt x="21423" y="20284"/>
                  </a:moveTo>
                  <a:cubicBezTo>
                    <a:pt x="23655" y="20584"/>
                    <a:pt x="25684" y="21487"/>
                    <a:pt x="27227" y="22824"/>
                  </a:cubicBezTo>
                  <a:cubicBezTo>
                    <a:pt x="28526" y="24027"/>
                    <a:pt x="30271" y="24863"/>
                    <a:pt x="32220" y="25230"/>
                  </a:cubicBezTo>
                  <a:cubicBezTo>
                    <a:pt x="36928" y="26266"/>
                    <a:pt x="42001" y="25264"/>
                    <a:pt x="45655" y="22623"/>
                  </a:cubicBezTo>
                  <a:cubicBezTo>
                    <a:pt x="47197" y="21286"/>
                    <a:pt x="47360" y="19214"/>
                    <a:pt x="46020" y="17744"/>
                  </a:cubicBezTo>
                  <a:cubicBezTo>
                    <a:pt x="44112" y="15070"/>
                    <a:pt x="38795" y="13265"/>
                    <a:pt x="33843" y="11493"/>
                  </a:cubicBezTo>
                  <a:cubicBezTo>
                    <a:pt x="29013" y="10290"/>
                    <a:pt x="24629" y="8151"/>
                    <a:pt x="21057" y="5243"/>
                  </a:cubicBezTo>
                  <a:cubicBezTo>
                    <a:pt x="20489" y="5243"/>
                    <a:pt x="20286" y="5042"/>
                    <a:pt x="20043" y="4341"/>
                  </a:cubicBezTo>
                  <a:lnTo>
                    <a:pt x="20043" y="4341"/>
                  </a:lnTo>
                  <a:cubicBezTo>
                    <a:pt x="20043" y="4106"/>
                    <a:pt x="20043" y="3873"/>
                    <a:pt x="20043" y="3639"/>
                  </a:cubicBezTo>
                  <a:cubicBezTo>
                    <a:pt x="20043" y="3338"/>
                    <a:pt x="20043" y="2970"/>
                    <a:pt x="19758" y="2536"/>
                  </a:cubicBezTo>
                  <a:cubicBezTo>
                    <a:pt x="19474" y="2101"/>
                    <a:pt x="19393" y="2034"/>
                    <a:pt x="19231" y="2001"/>
                  </a:cubicBezTo>
                  <a:cubicBezTo>
                    <a:pt x="15821" y="1332"/>
                    <a:pt x="4902" y="8685"/>
                    <a:pt x="4131" y="10457"/>
                  </a:cubicBezTo>
                  <a:cubicBezTo>
                    <a:pt x="3117" y="12162"/>
                    <a:pt x="3117" y="14134"/>
                    <a:pt x="4131" y="15838"/>
                  </a:cubicBezTo>
                  <a:cubicBezTo>
                    <a:pt x="5592" y="17309"/>
                    <a:pt x="7703" y="18245"/>
                    <a:pt x="9976" y="18479"/>
                  </a:cubicBezTo>
                  <a:cubicBezTo>
                    <a:pt x="11843" y="18880"/>
                    <a:pt x="14035" y="19147"/>
                    <a:pt x="16024" y="19415"/>
                  </a:cubicBezTo>
                  <a:cubicBezTo>
                    <a:pt x="18013" y="19682"/>
                    <a:pt x="19596" y="19916"/>
                    <a:pt x="21423" y="201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6749B43B-3BEF-43FA-8441-0F94808C2C3B}"/>
                </a:ext>
              </a:extLst>
            </p:cNvPr>
            <p:cNvSpPr/>
            <p:nvPr/>
          </p:nvSpPr>
          <p:spPr>
            <a:xfrm>
              <a:off x="9857354" y="5928227"/>
              <a:ext cx="116289" cy="182856"/>
            </a:xfrm>
            <a:custGeom>
              <a:avLst/>
              <a:gdLst>
                <a:gd name="connsiteX0" fmla="*/ 1581 w 116289"/>
                <a:gd name="connsiteY0" fmla="*/ -199 h 182856"/>
                <a:gd name="connsiteX1" fmla="*/ 13149 w 116289"/>
                <a:gd name="connsiteY1" fmla="*/ 37002 h 182856"/>
                <a:gd name="connsiteX2" fmla="*/ 1581 w 116289"/>
                <a:gd name="connsiteY2" fmla="*/ -199 h 182856"/>
                <a:gd name="connsiteX3" fmla="*/ 30766 w 116289"/>
                <a:gd name="connsiteY3" fmla="*/ 43252 h 182856"/>
                <a:gd name="connsiteX4" fmla="*/ 41928 w 116289"/>
                <a:gd name="connsiteY4" fmla="*/ 64409 h 182856"/>
                <a:gd name="connsiteX5" fmla="*/ 30766 w 116289"/>
                <a:gd name="connsiteY5" fmla="*/ 43118 h 182856"/>
                <a:gd name="connsiteX6" fmla="*/ 85764 w 116289"/>
                <a:gd name="connsiteY6" fmla="*/ 114076 h 182856"/>
                <a:gd name="connsiteX7" fmla="*/ 62953 w 116289"/>
                <a:gd name="connsiteY7" fmla="*/ 83995 h 182856"/>
                <a:gd name="connsiteX8" fmla="*/ 85764 w 116289"/>
                <a:gd name="connsiteY8" fmla="*/ 113943 h 182856"/>
                <a:gd name="connsiteX9" fmla="*/ 69934 w 116289"/>
                <a:gd name="connsiteY9" fmla="*/ 124638 h 182856"/>
                <a:gd name="connsiteX10" fmla="*/ 86170 w 116289"/>
                <a:gd name="connsiteY10" fmla="*/ 146531 h 182856"/>
                <a:gd name="connsiteX11" fmla="*/ 69934 w 116289"/>
                <a:gd name="connsiteY11" fmla="*/ 124505 h 182856"/>
                <a:gd name="connsiteX12" fmla="*/ 99159 w 116289"/>
                <a:gd name="connsiteY12" fmla="*/ 163544 h 182856"/>
                <a:gd name="connsiteX13" fmla="*/ 114177 w 116289"/>
                <a:gd name="connsiteY13" fmla="*/ 182461 h 182856"/>
                <a:gd name="connsiteX14" fmla="*/ 99159 w 116289"/>
                <a:gd name="connsiteY14" fmla="*/ 163410 h 182856"/>
                <a:gd name="connsiteX15" fmla="*/ 106099 w 116289"/>
                <a:gd name="connsiteY15" fmla="*/ 125675 h 182856"/>
                <a:gd name="connsiteX16" fmla="*/ 107439 w 116289"/>
                <a:gd name="connsiteY16" fmla="*/ 155421 h 182856"/>
                <a:gd name="connsiteX17" fmla="*/ 106099 w 116289"/>
                <a:gd name="connsiteY17" fmla="*/ 125541 h 18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289" h="182856">
                  <a:moveTo>
                    <a:pt x="1581" y="-199"/>
                  </a:moveTo>
                  <a:cubicBezTo>
                    <a:pt x="-2965" y="2709"/>
                    <a:pt x="2272" y="35264"/>
                    <a:pt x="13149" y="37002"/>
                  </a:cubicBezTo>
                  <a:cubicBezTo>
                    <a:pt x="33404" y="40244"/>
                    <a:pt x="6209" y="-3106"/>
                    <a:pt x="1581" y="-199"/>
                  </a:cubicBezTo>
                  <a:close/>
                  <a:moveTo>
                    <a:pt x="30766" y="43252"/>
                  </a:moveTo>
                  <a:cubicBezTo>
                    <a:pt x="28938" y="44455"/>
                    <a:pt x="37016" y="63774"/>
                    <a:pt x="41928" y="64409"/>
                  </a:cubicBezTo>
                  <a:cubicBezTo>
                    <a:pt x="46839" y="65044"/>
                    <a:pt x="34134" y="40879"/>
                    <a:pt x="30766" y="43118"/>
                  </a:cubicBezTo>
                  <a:close/>
                  <a:moveTo>
                    <a:pt x="85764" y="114076"/>
                  </a:moveTo>
                  <a:cubicBezTo>
                    <a:pt x="93314" y="115380"/>
                    <a:pt x="67093" y="80653"/>
                    <a:pt x="62953" y="83995"/>
                  </a:cubicBezTo>
                  <a:cubicBezTo>
                    <a:pt x="58813" y="87338"/>
                    <a:pt x="78296" y="112606"/>
                    <a:pt x="85764" y="113943"/>
                  </a:cubicBezTo>
                  <a:close/>
                  <a:moveTo>
                    <a:pt x="69934" y="124638"/>
                  </a:moveTo>
                  <a:cubicBezTo>
                    <a:pt x="66484" y="131958"/>
                    <a:pt x="78337" y="144893"/>
                    <a:pt x="86170" y="146531"/>
                  </a:cubicBezTo>
                  <a:cubicBezTo>
                    <a:pt x="94004" y="148169"/>
                    <a:pt x="73506" y="116918"/>
                    <a:pt x="69934" y="124505"/>
                  </a:cubicBezTo>
                  <a:close/>
                  <a:moveTo>
                    <a:pt x="99159" y="163544"/>
                  </a:moveTo>
                  <a:cubicBezTo>
                    <a:pt x="98794" y="165683"/>
                    <a:pt x="105207" y="181091"/>
                    <a:pt x="114177" y="182461"/>
                  </a:cubicBezTo>
                  <a:cubicBezTo>
                    <a:pt x="123148" y="183831"/>
                    <a:pt x="99849" y="159733"/>
                    <a:pt x="99159" y="163410"/>
                  </a:cubicBezTo>
                  <a:close/>
                  <a:moveTo>
                    <a:pt x="106099" y="125675"/>
                  </a:moveTo>
                  <a:cubicBezTo>
                    <a:pt x="94978" y="129017"/>
                    <a:pt x="104720" y="153249"/>
                    <a:pt x="107439" y="155421"/>
                  </a:cubicBezTo>
                  <a:cubicBezTo>
                    <a:pt x="110158" y="157594"/>
                    <a:pt x="114583" y="122867"/>
                    <a:pt x="106099" y="12554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330E4B80-C973-40A9-9836-9CD17069F370}"/>
                </a:ext>
              </a:extLst>
            </p:cNvPr>
            <p:cNvSpPr/>
            <p:nvPr/>
          </p:nvSpPr>
          <p:spPr>
            <a:xfrm>
              <a:off x="8607421" y="5699934"/>
              <a:ext cx="970147" cy="712612"/>
            </a:xfrm>
            <a:custGeom>
              <a:avLst/>
              <a:gdLst>
                <a:gd name="connsiteX0" fmla="*/ 942383 w 970147"/>
                <a:gd name="connsiteY0" fmla="*/ 537263 h 712612"/>
                <a:gd name="connsiteX1" fmla="*/ 945711 w 970147"/>
                <a:gd name="connsiteY1" fmla="*/ 520551 h 712612"/>
                <a:gd name="connsiteX2" fmla="*/ 970065 w 970147"/>
                <a:gd name="connsiteY2" fmla="*/ 494748 h 712612"/>
                <a:gd name="connsiteX3" fmla="*/ 955209 w 970147"/>
                <a:gd name="connsiteY3" fmla="*/ 489467 h 712612"/>
                <a:gd name="connsiteX4" fmla="*/ 956508 w 970147"/>
                <a:gd name="connsiteY4" fmla="*/ 472421 h 712612"/>
                <a:gd name="connsiteX5" fmla="*/ 954356 w 970147"/>
                <a:gd name="connsiteY5" fmla="*/ 460656 h 712612"/>
                <a:gd name="connsiteX6" fmla="*/ 944697 w 970147"/>
                <a:gd name="connsiteY6" fmla="*/ 452801 h 712612"/>
                <a:gd name="connsiteX7" fmla="*/ 945549 w 970147"/>
                <a:gd name="connsiteY7" fmla="*/ 446116 h 712612"/>
                <a:gd name="connsiteX8" fmla="*/ 937958 w 970147"/>
                <a:gd name="connsiteY8" fmla="*/ 436992 h 712612"/>
                <a:gd name="connsiteX9" fmla="*/ 948959 w 970147"/>
                <a:gd name="connsiteY9" fmla="*/ 418542 h 712612"/>
                <a:gd name="connsiteX10" fmla="*/ 934387 w 970147"/>
                <a:gd name="connsiteY10" fmla="*/ 408013 h 712612"/>
                <a:gd name="connsiteX11" fmla="*/ 930693 w 970147"/>
                <a:gd name="connsiteY11" fmla="*/ 393842 h 712612"/>
                <a:gd name="connsiteX12" fmla="*/ 929191 w 970147"/>
                <a:gd name="connsiteY12" fmla="*/ 367103 h 712612"/>
                <a:gd name="connsiteX13" fmla="*/ 911981 w 970147"/>
                <a:gd name="connsiteY13" fmla="*/ 334281 h 712612"/>
                <a:gd name="connsiteX14" fmla="*/ 896313 w 970147"/>
                <a:gd name="connsiteY14" fmla="*/ 317803 h 712612"/>
                <a:gd name="connsiteX15" fmla="*/ 896882 w 970147"/>
                <a:gd name="connsiteY15" fmla="*/ 303632 h 712612"/>
                <a:gd name="connsiteX16" fmla="*/ 906460 w 970147"/>
                <a:gd name="connsiteY16" fmla="*/ 280035 h 712612"/>
                <a:gd name="connsiteX17" fmla="*/ 903051 w 970147"/>
                <a:gd name="connsiteY17" fmla="*/ 260883 h 712612"/>
                <a:gd name="connsiteX18" fmla="*/ 915228 w 970147"/>
                <a:gd name="connsiteY18" fmla="*/ 239057 h 712612"/>
                <a:gd name="connsiteX19" fmla="*/ 906704 w 970147"/>
                <a:gd name="connsiteY19" fmla="*/ 219605 h 712612"/>
                <a:gd name="connsiteX20" fmla="*/ 884908 w 970147"/>
                <a:gd name="connsiteY20" fmla="*/ 204832 h 712612"/>
                <a:gd name="connsiteX21" fmla="*/ 899114 w 970147"/>
                <a:gd name="connsiteY21" fmla="*/ 184543 h 712612"/>
                <a:gd name="connsiteX22" fmla="*/ 898424 w 970147"/>
                <a:gd name="connsiteY22" fmla="*/ 162985 h 712612"/>
                <a:gd name="connsiteX23" fmla="*/ 901549 w 970147"/>
                <a:gd name="connsiteY23" fmla="*/ 142329 h 712612"/>
                <a:gd name="connsiteX24" fmla="*/ 880239 w 970147"/>
                <a:gd name="connsiteY24" fmla="*/ 143265 h 712612"/>
                <a:gd name="connsiteX25" fmla="*/ 872487 w 970147"/>
                <a:gd name="connsiteY25" fmla="*/ 150919 h 712612"/>
                <a:gd name="connsiteX26" fmla="*/ 861203 w 970147"/>
                <a:gd name="connsiteY26" fmla="*/ 154262 h 712612"/>
                <a:gd name="connsiteX27" fmla="*/ 848377 w 970147"/>
                <a:gd name="connsiteY27" fmla="*/ 167865 h 712612"/>
                <a:gd name="connsiteX28" fmla="*/ 831654 w 970147"/>
                <a:gd name="connsiteY28" fmla="*/ 186482 h 712612"/>
                <a:gd name="connsiteX29" fmla="*/ 786071 w 970147"/>
                <a:gd name="connsiteY29" fmla="*/ 217299 h 712612"/>
                <a:gd name="connsiteX30" fmla="*/ 754167 w 970147"/>
                <a:gd name="connsiteY30" fmla="*/ 209177 h 712612"/>
                <a:gd name="connsiteX31" fmla="*/ 743655 w 970147"/>
                <a:gd name="connsiteY31" fmla="*/ 187518 h 712612"/>
                <a:gd name="connsiteX32" fmla="*/ 723847 w 970147"/>
                <a:gd name="connsiteY32" fmla="*/ 171341 h 712612"/>
                <a:gd name="connsiteX33" fmla="*/ 703269 w 970147"/>
                <a:gd name="connsiteY33" fmla="*/ 147343 h 712612"/>
                <a:gd name="connsiteX34" fmla="*/ 694055 w 970147"/>
                <a:gd name="connsiteY34" fmla="*/ 128693 h 712612"/>
                <a:gd name="connsiteX35" fmla="*/ 685693 w 970147"/>
                <a:gd name="connsiteY35" fmla="*/ 116961 h 712612"/>
                <a:gd name="connsiteX36" fmla="*/ 701929 w 970147"/>
                <a:gd name="connsiteY36" fmla="*/ 114253 h 712612"/>
                <a:gd name="connsiteX37" fmla="*/ 713700 w 970147"/>
                <a:gd name="connsiteY37" fmla="*/ 101553 h 712612"/>
                <a:gd name="connsiteX38" fmla="*/ 732534 w 970147"/>
                <a:gd name="connsiteY38" fmla="*/ 104093 h 712612"/>
                <a:gd name="connsiteX39" fmla="*/ 737892 w 970147"/>
                <a:gd name="connsiteY39" fmla="*/ 98411 h 712612"/>
                <a:gd name="connsiteX40" fmla="*/ 748160 w 970147"/>
                <a:gd name="connsiteY40" fmla="*/ 96172 h 712612"/>
                <a:gd name="connsiteX41" fmla="*/ 737648 w 970147"/>
                <a:gd name="connsiteY41" fmla="*/ 86913 h 712612"/>
                <a:gd name="connsiteX42" fmla="*/ 726445 w 970147"/>
                <a:gd name="connsiteY42" fmla="*/ 84039 h 712612"/>
                <a:gd name="connsiteX43" fmla="*/ 714268 w 970147"/>
                <a:gd name="connsiteY43" fmla="*/ 78022 h 712612"/>
                <a:gd name="connsiteX44" fmla="*/ 697221 w 970147"/>
                <a:gd name="connsiteY44" fmla="*/ 66157 h 712612"/>
                <a:gd name="connsiteX45" fmla="*/ 670553 w 970147"/>
                <a:gd name="connsiteY45" fmla="*/ 47072 h 712612"/>
                <a:gd name="connsiteX46" fmla="*/ 651436 w 970147"/>
                <a:gd name="connsiteY46" fmla="*/ 26784 h 712612"/>
                <a:gd name="connsiteX47" fmla="*/ 646159 w 970147"/>
                <a:gd name="connsiteY47" fmla="*/ 32466 h 712612"/>
                <a:gd name="connsiteX48" fmla="*/ 639421 w 970147"/>
                <a:gd name="connsiteY48" fmla="*/ 39886 h 712612"/>
                <a:gd name="connsiteX49" fmla="*/ 612997 w 970147"/>
                <a:gd name="connsiteY49" fmla="*/ 30661 h 712612"/>
                <a:gd name="connsiteX50" fmla="*/ 603946 w 970147"/>
                <a:gd name="connsiteY50" fmla="*/ 25313 h 712612"/>
                <a:gd name="connsiteX51" fmla="*/ 600292 w 970147"/>
                <a:gd name="connsiteY51" fmla="*/ 29291 h 712612"/>
                <a:gd name="connsiteX52" fmla="*/ 589008 w 970147"/>
                <a:gd name="connsiteY52" fmla="*/ 27586 h 712612"/>
                <a:gd name="connsiteX53" fmla="*/ 575857 w 970147"/>
                <a:gd name="connsiteY53" fmla="*/ 32800 h 712612"/>
                <a:gd name="connsiteX54" fmla="*/ 549150 w 970147"/>
                <a:gd name="connsiteY54" fmla="*/ 40722 h 712612"/>
                <a:gd name="connsiteX55" fmla="*/ 546348 w 970147"/>
                <a:gd name="connsiteY55" fmla="*/ 59138 h 712612"/>
                <a:gd name="connsiteX56" fmla="*/ 523050 w 970147"/>
                <a:gd name="connsiteY56" fmla="*/ 40588 h 712612"/>
                <a:gd name="connsiteX57" fmla="*/ 509695 w 970147"/>
                <a:gd name="connsiteY57" fmla="*/ 39919 h 712612"/>
                <a:gd name="connsiteX58" fmla="*/ 503810 w 970147"/>
                <a:gd name="connsiteY58" fmla="*/ 25681 h 712612"/>
                <a:gd name="connsiteX59" fmla="*/ 492121 w 970147"/>
                <a:gd name="connsiteY59" fmla="*/ 7131 h 712612"/>
                <a:gd name="connsiteX60" fmla="*/ 463423 w 970147"/>
                <a:gd name="connsiteY60" fmla="*/ 2752 h 712612"/>
                <a:gd name="connsiteX61" fmla="*/ 445321 w 970147"/>
                <a:gd name="connsiteY61" fmla="*/ 2251 h 712612"/>
                <a:gd name="connsiteX62" fmla="*/ 431723 w 970147"/>
                <a:gd name="connsiteY62" fmla="*/ 4658 h 712612"/>
                <a:gd name="connsiteX63" fmla="*/ 410901 w 970147"/>
                <a:gd name="connsiteY63" fmla="*/ 5527 h 712612"/>
                <a:gd name="connsiteX64" fmla="*/ 396653 w 970147"/>
                <a:gd name="connsiteY64" fmla="*/ 15855 h 712612"/>
                <a:gd name="connsiteX65" fmla="*/ 382163 w 970147"/>
                <a:gd name="connsiteY65" fmla="*/ 14016 h 712612"/>
                <a:gd name="connsiteX66" fmla="*/ 370230 w 970147"/>
                <a:gd name="connsiteY66" fmla="*/ 26450 h 712612"/>
                <a:gd name="connsiteX67" fmla="*/ 367753 w 970147"/>
                <a:gd name="connsiteY67" fmla="*/ 10908 h 712612"/>
                <a:gd name="connsiteX68" fmla="*/ 337839 w 970147"/>
                <a:gd name="connsiteY68" fmla="*/ 13548 h 712612"/>
                <a:gd name="connsiteX69" fmla="*/ 330898 w 970147"/>
                <a:gd name="connsiteY69" fmla="*/ 26517 h 712612"/>
                <a:gd name="connsiteX70" fmla="*/ 301713 w 970147"/>
                <a:gd name="connsiteY70" fmla="*/ 30327 h 712612"/>
                <a:gd name="connsiteX71" fmla="*/ 269648 w 970147"/>
                <a:gd name="connsiteY71" fmla="*/ 32901 h 712612"/>
                <a:gd name="connsiteX72" fmla="*/ 238028 w 970147"/>
                <a:gd name="connsiteY72" fmla="*/ 23575 h 712612"/>
                <a:gd name="connsiteX73" fmla="*/ 212254 w 970147"/>
                <a:gd name="connsiteY73" fmla="*/ 19030 h 712612"/>
                <a:gd name="connsiteX74" fmla="*/ 192568 w 970147"/>
                <a:gd name="connsiteY74" fmla="*/ 19765 h 712612"/>
                <a:gd name="connsiteX75" fmla="*/ 169229 w 970147"/>
                <a:gd name="connsiteY75" fmla="*/ 9237 h 712612"/>
                <a:gd name="connsiteX76" fmla="*/ 123240 w 970147"/>
                <a:gd name="connsiteY76" fmla="*/ 9671 h 712612"/>
                <a:gd name="connsiteX77" fmla="*/ 107005 w 970147"/>
                <a:gd name="connsiteY77" fmla="*/ 10106 h 712612"/>
                <a:gd name="connsiteX78" fmla="*/ 97426 w 970147"/>
                <a:gd name="connsiteY78" fmla="*/ 14284 h 712612"/>
                <a:gd name="connsiteX79" fmla="*/ 101119 w 970147"/>
                <a:gd name="connsiteY79" fmla="*/ 3287 h 712612"/>
                <a:gd name="connsiteX80" fmla="*/ 80297 w 970147"/>
                <a:gd name="connsiteY80" fmla="*/ 23341 h 712612"/>
                <a:gd name="connsiteX81" fmla="*/ 54766 w 970147"/>
                <a:gd name="connsiteY81" fmla="*/ 46404 h 712612"/>
                <a:gd name="connsiteX82" fmla="*/ 58256 w 970147"/>
                <a:gd name="connsiteY82" fmla="*/ 77621 h 712612"/>
                <a:gd name="connsiteX83" fmla="*/ 48474 w 970147"/>
                <a:gd name="connsiteY83" fmla="*/ 64252 h 712612"/>
                <a:gd name="connsiteX84" fmla="*/ 49164 w 970147"/>
                <a:gd name="connsiteY84" fmla="*/ 77856 h 712612"/>
                <a:gd name="connsiteX85" fmla="*/ 41046 w 970147"/>
                <a:gd name="connsiteY85" fmla="*/ 66291 h 712612"/>
                <a:gd name="connsiteX86" fmla="*/ 36419 w 970147"/>
                <a:gd name="connsiteY86" fmla="*/ 67394 h 712612"/>
                <a:gd name="connsiteX87" fmla="*/ 41006 w 970147"/>
                <a:gd name="connsiteY87" fmla="*/ 90189 h 712612"/>
                <a:gd name="connsiteX88" fmla="*/ 45836 w 970147"/>
                <a:gd name="connsiteY88" fmla="*/ 128592 h 712612"/>
                <a:gd name="connsiteX89" fmla="*/ 41980 w 970147"/>
                <a:gd name="connsiteY89" fmla="*/ 150618 h 712612"/>
                <a:gd name="connsiteX90" fmla="*/ 42873 w 970147"/>
                <a:gd name="connsiteY90" fmla="*/ 178093 h 712612"/>
                <a:gd name="connsiteX91" fmla="*/ 42873 w 970147"/>
                <a:gd name="connsiteY91" fmla="*/ 191195 h 712612"/>
                <a:gd name="connsiteX92" fmla="*/ 26069 w 970147"/>
                <a:gd name="connsiteY92" fmla="*/ 210179 h 712612"/>
                <a:gd name="connsiteX93" fmla="*/ 4434 w 970147"/>
                <a:gd name="connsiteY93" fmla="*/ 212820 h 712612"/>
                <a:gd name="connsiteX94" fmla="*/ 11781 w 970147"/>
                <a:gd name="connsiteY94" fmla="*/ 228596 h 712612"/>
                <a:gd name="connsiteX95" fmla="*/ 25501 w 970147"/>
                <a:gd name="connsiteY95" fmla="*/ 247748 h 712612"/>
                <a:gd name="connsiteX96" fmla="*/ 54604 w 970147"/>
                <a:gd name="connsiteY96" fmla="*/ 260582 h 712612"/>
                <a:gd name="connsiteX97" fmla="*/ 76400 w 970147"/>
                <a:gd name="connsiteY97" fmla="*/ 262454 h 712612"/>
                <a:gd name="connsiteX98" fmla="*/ 106152 w 970147"/>
                <a:gd name="connsiteY98" fmla="*/ 263791 h 712612"/>
                <a:gd name="connsiteX99" fmla="*/ 170325 w 970147"/>
                <a:gd name="connsiteY99" fmla="*/ 284213 h 712612"/>
                <a:gd name="connsiteX100" fmla="*/ 203771 w 970147"/>
                <a:gd name="connsiteY100" fmla="*/ 294240 h 712612"/>
                <a:gd name="connsiteX101" fmla="*/ 227435 w 970147"/>
                <a:gd name="connsiteY101" fmla="*/ 288892 h 712612"/>
                <a:gd name="connsiteX102" fmla="*/ 257390 w 970147"/>
                <a:gd name="connsiteY102" fmla="*/ 292234 h 712612"/>
                <a:gd name="connsiteX103" fmla="*/ 281744 w 970147"/>
                <a:gd name="connsiteY103" fmla="*/ 296913 h 712612"/>
                <a:gd name="connsiteX104" fmla="*/ 320629 w 970147"/>
                <a:gd name="connsiteY104" fmla="*/ 311052 h 712612"/>
                <a:gd name="connsiteX105" fmla="*/ 361219 w 970147"/>
                <a:gd name="connsiteY105" fmla="*/ 318238 h 712612"/>
                <a:gd name="connsiteX106" fmla="*/ 411712 w 970147"/>
                <a:gd name="connsiteY106" fmla="*/ 344977 h 712612"/>
                <a:gd name="connsiteX107" fmla="*/ 453479 w 970147"/>
                <a:gd name="connsiteY107" fmla="*/ 377063 h 712612"/>
                <a:gd name="connsiteX108" fmla="*/ 449907 w 970147"/>
                <a:gd name="connsiteY108" fmla="*/ 390967 h 712612"/>
                <a:gd name="connsiteX109" fmla="*/ 460906 w 970147"/>
                <a:gd name="connsiteY109" fmla="*/ 407245 h 712612"/>
                <a:gd name="connsiteX110" fmla="*/ 471257 w 970147"/>
                <a:gd name="connsiteY110" fmla="*/ 436891 h 712612"/>
                <a:gd name="connsiteX111" fmla="*/ 493988 w 970147"/>
                <a:gd name="connsiteY111" fmla="*/ 435554 h 712612"/>
                <a:gd name="connsiteX112" fmla="*/ 507545 w 970147"/>
                <a:gd name="connsiteY112" fmla="*/ 434987 h 712612"/>
                <a:gd name="connsiteX113" fmla="*/ 536282 w 970147"/>
                <a:gd name="connsiteY113" fmla="*/ 433081 h 712612"/>
                <a:gd name="connsiteX114" fmla="*/ 515663 w 970147"/>
                <a:gd name="connsiteY114" fmla="*/ 444011 h 712612"/>
                <a:gd name="connsiteX115" fmla="*/ 492121 w 970147"/>
                <a:gd name="connsiteY115" fmla="*/ 451464 h 712612"/>
                <a:gd name="connsiteX116" fmla="*/ 499386 w 970147"/>
                <a:gd name="connsiteY116" fmla="*/ 462060 h 712612"/>
                <a:gd name="connsiteX117" fmla="*/ 521872 w 970147"/>
                <a:gd name="connsiteY117" fmla="*/ 455375 h 712612"/>
                <a:gd name="connsiteX118" fmla="*/ 512253 w 970147"/>
                <a:gd name="connsiteY118" fmla="*/ 475763 h 712612"/>
                <a:gd name="connsiteX119" fmla="*/ 532142 w 970147"/>
                <a:gd name="connsiteY119" fmla="*/ 489667 h 712612"/>
                <a:gd name="connsiteX120" fmla="*/ 528489 w 970147"/>
                <a:gd name="connsiteY120" fmla="*/ 516039 h 712612"/>
                <a:gd name="connsiteX121" fmla="*/ 532792 w 970147"/>
                <a:gd name="connsiteY121" fmla="*/ 543412 h 712612"/>
                <a:gd name="connsiteX122" fmla="*/ 579753 w 970147"/>
                <a:gd name="connsiteY122" fmla="*/ 586429 h 712612"/>
                <a:gd name="connsiteX123" fmla="*/ 612225 w 970147"/>
                <a:gd name="connsiteY123" fmla="*/ 594183 h 712612"/>
                <a:gd name="connsiteX124" fmla="*/ 625701 w 970147"/>
                <a:gd name="connsiteY124" fmla="*/ 592946 h 712612"/>
                <a:gd name="connsiteX125" fmla="*/ 623469 w 970147"/>
                <a:gd name="connsiteY125" fmla="*/ 599330 h 712612"/>
                <a:gd name="connsiteX126" fmla="*/ 620141 w 970147"/>
                <a:gd name="connsiteY126" fmla="*/ 605647 h 712612"/>
                <a:gd name="connsiteX127" fmla="*/ 629638 w 970147"/>
                <a:gd name="connsiteY127" fmla="*/ 602305 h 712612"/>
                <a:gd name="connsiteX128" fmla="*/ 641126 w 970147"/>
                <a:gd name="connsiteY128" fmla="*/ 630280 h 712612"/>
                <a:gd name="connsiteX129" fmla="*/ 658985 w 970147"/>
                <a:gd name="connsiteY129" fmla="*/ 626671 h 712612"/>
                <a:gd name="connsiteX130" fmla="*/ 686992 w 970147"/>
                <a:gd name="connsiteY130" fmla="*/ 627874 h 712612"/>
                <a:gd name="connsiteX131" fmla="*/ 729652 w 970147"/>
                <a:gd name="connsiteY131" fmla="*/ 643884 h 712612"/>
                <a:gd name="connsiteX132" fmla="*/ 751204 w 970147"/>
                <a:gd name="connsiteY132" fmla="*/ 635762 h 712612"/>
                <a:gd name="connsiteX133" fmla="*/ 765898 w 970147"/>
                <a:gd name="connsiteY133" fmla="*/ 622392 h 712612"/>
                <a:gd name="connsiteX134" fmla="*/ 791470 w 970147"/>
                <a:gd name="connsiteY134" fmla="*/ 614471 h 712612"/>
                <a:gd name="connsiteX135" fmla="*/ 832506 w 970147"/>
                <a:gd name="connsiteY135" fmla="*/ 594985 h 712612"/>
                <a:gd name="connsiteX136" fmla="*/ 847727 w 970147"/>
                <a:gd name="connsiteY136" fmla="*/ 592478 h 712612"/>
                <a:gd name="connsiteX137" fmla="*/ 872081 w 970147"/>
                <a:gd name="connsiteY137" fmla="*/ 587732 h 712612"/>
                <a:gd name="connsiteX138" fmla="*/ 896435 w 970147"/>
                <a:gd name="connsiteY138" fmla="*/ 577170 h 712612"/>
                <a:gd name="connsiteX139" fmla="*/ 916730 w 970147"/>
                <a:gd name="connsiteY139" fmla="*/ 562531 h 712612"/>
                <a:gd name="connsiteX140" fmla="*/ 931017 w 970147"/>
                <a:gd name="connsiteY140" fmla="*/ 549930 h 712612"/>
                <a:gd name="connsiteX141" fmla="*/ 942748 w 970147"/>
                <a:gd name="connsiteY141" fmla="*/ 537798 h 712612"/>
                <a:gd name="connsiteX142" fmla="*/ 623387 w 970147"/>
                <a:gd name="connsiteY142" fmla="*/ 21904 h 712612"/>
                <a:gd name="connsiteX143" fmla="*/ 589130 w 970147"/>
                <a:gd name="connsiteY143" fmla="*/ 12145 h 712612"/>
                <a:gd name="connsiteX144" fmla="*/ 623265 w 970147"/>
                <a:gd name="connsiteY144" fmla="*/ 21904 h 712612"/>
                <a:gd name="connsiteX145" fmla="*/ 466427 w 970147"/>
                <a:gd name="connsiteY145" fmla="*/ 464499 h 712612"/>
                <a:gd name="connsiteX146" fmla="*/ 494272 w 970147"/>
                <a:gd name="connsiteY146" fmla="*/ 475061 h 712612"/>
                <a:gd name="connsiteX147" fmla="*/ 466305 w 970147"/>
                <a:gd name="connsiteY147" fmla="*/ 464499 h 712612"/>
                <a:gd name="connsiteX148" fmla="*/ 613727 w 970147"/>
                <a:gd name="connsiteY148" fmla="*/ 664005 h 712612"/>
                <a:gd name="connsiteX149" fmla="*/ 582352 w 970147"/>
                <a:gd name="connsiteY149" fmla="*/ 637934 h 712612"/>
                <a:gd name="connsiteX150" fmla="*/ 577359 w 970147"/>
                <a:gd name="connsiteY150" fmla="*/ 662467 h 712612"/>
                <a:gd name="connsiteX151" fmla="*/ 566887 w 970147"/>
                <a:gd name="connsiteY151" fmla="*/ 682087 h 712612"/>
                <a:gd name="connsiteX152" fmla="*/ 587182 w 970147"/>
                <a:gd name="connsiteY152" fmla="*/ 710564 h 712612"/>
                <a:gd name="connsiteX153" fmla="*/ 591849 w 970147"/>
                <a:gd name="connsiteY153" fmla="*/ 708792 h 712612"/>
                <a:gd name="connsiteX154" fmla="*/ 600333 w 970147"/>
                <a:gd name="connsiteY154" fmla="*/ 710363 h 712612"/>
                <a:gd name="connsiteX155" fmla="*/ 610561 w 970147"/>
                <a:gd name="connsiteY155" fmla="*/ 705918 h 712612"/>
                <a:gd name="connsiteX156" fmla="*/ 633982 w 970147"/>
                <a:gd name="connsiteY156" fmla="*/ 699768 h 712612"/>
                <a:gd name="connsiteX157" fmla="*/ 652166 w 970147"/>
                <a:gd name="connsiteY157" fmla="*/ 680516 h 712612"/>
                <a:gd name="connsiteX158" fmla="*/ 613606 w 970147"/>
                <a:gd name="connsiteY158" fmla="*/ 664005 h 712612"/>
                <a:gd name="connsiteX159" fmla="*/ 613606 w 970147"/>
                <a:gd name="connsiteY159" fmla="*/ 664005 h 71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970147" h="712612">
                  <a:moveTo>
                    <a:pt x="942383" y="537263"/>
                  </a:moveTo>
                  <a:cubicBezTo>
                    <a:pt x="953789" y="538065"/>
                    <a:pt x="944209" y="523325"/>
                    <a:pt x="945711" y="520551"/>
                  </a:cubicBezTo>
                  <a:cubicBezTo>
                    <a:pt x="947213" y="517777"/>
                    <a:pt x="970917" y="495683"/>
                    <a:pt x="970065" y="494748"/>
                  </a:cubicBezTo>
                  <a:cubicBezTo>
                    <a:pt x="966493" y="490837"/>
                    <a:pt x="957604" y="498090"/>
                    <a:pt x="955209" y="489467"/>
                  </a:cubicBezTo>
                  <a:cubicBezTo>
                    <a:pt x="953504" y="483317"/>
                    <a:pt x="956021" y="478136"/>
                    <a:pt x="956508" y="472421"/>
                  </a:cubicBezTo>
                  <a:cubicBezTo>
                    <a:pt x="956914" y="468410"/>
                    <a:pt x="956183" y="464399"/>
                    <a:pt x="954356" y="460656"/>
                  </a:cubicBezTo>
                  <a:cubicBezTo>
                    <a:pt x="952083" y="456344"/>
                    <a:pt x="947375" y="456177"/>
                    <a:pt x="944697" y="452801"/>
                  </a:cubicBezTo>
                  <a:cubicBezTo>
                    <a:pt x="942910" y="450529"/>
                    <a:pt x="945224" y="448055"/>
                    <a:pt x="945549" y="446116"/>
                  </a:cubicBezTo>
                  <a:cubicBezTo>
                    <a:pt x="946198" y="442173"/>
                    <a:pt x="938405" y="441337"/>
                    <a:pt x="937958" y="436992"/>
                  </a:cubicBezTo>
                  <a:cubicBezTo>
                    <a:pt x="937390" y="431644"/>
                    <a:pt x="951678" y="422185"/>
                    <a:pt x="948959" y="418542"/>
                  </a:cubicBezTo>
                  <a:cubicBezTo>
                    <a:pt x="944778" y="414464"/>
                    <a:pt x="939866" y="410921"/>
                    <a:pt x="934387" y="408013"/>
                  </a:cubicBezTo>
                  <a:cubicBezTo>
                    <a:pt x="922210" y="405373"/>
                    <a:pt x="923062" y="398187"/>
                    <a:pt x="930693" y="393842"/>
                  </a:cubicBezTo>
                  <a:cubicBezTo>
                    <a:pt x="941205" y="387892"/>
                    <a:pt x="923955" y="374891"/>
                    <a:pt x="929191" y="367103"/>
                  </a:cubicBezTo>
                  <a:cubicBezTo>
                    <a:pt x="935279" y="358012"/>
                    <a:pt x="920302" y="343907"/>
                    <a:pt x="911981" y="334281"/>
                  </a:cubicBezTo>
                  <a:cubicBezTo>
                    <a:pt x="907232" y="328499"/>
                    <a:pt x="901996" y="322984"/>
                    <a:pt x="896313" y="317803"/>
                  </a:cubicBezTo>
                  <a:cubicBezTo>
                    <a:pt x="886369" y="309113"/>
                    <a:pt x="900372" y="310450"/>
                    <a:pt x="896882" y="303632"/>
                  </a:cubicBezTo>
                  <a:cubicBezTo>
                    <a:pt x="892052" y="294373"/>
                    <a:pt x="905364" y="287689"/>
                    <a:pt x="906460" y="280035"/>
                  </a:cubicBezTo>
                  <a:cubicBezTo>
                    <a:pt x="907314" y="274152"/>
                    <a:pt x="898545" y="265796"/>
                    <a:pt x="903051" y="260883"/>
                  </a:cubicBezTo>
                  <a:cubicBezTo>
                    <a:pt x="907556" y="255970"/>
                    <a:pt x="914376" y="245140"/>
                    <a:pt x="915228" y="239057"/>
                  </a:cubicBezTo>
                  <a:cubicBezTo>
                    <a:pt x="913523" y="232272"/>
                    <a:pt x="910641" y="225721"/>
                    <a:pt x="906704" y="219605"/>
                  </a:cubicBezTo>
                  <a:cubicBezTo>
                    <a:pt x="899804" y="213956"/>
                    <a:pt x="880930" y="214591"/>
                    <a:pt x="884908" y="204832"/>
                  </a:cubicBezTo>
                  <a:cubicBezTo>
                    <a:pt x="887911" y="197245"/>
                    <a:pt x="896070" y="192231"/>
                    <a:pt x="899114" y="184543"/>
                  </a:cubicBezTo>
                  <a:cubicBezTo>
                    <a:pt x="902159" y="176856"/>
                    <a:pt x="900007" y="171174"/>
                    <a:pt x="898424" y="162985"/>
                  </a:cubicBezTo>
                  <a:cubicBezTo>
                    <a:pt x="897125" y="156301"/>
                    <a:pt x="905162" y="148680"/>
                    <a:pt x="901549" y="142329"/>
                  </a:cubicBezTo>
                  <a:cubicBezTo>
                    <a:pt x="898586" y="137282"/>
                    <a:pt x="882594" y="141928"/>
                    <a:pt x="880239" y="143265"/>
                  </a:cubicBezTo>
                  <a:cubicBezTo>
                    <a:pt x="876790" y="145237"/>
                    <a:pt x="875816" y="148780"/>
                    <a:pt x="872487" y="150919"/>
                  </a:cubicBezTo>
                  <a:cubicBezTo>
                    <a:pt x="869159" y="153059"/>
                    <a:pt x="864044" y="152423"/>
                    <a:pt x="861203" y="154262"/>
                  </a:cubicBezTo>
                  <a:cubicBezTo>
                    <a:pt x="856333" y="157604"/>
                    <a:pt x="857144" y="167631"/>
                    <a:pt x="848377" y="167865"/>
                  </a:cubicBezTo>
                  <a:cubicBezTo>
                    <a:pt x="838676" y="168199"/>
                    <a:pt x="834942" y="181469"/>
                    <a:pt x="831654" y="186482"/>
                  </a:cubicBezTo>
                  <a:cubicBezTo>
                    <a:pt x="821912" y="201289"/>
                    <a:pt x="806529" y="210814"/>
                    <a:pt x="786071" y="217299"/>
                  </a:cubicBezTo>
                  <a:cubicBezTo>
                    <a:pt x="775518" y="220641"/>
                    <a:pt x="763139" y="217299"/>
                    <a:pt x="754167" y="209177"/>
                  </a:cubicBezTo>
                  <a:cubicBezTo>
                    <a:pt x="745197" y="201055"/>
                    <a:pt x="751651" y="194871"/>
                    <a:pt x="743655" y="187518"/>
                  </a:cubicBezTo>
                  <a:cubicBezTo>
                    <a:pt x="736552" y="180833"/>
                    <a:pt x="727419" y="179396"/>
                    <a:pt x="723847" y="171341"/>
                  </a:cubicBezTo>
                  <a:cubicBezTo>
                    <a:pt x="719788" y="161949"/>
                    <a:pt x="716744" y="153059"/>
                    <a:pt x="703269" y="147343"/>
                  </a:cubicBezTo>
                  <a:cubicBezTo>
                    <a:pt x="692268" y="142664"/>
                    <a:pt x="698357" y="135645"/>
                    <a:pt x="694055" y="128693"/>
                  </a:cubicBezTo>
                  <a:cubicBezTo>
                    <a:pt x="691011" y="124916"/>
                    <a:pt x="688209" y="121005"/>
                    <a:pt x="685693" y="116961"/>
                  </a:cubicBezTo>
                  <a:cubicBezTo>
                    <a:pt x="683989" y="113084"/>
                    <a:pt x="699210" y="115223"/>
                    <a:pt x="701929" y="114253"/>
                  </a:cubicBezTo>
                  <a:cubicBezTo>
                    <a:pt x="710655" y="111212"/>
                    <a:pt x="700752" y="98344"/>
                    <a:pt x="713700" y="101553"/>
                  </a:cubicBezTo>
                  <a:cubicBezTo>
                    <a:pt x="719301" y="102956"/>
                    <a:pt x="727460" y="105597"/>
                    <a:pt x="732534" y="104093"/>
                  </a:cubicBezTo>
                  <a:cubicBezTo>
                    <a:pt x="736105" y="103023"/>
                    <a:pt x="734928" y="99681"/>
                    <a:pt x="737892" y="98411"/>
                  </a:cubicBezTo>
                  <a:cubicBezTo>
                    <a:pt x="740855" y="97141"/>
                    <a:pt x="748648" y="100851"/>
                    <a:pt x="748160" y="96172"/>
                  </a:cubicBezTo>
                  <a:cubicBezTo>
                    <a:pt x="746781" y="91826"/>
                    <a:pt x="742803" y="88350"/>
                    <a:pt x="737648" y="86913"/>
                  </a:cubicBezTo>
                  <a:cubicBezTo>
                    <a:pt x="730910" y="85843"/>
                    <a:pt x="726567" y="94968"/>
                    <a:pt x="726445" y="84039"/>
                  </a:cubicBezTo>
                  <a:cubicBezTo>
                    <a:pt x="726445" y="76217"/>
                    <a:pt x="723239" y="78156"/>
                    <a:pt x="714268" y="78022"/>
                  </a:cubicBezTo>
                  <a:cubicBezTo>
                    <a:pt x="703999" y="77856"/>
                    <a:pt x="703228" y="71338"/>
                    <a:pt x="697221" y="66157"/>
                  </a:cubicBezTo>
                  <a:cubicBezTo>
                    <a:pt x="688940" y="59238"/>
                    <a:pt x="680011" y="52854"/>
                    <a:pt x="670553" y="47072"/>
                  </a:cubicBezTo>
                  <a:cubicBezTo>
                    <a:pt x="659350" y="39986"/>
                    <a:pt x="657524" y="35675"/>
                    <a:pt x="651436" y="26784"/>
                  </a:cubicBezTo>
                  <a:cubicBezTo>
                    <a:pt x="645347" y="17893"/>
                    <a:pt x="643318" y="27352"/>
                    <a:pt x="646159" y="32466"/>
                  </a:cubicBezTo>
                  <a:cubicBezTo>
                    <a:pt x="649893" y="39151"/>
                    <a:pt x="649974" y="42092"/>
                    <a:pt x="639421" y="39886"/>
                  </a:cubicBezTo>
                  <a:cubicBezTo>
                    <a:pt x="630126" y="37847"/>
                    <a:pt x="621236" y="34739"/>
                    <a:pt x="612997" y="30661"/>
                  </a:cubicBezTo>
                  <a:cubicBezTo>
                    <a:pt x="610114" y="28723"/>
                    <a:pt x="607111" y="26951"/>
                    <a:pt x="603946" y="25313"/>
                  </a:cubicBezTo>
                  <a:cubicBezTo>
                    <a:pt x="601104" y="24378"/>
                    <a:pt x="602728" y="29157"/>
                    <a:pt x="600292" y="29291"/>
                  </a:cubicBezTo>
                  <a:cubicBezTo>
                    <a:pt x="596233" y="29291"/>
                    <a:pt x="593798" y="26417"/>
                    <a:pt x="589008" y="27586"/>
                  </a:cubicBezTo>
                  <a:cubicBezTo>
                    <a:pt x="584503" y="29124"/>
                    <a:pt x="580119" y="30862"/>
                    <a:pt x="575857" y="32800"/>
                  </a:cubicBezTo>
                  <a:cubicBezTo>
                    <a:pt x="567334" y="36243"/>
                    <a:pt x="558362" y="38884"/>
                    <a:pt x="549150" y="40722"/>
                  </a:cubicBezTo>
                  <a:cubicBezTo>
                    <a:pt x="536973" y="42794"/>
                    <a:pt x="553533" y="57433"/>
                    <a:pt x="546348" y="59138"/>
                  </a:cubicBezTo>
                  <a:cubicBezTo>
                    <a:pt x="537012" y="61545"/>
                    <a:pt x="531655" y="42092"/>
                    <a:pt x="523050" y="40588"/>
                  </a:cubicBezTo>
                  <a:cubicBezTo>
                    <a:pt x="520412" y="40154"/>
                    <a:pt x="507950" y="50983"/>
                    <a:pt x="509695" y="39919"/>
                  </a:cubicBezTo>
                  <a:cubicBezTo>
                    <a:pt x="511157" y="30461"/>
                    <a:pt x="511765" y="34405"/>
                    <a:pt x="503810" y="25681"/>
                  </a:cubicBezTo>
                  <a:cubicBezTo>
                    <a:pt x="498412" y="19798"/>
                    <a:pt x="500603" y="13281"/>
                    <a:pt x="492121" y="7131"/>
                  </a:cubicBezTo>
                  <a:cubicBezTo>
                    <a:pt x="488995" y="4825"/>
                    <a:pt x="466508" y="1683"/>
                    <a:pt x="463423" y="2752"/>
                  </a:cubicBezTo>
                  <a:cubicBezTo>
                    <a:pt x="452343" y="6663"/>
                    <a:pt x="461150" y="11543"/>
                    <a:pt x="445321" y="2251"/>
                  </a:cubicBezTo>
                  <a:cubicBezTo>
                    <a:pt x="432413" y="-5369"/>
                    <a:pt x="436959" y="6429"/>
                    <a:pt x="431723" y="4658"/>
                  </a:cubicBezTo>
                  <a:cubicBezTo>
                    <a:pt x="424782" y="3989"/>
                    <a:pt x="417719" y="4290"/>
                    <a:pt x="410901" y="5527"/>
                  </a:cubicBezTo>
                  <a:cubicBezTo>
                    <a:pt x="406313" y="8668"/>
                    <a:pt x="405136" y="23241"/>
                    <a:pt x="396653" y="15855"/>
                  </a:cubicBezTo>
                  <a:cubicBezTo>
                    <a:pt x="391214" y="11108"/>
                    <a:pt x="380418" y="4357"/>
                    <a:pt x="382163" y="14016"/>
                  </a:cubicBezTo>
                  <a:cubicBezTo>
                    <a:pt x="383908" y="23676"/>
                    <a:pt x="381473" y="24812"/>
                    <a:pt x="370230" y="26450"/>
                  </a:cubicBezTo>
                  <a:cubicBezTo>
                    <a:pt x="363329" y="27453"/>
                    <a:pt x="366860" y="12345"/>
                    <a:pt x="367753" y="10908"/>
                  </a:cubicBezTo>
                  <a:cubicBezTo>
                    <a:pt x="371082" y="5560"/>
                    <a:pt x="341167" y="8134"/>
                    <a:pt x="337839" y="13548"/>
                  </a:cubicBezTo>
                  <a:cubicBezTo>
                    <a:pt x="335363" y="17526"/>
                    <a:pt x="338447" y="26082"/>
                    <a:pt x="330898" y="26517"/>
                  </a:cubicBezTo>
                  <a:cubicBezTo>
                    <a:pt x="321075" y="27252"/>
                    <a:pt x="311334" y="28522"/>
                    <a:pt x="301713" y="30327"/>
                  </a:cubicBezTo>
                  <a:cubicBezTo>
                    <a:pt x="291283" y="32098"/>
                    <a:pt x="281419" y="35808"/>
                    <a:pt x="269648" y="32901"/>
                  </a:cubicBezTo>
                  <a:cubicBezTo>
                    <a:pt x="260475" y="30661"/>
                    <a:pt x="247283" y="22573"/>
                    <a:pt x="238028" y="23575"/>
                  </a:cubicBezTo>
                  <a:cubicBezTo>
                    <a:pt x="228774" y="24578"/>
                    <a:pt x="221225" y="18361"/>
                    <a:pt x="212254" y="19030"/>
                  </a:cubicBezTo>
                  <a:cubicBezTo>
                    <a:pt x="205719" y="19765"/>
                    <a:pt x="199143" y="19999"/>
                    <a:pt x="192568" y="19765"/>
                  </a:cubicBezTo>
                  <a:cubicBezTo>
                    <a:pt x="184044" y="19164"/>
                    <a:pt x="181690" y="10774"/>
                    <a:pt x="169229" y="9237"/>
                  </a:cubicBezTo>
                  <a:cubicBezTo>
                    <a:pt x="152993" y="7231"/>
                    <a:pt x="139964" y="12980"/>
                    <a:pt x="123240" y="9671"/>
                  </a:cubicBezTo>
                  <a:cubicBezTo>
                    <a:pt x="116015" y="8267"/>
                    <a:pt x="112322" y="6697"/>
                    <a:pt x="107005" y="10106"/>
                  </a:cubicBezTo>
                  <a:cubicBezTo>
                    <a:pt x="106437" y="10440"/>
                    <a:pt x="98887" y="16456"/>
                    <a:pt x="97426" y="14284"/>
                  </a:cubicBezTo>
                  <a:cubicBezTo>
                    <a:pt x="96249" y="12746"/>
                    <a:pt x="101850" y="3354"/>
                    <a:pt x="101119" y="3287"/>
                  </a:cubicBezTo>
                  <a:cubicBezTo>
                    <a:pt x="83544" y="1883"/>
                    <a:pt x="82083" y="15219"/>
                    <a:pt x="80297" y="23341"/>
                  </a:cubicBezTo>
                  <a:cubicBezTo>
                    <a:pt x="77902" y="34204"/>
                    <a:pt x="53345" y="31965"/>
                    <a:pt x="54766" y="46404"/>
                  </a:cubicBezTo>
                  <a:cubicBezTo>
                    <a:pt x="55578" y="54592"/>
                    <a:pt x="69215" y="71806"/>
                    <a:pt x="58256" y="77621"/>
                  </a:cubicBezTo>
                  <a:cubicBezTo>
                    <a:pt x="52086" y="80964"/>
                    <a:pt x="51681" y="63684"/>
                    <a:pt x="48474" y="64252"/>
                  </a:cubicBezTo>
                  <a:cubicBezTo>
                    <a:pt x="43928" y="65188"/>
                    <a:pt x="54522" y="75816"/>
                    <a:pt x="49164" y="77856"/>
                  </a:cubicBezTo>
                  <a:cubicBezTo>
                    <a:pt x="45674" y="79192"/>
                    <a:pt x="41656" y="67628"/>
                    <a:pt x="41046" y="66291"/>
                  </a:cubicBezTo>
                  <a:cubicBezTo>
                    <a:pt x="38246" y="61010"/>
                    <a:pt x="36054" y="63750"/>
                    <a:pt x="36419" y="67394"/>
                  </a:cubicBezTo>
                  <a:cubicBezTo>
                    <a:pt x="37190" y="74947"/>
                    <a:pt x="39585" y="82601"/>
                    <a:pt x="41006" y="90189"/>
                  </a:cubicBezTo>
                  <a:cubicBezTo>
                    <a:pt x="43563" y="103558"/>
                    <a:pt x="41858" y="114922"/>
                    <a:pt x="45836" y="128592"/>
                  </a:cubicBezTo>
                  <a:cubicBezTo>
                    <a:pt x="48393" y="137483"/>
                    <a:pt x="43928" y="142697"/>
                    <a:pt x="41980" y="150618"/>
                  </a:cubicBezTo>
                  <a:cubicBezTo>
                    <a:pt x="40275" y="159743"/>
                    <a:pt x="40600" y="169035"/>
                    <a:pt x="42873" y="178093"/>
                  </a:cubicBezTo>
                  <a:cubicBezTo>
                    <a:pt x="43726" y="182505"/>
                    <a:pt x="46931" y="187886"/>
                    <a:pt x="42873" y="191195"/>
                  </a:cubicBezTo>
                  <a:cubicBezTo>
                    <a:pt x="36135" y="196777"/>
                    <a:pt x="30453" y="203194"/>
                    <a:pt x="26069" y="210179"/>
                  </a:cubicBezTo>
                  <a:cubicBezTo>
                    <a:pt x="20265" y="218602"/>
                    <a:pt x="13648" y="212151"/>
                    <a:pt x="4434" y="212820"/>
                  </a:cubicBezTo>
                  <a:cubicBezTo>
                    <a:pt x="-8270" y="213756"/>
                    <a:pt x="9792" y="226657"/>
                    <a:pt x="11781" y="228596"/>
                  </a:cubicBezTo>
                  <a:cubicBezTo>
                    <a:pt x="18154" y="234813"/>
                    <a:pt x="15840" y="241798"/>
                    <a:pt x="25501" y="247748"/>
                  </a:cubicBezTo>
                  <a:cubicBezTo>
                    <a:pt x="34593" y="252895"/>
                    <a:pt x="44375" y="257173"/>
                    <a:pt x="54604" y="260582"/>
                  </a:cubicBezTo>
                  <a:cubicBezTo>
                    <a:pt x="61219" y="263691"/>
                    <a:pt x="69135" y="264359"/>
                    <a:pt x="76400" y="262454"/>
                  </a:cubicBezTo>
                  <a:cubicBezTo>
                    <a:pt x="87075" y="260415"/>
                    <a:pt x="96249" y="267601"/>
                    <a:pt x="106152" y="263791"/>
                  </a:cubicBezTo>
                  <a:cubicBezTo>
                    <a:pt x="123362" y="257106"/>
                    <a:pt x="154860" y="276859"/>
                    <a:pt x="170325" y="284213"/>
                  </a:cubicBezTo>
                  <a:cubicBezTo>
                    <a:pt x="180513" y="288959"/>
                    <a:pt x="192243" y="293671"/>
                    <a:pt x="203771" y="294240"/>
                  </a:cubicBezTo>
                  <a:cubicBezTo>
                    <a:pt x="213634" y="294641"/>
                    <a:pt x="218383" y="288792"/>
                    <a:pt x="227435" y="288892"/>
                  </a:cubicBezTo>
                  <a:cubicBezTo>
                    <a:pt x="237217" y="288892"/>
                    <a:pt x="247730" y="293371"/>
                    <a:pt x="257390" y="292234"/>
                  </a:cubicBezTo>
                  <a:cubicBezTo>
                    <a:pt x="265914" y="291499"/>
                    <a:pt x="274478" y="293137"/>
                    <a:pt x="281744" y="296913"/>
                  </a:cubicBezTo>
                  <a:cubicBezTo>
                    <a:pt x="294854" y="302629"/>
                    <a:pt x="306098" y="308244"/>
                    <a:pt x="320629" y="311052"/>
                  </a:cubicBezTo>
                  <a:cubicBezTo>
                    <a:pt x="334104" y="313692"/>
                    <a:pt x="348108" y="313893"/>
                    <a:pt x="361219" y="318238"/>
                  </a:cubicBezTo>
                  <a:cubicBezTo>
                    <a:pt x="378632" y="323953"/>
                    <a:pt x="405339" y="330905"/>
                    <a:pt x="411712" y="344977"/>
                  </a:cubicBezTo>
                  <a:cubicBezTo>
                    <a:pt x="417882" y="358346"/>
                    <a:pt x="444184" y="363894"/>
                    <a:pt x="453479" y="377063"/>
                  </a:cubicBezTo>
                  <a:cubicBezTo>
                    <a:pt x="461597" y="388929"/>
                    <a:pt x="456076" y="382311"/>
                    <a:pt x="449907" y="390967"/>
                  </a:cubicBezTo>
                  <a:cubicBezTo>
                    <a:pt x="447918" y="393775"/>
                    <a:pt x="459364" y="404137"/>
                    <a:pt x="460906" y="407245"/>
                  </a:cubicBezTo>
                  <a:cubicBezTo>
                    <a:pt x="465575" y="416537"/>
                    <a:pt x="445239" y="442941"/>
                    <a:pt x="471257" y="436891"/>
                  </a:cubicBezTo>
                  <a:cubicBezTo>
                    <a:pt x="478848" y="435120"/>
                    <a:pt x="485221" y="433148"/>
                    <a:pt x="493988" y="435554"/>
                  </a:cubicBezTo>
                  <a:cubicBezTo>
                    <a:pt x="499589" y="437126"/>
                    <a:pt x="503932" y="438596"/>
                    <a:pt x="507545" y="434987"/>
                  </a:cubicBezTo>
                  <a:cubicBezTo>
                    <a:pt x="511157" y="431376"/>
                    <a:pt x="534577" y="420715"/>
                    <a:pt x="536282" y="433081"/>
                  </a:cubicBezTo>
                  <a:cubicBezTo>
                    <a:pt x="536891" y="437527"/>
                    <a:pt x="519234" y="441638"/>
                    <a:pt x="515663" y="444011"/>
                  </a:cubicBezTo>
                  <a:cubicBezTo>
                    <a:pt x="507545" y="449392"/>
                    <a:pt x="504379" y="455174"/>
                    <a:pt x="492121" y="451464"/>
                  </a:cubicBezTo>
                  <a:cubicBezTo>
                    <a:pt x="484003" y="448991"/>
                    <a:pt x="495327" y="460556"/>
                    <a:pt x="499386" y="462060"/>
                  </a:cubicBezTo>
                  <a:cubicBezTo>
                    <a:pt x="510183" y="466003"/>
                    <a:pt x="515622" y="451063"/>
                    <a:pt x="521872" y="455375"/>
                  </a:cubicBezTo>
                  <a:cubicBezTo>
                    <a:pt x="536526" y="465602"/>
                    <a:pt x="518342" y="471485"/>
                    <a:pt x="512253" y="475763"/>
                  </a:cubicBezTo>
                  <a:cubicBezTo>
                    <a:pt x="507504" y="479105"/>
                    <a:pt x="529422" y="484788"/>
                    <a:pt x="532142" y="489667"/>
                  </a:cubicBezTo>
                  <a:cubicBezTo>
                    <a:pt x="537500" y="499227"/>
                    <a:pt x="536201" y="509487"/>
                    <a:pt x="528489" y="516039"/>
                  </a:cubicBezTo>
                  <a:cubicBezTo>
                    <a:pt x="517976" y="524963"/>
                    <a:pt x="524430" y="532516"/>
                    <a:pt x="532792" y="543412"/>
                  </a:cubicBezTo>
                  <a:cubicBezTo>
                    <a:pt x="544969" y="559389"/>
                    <a:pt x="567820" y="569115"/>
                    <a:pt x="579753" y="586429"/>
                  </a:cubicBezTo>
                  <a:cubicBezTo>
                    <a:pt x="586370" y="596055"/>
                    <a:pt x="601347" y="597692"/>
                    <a:pt x="612225" y="594183"/>
                  </a:cubicBezTo>
                  <a:cubicBezTo>
                    <a:pt x="615919" y="592980"/>
                    <a:pt x="621074" y="588334"/>
                    <a:pt x="625701" y="592946"/>
                  </a:cubicBezTo>
                  <a:cubicBezTo>
                    <a:pt x="628096" y="595353"/>
                    <a:pt x="628502" y="599898"/>
                    <a:pt x="623469" y="599330"/>
                  </a:cubicBezTo>
                  <a:cubicBezTo>
                    <a:pt x="618436" y="598762"/>
                    <a:pt x="617502" y="602672"/>
                    <a:pt x="620141" y="605647"/>
                  </a:cubicBezTo>
                  <a:cubicBezTo>
                    <a:pt x="622779" y="608622"/>
                    <a:pt x="627000" y="602506"/>
                    <a:pt x="629638" y="602305"/>
                  </a:cubicBezTo>
                  <a:cubicBezTo>
                    <a:pt x="631627" y="602038"/>
                    <a:pt x="638771" y="628442"/>
                    <a:pt x="641126" y="630280"/>
                  </a:cubicBezTo>
                  <a:cubicBezTo>
                    <a:pt x="638447" y="628242"/>
                    <a:pt x="656793" y="626136"/>
                    <a:pt x="658985" y="626671"/>
                  </a:cubicBezTo>
                  <a:cubicBezTo>
                    <a:pt x="668442" y="628943"/>
                    <a:pt x="677819" y="627907"/>
                    <a:pt x="686992" y="627874"/>
                  </a:cubicBezTo>
                  <a:cubicBezTo>
                    <a:pt x="700265" y="627874"/>
                    <a:pt x="718124" y="637901"/>
                    <a:pt x="729652" y="643884"/>
                  </a:cubicBezTo>
                  <a:cubicBezTo>
                    <a:pt x="741179" y="649866"/>
                    <a:pt x="744833" y="641611"/>
                    <a:pt x="751204" y="635762"/>
                  </a:cubicBezTo>
                  <a:cubicBezTo>
                    <a:pt x="756117" y="631283"/>
                    <a:pt x="760865" y="626671"/>
                    <a:pt x="765898" y="622392"/>
                  </a:cubicBezTo>
                  <a:cubicBezTo>
                    <a:pt x="772393" y="616711"/>
                    <a:pt x="782662" y="617312"/>
                    <a:pt x="791470" y="614471"/>
                  </a:cubicBezTo>
                  <a:cubicBezTo>
                    <a:pt x="806285" y="609692"/>
                    <a:pt x="816554" y="599531"/>
                    <a:pt x="832506" y="594985"/>
                  </a:cubicBezTo>
                  <a:cubicBezTo>
                    <a:pt x="835997" y="594016"/>
                    <a:pt x="843222" y="591141"/>
                    <a:pt x="847727" y="592478"/>
                  </a:cubicBezTo>
                  <a:cubicBezTo>
                    <a:pt x="859904" y="596155"/>
                    <a:pt x="863963" y="591743"/>
                    <a:pt x="872081" y="587732"/>
                  </a:cubicBezTo>
                  <a:cubicBezTo>
                    <a:pt x="880199" y="583721"/>
                    <a:pt x="891239" y="583387"/>
                    <a:pt x="896435" y="577170"/>
                  </a:cubicBezTo>
                  <a:cubicBezTo>
                    <a:pt x="900819" y="571990"/>
                    <a:pt x="914741" y="568547"/>
                    <a:pt x="916730" y="562531"/>
                  </a:cubicBezTo>
                  <a:cubicBezTo>
                    <a:pt x="918718" y="556515"/>
                    <a:pt x="921803" y="550599"/>
                    <a:pt x="931017" y="549930"/>
                  </a:cubicBezTo>
                  <a:cubicBezTo>
                    <a:pt x="939135" y="549362"/>
                    <a:pt x="937268" y="537430"/>
                    <a:pt x="942748" y="537798"/>
                  </a:cubicBezTo>
                  <a:close/>
                  <a:moveTo>
                    <a:pt x="623387" y="21904"/>
                  </a:moveTo>
                  <a:cubicBezTo>
                    <a:pt x="625052" y="17392"/>
                    <a:pt x="583690" y="4390"/>
                    <a:pt x="589130" y="12145"/>
                  </a:cubicBezTo>
                  <a:cubicBezTo>
                    <a:pt x="592580" y="17259"/>
                    <a:pt x="621724" y="26350"/>
                    <a:pt x="623265" y="21904"/>
                  </a:cubicBezTo>
                  <a:close/>
                  <a:moveTo>
                    <a:pt x="466427" y="464499"/>
                  </a:moveTo>
                  <a:cubicBezTo>
                    <a:pt x="469431" y="470349"/>
                    <a:pt x="488062" y="478170"/>
                    <a:pt x="494272" y="475061"/>
                  </a:cubicBezTo>
                  <a:cubicBezTo>
                    <a:pt x="500481" y="471953"/>
                    <a:pt x="463423" y="459185"/>
                    <a:pt x="466305" y="464499"/>
                  </a:cubicBezTo>
                  <a:close/>
                  <a:moveTo>
                    <a:pt x="613727" y="664005"/>
                  </a:moveTo>
                  <a:cubicBezTo>
                    <a:pt x="608857" y="661866"/>
                    <a:pt x="583975" y="637266"/>
                    <a:pt x="582352" y="637934"/>
                  </a:cubicBezTo>
                  <a:cubicBezTo>
                    <a:pt x="576466" y="640876"/>
                    <a:pt x="578698" y="657320"/>
                    <a:pt x="577359" y="662467"/>
                  </a:cubicBezTo>
                  <a:cubicBezTo>
                    <a:pt x="575127" y="670957"/>
                    <a:pt x="565182" y="672494"/>
                    <a:pt x="566887" y="682087"/>
                  </a:cubicBezTo>
                  <a:cubicBezTo>
                    <a:pt x="567820" y="687301"/>
                    <a:pt x="575330" y="712770"/>
                    <a:pt x="587182" y="710564"/>
                  </a:cubicBezTo>
                  <a:cubicBezTo>
                    <a:pt x="588805" y="710096"/>
                    <a:pt x="590388" y="709494"/>
                    <a:pt x="591849" y="708792"/>
                  </a:cubicBezTo>
                  <a:cubicBezTo>
                    <a:pt x="595462" y="707456"/>
                    <a:pt x="596842" y="710631"/>
                    <a:pt x="600333" y="710363"/>
                  </a:cubicBezTo>
                  <a:cubicBezTo>
                    <a:pt x="603824" y="710096"/>
                    <a:pt x="607030" y="700604"/>
                    <a:pt x="610561" y="705918"/>
                  </a:cubicBezTo>
                  <a:cubicBezTo>
                    <a:pt x="621967" y="723098"/>
                    <a:pt x="623794" y="700035"/>
                    <a:pt x="633982" y="699768"/>
                  </a:cubicBezTo>
                  <a:cubicBezTo>
                    <a:pt x="646808" y="699467"/>
                    <a:pt x="649000" y="689975"/>
                    <a:pt x="652166" y="680516"/>
                  </a:cubicBezTo>
                  <a:cubicBezTo>
                    <a:pt x="655698" y="669954"/>
                    <a:pt x="622657" y="667949"/>
                    <a:pt x="613606" y="664005"/>
                  </a:cubicBezTo>
                  <a:cubicBezTo>
                    <a:pt x="600292" y="658222"/>
                    <a:pt x="626919" y="669854"/>
                    <a:pt x="613606" y="66400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02C026ED-8F7D-41B3-8314-8E1869158C49}"/>
                </a:ext>
              </a:extLst>
            </p:cNvPr>
            <p:cNvSpPr/>
            <p:nvPr/>
          </p:nvSpPr>
          <p:spPr>
            <a:xfrm>
              <a:off x="9561963" y="6602797"/>
              <a:ext cx="367600" cy="141023"/>
            </a:xfrm>
            <a:custGeom>
              <a:avLst/>
              <a:gdLst>
                <a:gd name="connsiteX0" fmla="*/ 226265 w 367600"/>
                <a:gd name="connsiteY0" fmla="*/ 106307 h 141023"/>
                <a:gd name="connsiteX1" fmla="*/ 202317 w 367600"/>
                <a:gd name="connsiteY1" fmla="*/ 90364 h 141023"/>
                <a:gd name="connsiteX2" fmla="*/ 183524 w 367600"/>
                <a:gd name="connsiteY2" fmla="*/ 82309 h 141023"/>
                <a:gd name="connsiteX3" fmla="*/ 156451 w 367600"/>
                <a:gd name="connsiteY3" fmla="*/ 86988 h 141023"/>
                <a:gd name="connsiteX4" fmla="*/ 115333 w 367600"/>
                <a:gd name="connsiteY4" fmla="*/ 91066 h 141023"/>
                <a:gd name="connsiteX5" fmla="*/ 76123 w 367600"/>
                <a:gd name="connsiteY5" fmla="*/ 81841 h 141023"/>
                <a:gd name="connsiteX6" fmla="*/ 45640 w 367600"/>
                <a:gd name="connsiteY6" fmla="*/ 79969 h 141023"/>
                <a:gd name="connsiteX7" fmla="*/ 13858 w 367600"/>
                <a:gd name="connsiteY7" fmla="*/ 81908 h 141023"/>
                <a:gd name="connsiteX8" fmla="*/ 11302 w 367600"/>
                <a:gd name="connsiteY8" fmla="*/ 103833 h 141023"/>
                <a:gd name="connsiteX9" fmla="*/ 27538 w 367600"/>
                <a:gd name="connsiteY9" fmla="*/ 126595 h 141023"/>
                <a:gd name="connsiteX10" fmla="*/ 70968 w 367600"/>
                <a:gd name="connsiteY10" fmla="*/ 138761 h 141023"/>
                <a:gd name="connsiteX11" fmla="*/ 128282 w 367600"/>
                <a:gd name="connsiteY11" fmla="*/ 123419 h 141023"/>
                <a:gd name="connsiteX12" fmla="*/ 157425 w 367600"/>
                <a:gd name="connsiteY12" fmla="*/ 135853 h 141023"/>
                <a:gd name="connsiteX13" fmla="*/ 175487 w 367600"/>
                <a:gd name="connsiteY13" fmla="*/ 127664 h 141023"/>
                <a:gd name="connsiteX14" fmla="*/ 188030 w 367600"/>
                <a:gd name="connsiteY14" fmla="*/ 123654 h 141023"/>
                <a:gd name="connsiteX15" fmla="*/ 205889 w 367600"/>
                <a:gd name="connsiteY15" fmla="*/ 122551 h 141023"/>
                <a:gd name="connsiteX16" fmla="*/ 226184 w 367600"/>
                <a:gd name="connsiteY16" fmla="*/ 106307 h 141023"/>
                <a:gd name="connsiteX17" fmla="*/ 1073 w 367600"/>
                <a:gd name="connsiteY17" fmla="*/ 122417 h 141023"/>
                <a:gd name="connsiteX18" fmla="*/ 14102 w 367600"/>
                <a:gd name="connsiteY18" fmla="*/ 121347 h 141023"/>
                <a:gd name="connsiteX19" fmla="*/ 1073 w 367600"/>
                <a:gd name="connsiteY19" fmla="*/ 122417 h 141023"/>
                <a:gd name="connsiteX20" fmla="*/ 345193 w 367600"/>
                <a:gd name="connsiteY20" fmla="*/ 110451 h 141023"/>
                <a:gd name="connsiteX21" fmla="*/ 321570 w 367600"/>
                <a:gd name="connsiteY21" fmla="*/ 82208 h 141023"/>
                <a:gd name="connsiteX22" fmla="*/ 329403 w 367600"/>
                <a:gd name="connsiteY22" fmla="*/ 69474 h 141023"/>
                <a:gd name="connsiteX23" fmla="*/ 320595 w 367600"/>
                <a:gd name="connsiteY23" fmla="*/ 65764 h 141023"/>
                <a:gd name="connsiteX24" fmla="*/ 310123 w 367600"/>
                <a:gd name="connsiteY24" fmla="*/ 54132 h 141023"/>
                <a:gd name="connsiteX25" fmla="*/ 320839 w 367600"/>
                <a:gd name="connsiteY25" fmla="*/ 27394 h 141023"/>
                <a:gd name="connsiteX26" fmla="*/ 301234 w 367600"/>
                <a:gd name="connsiteY26" fmla="*/ 421 h 141023"/>
                <a:gd name="connsiteX27" fmla="*/ 302696 w 367600"/>
                <a:gd name="connsiteY27" fmla="*/ 32407 h 141023"/>
                <a:gd name="connsiteX28" fmla="*/ 300585 w 367600"/>
                <a:gd name="connsiteY28" fmla="*/ 42902 h 141023"/>
                <a:gd name="connsiteX29" fmla="*/ 304278 w 367600"/>
                <a:gd name="connsiteY29" fmla="*/ 58644 h 141023"/>
                <a:gd name="connsiteX30" fmla="*/ 273511 w 367600"/>
                <a:gd name="connsiteY30" fmla="*/ 77462 h 141023"/>
                <a:gd name="connsiteX31" fmla="*/ 249157 w 367600"/>
                <a:gd name="connsiteY31" fmla="*/ 81874 h 141023"/>
                <a:gd name="connsiteX32" fmla="*/ 261903 w 367600"/>
                <a:gd name="connsiteY32" fmla="*/ 113359 h 141023"/>
                <a:gd name="connsiteX33" fmla="*/ 236006 w 367600"/>
                <a:gd name="connsiteY33" fmla="*/ 123954 h 141023"/>
                <a:gd name="connsiteX34" fmla="*/ 262187 w 367600"/>
                <a:gd name="connsiteY34" fmla="*/ 140666 h 141023"/>
                <a:gd name="connsiteX35" fmla="*/ 299408 w 367600"/>
                <a:gd name="connsiteY35" fmla="*/ 134216 h 141023"/>
                <a:gd name="connsiteX36" fmla="*/ 313939 w 367600"/>
                <a:gd name="connsiteY36" fmla="*/ 125692 h 141023"/>
                <a:gd name="connsiteX37" fmla="*/ 334883 w 367600"/>
                <a:gd name="connsiteY37" fmla="*/ 132377 h 141023"/>
                <a:gd name="connsiteX38" fmla="*/ 346289 w 367600"/>
                <a:gd name="connsiteY38" fmla="*/ 130539 h 141023"/>
                <a:gd name="connsiteX39" fmla="*/ 364919 w 367600"/>
                <a:gd name="connsiteY39" fmla="*/ 123854 h 141023"/>
                <a:gd name="connsiteX40" fmla="*/ 345274 w 367600"/>
                <a:gd name="connsiteY40" fmla="*/ 110484 h 14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67600" h="141023">
                  <a:moveTo>
                    <a:pt x="226265" y="106307"/>
                  </a:moveTo>
                  <a:cubicBezTo>
                    <a:pt x="221557" y="95477"/>
                    <a:pt x="204711" y="103833"/>
                    <a:pt x="202317" y="90364"/>
                  </a:cubicBezTo>
                  <a:cubicBezTo>
                    <a:pt x="200815" y="81841"/>
                    <a:pt x="191967" y="76292"/>
                    <a:pt x="183524" y="82309"/>
                  </a:cubicBezTo>
                  <a:cubicBezTo>
                    <a:pt x="177110" y="86854"/>
                    <a:pt x="164650" y="83946"/>
                    <a:pt x="156451" y="86988"/>
                  </a:cubicBezTo>
                  <a:cubicBezTo>
                    <a:pt x="143705" y="92135"/>
                    <a:pt x="129215" y="93572"/>
                    <a:pt x="115333" y="91066"/>
                  </a:cubicBezTo>
                  <a:cubicBezTo>
                    <a:pt x="102141" y="88759"/>
                    <a:pt x="89193" y="84815"/>
                    <a:pt x="76123" y="81841"/>
                  </a:cubicBezTo>
                  <a:cubicBezTo>
                    <a:pt x="65083" y="79300"/>
                    <a:pt x="56437" y="81072"/>
                    <a:pt x="45640" y="79969"/>
                  </a:cubicBezTo>
                  <a:cubicBezTo>
                    <a:pt x="35006" y="78799"/>
                    <a:pt x="24168" y="79468"/>
                    <a:pt x="13858" y="81908"/>
                  </a:cubicBezTo>
                  <a:cubicBezTo>
                    <a:pt x="-5056" y="85250"/>
                    <a:pt x="2128" y="92770"/>
                    <a:pt x="11302" y="103833"/>
                  </a:cubicBezTo>
                  <a:cubicBezTo>
                    <a:pt x="16984" y="110719"/>
                    <a:pt x="20231" y="120545"/>
                    <a:pt x="27538" y="126595"/>
                  </a:cubicBezTo>
                  <a:cubicBezTo>
                    <a:pt x="39389" y="135352"/>
                    <a:pt x="55098" y="139764"/>
                    <a:pt x="70968" y="138761"/>
                  </a:cubicBezTo>
                  <a:cubicBezTo>
                    <a:pt x="91019" y="137524"/>
                    <a:pt x="106769" y="121849"/>
                    <a:pt x="128282" y="123419"/>
                  </a:cubicBezTo>
                  <a:cubicBezTo>
                    <a:pt x="133923" y="123820"/>
                    <a:pt x="156126" y="137591"/>
                    <a:pt x="157425" y="135853"/>
                  </a:cubicBezTo>
                  <a:cubicBezTo>
                    <a:pt x="163269" y="127832"/>
                    <a:pt x="160794" y="126495"/>
                    <a:pt x="175487" y="127664"/>
                  </a:cubicBezTo>
                  <a:cubicBezTo>
                    <a:pt x="181901" y="128166"/>
                    <a:pt x="183199" y="125425"/>
                    <a:pt x="188030" y="123654"/>
                  </a:cubicBezTo>
                  <a:cubicBezTo>
                    <a:pt x="192860" y="121882"/>
                    <a:pt x="200207" y="122517"/>
                    <a:pt x="205889" y="122551"/>
                  </a:cubicBezTo>
                  <a:cubicBezTo>
                    <a:pt x="213763" y="122551"/>
                    <a:pt x="229431" y="113727"/>
                    <a:pt x="226184" y="106307"/>
                  </a:cubicBezTo>
                  <a:close/>
                  <a:moveTo>
                    <a:pt x="1073" y="122417"/>
                  </a:moveTo>
                  <a:cubicBezTo>
                    <a:pt x="3509" y="124991"/>
                    <a:pt x="15076" y="129737"/>
                    <a:pt x="14102" y="121347"/>
                  </a:cubicBezTo>
                  <a:cubicBezTo>
                    <a:pt x="13128" y="112958"/>
                    <a:pt x="-4650" y="116334"/>
                    <a:pt x="1073" y="122417"/>
                  </a:cubicBezTo>
                  <a:close/>
                  <a:moveTo>
                    <a:pt x="345193" y="110451"/>
                  </a:moveTo>
                  <a:cubicBezTo>
                    <a:pt x="336506" y="111922"/>
                    <a:pt x="318810" y="88225"/>
                    <a:pt x="321570" y="82208"/>
                  </a:cubicBezTo>
                  <a:cubicBezTo>
                    <a:pt x="323680" y="77596"/>
                    <a:pt x="328998" y="75022"/>
                    <a:pt x="329403" y="69474"/>
                  </a:cubicBezTo>
                  <a:cubicBezTo>
                    <a:pt x="329809" y="63926"/>
                    <a:pt x="321854" y="58745"/>
                    <a:pt x="320595" y="65764"/>
                  </a:cubicBezTo>
                  <a:cubicBezTo>
                    <a:pt x="318566" y="76927"/>
                    <a:pt x="309149" y="58277"/>
                    <a:pt x="310123" y="54132"/>
                  </a:cubicBezTo>
                  <a:cubicBezTo>
                    <a:pt x="312274" y="44907"/>
                    <a:pt x="317957" y="36418"/>
                    <a:pt x="320839" y="27394"/>
                  </a:cubicBezTo>
                  <a:cubicBezTo>
                    <a:pt x="322381" y="22648"/>
                    <a:pt x="308987" y="-5261"/>
                    <a:pt x="301234" y="421"/>
                  </a:cubicBezTo>
                  <a:cubicBezTo>
                    <a:pt x="292589" y="6771"/>
                    <a:pt x="299935" y="23583"/>
                    <a:pt x="302696" y="32407"/>
                  </a:cubicBezTo>
                  <a:cubicBezTo>
                    <a:pt x="304197" y="37120"/>
                    <a:pt x="301112" y="38758"/>
                    <a:pt x="300585" y="42902"/>
                  </a:cubicBezTo>
                  <a:cubicBezTo>
                    <a:pt x="299976" y="47715"/>
                    <a:pt x="305171" y="54801"/>
                    <a:pt x="304278" y="58644"/>
                  </a:cubicBezTo>
                  <a:cubicBezTo>
                    <a:pt x="303060" y="63592"/>
                    <a:pt x="279478" y="76861"/>
                    <a:pt x="273511" y="77462"/>
                  </a:cubicBezTo>
                  <a:cubicBezTo>
                    <a:pt x="265028" y="78231"/>
                    <a:pt x="244408" y="68204"/>
                    <a:pt x="249157" y="81874"/>
                  </a:cubicBezTo>
                  <a:cubicBezTo>
                    <a:pt x="251958" y="90130"/>
                    <a:pt x="266814" y="106106"/>
                    <a:pt x="261903" y="113359"/>
                  </a:cubicBezTo>
                  <a:cubicBezTo>
                    <a:pt x="256992" y="120612"/>
                    <a:pt x="242745" y="118607"/>
                    <a:pt x="236006" y="123954"/>
                  </a:cubicBezTo>
                  <a:cubicBezTo>
                    <a:pt x="228416" y="130038"/>
                    <a:pt x="255246" y="141201"/>
                    <a:pt x="262187" y="140666"/>
                  </a:cubicBezTo>
                  <a:cubicBezTo>
                    <a:pt x="274810" y="139530"/>
                    <a:pt x="287271" y="137357"/>
                    <a:pt x="299408" y="134216"/>
                  </a:cubicBezTo>
                  <a:cubicBezTo>
                    <a:pt x="305171" y="132511"/>
                    <a:pt x="307526" y="126294"/>
                    <a:pt x="313939" y="125692"/>
                  </a:cubicBezTo>
                  <a:cubicBezTo>
                    <a:pt x="322057" y="124890"/>
                    <a:pt x="328673" y="134917"/>
                    <a:pt x="334883" y="132377"/>
                  </a:cubicBezTo>
                  <a:cubicBezTo>
                    <a:pt x="337765" y="131140"/>
                    <a:pt x="342068" y="127464"/>
                    <a:pt x="346289" y="130539"/>
                  </a:cubicBezTo>
                  <a:cubicBezTo>
                    <a:pt x="352256" y="134884"/>
                    <a:pt x="360820" y="125358"/>
                    <a:pt x="364919" y="123854"/>
                  </a:cubicBezTo>
                  <a:cubicBezTo>
                    <a:pt x="375392" y="120211"/>
                    <a:pt x="351525" y="109482"/>
                    <a:pt x="345274" y="11048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49D12596-1AD1-48F2-9F0C-6F9008D3BEE9}"/>
                </a:ext>
              </a:extLst>
            </p:cNvPr>
            <p:cNvSpPr/>
            <p:nvPr/>
          </p:nvSpPr>
          <p:spPr>
            <a:xfrm>
              <a:off x="10202655" y="6430661"/>
              <a:ext cx="75333" cy="19436"/>
            </a:xfrm>
            <a:custGeom>
              <a:avLst/>
              <a:gdLst>
                <a:gd name="connsiteX0" fmla="*/ 76 w 75333"/>
                <a:gd name="connsiteY0" fmla="*/ 2565 h 19436"/>
                <a:gd name="connsiteX1" fmla="*/ 28489 w 75333"/>
                <a:gd name="connsiteY1" fmla="*/ 16235 h 19436"/>
                <a:gd name="connsiteX2" fmla="*/ 76 w 75333"/>
                <a:gd name="connsiteY2" fmla="*/ 2565 h 19436"/>
                <a:gd name="connsiteX3" fmla="*/ 45171 w 75333"/>
                <a:gd name="connsiteY3" fmla="*/ 8615 h 19436"/>
                <a:gd name="connsiteX4" fmla="*/ 74802 w 75333"/>
                <a:gd name="connsiteY4" fmla="*/ 17739 h 19436"/>
                <a:gd name="connsiteX5" fmla="*/ 45293 w 75333"/>
                <a:gd name="connsiteY5" fmla="*/ 8615 h 1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33" h="19436">
                  <a:moveTo>
                    <a:pt x="76" y="2565"/>
                  </a:moveTo>
                  <a:cubicBezTo>
                    <a:pt x="3201" y="12860"/>
                    <a:pt x="19316" y="24123"/>
                    <a:pt x="28489" y="16235"/>
                  </a:cubicBezTo>
                  <a:cubicBezTo>
                    <a:pt x="37662" y="8348"/>
                    <a:pt x="-2685" y="-6660"/>
                    <a:pt x="76" y="2565"/>
                  </a:cubicBezTo>
                  <a:close/>
                  <a:moveTo>
                    <a:pt x="45171" y="8615"/>
                  </a:moveTo>
                  <a:cubicBezTo>
                    <a:pt x="49230" y="13528"/>
                    <a:pt x="69525" y="22519"/>
                    <a:pt x="74802" y="17739"/>
                  </a:cubicBezTo>
                  <a:cubicBezTo>
                    <a:pt x="80079" y="12960"/>
                    <a:pt x="39245" y="1195"/>
                    <a:pt x="45293" y="861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D878C52D-E477-4A25-858C-9DCA4D782400}"/>
                </a:ext>
              </a:extLst>
            </p:cNvPr>
            <p:cNvSpPr/>
            <p:nvPr/>
          </p:nvSpPr>
          <p:spPr>
            <a:xfrm>
              <a:off x="7434858" y="4175183"/>
              <a:ext cx="427445" cy="189730"/>
            </a:xfrm>
            <a:custGeom>
              <a:avLst/>
              <a:gdLst>
                <a:gd name="connsiteX0" fmla="*/ 427386 w 427445"/>
                <a:gd name="connsiteY0" fmla="*/ 158908 h 189730"/>
                <a:gd name="connsiteX1" fmla="*/ 401367 w 427445"/>
                <a:gd name="connsiteY1" fmla="*/ 148646 h 189730"/>
                <a:gd name="connsiteX2" fmla="*/ 372549 w 427445"/>
                <a:gd name="connsiteY2" fmla="*/ 131166 h 189730"/>
                <a:gd name="connsiteX3" fmla="*/ 340077 w 427445"/>
                <a:gd name="connsiteY3" fmla="*/ 113117 h 189730"/>
                <a:gd name="connsiteX4" fmla="*/ 312111 w 427445"/>
                <a:gd name="connsiteY4" fmla="*/ 95035 h 189730"/>
                <a:gd name="connsiteX5" fmla="*/ 297336 w 427445"/>
                <a:gd name="connsiteY5" fmla="*/ 70636 h 189730"/>
                <a:gd name="connsiteX6" fmla="*/ 269370 w 427445"/>
                <a:gd name="connsiteY6" fmla="*/ 61043 h 189730"/>
                <a:gd name="connsiteX7" fmla="*/ 246274 w 427445"/>
                <a:gd name="connsiteY7" fmla="*/ 54359 h 189730"/>
                <a:gd name="connsiteX8" fmla="*/ 242215 w 427445"/>
                <a:gd name="connsiteY8" fmla="*/ 36076 h 189730"/>
                <a:gd name="connsiteX9" fmla="*/ 212991 w 427445"/>
                <a:gd name="connsiteY9" fmla="*/ 23910 h 189730"/>
                <a:gd name="connsiteX10" fmla="*/ 180925 w 427445"/>
                <a:gd name="connsiteY10" fmla="*/ 20567 h 189730"/>
                <a:gd name="connsiteX11" fmla="*/ 175810 w 427445"/>
                <a:gd name="connsiteY11" fmla="*/ 24277 h 189730"/>
                <a:gd name="connsiteX12" fmla="*/ 162132 w 427445"/>
                <a:gd name="connsiteY12" fmla="*/ 24578 h 189730"/>
                <a:gd name="connsiteX13" fmla="*/ 137534 w 427445"/>
                <a:gd name="connsiteY13" fmla="*/ 37078 h 189730"/>
                <a:gd name="connsiteX14" fmla="*/ 103155 w 427445"/>
                <a:gd name="connsiteY14" fmla="*/ 30728 h 189730"/>
                <a:gd name="connsiteX15" fmla="*/ 67679 w 427445"/>
                <a:gd name="connsiteY15" fmla="*/ 8301 h 189730"/>
                <a:gd name="connsiteX16" fmla="*/ 17957 w 427445"/>
                <a:gd name="connsiteY16" fmla="*/ 6396 h 189730"/>
                <a:gd name="connsiteX17" fmla="*/ 49292 w 427445"/>
                <a:gd name="connsiteY17" fmla="*/ 21737 h 189730"/>
                <a:gd name="connsiteX18" fmla="*/ 67720 w 427445"/>
                <a:gd name="connsiteY18" fmla="*/ 31062 h 189730"/>
                <a:gd name="connsiteX19" fmla="*/ 53757 w 427445"/>
                <a:gd name="connsiteY19" fmla="*/ 36410 h 189730"/>
                <a:gd name="connsiteX20" fmla="*/ 990 w 427445"/>
                <a:gd name="connsiteY20" fmla="*/ 37513 h 189730"/>
                <a:gd name="connsiteX21" fmla="*/ 16008 w 427445"/>
                <a:gd name="connsiteY21" fmla="*/ 47540 h 189730"/>
                <a:gd name="connsiteX22" fmla="*/ 6511 w 427445"/>
                <a:gd name="connsiteY22" fmla="*/ 58804 h 189730"/>
                <a:gd name="connsiteX23" fmla="*/ 26805 w 427445"/>
                <a:gd name="connsiteY23" fmla="*/ 66224 h 189730"/>
                <a:gd name="connsiteX24" fmla="*/ 25344 w 427445"/>
                <a:gd name="connsiteY24" fmla="*/ 90456 h 189730"/>
                <a:gd name="connsiteX25" fmla="*/ 31960 w 427445"/>
                <a:gd name="connsiteY25" fmla="*/ 101319 h 189730"/>
                <a:gd name="connsiteX26" fmla="*/ 54000 w 427445"/>
                <a:gd name="connsiteY26" fmla="*/ 100049 h 189730"/>
                <a:gd name="connsiteX27" fmla="*/ 96538 w 427445"/>
                <a:gd name="connsiteY27" fmla="*/ 98411 h 189730"/>
                <a:gd name="connsiteX28" fmla="*/ 132258 w 427445"/>
                <a:gd name="connsiteY28" fmla="*/ 100784 h 189730"/>
                <a:gd name="connsiteX29" fmla="*/ 160386 w 427445"/>
                <a:gd name="connsiteY29" fmla="*/ 112950 h 189730"/>
                <a:gd name="connsiteX30" fmla="*/ 168504 w 427445"/>
                <a:gd name="connsiteY30" fmla="*/ 117997 h 189730"/>
                <a:gd name="connsiteX31" fmla="*/ 193548 w 427445"/>
                <a:gd name="connsiteY31" fmla="*/ 124180 h 189730"/>
                <a:gd name="connsiteX32" fmla="*/ 200733 w 427445"/>
                <a:gd name="connsiteY32" fmla="*/ 131500 h 189730"/>
                <a:gd name="connsiteX33" fmla="*/ 218226 w 427445"/>
                <a:gd name="connsiteY33" fmla="*/ 140357 h 189730"/>
                <a:gd name="connsiteX34" fmla="*/ 246639 w 427445"/>
                <a:gd name="connsiteY34" fmla="*/ 152557 h 189730"/>
                <a:gd name="connsiteX35" fmla="*/ 250983 w 427445"/>
                <a:gd name="connsiteY35" fmla="*/ 172812 h 189730"/>
                <a:gd name="connsiteX36" fmla="*/ 279395 w 427445"/>
                <a:gd name="connsiteY36" fmla="*/ 184911 h 189730"/>
                <a:gd name="connsiteX37" fmla="*/ 306103 w 427445"/>
                <a:gd name="connsiteY37" fmla="*/ 186916 h 189730"/>
                <a:gd name="connsiteX38" fmla="*/ 357531 w 427445"/>
                <a:gd name="connsiteY38" fmla="*/ 176187 h 189730"/>
                <a:gd name="connsiteX39" fmla="*/ 382494 w 427445"/>
                <a:gd name="connsiteY39" fmla="*/ 166996 h 189730"/>
                <a:gd name="connsiteX40" fmla="*/ 400272 w 427445"/>
                <a:gd name="connsiteY40" fmla="*/ 162617 h 189730"/>
                <a:gd name="connsiteX41" fmla="*/ 426574 w 427445"/>
                <a:gd name="connsiteY41" fmla="*/ 170372 h 189730"/>
                <a:gd name="connsiteX42" fmla="*/ 427386 w 427445"/>
                <a:gd name="connsiteY42" fmla="*/ 158908 h 18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27445" h="189730">
                  <a:moveTo>
                    <a:pt x="427386" y="158908"/>
                  </a:moveTo>
                  <a:cubicBezTo>
                    <a:pt x="420364" y="155565"/>
                    <a:pt x="410338" y="149749"/>
                    <a:pt x="401367" y="148646"/>
                  </a:cubicBezTo>
                  <a:cubicBezTo>
                    <a:pt x="390895" y="147310"/>
                    <a:pt x="381722" y="134876"/>
                    <a:pt x="372549" y="131166"/>
                  </a:cubicBezTo>
                  <a:cubicBezTo>
                    <a:pt x="361387" y="126654"/>
                    <a:pt x="345597" y="120370"/>
                    <a:pt x="340077" y="113117"/>
                  </a:cubicBezTo>
                  <a:cubicBezTo>
                    <a:pt x="334557" y="105864"/>
                    <a:pt x="315317" y="101954"/>
                    <a:pt x="312111" y="95035"/>
                  </a:cubicBezTo>
                  <a:cubicBezTo>
                    <a:pt x="308052" y="86746"/>
                    <a:pt x="300989" y="78891"/>
                    <a:pt x="297336" y="70636"/>
                  </a:cubicBezTo>
                  <a:cubicBezTo>
                    <a:pt x="294292" y="63784"/>
                    <a:pt x="279477" y="63082"/>
                    <a:pt x="269370" y="61043"/>
                  </a:cubicBezTo>
                  <a:cubicBezTo>
                    <a:pt x="266691" y="60475"/>
                    <a:pt x="245625" y="56966"/>
                    <a:pt x="246274" y="54359"/>
                  </a:cubicBezTo>
                  <a:cubicBezTo>
                    <a:pt x="247573" y="49378"/>
                    <a:pt x="248304" y="40989"/>
                    <a:pt x="242215" y="36076"/>
                  </a:cubicBezTo>
                  <a:cubicBezTo>
                    <a:pt x="237385" y="32065"/>
                    <a:pt x="220337" y="27720"/>
                    <a:pt x="212991" y="23910"/>
                  </a:cubicBezTo>
                  <a:cubicBezTo>
                    <a:pt x="197932" y="16089"/>
                    <a:pt x="195456" y="23041"/>
                    <a:pt x="180925" y="20567"/>
                  </a:cubicBezTo>
                  <a:cubicBezTo>
                    <a:pt x="179058" y="20267"/>
                    <a:pt x="176501" y="23910"/>
                    <a:pt x="175810" y="24277"/>
                  </a:cubicBezTo>
                  <a:cubicBezTo>
                    <a:pt x="172157" y="26584"/>
                    <a:pt x="167165" y="24545"/>
                    <a:pt x="162132" y="24578"/>
                  </a:cubicBezTo>
                  <a:cubicBezTo>
                    <a:pt x="143054" y="24578"/>
                    <a:pt x="149305" y="35808"/>
                    <a:pt x="137534" y="37078"/>
                  </a:cubicBezTo>
                  <a:cubicBezTo>
                    <a:pt x="126372" y="38315"/>
                    <a:pt x="114033" y="31062"/>
                    <a:pt x="103155" y="30728"/>
                  </a:cubicBezTo>
                  <a:cubicBezTo>
                    <a:pt x="88420" y="30260"/>
                    <a:pt x="77258" y="14016"/>
                    <a:pt x="67679" y="8301"/>
                  </a:cubicBezTo>
                  <a:cubicBezTo>
                    <a:pt x="59196" y="3220"/>
                    <a:pt x="10853" y="-7241"/>
                    <a:pt x="17957" y="6396"/>
                  </a:cubicBezTo>
                  <a:cubicBezTo>
                    <a:pt x="35289" y="-4868"/>
                    <a:pt x="46045" y="16623"/>
                    <a:pt x="49292" y="21737"/>
                  </a:cubicBezTo>
                  <a:cubicBezTo>
                    <a:pt x="51606" y="25414"/>
                    <a:pt x="63214" y="27386"/>
                    <a:pt x="67720" y="31062"/>
                  </a:cubicBezTo>
                  <a:cubicBezTo>
                    <a:pt x="77705" y="39318"/>
                    <a:pt x="62524" y="35742"/>
                    <a:pt x="53757" y="36410"/>
                  </a:cubicBezTo>
                  <a:cubicBezTo>
                    <a:pt x="29768" y="38182"/>
                    <a:pt x="10732" y="20233"/>
                    <a:pt x="990" y="37513"/>
                  </a:cubicBezTo>
                  <a:cubicBezTo>
                    <a:pt x="-3394" y="45167"/>
                    <a:pt x="6795" y="44031"/>
                    <a:pt x="16008" y="47540"/>
                  </a:cubicBezTo>
                  <a:cubicBezTo>
                    <a:pt x="27293" y="51685"/>
                    <a:pt x="4400" y="57968"/>
                    <a:pt x="6511" y="58804"/>
                  </a:cubicBezTo>
                  <a:cubicBezTo>
                    <a:pt x="16942" y="63015"/>
                    <a:pt x="21163" y="58202"/>
                    <a:pt x="26805" y="66224"/>
                  </a:cubicBezTo>
                  <a:cubicBezTo>
                    <a:pt x="32975" y="75248"/>
                    <a:pt x="26805" y="81599"/>
                    <a:pt x="25344" y="90456"/>
                  </a:cubicBezTo>
                  <a:cubicBezTo>
                    <a:pt x="24573" y="96171"/>
                    <a:pt x="19296" y="99815"/>
                    <a:pt x="31960" y="101319"/>
                  </a:cubicBezTo>
                  <a:cubicBezTo>
                    <a:pt x="41336" y="102455"/>
                    <a:pt x="46897" y="102689"/>
                    <a:pt x="54000" y="100049"/>
                  </a:cubicBezTo>
                  <a:cubicBezTo>
                    <a:pt x="70236" y="93932"/>
                    <a:pt x="77623" y="97241"/>
                    <a:pt x="96538" y="98411"/>
                  </a:cubicBezTo>
                  <a:cubicBezTo>
                    <a:pt x="110217" y="99280"/>
                    <a:pt x="116833" y="95904"/>
                    <a:pt x="132258" y="100784"/>
                  </a:cubicBezTo>
                  <a:cubicBezTo>
                    <a:pt x="142567" y="104126"/>
                    <a:pt x="148168" y="110811"/>
                    <a:pt x="160386" y="112950"/>
                  </a:cubicBezTo>
                  <a:cubicBezTo>
                    <a:pt x="163552" y="113485"/>
                    <a:pt x="165866" y="116894"/>
                    <a:pt x="168504" y="117997"/>
                  </a:cubicBezTo>
                  <a:cubicBezTo>
                    <a:pt x="175648" y="121005"/>
                    <a:pt x="185836" y="121339"/>
                    <a:pt x="193548" y="124180"/>
                  </a:cubicBezTo>
                  <a:cubicBezTo>
                    <a:pt x="201260" y="127021"/>
                    <a:pt x="197282" y="127723"/>
                    <a:pt x="200733" y="131500"/>
                  </a:cubicBezTo>
                  <a:cubicBezTo>
                    <a:pt x="204791" y="135946"/>
                    <a:pt x="213680" y="136046"/>
                    <a:pt x="218226" y="140357"/>
                  </a:cubicBezTo>
                  <a:cubicBezTo>
                    <a:pt x="227968" y="149683"/>
                    <a:pt x="230688" y="148045"/>
                    <a:pt x="246639" y="152557"/>
                  </a:cubicBezTo>
                  <a:cubicBezTo>
                    <a:pt x="256503" y="155365"/>
                    <a:pt x="250333" y="168132"/>
                    <a:pt x="250983" y="172812"/>
                  </a:cubicBezTo>
                  <a:cubicBezTo>
                    <a:pt x="252200" y="181736"/>
                    <a:pt x="277488" y="176488"/>
                    <a:pt x="279395" y="184911"/>
                  </a:cubicBezTo>
                  <a:cubicBezTo>
                    <a:pt x="280857" y="191161"/>
                    <a:pt x="302410" y="189925"/>
                    <a:pt x="306103" y="186916"/>
                  </a:cubicBezTo>
                  <a:cubicBezTo>
                    <a:pt x="318280" y="176889"/>
                    <a:pt x="347789" y="186916"/>
                    <a:pt x="357531" y="176187"/>
                  </a:cubicBezTo>
                  <a:cubicBezTo>
                    <a:pt x="365080" y="167865"/>
                    <a:pt x="367191" y="166762"/>
                    <a:pt x="382494" y="166996"/>
                  </a:cubicBezTo>
                  <a:cubicBezTo>
                    <a:pt x="389718" y="166996"/>
                    <a:pt x="393696" y="163286"/>
                    <a:pt x="400272" y="162617"/>
                  </a:cubicBezTo>
                  <a:cubicBezTo>
                    <a:pt x="408633" y="161748"/>
                    <a:pt x="417563" y="169503"/>
                    <a:pt x="426574" y="170372"/>
                  </a:cubicBezTo>
                  <a:cubicBezTo>
                    <a:pt x="426777" y="166495"/>
                    <a:pt x="427102" y="162684"/>
                    <a:pt x="427386" y="15890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D1CBB7EC-43EC-4650-B23F-4F91BF009206}"/>
                </a:ext>
              </a:extLst>
            </p:cNvPr>
            <p:cNvSpPr/>
            <p:nvPr/>
          </p:nvSpPr>
          <p:spPr>
            <a:xfrm>
              <a:off x="7156176" y="4185911"/>
              <a:ext cx="545797" cy="358017"/>
            </a:xfrm>
            <a:custGeom>
              <a:avLst/>
              <a:gdLst>
                <a:gd name="connsiteX0" fmla="*/ 536890 w 545797"/>
                <a:gd name="connsiteY0" fmla="*/ 326161 h 358017"/>
                <a:gd name="connsiteX1" fmla="*/ 533765 w 545797"/>
                <a:gd name="connsiteY1" fmla="*/ 310552 h 358017"/>
                <a:gd name="connsiteX2" fmla="*/ 503119 w 545797"/>
                <a:gd name="connsiteY2" fmla="*/ 289161 h 358017"/>
                <a:gd name="connsiteX3" fmla="*/ 484488 w 545797"/>
                <a:gd name="connsiteY3" fmla="*/ 269274 h 358017"/>
                <a:gd name="connsiteX4" fmla="*/ 504783 w 545797"/>
                <a:gd name="connsiteY4" fmla="*/ 259581 h 358017"/>
                <a:gd name="connsiteX5" fmla="*/ 498492 w 545797"/>
                <a:gd name="connsiteY5" fmla="*/ 237287 h 358017"/>
                <a:gd name="connsiteX6" fmla="*/ 497761 w 545797"/>
                <a:gd name="connsiteY6" fmla="*/ 194204 h 358017"/>
                <a:gd name="connsiteX7" fmla="*/ 512170 w 545797"/>
                <a:gd name="connsiteY7" fmla="*/ 180434 h 358017"/>
                <a:gd name="connsiteX8" fmla="*/ 530436 w 545797"/>
                <a:gd name="connsiteY8" fmla="*/ 166028 h 358017"/>
                <a:gd name="connsiteX9" fmla="*/ 530436 w 545797"/>
                <a:gd name="connsiteY9" fmla="*/ 144670 h 358017"/>
                <a:gd name="connsiteX10" fmla="*/ 502551 w 545797"/>
                <a:gd name="connsiteY10" fmla="*/ 135379 h 358017"/>
                <a:gd name="connsiteX11" fmla="*/ 493824 w 545797"/>
                <a:gd name="connsiteY11" fmla="*/ 127157 h 358017"/>
                <a:gd name="connsiteX12" fmla="*/ 479374 w 545797"/>
                <a:gd name="connsiteY12" fmla="*/ 120706 h 358017"/>
                <a:gd name="connsiteX13" fmla="*/ 452706 w 545797"/>
                <a:gd name="connsiteY13" fmla="*/ 108573 h 358017"/>
                <a:gd name="connsiteX14" fmla="*/ 430869 w 545797"/>
                <a:gd name="connsiteY14" fmla="*/ 99716 h 358017"/>
                <a:gd name="connsiteX15" fmla="*/ 400021 w 545797"/>
                <a:gd name="connsiteY15" fmla="*/ 87349 h 358017"/>
                <a:gd name="connsiteX16" fmla="*/ 367549 w 545797"/>
                <a:gd name="connsiteY16" fmla="*/ 86346 h 358017"/>
                <a:gd name="connsiteX17" fmla="*/ 332764 w 545797"/>
                <a:gd name="connsiteY17" fmla="*/ 89254 h 358017"/>
                <a:gd name="connsiteX18" fmla="*/ 302281 w 545797"/>
                <a:gd name="connsiteY18" fmla="*/ 93432 h 358017"/>
                <a:gd name="connsiteX19" fmla="*/ 273503 w 545797"/>
                <a:gd name="connsiteY19" fmla="*/ 99582 h 358017"/>
                <a:gd name="connsiteX20" fmla="*/ 202024 w 545797"/>
                <a:gd name="connsiteY20" fmla="*/ 80497 h 358017"/>
                <a:gd name="connsiteX21" fmla="*/ 144062 w 545797"/>
                <a:gd name="connsiteY21" fmla="*/ 44968 h 358017"/>
                <a:gd name="connsiteX22" fmla="*/ 125594 w 545797"/>
                <a:gd name="connsiteY22" fmla="*/ 30562 h 358017"/>
                <a:gd name="connsiteX23" fmla="*/ 126649 w 545797"/>
                <a:gd name="connsiteY23" fmla="*/ 17895 h 358017"/>
                <a:gd name="connsiteX24" fmla="*/ 97708 w 545797"/>
                <a:gd name="connsiteY24" fmla="*/ 22039 h 358017"/>
                <a:gd name="connsiteX25" fmla="*/ 45916 w 545797"/>
                <a:gd name="connsiteY25" fmla="*/ 22273 h 358017"/>
                <a:gd name="connsiteX26" fmla="*/ 22577 w 545797"/>
                <a:gd name="connsiteY26" fmla="*/ 1718 h 358017"/>
                <a:gd name="connsiteX27" fmla="*/ 2607 w 545797"/>
                <a:gd name="connsiteY27" fmla="*/ 19332 h 358017"/>
                <a:gd name="connsiteX28" fmla="*/ 3419 w 545797"/>
                <a:gd name="connsiteY28" fmla="*/ 40857 h 358017"/>
                <a:gd name="connsiteX29" fmla="*/ 21968 w 545797"/>
                <a:gd name="connsiteY29" fmla="*/ 69133 h 358017"/>
                <a:gd name="connsiteX30" fmla="*/ 46647 w 545797"/>
                <a:gd name="connsiteY30" fmla="*/ 97643 h 358017"/>
                <a:gd name="connsiteX31" fmla="*/ 39949 w 545797"/>
                <a:gd name="connsiteY31" fmla="*/ 98713 h 358017"/>
                <a:gd name="connsiteX32" fmla="*/ 33577 w 545797"/>
                <a:gd name="connsiteY32" fmla="*/ 106233 h 358017"/>
                <a:gd name="connsiteX33" fmla="*/ 24728 w 545797"/>
                <a:gd name="connsiteY33" fmla="*/ 116260 h 358017"/>
                <a:gd name="connsiteX34" fmla="*/ 33739 w 545797"/>
                <a:gd name="connsiteY34" fmla="*/ 127825 h 358017"/>
                <a:gd name="connsiteX35" fmla="*/ 44617 w 545797"/>
                <a:gd name="connsiteY35" fmla="*/ 140760 h 358017"/>
                <a:gd name="connsiteX36" fmla="*/ 84192 w 545797"/>
                <a:gd name="connsiteY36" fmla="*/ 162719 h 358017"/>
                <a:gd name="connsiteX37" fmla="*/ 82244 w 545797"/>
                <a:gd name="connsiteY37" fmla="*/ 176690 h 358017"/>
                <a:gd name="connsiteX38" fmla="*/ 87683 w 545797"/>
                <a:gd name="connsiteY38" fmla="*/ 182406 h 358017"/>
                <a:gd name="connsiteX39" fmla="*/ 91742 w 545797"/>
                <a:gd name="connsiteY39" fmla="*/ 192433 h 358017"/>
                <a:gd name="connsiteX40" fmla="*/ 118125 w 545797"/>
                <a:gd name="connsiteY40" fmla="*/ 205134 h 358017"/>
                <a:gd name="connsiteX41" fmla="*/ 141830 w 545797"/>
                <a:gd name="connsiteY41" fmla="*/ 207407 h 358017"/>
                <a:gd name="connsiteX42" fmla="*/ 172597 w 545797"/>
                <a:gd name="connsiteY42" fmla="*/ 234847 h 358017"/>
                <a:gd name="connsiteX43" fmla="*/ 204784 w 545797"/>
                <a:gd name="connsiteY43" fmla="*/ 261586 h 358017"/>
                <a:gd name="connsiteX44" fmla="*/ 261164 w 545797"/>
                <a:gd name="connsiteY44" fmla="*/ 288826 h 358017"/>
                <a:gd name="connsiteX45" fmla="*/ 318273 w 545797"/>
                <a:gd name="connsiteY45" fmla="*/ 294742 h 358017"/>
                <a:gd name="connsiteX46" fmla="*/ 353668 w 545797"/>
                <a:gd name="connsiteY46" fmla="*/ 314796 h 358017"/>
                <a:gd name="connsiteX47" fmla="*/ 379198 w 545797"/>
                <a:gd name="connsiteY47" fmla="*/ 330305 h 358017"/>
                <a:gd name="connsiteX48" fmla="*/ 488791 w 545797"/>
                <a:gd name="connsiteY48" fmla="*/ 357679 h 358017"/>
                <a:gd name="connsiteX49" fmla="*/ 522277 w 545797"/>
                <a:gd name="connsiteY49" fmla="*/ 339129 h 358017"/>
                <a:gd name="connsiteX50" fmla="*/ 545738 w 545797"/>
                <a:gd name="connsiteY50" fmla="*/ 337525 h 358017"/>
                <a:gd name="connsiteX51" fmla="*/ 537255 w 545797"/>
                <a:gd name="connsiteY51" fmla="*/ 326261 h 358017"/>
                <a:gd name="connsiteX52" fmla="*/ 536890 w 545797"/>
                <a:gd name="connsiteY52" fmla="*/ 326161 h 35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45797" h="358017">
                  <a:moveTo>
                    <a:pt x="536890" y="326161"/>
                  </a:moveTo>
                  <a:cubicBezTo>
                    <a:pt x="531126" y="323921"/>
                    <a:pt x="535307" y="313794"/>
                    <a:pt x="533765" y="310552"/>
                  </a:cubicBezTo>
                  <a:cubicBezTo>
                    <a:pt x="530030" y="302497"/>
                    <a:pt x="509938" y="297182"/>
                    <a:pt x="503119" y="289161"/>
                  </a:cubicBezTo>
                  <a:cubicBezTo>
                    <a:pt x="497883" y="282810"/>
                    <a:pt x="488344" y="275591"/>
                    <a:pt x="484488" y="269274"/>
                  </a:cubicBezTo>
                  <a:cubicBezTo>
                    <a:pt x="481444" y="264260"/>
                    <a:pt x="499710" y="261185"/>
                    <a:pt x="504783" y="259581"/>
                  </a:cubicBezTo>
                  <a:cubicBezTo>
                    <a:pt x="527514" y="252194"/>
                    <a:pt x="522805" y="245376"/>
                    <a:pt x="498492" y="237287"/>
                  </a:cubicBezTo>
                  <a:cubicBezTo>
                    <a:pt x="485057" y="232875"/>
                    <a:pt x="496909" y="201591"/>
                    <a:pt x="497761" y="194204"/>
                  </a:cubicBezTo>
                  <a:cubicBezTo>
                    <a:pt x="498410" y="188790"/>
                    <a:pt x="504986" y="183342"/>
                    <a:pt x="512170" y="180434"/>
                  </a:cubicBezTo>
                  <a:cubicBezTo>
                    <a:pt x="520938" y="177091"/>
                    <a:pt x="519355" y="167064"/>
                    <a:pt x="530436" y="166028"/>
                  </a:cubicBezTo>
                  <a:cubicBezTo>
                    <a:pt x="528406" y="159009"/>
                    <a:pt x="528406" y="151689"/>
                    <a:pt x="530436" y="144670"/>
                  </a:cubicBezTo>
                  <a:cubicBezTo>
                    <a:pt x="531329" y="141328"/>
                    <a:pt x="506407" y="138955"/>
                    <a:pt x="502551" y="135379"/>
                  </a:cubicBezTo>
                  <a:cubicBezTo>
                    <a:pt x="499994" y="132391"/>
                    <a:pt x="497071" y="129633"/>
                    <a:pt x="493824" y="127157"/>
                  </a:cubicBezTo>
                  <a:cubicBezTo>
                    <a:pt x="489197" y="124282"/>
                    <a:pt x="482987" y="124616"/>
                    <a:pt x="479374" y="120706"/>
                  </a:cubicBezTo>
                  <a:cubicBezTo>
                    <a:pt x="473042" y="113787"/>
                    <a:pt x="468334" y="110344"/>
                    <a:pt x="452706" y="108573"/>
                  </a:cubicBezTo>
                  <a:cubicBezTo>
                    <a:pt x="446497" y="107871"/>
                    <a:pt x="436958" y="101888"/>
                    <a:pt x="430869" y="99716"/>
                  </a:cubicBezTo>
                  <a:cubicBezTo>
                    <a:pt x="419058" y="95404"/>
                    <a:pt x="413740" y="89923"/>
                    <a:pt x="400021" y="87349"/>
                  </a:cubicBezTo>
                  <a:cubicBezTo>
                    <a:pt x="387844" y="85076"/>
                    <a:pt x="378671" y="88820"/>
                    <a:pt x="367549" y="86346"/>
                  </a:cubicBezTo>
                  <a:cubicBezTo>
                    <a:pt x="355941" y="83636"/>
                    <a:pt x="343480" y="84675"/>
                    <a:pt x="332764" y="89254"/>
                  </a:cubicBezTo>
                  <a:cubicBezTo>
                    <a:pt x="322089" y="93232"/>
                    <a:pt x="303742" y="86647"/>
                    <a:pt x="302281" y="93432"/>
                  </a:cubicBezTo>
                  <a:cubicBezTo>
                    <a:pt x="300535" y="101420"/>
                    <a:pt x="286045" y="100117"/>
                    <a:pt x="273503" y="99582"/>
                  </a:cubicBezTo>
                  <a:cubicBezTo>
                    <a:pt x="240747" y="98479"/>
                    <a:pt x="221467" y="96841"/>
                    <a:pt x="202024" y="80497"/>
                  </a:cubicBezTo>
                  <a:cubicBezTo>
                    <a:pt x="184652" y="65925"/>
                    <a:pt x="142276" y="66927"/>
                    <a:pt x="144062" y="44968"/>
                  </a:cubicBezTo>
                  <a:cubicBezTo>
                    <a:pt x="133103" y="41124"/>
                    <a:pt x="121251" y="37147"/>
                    <a:pt x="125594" y="30562"/>
                  </a:cubicBezTo>
                  <a:cubicBezTo>
                    <a:pt x="127461" y="27721"/>
                    <a:pt x="132088" y="20936"/>
                    <a:pt x="126649" y="17895"/>
                  </a:cubicBezTo>
                  <a:cubicBezTo>
                    <a:pt x="121210" y="14853"/>
                    <a:pt x="102742" y="20903"/>
                    <a:pt x="97708" y="22039"/>
                  </a:cubicBezTo>
                  <a:cubicBezTo>
                    <a:pt x="80823" y="26217"/>
                    <a:pt x="62842" y="26297"/>
                    <a:pt x="45916" y="22273"/>
                  </a:cubicBezTo>
                  <a:cubicBezTo>
                    <a:pt x="31872" y="18931"/>
                    <a:pt x="31791" y="7199"/>
                    <a:pt x="22577" y="1718"/>
                  </a:cubicBezTo>
                  <a:cubicBezTo>
                    <a:pt x="7843" y="-7039"/>
                    <a:pt x="577" y="14720"/>
                    <a:pt x="2607" y="19332"/>
                  </a:cubicBezTo>
                  <a:cubicBezTo>
                    <a:pt x="5976" y="26886"/>
                    <a:pt x="-5511" y="34339"/>
                    <a:pt x="3419" y="40857"/>
                  </a:cubicBezTo>
                  <a:cubicBezTo>
                    <a:pt x="10157" y="45703"/>
                    <a:pt x="22942" y="63585"/>
                    <a:pt x="21968" y="69133"/>
                  </a:cubicBezTo>
                  <a:cubicBezTo>
                    <a:pt x="19695" y="82068"/>
                    <a:pt x="63085" y="82502"/>
                    <a:pt x="46647" y="97643"/>
                  </a:cubicBezTo>
                  <a:lnTo>
                    <a:pt x="39949" y="98713"/>
                  </a:lnTo>
                  <a:cubicBezTo>
                    <a:pt x="36337" y="100418"/>
                    <a:pt x="35281" y="103860"/>
                    <a:pt x="33577" y="106233"/>
                  </a:cubicBezTo>
                  <a:cubicBezTo>
                    <a:pt x="30533" y="110378"/>
                    <a:pt x="24647" y="111046"/>
                    <a:pt x="24728" y="116260"/>
                  </a:cubicBezTo>
                  <a:cubicBezTo>
                    <a:pt x="24809" y="121474"/>
                    <a:pt x="26676" y="124382"/>
                    <a:pt x="33739" y="127825"/>
                  </a:cubicBezTo>
                  <a:cubicBezTo>
                    <a:pt x="42912" y="132304"/>
                    <a:pt x="38975" y="136148"/>
                    <a:pt x="44617" y="140760"/>
                  </a:cubicBezTo>
                  <a:cubicBezTo>
                    <a:pt x="56388" y="150319"/>
                    <a:pt x="77089" y="151723"/>
                    <a:pt x="84192" y="162719"/>
                  </a:cubicBezTo>
                  <a:cubicBezTo>
                    <a:pt x="88738" y="169671"/>
                    <a:pt x="81229" y="170440"/>
                    <a:pt x="82244" y="176690"/>
                  </a:cubicBezTo>
                  <a:cubicBezTo>
                    <a:pt x="83461" y="178926"/>
                    <a:pt x="85329" y="180885"/>
                    <a:pt x="87683" y="182406"/>
                  </a:cubicBezTo>
                  <a:cubicBezTo>
                    <a:pt x="91742" y="186116"/>
                    <a:pt x="89307" y="188656"/>
                    <a:pt x="91742" y="192433"/>
                  </a:cubicBezTo>
                  <a:cubicBezTo>
                    <a:pt x="95801" y="198750"/>
                    <a:pt x="104812" y="207841"/>
                    <a:pt x="118125" y="205134"/>
                  </a:cubicBezTo>
                  <a:cubicBezTo>
                    <a:pt x="127745" y="203195"/>
                    <a:pt x="130749" y="207774"/>
                    <a:pt x="141830" y="207407"/>
                  </a:cubicBezTo>
                  <a:cubicBezTo>
                    <a:pt x="160217" y="206872"/>
                    <a:pt x="167726" y="227026"/>
                    <a:pt x="172597" y="234847"/>
                  </a:cubicBezTo>
                  <a:cubicBezTo>
                    <a:pt x="180715" y="247883"/>
                    <a:pt x="182217" y="254300"/>
                    <a:pt x="204784" y="261586"/>
                  </a:cubicBezTo>
                  <a:cubicBezTo>
                    <a:pt x="225769" y="268271"/>
                    <a:pt x="238961" y="281640"/>
                    <a:pt x="261164" y="288826"/>
                  </a:cubicBezTo>
                  <a:cubicBezTo>
                    <a:pt x="283366" y="296012"/>
                    <a:pt x="295218" y="296581"/>
                    <a:pt x="318273" y="294742"/>
                  </a:cubicBezTo>
                  <a:cubicBezTo>
                    <a:pt x="342993" y="292804"/>
                    <a:pt x="351963" y="302597"/>
                    <a:pt x="353668" y="314796"/>
                  </a:cubicBezTo>
                  <a:cubicBezTo>
                    <a:pt x="355007" y="324155"/>
                    <a:pt x="365033" y="326361"/>
                    <a:pt x="379198" y="330305"/>
                  </a:cubicBezTo>
                  <a:cubicBezTo>
                    <a:pt x="414309" y="340031"/>
                    <a:pt x="452260" y="350627"/>
                    <a:pt x="488791" y="357679"/>
                  </a:cubicBezTo>
                  <a:cubicBezTo>
                    <a:pt x="489522" y="345479"/>
                    <a:pt x="501455" y="339563"/>
                    <a:pt x="522277" y="339129"/>
                  </a:cubicBezTo>
                  <a:cubicBezTo>
                    <a:pt x="528122" y="339129"/>
                    <a:pt x="545170" y="342471"/>
                    <a:pt x="545738" y="337525"/>
                  </a:cubicBezTo>
                  <a:cubicBezTo>
                    <a:pt x="545616" y="332778"/>
                    <a:pt x="542370" y="328463"/>
                    <a:pt x="537255" y="326261"/>
                  </a:cubicBezTo>
                  <a:cubicBezTo>
                    <a:pt x="530152" y="323520"/>
                    <a:pt x="543628" y="328768"/>
                    <a:pt x="536890" y="32616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2313E293-FABE-4CA5-B1B5-E11E8F2664A7}"/>
                </a:ext>
              </a:extLst>
            </p:cNvPr>
            <p:cNvSpPr/>
            <p:nvPr/>
          </p:nvSpPr>
          <p:spPr>
            <a:xfrm>
              <a:off x="7270264" y="3965643"/>
              <a:ext cx="1306181" cy="380318"/>
            </a:xfrm>
            <a:custGeom>
              <a:avLst/>
              <a:gdLst>
                <a:gd name="connsiteX0" fmla="*/ 1302626 w 1306181"/>
                <a:gd name="connsiteY0" fmla="*/ 281447 h 380318"/>
                <a:gd name="connsiteX1" fmla="*/ 1252944 w 1306181"/>
                <a:gd name="connsiteY1" fmla="*/ 259454 h 380318"/>
                <a:gd name="connsiteX2" fmla="*/ 1233866 w 1306181"/>
                <a:gd name="connsiteY2" fmla="*/ 245449 h 380318"/>
                <a:gd name="connsiteX3" fmla="*/ 1210690 w 1306181"/>
                <a:gd name="connsiteY3" fmla="*/ 225395 h 380318"/>
                <a:gd name="connsiteX4" fmla="*/ 1174159 w 1306181"/>
                <a:gd name="connsiteY4" fmla="*/ 221886 h 380318"/>
                <a:gd name="connsiteX5" fmla="*/ 1140389 w 1306181"/>
                <a:gd name="connsiteY5" fmla="*/ 204238 h 380318"/>
                <a:gd name="connsiteX6" fmla="*/ 1099799 w 1306181"/>
                <a:gd name="connsiteY6" fmla="*/ 194746 h 380318"/>
                <a:gd name="connsiteX7" fmla="*/ 1070656 w 1306181"/>
                <a:gd name="connsiteY7" fmla="*/ 145747 h 380318"/>
                <a:gd name="connsiteX8" fmla="*/ 1047276 w 1306181"/>
                <a:gd name="connsiteY8" fmla="*/ 121247 h 380318"/>
                <a:gd name="connsiteX9" fmla="*/ 1027793 w 1306181"/>
                <a:gd name="connsiteY9" fmla="*/ 103266 h 380318"/>
                <a:gd name="connsiteX10" fmla="*/ 1018660 w 1306181"/>
                <a:gd name="connsiteY10" fmla="*/ 95411 h 380318"/>
                <a:gd name="connsiteX11" fmla="*/ 974011 w 1306181"/>
                <a:gd name="connsiteY11" fmla="*/ 96447 h 380318"/>
                <a:gd name="connsiteX12" fmla="*/ 937156 w 1306181"/>
                <a:gd name="connsiteY12" fmla="*/ 94575 h 380318"/>
                <a:gd name="connsiteX13" fmla="*/ 917064 w 1306181"/>
                <a:gd name="connsiteY13" fmla="*/ 89328 h 380318"/>
                <a:gd name="connsiteX14" fmla="*/ 927130 w 1306181"/>
                <a:gd name="connsiteY14" fmla="*/ 82643 h 380318"/>
                <a:gd name="connsiteX15" fmla="*/ 902411 w 1306181"/>
                <a:gd name="connsiteY15" fmla="*/ 74555 h 380318"/>
                <a:gd name="connsiteX16" fmla="*/ 892791 w 1306181"/>
                <a:gd name="connsiteY16" fmla="*/ 75190 h 380318"/>
                <a:gd name="connsiteX17" fmla="*/ 886215 w 1306181"/>
                <a:gd name="connsiteY17" fmla="*/ 66065 h 380318"/>
                <a:gd name="connsiteX18" fmla="*/ 849685 w 1306181"/>
                <a:gd name="connsiteY18" fmla="*/ 61920 h 380318"/>
                <a:gd name="connsiteX19" fmla="*/ 855530 w 1306181"/>
                <a:gd name="connsiteY19" fmla="*/ 55737 h 380318"/>
                <a:gd name="connsiteX20" fmla="*/ 853460 w 1306181"/>
                <a:gd name="connsiteY20" fmla="*/ 42802 h 380318"/>
                <a:gd name="connsiteX21" fmla="*/ 826386 w 1306181"/>
                <a:gd name="connsiteY21" fmla="*/ 30569 h 380318"/>
                <a:gd name="connsiteX22" fmla="*/ 790059 w 1306181"/>
                <a:gd name="connsiteY22" fmla="*/ 20375 h 380318"/>
                <a:gd name="connsiteX23" fmla="*/ 763026 w 1306181"/>
                <a:gd name="connsiteY23" fmla="*/ 21879 h 380318"/>
                <a:gd name="connsiteX24" fmla="*/ 701695 w 1306181"/>
                <a:gd name="connsiteY24" fmla="*/ 17968 h 380318"/>
                <a:gd name="connsiteX25" fmla="*/ 661714 w 1306181"/>
                <a:gd name="connsiteY25" fmla="*/ 13991 h 380318"/>
                <a:gd name="connsiteX26" fmla="*/ 605294 w 1306181"/>
                <a:gd name="connsiteY26" fmla="*/ 8810 h 380318"/>
                <a:gd name="connsiteX27" fmla="*/ 562756 w 1306181"/>
                <a:gd name="connsiteY27" fmla="*/ 7340 h 380318"/>
                <a:gd name="connsiteX28" fmla="*/ 521517 w 1306181"/>
                <a:gd name="connsiteY28" fmla="*/ 87 h 380318"/>
                <a:gd name="connsiteX29" fmla="*/ 514170 w 1306181"/>
                <a:gd name="connsiteY29" fmla="*/ 14024 h 380318"/>
                <a:gd name="connsiteX30" fmla="*/ 541162 w 1306181"/>
                <a:gd name="connsiteY30" fmla="*/ 26625 h 380318"/>
                <a:gd name="connsiteX31" fmla="*/ 496879 w 1306181"/>
                <a:gd name="connsiteY31" fmla="*/ 25388 h 380318"/>
                <a:gd name="connsiteX32" fmla="*/ 492251 w 1306181"/>
                <a:gd name="connsiteY32" fmla="*/ 37856 h 380318"/>
                <a:gd name="connsiteX33" fmla="*/ 470049 w 1306181"/>
                <a:gd name="connsiteY33" fmla="*/ 42669 h 380318"/>
                <a:gd name="connsiteX34" fmla="*/ 508812 w 1306181"/>
                <a:gd name="connsiteY34" fmla="*/ 64761 h 380318"/>
                <a:gd name="connsiteX35" fmla="*/ 494524 w 1306181"/>
                <a:gd name="connsiteY35" fmla="*/ 74454 h 380318"/>
                <a:gd name="connsiteX36" fmla="*/ 463392 w 1306181"/>
                <a:gd name="connsiteY36" fmla="*/ 63859 h 380318"/>
                <a:gd name="connsiteX37" fmla="*/ 452879 w 1306181"/>
                <a:gd name="connsiteY37" fmla="*/ 69006 h 380318"/>
                <a:gd name="connsiteX38" fmla="*/ 435304 w 1306181"/>
                <a:gd name="connsiteY38" fmla="*/ 62121 h 380318"/>
                <a:gd name="connsiteX39" fmla="*/ 383511 w 1306181"/>
                <a:gd name="connsiteY39" fmla="*/ 47248 h 380318"/>
                <a:gd name="connsiteX40" fmla="*/ 331963 w 1306181"/>
                <a:gd name="connsiteY40" fmla="*/ 43471 h 380318"/>
                <a:gd name="connsiteX41" fmla="*/ 301317 w 1306181"/>
                <a:gd name="connsiteY41" fmla="*/ 40128 h 380318"/>
                <a:gd name="connsiteX42" fmla="*/ 288369 w 1306181"/>
                <a:gd name="connsiteY42" fmla="*/ 34647 h 380318"/>
                <a:gd name="connsiteX43" fmla="*/ 280698 w 1306181"/>
                <a:gd name="connsiteY43" fmla="*/ 39259 h 380318"/>
                <a:gd name="connsiteX44" fmla="*/ 234831 w 1306181"/>
                <a:gd name="connsiteY44" fmla="*/ 12888 h 380318"/>
                <a:gd name="connsiteX45" fmla="*/ 211654 w 1306181"/>
                <a:gd name="connsiteY45" fmla="*/ 4398 h 380318"/>
                <a:gd name="connsiteX46" fmla="*/ 181374 w 1306181"/>
                <a:gd name="connsiteY46" fmla="*/ 4064 h 380318"/>
                <a:gd name="connsiteX47" fmla="*/ 147239 w 1306181"/>
                <a:gd name="connsiteY47" fmla="*/ 521 h 380318"/>
                <a:gd name="connsiteX48" fmla="*/ 110708 w 1306181"/>
                <a:gd name="connsiteY48" fmla="*/ 3864 h 380318"/>
                <a:gd name="connsiteX49" fmla="*/ 101250 w 1306181"/>
                <a:gd name="connsiteY49" fmla="*/ 7406 h 380318"/>
                <a:gd name="connsiteX50" fmla="*/ 84324 w 1306181"/>
                <a:gd name="connsiteY50" fmla="*/ 10448 h 380318"/>
                <a:gd name="connsiteX51" fmla="*/ 76206 w 1306181"/>
                <a:gd name="connsiteY51" fmla="*/ 27628 h 380318"/>
                <a:gd name="connsiteX52" fmla="*/ 52340 w 1306181"/>
                <a:gd name="connsiteY52" fmla="*/ 13055 h 380318"/>
                <a:gd name="connsiteX53" fmla="*/ 24901 w 1306181"/>
                <a:gd name="connsiteY53" fmla="*/ 21043 h 380318"/>
                <a:gd name="connsiteX54" fmla="*/ 20314 w 1306181"/>
                <a:gd name="connsiteY54" fmla="*/ 33009 h 380318"/>
                <a:gd name="connsiteX55" fmla="*/ 1318 w 1306181"/>
                <a:gd name="connsiteY55" fmla="*/ 43404 h 380318"/>
                <a:gd name="connsiteX56" fmla="*/ 14591 w 1306181"/>
                <a:gd name="connsiteY56" fmla="*/ 52829 h 380318"/>
                <a:gd name="connsiteX57" fmla="*/ 21572 w 1306181"/>
                <a:gd name="connsiteY57" fmla="*/ 66533 h 380318"/>
                <a:gd name="connsiteX58" fmla="*/ 56723 w 1306181"/>
                <a:gd name="connsiteY58" fmla="*/ 78031 h 380318"/>
                <a:gd name="connsiteX59" fmla="*/ 70726 w 1306181"/>
                <a:gd name="connsiteY59" fmla="*/ 91400 h 380318"/>
                <a:gd name="connsiteX60" fmla="*/ 59037 w 1306181"/>
                <a:gd name="connsiteY60" fmla="*/ 96748 h 380318"/>
                <a:gd name="connsiteX61" fmla="*/ 75272 w 1306181"/>
                <a:gd name="connsiteY61" fmla="*/ 104769 h 380318"/>
                <a:gd name="connsiteX62" fmla="*/ 92726 w 1306181"/>
                <a:gd name="connsiteY62" fmla="*/ 104134 h 380318"/>
                <a:gd name="connsiteX63" fmla="*/ 140866 w 1306181"/>
                <a:gd name="connsiteY63" fmla="*/ 100792 h 380318"/>
                <a:gd name="connsiteX64" fmla="*/ 188884 w 1306181"/>
                <a:gd name="connsiteY64" fmla="*/ 109348 h 380318"/>
                <a:gd name="connsiteX65" fmla="*/ 205120 w 1306181"/>
                <a:gd name="connsiteY65" fmla="*/ 131408 h 380318"/>
                <a:gd name="connsiteX66" fmla="*/ 193267 w 1306181"/>
                <a:gd name="connsiteY66" fmla="*/ 144243 h 380318"/>
                <a:gd name="connsiteX67" fmla="*/ 150972 w 1306181"/>
                <a:gd name="connsiteY67" fmla="*/ 138895 h 380318"/>
                <a:gd name="connsiteX68" fmla="*/ 130921 w 1306181"/>
                <a:gd name="connsiteY68" fmla="*/ 144945 h 380318"/>
                <a:gd name="connsiteX69" fmla="*/ 122803 w 1306181"/>
                <a:gd name="connsiteY69" fmla="*/ 151629 h 380318"/>
                <a:gd name="connsiteX70" fmla="*/ 101453 w 1306181"/>
                <a:gd name="connsiteY70" fmla="*/ 152599 h 380318"/>
                <a:gd name="connsiteX71" fmla="*/ 126944 w 1306181"/>
                <a:gd name="connsiteY71" fmla="*/ 165968 h 380318"/>
                <a:gd name="connsiteX72" fmla="*/ 131530 w 1306181"/>
                <a:gd name="connsiteY72" fmla="*/ 182680 h 380318"/>
                <a:gd name="connsiteX73" fmla="*/ 142367 w 1306181"/>
                <a:gd name="connsiteY73" fmla="*/ 185621 h 380318"/>
                <a:gd name="connsiteX74" fmla="*/ 156574 w 1306181"/>
                <a:gd name="connsiteY74" fmla="*/ 193542 h 380318"/>
                <a:gd name="connsiteX75" fmla="*/ 166965 w 1306181"/>
                <a:gd name="connsiteY75" fmla="*/ 206076 h 380318"/>
                <a:gd name="connsiteX76" fmla="*/ 170131 w 1306181"/>
                <a:gd name="connsiteY76" fmla="*/ 223757 h 380318"/>
                <a:gd name="connsiteX77" fmla="*/ 182064 w 1306181"/>
                <a:gd name="connsiteY77" fmla="*/ 215235 h 380318"/>
                <a:gd name="connsiteX78" fmla="*/ 204307 w 1306181"/>
                <a:gd name="connsiteY78" fmla="*/ 209352 h 380318"/>
                <a:gd name="connsiteX79" fmla="*/ 231787 w 1306181"/>
                <a:gd name="connsiteY79" fmla="*/ 217139 h 380318"/>
                <a:gd name="connsiteX80" fmla="*/ 263488 w 1306181"/>
                <a:gd name="connsiteY80" fmla="*/ 239132 h 380318"/>
                <a:gd name="connsiteX81" fmla="*/ 277328 w 1306181"/>
                <a:gd name="connsiteY81" fmla="*/ 225763 h 380318"/>
                <a:gd name="connsiteX82" fmla="*/ 294498 w 1306181"/>
                <a:gd name="connsiteY82" fmla="*/ 166135 h 380318"/>
                <a:gd name="connsiteX83" fmla="*/ 381401 w 1306181"/>
                <a:gd name="connsiteY83" fmla="*/ 165032 h 380318"/>
                <a:gd name="connsiteX84" fmla="*/ 410504 w 1306181"/>
                <a:gd name="connsiteY84" fmla="*/ 170480 h 380318"/>
                <a:gd name="connsiteX85" fmla="*/ 425725 w 1306181"/>
                <a:gd name="connsiteY85" fmla="*/ 164865 h 380318"/>
                <a:gd name="connsiteX86" fmla="*/ 430758 w 1306181"/>
                <a:gd name="connsiteY86" fmla="*/ 176029 h 380318"/>
                <a:gd name="connsiteX87" fmla="*/ 443868 w 1306181"/>
                <a:gd name="connsiteY87" fmla="*/ 197353 h 380318"/>
                <a:gd name="connsiteX88" fmla="*/ 477679 w 1306181"/>
                <a:gd name="connsiteY88" fmla="*/ 230776 h 380318"/>
                <a:gd name="connsiteX89" fmla="*/ 508447 w 1306181"/>
                <a:gd name="connsiteY89" fmla="*/ 233684 h 380318"/>
                <a:gd name="connsiteX90" fmla="*/ 535885 w 1306181"/>
                <a:gd name="connsiteY90" fmla="*/ 239834 h 380318"/>
                <a:gd name="connsiteX91" fmla="*/ 571482 w 1306181"/>
                <a:gd name="connsiteY91" fmla="*/ 246920 h 380318"/>
                <a:gd name="connsiteX92" fmla="*/ 594862 w 1306181"/>
                <a:gd name="connsiteY92" fmla="*/ 260289 h 380318"/>
                <a:gd name="connsiteX93" fmla="*/ 602980 w 1306181"/>
                <a:gd name="connsiteY93" fmla="*/ 280076 h 380318"/>
                <a:gd name="connsiteX94" fmla="*/ 621570 w 1306181"/>
                <a:gd name="connsiteY94" fmla="*/ 305244 h 380318"/>
                <a:gd name="connsiteX95" fmla="*/ 659197 w 1306181"/>
                <a:gd name="connsiteY95" fmla="*/ 317344 h 380318"/>
                <a:gd name="connsiteX96" fmla="*/ 677463 w 1306181"/>
                <a:gd name="connsiteY96" fmla="*/ 325933 h 380318"/>
                <a:gd name="connsiteX97" fmla="*/ 706728 w 1306181"/>
                <a:gd name="connsiteY97" fmla="*/ 317878 h 380318"/>
                <a:gd name="connsiteX98" fmla="*/ 729823 w 1306181"/>
                <a:gd name="connsiteY98" fmla="*/ 319015 h 380318"/>
                <a:gd name="connsiteX99" fmla="*/ 746627 w 1306181"/>
                <a:gd name="connsiteY99" fmla="*/ 313333 h 380318"/>
                <a:gd name="connsiteX100" fmla="*/ 771509 w 1306181"/>
                <a:gd name="connsiteY100" fmla="*/ 304977 h 380318"/>
                <a:gd name="connsiteX101" fmla="*/ 806091 w 1306181"/>
                <a:gd name="connsiteY101" fmla="*/ 312196 h 380318"/>
                <a:gd name="connsiteX102" fmla="*/ 838563 w 1306181"/>
                <a:gd name="connsiteY102" fmla="*/ 321388 h 380318"/>
                <a:gd name="connsiteX103" fmla="*/ 867504 w 1306181"/>
                <a:gd name="connsiteY103" fmla="*/ 316775 h 380318"/>
                <a:gd name="connsiteX104" fmla="*/ 909027 w 1306181"/>
                <a:gd name="connsiteY104" fmla="*/ 334456 h 380318"/>
                <a:gd name="connsiteX105" fmla="*/ 957045 w 1306181"/>
                <a:gd name="connsiteY105" fmla="*/ 344918 h 380318"/>
                <a:gd name="connsiteX106" fmla="*/ 1004616 w 1306181"/>
                <a:gd name="connsiteY106" fmla="*/ 359758 h 380318"/>
                <a:gd name="connsiteX107" fmla="*/ 1021420 w 1306181"/>
                <a:gd name="connsiteY107" fmla="*/ 368214 h 380318"/>
                <a:gd name="connsiteX108" fmla="*/ 1045408 w 1306181"/>
                <a:gd name="connsiteY108" fmla="*/ 379979 h 380318"/>
                <a:gd name="connsiteX109" fmla="*/ 1059453 w 1306181"/>
                <a:gd name="connsiteY109" fmla="*/ 367780 h 380318"/>
                <a:gd name="connsiteX110" fmla="*/ 1067205 w 1306181"/>
                <a:gd name="connsiteY110" fmla="*/ 356549 h 380318"/>
                <a:gd name="connsiteX111" fmla="*/ 1062213 w 1306181"/>
                <a:gd name="connsiteY111" fmla="*/ 325599 h 380318"/>
                <a:gd name="connsiteX112" fmla="*/ 1087825 w 1306181"/>
                <a:gd name="connsiteY112" fmla="*/ 327270 h 380318"/>
                <a:gd name="connsiteX113" fmla="*/ 1108119 w 1306181"/>
                <a:gd name="connsiteY113" fmla="*/ 328975 h 380318"/>
                <a:gd name="connsiteX114" fmla="*/ 1124355 w 1306181"/>
                <a:gd name="connsiteY114" fmla="*/ 336729 h 380318"/>
                <a:gd name="connsiteX115" fmla="*/ 1135964 w 1306181"/>
                <a:gd name="connsiteY115" fmla="*/ 331582 h 380318"/>
                <a:gd name="connsiteX116" fmla="*/ 1145990 w 1306181"/>
                <a:gd name="connsiteY116" fmla="*/ 320719 h 380318"/>
                <a:gd name="connsiteX117" fmla="*/ 1178462 w 1306181"/>
                <a:gd name="connsiteY117" fmla="*/ 305578 h 380318"/>
                <a:gd name="connsiteX118" fmla="*/ 1244461 w 1306181"/>
                <a:gd name="connsiteY118" fmla="*/ 322992 h 380318"/>
                <a:gd name="connsiteX119" fmla="*/ 1269423 w 1306181"/>
                <a:gd name="connsiteY119" fmla="*/ 300231 h 380318"/>
                <a:gd name="connsiteX120" fmla="*/ 1291707 w 1306181"/>
                <a:gd name="connsiteY120" fmla="*/ 296019 h 380318"/>
                <a:gd name="connsiteX121" fmla="*/ 1302869 w 1306181"/>
                <a:gd name="connsiteY121" fmla="*/ 290872 h 380318"/>
                <a:gd name="connsiteX122" fmla="*/ 1302869 w 1306181"/>
                <a:gd name="connsiteY122" fmla="*/ 280845 h 380318"/>
                <a:gd name="connsiteX123" fmla="*/ 476299 w 1306181"/>
                <a:gd name="connsiteY123" fmla="*/ 171149 h 380318"/>
                <a:gd name="connsiteX124" fmla="*/ 433721 w 1306181"/>
                <a:gd name="connsiteY124" fmla="*/ 157044 h 380318"/>
                <a:gd name="connsiteX125" fmla="*/ 476299 w 1306181"/>
                <a:gd name="connsiteY125" fmla="*/ 171082 h 380318"/>
                <a:gd name="connsiteX126" fmla="*/ 1008431 w 1306181"/>
                <a:gd name="connsiteY126" fmla="*/ 281045 h 380318"/>
                <a:gd name="connsiteX127" fmla="*/ 899245 w 1306181"/>
                <a:gd name="connsiteY127" fmla="*/ 262161 h 380318"/>
                <a:gd name="connsiteX128" fmla="*/ 881385 w 1306181"/>
                <a:gd name="connsiteY128" fmla="*/ 272957 h 380318"/>
                <a:gd name="connsiteX129" fmla="*/ 875459 w 1306181"/>
                <a:gd name="connsiteY129" fmla="*/ 279241 h 380318"/>
                <a:gd name="connsiteX130" fmla="*/ 871847 w 1306181"/>
                <a:gd name="connsiteY130" fmla="*/ 257415 h 380318"/>
                <a:gd name="connsiteX131" fmla="*/ 984159 w 1306181"/>
                <a:gd name="connsiteY131" fmla="*/ 270016 h 380318"/>
                <a:gd name="connsiteX132" fmla="*/ 1041593 w 1306181"/>
                <a:gd name="connsiteY132" fmla="*/ 280611 h 380318"/>
                <a:gd name="connsiteX133" fmla="*/ 1042121 w 1306181"/>
                <a:gd name="connsiteY133" fmla="*/ 283953 h 380318"/>
                <a:gd name="connsiteX134" fmla="*/ 1008431 w 1306181"/>
                <a:gd name="connsiteY134" fmla="*/ 280979 h 38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306181" h="380318">
                  <a:moveTo>
                    <a:pt x="1302626" y="281447"/>
                  </a:moveTo>
                  <a:cubicBezTo>
                    <a:pt x="1303031" y="278104"/>
                    <a:pt x="1253350" y="276433"/>
                    <a:pt x="1252944" y="259454"/>
                  </a:cubicBezTo>
                  <a:cubicBezTo>
                    <a:pt x="1252944" y="254674"/>
                    <a:pt x="1237683" y="250864"/>
                    <a:pt x="1233866" y="245449"/>
                  </a:cubicBezTo>
                  <a:cubicBezTo>
                    <a:pt x="1229077" y="238598"/>
                    <a:pt x="1225748" y="229206"/>
                    <a:pt x="1210690" y="225395"/>
                  </a:cubicBezTo>
                  <a:cubicBezTo>
                    <a:pt x="1198513" y="222454"/>
                    <a:pt x="1186336" y="225395"/>
                    <a:pt x="1174159" y="221886"/>
                  </a:cubicBezTo>
                  <a:cubicBezTo>
                    <a:pt x="1160115" y="217741"/>
                    <a:pt x="1147613" y="212126"/>
                    <a:pt x="1140389" y="204238"/>
                  </a:cubicBezTo>
                  <a:cubicBezTo>
                    <a:pt x="1123787" y="186189"/>
                    <a:pt x="1110961" y="215435"/>
                    <a:pt x="1099799" y="194746"/>
                  </a:cubicBezTo>
                  <a:cubicBezTo>
                    <a:pt x="1091519" y="177860"/>
                    <a:pt x="1081777" y="161486"/>
                    <a:pt x="1070656" y="145747"/>
                  </a:cubicBezTo>
                  <a:cubicBezTo>
                    <a:pt x="1064405" y="136659"/>
                    <a:pt x="1056530" y="128400"/>
                    <a:pt x="1047276" y="121247"/>
                  </a:cubicBezTo>
                  <a:cubicBezTo>
                    <a:pt x="1040700" y="116401"/>
                    <a:pt x="1018863" y="108747"/>
                    <a:pt x="1027793" y="103266"/>
                  </a:cubicBezTo>
                  <a:cubicBezTo>
                    <a:pt x="1034693" y="99154"/>
                    <a:pt x="1034490" y="97283"/>
                    <a:pt x="1018660" y="95411"/>
                  </a:cubicBezTo>
                  <a:cubicBezTo>
                    <a:pt x="1005266" y="93840"/>
                    <a:pt x="987122" y="96079"/>
                    <a:pt x="974011" y="96447"/>
                  </a:cubicBezTo>
                  <a:cubicBezTo>
                    <a:pt x="961672" y="96781"/>
                    <a:pt x="949333" y="96153"/>
                    <a:pt x="937156" y="94575"/>
                  </a:cubicBezTo>
                  <a:cubicBezTo>
                    <a:pt x="936750" y="94575"/>
                    <a:pt x="902533" y="94575"/>
                    <a:pt x="917064" y="89328"/>
                  </a:cubicBezTo>
                  <a:cubicBezTo>
                    <a:pt x="918606" y="88760"/>
                    <a:pt x="941215" y="84715"/>
                    <a:pt x="927130" y="82643"/>
                  </a:cubicBezTo>
                  <a:cubicBezTo>
                    <a:pt x="918038" y="81406"/>
                    <a:pt x="909473" y="74722"/>
                    <a:pt x="902411" y="74555"/>
                  </a:cubicBezTo>
                  <a:cubicBezTo>
                    <a:pt x="897987" y="74555"/>
                    <a:pt x="899164" y="79568"/>
                    <a:pt x="892791" y="75190"/>
                  </a:cubicBezTo>
                  <a:cubicBezTo>
                    <a:pt x="888407" y="72181"/>
                    <a:pt x="893075" y="68906"/>
                    <a:pt x="886215" y="66065"/>
                  </a:cubicBezTo>
                  <a:cubicBezTo>
                    <a:pt x="878097" y="62723"/>
                    <a:pt x="858290" y="70444"/>
                    <a:pt x="849685" y="61920"/>
                  </a:cubicBezTo>
                  <a:cubicBezTo>
                    <a:pt x="846397" y="58578"/>
                    <a:pt x="854271" y="57943"/>
                    <a:pt x="855530" y="55737"/>
                  </a:cubicBezTo>
                  <a:cubicBezTo>
                    <a:pt x="857762" y="51760"/>
                    <a:pt x="850537" y="46780"/>
                    <a:pt x="853460" y="42802"/>
                  </a:cubicBezTo>
                  <a:cubicBezTo>
                    <a:pt x="859020" y="35282"/>
                    <a:pt x="833165" y="32207"/>
                    <a:pt x="826386" y="30569"/>
                  </a:cubicBezTo>
                  <a:cubicBezTo>
                    <a:pt x="812504" y="27227"/>
                    <a:pt x="804995" y="22113"/>
                    <a:pt x="790059" y="20375"/>
                  </a:cubicBezTo>
                  <a:cubicBezTo>
                    <a:pt x="777435" y="18904"/>
                    <a:pt x="773051" y="21344"/>
                    <a:pt x="763026" y="21879"/>
                  </a:cubicBezTo>
                  <a:cubicBezTo>
                    <a:pt x="744963" y="22815"/>
                    <a:pt x="720812" y="19874"/>
                    <a:pt x="701695" y="17968"/>
                  </a:cubicBezTo>
                  <a:cubicBezTo>
                    <a:pt x="688787" y="16665"/>
                    <a:pt x="674337" y="13924"/>
                    <a:pt x="661714" y="13991"/>
                  </a:cubicBezTo>
                  <a:cubicBezTo>
                    <a:pt x="641825" y="13991"/>
                    <a:pt x="625183" y="10649"/>
                    <a:pt x="605294" y="8810"/>
                  </a:cubicBezTo>
                  <a:cubicBezTo>
                    <a:pt x="590113" y="7507"/>
                    <a:pt x="578180" y="10582"/>
                    <a:pt x="562756" y="7340"/>
                  </a:cubicBezTo>
                  <a:cubicBezTo>
                    <a:pt x="549118" y="4465"/>
                    <a:pt x="535317" y="2393"/>
                    <a:pt x="521517" y="87"/>
                  </a:cubicBezTo>
                  <a:cubicBezTo>
                    <a:pt x="508812" y="-2052"/>
                    <a:pt x="511045" y="9913"/>
                    <a:pt x="514170" y="14024"/>
                  </a:cubicBezTo>
                  <a:cubicBezTo>
                    <a:pt x="518229" y="19305"/>
                    <a:pt x="539538" y="21879"/>
                    <a:pt x="541162" y="26625"/>
                  </a:cubicBezTo>
                  <a:cubicBezTo>
                    <a:pt x="541811" y="28497"/>
                    <a:pt x="500572" y="21177"/>
                    <a:pt x="496879" y="25388"/>
                  </a:cubicBezTo>
                  <a:cubicBezTo>
                    <a:pt x="493185" y="29600"/>
                    <a:pt x="500938" y="35683"/>
                    <a:pt x="492251" y="37856"/>
                  </a:cubicBezTo>
                  <a:cubicBezTo>
                    <a:pt x="486609" y="39259"/>
                    <a:pt x="468547" y="37856"/>
                    <a:pt x="470049" y="42669"/>
                  </a:cubicBezTo>
                  <a:cubicBezTo>
                    <a:pt x="473377" y="53598"/>
                    <a:pt x="507797" y="52963"/>
                    <a:pt x="508812" y="64761"/>
                  </a:cubicBezTo>
                  <a:cubicBezTo>
                    <a:pt x="509299" y="70678"/>
                    <a:pt x="507675" y="75658"/>
                    <a:pt x="494524" y="74454"/>
                  </a:cubicBezTo>
                  <a:cubicBezTo>
                    <a:pt x="479668" y="73117"/>
                    <a:pt x="475609" y="67368"/>
                    <a:pt x="463392" y="63859"/>
                  </a:cubicBezTo>
                  <a:cubicBezTo>
                    <a:pt x="457506" y="62188"/>
                    <a:pt x="455274" y="67569"/>
                    <a:pt x="452879" y="69006"/>
                  </a:cubicBezTo>
                  <a:cubicBezTo>
                    <a:pt x="446344" y="73017"/>
                    <a:pt x="441758" y="63224"/>
                    <a:pt x="435304" y="62121"/>
                  </a:cubicBezTo>
                  <a:cubicBezTo>
                    <a:pt x="416551" y="58779"/>
                    <a:pt x="405633" y="40362"/>
                    <a:pt x="383511" y="47248"/>
                  </a:cubicBezTo>
                  <a:cubicBezTo>
                    <a:pt x="370279" y="51325"/>
                    <a:pt x="345722" y="31572"/>
                    <a:pt x="331963" y="43471"/>
                  </a:cubicBezTo>
                  <a:cubicBezTo>
                    <a:pt x="326321" y="48350"/>
                    <a:pt x="308015" y="43471"/>
                    <a:pt x="301317" y="40128"/>
                  </a:cubicBezTo>
                  <a:cubicBezTo>
                    <a:pt x="297299" y="37835"/>
                    <a:pt x="292955" y="35990"/>
                    <a:pt x="288369" y="34647"/>
                  </a:cubicBezTo>
                  <a:cubicBezTo>
                    <a:pt x="280778" y="33009"/>
                    <a:pt x="284878" y="38591"/>
                    <a:pt x="280698" y="39259"/>
                  </a:cubicBezTo>
                  <a:cubicBezTo>
                    <a:pt x="285568" y="38457"/>
                    <a:pt x="243477" y="15027"/>
                    <a:pt x="234831" y="12888"/>
                  </a:cubicBezTo>
                  <a:cubicBezTo>
                    <a:pt x="224278" y="10281"/>
                    <a:pt x="218798" y="8877"/>
                    <a:pt x="211654" y="4398"/>
                  </a:cubicBezTo>
                  <a:cubicBezTo>
                    <a:pt x="198097" y="-4124"/>
                    <a:pt x="190994" y="7005"/>
                    <a:pt x="181374" y="4064"/>
                  </a:cubicBezTo>
                  <a:cubicBezTo>
                    <a:pt x="166924" y="-314"/>
                    <a:pt x="163353" y="-1284"/>
                    <a:pt x="147239" y="521"/>
                  </a:cubicBezTo>
                  <a:cubicBezTo>
                    <a:pt x="135954" y="1791"/>
                    <a:pt x="123372" y="5669"/>
                    <a:pt x="110708" y="3864"/>
                  </a:cubicBezTo>
                  <a:cubicBezTo>
                    <a:pt x="104903" y="3095"/>
                    <a:pt x="103645" y="5535"/>
                    <a:pt x="101250" y="7406"/>
                  </a:cubicBezTo>
                  <a:cubicBezTo>
                    <a:pt x="97191" y="10749"/>
                    <a:pt x="90128" y="8777"/>
                    <a:pt x="84324" y="10448"/>
                  </a:cubicBezTo>
                  <a:cubicBezTo>
                    <a:pt x="72147" y="13790"/>
                    <a:pt x="93985" y="26592"/>
                    <a:pt x="76206" y="27628"/>
                  </a:cubicBezTo>
                  <a:cubicBezTo>
                    <a:pt x="64030" y="28397"/>
                    <a:pt x="59321" y="16765"/>
                    <a:pt x="52340" y="13055"/>
                  </a:cubicBezTo>
                  <a:cubicBezTo>
                    <a:pt x="36104" y="4465"/>
                    <a:pt x="34074" y="19005"/>
                    <a:pt x="24901" y="21043"/>
                  </a:cubicBezTo>
                  <a:cubicBezTo>
                    <a:pt x="10532" y="24386"/>
                    <a:pt x="9193" y="26826"/>
                    <a:pt x="20314" y="33009"/>
                  </a:cubicBezTo>
                  <a:cubicBezTo>
                    <a:pt x="23642" y="34847"/>
                    <a:pt x="3835" y="40563"/>
                    <a:pt x="1318" y="43404"/>
                  </a:cubicBezTo>
                  <a:cubicBezTo>
                    <a:pt x="-3999" y="49386"/>
                    <a:pt x="7285" y="49453"/>
                    <a:pt x="14591" y="52829"/>
                  </a:cubicBezTo>
                  <a:cubicBezTo>
                    <a:pt x="21897" y="56205"/>
                    <a:pt x="8949" y="67101"/>
                    <a:pt x="21572" y="66533"/>
                  </a:cubicBezTo>
                  <a:cubicBezTo>
                    <a:pt x="39960" y="65697"/>
                    <a:pt x="48281" y="69508"/>
                    <a:pt x="56723" y="78031"/>
                  </a:cubicBezTo>
                  <a:cubicBezTo>
                    <a:pt x="60782" y="82175"/>
                    <a:pt x="68900" y="86888"/>
                    <a:pt x="70726" y="91400"/>
                  </a:cubicBezTo>
                  <a:cubicBezTo>
                    <a:pt x="72553" y="95912"/>
                    <a:pt x="55790" y="92603"/>
                    <a:pt x="59037" y="96748"/>
                  </a:cubicBezTo>
                  <a:cubicBezTo>
                    <a:pt x="61797" y="100090"/>
                    <a:pt x="70159" y="102330"/>
                    <a:pt x="75272" y="104769"/>
                  </a:cubicBezTo>
                  <a:cubicBezTo>
                    <a:pt x="83390" y="108647"/>
                    <a:pt x="84690" y="105973"/>
                    <a:pt x="92726" y="104134"/>
                  </a:cubicBezTo>
                  <a:cubicBezTo>
                    <a:pt x="108353" y="100471"/>
                    <a:pt x="124711" y="99335"/>
                    <a:pt x="140866" y="100792"/>
                  </a:cubicBezTo>
                  <a:cubicBezTo>
                    <a:pt x="156412" y="102330"/>
                    <a:pt x="173337" y="106708"/>
                    <a:pt x="188884" y="109348"/>
                  </a:cubicBezTo>
                  <a:cubicBezTo>
                    <a:pt x="209544" y="112891"/>
                    <a:pt x="208407" y="122985"/>
                    <a:pt x="205120" y="131408"/>
                  </a:cubicBezTo>
                  <a:cubicBezTo>
                    <a:pt x="202887" y="136856"/>
                    <a:pt x="207068" y="144778"/>
                    <a:pt x="193267" y="144243"/>
                  </a:cubicBezTo>
                  <a:cubicBezTo>
                    <a:pt x="179467" y="143708"/>
                    <a:pt x="165463" y="139329"/>
                    <a:pt x="150972" y="138895"/>
                  </a:cubicBezTo>
                  <a:cubicBezTo>
                    <a:pt x="141880" y="138628"/>
                    <a:pt x="126984" y="138226"/>
                    <a:pt x="130921" y="144945"/>
                  </a:cubicBezTo>
                  <a:cubicBezTo>
                    <a:pt x="133884" y="149992"/>
                    <a:pt x="137212" y="158080"/>
                    <a:pt x="122803" y="151629"/>
                  </a:cubicBezTo>
                  <a:cubicBezTo>
                    <a:pt x="117567" y="149223"/>
                    <a:pt x="99708" y="145981"/>
                    <a:pt x="101453" y="152599"/>
                  </a:cubicBezTo>
                  <a:cubicBezTo>
                    <a:pt x="102346" y="155941"/>
                    <a:pt x="123128" y="160620"/>
                    <a:pt x="126944" y="165968"/>
                  </a:cubicBezTo>
                  <a:cubicBezTo>
                    <a:pt x="130231" y="170681"/>
                    <a:pt x="122519" y="178769"/>
                    <a:pt x="131530" y="182680"/>
                  </a:cubicBezTo>
                  <a:cubicBezTo>
                    <a:pt x="135589" y="184418"/>
                    <a:pt x="138958" y="182847"/>
                    <a:pt x="142367" y="185621"/>
                  </a:cubicBezTo>
                  <a:cubicBezTo>
                    <a:pt x="146426" y="188963"/>
                    <a:pt x="148537" y="192707"/>
                    <a:pt x="156574" y="193542"/>
                  </a:cubicBezTo>
                  <a:cubicBezTo>
                    <a:pt x="177559" y="195782"/>
                    <a:pt x="173135" y="199425"/>
                    <a:pt x="166965" y="206076"/>
                  </a:cubicBezTo>
                  <a:cubicBezTo>
                    <a:pt x="162540" y="210856"/>
                    <a:pt x="165423" y="218543"/>
                    <a:pt x="170131" y="223757"/>
                  </a:cubicBezTo>
                  <a:cubicBezTo>
                    <a:pt x="177194" y="231545"/>
                    <a:pt x="179304" y="217073"/>
                    <a:pt x="182064" y="215235"/>
                  </a:cubicBezTo>
                  <a:cubicBezTo>
                    <a:pt x="178005" y="207647"/>
                    <a:pt x="195337" y="208550"/>
                    <a:pt x="204307" y="209352"/>
                  </a:cubicBezTo>
                  <a:cubicBezTo>
                    <a:pt x="214171" y="209823"/>
                    <a:pt x="223669" y="212517"/>
                    <a:pt x="231787" y="217139"/>
                  </a:cubicBezTo>
                  <a:cubicBezTo>
                    <a:pt x="241203" y="222688"/>
                    <a:pt x="250702" y="236659"/>
                    <a:pt x="263488" y="239132"/>
                  </a:cubicBezTo>
                  <a:cubicBezTo>
                    <a:pt x="278424" y="242007"/>
                    <a:pt x="275665" y="230877"/>
                    <a:pt x="277328" y="225763"/>
                  </a:cubicBezTo>
                  <a:lnTo>
                    <a:pt x="294498" y="166135"/>
                  </a:lnTo>
                  <a:cubicBezTo>
                    <a:pt x="295959" y="161021"/>
                    <a:pt x="370929" y="170280"/>
                    <a:pt x="381401" y="165032"/>
                  </a:cubicBezTo>
                  <a:cubicBezTo>
                    <a:pt x="391873" y="159785"/>
                    <a:pt x="402101" y="165333"/>
                    <a:pt x="410504" y="170480"/>
                  </a:cubicBezTo>
                  <a:cubicBezTo>
                    <a:pt x="411031" y="170814"/>
                    <a:pt x="419474" y="163495"/>
                    <a:pt x="425725" y="164865"/>
                  </a:cubicBezTo>
                  <a:cubicBezTo>
                    <a:pt x="436603" y="167272"/>
                    <a:pt x="422315" y="174591"/>
                    <a:pt x="430758" y="176029"/>
                  </a:cubicBezTo>
                  <a:cubicBezTo>
                    <a:pt x="442610" y="178101"/>
                    <a:pt x="445046" y="193108"/>
                    <a:pt x="443868" y="197353"/>
                  </a:cubicBezTo>
                  <a:cubicBezTo>
                    <a:pt x="442691" y="201598"/>
                    <a:pt x="467898" y="228671"/>
                    <a:pt x="477679" y="230776"/>
                  </a:cubicBezTo>
                  <a:cubicBezTo>
                    <a:pt x="487462" y="232882"/>
                    <a:pt x="498421" y="232648"/>
                    <a:pt x="508447" y="233684"/>
                  </a:cubicBezTo>
                  <a:cubicBezTo>
                    <a:pt x="517336" y="234620"/>
                    <a:pt x="527118" y="238029"/>
                    <a:pt x="535885" y="239834"/>
                  </a:cubicBezTo>
                  <a:cubicBezTo>
                    <a:pt x="547737" y="242308"/>
                    <a:pt x="559590" y="244614"/>
                    <a:pt x="571482" y="246920"/>
                  </a:cubicBezTo>
                  <a:cubicBezTo>
                    <a:pt x="584715" y="249460"/>
                    <a:pt x="586338" y="254340"/>
                    <a:pt x="594862" y="260289"/>
                  </a:cubicBezTo>
                  <a:cubicBezTo>
                    <a:pt x="607283" y="268812"/>
                    <a:pt x="603630" y="270317"/>
                    <a:pt x="602980" y="280076"/>
                  </a:cubicBezTo>
                  <a:cubicBezTo>
                    <a:pt x="602655" y="284388"/>
                    <a:pt x="614061" y="303038"/>
                    <a:pt x="621570" y="305244"/>
                  </a:cubicBezTo>
                  <a:cubicBezTo>
                    <a:pt x="634843" y="309121"/>
                    <a:pt x="647994" y="310659"/>
                    <a:pt x="659197" y="317344"/>
                  </a:cubicBezTo>
                  <a:cubicBezTo>
                    <a:pt x="665610" y="321187"/>
                    <a:pt x="665123" y="331348"/>
                    <a:pt x="677463" y="325933"/>
                  </a:cubicBezTo>
                  <a:cubicBezTo>
                    <a:pt x="687326" y="321588"/>
                    <a:pt x="691831" y="318614"/>
                    <a:pt x="706728" y="317878"/>
                  </a:cubicBezTo>
                  <a:cubicBezTo>
                    <a:pt x="714440" y="317166"/>
                    <a:pt x="722273" y="317551"/>
                    <a:pt x="729823" y="319015"/>
                  </a:cubicBezTo>
                  <a:cubicBezTo>
                    <a:pt x="741229" y="321856"/>
                    <a:pt x="736602" y="313466"/>
                    <a:pt x="746627" y="313333"/>
                  </a:cubicBezTo>
                  <a:cubicBezTo>
                    <a:pt x="760468" y="313166"/>
                    <a:pt x="762092" y="307818"/>
                    <a:pt x="771509" y="304977"/>
                  </a:cubicBezTo>
                  <a:cubicBezTo>
                    <a:pt x="780276" y="302336"/>
                    <a:pt x="798055" y="308754"/>
                    <a:pt x="806091" y="312196"/>
                  </a:cubicBezTo>
                  <a:cubicBezTo>
                    <a:pt x="813154" y="315171"/>
                    <a:pt x="830730" y="326702"/>
                    <a:pt x="838563" y="321388"/>
                  </a:cubicBezTo>
                  <a:cubicBezTo>
                    <a:pt x="846397" y="316073"/>
                    <a:pt x="850984" y="313099"/>
                    <a:pt x="867504" y="316775"/>
                  </a:cubicBezTo>
                  <a:cubicBezTo>
                    <a:pt x="883090" y="320118"/>
                    <a:pt x="892750" y="330780"/>
                    <a:pt x="909027" y="334456"/>
                  </a:cubicBezTo>
                  <a:cubicBezTo>
                    <a:pt x="925303" y="338133"/>
                    <a:pt x="940768" y="340239"/>
                    <a:pt x="957045" y="344918"/>
                  </a:cubicBezTo>
                  <a:cubicBezTo>
                    <a:pt x="972225" y="349263"/>
                    <a:pt x="989030" y="356850"/>
                    <a:pt x="1004616" y="359758"/>
                  </a:cubicBezTo>
                  <a:cubicBezTo>
                    <a:pt x="1011394" y="360584"/>
                    <a:pt x="1017442" y="363635"/>
                    <a:pt x="1021420" y="368214"/>
                  </a:cubicBezTo>
                  <a:cubicBezTo>
                    <a:pt x="1027305" y="374899"/>
                    <a:pt x="1038265" y="374264"/>
                    <a:pt x="1045408" y="379979"/>
                  </a:cubicBezTo>
                  <a:cubicBezTo>
                    <a:pt x="1047682" y="373295"/>
                    <a:pt x="1048128" y="370353"/>
                    <a:pt x="1059453" y="367780"/>
                  </a:cubicBezTo>
                  <a:cubicBezTo>
                    <a:pt x="1069235" y="365540"/>
                    <a:pt x="1070128" y="363201"/>
                    <a:pt x="1067205" y="356549"/>
                  </a:cubicBezTo>
                  <a:cubicBezTo>
                    <a:pt x="1065095" y="351669"/>
                    <a:pt x="1057992" y="326468"/>
                    <a:pt x="1062213" y="325599"/>
                  </a:cubicBezTo>
                  <a:cubicBezTo>
                    <a:pt x="1070736" y="324095"/>
                    <a:pt x="1078692" y="326234"/>
                    <a:pt x="1087825" y="327270"/>
                  </a:cubicBezTo>
                  <a:cubicBezTo>
                    <a:pt x="1094604" y="327521"/>
                    <a:pt x="1101382" y="328089"/>
                    <a:pt x="1108119" y="328975"/>
                  </a:cubicBezTo>
                  <a:cubicBezTo>
                    <a:pt x="1113559" y="330178"/>
                    <a:pt x="1118551" y="334857"/>
                    <a:pt x="1124355" y="336729"/>
                  </a:cubicBezTo>
                  <a:cubicBezTo>
                    <a:pt x="1135639" y="340473"/>
                    <a:pt x="1145178" y="339637"/>
                    <a:pt x="1135964" y="331582"/>
                  </a:cubicBezTo>
                  <a:cubicBezTo>
                    <a:pt x="1132473" y="328574"/>
                    <a:pt x="1143839" y="322223"/>
                    <a:pt x="1145990" y="320719"/>
                  </a:cubicBezTo>
                  <a:cubicBezTo>
                    <a:pt x="1151145" y="317009"/>
                    <a:pt x="1168192" y="299328"/>
                    <a:pt x="1178462" y="305578"/>
                  </a:cubicBezTo>
                  <a:cubicBezTo>
                    <a:pt x="1192871" y="314436"/>
                    <a:pt x="1226439" y="325198"/>
                    <a:pt x="1244461" y="322992"/>
                  </a:cubicBezTo>
                  <a:cubicBezTo>
                    <a:pt x="1260453" y="321054"/>
                    <a:pt x="1237601" y="296253"/>
                    <a:pt x="1269423" y="300231"/>
                  </a:cubicBezTo>
                  <a:cubicBezTo>
                    <a:pt x="1281113" y="301735"/>
                    <a:pt x="1288825" y="303172"/>
                    <a:pt x="1291707" y="296019"/>
                  </a:cubicBezTo>
                  <a:cubicBezTo>
                    <a:pt x="1292925" y="293111"/>
                    <a:pt x="1299135" y="292343"/>
                    <a:pt x="1302869" y="290872"/>
                  </a:cubicBezTo>
                  <a:cubicBezTo>
                    <a:pt x="1310541" y="287864"/>
                    <a:pt x="1302139" y="285558"/>
                    <a:pt x="1302869" y="280845"/>
                  </a:cubicBezTo>
                  <a:close/>
                  <a:moveTo>
                    <a:pt x="476299" y="171149"/>
                  </a:moveTo>
                  <a:cubicBezTo>
                    <a:pt x="471794" y="173154"/>
                    <a:pt x="435710" y="161556"/>
                    <a:pt x="433721" y="157044"/>
                  </a:cubicBezTo>
                  <a:cubicBezTo>
                    <a:pt x="431732" y="152532"/>
                    <a:pt x="486000" y="166703"/>
                    <a:pt x="476299" y="171082"/>
                  </a:cubicBezTo>
                  <a:close/>
                  <a:moveTo>
                    <a:pt x="1008431" y="281045"/>
                  </a:moveTo>
                  <a:cubicBezTo>
                    <a:pt x="976284" y="273224"/>
                    <a:pt x="929606" y="253638"/>
                    <a:pt x="899245" y="262161"/>
                  </a:cubicBezTo>
                  <a:cubicBezTo>
                    <a:pt x="891127" y="264434"/>
                    <a:pt x="883861" y="267776"/>
                    <a:pt x="881385" y="272957"/>
                  </a:cubicBezTo>
                  <a:cubicBezTo>
                    <a:pt x="880411" y="275029"/>
                    <a:pt x="881629" y="280043"/>
                    <a:pt x="875459" y="279241"/>
                  </a:cubicBezTo>
                  <a:cubicBezTo>
                    <a:pt x="862105" y="277569"/>
                    <a:pt x="869533" y="260323"/>
                    <a:pt x="871847" y="257415"/>
                  </a:cubicBezTo>
                  <a:cubicBezTo>
                    <a:pt x="888082" y="236559"/>
                    <a:pt x="955502" y="263231"/>
                    <a:pt x="984159" y="270016"/>
                  </a:cubicBezTo>
                  <a:cubicBezTo>
                    <a:pt x="1003155" y="274428"/>
                    <a:pt x="1022759" y="276065"/>
                    <a:pt x="1041593" y="280611"/>
                  </a:cubicBezTo>
                  <a:cubicBezTo>
                    <a:pt x="1045977" y="281680"/>
                    <a:pt x="1045652" y="283251"/>
                    <a:pt x="1042121" y="283953"/>
                  </a:cubicBezTo>
                  <a:cubicBezTo>
                    <a:pt x="1032704" y="285858"/>
                    <a:pt x="1018863" y="283485"/>
                    <a:pt x="1008431" y="28097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8D319793-CDE8-4B82-AC81-4C59ABD252D3}"/>
                </a:ext>
              </a:extLst>
            </p:cNvPr>
            <p:cNvSpPr/>
            <p:nvPr/>
          </p:nvSpPr>
          <p:spPr>
            <a:xfrm>
              <a:off x="6402260" y="3092638"/>
              <a:ext cx="5495992" cy="2374809"/>
            </a:xfrm>
            <a:custGeom>
              <a:avLst/>
              <a:gdLst>
                <a:gd name="connsiteX0" fmla="*/ 86305 w 5495992"/>
                <a:gd name="connsiteY0" fmla="*/ 704436 h 2374809"/>
                <a:gd name="connsiteX1" fmla="*/ 70434 w 5495992"/>
                <a:gd name="connsiteY1" fmla="*/ 701930 h 2374809"/>
                <a:gd name="connsiteX2" fmla="*/ 46080 w 5495992"/>
                <a:gd name="connsiteY2" fmla="*/ 698253 h 2374809"/>
                <a:gd name="connsiteX3" fmla="*/ 40722 w 5495992"/>
                <a:gd name="connsiteY3" fmla="*/ 706342 h 2374809"/>
                <a:gd name="connsiteX4" fmla="*/ 32199 w 5495992"/>
                <a:gd name="connsiteY4" fmla="*/ 713327 h 2374809"/>
                <a:gd name="connsiteX5" fmla="*/ 14826 w 5495992"/>
                <a:gd name="connsiteY5" fmla="*/ 706308 h 2374809"/>
                <a:gd name="connsiteX6" fmla="*/ 8697 w 5495992"/>
                <a:gd name="connsiteY6" fmla="*/ 715567 h 2374809"/>
                <a:gd name="connsiteX7" fmla="*/ 78025 w 5495992"/>
                <a:gd name="connsiteY7" fmla="*/ 721883 h 2374809"/>
                <a:gd name="connsiteX8" fmla="*/ 103068 w 5495992"/>
                <a:gd name="connsiteY8" fmla="*/ 716536 h 2374809"/>
                <a:gd name="connsiteX9" fmla="*/ 86224 w 5495992"/>
                <a:gd name="connsiteY9" fmla="*/ 704436 h 2374809"/>
                <a:gd name="connsiteX10" fmla="*/ 1722803 w 5495992"/>
                <a:gd name="connsiteY10" fmla="*/ 109497 h 2374809"/>
                <a:gd name="connsiteX11" fmla="*/ 1754504 w 5495992"/>
                <a:gd name="connsiteY11" fmla="*/ 102478 h 2374809"/>
                <a:gd name="connsiteX12" fmla="*/ 1707866 w 5495992"/>
                <a:gd name="connsiteY12" fmla="*/ 97330 h 2374809"/>
                <a:gd name="connsiteX13" fmla="*/ 1661512 w 5495992"/>
                <a:gd name="connsiteY13" fmla="*/ 95058 h 2374809"/>
                <a:gd name="connsiteX14" fmla="*/ 1722803 w 5495992"/>
                <a:gd name="connsiteY14" fmla="*/ 109497 h 2374809"/>
                <a:gd name="connsiteX15" fmla="*/ 1722843 w 5495992"/>
                <a:gd name="connsiteY15" fmla="*/ 109563 h 2374809"/>
                <a:gd name="connsiteX16" fmla="*/ 1846642 w 5495992"/>
                <a:gd name="connsiteY16" fmla="*/ 423177 h 2374809"/>
                <a:gd name="connsiteX17" fmla="*/ 1895350 w 5495992"/>
                <a:gd name="connsiteY17" fmla="*/ 422141 h 2374809"/>
                <a:gd name="connsiteX18" fmla="*/ 1847981 w 5495992"/>
                <a:gd name="connsiteY18" fmla="*/ 412882 h 2374809"/>
                <a:gd name="connsiteX19" fmla="*/ 1846520 w 5495992"/>
                <a:gd name="connsiteY19" fmla="*/ 423177 h 2374809"/>
                <a:gd name="connsiteX20" fmla="*/ 2713233 w 5495992"/>
                <a:gd name="connsiteY20" fmla="*/ 374412 h 2374809"/>
                <a:gd name="connsiteX21" fmla="*/ 2702071 w 5495992"/>
                <a:gd name="connsiteY21" fmla="*/ 378055 h 2374809"/>
                <a:gd name="connsiteX22" fmla="*/ 2674348 w 5495992"/>
                <a:gd name="connsiteY22" fmla="*/ 376317 h 2374809"/>
                <a:gd name="connsiteX23" fmla="*/ 2701746 w 5495992"/>
                <a:gd name="connsiteY23" fmla="*/ 395101 h 2374809"/>
                <a:gd name="connsiteX24" fmla="*/ 2748790 w 5495992"/>
                <a:gd name="connsiteY24" fmla="*/ 396338 h 2374809"/>
                <a:gd name="connsiteX25" fmla="*/ 2818279 w 5495992"/>
                <a:gd name="connsiteY25" fmla="*/ 405964 h 2374809"/>
                <a:gd name="connsiteX26" fmla="*/ 2852457 w 5495992"/>
                <a:gd name="connsiteY26" fmla="*/ 413183 h 2374809"/>
                <a:gd name="connsiteX27" fmla="*/ 2858423 w 5495992"/>
                <a:gd name="connsiteY27" fmla="*/ 403156 h 2374809"/>
                <a:gd name="connsiteX28" fmla="*/ 2882047 w 5495992"/>
                <a:gd name="connsiteY28" fmla="*/ 404727 h 2374809"/>
                <a:gd name="connsiteX29" fmla="*/ 2844176 w 5495992"/>
                <a:gd name="connsiteY29" fmla="*/ 384071 h 2374809"/>
                <a:gd name="connsiteX30" fmla="*/ 2816494 w 5495992"/>
                <a:gd name="connsiteY30" fmla="*/ 362480 h 2374809"/>
                <a:gd name="connsiteX31" fmla="*/ 2737628 w 5495992"/>
                <a:gd name="connsiteY31" fmla="*/ 356965 h 2374809"/>
                <a:gd name="connsiteX32" fmla="*/ 2716967 w 5495992"/>
                <a:gd name="connsiteY32" fmla="*/ 363148 h 2374809"/>
                <a:gd name="connsiteX33" fmla="*/ 2713233 w 5495992"/>
                <a:gd name="connsiteY33" fmla="*/ 374378 h 2374809"/>
                <a:gd name="connsiteX34" fmla="*/ 2763078 w 5495992"/>
                <a:gd name="connsiteY34" fmla="*/ 404493 h 2374809"/>
                <a:gd name="connsiteX35" fmla="*/ 2736451 w 5495992"/>
                <a:gd name="connsiteY35" fmla="*/ 407835 h 2374809"/>
                <a:gd name="connsiteX36" fmla="*/ 2757314 w 5495992"/>
                <a:gd name="connsiteY36" fmla="*/ 422709 h 2374809"/>
                <a:gd name="connsiteX37" fmla="*/ 2775377 w 5495992"/>
                <a:gd name="connsiteY37" fmla="*/ 439722 h 2374809"/>
                <a:gd name="connsiteX38" fmla="*/ 2809147 w 5495992"/>
                <a:gd name="connsiteY38" fmla="*/ 452255 h 2374809"/>
                <a:gd name="connsiteX39" fmla="*/ 2897917 w 5495992"/>
                <a:gd name="connsiteY39" fmla="*/ 488553 h 2374809"/>
                <a:gd name="connsiteX40" fmla="*/ 2915208 w 5495992"/>
                <a:gd name="connsiteY40" fmla="*/ 483573 h 2374809"/>
                <a:gd name="connsiteX41" fmla="*/ 2909201 w 5495992"/>
                <a:gd name="connsiteY41" fmla="*/ 479362 h 2374809"/>
                <a:gd name="connsiteX42" fmla="*/ 2920079 w 5495992"/>
                <a:gd name="connsiteY42" fmla="*/ 472376 h 2374809"/>
                <a:gd name="connsiteX43" fmla="*/ 2917360 w 5495992"/>
                <a:gd name="connsiteY43" fmla="*/ 447008 h 2374809"/>
                <a:gd name="connsiteX44" fmla="*/ 2892153 w 5495992"/>
                <a:gd name="connsiteY44" fmla="*/ 439521 h 2374809"/>
                <a:gd name="connsiteX45" fmla="*/ 2873807 w 5495992"/>
                <a:gd name="connsiteY45" fmla="*/ 435878 h 2374809"/>
                <a:gd name="connsiteX46" fmla="*/ 2827412 w 5495992"/>
                <a:gd name="connsiteY46" fmla="*/ 413217 h 2374809"/>
                <a:gd name="connsiteX47" fmla="*/ 2763240 w 5495992"/>
                <a:gd name="connsiteY47" fmla="*/ 404460 h 2374809"/>
                <a:gd name="connsiteX48" fmla="*/ 2146113 w 5495992"/>
                <a:gd name="connsiteY48" fmla="*/ 499784 h 2374809"/>
                <a:gd name="connsiteX49" fmla="*/ 2174851 w 5495992"/>
                <a:gd name="connsiteY49" fmla="*/ 501087 h 2374809"/>
                <a:gd name="connsiteX50" fmla="*/ 2146439 w 5495992"/>
                <a:gd name="connsiteY50" fmla="*/ 499884 h 2374809"/>
                <a:gd name="connsiteX51" fmla="*/ 2700367 w 5495992"/>
                <a:gd name="connsiteY51" fmla="*/ 332666 h 2374809"/>
                <a:gd name="connsiteX52" fmla="*/ 2651375 w 5495992"/>
                <a:gd name="connsiteY52" fmla="*/ 321569 h 2374809"/>
                <a:gd name="connsiteX53" fmla="*/ 2700691 w 5495992"/>
                <a:gd name="connsiteY53" fmla="*/ 332766 h 2374809"/>
                <a:gd name="connsiteX54" fmla="*/ 5296001 w 5495992"/>
                <a:gd name="connsiteY54" fmla="*/ 2021426 h 2374809"/>
                <a:gd name="connsiteX55" fmla="*/ 5328473 w 5495992"/>
                <a:gd name="connsiteY55" fmla="*/ 2042550 h 2374809"/>
                <a:gd name="connsiteX56" fmla="*/ 5355789 w 5495992"/>
                <a:gd name="connsiteY56" fmla="*/ 2067216 h 2374809"/>
                <a:gd name="connsiteX57" fmla="*/ 5408961 w 5495992"/>
                <a:gd name="connsiteY57" fmla="*/ 2093354 h 2374809"/>
                <a:gd name="connsiteX58" fmla="*/ 5352380 w 5495992"/>
                <a:gd name="connsiteY58" fmla="*/ 2038272 h 2374809"/>
                <a:gd name="connsiteX59" fmla="*/ 5296123 w 5495992"/>
                <a:gd name="connsiteY59" fmla="*/ 2021560 h 2374809"/>
                <a:gd name="connsiteX60" fmla="*/ 2893858 w 5495992"/>
                <a:gd name="connsiteY60" fmla="*/ 521476 h 2374809"/>
                <a:gd name="connsiteX61" fmla="*/ 2934001 w 5495992"/>
                <a:gd name="connsiteY61" fmla="*/ 533508 h 2374809"/>
                <a:gd name="connsiteX62" fmla="*/ 2992207 w 5495992"/>
                <a:gd name="connsiteY62" fmla="*/ 548883 h 2374809"/>
                <a:gd name="connsiteX63" fmla="*/ 3082925 w 5495992"/>
                <a:gd name="connsiteY63" fmla="*/ 568937 h 2374809"/>
                <a:gd name="connsiteX64" fmla="*/ 3104357 w 5495992"/>
                <a:gd name="connsiteY64" fmla="*/ 557573 h 2374809"/>
                <a:gd name="connsiteX65" fmla="*/ 3067623 w 5495992"/>
                <a:gd name="connsiteY65" fmla="*/ 534177 h 2374809"/>
                <a:gd name="connsiteX66" fmla="*/ 3021878 w 5495992"/>
                <a:gd name="connsiteY66" fmla="*/ 529497 h 2374809"/>
                <a:gd name="connsiteX67" fmla="*/ 3034055 w 5495992"/>
                <a:gd name="connsiteY67" fmla="*/ 521743 h 2374809"/>
                <a:gd name="connsiteX68" fmla="*/ 3030930 w 5495992"/>
                <a:gd name="connsiteY68" fmla="*/ 506803 h 2374809"/>
                <a:gd name="connsiteX69" fmla="*/ 3013030 w 5495992"/>
                <a:gd name="connsiteY69" fmla="*/ 505366 h 2374809"/>
                <a:gd name="connsiteX70" fmla="*/ 2979786 w 5495992"/>
                <a:gd name="connsiteY70" fmla="*/ 497244 h 2374809"/>
                <a:gd name="connsiteX71" fmla="*/ 2959491 w 5495992"/>
                <a:gd name="connsiteY71" fmla="*/ 506736 h 2374809"/>
                <a:gd name="connsiteX72" fmla="*/ 2935625 w 5495992"/>
                <a:gd name="connsiteY72" fmla="*/ 503159 h 2374809"/>
                <a:gd name="connsiteX73" fmla="*/ 2908998 w 5495992"/>
                <a:gd name="connsiteY73" fmla="*/ 514724 h 2374809"/>
                <a:gd name="connsiteX74" fmla="*/ 2893695 w 5495992"/>
                <a:gd name="connsiteY74" fmla="*/ 521643 h 2374809"/>
                <a:gd name="connsiteX75" fmla="*/ 4121901 w 5495992"/>
                <a:gd name="connsiteY75" fmla="*/ 1134598 h 2374809"/>
                <a:gd name="connsiteX76" fmla="*/ 4162815 w 5495992"/>
                <a:gd name="connsiteY76" fmla="*/ 1168255 h 2374809"/>
                <a:gd name="connsiteX77" fmla="*/ 4201457 w 5495992"/>
                <a:gd name="connsiteY77" fmla="*/ 1186271 h 2374809"/>
                <a:gd name="connsiteX78" fmla="*/ 4252803 w 5495992"/>
                <a:gd name="connsiteY78" fmla="*/ 1208163 h 2374809"/>
                <a:gd name="connsiteX79" fmla="*/ 4288604 w 5495992"/>
                <a:gd name="connsiteY79" fmla="*/ 1218658 h 2374809"/>
                <a:gd name="connsiteX80" fmla="*/ 4298953 w 5495992"/>
                <a:gd name="connsiteY80" fmla="*/ 1206258 h 2374809"/>
                <a:gd name="connsiteX81" fmla="*/ 4300131 w 5495992"/>
                <a:gd name="connsiteY81" fmla="*/ 1223338 h 2374809"/>
                <a:gd name="connsiteX82" fmla="*/ 4347337 w 5495992"/>
                <a:gd name="connsiteY82" fmla="*/ 1255458 h 2374809"/>
                <a:gd name="connsiteX83" fmla="*/ 4366048 w 5495992"/>
                <a:gd name="connsiteY83" fmla="*/ 1249876 h 2374809"/>
                <a:gd name="connsiteX84" fmla="*/ 4361015 w 5495992"/>
                <a:gd name="connsiteY84" fmla="*/ 1227449 h 2374809"/>
                <a:gd name="connsiteX85" fmla="*/ 4302770 w 5495992"/>
                <a:gd name="connsiteY85" fmla="*/ 1190683 h 2374809"/>
                <a:gd name="connsiteX86" fmla="*/ 4256619 w 5495992"/>
                <a:gd name="connsiteY86" fmla="*/ 1170094 h 2374809"/>
                <a:gd name="connsiteX87" fmla="*/ 4234984 w 5495992"/>
                <a:gd name="connsiteY87" fmla="*/ 1162172 h 2374809"/>
                <a:gd name="connsiteX88" fmla="*/ 4171948 w 5495992"/>
                <a:gd name="connsiteY88" fmla="*/ 1118722 h 2374809"/>
                <a:gd name="connsiteX89" fmla="*/ 4121901 w 5495992"/>
                <a:gd name="connsiteY89" fmla="*/ 1134398 h 2374809"/>
                <a:gd name="connsiteX90" fmla="*/ 4277806 w 5495992"/>
                <a:gd name="connsiteY90" fmla="*/ 1290084 h 2374809"/>
                <a:gd name="connsiteX91" fmla="*/ 4263235 w 5495992"/>
                <a:gd name="connsiteY91" fmla="*/ 1260003 h 2374809"/>
                <a:gd name="connsiteX92" fmla="*/ 4192405 w 5495992"/>
                <a:gd name="connsiteY92" fmla="*/ 1232997 h 2374809"/>
                <a:gd name="connsiteX93" fmla="*/ 4277644 w 5495992"/>
                <a:gd name="connsiteY93" fmla="*/ 1289817 h 2374809"/>
                <a:gd name="connsiteX94" fmla="*/ 4224391 w 5495992"/>
                <a:gd name="connsiteY94" fmla="*/ 1222937 h 2374809"/>
                <a:gd name="connsiteX95" fmla="*/ 4190052 w 5495992"/>
                <a:gd name="connsiteY95" fmla="*/ 1212909 h 2374809"/>
                <a:gd name="connsiteX96" fmla="*/ 4224391 w 5495992"/>
                <a:gd name="connsiteY96" fmla="*/ 1222937 h 2374809"/>
                <a:gd name="connsiteX97" fmla="*/ 4408505 w 5495992"/>
                <a:gd name="connsiteY97" fmla="*/ 1282263 h 2374809"/>
                <a:gd name="connsiteX98" fmla="*/ 4436594 w 5495992"/>
                <a:gd name="connsiteY98" fmla="*/ 1306663 h 2374809"/>
                <a:gd name="connsiteX99" fmla="*/ 4495612 w 5495992"/>
                <a:gd name="connsiteY99" fmla="*/ 1347372 h 2374809"/>
                <a:gd name="connsiteX100" fmla="*/ 4540706 w 5495992"/>
                <a:gd name="connsiteY100" fmla="*/ 1353222 h 2374809"/>
                <a:gd name="connsiteX101" fmla="*/ 4505231 w 5495992"/>
                <a:gd name="connsiteY101" fmla="*/ 1333435 h 2374809"/>
                <a:gd name="connsiteX102" fmla="*/ 4488670 w 5495992"/>
                <a:gd name="connsiteY102" fmla="*/ 1318728 h 2374809"/>
                <a:gd name="connsiteX103" fmla="*/ 4462733 w 5495992"/>
                <a:gd name="connsiteY103" fmla="*/ 1305560 h 2374809"/>
                <a:gd name="connsiteX104" fmla="*/ 4439962 w 5495992"/>
                <a:gd name="connsiteY104" fmla="*/ 1288614 h 2374809"/>
                <a:gd name="connsiteX105" fmla="*/ 4429450 w 5495992"/>
                <a:gd name="connsiteY105" fmla="*/ 1278587 h 2374809"/>
                <a:gd name="connsiteX106" fmla="*/ 4408505 w 5495992"/>
                <a:gd name="connsiteY106" fmla="*/ 1282330 h 2374809"/>
                <a:gd name="connsiteX107" fmla="*/ 4408505 w 5495992"/>
                <a:gd name="connsiteY107" fmla="*/ 1282263 h 2374809"/>
                <a:gd name="connsiteX108" fmla="*/ 1056440 w 5495992"/>
                <a:gd name="connsiteY108" fmla="*/ 10797 h 2374809"/>
                <a:gd name="connsiteX109" fmla="*/ 1100359 w 5495992"/>
                <a:gd name="connsiteY109" fmla="*/ 11699 h 2374809"/>
                <a:gd name="connsiteX110" fmla="*/ 1120329 w 5495992"/>
                <a:gd name="connsiteY110" fmla="*/ 12200 h 2374809"/>
                <a:gd name="connsiteX111" fmla="*/ 1060053 w 5495992"/>
                <a:gd name="connsiteY111" fmla="*/ 2574 h 2374809"/>
                <a:gd name="connsiteX112" fmla="*/ 998113 w 5495992"/>
                <a:gd name="connsiteY112" fmla="*/ 302 h 2374809"/>
                <a:gd name="connsiteX113" fmla="*/ 1006962 w 5495992"/>
                <a:gd name="connsiteY113" fmla="*/ 7889 h 2374809"/>
                <a:gd name="connsiteX114" fmla="*/ 1056440 w 5495992"/>
                <a:gd name="connsiteY114" fmla="*/ 10797 h 2374809"/>
                <a:gd name="connsiteX115" fmla="*/ 3890662 w 5495992"/>
                <a:gd name="connsiteY115" fmla="*/ 1777668 h 2374809"/>
                <a:gd name="connsiteX116" fmla="*/ 3910956 w 5495992"/>
                <a:gd name="connsiteY116" fmla="*/ 1745247 h 2374809"/>
                <a:gd name="connsiteX117" fmla="*/ 3907872 w 5495992"/>
                <a:gd name="connsiteY117" fmla="*/ 1725193 h 2374809"/>
                <a:gd name="connsiteX118" fmla="*/ 3901580 w 5495992"/>
                <a:gd name="connsiteY118" fmla="*/ 1718241 h 2374809"/>
                <a:gd name="connsiteX119" fmla="*/ 3888388 w 5495992"/>
                <a:gd name="connsiteY119" fmla="*/ 1727165 h 2374809"/>
                <a:gd name="connsiteX120" fmla="*/ 3870326 w 5495992"/>
                <a:gd name="connsiteY120" fmla="*/ 1726463 h 2374809"/>
                <a:gd name="connsiteX121" fmla="*/ 3849259 w 5495992"/>
                <a:gd name="connsiteY121" fmla="*/ 1762995 h 2374809"/>
                <a:gd name="connsiteX122" fmla="*/ 3810943 w 5495992"/>
                <a:gd name="connsiteY122" fmla="*/ 1815069 h 2374809"/>
                <a:gd name="connsiteX123" fmla="*/ 3800592 w 5495992"/>
                <a:gd name="connsiteY123" fmla="*/ 1834053 h 2374809"/>
                <a:gd name="connsiteX124" fmla="*/ 3771449 w 5495992"/>
                <a:gd name="connsiteY124" fmla="*/ 1858452 h 2374809"/>
                <a:gd name="connsiteX125" fmla="*/ 3779567 w 5495992"/>
                <a:gd name="connsiteY125" fmla="*/ 1864803 h 2374809"/>
                <a:gd name="connsiteX126" fmla="*/ 3806681 w 5495992"/>
                <a:gd name="connsiteY126" fmla="*/ 1882217 h 2374809"/>
                <a:gd name="connsiteX127" fmla="*/ 3818655 w 5495992"/>
                <a:gd name="connsiteY127" fmla="*/ 1876134 h 2374809"/>
                <a:gd name="connsiteX128" fmla="*/ 3808386 w 5495992"/>
                <a:gd name="connsiteY128" fmla="*/ 1863132 h 2374809"/>
                <a:gd name="connsiteX129" fmla="*/ 3810131 w 5495992"/>
                <a:gd name="connsiteY129" fmla="*/ 1841874 h 2374809"/>
                <a:gd name="connsiteX130" fmla="*/ 3852303 w 5495992"/>
                <a:gd name="connsiteY130" fmla="*/ 1826232 h 2374809"/>
                <a:gd name="connsiteX131" fmla="*/ 3881610 w 5495992"/>
                <a:gd name="connsiteY131" fmla="*/ 1844749 h 2374809"/>
                <a:gd name="connsiteX132" fmla="*/ 3890621 w 5495992"/>
                <a:gd name="connsiteY132" fmla="*/ 1777601 h 2374809"/>
                <a:gd name="connsiteX133" fmla="*/ 3890662 w 5495992"/>
                <a:gd name="connsiteY133" fmla="*/ 1777668 h 2374809"/>
                <a:gd name="connsiteX134" fmla="*/ 1160594 w 5495992"/>
                <a:gd name="connsiteY134" fmla="*/ 19788 h 2374809"/>
                <a:gd name="connsiteX135" fmla="*/ 1137092 w 5495992"/>
                <a:gd name="connsiteY135" fmla="*/ 21358 h 2374809"/>
                <a:gd name="connsiteX136" fmla="*/ 1093865 w 5495992"/>
                <a:gd name="connsiteY136" fmla="*/ 22963 h 2374809"/>
                <a:gd name="connsiteX137" fmla="*/ 1128772 w 5495992"/>
                <a:gd name="connsiteY137" fmla="*/ 36901 h 2374809"/>
                <a:gd name="connsiteX138" fmla="*/ 1138797 w 5495992"/>
                <a:gd name="connsiteY138" fmla="*/ 33825 h 2374809"/>
                <a:gd name="connsiteX139" fmla="*/ 1161000 w 5495992"/>
                <a:gd name="connsiteY139" fmla="*/ 35630 h 2374809"/>
                <a:gd name="connsiteX140" fmla="*/ 1170539 w 5495992"/>
                <a:gd name="connsiteY140" fmla="*/ 30316 h 2374809"/>
                <a:gd name="connsiteX141" fmla="*/ 1209261 w 5495992"/>
                <a:gd name="connsiteY141" fmla="*/ 30082 h 2374809"/>
                <a:gd name="connsiteX142" fmla="*/ 1205202 w 5495992"/>
                <a:gd name="connsiteY142" fmla="*/ 15877 h 2374809"/>
                <a:gd name="connsiteX143" fmla="*/ 1160553 w 5495992"/>
                <a:gd name="connsiteY143" fmla="*/ 19788 h 2374809"/>
                <a:gd name="connsiteX144" fmla="*/ 1035131 w 5495992"/>
                <a:gd name="connsiteY144" fmla="*/ 415824 h 2374809"/>
                <a:gd name="connsiteX145" fmla="*/ 1082134 w 5495992"/>
                <a:gd name="connsiteY145" fmla="*/ 421138 h 2374809"/>
                <a:gd name="connsiteX146" fmla="*/ 1103159 w 5495992"/>
                <a:gd name="connsiteY146" fmla="*/ 414453 h 2374809"/>
                <a:gd name="connsiteX147" fmla="*/ 1051205 w 5495992"/>
                <a:gd name="connsiteY147" fmla="*/ 400750 h 2374809"/>
                <a:gd name="connsiteX148" fmla="*/ 1034969 w 5495992"/>
                <a:gd name="connsiteY148" fmla="*/ 415824 h 2374809"/>
                <a:gd name="connsiteX149" fmla="*/ 1035131 w 5495992"/>
                <a:gd name="connsiteY149" fmla="*/ 415824 h 2374809"/>
                <a:gd name="connsiteX150" fmla="*/ 5491440 w 5495992"/>
                <a:gd name="connsiteY150" fmla="*/ 2368263 h 2374809"/>
                <a:gd name="connsiteX151" fmla="*/ 5465707 w 5495992"/>
                <a:gd name="connsiteY151" fmla="*/ 2320066 h 2374809"/>
                <a:gd name="connsiteX152" fmla="*/ 5446466 w 5495992"/>
                <a:gd name="connsiteY152" fmla="*/ 2297839 h 2374809"/>
                <a:gd name="connsiteX153" fmla="*/ 5428729 w 5495992"/>
                <a:gd name="connsiteY153" fmla="*/ 2285640 h 2374809"/>
                <a:gd name="connsiteX154" fmla="*/ 5419515 w 5495992"/>
                <a:gd name="connsiteY154" fmla="*/ 2269462 h 2374809"/>
                <a:gd name="connsiteX155" fmla="*/ 5394309 w 5495992"/>
                <a:gd name="connsiteY155" fmla="*/ 2250010 h 2374809"/>
                <a:gd name="connsiteX156" fmla="*/ 5395973 w 5495992"/>
                <a:gd name="connsiteY156" fmla="*/ 2264215 h 2374809"/>
                <a:gd name="connsiteX157" fmla="*/ 5381604 w 5495992"/>
                <a:gd name="connsiteY157" fmla="*/ 2269864 h 2374809"/>
                <a:gd name="connsiteX158" fmla="*/ 5368981 w 5495992"/>
                <a:gd name="connsiteY158" fmla="*/ 2249007 h 2374809"/>
                <a:gd name="connsiteX159" fmla="*/ 5384446 w 5495992"/>
                <a:gd name="connsiteY159" fmla="*/ 2236273 h 2374809"/>
                <a:gd name="connsiteX160" fmla="*/ 5379169 w 5495992"/>
                <a:gd name="connsiteY160" fmla="*/ 2219327 h 2374809"/>
                <a:gd name="connsiteX161" fmla="*/ 5356967 w 5495992"/>
                <a:gd name="connsiteY161" fmla="*/ 2186338 h 2374809"/>
                <a:gd name="connsiteX162" fmla="*/ 5310451 w 5495992"/>
                <a:gd name="connsiteY162" fmla="*/ 2124772 h 2374809"/>
                <a:gd name="connsiteX163" fmla="*/ 5283864 w 5495992"/>
                <a:gd name="connsiteY163" fmla="*/ 2095292 h 2374809"/>
                <a:gd name="connsiteX164" fmla="*/ 5264666 w 5495992"/>
                <a:gd name="connsiteY164" fmla="*/ 2066080 h 2374809"/>
                <a:gd name="connsiteX165" fmla="*/ 5207637 w 5495992"/>
                <a:gd name="connsiteY165" fmla="*/ 2007288 h 2374809"/>
                <a:gd name="connsiteX166" fmla="*/ 5193674 w 5495992"/>
                <a:gd name="connsiteY166" fmla="*/ 1989373 h 2374809"/>
                <a:gd name="connsiteX167" fmla="*/ 5158158 w 5495992"/>
                <a:gd name="connsiteY167" fmla="*/ 1964071 h 2374809"/>
                <a:gd name="connsiteX168" fmla="*/ 5127635 w 5495992"/>
                <a:gd name="connsiteY168" fmla="*/ 1940675 h 2374809"/>
                <a:gd name="connsiteX169" fmla="*/ 5097394 w 5495992"/>
                <a:gd name="connsiteY169" fmla="*/ 1922158 h 2374809"/>
                <a:gd name="connsiteX170" fmla="*/ 5044628 w 5495992"/>
                <a:gd name="connsiteY170" fmla="*/ 1873493 h 2374809"/>
                <a:gd name="connsiteX171" fmla="*/ 5021979 w 5495992"/>
                <a:gd name="connsiteY171" fmla="*/ 1873226 h 2374809"/>
                <a:gd name="connsiteX172" fmla="*/ 5025551 w 5495992"/>
                <a:gd name="connsiteY172" fmla="*/ 1893280 h 2374809"/>
                <a:gd name="connsiteX173" fmla="*/ 4972460 w 5495992"/>
                <a:gd name="connsiteY173" fmla="*/ 1867443 h 2374809"/>
                <a:gd name="connsiteX174" fmla="*/ 4952977 w 5495992"/>
                <a:gd name="connsiteY174" fmla="*/ 1843846 h 2374809"/>
                <a:gd name="connsiteX175" fmla="*/ 4969659 w 5495992"/>
                <a:gd name="connsiteY175" fmla="*/ 1845718 h 2374809"/>
                <a:gd name="connsiteX176" fmla="*/ 4995718 w 5495992"/>
                <a:gd name="connsiteY176" fmla="*/ 1854442 h 2374809"/>
                <a:gd name="connsiteX177" fmla="*/ 4964950 w 5495992"/>
                <a:gd name="connsiteY177" fmla="*/ 1825029 h 2374809"/>
                <a:gd name="connsiteX178" fmla="*/ 4925619 w 5495992"/>
                <a:gd name="connsiteY178" fmla="*/ 1816439 h 2374809"/>
                <a:gd name="connsiteX179" fmla="*/ 4895258 w 5495992"/>
                <a:gd name="connsiteY179" fmla="*/ 1801298 h 2374809"/>
                <a:gd name="connsiteX180" fmla="*/ 4845982 w 5495992"/>
                <a:gd name="connsiteY180" fmla="*/ 1760455 h 2374809"/>
                <a:gd name="connsiteX181" fmla="*/ 4788385 w 5495992"/>
                <a:gd name="connsiteY181" fmla="*/ 1724591 h 2374809"/>
                <a:gd name="connsiteX182" fmla="*/ 4743249 w 5495992"/>
                <a:gd name="connsiteY182" fmla="*/ 1716135 h 2374809"/>
                <a:gd name="connsiteX183" fmla="*/ 4739474 w 5495992"/>
                <a:gd name="connsiteY183" fmla="*/ 1717606 h 2374809"/>
                <a:gd name="connsiteX184" fmla="*/ 4741422 w 5495992"/>
                <a:gd name="connsiteY184" fmla="*/ 1703133 h 2374809"/>
                <a:gd name="connsiteX185" fmla="*/ 4731641 w 5495992"/>
                <a:gd name="connsiteY185" fmla="*/ 1686421 h 2374809"/>
                <a:gd name="connsiteX186" fmla="*/ 4710858 w 5495992"/>
                <a:gd name="connsiteY186" fmla="*/ 1668874 h 2374809"/>
                <a:gd name="connsiteX187" fmla="*/ 4717353 w 5495992"/>
                <a:gd name="connsiteY187" fmla="*/ 1663092 h 2374809"/>
                <a:gd name="connsiteX188" fmla="*/ 4728312 w 5495992"/>
                <a:gd name="connsiteY188" fmla="*/ 1659549 h 2374809"/>
                <a:gd name="connsiteX189" fmla="*/ 4586004 w 5495992"/>
                <a:gd name="connsiteY189" fmla="*/ 1549251 h 2374809"/>
                <a:gd name="connsiteX190" fmla="*/ 4505353 w 5495992"/>
                <a:gd name="connsiteY190" fmla="*/ 1506369 h 2374809"/>
                <a:gd name="connsiteX191" fmla="*/ 4502958 w 5495992"/>
                <a:gd name="connsiteY191" fmla="*/ 1494871 h 2374809"/>
                <a:gd name="connsiteX192" fmla="*/ 4475559 w 5495992"/>
                <a:gd name="connsiteY192" fmla="*/ 1470071 h 2374809"/>
                <a:gd name="connsiteX193" fmla="*/ 4462774 w 5495992"/>
                <a:gd name="connsiteY193" fmla="*/ 1466294 h 2374809"/>
                <a:gd name="connsiteX194" fmla="*/ 4458390 w 5495992"/>
                <a:gd name="connsiteY194" fmla="*/ 1457169 h 2374809"/>
                <a:gd name="connsiteX195" fmla="*/ 4429977 w 5495992"/>
                <a:gd name="connsiteY195" fmla="*/ 1433772 h 2374809"/>
                <a:gd name="connsiteX196" fmla="*/ 4425594 w 5495992"/>
                <a:gd name="connsiteY196" fmla="*/ 1424848 h 2374809"/>
                <a:gd name="connsiteX197" fmla="*/ 4455630 w 5495992"/>
                <a:gd name="connsiteY197" fmla="*/ 1436847 h 2374809"/>
                <a:gd name="connsiteX198" fmla="*/ 4412930 w 5495992"/>
                <a:gd name="connsiteY198" fmla="*/ 1400382 h 2374809"/>
                <a:gd name="connsiteX199" fmla="*/ 4358134 w 5495992"/>
                <a:gd name="connsiteY199" fmla="*/ 1370100 h 2374809"/>
                <a:gd name="connsiteX200" fmla="*/ 4331791 w 5495992"/>
                <a:gd name="connsiteY200" fmla="*/ 1374646 h 2374809"/>
                <a:gd name="connsiteX201" fmla="*/ 4298426 w 5495992"/>
                <a:gd name="connsiteY201" fmla="*/ 1357299 h 2374809"/>
                <a:gd name="connsiteX202" fmla="*/ 4313200 w 5495992"/>
                <a:gd name="connsiteY202" fmla="*/ 1348944 h 2374809"/>
                <a:gd name="connsiteX203" fmla="*/ 4304027 w 5495992"/>
                <a:gd name="connsiteY203" fmla="*/ 1335908 h 2374809"/>
                <a:gd name="connsiteX204" fmla="*/ 4343116 w 5495992"/>
                <a:gd name="connsiteY204" fmla="*/ 1358569 h 2374809"/>
                <a:gd name="connsiteX205" fmla="*/ 4338813 w 5495992"/>
                <a:gd name="connsiteY205" fmla="*/ 1350080 h 2374809"/>
                <a:gd name="connsiteX206" fmla="*/ 4295260 w 5495992"/>
                <a:gd name="connsiteY206" fmla="*/ 1321202 h 2374809"/>
                <a:gd name="connsiteX207" fmla="*/ 4211158 w 5495992"/>
                <a:gd name="connsiteY207" fmla="*/ 1270398 h 2374809"/>
                <a:gd name="connsiteX208" fmla="*/ 4182745 w 5495992"/>
                <a:gd name="connsiteY208" fmla="*/ 1258232 h 2374809"/>
                <a:gd name="connsiteX209" fmla="*/ 4152708 w 5495992"/>
                <a:gd name="connsiteY209" fmla="*/ 1252650 h 2374809"/>
                <a:gd name="connsiteX210" fmla="*/ 4116543 w 5495992"/>
                <a:gd name="connsiteY210" fmla="*/ 1243793 h 2374809"/>
                <a:gd name="connsiteX211" fmla="*/ 4142805 w 5495992"/>
                <a:gd name="connsiteY211" fmla="*/ 1261407 h 2374809"/>
                <a:gd name="connsiteX212" fmla="*/ 4126001 w 5495992"/>
                <a:gd name="connsiteY212" fmla="*/ 1261207 h 2374809"/>
                <a:gd name="connsiteX213" fmla="*/ 4128152 w 5495992"/>
                <a:gd name="connsiteY213" fmla="*/ 1278854 h 2374809"/>
                <a:gd name="connsiteX214" fmla="*/ 4101200 w 5495992"/>
                <a:gd name="connsiteY214" fmla="*/ 1261507 h 2374809"/>
                <a:gd name="connsiteX215" fmla="*/ 4058337 w 5495992"/>
                <a:gd name="connsiteY215" fmla="*/ 1244160 h 2374809"/>
                <a:gd name="connsiteX216" fmla="*/ 4074168 w 5495992"/>
                <a:gd name="connsiteY216" fmla="*/ 1257296 h 2374809"/>
                <a:gd name="connsiteX217" fmla="*/ 4049408 w 5495992"/>
                <a:gd name="connsiteY217" fmla="*/ 1247269 h 2374809"/>
                <a:gd name="connsiteX218" fmla="*/ 4039544 w 5495992"/>
                <a:gd name="connsiteY218" fmla="*/ 1234568 h 2374809"/>
                <a:gd name="connsiteX219" fmla="*/ 4006342 w 5495992"/>
                <a:gd name="connsiteY219" fmla="*/ 1214180 h 2374809"/>
                <a:gd name="connsiteX220" fmla="*/ 3944930 w 5495992"/>
                <a:gd name="connsiteY220" fmla="*/ 1190783 h 2374809"/>
                <a:gd name="connsiteX221" fmla="*/ 3913148 w 5495992"/>
                <a:gd name="connsiteY221" fmla="*/ 1166818 h 2374809"/>
                <a:gd name="connsiteX222" fmla="*/ 3892854 w 5495992"/>
                <a:gd name="connsiteY222" fmla="*/ 1153917 h 2374809"/>
                <a:gd name="connsiteX223" fmla="*/ 3873330 w 5495992"/>
                <a:gd name="connsiteY223" fmla="*/ 1160902 h 2374809"/>
                <a:gd name="connsiteX224" fmla="*/ 3851005 w 5495992"/>
                <a:gd name="connsiteY224" fmla="*/ 1161404 h 2374809"/>
                <a:gd name="connsiteX225" fmla="*/ 3812648 w 5495992"/>
                <a:gd name="connsiteY225" fmla="*/ 1147032 h 2374809"/>
                <a:gd name="connsiteX226" fmla="*/ 3784235 w 5495992"/>
                <a:gd name="connsiteY226" fmla="*/ 1110533 h 2374809"/>
                <a:gd name="connsiteX227" fmla="*/ 3763940 w 5495992"/>
                <a:gd name="connsiteY227" fmla="*/ 1078413 h 2374809"/>
                <a:gd name="connsiteX228" fmla="*/ 3803880 w 5495992"/>
                <a:gd name="connsiteY228" fmla="*/ 1097932 h 2374809"/>
                <a:gd name="connsiteX229" fmla="*/ 3795762 w 5495992"/>
                <a:gd name="connsiteY229" fmla="*/ 1078146 h 2374809"/>
                <a:gd name="connsiteX230" fmla="*/ 3801486 w 5495992"/>
                <a:gd name="connsiteY230" fmla="*/ 1068553 h 2374809"/>
                <a:gd name="connsiteX231" fmla="*/ 3807858 w 5495992"/>
                <a:gd name="connsiteY231" fmla="*/ 1065545 h 2374809"/>
                <a:gd name="connsiteX232" fmla="*/ 3793530 w 5495992"/>
                <a:gd name="connsiteY232" fmla="*/ 1052175 h 2374809"/>
                <a:gd name="connsiteX233" fmla="*/ 3772545 w 5495992"/>
                <a:gd name="connsiteY233" fmla="*/ 1032556 h 2374809"/>
                <a:gd name="connsiteX234" fmla="*/ 3739667 w 5495992"/>
                <a:gd name="connsiteY234" fmla="*/ 1020523 h 2374809"/>
                <a:gd name="connsiteX235" fmla="*/ 3725258 w 5495992"/>
                <a:gd name="connsiteY235" fmla="*/ 1011165 h 2374809"/>
                <a:gd name="connsiteX236" fmla="*/ 3676551 w 5495992"/>
                <a:gd name="connsiteY236" fmla="*/ 977741 h 2374809"/>
                <a:gd name="connsiteX237" fmla="*/ 3660315 w 5495992"/>
                <a:gd name="connsiteY237" fmla="*/ 973195 h 2374809"/>
                <a:gd name="connsiteX238" fmla="*/ 3629222 w 5495992"/>
                <a:gd name="connsiteY238" fmla="*/ 972460 h 2374809"/>
                <a:gd name="connsiteX239" fmla="*/ 3612459 w 5495992"/>
                <a:gd name="connsiteY239" fmla="*/ 983189 h 2374809"/>
                <a:gd name="connsiteX240" fmla="*/ 3576172 w 5495992"/>
                <a:gd name="connsiteY240" fmla="*/ 968516 h 2374809"/>
                <a:gd name="connsiteX241" fmla="*/ 3526368 w 5495992"/>
                <a:gd name="connsiteY241" fmla="*/ 944652 h 2374809"/>
                <a:gd name="connsiteX242" fmla="*/ 3503516 w 5495992"/>
                <a:gd name="connsiteY242" fmla="*/ 932118 h 2374809"/>
                <a:gd name="connsiteX243" fmla="*/ 3468406 w 5495992"/>
                <a:gd name="connsiteY243" fmla="*/ 917144 h 2374809"/>
                <a:gd name="connsiteX244" fmla="*/ 3480583 w 5495992"/>
                <a:gd name="connsiteY244" fmla="*/ 908186 h 2374809"/>
                <a:gd name="connsiteX245" fmla="*/ 3424813 w 5495992"/>
                <a:gd name="connsiteY245" fmla="*/ 881047 h 2374809"/>
                <a:gd name="connsiteX246" fmla="*/ 3357230 w 5495992"/>
                <a:gd name="connsiteY246" fmla="*/ 853171 h 2374809"/>
                <a:gd name="connsiteX247" fmla="*/ 3304464 w 5495992"/>
                <a:gd name="connsiteY247" fmla="*/ 836961 h 2374809"/>
                <a:gd name="connsiteX248" fmla="*/ 3299959 w 5495992"/>
                <a:gd name="connsiteY248" fmla="*/ 844214 h 2374809"/>
                <a:gd name="connsiteX249" fmla="*/ 3293220 w 5495992"/>
                <a:gd name="connsiteY249" fmla="*/ 834187 h 2374809"/>
                <a:gd name="connsiteX250" fmla="*/ 3283723 w 5495992"/>
                <a:gd name="connsiteY250" fmla="*/ 816506 h 2374809"/>
                <a:gd name="connsiteX251" fmla="*/ 3246623 w 5495992"/>
                <a:gd name="connsiteY251" fmla="*/ 807147 h 2374809"/>
                <a:gd name="connsiteX252" fmla="*/ 3190123 w 5495992"/>
                <a:gd name="connsiteY252" fmla="*/ 776865 h 2374809"/>
                <a:gd name="connsiteX253" fmla="*/ 3169462 w 5495992"/>
                <a:gd name="connsiteY253" fmla="*/ 778102 h 2374809"/>
                <a:gd name="connsiteX254" fmla="*/ 3188540 w 5495992"/>
                <a:gd name="connsiteY254" fmla="*/ 789700 h 2374809"/>
                <a:gd name="connsiteX255" fmla="*/ 3152943 w 5495992"/>
                <a:gd name="connsiteY255" fmla="*/ 781177 h 2374809"/>
                <a:gd name="connsiteX256" fmla="*/ 3120471 w 5495992"/>
                <a:gd name="connsiteY256" fmla="*/ 777634 h 2374809"/>
                <a:gd name="connsiteX257" fmla="*/ 3062346 w 5495992"/>
                <a:gd name="connsiteY257" fmla="*/ 762527 h 2374809"/>
                <a:gd name="connsiteX258" fmla="*/ 3021472 w 5495992"/>
                <a:gd name="connsiteY258" fmla="*/ 757613 h 2374809"/>
                <a:gd name="connsiteX259" fmla="*/ 3059505 w 5495992"/>
                <a:gd name="connsiteY259" fmla="*/ 751630 h 2374809"/>
                <a:gd name="connsiteX260" fmla="*/ 3083574 w 5495992"/>
                <a:gd name="connsiteY260" fmla="*/ 753435 h 2374809"/>
                <a:gd name="connsiteX261" fmla="*/ 3118523 w 5495992"/>
                <a:gd name="connsiteY261" fmla="*/ 761758 h 2374809"/>
                <a:gd name="connsiteX262" fmla="*/ 3171289 w 5495992"/>
                <a:gd name="connsiteY262" fmla="*/ 766103 h 2374809"/>
                <a:gd name="connsiteX263" fmla="*/ 3220971 w 5495992"/>
                <a:gd name="connsiteY263" fmla="*/ 768910 h 2374809"/>
                <a:gd name="connsiteX264" fmla="*/ 3265620 w 5495992"/>
                <a:gd name="connsiteY264" fmla="*/ 776130 h 2374809"/>
                <a:gd name="connsiteX265" fmla="*/ 3313718 w 5495992"/>
                <a:gd name="connsiteY265" fmla="*/ 781611 h 2374809"/>
                <a:gd name="connsiteX266" fmla="*/ 3337626 w 5495992"/>
                <a:gd name="connsiteY266" fmla="*/ 781043 h 2374809"/>
                <a:gd name="connsiteX267" fmla="*/ 3328209 w 5495992"/>
                <a:gd name="connsiteY267" fmla="*/ 768075 h 2374809"/>
                <a:gd name="connsiteX268" fmla="*/ 3351589 w 5495992"/>
                <a:gd name="connsiteY268" fmla="*/ 771818 h 2374809"/>
                <a:gd name="connsiteX269" fmla="*/ 3339412 w 5495992"/>
                <a:gd name="connsiteY269" fmla="*/ 760454 h 2374809"/>
                <a:gd name="connsiteX270" fmla="*/ 3339980 w 5495992"/>
                <a:gd name="connsiteY270" fmla="*/ 749892 h 2374809"/>
                <a:gd name="connsiteX271" fmla="*/ 3322486 w 5495992"/>
                <a:gd name="connsiteY271" fmla="*/ 742539 h 2374809"/>
                <a:gd name="connsiteX272" fmla="*/ 3319442 w 5495992"/>
                <a:gd name="connsiteY272" fmla="*/ 725360 h 2374809"/>
                <a:gd name="connsiteX273" fmla="*/ 3288837 w 5495992"/>
                <a:gd name="connsiteY273" fmla="*/ 713661 h 2374809"/>
                <a:gd name="connsiteX274" fmla="*/ 3239642 w 5495992"/>
                <a:gd name="connsiteY274" fmla="*/ 690465 h 2374809"/>
                <a:gd name="connsiteX275" fmla="*/ 3183060 w 5495992"/>
                <a:gd name="connsiteY275" fmla="*/ 669375 h 2374809"/>
                <a:gd name="connsiteX276" fmla="*/ 3155702 w 5495992"/>
                <a:gd name="connsiteY276" fmla="*/ 667871 h 2374809"/>
                <a:gd name="connsiteX277" fmla="*/ 3121445 w 5495992"/>
                <a:gd name="connsiteY277" fmla="*/ 657075 h 2374809"/>
                <a:gd name="connsiteX278" fmla="*/ 3144825 w 5495992"/>
                <a:gd name="connsiteY278" fmla="*/ 648519 h 2374809"/>
                <a:gd name="connsiteX279" fmla="*/ 3099080 w 5495992"/>
                <a:gd name="connsiteY279" fmla="*/ 630236 h 2374809"/>
                <a:gd name="connsiteX280" fmla="*/ 3084142 w 5495992"/>
                <a:gd name="connsiteY280" fmla="*/ 622047 h 2374809"/>
                <a:gd name="connsiteX281" fmla="*/ 3046516 w 5495992"/>
                <a:gd name="connsiteY281" fmla="*/ 607508 h 2374809"/>
                <a:gd name="connsiteX282" fmla="*/ 3104235 w 5495992"/>
                <a:gd name="connsiteY282" fmla="*/ 617836 h 2374809"/>
                <a:gd name="connsiteX283" fmla="*/ 3068638 w 5495992"/>
                <a:gd name="connsiteY283" fmla="*/ 594038 h 2374809"/>
                <a:gd name="connsiteX284" fmla="*/ 3006698 w 5495992"/>
                <a:gd name="connsiteY284" fmla="*/ 573483 h 2374809"/>
                <a:gd name="connsiteX285" fmla="*/ 2954986 w 5495992"/>
                <a:gd name="connsiteY285" fmla="*/ 571277 h 2374809"/>
                <a:gd name="connsiteX286" fmla="*/ 2917846 w 5495992"/>
                <a:gd name="connsiteY286" fmla="*/ 575589 h 2374809"/>
                <a:gd name="connsiteX287" fmla="*/ 2925112 w 5495992"/>
                <a:gd name="connsiteY287" fmla="*/ 580602 h 2374809"/>
                <a:gd name="connsiteX288" fmla="*/ 2923245 w 5495992"/>
                <a:gd name="connsiteY288" fmla="*/ 586117 h 2374809"/>
                <a:gd name="connsiteX289" fmla="*/ 2902463 w 5495992"/>
                <a:gd name="connsiteY289" fmla="*/ 582540 h 2374809"/>
                <a:gd name="connsiteX290" fmla="*/ 2856800 w 5495992"/>
                <a:gd name="connsiteY290" fmla="*/ 568703 h 2374809"/>
                <a:gd name="connsiteX291" fmla="*/ 2866866 w 5495992"/>
                <a:gd name="connsiteY291" fmla="*/ 583978 h 2374809"/>
                <a:gd name="connsiteX292" fmla="*/ 2814870 w 5495992"/>
                <a:gd name="connsiteY292" fmla="*/ 565795 h 2374809"/>
                <a:gd name="connsiteX293" fmla="*/ 2791328 w 5495992"/>
                <a:gd name="connsiteY293" fmla="*/ 563890 h 2374809"/>
                <a:gd name="connsiteX294" fmla="*/ 2762509 w 5495992"/>
                <a:gd name="connsiteY294" fmla="*/ 554130 h 2374809"/>
                <a:gd name="connsiteX295" fmla="*/ 2769572 w 5495992"/>
                <a:gd name="connsiteY295" fmla="*/ 545674 h 2374809"/>
                <a:gd name="connsiteX296" fmla="*/ 2728089 w 5495992"/>
                <a:gd name="connsiteY296" fmla="*/ 537653 h 2374809"/>
                <a:gd name="connsiteX297" fmla="*/ 2705805 w 5495992"/>
                <a:gd name="connsiteY297" fmla="*/ 533675 h 2374809"/>
                <a:gd name="connsiteX298" fmla="*/ 2672562 w 5495992"/>
                <a:gd name="connsiteY298" fmla="*/ 525720 h 2374809"/>
                <a:gd name="connsiteX299" fmla="*/ 2679584 w 5495992"/>
                <a:gd name="connsiteY299" fmla="*/ 537084 h 2374809"/>
                <a:gd name="connsiteX300" fmla="*/ 2575106 w 5495992"/>
                <a:gd name="connsiteY300" fmla="*/ 513989 h 2374809"/>
                <a:gd name="connsiteX301" fmla="*/ 2550996 w 5495992"/>
                <a:gd name="connsiteY301" fmla="*/ 512652 h 2374809"/>
                <a:gd name="connsiteX302" fmla="*/ 2514466 w 5495992"/>
                <a:gd name="connsiteY302" fmla="*/ 507538 h 2374809"/>
                <a:gd name="connsiteX303" fmla="*/ 2486053 w 5495992"/>
                <a:gd name="connsiteY303" fmla="*/ 507538 h 2374809"/>
                <a:gd name="connsiteX304" fmla="*/ 2459344 w 5495992"/>
                <a:gd name="connsiteY304" fmla="*/ 499316 h 2374809"/>
                <a:gd name="connsiteX305" fmla="*/ 2459588 w 5495992"/>
                <a:gd name="connsiteY305" fmla="*/ 504329 h 2374809"/>
                <a:gd name="connsiteX306" fmla="*/ 2437832 w 5495992"/>
                <a:gd name="connsiteY306" fmla="*/ 502591 h 2374809"/>
                <a:gd name="connsiteX307" fmla="*/ 2447411 w 5495992"/>
                <a:gd name="connsiteY307" fmla="*/ 511983 h 2374809"/>
                <a:gd name="connsiteX308" fmla="*/ 2427116 w 5495992"/>
                <a:gd name="connsiteY308" fmla="*/ 505299 h 2374809"/>
                <a:gd name="connsiteX309" fmla="*/ 2420662 w 5495992"/>
                <a:gd name="connsiteY309" fmla="*/ 507839 h 2374809"/>
                <a:gd name="connsiteX310" fmla="*/ 2447005 w 5495992"/>
                <a:gd name="connsiteY310" fmla="*/ 519571 h 2374809"/>
                <a:gd name="connsiteX311" fmla="*/ 2420013 w 5495992"/>
                <a:gd name="connsiteY311" fmla="*/ 518601 h 2374809"/>
                <a:gd name="connsiteX312" fmla="*/ 2439780 w 5495992"/>
                <a:gd name="connsiteY312" fmla="*/ 538655 h 2374809"/>
                <a:gd name="connsiteX313" fmla="*/ 2416603 w 5495992"/>
                <a:gd name="connsiteY313" fmla="*/ 533776 h 2374809"/>
                <a:gd name="connsiteX314" fmla="*/ 2394157 w 5495992"/>
                <a:gd name="connsiteY314" fmla="*/ 529598 h 2374809"/>
                <a:gd name="connsiteX315" fmla="*/ 2373376 w 5495992"/>
                <a:gd name="connsiteY315" fmla="*/ 525954 h 2374809"/>
                <a:gd name="connsiteX316" fmla="*/ 2311395 w 5495992"/>
                <a:gd name="connsiteY316" fmla="*/ 511983 h 2374809"/>
                <a:gd name="connsiteX317" fmla="*/ 2242108 w 5495992"/>
                <a:gd name="connsiteY317" fmla="*/ 496742 h 2374809"/>
                <a:gd name="connsiteX318" fmla="*/ 2215360 w 5495992"/>
                <a:gd name="connsiteY318" fmla="*/ 508608 h 2374809"/>
                <a:gd name="connsiteX319" fmla="*/ 2223478 w 5495992"/>
                <a:gd name="connsiteY319" fmla="*/ 530099 h 2374809"/>
                <a:gd name="connsiteX320" fmla="*/ 2270197 w 5495992"/>
                <a:gd name="connsiteY320" fmla="*/ 553495 h 2374809"/>
                <a:gd name="connsiteX321" fmla="*/ 2245599 w 5495992"/>
                <a:gd name="connsiteY321" fmla="*/ 560481 h 2374809"/>
                <a:gd name="connsiteX322" fmla="*/ 2195836 w 5495992"/>
                <a:gd name="connsiteY322" fmla="*/ 531837 h 2374809"/>
                <a:gd name="connsiteX323" fmla="*/ 2141040 w 5495992"/>
                <a:gd name="connsiteY323" fmla="*/ 512685 h 2374809"/>
                <a:gd name="connsiteX324" fmla="*/ 2105564 w 5495992"/>
                <a:gd name="connsiteY324" fmla="*/ 498079 h 2374809"/>
                <a:gd name="connsiteX325" fmla="*/ 2084539 w 5495992"/>
                <a:gd name="connsiteY325" fmla="*/ 499683 h 2374809"/>
                <a:gd name="connsiteX326" fmla="*/ 2105077 w 5495992"/>
                <a:gd name="connsiteY326" fmla="*/ 507237 h 2374809"/>
                <a:gd name="connsiteX327" fmla="*/ 2099517 w 5495992"/>
                <a:gd name="connsiteY327" fmla="*/ 509376 h 2374809"/>
                <a:gd name="connsiteX328" fmla="*/ 2119202 w 5495992"/>
                <a:gd name="connsiteY328" fmla="*/ 518167 h 2374809"/>
                <a:gd name="connsiteX329" fmla="*/ 2108934 w 5495992"/>
                <a:gd name="connsiteY329" fmla="*/ 520807 h 2374809"/>
                <a:gd name="connsiteX330" fmla="*/ 2071550 w 5495992"/>
                <a:gd name="connsiteY330" fmla="*/ 507137 h 2374809"/>
                <a:gd name="connsiteX331" fmla="*/ 2050362 w 5495992"/>
                <a:gd name="connsiteY331" fmla="*/ 512017 h 2374809"/>
                <a:gd name="connsiteX332" fmla="*/ 2109623 w 5495992"/>
                <a:gd name="connsiteY332" fmla="*/ 544471 h 2374809"/>
                <a:gd name="connsiteX333" fmla="*/ 2124438 w 5495992"/>
                <a:gd name="connsiteY333" fmla="*/ 555167 h 2374809"/>
                <a:gd name="connsiteX334" fmla="*/ 2101830 w 5495992"/>
                <a:gd name="connsiteY334" fmla="*/ 551356 h 2374809"/>
                <a:gd name="connsiteX335" fmla="*/ 2037414 w 5495992"/>
                <a:gd name="connsiteY335" fmla="*/ 526289 h 2374809"/>
                <a:gd name="connsiteX336" fmla="*/ 2016307 w 5495992"/>
                <a:gd name="connsiteY336" fmla="*/ 516529 h 2374809"/>
                <a:gd name="connsiteX337" fmla="*/ 2020934 w 5495992"/>
                <a:gd name="connsiteY337" fmla="*/ 511749 h 2374809"/>
                <a:gd name="connsiteX338" fmla="*/ 2018337 w 5495992"/>
                <a:gd name="connsiteY338" fmla="*/ 503159 h 2374809"/>
                <a:gd name="connsiteX339" fmla="*/ 2025400 w 5495992"/>
                <a:gd name="connsiteY339" fmla="*/ 470672 h 2374809"/>
                <a:gd name="connsiteX340" fmla="*/ 1999179 w 5495992"/>
                <a:gd name="connsiteY340" fmla="*/ 490291 h 2374809"/>
                <a:gd name="connsiteX341" fmla="*/ 1951810 w 5495992"/>
                <a:gd name="connsiteY341" fmla="*/ 492598 h 2374809"/>
                <a:gd name="connsiteX342" fmla="*/ 1936670 w 5495992"/>
                <a:gd name="connsiteY342" fmla="*/ 498046 h 2374809"/>
                <a:gd name="connsiteX343" fmla="*/ 1952216 w 5495992"/>
                <a:gd name="connsiteY343" fmla="*/ 511649 h 2374809"/>
                <a:gd name="connsiteX344" fmla="*/ 1960334 w 5495992"/>
                <a:gd name="connsiteY344" fmla="*/ 536550 h 2374809"/>
                <a:gd name="connsiteX345" fmla="*/ 1933788 w 5495992"/>
                <a:gd name="connsiteY345" fmla="*/ 566631 h 2374809"/>
                <a:gd name="connsiteX346" fmla="*/ 2002142 w 5495992"/>
                <a:gd name="connsiteY346" fmla="*/ 582942 h 2374809"/>
                <a:gd name="connsiteX347" fmla="*/ 2064324 w 5495992"/>
                <a:gd name="connsiteY347" fmla="*/ 609246 h 2374809"/>
                <a:gd name="connsiteX348" fmla="*/ 2073052 w 5495992"/>
                <a:gd name="connsiteY348" fmla="*/ 626994 h 2374809"/>
                <a:gd name="connsiteX349" fmla="*/ 2054827 w 5495992"/>
                <a:gd name="connsiteY349" fmla="*/ 630838 h 2374809"/>
                <a:gd name="connsiteX350" fmla="*/ 2087299 w 5495992"/>
                <a:gd name="connsiteY350" fmla="*/ 655337 h 2374809"/>
                <a:gd name="connsiteX351" fmla="*/ 2059982 w 5495992"/>
                <a:gd name="connsiteY351" fmla="*/ 648652 h 2374809"/>
                <a:gd name="connsiteX352" fmla="*/ 2039078 w 5495992"/>
                <a:gd name="connsiteY352" fmla="*/ 632442 h 2374809"/>
                <a:gd name="connsiteX353" fmla="*/ 2050402 w 5495992"/>
                <a:gd name="connsiteY353" fmla="*/ 617936 h 2374809"/>
                <a:gd name="connsiteX354" fmla="*/ 2024060 w 5495992"/>
                <a:gd name="connsiteY354" fmla="*/ 596010 h 2374809"/>
                <a:gd name="connsiteX355" fmla="*/ 1956518 w 5495992"/>
                <a:gd name="connsiteY355" fmla="*/ 593203 h 2374809"/>
                <a:gd name="connsiteX356" fmla="*/ 1961592 w 5495992"/>
                <a:gd name="connsiteY356" fmla="*/ 615195 h 2374809"/>
                <a:gd name="connsiteX357" fmla="*/ 1930988 w 5495992"/>
                <a:gd name="connsiteY357" fmla="*/ 623518 h 2374809"/>
                <a:gd name="connsiteX358" fmla="*/ 1906634 w 5495992"/>
                <a:gd name="connsiteY358" fmla="*/ 631038 h 2374809"/>
                <a:gd name="connsiteX359" fmla="*/ 1863771 w 5495992"/>
                <a:gd name="connsiteY359" fmla="*/ 634782 h 2374809"/>
                <a:gd name="connsiteX360" fmla="*/ 1836535 w 5495992"/>
                <a:gd name="connsiteY360" fmla="*/ 633445 h 2374809"/>
                <a:gd name="connsiteX361" fmla="*/ 1783769 w 5495992"/>
                <a:gd name="connsiteY361" fmla="*/ 621345 h 2374809"/>
                <a:gd name="connsiteX362" fmla="*/ 1771267 w 5495992"/>
                <a:gd name="connsiteY362" fmla="*/ 614661 h 2374809"/>
                <a:gd name="connsiteX363" fmla="*/ 1751216 w 5495992"/>
                <a:gd name="connsiteY363" fmla="*/ 609814 h 2374809"/>
                <a:gd name="connsiteX364" fmla="*/ 1768101 w 5495992"/>
                <a:gd name="connsiteY364" fmla="*/ 609279 h 2374809"/>
                <a:gd name="connsiteX365" fmla="*/ 1797001 w 5495992"/>
                <a:gd name="connsiteY365" fmla="*/ 615964 h 2374809"/>
                <a:gd name="connsiteX366" fmla="*/ 1825414 w 5495992"/>
                <a:gd name="connsiteY366" fmla="*/ 621178 h 2374809"/>
                <a:gd name="connsiteX367" fmla="*/ 1845709 w 5495992"/>
                <a:gd name="connsiteY367" fmla="*/ 616165 h 2374809"/>
                <a:gd name="connsiteX368" fmla="*/ 1869819 w 5495992"/>
                <a:gd name="connsiteY368" fmla="*/ 608544 h 2374809"/>
                <a:gd name="connsiteX369" fmla="*/ 1894741 w 5495992"/>
                <a:gd name="connsiteY369" fmla="*/ 604834 h 2374809"/>
                <a:gd name="connsiteX370" fmla="*/ 1910977 w 5495992"/>
                <a:gd name="connsiteY370" fmla="*/ 590195 h 2374809"/>
                <a:gd name="connsiteX371" fmla="*/ 1912073 w 5495992"/>
                <a:gd name="connsiteY371" fmla="*/ 578864 h 2374809"/>
                <a:gd name="connsiteX372" fmla="*/ 1898313 w 5495992"/>
                <a:gd name="connsiteY372" fmla="*/ 560381 h 2374809"/>
                <a:gd name="connsiteX373" fmla="*/ 1905335 w 5495992"/>
                <a:gd name="connsiteY373" fmla="*/ 539257 h 2374809"/>
                <a:gd name="connsiteX374" fmla="*/ 1920637 w 5495992"/>
                <a:gd name="connsiteY374" fmla="*/ 515493 h 2374809"/>
                <a:gd name="connsiteX375" fmla="*/ 1913899 w 5495992"/>
                <a:gd name="connsiteY375" fmla="*/ 480532 h 2374809"/>
                <a:gd name="connsiteX376" fmla="*/ 1928309 w 5495992"/>
                <a:gd name="connsiteY376" fmla="*/ 449414 h 2374809"/>
                <a:gd name="connsiteX377" fmla="*/ 1851878 w 5495992"/>
                <a:gd name="connsiteY377" fmla="*/ 429360 h 2374809"/>
                <a:gd name="connsiteX378" fmla="*/ 1817458 w 5495992"/>
                <a:gd name="connsiteY378" fmla="*/ 423645 h 2374809"/>
                <a:gd name="connsiteX379" fmla="*/ 1786366 w 5495992"/>
                <a:gd name="connsiteY379" fmla="*/ 440357 h 2374809"/>
                <a:gd name="connsiteX380" fmla="*/ 1755680 w 5495992"/>
                <a:gd name="connsiteY380" fmla="*/ 454628 h 2374809"/>
                <a:gd name="connsiteX381" fmla="*/ 1717932 w 5495992"/>
                <a:gd name="connsiteY381" fmla="*/ 455665 h 2374809"/>
                <a:gd name="connsiteX382" fmla="*/ 1719312 w 5495992"/>
                <a:gd name="connsiteY382" fmla="*/ 471039 h 2374809"/>
                <a:gd name="connsiteX383" fmla="*/ 1717486 w 5495992"/>
                <a:gd name="connsiteY383" fmla="*/ 485044 h 2374809"/>
                <a:gd name="connsiteX384" fmla="*/ 1717242 w 5495992"/>
                <a:gd name="connsiteY384" fmla="*/ 491027 h 2374809"/>
                <a:gd name="connsiteX385" fmla="*/ 1700316 w 5495992"/>
                <a:gd name="connsiteY385" fmla="*/ 495806 h 2374809"/>
                <a:gd name="connsiteX386" fmla="*/ 1718662 w 5495992"/>
                <a:gd name="connsiteY386" fmla="*/ 509945 h 2374809"/>
                <a:gd name="connsiteX387" fmla="*/ 1744437 w 5495992"/>
                <a:gd name="connsiteY387" fmla="*/ 528796 h 2374809"/>
                <a:gd name="connsiteX388" fmla="*/ 1765016 w 5495992"/>
                <a:gd name="connsiteY388" fmla="*/ 546677 h 2374809"/>
                <a:gd name="connsiteX389" fmla="*/ 1717648 w 5495992"/>
                <a:gd name="connsiteY389" fmla="*/ 540828 h 2374809"/>
                <a:gd name="connsiteX390" fmla="*/ 1643693 w 5495992"/>
                <a:gd name="connsiteY390" fmla="*/ 504764 h 2374809"/>
                <a:gd name="connsiteX391" fmla="*/ 1564137 w 5495992"/>
                <a:gd name="connsiteY391" fmla="*/ 473546 h 2374809"/>
                <a:gd name="connsiteX392" fmla="*/ 1473379 w 5495992"/>
                <a:gd name="connsiteY392" fmla="*/ 451086 h 2374809"/>
                <a:gd name="connsiteX393" fmla="*/ 1410749 w 5495992"/>
                <a:gd name="connsiteY393" fmla="*/ 433171 h 2374809"/>
                <a:gd name="connsiteX394" fmla="*/ 1469685 w 5495992"/>
                <a:gd name="connsiteY394" fmla="*/ 461480 h 2374809"/>
                <a:gd name="connsiteX395" fmla="*/ 1472323 w 5495992"/>
                <a:gd name="connsiteY395" fmla="*/ 472778 h 2374809"/>
                <a:gd name="connsiteX396" fmla="*/ 1484297 w 5495992"/>
                <a:gd name="connsiteY396" fmla="*/ 483841 h 2374809"/>
                <a:gd name="connsiteX397" fmla="*/ 1452272 w 5495992"/>
                <a:gd name="connsiteY397" fmla="*/ 486047 h 2374809"/>
                <a:gd name="connsiteX398" fmla="*/ 1438350 w 5495992"/>
                <a:gd name="connsiteY398" fmla="*/ 493734 h 2374809"/>
                <a:gd name="connsiteX399" fmla="*/ 1427066 w 5495992"/>
                <a:gd name="connsiteY399" fmla="*/ 480365 h 2374809"/>
                <a:gd name="connsiteX400" fmla="*/ 1404904 w 5495992"/>
                <a:gd name="connsiteY400" fmla="*/ 468499 h 2374809"/>
                <a:gd name="connsiteX401" fmla="*/ 1370605 w 5495992"/>
                <a:gd name="connsiteY401" fmla="*/ 470906 h 2374809"/>
                <a:gd name="connsiteX402" fmla="*/ 1339514 w 5495992"/>
                <a:gd name="connsiteY402" fmla="*/ 471441 h 2374809"/>
                <a:gd name="connsiteX403" fmla="*/ 1277493 w 5495992"/>
                <a:gd name="connsiteY403" fmla="*/ 464488 h 2374809"/>
                <a:gd name="connsiteX404" fmla="*/ 1257198 w 5495992"/>
                <a:gd name="connsiteY404" fmla="*/ 469870 h 2374809"/>
                <a:gd name="connsiteX405" fmla="*/ 1215837 w 5495992"/>
                <a:gd name="connsiteY405" fmla="*/ 462784 h 2374809"/>
                <a:gd name="connsiteX406" fmla="*/ 1227202 w 5495992"/>
                <a:gd name="connsiteY406" fmla="*/ 458706 h 2374809"/>
                <a:gd name="connsiteX407" fmla="*/ 1229800 w 5495992"/>
                <a:gd name="connsiteY407" fmla="*/ 454161 h 2374809"/>
                <a:gd name="connsiteX408" fmla="*/ 1238527 w 5495992"/>
                <a:gd name="connsiteY408" fmla="*/ 445537 h 2374809"/>
                <a:gd name="connsiteX409" fmla="*/ 1191117 w 5495992"/>
                <a:gd name="connsiteY409" fmla="*/ 443498 h 2374809"/>
                <a:gd name="connsiteX410" fmla="*/ 1172365 w 5495992"/>
                <a:gd name="connsiteY410" fmla="*/ 447509 h 2374809"/>
                <a:gd name="connsiteX411" fmla="*/ 1139000 w 5495992"/>
                <a:gd name="connsiteY411" fmla="*/ 442730 h 2374809"/>
                <a:gd name="connsiteX412" fmla="*/ 1098005 w 5495992"/>
                <a:gd name="connsiteY412" fmla="*/ 443298 h 2374809"/>
                <a:gd name="connsiteX413" fmla="*/ 1066304 w 5495992"/>
                <a:gd name="connsiteY413" fmla="*/ 448378 h 2374809"/>
                <a:gd name="connsiteX414" fmla="*/ 1043696 w 5495992"/>
                <a:gd name="connsiteY414" fmla="*/ 452255 h 2374809"/>
                <a:gd name="connsiteX415" fmla="*/ 1003755 w 5495992"/>
                <a:gd name="connsiteY415" fmla="*/ 455330 h 2374809"/>
                <a:gd name="connsiteX416" fmla="*/ 993405 w 5495992"/>
                <a:gd name="connsiteY416" fmla="*/ 469602 h 2374809"/>
                <a:gd name="connsiteX417" fmla="*/ 955250 w 5495992"/>
                <a:gd name="connsiteY417" fmla="*/ 466460 h 2374809"/>
                <a:gd name="connsiteX418" fmla="*/ 927284 w 5495992"/>
                <a:gd name="connsiteY418" fmla="*/ 458238 h 2374809"/>
                <a:gd name="connsiteX419" fmla="*/ 910074 w 5495992"/>
                <a:gd name="connsiteY419" fmla="*/ 441961 h 2374809"/>
                <a:gd name="connsiteX420" fmla="*/ 939948 w 5495992"/>
                <a:gd name="connsiteY420" fmla="*/ 436012 h 2374809"/>
                <a:gd name="connsiteX421" fmla="*/ 971892 w 5495992"/>
                <a:gd name="connsiteY421" fmla="*/ 437716 h 2374809"/>
                <a:gd name="connsiteX422" fmla="*/ 952896 w 5495992"/>
                <a:gd name="connsiteY422" fmla="*/ 420269 h 2374809"/>
                <a:gd name="connsiteX423" fmla="*/ 915757 w 5495992"/>
                <a:gd name="connsiteY423" fmla="*/ 409072 h 2374809"/>
                <a:gd name="connsiteX424" fmla="*/ 866156 w 5495992"/>
                <a:gd name="connsiteY424" fmla="*/ 401585 h 2374809"/>
                <a:gd name="connsiteX425" fmla="*/ 871270 w 5495992"/>
                <a:gd name="connsiteY425" fmla="*/ 408771 h 2374809"/>
                <a:gd name="connsiteX426" fmla="*/ 860676 w 5495992"/>
                <a:gd name="connsiteY426" fmla="*/ 444601 h 2374809"/>
                <a:gd name="connsiteX427" fmla="*/ 884584 w 5495992"/>
                <a:gd name="connsiteY427" fmla="*/ 455832 h 2374809"/>
                <a:gd name="connsiteX428" fmla="*/ 872163 w 5495992"/>
                <a:gd name="connsiteY428" fmla="*/ 471975 h 2374809"/>
                <a:gd name="connsiteX429" fmla="*/ 855927 w 5495992"/>
                <a:gd name="connsiteY429" fmla="*/ 472410 h 2374809"/>
                <a:gd name="connsiteX430" fmla="*/ 846510 w 5495992"/>
                <a:gd name="connsiteY430" fmla="*/ 466260 h 2374809"/>
                <a:gd name="connsiteX431" fmla="*/ 825850 w 5495992"/>
                <a:gd name="connsiteY431" fmla="*/ 461280 h 2374809"/>
                <a:gd name="connsiteX432" fmla="*/ 789076 w 5495992"/>
                <a:gd name="connsiteY432" fmla="*/ 461982 h 2374809"/>
                <a:gd name="connsiteX433" fmla="*/ 751855 w 5495992"/>
                <a:gd name="connsiteY433" fmla="*/ 465525 h 2374809"/>
                <a:gd name="connsiteX434" fmla="*/ 717110 w 5495992"/>
                <a:gd name="connsiteY434" fmla="*/ 475217 h 2374809"/>
                <a:gd name="connsiteX435" fmla="*/ 733914 w 5495992"/>
                <a:gd name="connsiteY435" fmla="*/ 498814 h 2374809"/>
                <a:gd name="connsiteX436" fmla="*/ 689266 w 5495992"/>
                <a:gd name="connsiteY436" fmla="*/ 495873 h 2374809"/>
                <a:gd name="connsiteX437" fmla="*/ 654440 w 5495992"/>
                <a:gd name="connsiteY437" fmla="*/ 489790 h 2374809"/>
                <a:gd name="connsiteX438" fmla="*/ 619979 w 5495992"/>
                <a:gd name="connsiteY438" fmla="*/ 475217 h 2374809"/>
                <a:gd name="connsiteX439" fmla="*/ 600496 w 5495992"/>
                <a:gd name="connsiteY439" fmla="*/ 480799 h 2374809"/>
                <a:gd name="connsiteX440" fmla="*/ 606625 w 5495992"/>
                <a:gd name="connsiteY440" fmla="*/ 493533 h 2374809"/>
                <a:gd name="connsiteX441" fmla="*/ 644982 w 5495992"/>
                <a:gd name="connsiteY441" fmla="*/ 508307 h 2374809"/>
                <a:gd name="connsiteX442" fmla="*/ 606016 w 5495992"/>
                <a:gd name="connsiteY442" fmla="*/ 510145 h 2374809"/>
                <a:gd name="connsiteX443" fmla="*/ 588400 w 5495992"/>
                <a:gd name="connsiteY443" fmla="*/ 506134 h 2374809"/>
                <a:gd name="connsiteX444" fmla="*/ 557836 w 5495992"/>
                <a:gd name="connsiteY444" fmla="*/ 494636 h 2374809"/>
                <a:gd name="connsiteX445" fmla="*/ 540626 w 5495992"/>
                <a:gd name="connsiteY445" fmla="*/ 486782 h 2374809"/>
                <a:gd name="connsiteX446" fmla="*/ 534375 w 5495992"/>
                <a:gd name="connsiteY446" fmla="*/ 470404 h 2374809"/>
                <a:gd name="connsiteX447" fmla="*/ 536770 w 5495992"/>
                <a:gd name="connsiteY447" fmla="*/ 459441 h 2374809"/>
                <a:gd name="connsiteX448" fmla="*/ 535755 w 5495992"/>
                <a:gd name="connsiteY448" fmla="*/ 443432 h 2374809"/>
                <a:gd name="connsiteX449" fmla="*/ 508926 w 5495992"/>
                <a:gd name="connsiteY449" fmla="*/ 436012 h 2374809"/>
                <a:gd name="connsiteX450" fmla="*/ 489605 w 5495992"/>
                <a:gd name="connsiteY450" fmla="*/ 426619 h 2374809"/>
                <a:gd name="connsiteX451" fmla="*/ 463709 w 5495992"/>
                <a:gd name="connsiteY451" fmla="*/ 413618 h 2374809"/>
                <a:gd name="connsiteX452" fmla="*/ 449136 w 5495992"/>
                <a:gd name="connsiteY452" fmla="*/ 405763 h 2374809"/>
                <a:gd name="connsiteX453" fmla="*/ 462856 w 5495992"/>
                <a:gd name="connsiteY453" fmla="*/ 406432 h 2374809"/>
                <a:gd name="connsiteX454" fmla="*/ 486723 w 5495992"/>
                <a:gd name="connsiteY454" fmla="*/ 416659 h 2374809"/>
                <a:gd name="connsiteX455" fmla="*/ 550449 w 5495992"/>
                <a:gd name="connsiteY455" fmla="*/ 431733 h 2374809"/>
                <a:gd name="connsiteX456" fmla="*/ 680336 w 5495992"/>
                <a:gd name="connsiteY456" fmla="*/ 455832 h 2374809"/>
                <a:gd name="connsiteX457" fmla="*/ 773246 w 5495992"/>
                <a:gd name="connsiteY457" fmla="*/ 440657 h 2374809"/>
                <a:gd name="connsiteX458" fmla="*/ 763788 w 5495992"/>
                <a:gd name="connsiteY458" fmla="*/ 418364 h 2374809"/>
                <a:gd name="connsiteX459" fmla="*/ 722793 w 5495992"/>
                <a:gd name="connsiteY459" fmla="*/ 401652 h 2374809"/>
                <a:gd name="connsiteX460" fmla="*/ 690930 w 5495992"/>
                <a:gd name="connsiteY460" fmla="*/ 390723 h 2374809"/>
                <a:gd name="connsiteX461" fmla="*/ 645023 w 5495992"/>
                <a:gd name="connsiteY461" fmla="*/ 373677 h 2374809"/>
                <a:gd name="connsiteX462" fmla="*/ 582393 w 5495992"/>
                <a:gd name="connsiteY462" fmla="*/ 353455 h 2374809"/>
                <a:gd name="connsiteX463" fmla="*/ 564574 w 5495992"/>
                <a:gd name="connsiteY463" fmla="*/ 350915 h 2374809"/>
                <a:gd name="connsiteX464" fmla="*/ 541641 w 5495992"/>
                <a:gd name="connsiteY464" fmla="*/ 345935 h 2374809"/>
                <a:gd name="connsiteX465" fmla="*/ 515622 w 5495992"/>
                <a:gd name="connsiteY465" fmla="*/ 346603 h 2374809"/>
                <a:gd name="connsiteX466" fmla="*/ 488468 w 5495992"/>
                <a:gd name="connsiteY466" fmla="*/ 342593 h 2374809"/>
                <a:gd name="connsiteX467" fmla="*/ 484409 w 5495992"/>
                <a:gd name="connsiteY467" fmla="*/ 335273 h 2374809"/>
                <a:gd name="connsiteX468" fmla="*/ 463505 w 5495992"/>
                <a:gd name="connsiteY468" fmla="*/ 324477 h 2374809"/>
                <a:gd name="connsiteX469" fmla="*/ 423565 w 5495992"/>
                <a:gd name="connsiteY469" fmla="*/ 324678 h 2374809"/>
                <a:gd name="connsiteX470" fmla="*/ 387318 w 5495992"/>
                <a:gd name="connsiteY470" fmla="*/ 332332 h 2374809"/>
                <a:gd name="connsiteX471" fmla="*/ 359433 w 5495992"/>
                <a:gd name="connsiteY471" fmla="*/ 336510 h 2374809"/>
                <a:gd name="connsiteX472" fmla="*/ 342021 w 5495992"/>
                <a:gd name="connsiteY472" fmla="*/ 345300 h 2374809"/>
                <a:gd name="connsiteX473" fmla="*/ 334186 w 5495992"/>
                <a:gd name="connsiteY473" fmla="*/ 365354 h 2374809"/>
                <a:gd name="connsiteX474" fmla="*/ 371651 w 5495992"/>
                <a:gd name="connsiteY474" fmla="*/ 380629 h 2374809"/>
                <a:gd name="connsiteX475" fmla="*/ 349935 w 5495992"/>
                <a:gd name="connsiteY475" fmla="*/ 411679 h 2374809"/>
                <a:gd name="connsiteX476" fmla="*/ 378632 w 5495992"/>
                <a:gd name="connsiteY476" fmla="*/ 438919 h 2374809"/>
                <a:gd name="connsiteX477" fmla="*/ 361747 w 5495992"/>
                <a:gd name="connsiteY477" fmla="*/ 451587 h 2374809"/>
                <a:gd name="connsiteX478" fmla="*/ 366496 w 5495992"/>
                <a:gd name="connsiteY478" fmla="*/ 459609 h 2374809"/>
                <a:gd name="connsiteX479" fmla="*/ 361381 w 5495992"/>
                <a:gd name="connsiteY479" fmla="*/ 464254 h 2374809"/>
                <a:gd name="connsiteX480" fmla="*/ 374208 w 5495992"/>
                <a:gd name="connsiteY480" fmla="*/ 470638 h 2374809"/>
                <a:gd name="connsiteX481" fmla="*/ 374208 w 5495992"/>
                <a:gd name="connsiteY481" fmla="*/ 480030 h 2374809"/>
                <a:gd name="connsiteX482" fmla="*/ 373396 w 5495992"/>
                <a:gd name="connsiteY482" fmla="*/ 492397 h 2374809"/>
                <a:gd name="connsiteX483" fmla="*/ 388252 w 5495992"/>
                <a:gd name="connsiteY483" fmla="*/ 506402 h 2374809"/>
                <a:gd name="connsiteX484" fmla="*/ 416421 w 5495992"/>
                <a:gd name="connsiteY484" fmla="*/ 527325 h 2374809"/>
                <a:gd name="connsiteX485" fmla="*/ 375588 w 5495992"/>
                <a:gd name="connsiteY485" fmla="*/ 543335 h 2374809"/>
                <a:gd name="connsiteX486" fmla="*/ 339829 w 5495992"/>
                <a:gd name="connsiteY486" fmla="*/ 559010 h 2374809"/>
                <a:gd name="connsiteX487" fmla="*/ 289619 w 5495992"/>
                <a:gd name="connsiteY487" fmla="*/ 577326 h 2374809"/>
                <a:gd name="connsiteX488" fmla="*/ 321157 w 5495992"/>
                <a:gd name="connsiteY488" fmla="*/ 585682 h 2374809"/>
                <a:gd name="connsiteX489" fmla="*/ 355537 w 5495992"/>
                <a:gd name="connsiteY489" fmla="*/ 595008 h 2374809"/>
                <a:gd name="connsiteX490" fmla="*/ 321035 w 5495992"/>
                <a:gd name="connsiteY490" fmla="*/ 595342 h 2374809"/>
                <a:gd name="connsiteX491" fmla="*/ 287386 w 5495992"/>
                <a:gd name="connsiteY491" fmla="*/ 603464 h 2374809"/>
                <a:gd name="connsiteX492" fmla="*/ 269933 w 5495992"/>
                <a:gd name="connsiteY492" fmla="*/ 619908 h 2374809"/>
                <a:gd name="connsiteX493" fmla="*/ 275656 w 5495992"/>
                <a:gd name="connsiteY493" fmla="*/ 641700 h 2374809"/>
                <a:gd name="connsiteX494" fmla="*/ 265346 w 5495992"/>
                <a:gd name="connsiteY494" fmla="*/ 652630 h 2374809"/>
                <a:gd name="connsiteX495" fmla="*/ 274479 w 5495992"/>
                <a:gd name="connsiteY495" fmla="*/ 662924 h 2374809"/>
                <a:gd name="connsiteX496" fmla="*/ 277239 w 5495992"/>
                <a:gd name="connsiteY496" fmla="*/ 672951 h 2374809"/>
                <a:gd name="connsiteX497" fmla="*/ 295058 w 5495992"/>
                <a:gd name="connsiteY497" fmla="*/ 690666 h 2374809"/>
                <a:gd name="connsiteX498" fmla="*/ 315353 w 5495992"/>
                <a:gd name="connsiteY498" fmla="*/ 692571 h 2374809"/>
                <a:gd name="connsiteX499" fmla="*/ 335079 w 5495992"/>
                <a:gd name="connsiteY499" fmla="*/ 699790 h 2374809"/>
                <a:gd name="connsiteX500" fmla="*/ 374654 w 5495992"/>
                <a:gd name="connsiteY500" fmla="*/ 720379 h 2374809"/>
                <a:gd name="connsiteX501" fmla="*/ 415244 w 5495992"/>
                <a:gd name="connsiteY501" fmla="*/ 753435 h 2374809"/>
                <a:gd name="connsiteX502" fmla="*/ 415691 w 5495992"/>
                <a:gd name="connsiteY502" fmla="*/ 767574 h 2374809"/>
                <a:gd name="connsiteX503" fmla="*/ 386547 w 5495992"/>
                <a:gd name="connsiteY503" fmla="*/ 765000 h 2374809"/>
                <a:gd name="connsiteX504" fmla="*/ 391743 w 5495992"/>
                <a:gd name="connsiteY504" fmla="*/ 785455 h 2374809"/>
                <a:gd name="connsiteX505" fmla="*/ 418897 w 5495992"/>
                <a:gd name="connsiteY505" fmla="*/ 788196 h 2374809"/>
                <a:gd name="connsiteX506" fmla="*/ 451734 w 5495992"/>
                <a:gd name="connsiteY506" fmla="*/ 789466 h 2374809"/>
                <a:gd name="connsiteX507" fmla="*/ 472029 w 5495992"/>
                <a:gd name="connsiteY507" fmla="*/ 803604 h 2374809"/>
                <a:gd name="connsiteX508" fmla="*/ 513715 w 5495992"/>
                <a:gd name="connsiteY508" fmla="*/ 832850 h 2374809"/>
                <a:gd name="connsiteX509" fmla="*/ 535715 w 5495992"/>
                <a:gd name="connsiteY509" fmla="*/ 842609 h 2374809"/>
                <a:gd name="connsiteX510" fmla="*/ 557877 w 5495992"/>
                <a:gd name="connsiteY510" fmla="*/ 845952 h 2374809"/>
                <a:gd name="connsiteX511" fmla="*/ 576142 w 5495992"/>
                <a:gd name="connsiteY511" fmla="*/ 846821 h 2374809"/>
                <a:gd name="connsiteX512" fmla="*/ 651639 w 5495992"/>
                <a:gd name="connsiteY512" fmla="*/ 871320 h 2374809"/>
                <a:gd name="connsiteX513" fmla="*/ 652370 w 5495992"/>
                <a:gd name="connsiteY513" fmla="*/ 884088 h 2374809"/>
                <a:gd name="connsiteX514" fmla="*/ 646159 w 5495992"/>
                <a:gd name="connsiteY514" fmla="*/ 893280 h 2374809"/>
                <a:gd name="connsiteX515" fmla="*/ 644576 w 5495992"/>
                <a:gd name="connsiteY515" fmla="*/ 907785 h 2374809"/>
                <a:gd name="connsiteX516" fmla="*/ 614621 w 5495992"/>
                <a:gd name="connsiteY516" fmla="*/ 905112 h 2374809"/>
                <a:gd name="connsiteX517" fmla="*/ 588847 w 5495992"/>
                <a:gd name="connsiteY517" fmla="*/ 912632 h 2374809"/>
                <a:gd name="connsiteX518" fmla="*/ 620304 w 5495992"/>
                <a:gd name="connsiteY518" fmla="*/ 921088 h 2374809"/>
                <a:gd name="connsiteX519" fmla="*/ 579308 w 5495992"/>
                <a:gd name="connsiteY519" fmla="*/ 931416 h 2374809"/>
                <a:gd name="connsiteX520" fmla="*/ 583367 w 5495992"/>
                <a:gd name="connsiteY520" fmla="*/ 943716 h 2374809"/>
                <a:gd name="connsiteX521" fmla="*/ 559338 w 5495992"/>
                <a:gd name="connsiteY521" fmla="*/ 955314 h 2374809"/>
                <a:gd name="connsiteX522" fmla="*/ 597533 w 5495992"/>
                <a:gd name="connsiteY522" fmla="*/ 982821 h 2374809"/>
                <a:gd name="connsiteX523" fmla="*/ 624281 w 5495992"/>
                <a:gd name="connsiteY523" fmla="*/ 999533 h 2374809"/>
                <a:gd name="connsiteX524" fmla="*/ 644576 w 5495992"/>
                <a:gd name="connsiteY524" fmla="*/ 1002073 h 2374809"/>
                <a:gd name="connsiteX525" fmla="*/ 690321 w 5495992"/>
                <a:gd name="connsiteY525" fmla="*/ 1014306 h 2374809"/>
                <a:gd name="connsiteX526" fmla="*/ 731195 w 5495992"/>
                <a:gd name="connsiteY526" fmla="*/ 1019621 h 2374809"/>
                <a:gd name="connsiteX527" fmla="*/ 772921 w 5495992"/>
                <a:gd name="connsiteY527" fmla="*/ 1035564 h 2374809"/>
                <a:gd name="connsiteX528" fmla="*/ 814769 w 5495992"/>
                <a:gd name="connsiteY528" fmla="*/ 1042249 h 2374809"/>
                <a:gd name="connsiteX529" fmla="*/ 818828 w 5495992"/>
                <a:gd name="connsiteY529" fmla="*/ 1052075 h 2374809"/>
                <a:gd name="connsiteX530" fmla="*/ 832629 w 5495992"/>
                <a:gd name="connsiteY530" fmla="*/ 1057523 h 2374809"/>
                <a:gd name="connsiteX531" fmla="*/ 868429 w 5495992"/>
                <a:gd name="connsiteY531" fmla="*/ 1075204 h 2374809"/>
                <a:gd name="connsiteX532" fmla="*/ 906908 w 5495992"/>
                <a:gd name="connsiteY532" fmla="*/ 1072363 h 2374809"/>
                <a:gd name="connsiteX533" fmla="*/ 876263 w 5495992"/>
                <a:gd name="connsiteY533" fmla="*/ 1040277 h 2374809"/>
                <a:gd name="connsiteX534" fmla="*/ 868145 w 5495992"/>
                <a:gd name="connsiteY534" fmla="*/ 1013805 h 2374809"/>
                <a:gd name="connsiteX535" fmla="*/ 949324 w 5495992"/>
                <a:gd name="connsiteY535" fmla="*/ 980682 h 2374809"/>
                <a:gd name="connsiteX536" fmla="*/ 933819 w 5495992"/>
                <a:gd name="connsiteY536" fmla="*/ 967647 h 2374809"/>
                <a:gd name="connsiteX537" fmla="*/ 917583 w 5495992"/>
                <a:gd name="connsiteY537" fmla="*/ 943616 h 2374809"/>
                <a:gd name="connsiteX538" fmla="*/ 884259 w 5495992"/>
                <a:gd name="connsiteY538" fmla="*/ 936931 h 2374809"/>
                <a:gd name="connsiteX539" fmla="*/ 871311 w 5495992"/>
                <a:gd name="connsiteY539" fmla="*/ 922191 h 2374809"/>
                <a:gd name="connsiteX540" fmla="*/ 878130 w 5495992"/>
                <a:gd name="connsiteY540" fmla="*/ 911395 h 2374809"/>
                <a:gd name="connsiteX541" fmla="*/ 880403 w 5495992"/>
                <a:gd name="connsiteY541" fmla="*/ 900633 h 2374809"/>
                <a:gd name="connsiteX542" fmla="*/ 893879 w 5495992"/>
                <a:gd name="connsiteY542" fmla="*/ 894249 h 2374809"/>
                <a:gd name="connsiteX543" fmla="*/ 903539 w 5495992"/>
                <a:gd name="connsiteY543" fmla="*/ 886361 h 2374809"/>
                <a:gd name="connsiteX544" fmla="*/ 935727 w 5495992"/>
                <a:gd name="connsiteY544" fmla="*/ 898494 h 2374809"/>
                <a:gd name="connsiteX545" fmla="*/ 950095 w 5495992"/>
                <a:gd name="connsiteY545" fmla="*/ 890773 h 2374809"/>
                <a:gd name="connsiteX546" fmla="*/ 972298 w 5495992"/>
                <a:gd name="connsiteY546" fmla="*/ 878640 h 2374809"/>
                <a:gd name="connsiteX547" fmla="*/ 1006110 w 5495992"/>
                <a:gd name="connsiteY547" fmla="*/ 875298 h 2374809"/>
                <a:gd name="connsiteX548" fmla="*/ 1045725 w 5495992"/>
                <a:gd name="connsiteY548" fmla="*/ 875532 h 2374809"/>
                <a:gd name="connsiteX549" fmla="*/ 1072230 w 5495992"/>
                <a:gd name="connsiteY549" fmla="*/ 874730 h 2374809"/>
                <a:gd name="connsiteX550" fmla="*/ 1097517 w 5495992"/>
                <a:gd name="connsiteY550" fmla="*/ 884757 h 2374809"/>
                <a:gd name="connsiteX551" fmla="*/ 1128569 w 5495992"/>
                <a:gd name="connsiteY551" fmla="*/ 896355 h 2374809"/>
                <a:gd name="connsiteX552" fmla="*/ 1149513 w 5495992"/>
                <a:gd name="connsiteY552" fmla="*/ 912598 h 2374809"/>
                <a:gd name="connsiteX553" fmla="*/ 1162827 w 5495992"/>
                <a:gd name="connsiteY553" fmla="*/ 909958 h 2374809"/>
                <a:gd name="connsiteX554" fmla="*/ 1197165 w 5495992"/>
                <a:gd name="connsiteY554" fmla="*/ 918180 h 2374809"/>
                <a:gd name="connsiteX555" fmla="*/ 1223143 w 5495992"/>
                <a:gd name="connsiteY555" fmla="*/ 914136 h 2374809"/>
                <a:gd name="connsiteX556" fmla="*/ 1246198 w 5495992"/>
                <a:gd name="connsiteY556" fmla="*/ 921756 h 2374809"/>
                <a:gd name="connsiteX557" fmla="*/ 1271038 w 5495992"/>
                <a:gd name="connsiteY557" fmla="*/ 920520 h 2374809"/>
                <a:gd name="connsiteX558" fmla="*/ 1291333 w 5495992"/>
                <a:gd name="connsiteY558" fmla="*/ 932251 h 2374809"/>
                <a:gd name="connsiteX559" fmla="*/ 1314916 w 5495992"/>
                <a:gd name="connsiteY559" fmla="*/ 942479 h 2374809"/>
                <a:gd name="connsiteX560" fmla="*/ 1328636 w 5495992"/>
                <a:gd name="connsiteY560" fmla="*/ 936964 h 2374809"/>
                <a:gd name="connsiteX561" fmla="*/ 1376897 w 5495992"/>
                <a:gd name="connsiteY561" fmla="*/ 944284 h 2374809"/>
                <a:gd name="connsiteX562" fmla="*/ 1340731 w 5495992"/>
                <a:gd name="connsiteY562" fmla="*/ 918815 h 2374809"/>
                <a:gd name="connsiteX563" fmla="*/ 1355343 w 5495992"/>
                <a:gd name="connsiteY563" fmla="*/ 912131 h 2374809"/>
                <a:gd name="connsiteX564" fmla="*/ 1364436 w 5495992"/>
                <a:gd name="connsiteY564" fmla="*/ 901468 h 2374809"/>
                <a:gd name="connsiteX565" fmla="*/ 1409937 w 5495992"/>
                <a:gd name="connsiteY565" fmla="*/ 899931 h 2374809"/>
                <a:gd name="connsiteX566" fmla="*/ 1385583 w 5495992"/>
                <a:gd name="connsiteY566" fmla="*/ 889302 h 2374809"/>
                <a:gd name="connsiteX567" fmla="*/ 1385299 w 5495992"/>
                <a:gd name="connsiteY567" fmla="*/ 873025 h 2374809"/>
                <a:gd name="connsiteX568" fmla="*/ 1424630 w 5495992"/>
                <a:gd name="connsiteY568" fmla="*/ 879108 h 2374809"/>
                <a:gd name="connsiteX569" fmla="*/ 1474190 w 5495992"/>
                <a:gd name="connsiteY569" fmla="*/ 882116 h 2374809"/>
                <a:gd name="connsiteX570" fmla="*/ 1522127 w 5495992"/>
                <a:gd name="connsiteY570" fmla="*/ 887497 h 2374809"/>
                <a:gd name="connsiteX571" fmla="*/ 1563447 w 5495992"/>
                <a:gd name="connsiteY571" fmla="*/ 890539 h 2374809"/>
                <a:gd name="connsiteX572" fmla="*/ 1631882 w 5495992"/>
                <a:gd name="connsiteY572" fmla="*/ 895185 h 2374809"/>
                <a:gd name="connsiteX573" fmla="*/ 1686678 w 5495992"/>
                <a:gd name="connsiteY573" fmla="*/ 901201 h 2374809"/>
                <a:gd name="connsiteX574" fmla="*/ 1722194 w 5495992"/>
                <a:gd name="connsiteY574" fmla="*/ 913534 h 2374809"/>
                <a:gd name="connsiteX575" fmla="*/ 1724061 w 5495992"/>
                <a:gd name="connsiteY575" fmla="*/ 925132 h 2374809"/>
                <a:gd name="connsiteX576" fmla="*/ 1718541 w 5495992"/>
                <a:gd name="connsiteY576" fmla="*/ 935159 h 2374809"/>
                <a:gd name="connsiteX577" fmla="*/ 1748943 w 5495992"/>
                <a:gd name="connsiteY577" fmla="*/ 939037 h 2374809"/>
                <a:gd name="connsiteX578" fmla="*/ 1768872 w 5495992"/>
                <a:gd name="connsiteY578" fmla="*/ 949064 h 2374809"/>
                <a:gd name="connsiteX579" fmla="*/ 1791156 w 5495992"/>
                <a:gd name="connsiteY579" fmla="*/ 955514 h 2374809"/>
                <a:gd name="connsiteX580" fmla="*/ 1785879 w 5495992"/>
                <a:gd name="connsiteY580" fmla="*/ 962567 h 2374809"/>
                <a:gd name="connsiteX581" fmla="*/ 1801384 w 5495992"/>
                <a:gd name="connsiteY581" fmla="*/ 967814 h 2374809"/>
                <a:gd name="connsiteX582" fmla="*/ 1816444 w 5495992"/>
                <a:gd name="connsiteY582" fmla="*/ 970522 h 2374809"/>
                <a:gd name="connsiteX583" fmla="*/ 1836373 w 5495992"/>
                <a:gd name="connsiteY583" fmla="*/ 970054 h 2374809"/>
                <a:gd name="connsiteX584" fmla="*/ 1881021 w 5495992"/>
                <a:gd name="connsiteY584" fmla="*/ 968349 h 2374809"/>
                <a:gd name="connsiteX585" fmla="*/ 1900383 w 5495992"/>
                <a:gd name="connsiteY585" fmla="*/ 971691 h 2374809"/>
                <a:gd name="connsiteX586" fmla="*/ 1896689 w 5495992"/>
                <a:gd name="connsiteY586" fmla="*/ 976638 h 2374809"/>
                <a:gd name="connsiteX587" fmla="*/ 1911708 w 5495992"/>
                <a:gd name="connsiteY587" fmla="*/ 991645 h 2374809"/>
                <a:gd name="connsiteX588" fmla="*/ 1936061 w 5495992"/>
                <a:gd name="connsiteY588" fmla="*/ 1014641 h 2374809"/>
                <a:gd name="connsiteX589" fmla="*/ 1968533 w 5495992"/>
                <a:gd name="connsiteY589" fmla="*/ 1068118 h 2374809"/>
                <a:gd name="connsiteX590" fmla="*/ 2005916 w 5495992"/>
                <a:gd name="connsiteY590" fmla="*/ 1074536 h 2374809"/>
                <a:gd name="connsiteX591" fmla="*/ 2035019 w 5495992"/>
                <a:gd name="connsiteY591" fmla="*/ 1092518 h 2374809"/>
                <a:gd name="connsiteX592" fmla="*/ 2079262 w 5495992"/>
                <a:gd name="connsiteY592" fmla="*/ 1098768 h 2374809"/>
                <a:gd name="connsiteX593" fmla="*/ 2100125 w 5495992"/>
                <a:gd name="connsiteY593" fmla="*/ 1114243 h 2374809"/>
                <a:gd name="connsiteX594" fmla="*/ 2120420 w 5495992"/>
                <a:gd name="connsiteY594" fmla="*/ 1129852 h 2374809"/>
                <a:gd name="connsiteX595" fmla="*/ 2134099 w 5495992"/>
                <a:gd name="connsiteY595" fmla="*/ 1146564 h 2374809"/>
                <a:gd name="connsiteX596" fmla="*/ 2171198 w 5495992"/>
                <a:gd name="connsiteY596" fmla="*/ 1154552 h 2374809"/>
                <a:gd name="connsiteX597" fmla="*/ 2287690 w 5495992"/>
                <a:gd name="connsiteY597" fmla="*/ 1174606 h 2374809"/>
                <a:gd name="connsiteX598" fmla="*/ 2352188 w 5495992"/>
                <a:gd name="connsiteY598" fmla="*/ 1180121 h 2374809"/>
                <a:gd name="connsiteX599" fmla="*/ 2382427 w 5495992"/>
                <a:gd name="connsiteY599" fmla="*/ 1192822 h 2374809"/>
                <a:gd name="connsiteX600" fmla="*/ 2398378 w 5495992"/>
                <a:gd name="connsiteY600" fmla="*/ 1207194 h 2374809"/>
                <a:gd name="connsiteX601" fmla="*/ 2454961 w 5495992"/>
                <a:gd name="connsiteY601" fmla="*/ 1233231 h 2374809"/>
                <a:gd name="connsiteX602" fmla="*/ 2484713 w 5495992"/>
                <a:gd name="connsiteY602" fmla="*/ 1239448 h 2374809"/>
                <a:gd name="connsiteX603" fmla="*/ 2503871 w 5495992"/>
                <a:gd name="connsiteY603" fmla="*/ 1231526 h 2374809"/>
                <a:gd name="connsiteX604" fmla="*/ 2530498 w 5495992"/>
                <a:gd name="connsiteY604" fmla="*/ 1210570 h 2374809"/>
                <a:gd name="connsiteX605" fmla="*/ 2560413 w 5495992"/>
                <a:gd name="connsiteY605" fmla="*/ 1215316 h 2374809"/>
                <a:gd name="connsiteX606" fmla="*/ 2598405 w 5495992"/>
                <a:gd name="connsiteY606" fmla="*/ 1235370 h 2374809"/>
                <a:gd name="connsiteX607" fmla="*/ 2629497 w 5495992"/>
                <a:gd name="connsiteY607" fmla="*/ 1252082 h 2374809"/>
                <a:gd name="connsiteX608" fmla="*/ 2632825 w 5495992"/>
                <a:gd name="connsiteY608" fmla="*/ 1268794 h 2374809"/>
                <a:gd name="connsiteX609" fmla="*/ 2680315 w 5495992"/>
                <a:gd name="connsiteY609" fmla="*/ 1299744 h 2374809"/>
                <a:gd name="connsiteX610" fmla="*/ 2795793 w 5495992"/>
                <a:gd name="connsiteY610" fmla="*/ 1344832 h 2374809"/>
                <a:gd name="connsiteX611" fmla="*/ 2810893 w 5495992"/>
                <a:gd name="connsiteY611" fmla="*/ 1363215 h 2374809"/>
                <a:gd name="connsiteX612" fmla="*/ 2836748 w 5495992"/>
                <a:gd name="connsiteY612" fmla="*/ 1375615 h 2374809"/>
                <a:gd name="connsiteX613" fmla="*/ 2888378 w 5495992"/>
                <a:gd name="connsiteY613" fmla="*/ 1396004 h 2374809"/>
                <a:gd name="connsiteX614" fmla="*/ 2949263 w 5495992"/>
                <a:gd name="connsiteY614" fmla="*/ 1410008 h 2374809"/>
                <a:gd name="connsiteX615" fmla="*/ 2980517 w 5495992"/>
                <a:gd name="connsiteY615" fmla="*/ 1411044 h 2374809"/>
                <a:gd name="connsiteX616" fmla="*/ 3019280 w 5495992"/>
                <a:gd name="connsiteY616" fmla="*/ 1422876 h 2374809"/>
                <a:gd name="connsiteX617" fmla="*/ 3042700 w 5495992"/>
                <a:gd name="connsiteY617" fmla="*/ 1438318 h 2374809"/>
                <a:gd name="connsiteX618" fmla="*/ 3073102 w 5495992"/>
                <a:gd name="connsiteY618" fmla="*/ 1452323 h 2374809"/>
                <a:gd name="connsiteX619" fmla="*/ 3130659 w 5495992"/>
                <a:gd name="connsiteY619" fmla="*/ 1473580 h 2374809"/>
                <a:gd name="connsiteX620" fmla="*/ 3156514 w 5495992"/>
                <a:gd name="connsiteY620" fmla="*/ 1469970 h 2374809"/>
                <a:gd name="connsiteX621" fmla="*/ 3178757 w 5495992"/>
                <a:gd name="connsiteY621" fmla="*/ 1461882 h 2374809"/>
                <a:gd name="connsiteX622" fmla="*/ 3222919 w 5495992"/>
                <a:gd name="connsiteY622" fmla="*/ 1445170 h 2374809"/>
                <a:gd name="connsiteX623" fmla="*/ 3212122 w 5495992"/>
                <a:gd name="connsiteY623" fmla="*/ 1434174 h 2374809"/>
                <a:gd name="connsiteX624" fmla="*/ 3248410 w 5495992"/>
                <a:gd name="connsiteY624" fmla="*/ 1433839 h 2374809"/>
                <a:gd name="connsiteX625" fmla="*/ 3310269 w 5495992"/>
                <a:gd name="connsiteY625" fmla="*/ 1457704 h 2374809"/>
                <a:gd name="connsiteX626" fmla="*/ 3377972 w 5495992"/>
                <a:gd name="connsiteY626" fmla="*/ 1499116 h 2374809"/>
                <a:gd name="connsiteX627" fmla="*/ 3386739 w 5495992"/>
                <a:gd name="connsiteY627" fmla="*/ 1517398 h 2374809"/>
                <a:gd name="connsiteX628" fmla="*/ 3393396 w 5495992"/>
                <a:gd name="connsiteY628" fmla="*/ 1535915 h 2374809"/>
                <a:gd name="connsiteX629" fmla="*/ 3403381 w 5495992"/>
                <a:gd name="connsiteY629" fmla="*/ 1581605 h 2374809"/>
                <a:gd name="connsiteX630" fmla="*/ 3401717 w 5495992"/>
                <a:gd name="connsiteY630" fmla="*/ 1595977 h 2374809"/>
                <a:gd name="connsiteX631" fmla="*/ 3433620 w 5495992"/>
                <a:gd name="connsiteY631" fmla="*/ 1618271 h 2374809"/>
                <a:gd name="connsiteX632" fmla="*/ 3458827 w 5495992"/>
                <a:gd name="connsiteY632" fmla="*/ 1638325 h 2374809"/>
                <a:gd name="connsiteX633" fmla="*/ 3473277 w 5495992"/>
                <a:gd name="connsiteY633" fmla="*/ 1658780 h 2374809"/>
                <a:gd name="connsiteX634" fmla="*/ 3478554 w 5495992"/>
                <a:gd name="connsiteY634" fmla="*/ 1679570 h 2374809"/>
                <a:gd name="connsiteX635" fmla="*/ 3519874 w 5495992"/>
                <a:gd name="connsiteY635" fmla="*/ 1699189 h 2374809"/>
                <a:gd name="connsiteX636" fmla="*/ 3552671 w 5495992"/>
                <a:gd name="connsiteY636" fmla="*/ 1705874 h 2374809"/>
                <a:gd name="connsiteX637" fmla="*/ 3578120 w 5495992"/>
                <a:gd name="connsiteY637" fmla="*/ 1715166 h 2374809"/>
                <a:gd name="connsiteX638" fmla="*/ 3575603 w 5495992"/>
                <a:gd name="connsiteY638" fmla="*/ 1732780 h 2374809"/>
                <a:gd name="connsiteX639" fmla="*/ 3565822 w 5495992"/>
                <a:gd name="connsiteY639" fmla="*/ 1733682 h 2374809"/>
                <a:gd name="connsiteX640" fmla="*/ 3548205 w 5495992"/>
                <a:gd name="connsiteY640" fmla="*/ 1741002 h 2374809"/>
                <a:gd name="connsiteX641" fmla="*/ 3520767 w 5495992"/>
                <a:gd name="connsiteY641" fmla="*/ 1746584 h 2374809"/>
                <a:gd name="connsiteX642" fmla="*/ 3496413 w 5495992"/>
                <a:gd name="connsiteY642" fmla="*/ 1751430 h 2374809"/>
                <a:gd name="connsiteX643" fmla="*/ 3470760 w 5495992"/>
                <a:gd name="connsiteY643" fmla="*/ 1739364 h 2374809"/>
                <a:gd name="connsiteX644" fmla="*/ 3439100 w 5495992"/>
                <a:gd name="connsiteY644" fmla="*/ 1733214 h 2374809"/>
                <a:gd name="connsiteX645" fmla="*/ 3417019 w 5495992"/>
                <a:gd name="connsiteY645" fmla="*/ 1770716 h 2374809"/>
                <a:gd name="connsiteX646" fmla="*/ 3460044 w 5495992"/>
                <a:gd name="connsiteY646" fmla="*/ 1789566 h 2374809"/>
                <a:gd name="connsiteX647" fmla="*/ 3495764 w 5495992"/>
                <a:gd name="connsiteY647" fmla="*/ 1805877 h 2374809"/>
                <a:gd name="connsiteX648" fmla="*/ 3570245 w 5495992"/>
                <a:gd name="connsiteY648" fmla="*/ 1808351 h 2374809"/>
                <a:gd name="connsiteX649" fmla="*/ 3681746 w 5495992"/>
                <a:gd name="connsiteY649" fmla="*/ 1799092 h 2374809"/>
                <a:gd name="connsiteX650" fmla="*/ 3762926 w 5495992"/>
                <a:gd name="connsiteY650" fmla="*/ 1785155 h 2374809"/>
                <a:gd name="connsiteX651" fmla="*/ 3809887 w 5495992"/>
                <a:gd name="connsiteY651" fmla="*/ 1750027 h 2374809"/>
                <a:gd name="connsiteX652" fmla="*/ 3828356 w 5495992"/>
                <a:gd name="connsiteY652" fmla="*/ 1745247 h 2374809"/>
                <a:gd name="connsiteX653" fmla="*/ 3841507 w 5495992"/>
                <a:gd name="connsiteY653" fmla="*/ 1734986 h 2374809"/>
                <a:gd name="connsiteX654" fmla="*/ 3847636 w 5495992"/>
                <a:gd name="connsiteY654" fmla="*/ 1723421 h 2374809"/>
                <a:gd name="connsiteX655" fmla="*/ 3848164 w 5495992"/>
                <a:gd name="connsiteY655" fmla="*/ 1711155 h 2374809"/>
                <a:gd name="connsiteX656" fmla="*/ 3835987 w 5495992"/>
                <a:gd name="connsiteY656" fmla="*/ 1694777 h 2374809"/>
                <a:gd name="connsiteX657" fmla="*/ 3819386 w 5495992"/>
                <a:gd name="connsiteY657" fmla="*/ 1674489 h 2374809"/>
                <a:gd name="connsiteX658" fmla="*/ 3798279 w 5495992"/>
                <a:gd name="connsiteY658" fmla="*/ 1662590 h 2374809"/>
                <a:gd name="connsiteX659" fmla="*/ 3784519 w 5495992"/>
                <a:gd name="connsiteY659" fmla="*/ 1664328 h 2374809"/>
                <a:gd name="connsiteX660" fmla="*/ 3747379 w 5495992"/>
                <a:gd name="connsiteY660" fmla="*/ 1656407 h 2374809"/>
                <a:gd name="connsiteX661" fmla="*/ 3755497 w 5495992"/>
                <a:gd name="connsiteY661" fmla="*/ 1651627 h 2374809"/>
                <a:gd name="connsiteX662" fmla="*/ 3764549 w 5495992"/>
                <a:gd name="connsiteY662" fmla="*/ 1641901 h 2374809"/>
                <a:gd name="connsiteX663" fmla="*/ 3730575 w 5495992"/>
                <a:gd name="connsiteY663" fmla="*/ 1635684 h 2374809"/>
                <a:gd name="connsiteX664" fmla="*/ 3740682 w 5495992"/>
                <a:gd name="connsiteY664" fmla="*/ 1625122 h 2374809"/>
                <a:gd name="connsiteX665" fmla="*/ 3716328 w 5495992"/>
                <a:gd name="connsiteY665" fmla="*/ 1612622 h 2374809"/>
                <a:gd name="connsiteX666" fmla="*/ 3725096 w 5495992"/>
                <a:gd name="connsiteY666" fmla="*/ 1599253 h 2374809"/>
                <a:gd name="connsiteX667" fmla="*/ 3747258 w 5495992"/>
                <a:gd name="connsiteY667" fmla="*/ 1599620 h 2374809"/>
                <a:gd name="connsiteX668" fmla="*/ 3782570 w 5495992"/>
                <a:gd name="connsiteY668" fmla="*/ 1605369 h 2374809"/>
                <a:gd name="connsiteX669" fmla="*/ 3833023 w 5495992"/>
                <a:gd name="connsiteY669" fmla="*/ 1605369 h 2374809"/>
                <a:gd name="connsiteX670" fmla="*/ 3908521 w 5495992"/>
                <a:gd name="connsiteY670" fmla="*/ 1610917 h 2374809"/>
                <a:gd name="connsiteX671" fmla="*/ 3955361 w 5495992"/>
                <a:gd name="connsiteY671" fmla="*/ 1613625 h 2374809"/>
                <a:gd name="connsiteX672" fmla="*/ 4015150 w 5495992"/>
                <a:gd name="connsiteY672" fmla="*/ 1626092 h 2374809"/>
                <a:gd name="connsiteX673" fmla="*/ 4074452 w 5495992"/>
                <a:gd name="connsiteY673" fmla="*/ 1658546 h 2374809"/>
                <a:gd name="connsiteX674" fmla="*/ 4093367 w 5495992"/>
                <a:gd name="connsiteY674" fmla="*/ 1674289 h 2374809"/>
                <a:gd name="connsiteX675" fmla="*/ 4118857 w 5495992"/>
                <a:gd name="connsiteY675" fmla="*/ 1684650 h 2374809"/>
                <a:gd name="connsiteX676" fmla="*/ 4146214 w 5495992"/>
                <a:gd name="connsiteY676" fmla="*/ 1698019 h 2374809"/>
                <a:gd name="connsiteX677" fmla="*/ 4171867 w 5495992"/>
                <a:gd name="connsiteY677" fmla="*/ 1712793 h 2374809"/>
                <a:gd name="connsiteX678" fmla="*/ 4198412 w 5495992"/>
                <a:gd name="connsiteY678" fmla="*/ 1716402 h 2374809"/>
                <a:gd name="connsiteX679" fmla="*/ 4224269 w 5495992"/>
                <a:gd name="connsiteY679" fmla="*/ 1731744 h 2374809"/>
                <a:gd name="connsiteX680" fmla="*/ 4238881 w 5495992"/>
                <a:gd name="connsiteY680" fmla="*/ 1746116 h 2374809"/>
                <a:gd name="connsiteX681" fmla="*/ 4257633 w 5495992"/>
                <a:gd name="connsiteY681" fmla="*/ 1758650 h 2374809"/>
                <a:gd name="connsiteX682" fmla="*/ 4260393 w 5495992"/>
                <a:gd name="connsiteY682" fmla="*/ 1769479 h 2374809"/>
                <a:gd name="connsiteX683" fmla="*/ 4240748 w 5495992"/>
                <a:gd name="connsiteY683" fmla="*/ 1766137 h 2374809"/>
                <a:gd name="connsiteX684" fmla="*/ 4271758 w 5495992"/>
                <a:gd name="connsiteY684" fmla="*/ 1780743 h 2374809"/>
                <a:gd name="connsiteX685" fmla="*/ 4310847 w 5495992"/>
                <a:gd name="connsiteY685" fmla="*/ 1798056 h 2374809"/>
                <a:gd name="connsiteX686" fmla="*/ 4331425 w 5495992"/>
                <a:gd name="connsiteY686" fmla="*/ 1809019 h 2374809"/>
                <a:gd name="connsiteX687" fmla="*/ 4361381 w 5495992"/>
                <a:gd name="connsiteY687" fmla="*/ 1823024 h 2374809"/>
                <a:gd name="connsiteX688" fmla="*/ 4343683 w 5495992"/>
                <a:gd name="connsiteY688" fmla="*/ 1801298 h 2374809"/>
                <a:gd name="connsiteX689" fmla="*/ 4395192 w 5495992"/>
                <a:gd name="connsiteY689" fmla="*/ 1800730 h 2374809"/>
                <a:gd name="connsiteX690" fmla="*/ 4443047 w 5495992"/>
                <a:gd name="connsiteY690" fmla="*/ 1811426 h 2374809"/>
                <a:gd name="connsiteX691" fmla="*/ 4473814 w 5495992"/>
                <a:gd name="connsiteY691" fmla="*/ 1810590 h 2374809"/>
                <a:gd name="connsiteX692" fmla="*/ 4526134 w 5495992"/>
                <a:gd name="connsiteY692" fmla="*/ 1837329 h 2374809"/>
                <a:gd name="connsiteX693" fmla="*/ 4549920 w 5495992"/>
                <a:gd name="connsiteY693" fmla="*/ 1854876 h 2374809"/>
                <a:gd name="connsiteX694" fmla="*/ 4538150 w 5495992"/>
                <a:gd name="connsiteY694" fmla="*/ 1862463 h 2374809"/>
                <a:gd name="connsiteX695" fmla="*/ 4545821 w 5495992"/>
                <a:gd name="connsiteY695" fmla="*/ 1880880 h 2374809"/>
                <a:gd name="connsiteX696" fmla="*/ 4532954 w 5495992"/>
                <a:gd name="connsiteY696" fmla="*/ 1880880 h 2374809"/>
                <a:gd name="connsiteX697" fmla="*/ 4555846 w 5495992"/>
                <a:gd name="connsiteY697" fmla="*/ 1890907 h 2374809"/>
                <a:gd name="connsiteX698" fmla="*/ 4630856 w 5495992"/>
                <a:gd name="connsiteY698" fmla="*/ 1913167 h 2374809"/>
                <a:gd name="connsiteX699" fmla="*/ 4660202 w 5495992"/>
                <a:gd name="connsiteY699" fmla="*/ 1902705 h 2374809"/>
                <a:gd name="connsiteX700" fmla="*/ 4711468 w 5495992"/>
                <a:gd name="connsiteY700" fmla="*/ 1935494 h 2374809"/>
                <a:gd name="connsiteX701" fmla="*/ 4679767 w 5495992"/>
                <a:gd name="connsiteY701" fmla="*/ 1922125 h 2374809"/>
                <a:gd name="connsiteX702" fmla="*/ 4657117 w 5495992"/>
                <a:gd name="connsiteY702" fmla="*/ 1931483 h 2374809"/>
                <a:gd name="connsiteX703" fmla="*/ 4655738 w 5495992"/>
                <a:gd name="connsiteY703" fmla="*/ 1937031 h 2374809"/>
                <a:gd name="connsiteX704" fmla="*/ 4644616 w 5495992"/>
                <a:gd name="connsiteY704" fmla="*/ 1934993 h 2374809"/>
                <a:gd name="connsiteX705" fmla="*/ 4634712 w 5495992"/>
                <a:gd name="connsiteY705" fmla="*/ 1938335 h 2374809"/>
                <a:gd name="connsiteX706" fmla="*/ 4612916 w 5495992"/>
                <a:gd name="connsiteY706" fmla="*/ 1929110 h 2374809"/>
                <a:gd name="connsiteX707" fmla="*/ 4582717 w 5495992"/>
                <a:gd name="connsiteY707" fmla="*/ 1920219 h 2374809"/>
                <a:gd name="connsiteX708" fmla="*/ 4548216 w 5495992"/>
                <a:gd name="connsiteY708" fmla="*/ 1917913 h 2374809"/>
                <a:gd name="connsiteX709" fmla="*/ 4517570 w 5495992"/>
                <a:gd name="connsiteY709" fmla="*/ 1913234 h 2374809"/>
                <a:gd name="connsiteX710" fmla="*/ 4466955 w 5495992"/>
                <a:gd name="connsiteY710" fmla="*/ 1908588 h 2374809"/>
                <a:gd name="connsiteX711" fmla="*/ 4411266 w 5495992"/>
                <a:gd name="connsiteY711" fmla="*/ 1895486 h 2374809"/>
                <a:gd name="connsiteX712" fmla="*/ 4382325 w 5495992"/>
                <a:gd name="connsiteY712" fmla="*/ 1881548 h 2374809"/>
                <a:gd name="connsiteX713" fmla="*/ 4377454 w 5495992"/>
                <a:gd name="connsiteY713" fmla="*/ 1887999 h 2374809"/>
                <a:gd name="connsiteX714" fmla="*/ 4352533 w 5495992"/>
                <a:gd name="connsiteY714" fmla="*/ 1892779 h 2374809"/>
                <a:gd name="connsiteX715" fmla="*/ 4278375 w 5495992"/>
                <a:gd name="connsiteY715" fmla="*/ 1961029 h 2374809"/>
                <a:gd name="connsiteX716" fmla="*/ 4276061 w 5495992"/>
                <a:gd name="connsiteY716" fmla="*/ 1976471 h 2374809"/>
                <a:gd name="connsiteX717" fmla="*/ 4264940 w 5495992"/>
                <a:gd name="connsiteY717" fmla="*/ 1995857 h 2374809"/>
                <a:gd name="connsiteX718" fmla="*/ 4265670 w 5495992"/>
                <a:gd name="connsiteY718" fmla="*/ 2013973 h 2374809"/>
                <a:gd name="connsiteX719" fmla="*/ 4304230 w 5495992"/>
                <a:gd name="connsiteY719" fmla="*/ 2017850 h 2374809"/>
                <a:gd name="connsiteX720" fmla="*/ 4333253 w 5495992"/>
                <a:gd name="connsiteY720" fmla="*/ 2016914 h 2374809"/>
                <a:gd name="connsiteX721" fmla="*/ 4352694 w 5495992"/>
                <a:gd name="connsiteY721" fmla="*/ 2009561 h 2374809"/>
                <a:gd name="connsiteX722" fmla="*/ 4385775 w 5495992"/>
                <a:gd name="connsiteY722" fmla="*/ 2021392 h 2374809"/>
                <a:gd name="connsiteX723" fmla="*/ 4401037 w 5495992"/>
                <a:gd name="connsiteY723" fmla="*/ 2009561 h 2374809"/>
                <a:gd name="connsiteX724" fmla="*/ 4437568 w 5495992"/>
                <a:gd name="connsiteY724" fmla="*/ 2015243 h 2374809"/>
                <a:gd name="connsiteX725" fmla="*/ 4473611 w 5495992"/>
                <a:gd name="connsiteY725" fmla="*/ 2033325 h 2374809"/>
                <a:gd name="connsiteX726" fmla="*/ 4481080 w 5495992"/>
                <a:gd name="connsiteY726" fmla="*/ 2016613 h 2374809"/>
                <a:gd name="connsiteX727" fmla="*/ 4507585 w 5495992"/>
                <a:gd name="connsiteY727" fmla="*/ 2010831 h 2374809"/>
                <a:gd name="connsiteX728" fmla="*/ 4538270 w 5495992"/>
                <a:gd name="connsiteY728" fmla="*/ 2025704 h 2374809"/>
                <a:gd name="connsiteX729" fmla="*/ 4533400 w 5495992"/>
                <a:gd name="connsiteY729" fmla="*/ 2008290 h 2374809"/>
                <a:gd name="connsiteX730" fmla="*/ 4541518 w 5495992"/>
                <a:gd name="connsiteY730" fmla="*/ 1996559 h 2374809"/>
                <a:gd name="connsiteX731" fmla="*/ 4562787 w 5495992"/>
                <a:gd name="connsiteY731" fmla="*/ 1992314 h 2374809"/>
                <a:gd name="connsiteX732" fmla="*/ 4536079 w 5495992"/>
                <a:gd name="connsiteY732" fmla="*/ 1972260 h 2374809"/>
                <a:gd name="connsiteX733" fmla="*/ 4565385 w 5495992"/>
                <a:gd name="connsiteY733" fmla="*/ 1963804 h 2374809"/>
                <a:gd name="connsiteX734" fmla="*/ 4632521 w 5495992"/>
                <a:gd name="connsiteY734" fmla="*/ 1966043 h 2374809"/>
                <a:gd name="connsiteX735" fmla="*/ 4651029 w 5495992"/>
                <a:gd name="connsiteY735" fmla="*/ 1983423 h 2374809"/>
                <a:gd name="connsiteX736" fmla="*/ 4680254 w 5495992"/>
                <a:gd name="connsiteY736" fmla="*/ 1987735 h 2374809"/>
                <a:gd name="connsiteX737" fmla="*/ 4701239 w 5495992"/>
                <a:gd name="connsiteY737" fmla="*/ 2012970 h 2374809"/>
                <a:gd name="connsiteX738" fmla="*/ 4781688 w 5495992"/>
                <a:gd name="connsiteY738" fmla="*/ 2048232 h 2374809"/>
                <a:gd name="connsiteX739" fmla="*/ 4803079 w 5495992"/>
                <a:gd name="connsiteY739" fmla="*/ 2071628 h 2374809"/>
                <a:gd name="connsiteX740" fmla="*/ 4820572 w 5495992"/>
                <a:gd name="connsiteY740" fmla="*/ 2083527 h 2374809"/>
                <a:gd name="connsiteX741" fmla="*/ 4861528 w 5495992"/>
                <a:gd name="connsiteY741" fmla="*/ 2095961 h 2374809"/>
                <a:gd name="connsiteX742" fmla="*/ 4897003 w 5495992"/>
                <a:gd name="connsiteY742" fmla="*/ 2106924 h 2374809"/>
                <a:gd name="connsiteX743" fmla="*/ 4970512 w 5495992"/>
                <a:gd name="connsiteY743" fmla="*/ 2131690 h 2374809"/>
                <a:gd name="connsiteX744" fmla="*/ 5050148 w 5495992"/>
                <a:gd name="connsiteY744" fmla="*/ 2165114 h 2374809"/>
                <a:gd name="connsiteX745" fmla="*/ 5063989 w 5495992"/>
                <a:gd name="connsiteY745" fmla="*/ 2173771 h 2374809"/>
                <a:gd name="connsiteX746" fmla="*/ 5098937 w 5495992"/>
                <a:gd name="connsiteY746" fmla="*/ 2205556 h 2374809"/>
                <a:gd name="connsiteX747" fmla="*/ 5123088 w 5495992"/>
                <a:gd name="connsiteY747" fmla="*/ 2187642 h 2374809"/>
                <a:gd name="connsiteX748" fmla="*/ 5113630 w 5495992"/>
                <a:gd name="connsiteY748" fmla="*/ 2150441 h 2374809"/>
                <a:gd name="connsiteX749" fmla="*/ 5109571 w 5495992"/>
                <a:gd name="connsiteY749" fmla="*/ 2130654 h 2374809"/>
                <a:gd name="connsiteX750" fmla="*/ 5082254 w 5495992"/>
                <a:gd name="connsiteY750" fmla="*/ 2109698 h 2374809"/>
                <a:gd name="connsiteX751" fmla="*/ 5107218 w 5495992"/>
                <a:gd name="connsiteY751" fmla="*/ 2116850 h 2374809"/>
                <a:gd name="connsiteX752" fmla="*/ 5129014 w 5495992"/>
                <a:gd name="connsiteY752" fmla="*/ 2146932 h 2374809"/>
                <a:gd name="connsiteX753" fmla="*/ 5199641 w 5495992"/>
                <a:gd name="connsiteY753" fmla="*/ 2180121 h 2374809"/>
                <a:gd name="connsiteX754" fmla="*/ 5222006 w 5495992"/>
                <a:gd name="connsiteY754" fmla="*/ 2177949 h 2374809"/>
                <a:gd name="connsiteX755" fmla="*/ 5216119 w 5495992"/>
                <a:gd name="connsiteY755" fmla="*/ 2163844 h 2374809"/>
                <a:gd name="connsiteX756" fmla="*/ 5231422 w 5495992"/>
                <a:gd name="connsiteY756" fmla="*/ 2165950 h 2374809"/>
                <a:gd name="connsiteX757" fmla="*/ 5260566 w 5495992"/>
                <a:gd name="connsiteY757" fmla="*/ 2179954 h 2374809"/>
                <a:gd name="connsiteX758" fmla="*/ 5242463 w 5495992"/>
                <a:gd name="connsiteY758" fmla="*/ 2186639 h 2374809"/>
                <a:gd name="connsiteX759" fmla="*/ 5260809 w 5495992"/>
                <a:gd name="connsiteY759" fmla="*/ 2212241 h 2374809"/>
                <a:gd name="connsiteX760" fmla="*/ 5308421 w 5495992"/>
                <a:gd name="connsiteY760" fmla="*/ 2262143 h 2374809"/>
                <a:gd name="connsiteX761" fmla="*/ 5328473 w 5495992"/>
                <a:gd name="connsiteY761" fmla="*/ 2297538 h 2374809"/>
                <a:gd name="connsiteX762" fmla="*/ 5338254 w 5495992"/>
                <a:gd name="connsiteY762" fmla="*/ 2309671 h 2374809"/>
                <a:gd name="connsiteX763" fmla="*/ 5353313 w 5495992"/>
                <a:gd name="connsiteY763" fmla="*/ 2328355 h 2374809"/>
                <a:gd name="connsiteX764" fmla="*/ 5380468 w 5495992"/>
                <a:gd name="connsiteY764" fmla="*/ 2348242 h 2374809"/>
                <a:gd name="connsiteX765" fmla="*/ 5376409 w 5495992"/>
                <a:gd name="connsiteY765" fmla="*/ 2332065 h 2374809"/>
                <a:gd name="connsiteX766" fmla="*/ 5392645 w 5495992"/>
                <a:gd name="connsiteY766" fmla="*/ 2343730 h 2374809"/>
                <a:gd name="connsiteX767" fmla="*/ 5406283 w 5495992"/>
                <a:gd name="connsiteY767" fmla="*/ 2335307 h 2374809"/>
                <a:gd name="connsiteX768" fmla="*/ 5413670 w 5495992"/>
                <a:gd name="connsiteY768" fmla="*/ 2324210 h 2374809"/>
                <a:gd name="connsiteX769" fmla="*/ 5448699 w 5495992"/>
                <a:gd name="connsiteY769" fmla="*/ 2358703 h 2374809"/>
                <a:gd name="connsiteX770" fmla="*/ 5440865 w 5495992"/>
                <a:gd name="connsiteY770" fmla="*/ 2345869 h 2374809"/>
                <a:gd name="connsiteX771" fmla="*/ 5463717 w 5495992"/>
                <a:gd name="connsiteY771" fmla="*/ 2364920 h 2374809"/>
                <a:gd name="connsiteX772" fmla="*/ 5480481 w 5495992"/>
                <a:gd name="connsiteY772" fmla="*/ 2366224 h 2374809"/>
                <a:gd name="connsiteX773" fmla="*/ 5492658 w 5495992"/>
                <a:gd name="connsiteY773" fmla="*/ 2368864 h 2374809"/>
                <a:gd name="connsiteX774" fmla="*/ 2856475 w 5495992"/>
                <a:gd name="connsiteY774" fmla="*/ 1286441 h 2374809"/>
                <a:gd name="connsiteX775" fmla="*/ 2777162 w 5495992"/>
                <a:gd name="connsiteY775" fmla="*/ 1279757 h 2374809"/>
                <a:gd name="connsiteX776" fmla="*/ 2761576 w 5495992"/>
                <a:gd name="connsiteY776" fmla="*/ 1285305 h 2374809"/>
                <a:gd name="connsiteX777" fmla="*/ 2727643 w 5495992"/>
                <a:gd name="connsiteY777" fmla="*/ 1282230 h 2374809"/>
                <a:gd name="connsiteX778" fmla="*/ 2697931 w 5495992"/>
                <a:gd name="connsiteY778" fmla="*/ 1269061 h 2374809"/>
                <a:gd name="connsiteX779" fmla="*/ 2764052 w 5495992"/>
                <a:gd name="connsiteY779" fmla="*/ 1269696 h 2374809"/>
                <a:gd name="connsiteX780" fmla="*/ 2843324 w 5495992"/>
                <a:gd name="connsiteY780" fmla="*/ 1264883 h 2374809"/>
                <a:gd name="connsiteX781" fmla="*/ 2914964 w 5495992"/>
                <a:gd name="connsiteY781" fmla="*/ 1242790 h 2374809"/>
                <a:gd name="connsiteX782" fmla="*/ 2907253 w 5495992"/>
                <a:gd name="connsiteY782" fmla="*/ 1263646 h 2374809"/>
                <a:gd name="connsiteX783" fmla="*/ 2856475 w 5495992"/>
                <a:gd name="connsiteY783" fmla="*/ 1286575 h 2374809"/>
                <a:gd name="connsiteX784" fmla="*/ 3272236 w 5495992"/>
                <a:gd name="connsiteY784" fmla="*/ 790669 h 2374809"/>
                <a:gd name="connsiteX785" fmla="*/ 3250521 w 5495992"/>
                <a:gd name="connsiteY785" fmla="*/ 792875 h 2374809"/>
                <a:gd name="connsiteX786" fmla="*/ 3296224 w 5495992"/>
                <a:gd name="connsiteY786" fmla="*/ 809587 h 2374809"/>
                <a:gd name="connsiteX787" fmla="*/ 3272236 w 5495992"/>
                <a:gd name="connsiteY787" fmla="*/ 790536 h 2374809"/>
                <a:gd name="connsiteX788" fmla="*/ 1454951 w 5495992"/>
                <a:gd name="connsiteY788" fmla="*/ 46493 h 2374809"/>
                <a:gd name="connsiteX789" fmla="*/ 1482227 w 5495992"/>
                <a:gd name="connsiteY789" fmla="*/ 45189 h 2374809"/>
                <a:gd name="connsiteX790" fmla="*/ 1518393 w 5495992"/>
                <a:gd name="connsiteY790" fmla="*/ 50404 h 2374809"/>
                <a:gd name="connsiteX791" fmla="*/ 1519813 w 5495992"/>
                <a:gd name="connsiteY791" fmla="*/ 44321 h 2374809"/>
                <a:gd name="connsiteX792" fmla="*/ 1484419 w 5495992"/>
                <a:gd name="connsiteY792" fmla="*/ 37168 h 2374809"/>
                <a:gd name="connsiteX793" fmla="*/ 1460715 w 5495992"/>
                <a:gd name="connsiteY793" fmla="*/ 35630 h 2374809"/>
                <a:gd name="connsiteX794" fmla="*/ 1455600 w 5495992"/>
                <a:gd name="connsiteY794" fmla="*/ 38271 h 2374809"/>
                <a:gd name="connsiteX795" fmla="*/ 1408110 w 5495992"/>
                <a:gd name="connsiteY795" fmla="*/ 32756 h 2374809"/>
                <a:gd name="connsiteX796" fmla="*/ 1454951 w 5495992"/>
                <a:gd name="connsiteY796" fmla="*/ 46493 h 2374809"/>
                <a:gd name="connsiteX797" fmla="*/ 1311507 w 5495992"/>
                <a:gd name="connsiteY797" fmla="*/ 58325 h 2374809"/>
                <a:gd name="connsiteX798" fmla="*/ 1265072 w 5495992"/>
                <a:gd name="connsiteY798" fmla="*/ 53980 h 2374809"/>
                <a:gd name="connsiteX799" fmla="*/ 1311547 w 5495992"/>
                <a:gd name="connsiteY799" fmla="*/ 58325 h 2374809"/>
                <a:gd name="connsiteX800" fmla="*/ 1453896 w 5495992"/>
                <a:gd name="connsiteY800" fmla="*/ 74101 h 2374809"/>
                <a:gd name="connsiteX801" fmla="*/ 1401373 w 5495992"/>
                <a:gd name="connsiteY801" fmla="*/ 80451 h 2374809"/>
                <a:gd name="connsiteX802" fmla="*/ 1479589 w 5495992"/>
                <a:gd name="connsiteY802" fmla="*/ 91448 h 2374809"/>
                <a:gd name="connsiteX803" fmla="*/ 1512669 w 5495992"/>
                <a:gd name="connsiteY803" fmla="*/ 84329 h 2374809"/>
                <a:gd name="connsiteX804" fmla="*/ 1453896 w 5495992"/>
                <a:gd name="connsiteY804" fmla="*/ 74101 h 2374809"/>
                <a:gd name="connsiteX805" fmla="*/ 1453936 w 5495992"/>
                <a:gd name="connsiteY805" fmla="*/ 74101 h 2374809"/>
                <a:gd name="connsiteX806" fmla="*/ 1642679 w 5495992"/>
                <a:gd name="connsiteY806" fmla="*/ 97130 h 2374809"/>
                <a:gd name="connsiteX807" fmla="*/ 1604118 w 5495992"/>
                <a:gd name="connsiteY807" fmla="*/ 77076 h 2374809"/>
                <a:gd name="connsiteX808" fmla="*/ 1571646 w 5495992"/>
                <a:gd name="connsiteY808" fmla="*/ 72697 h 2374809"/>
                <a:gd name="connsiteX809" fmla="*/ 1556994 w 5495992"/>
                <a:gd name="connsiteY809" fmla="*/ 77744 h 2374809"/>
                <a:gd name="connsiteX810" fmla="*/ 1534669 w 5495992"/>
                <a:gd name="connsiteY810" fmla="*/ 82657 h 2374809"/>
                <a:gd name="connsiteX811" fmla="*/ 1567669 w 5495992"/>
                <a:gd name="connsiteY811" fmla="*/ 93687 h 2374809"/>
                <a:gd name="connsiteX812" fmla="*/ 1642841 w 5495992"/>
                <a:gd name="connsiteY812" fmla="*/ 97030 h 2374809"/>
                <a:gd name="connsiteX813" fmla="*/ 1471187 w 5495992"/>
                <a:gd name="connsiteY813" fmla="*/ 58960 h 2374809"/>
                <a:gd name="connsiteX814" fmla="*/ 1444641 w 5495992"/>
                <a:gd name="connsiteY814" fmla="*/ 48933 h 2374809"/>
                <a:gd name="connsiteX815" fmla="*/ 1384487 w 5495992"/>
                <a:gd name="connsiteY815" fmla="*/ 33525 h 2374809"/>
                <a:gd name="connsiteX816" fmla="*/ 1382052 w 5495992"/>
                <a:gd name="connsiteY816" fmla="*/ 41045 h 2374809"/>
                <a:gd name="connsiteX817" fmla="*/ 1348078 w 5495992"/>
                <a:gd name="connsiteY817" fmla="*/ 41246 h 2374809"/>
                <a:gd name="connsiteX818" fmla="*/ 1396014 w 5495992"/>
                <a:gd name="connsiteY818" fmla="*/ 57690 h 2374809"/>
                <a:gd name="connsiteX819" fmla="*/ 1471187 w 5495992"/>
                <a:gd name="connsiteY819" fmla="*/ 58960 h 2374809"/>
                <a:gd name="connsiteX820" fmla="*/ 1246888 w 5495992"/>
                <a:gd name="connsiteY820" fmla="*/ 308501 h 2374809"/>
                <a:gd name="connsiteX821" fmla="*/ 1212549 w 5495992"/>
                <a:gd name="connsiteY821" fmla="*/ 313180 h 2374809"/>
                <a:gd name="connsiteX822" fmla="*/ 1228785 w 5495992"/>
                <a:gd name="connsiteY822" fmla="*/ 326282 h 2374809"/>
                <a:gd name="connsiteX823" fmla="*/ 1207840 w 5495992"/>
                <a:gd name="connsiteY823" fmla="*/ 330460 h 2374809"/>
                <a:gd name="connsiteX824" fmla="*/ 1186937 w 5495992"/>
                <a:gd name="connsiteY824" fmla="*/ 335006 h 2374809"/>
                <a:gd name="connsiteX825" fmla="*/ 1157753 w 5495992"/>
                <a:gd name="connsiteY825" fmla="*/ 341155 h 2374809"/>
                <a:gd name="connsiteX826" fmla="*/ 1186166 w 5495992"/>
                <a:gd name="connsiteY826" fmla="*/ 351684 h 2374809"/>
                <a:gd name="connsiteX827" fmla="*/ 1193391 w 5495992"/>
                <a:gd name="connsiteY827" fmla="*/ 361210 h 2374809"/>
                <a:gd name="connsiteX828" fmla="*/ 1212711 w 5495992"/>
                <a:gd name="connsiteY828" fmla="*/ 369198 h 2374809"/>
                <a:gd name="connsiteX829" fmla="*/ 1220017 w 5495992"/>
                <a:gd name="connsiteY829" fmla="*/ 361276 h 2374809"/>
                <a:gd name="connsiteX830" fmla="*/ 1240312 w 5495992"/>
                <a:gd name="connsiteY830" fmla="*/ 371972 h 2374809"/>
                <a:gd name="connsiteX831" fmla="*/ 1234427 w 5495992"/>
                <a:gd name="connsiteY831" fmla="*/ 380863 h 2374809"/>
                <a:gd name="connsiteX832" fmla="*/ 1306595 w 5495992"/>
                <a:gd name="connsiteY832" fmla="*/ 400917 h 2374809"/>
                <a:gd name="connsiteX833" fmla="*/ 1371011 w 5495992"/>
                <a:gd name="connsiteY833" fmla="*/ 409607 h 2374809"/>
                <a:gd name="connsiteX834" fmla="*/ 1348240 w 5495992"/>
                <a:gd name="connsiteY834" fmla="*/ 394132 h 2374809"/>
                <a:gd name="connsiteX835" fmla="*/ 1311426 w 5495992"/>
                <a:gd name="connsiteY835" fmla="*/ 364619 h 2374809"/>
                <a:gd name="connsiteX836" fmla="*/ 1341583 w 5495992"/>
                <a:gd name="connsiteY836" fmla="*/ 334337 h 2374809"/>
                <a:gd name="connsiteX837" fmla="*/ 1374542 w 5495992"/>
                <a:gd name="connsiteY837" fmla="*/ 322238 h 2374809"/>
                <a:gd name="connsiteX838" fmla="*/ 1381889 w 5495992"/>
                <a:gd name="connsiteY838" fmla="*/ 316723 h 2374809"/>
                <a:gd name="connsiteX839" fmla="*/ 1402509 w 5495992"/>
                <a:gd name="connsiteY839" fmla="*/ 315586 h 2374809"/>
                <a:gd name="connsiteX840" fmla="*/ 1421789 w 5495992"/>
                <a:gd name="connsiteY840" fmla="*/ 308467 h 2374809"/>
                <a:gd name="connsiteX841" fmla="*/ 1441028 w 5495992"/>
                <a:gd name="connsiteY841" fmla="*/ 297571 h 2374809"/>
                <a:gd name="connsiteX842" fmla="*/ 1462744 w 5495992"/>
                <a:gd name="connsiteY842" fmla="*/ 296836 h 2374809"/>
                <a:gd name="connsiteX843" fmla="*/ 1481334 w 5495992"/>
                <a:gd name="connsiteY843" fmla="*/ 295064 h 2374809"/>
                <a:gd name="connsiteX844" fmla="*/ 1508976 w 5495992"/>
                <a:gd name="connsiteY844" fmla="*/ 296568 h 2374809"/>
                <a:gd name="connsiteX845" fmla="*/ 1562392 w 5495992"/>
                <a:gd name="connsiteY845" fmla="*/ 290118 h 2374809"/>
                <a:gd name="connsiteX846" fmla="*/ 1669265 w 5495992"/>
                <a:gd name="connsiteY846" fmla="*/ 291989 h 2374809"/>
                <a:gd name="connsiteX847" fmla="*/ 1838727 w 5495992"/>
                <a:gd name="connsiteY847" fmla="*/ 287811 h 2374809"/>
                <a:gd name="connsiteX848" fmla="*/ 1750363 w 5495992"/>
                <a:gd name="connsiteY848" fmla="*/ 271801 h 2374809"/>
                <a:gd name="connsiteX849" fmla="*/ 1714116 w 5495992"/>
                <a:gd name="connsiteY849" fmla="*/ 273773 h 2374809"/>
                <a:gd name="connsiteX850" fmla="*/ 1655464 w 5495992"/>
                <a:gd name="connsiteY850" fmla="*/ 268492 h 2374809"/>
                <a:gd name="connsiteX851" fmla="*/ 1603834 w 5495992"/>
                <a:gd name="connsiteY851" fmla="*/ 262911 h 2374809"/>
                <a:gd name="connsiteX852" fmla="*/ 1554355 w 5495992"/>
                <a:gd name="connsiteY852" fmla="*/ 254455 h 2374809"/>
                <a:gd name="connsiteX853" fmla="*/ 1452881 w 5495992"/>
                <a:gd name="connsiteY853" fmla="*/ 251112 h 2374809"/>
                <a:gd name="connsiteX854" fmla="*/ 1427309 w 5495992"/>
                <a:gd name="connsiteY854" fmla="*/ 255190 h 2374809"/>
                <a:gd name="connsiteX855" fmla="*/ 1397394 w 5495992"/>
                <a:gd name="connsiteY855" fmla="*/ 261373 h 2374809"/>
                <a:gd name="connsiteX856" fmla="*/ 1361878 w 5495992"/>
                <a:gd name="connsiteY856" fmla="*/ 259301 h 2374809"/>
                <a:gd name="connsiteX857" fmla="*/ 1360417 w 5495992"/>
                <a:gd name="connsiteY857" fmla="*/ 272336 h 2374809"/>
                <a:gd name="connsiteX858" fmla="*/ 1331355 w 5495992"/>
                <a:gd name="connsiteY858" fmla="*/ 286174 h 2374809"/>
                <a:gd name="connsiteX859" fmla="*/ 1286707 w 5495992"/>
                <a:gd name="connsiteY859" fmla="*/ 287912 h 2374809"/>
                <a:gd name="connsiteX860" fmla="*/ 1298275 w 5495992"/>
                <a:gd name="connsiteY860" fmla="*/ 299510 h 2374809"/>
                <a:gd name="connsiteX861" fmla="*/ 1279076 w 5495992"/>
                <a:gd name="connsiteY861" fmla="*/ 307899 h 2374809"/>
                <a:gd name="connsiteX862" fmla="*/ 1246604 w 5495992"/>
                <a:gd name="connsiteY862" fmla="*/ 308567 h 2374809"/>
                <a:gd name="connsiteX863" fmla="*/ 1246969 w 5495992"/>
                <a:gd name="connsiteY863" fmla="*/ 308501 h 237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</a:cxnLst>
              <a:rect l="l" t="t" r="r" b="b"/>
              <a:pathLst>
                <a:path w="5495992" h="2374809">
                  <a:moveTo>
                    <a:pt x="86305" y="704436"/>
                  </a:moveTo>
                  <a:cubicBezTo>
                    <a:pt x="80825" y="704841"/>
                    <a:pt x="75345" y="703975"/>
                    <a:pt x="70434" y="701930"/>
                  </a:cubicBezTo>
                  <a:cubicBezTo>
                    <a:pt x="61220" y="698587"/>
                    <a:pt x="58014" y="698086"/>
                    <a:pt x="46080" y="698253"/>
                  </a:cubicBezTo>
                  <a:cubicBezTo>
                    <a:pt x="58257" y="702531"/>
                    <a:pt x="46608" y="703968"/>
                    <a:pt x="40722" y="706342"/>
                  </a:cubicBezTo>
                  <a:cubicBezTo>
                    <a:pt x="34837" y="708715"/>
                    <a:pt x="46892" y="714798"/>
                    <a:pt x="32199" y="713327"/>
                  </a:cubicBezTo>
                  <a:cubicBezTo>
                    <a:pt x="21889" y="712324"/>
                    <a:pt x="26110" y="706475"/>
                    <a:pt x="14826" y="706308"/>
                  </a:cubicBezTo>
                  <a:cubicBezTo>
                    <a:pt x="1269" y="706108"/>
                    <a:pt x="-7498" y="712057"/>
                    <a:pt x="8697" y="715567"/>
                  </a:cubicBezTo>
                  <a:cubicBezTo>
                    <a:pt x="30047" y="720179"/>
                    <a:pt x="55375" y="720948"/>
                    <a:pt x="78025" y="721883"/>
                  </a:cubicBezTo>
                  <a:cubicBezTo>
                    <a:pt x="93692" y="722518"/>
                    <a:pt x="100917" y="724424"/>
                    <a:pt x="103068" y="716536"/>
                  </a:cubicBezTo>
                  <a:cubicBezTo>
                    <a:pt x="104164" y="712425"/>
                    <a:pt x="101201" y="701228"/>
                    <a:pt x="86224" y="704436"/>
                  </a:cubicBezTo>
                  <a:close/>
                  <a:moveTo>
                    <a:pt x="1722803" y="109497"/>
                  </a:moveTo>
                  <a:cubicBezTo>
                    <a:pt x="1731976" y="110767"/>
                    <a:pt x="1773256" y="113307"/>
                    <a:pt x="1754504" y="102478"/>
                  </a:cubicBezTo>
                  <a:cubicBezTo>
                    <a:pt x="1735751" y="91648"/>
                    <a:pt x="1724386" y="101274"/>
                    <a:pt x="1707866" y="97330"/>
                  </a:cubicBezTo>
                  <a:cubicBezTo>
                    <a:pt x="1700032" y="95425"/>
                    <a:pt x="1663704" y="90111"/>
                    <a:pt x="1661512" y="95058"/>
                  </a:cubicBezTo>
                  <a:cubicBezTo>
                    <a:pt x="1658265" y="102310"/>
                    <a:pt x="1715172" y="108427"/>
                    <a:pt x="1722803" y="109497"/>
                  </a:cubicBezTo>
                  <a:cubicBezTo>
                    <a:pt x="1764570" y="115513"/>
                    <a:pt x="1701858" y="106555"/>
                    <a:pt x="1722843" y="109563"/>
                  </a:cubicBezTo>
                  <a:close/>
                  <a:moveTo>
                    <a:pt x="1846642" y="423177"/>
                  </a:moveTo>
                  <a:cubicBezTo>
                    <a:pt x="1857317" y="426218"/>
                    <a:pt x="1923763" y="434675"/>
                    <a:pt x="1895350" y="422141"/>
                  </a:cubicBezTo>
                  <a:cubicBezTo>
                    <a:pt x="1883173" y="416793"/>
                    <a:pt x="1860645" y="409574"/>
                    <a:pt x="1847981" y="412882"/>
                  </a:cubicBezTo>
                  <a:cubicBezTo>
                    <a:pt x="1842664" y="414253"/>
                    <a:pt x="1836373" y="420236"/>
                    <a:pt x="1846520" y="423177"/>
                  </a:cubicBezTo>
                  <a:close/>
                  <a:moveTo>
                    <a:pt x="2713233" y="374412"/>
                  </a:moveTo>
                  <a:cubicBezTo>
                    <a:pt x="2732514" y="384673"/>
                    <a:pt x="2716237" y="382266"/>
                    <a:pt x="2702071" y="378055"/>
                  </a:cubicBezTo>
                  <a:cubicBezTo>
                    <a:pt x="2698743" y="377052"/>
                    <a:pt x="2658072" y="368028"/>
                    <a:pt x="2674348" y="376317"/>
                  </a:cubicBezTo>
                  <a:cubicBezTo>
                    <a:pt x="2685917" y="382266"/>
                    <a:pt x="2687621" y="389118"/>
                    <a:pt x="2701746" y="395101"/>
                  </a:cubicBezTo>
                  <a:cubicBezTo>
                    <a:pt x="2714816" y="400649"/>
                    <a:pt x="2748100" y="406097"/>
                    <a:pt x="2748790" y="396338"/>
                  </a:cubicBezTo>
                  <a:cubicBezTo>
                    <a:pt x="2749237" y="389820"/>
                    <a:pt x="2810122" y="404192"/>
                    <a:pt x="2818279" y="405964"/>
                  </a:cubicBezTo>
                  <a:cubicBezTo>
                    <a:pt x="2829645" y="408370"/>
                    <a:pt x="2841091" y="411011"/>
                    <a:pt x="2852457" y="413183"/>
                  </a:cubicBezTo>
                  <a:cubicBezTo>
                    <a:pt x="2867190" y="415991"/>
                    <a:pt x="2857774" y="407134"/>
                    <a:pt x="2858423" y="403156"/>
                  </a:cubicBezTo>
                  <a:cubicBezTo>
                    <a:pt x="2859316" y="397842"/>
                    <a:pt x="2879367" y="408370"/>
                    <a:pt x="2882047" y="404727"/>
                  </a:cubicBezTo>
                  <a:cubicBezTo>
                    <a:pt x="2885213" y="400415"/>
                    <a:pt x="2849169" y="388015"/>
                    <a:pt x="2844176" y="384071"/>
                  </a:cubicBezTo>
                  <a:cubicBezTo>
                    <a:pt x="2829563" y="372039"/>
                    <a:pt x="2851401" y="363716"/>
                    <a:pt x="2816494" y="362480"/>
                  </a:cubicBezTo>
                  <a:cubicBezTo>
                    <a:pt x="2807442" y="362045"/>
                    <a:pt x="2719971" y="346637"/>
                    <a:pt x="2737628" y="356965"/>
                  </a:cubicBezTo>
                  <a:cubicBezTo>
                    <a:pt x="2753174" y="366023"/>
                    <a:pt x="2727846" y="366758"/>
                    <a:pt x="2716967" y="363148"/>
                  </a:cubicBezTo>
                  <a:cubicBezTo>
                    <a:pt x="2696673" y="356463"/>
                    <a:pt x="2702153" y="368496"/>
                    <a:pt x="2713233" y="374378"/>
                  </a:cubicBezTo>
                  <a:close/>
                  <a:moveTo>
                    <a:pt x="2763078" y="404493"/>
                  </a:moveTo>
                  <a:cubicBezTo>
                    <a:pt x="2761130" y="408805"/>
                    <a:pt x="2743473" y="407000"/>
                    <a:pt x="2736451" y="407835"/>
                  </a:cubicBezTo>
                  <a:cubicBezTo>
                    <a:pt x="2719849" y="409607"/>
                    <a:pt x="2750901" y="420035"/>
                    <a:pt x="2757314" y="422709"/>
                  </a:cubicBezTo>
                  <a:cubicBezTo>
                    <a:pt x="2766812" y="426619"/>
                    <a:pt x="2767786" y="434875"/>
                    <a:pt x="2775377" y="439722"/>
                  </a:cubicBezTo>
                  <a:cubicBezTo>
                    <a:pt x="2782966" y="444568"/>
                    <a:pt x="2799731" y="448011"/>
                    <a:pt x="2809147" y="452255"/>
                  </a:cubicBezTo>
                  <a:cubicBezTo>
                    <a:pt x="2834718" y="463586"/>
                    <a:pt x="2867881" y="484710"/>
                    <a:pt x="2897917" y="488553"/>
                  </a:cubicBezTo>
                  <a:cubicBezTo>
                    <a:pt x="2905547" y="489556"/>
                    <a:pt x="2917156" y="488754"/>
                    <a:pt x="2915208" y="483573"/>
                  </a:cubicBezTo>
                  <a:cubicBezTo>
                    <a:pt x="2914397" y="481434"/>
                    <a:pt x="2910946" y="481167"/>
                    <a:pt x="2909201" y="479362"/>
                  </a:cubicBezTo>
                  <a:cubicBezTo>
                    <a:pt x="2905913" y="476020"/>
                    <a:pt x="2917319" y="473245"/>
                    <a:pt x="2920079" y="472376"/>
                  </a:cubicBezTo>
                  <a:cubicBezTo>
                    <a:pt x="2939887" y="466293"/>
                    <a:pt x="2948776" y="461480"/>
                    <a:pt x="2917360" y="447008"/>
                  </a:cubicBezTo>
                  <a:cubicBezTo>
                    <a:pt x="2910662" y="443933"/>
                    <a:pt x="2899581" y="439187"/>
                    <a:pt x="2892153" y="439521"/>
                  </a:cubicBezTo>
                  <a:cubicBezTo>
                    <a:pt x="2882614" y="439956"/>
                    <a:pt x="2884725" y="447175"/>
                    <a:pt x="2873807" y="435878"/>
                  </a:cubicBezTo>
                  <a:cubicBezTo>
                    <a:pt x="2860046" y="421706"/>
                    <a:pt x="2856353" y="419768"/>
                    <a:pt x="2827412" y="413217"/>
                  </a:cubicBezTo>
                  <a:cubicBezTo>
                    <a:pt x="2818767" y="411044"/>
                    <a:pt x="2766000" y="398577"/>
                    <a:pt x="2763240" y="404460"/>
                  </a:cubicBezTo>
                  <a:close/>
                  <a:moveTo>
                    <a:pt x="2146113" y="499784"/>
                  </a:moveTo>
                  <a:cubicBezTo>
                    <a:pt x="2161213" y="507705"/>
                    <a:pt x="2174079" y="509343"/>
                    <a:pt x="2174851" y="501087"/>
                  </a:cubicBezTo>
                  <a:cubicBezTo>
                    <a:pt x="2175622" y="492832"/>
                    <a:pt x="2134423" y="493467"/>
                    <a:pt x="2146439" y="499884"/>
                  </a:cubicBezTo>
                  <a:close/>
                  <a:moveTo>
                    <a:pt x="2700367" y="332666"/>
                  </a:moveTo>
                  <a:cubicBezTo>
                    <a:pt x="2707713" y="326716"/>
                    <a:pt x="2635869" y="309269"/>
                    <a:pt x="2651375" y="321569"/>
                  </a:cubicBezTo>
                  <a:cubicBezTo>
                    <a:pt x="2657098" y="325714"/>
                    <a:pt x="2693345" y="338448"/>
                    <a:pt x="2700691" y="332766"/>
                  </a:cubicBezTo>
                  <a:close/>
                  <a:moveTo>
                    <a:pt x="5296001" y="2021426"/>
                  </a:moveTo>
                  <a:cubicBezTo>
                    <a:pt x="5304646" y="2032422"/>
                    <a:pt x="5316782" y="2034795"/>
                    <a:pt x="5328473" y="2042550"/>
                  </a:cubicBezTo>
                  <a:cubicBezTo>
                    <a:pt x="5339025" y="2049602"/>
                    <a:pt x="5343816" y="2059261"/>
                    <a:pt x="5355789" y="2067216"/>
                  </a:cubicBezTo>
                  <a:cubicBezTo>
                    <a:pt x="5362486" y="2071495"/>
                    <a:pt x="5407745" y="2101041"/>
                    <a:pt x="5408961" y="2093354"/>
                  </a:cubicBezTo>
                  <a:cubicBezTo>
                    <a:pt x="5411316" y="2078915"/>
                    <a:pt x="5369671" y="2048599"/>
                    <a:pt x="5352380" y="2038272"/>
                  </a:cubicBezTo>
                  <a:cubicBezTo>
                    <a:pt x="5346819" y="2034929"/>
                    <a:pt x="5281388" y="2002709"/>
                    <a:pt x="5296123" y="2021560"/>
                  </a:cubicBezTo>
                  <a:close/>
                  <a:moveTo>
                    <a:pt x="2893858" y="521476"/>
                  </a:moveTo>
                  <a:cubicBezTo>
                    <a:pt x="2903234" y="527692"/>
                    <a:pt x="2922515" y="530901"/>
                    <a:pt x="2934001" y="533508"/>
                  </a:cubicBezTo>
                  <a:cubicBezTo>
                    <a:pt x="2953687" y="537830"/>
                    <a:pt x="2973130" y="542960"/>
                    <a:pt x="2992207" y="548883"/>
                  </a:cubicBezTo>
                  <a:cubicBezTo>
                    <a:pt x="3021634" y="557800"/>
                    <a:pt x="3051995" y="564515"/>
                    <a:pt x="3082925" y="568937"/>
                  </a:cubicBezTo>
                  <a:cubicBezTo>
                    <a:pt x="3103220" y="572012"/>
                    <a:pt x="3134393" y="574318"/>
                    <a:pt x="3104357" y="557573"/>
                  </a:cubicBezTo>
                  <a:cubicBezTo>
                    <a:pt x="3092180" y="550888"/>
                    <a:pt x="3080286" y="539424"/>
                    <a:pt x="3067623" y="534177"/>
                  </a:cubicBezTo>
                  <a:cubicBezTo>
                    <a:pt x="3048707" y="526289"/>
                    <a:pt x="3037018" y="528862"/>
                    <a:pt x="3021878" y="529497"/>
                  </a:cubicBezTo>
                  <a:cubicBezTo>
                    <a:pt x="3010838" y="529932"/>
                    <a:pt x="3031295" y="522010"/>
                    <a:pt x="3034055" y="521743"/>
                  </a:cubicBezTo>
                  <a:cubicBezTo>
                    <a:pt x="3046759" y="520573"/>
                    <a:pt x="3042619" y="512685"/>
                    <a:pt x="3030930" y="506803"/>
                  </a:cubicBezTo>
                  <a:cubicBezTo>
                    <a:pt x="3019239" y="500920"/>
                    <a:pt x="3021634" y="506535"/>
                    <a:pt x="3013030" y="505366"/>
                  </a:cubicBezTo>
                  <a:cubicBezTo>
                    <a:pt x="3003694" y="504129"/>
                    <a:pt x="2987863" y="496040"/>
                    <a:pt x="2979786" y="497244"/>
                  </a:cubicBezTo>
                  <a:cubicBezTo>
                    <a:pt x="2975200" y="497945"/>
                    <a:pt x="2960304" y="503928"/>
                    <a:pt x="2959491" y="506736"/>
                  </a:cubicBezTo>
                  <a:cubicBezTo>
                    <a:pt x="2958558" y="510078"/>
                    <a:pt x="2941024" y="502458"/>
                    <a:pt x="2935625" y="503159"/>
                  </a:cubicBezTo>
                  <a:cubicBezTo>
                    <a:pt x="2924463" y="504563"/>
                    <a:pt x="2922230" y="513187"/>
                    <a:pt x="2908998" y="514724"/>
                  </a:cubicBezTo>
                  <a:cubicBezTo>
                    <a:pt x="2904005" y="515359"/>
                    <a:pt x="2884644" y="515627"/>
                    <a:pt x="2893695" y="521643"/>
                  </a:cubicBezTo>
                  <a:close/>
                  <a:moveTo>
                    <a:pt x="4121901" y="1134598"/>
                  </a:moveTo>
                  <a:cubicBezTo>
                    <a:pt x="4138381" y="1148870"/>
                    <a:pt x="4136716" y="1158897"/>
                    <a:pt x="4162815" y="1168255"/>
                  </a:cubicBezTo>
                  <a:cubicBezTo>
                    <a:pt x="4178524" y="1173871"/>
                    <a:pt x="4192568" y="1175174"/>
                    <a:pt x="4201457" y="1186271"/>
                  </a:cubicBezTo>
                  <a:cubicBezTo>
                    <a:pt x="4209251" y="1196064"/>
                    <a:pt x="4238759" y="1200576"/>
                    <a:pt x="4252803" y="1208163"/>
                  </a:cubicBezTo>
                  <a:cubicBezTo>
                    <a:pt x="4264655" y="1214547"/>
                    <a:pt x="4290511" y="1232830"/>
                    <a:pt x="4288604" y="1218658"/>
                  </a:cubicBezTo>
                  <a:cubicBezTo>
                    <a:pt x="4288035" y="1214380"/>
                    <a:pt x="4281540" y="1195262"/>
                    <a:pt x="4298953" y="1206258"/>
                  </a:cubicBezTo>
                  <a:cubicBezTo>
                    <a:pt x="4313119" y="1215182"/>
                    <a:pt x="4295626" y="1215048"/>
                    <a:pt x="4300131" y="1223338"/>
                  </a:cubicBezTo>
                  <a:cubicBezTo>
                    <a:pt x="4306219" y="1234568"/>
                    <a:pt x="4329477" y="1251547"/>
                    <a:pt x="4347337" y="1255458"/>
                  </a:cubicBezTo>
                  <a:cubicBezTo>
                    <a:pt x="4358864" y="1257998"/>
                    <a:pt x="4353182" y="1246133"/>
                    <a:pt x="4366048" y="1249876"/>
                  </a:cubicBezTo>
                  <a:cubicBezTo>
                    <a:pt x="4391905" y="1257396"/>
                    <a:pt x="4371772" y="1236206"/>
                    <a:pt x="4361015" y="1227449"/>
                  </a:cubicBezTo>
                  <a:cubicBezTo>
                    <a:pt x="4344008" y="1213611"/>
                    <a:pt x="4319086" y="1204721"/>
                    <a:pt x="4302770" y="1190683"/>
                  </a:cubicBezTo>
                  <a:cubicBezTo>
                    <a:pt x="4292500" y="1181892"/>
                    <a:pt x="4268917" y="1165348"/>
                    <a:pt x="4256619" y="1170094"/>
                  </a:cubicBezTo>
                  <a:cubicBezTo>
                    <a:pt x="4247323" y="1173670"/>
                    <a:pt x="4245456" y="1173436"/>
                    <a:pt x="4234984" y="1162172"/>
                  </a:cubicBezTo>
                  <a:cubicBezTo>
                    <a:pt x="4216516" y="1142686"/>
                    <a:pt x="4206896" y="1123568"/>
                    <a:pt x="4171948" y="1118722"/>
                  </a:cubicBezTo>
                  <a:cubicBezTo>
                    <a:pt x="4156443" y="1116549"/>
                    <a:pt x="4098318" y="1114009"/>
                    <a:pt x="4121901" y="1134398"/>
                  </a:cubicBezTo>
                  <a:close/>
                  <a:moveTo>
                    <a:pt x="4277806" y="1290084"/>
                  </a:moveTo>
                  <a:cubicBezTo>
                    <a:pt x="4299238" y="1298541"/>
                    <a:pt x="4267294" y="1263346"/>
                    <a:pt x="4263235" y="1260003"/>
                  </a:cubicBezTo>
                  <a:cubicBezTo>
                    <a:pt x="4245538" y="1245029"/>
                    <a:pt x="4213188" y="1231025"/>
                    <a:pt x="4192405" y="1232997"/>
                  </a:cubicBezTo>
                  <a:cubicBezTo>
                    <a:pt x="4177265" y="1234367"/>
                    <a:pt x="4265062" y="1284770"/>
                    <a:pt x="4277644" y="1289817"/>
                  </a:cubicBezTo>
                  <a:close/>
                  <a:moveTo>
                    <a:pt x="4224391" y="1222937"/>
                  </a:moveTo>
                  <a:cubicBezTo>
                    <a:pt x="4229261" y="1216452"/>
                    <a:pt x="4171217" y="1199039"/>
                    <a:pt x="4190052" y="1212909"/>
                  </a:cubicBezTo>
                  <a:cubicBezTo>
                    <a:pt x="4200037" y="1220563"/>
                    <a:pt x="4219520" y="1229354"/>
                    <a:pt x="4224391" y="1222937"/>
                  </a:cubicBezTo>
                  <a:close/>
                  <a:moveTo>
                    <a:pt x="4408505" y="1282263"/>
                  </a:moveTo>
                  <a:cubicBezTo>
                    <a:pt x="4420439" y="1289416"/>
                    <a:pt x="4427988" y="1298407"/>
                    <a:pt x="4436594" y="1306663"/>
                  </a:cubicBezTo>
                  <a:cubicBezTo>
                    <a:pt x="4453885" y="1322422"/>
                    <a:pt x="4473733" y="1336122"/>
                    <a:pt x="4495612" y="1347372"/>
                  </a:cubicBezTo>
                  <a:cubicBezTo>
                    <a:pt x="4515500" y="1358168"/>
                    <a:pt x="4584625" y="1388851"/>
                    <a:pt x="4540706" y="1353222"/>
                  </a:cubicBezTo>
                  <a:cubicBezTo>
                    <a:pt x="4528123" y="1343195"/>
                    <a:pt x="4518990" y="1340487"/>
                    <a:pt x="4505231" y="1333435"/>
                  </a:cubicBezTo>
                  <a:cubicBezTo>
                    <a:pt x="4497843" y="1329625"/>
                    <a:pt x="4494028" y="1323408"/>
                    <a:pt x="4488670" y="1318728"/>
                  </a:cubicBezTo>
                  <a:cubicBezTo>
                    <a:pt x="4481485" y="1312579"/>
                    <a:pt x="4471419" y="1310038"/>
                    <a:pt x="4462733" y="1305560"/>
                  </a:cubicBezTo>
                  <a:cubicBezTo>
                    <a:pt x="4454047" y="1301081"/>
                    <a:pt x="4444509" y="1294998"/>
                    <a:pt x="4439962" y="1288614"/>
                  </a:cubicBezTo>
                  <a:cubicBezTo>
                    <a:pt x="4436918" y="1284369"/>
                    <a:pt x="4437851" y="1280793"/>
                    <a:pt x="4429450" y="1278587"/>
                  </a:cubicBezTo>
                  <a:cubicBezTo>
                    <a:pt x="4425391" y="1277517"/>
                    <a:pt x="4398480" y="1276381"/>
                    <a:pt x="4408505" y="1282330"/>
                  </a:cubicBezTo>
                  <a:cubicBezTo>
                    <a:pt x="4430180" y="1295365"/>
                    <a:pt x="4397709" y="1275779"/>
                    <a:pt x="4408505" y="1282263"/>
                  </a:cubicBezTo>
                  <a:close/>
                  <a:moveTo>
                    <a:pt x="1056440" y="10797"/>
                  </a:moveTo>
                  <a:cubicBezTo>
                    <a:pt x="1069511" y="7287"/>
                    <a:pt x="1085097" y="8791"/>
                    <a:pt x="1100359" y="11699"/>
                  </a:cubicBezTo>
                  <a:cubicBezTo>
                    <a:pt x="1102510" y="12100"/>
                    <a:pt x="1123535" y="16746"/>
                    <a:pt x="1120329" y="12200"/>
                  </a:cubicBezTo>
                  <a:cubicBezTo>
                    <a:pt x="1115174" y="4780"/>
                    <a:pt x="1071134" y="2173"/>
                    <a:pt x="1060053" y="2574"/>
                  </a:cubicBezTo>
                  <a:cubicBezTo>
                    <a:pt x="1042153" y="2942"/>
                    <a:pt x="1013659" y="-2071"/>
                    <a:pt x="998113" y="302"/>
                  </a:cubicBezTo>
                  <a:cubicBezTo>
                    <a:pt x="989995" y="1505"/>
                    <a:pt x="1004283" y="6986"/>
                    <a:pt x="1006962" y="7889"/>
                  </a:cubicBezTo>
                  <a:cubicBezTo>
                    <a:pt x="1022589" y="13437"/>
                    <a:pt x="1040042" y="14463"/>
                    <a:pt x="1056440" y="10797"/>
                  </a:cubicBezTo>
                  <a:close/>
                  <a:moveTo>
                    <a:pt x="3890662" y="1777668"/>
                  </a:moveTo>
                  <a:cubicBezTo>
                    <a:pt x="3890662" y="1765368"/>
                    <a:pt x="3922808" y="1760221"/>
                    <a:pt x="3910956" y="1745247"/>
                  </a:cubicBezTo>
                  <a:cubicBezTo>
                    <a:pt x="3906125" y="1739341"/>
                    <a:pt x="3904990" y="1731901"/>
                    <a:pt x="3907872" y="1725193"/>
                  </a:cubicBezTo>
                  <a:cubicBezTo>
                    <a:pt x="3908643" y="1722786"/>
                    <a:pt x="3909454" y="1716436"/>
                    <a:pt x="3901580" y="1718241"/>
                  </a:cubicBezTo>
                  <a:cubicBezTo>
                    <a:pt x="3895166" y="1719711"/>
                    <a:pt x="3894639" y="1725527"/>
                    <a:pt x="3888388" y="1727165"/>
                  </a:cubicBezTo>
                  <a:cubicBezTo>
                    <a:pt x="3882137" y="1728802"/>
                    <a:pt x="3873167" y="1721215"/>
                    <a:pt x="3870326" y="1726463"/>
                  </a:cubicBezTo>
                  <a:cubicBezTo>
                    <a:pt x="3863426" y="1739297"/>
                    <a:pt x="3850031" y="1747252"/>
                    <a:pt x="3849259" y="1762995"/>
                  </a:cubicBezTo>
                  <a:cubicBezTo>
                    <a:pt x="3847799" y="1786057"/>
                    <a:pt x="3826083" y="1798156"/>
                    <a:pt x="3810943" y="1815069"/>
                  </a:cubicBezTo>
                  <a:cubicBezTo>
                    <a:pt x="3805747" y="1820851"/>
                    <a:pt x="3805706" y="1828438"/>
                    <a:pt x="3800592" y="1834053"/>
                  </a:cubicBezTo>
                  <a:cubicBezTo>
                    <a:pt x="3792474" y="1843078"/>
                    <a:pt x="3780297" y="1849662"/>
                    <a:pt x="3771449" y="1858452"/>
                  </a:cubicBezTo>
                  <a:cubicBezTo>
                    <a:pt x="3765442" y="1864502"/>
                    <a:pt x="3770150" y="1869549"/>
                    <a:pt x="3779567" y="1864803"/>
                  </a:cubicBezTo>
                  <a:cubicBezTo>
                    <a:pt x="3794585" y="1857350"/>
                    <a:pt x="3803921" y="1872891"/>
                    <a:pt x="3806681" y="1882217"/>
                  </a:cubicBezTo>
                  <a:cubicBezTo>
                    <a:pt x="3810740" y="1896321"/>
                    <a:pt x="3821821" y="1883453"/>
                    <a:pt x="3818655" y="1876134"/>
                  </a:cubicBezTo>
                  <a:cubicBezTo>
                    <a:pt x="3816504" y="1871154"/>
                    <a:pt x="3809563" y="1869449"/>
                    <a:pt x="3808386" y="1863132"/>
                  </a:cubicBezTo>
                  <a:cubicBezTo>
                    <a:pt x="3807087" y="1856447"/>
                    <a:pt x="3806235" y="1846921"/>
                    <a:pt x="3810131" y="1841874"/>
                  </a:cubicBezTo>
                  <a:cubicBezTo>
                    <a:pt x="3814839" y="1835724"/>
                    <a:pt x="3837407" y="1818879"/>
                    <a:pt x="3852303" y="1826232"/>
                  </a:cubicBezTo>
                  <a:cubicBezTo>
                    <a:pt x="3861234" y="1830577"/>
                    <a:pt x="3885141" y="1862998"/>
                    <a:pt x="3881610" y="1844749"/>
                  </a:cubicBezTo>
                  <a:cubicBezTo>
                    <a:pt x="3876982" y="1820985"/>
                    <a:pt x="3890418" y="1800229"/>
                    <a:pt x="3890621" y="1777601"/>
                  </a:cubicBezTo>
                  <a:cubicBezTo>
                    <a:pt x="3890783" y="1760421"/>
                    <a:pt x="3890336" y="1794948"/>
                    <a:pt x="3890662" y="1777668"/>
                  </a:cubicBezTo>
                  <a:close/>
                  <a:moveTo>
                    <a:pt x="1160594" y="19788"/>
                  </a:moveTo>
                  <a:cubicBezTo>
                    <a:pt x="1170052" y="24433"/>
                    <a:pt x="1140299" y="21559"/>
                    <a:pt x="1137092" y="21358"/>
                  </a:cubicBezTo>
                  <a:cubicBezTo>
                    <a:pt x="1119842" y="20189"/>
                    <a:pt x="1109573" y="23163"/>
                    <a:pt x="1093865" y="22963"/>
                  </a:cubicBezTo>
                  <a:cubicBezTo>
                    <a:pt x="1042031" y="22328"/>
                    <a:pt x="1106042" y="38973"/>
                    <a:pt x="1128772" y="36901"/>
                  </a:cubicBezTo>
                  <a:cubicBezTo>
                    <a:pt x="1134129" y="36399"/>
                    <a:pt x="1132181" y="33558"/>
                    <a:pt x="1138797" y="33825"/>
                  </a:cubicBezTo>
                  <a:cubicBezTo>
                    <a:pt x="1145413" y="34093"/>
                    <a:pt x="1154668" y="36566"/>
                    <a:pt x="1161000" y="35630"/>
                  </a:cubicBezTo>
                  <a:cubicBezTo>
                    <a:pt x="1165059" y="34995"/>
                    <a:pt x="1166236" y="31386"/>
                    <a:pt x="1170539" y="30316"/>
                  </a:cubicBezTo>
                  <a:cubicBezTo>
                    <a:pt x="1181254" y="27676"/>
                    <a:pt x="1196516" y="28712"/>
                    <a:pt x="1209261" y="30082"/>
                  </a:cubicBezTo>
                  <a:cubicBezTo>
                    <a:pt x="1245792" y="34059"/>
                    <a:pt x="1230327" y="22094"/>
                    <a:pt x="1205202" y="15877"/>
                  </a:cubicBezTo>
                  <a:cubicBezTo>
                    <a:pt x="1197652" y="13972"/>
                    <a:pt x="1141801" y="10663"/>
                    <a:pt x="1160553" y="19788"/>
                  </a:cubicBezTo>
                  <a:close/>
                  <a:moveTo>
                    <a:pt x="1035131" y="415824"/>
                  </a:moveTo>
                  <a:cubicBezTo>
                    <a:pt x="1049013" y="424581"/>
                    <a:pt x="1066020" y="424347"/>
                    <a:pt x="1082134" y="421138"/>
                  </a:cubicBezTo>
                  <a:cubicBezTo>
                    <a:pt x="1088669" y="419834"/>
                    <a:pt x="1110953" y="419133"/>
                    <a:pt x="1103159" y="414453"/>
                  </a:cubicBezTo>
                  <a:cubicBezTo>
                    <a:pt x="1090982" y="407033"/>
                    <a:pt x="1069186" y="400014"/>
                    <a:pt x="1051205" y="400750"/>
                  </a:cubicBezTo>
                  <a:cubicBezTo>
                    <a:pt x="1035740" y="401385"/>
                    <a:pt x="1021858" y="407434"/>
                    <a:pt x="1034969" y="415824"/>
                  </a:cubicBezTo>
                  <a:cubicBezTo>
                    <a:pt x="1060703" y="431967"/>
                    <a:pt x="1015811" y="403657"/>
                    <a:pt x="1035131" y="415824"/>
                  </a:cubicBezTo>
                  <a:close/>
                  <a:moveTo>
                    <a:pt x="5491440" y="2368263"/>
                  </a:moveTo>
                  <a:cubicBezTo>
                    <a:pt x="5477396" y="2351551"/>
                    <a:pt x="5473946" y="2336143"/>
                    <a:pt x="5465707" y="2320066"/>
                  </a:cubicBezTo>
                  <a:cubicBezTo>
                    <a:pt x="5460713" y="2311877"/>
                    <a:pt x="5454220" y="2304390"/>
                    <a:pt x="5446466" y="2297839"/>
                  </a:cubicBezTo>
                  <a:cubicBezTo>
                    <a:pt x="5441433" y="2293260"/>
                    <a:pt x="5431084" y="2289115"/>
                    <a:pt x="5428729" y="2285640"/>
                  </a:cubicBezTo>
                  <a:cubicBezTo>
                    <a:pt x="5424264" y="2278955"/>
                    <a:pt x="5426293" y="2276047"/>
                    <a:pt x="5419515" y="2269462"/>
                  </a:cubicBezTo>
                  <a:cubicBezTo>
                    <a:pt x="5412209" y="2262076"/>
                    <a:pt x="5403726" y="2255558"/>
                    <a:pt x="5394309" y="2250010"/>
                  </a:cubicBezTo>
                  <a:cubicBezTo>
                    <a:pt x="5382944" y="2243894"/>
                    <a:pt x="5395364" y="2261474"/>
                    <a:pt x="5395973" y="2264215"/>
                  </a:cubicBezTo>
                  <a:cubicBezTo>
                    <a:pt x="5396379" y="2266120"/>
                    <a:pt x="5383106" y="2270331"/>
                    <a:pt x="5381604" y="2269864"/>
                  </a:cubicBezTo>
                  <a:cubicBezTo>
                    <a:pt x="5376855" y="2268359"/>
                    <a:pt x="5368615" y="2251447"/>
                    <a:pt x="5368981" y="2249007"/>
                  </a:cubicBezTo>
                  <a:cubicBezTo>
                    <a:pt x="5370118" y="2242322"/>
                    <a:pt x="5384324" y="2242757"/>
                    <a:pt x="5384446" y="2236273"/>
                  </a:cubicBezTo>
                  <a:cubicBezTo>
                    <a:pt x="5383391" y="2230491"/>
                    <a:pt x="5381604" y="2224808"/>
                    <a:pt x="5379169" y="2219327"/>
                  </a:cubicBezTo>
                  <a:cubicBezTo>
                    <a:pt x="5374785" y="2208866"/>
                    <a:pt x="5365125" y="2196900"/>
                    <a:pt x="5356967" y="2186338"/>
                  </a:cubicBezTo>
                  <a:cubicBezTo>
                    <a:pt x="5340731" y="2165114"/>
                    <a:pt x="5323358" y="2145695"/>
                    <a:pt x="5310451" y="2124772"/>
                  </a:cubicBezTo>
                  <a:cubicBezTo>
                    <a:pt x="5304322" y="2114745"/>
                    <a:pt x="5291820" y="2104985"/>
                    <a:pt x="5283864" y="2095292"/>
                  </a:cubicBezTo>
                  <a:cubicBezTo>
                    <a:pt x="5275909" y="2085599"/>
                    <a:pt x="5272255" y="2075840"/>
                    <a:pt x="5264666" y="2066080"/>
                  </a:cubicBezTo>
                  <a:cubicBezTo>
                    <a:pt x="5248105" y="2044722"/>
                    <a:pt x="5228378" y="2027108"/>
                    <a:pt x="5207637" y="2007288"/>
                  </a:cubicBezTo>
                  <a:cubicBezTo>
                    <a:pt x="5201670" y="2001539"/>
                    <a:pt x="5201426" y="1993918"/>
                    <a:pt x="5193674" y="1989373"/>
                  </a:cubicBezTo>
                  <a:cubicBezTo>
                    <a:pt x="5181294" y="1981475"/>
                    <a:pt x="5169441" y="1973029"/>
                    <a:pt x="5158158" y="1964071"/>
                  </a:cubicBezTo>
                  <a:cubicBezTo>
                    <a:pt x="5147848" y="1956384"/>
                    <a:pt x="5137335" y="1948629"/>
                    <a:pt x="5127635" y="1940675"/>
                  </a:cubicBezTo>
                  <a:cubicBezTo>
                    <a:pt x="5117933" y="1932720"/>
                    <a:pt x="5106284" y="1931517"/>
                    <a:pt x="5097394" y="1922158"/>
                  </a:cubicBezTo>
                  <a:cubicBezTo>
                    <a:pt x="5082742" y="1906783"/>
                    <a:pt x="5064720" y="1886161"/>
                    <a:pt x="5044628" y="1873493"/>
                  </a:cubicBezTo>
                  <a:cubicBezTo>
                    <a:pt x="5033426" y="1866441"/>
                    <a:pt x="5031680" y="1877972"/>
                    <a:pt x="5021979" y="1873226"/>
                  </a:cubicBezTo>
                  <a:cubicBezTo>
                    <a:pt x="5011588" y="1868179"/>
                    <a:pt x="5024617" y="1891609"/>
                    <a:pt x="5025551" y="1893280"/>
                  </a:cubicBezTo>
                  <a:cubicBezTo>
                    <a:pt x="5040731" y="1921757"/>
                    <a:pt x="4977898" y="1891575"/>
                    <a:pt x="4972460" y="1867443"/>
                  </a:cubicBezTo>
                  <a:cubicBezTo>
                    <a:pt x="4970673" y="1859489"/>
                    <a:pt x="4956224" y="1851868"/>
                    <a:pt x="4952977" y="1843846"/>
                  </a:cubicBezTo>
                  <a:cubicBezTo>
                    <a:pt x="4948430" y="1832950"/>
                    <a:pt x="4962718" y="1833819"/>
                    <a:pt x="4969659" y="1845718"/>
                  </a:cubicBezTo>
                  <a:cubicBezTo>
                    <a:pt x="4974286" y="1853606"/>
                    <a:pt x="4996611" y="1863700"/>
                    <a:pt x="4995718" y="1854442"/>
                  </a:cubicBezTo>
                  <a:cubicBezTo>
                    <a:pt x="4994905" y="1846186"/>
                    <a:pt x="4975423" y="1831379"/>
                    <a:pt x="4964950" y="1825029"/>
                  </a:cubicBezTo>
                  <a:cubicBezTo>
                    <a:pt x="4951962" y="1817007"/>
                    <a:pt x="4937552" y="1818846"/>
                    <a:pt x="4925619" y="1816439"/>
                  </a:cubicBezTo>
                  <a:cubicBezTo>
                    <a:pt x="4914579" y="1814200"/>
                    <a:pt x="4905324" y="1808150"/>
                    <a:pt x="4895258" y="1801298"/>
                  </a:cubicBezTo>
                  <a:cubicBezTo>
                    <a:pt x="4876141" y="1788096"/>
                    <a:pt x="4862786" y="1773958"/>
                    <a:pt x="4845982" y="1760455"/>
                  </a:cubicBezTo>
                  <a:cubicBezTo>
                    <a:pt x="4829178" y="1746951"/>
                    <a:pt x="4807299" y="1735253"/>
                    <a:pt x="4788385" y="1724591"/>
                  </a:cubicBezTo>
                  <a:cubicBezTo>
                    <a:pt x="4764031" y="1710887"/>
                    <a:pt x="4754858" y="1705005"/>
                    <a:pt x="4743249" y="1716135"/>
                  </a:cubicBezTo>
                  <a:cubicBezTo>
                    <a:pt x="4742600" y="1717315"/>
                    <a:pt x="4741017" y="1717937"/>
                    <a:pt x="4739474" y="1717606"/>
                  </a:cubicBezTo>
                  <a:cubicBezTo>
                    <a:pt x="4734929" y="1716001"/>
                    <a:pt x="4740855" y="1704236"/>
                    <a:pt x="4741422" y="1703133"/>
                  </a:cubicBezTo>
                  <a:cubicBezTo>
                    <a:pt x="4744304" y="1697418"/>
                    <a:pt x="4742681" y="1694276"/>
                    <a:pt x="4731641" y="1686421"/>
                  </a:cubicBezTo>
                  <a:cubicBezTo>
                    <a:pt x="4729042" y="1684550"/>
                    <a:pt x="4699534" y="1667570"/>
                    <a:pt x="4710858" y="1668874"/>
                  </a:cubicBezTo>
                  <a:cubicBezTo>
                    <a:pt x="4716826" y="1669542"/>
                    <a:pt x="4713862" y="1664328"/>
                    <a:pt x="4717353" y="1663092"/>
                  </a:cubicBezTo>
                  <a:cubicBezTo>
                    <a:pt x="4722386" y="1661354"/>
                    <a:pt x="4729774" y="1666200"/>
                    <a:pt x="4728312" y="1659549"/>
                  </a:cubicBezTo>
                  <a:cubicBezTo>
                    <a:pt x="4719504" y="1619641"/>
                    <a:pt x="4636823" y="1572648"/>
                    <a:pt x="4586004" y="1549251"/>
                  </a:cubicBezTo>
                  <a:cubicBezTo>
                    <a:pt x="4557591" y="1536182"/>
                    <a:pt x="4532507" y="1521509"/>
                    <a:pt x="4505353" y="1506369"/>
                  </a:cubicBezTo>
                  <a:cubicBezTo>
                    <a:pt x="4489603" y="1497645"/>
                    <a:pt x="4504784" y="1501455"/>
                    <a:pt x="4502958" y="1494871"/>
                  </a:cubicBezTo>
                  <a:cubicBezTo>
                    <a:pt x="4500969" y="1487718"/>
                    <a:pt x="4485302" y="1475485"/>
                    <a:pt x="4475559" y="1470071"/>
                  </a:cubicBezTo>
                  <a:cubicBezTo>
                    <a:pt x="4471785" y="1467998"/>
                    <a:pt x="4465534" y="1468065"/>
                    <a:pt x="4462774" y="1466294"/>
                  </a:cubicBezTo>
                  <a:cubicBezTo>
                    <a:pt x="4456401" y="1462249"/>
                    <a:pt x="4460623" y="1460679"/>
                    <a:pt x="4458390" y="1457169"/>
                  </a:cubicBezTo>
                  <a:cubicBezTo>
                    <a:pt x="4453601" y="1449615"/>
                    <a:pt x="4439760" y="1439555"/>
                    <a:pt x="4429977" y="1433772"/>
                  </a:cubicBezTo>
                  <a:cubicBezTo>
                    <a:pt x="4421859" y="1429127"/>
                    <a:pt x="4408911" y="1415590"/>
                    <a:pt x="4425594" y="1424848"/>
                  </a:cubicBezTo>
                  <a:cubicBezTo>
                    <a:pt x="4430627" y="1427656"/>
                    <a:pt x="4454007" y="1442931"/>
                    <a:pt x="4455630" y="1436847"/>
                  </a:cubicBezTo>
                  <a:cubicBezTo>
                    <a:pt x="4458146" y="1427355"/>
                    <a:pt x="4424822" y="1407936"/>
                    <a:pt x="4412930" y="1400382"/>
                  </a:cubicBezTo>
                  <a:cubicBezTo>
                    <a:pt x="4403431" y="1394266"/>
                    <a:pt x="4369540" y="1370301"/>
                    <a:pt x="4358134" y="1370100"/>
                  </a:cubicBezTo>
                  <a:cubicBezTo>
                    <a:pt x="4347946" y="1370100"/>
                    <a:pt x="4344130" y="1375615"/>
                    <a:pt x="4331791" y="1374646"/>
                  </a:cubicBezTo>
                  <a:cubicBezTo>
                    <a:pt x="4322130" y="1373877"/>
                    <a:pt x="4298223" y="1366725"/>
                    <a:pt x="4298426" y="1357299"/>
                  </a:cubicBezTo>
                  <a:cubicBezTo>
                    <a:pt x="4298426" y="1349645"/>
                    <a:pt x="4355779" y="1374412"/>
                    <a:pt x="4313200" y="1348944"/>
                  </a:cubicBezTo>
                  <a:cubicBezTo>
                    <a:pt x="4309792" y="1346905"/>
                    <a:pt x="4286534" y="1330995"/>
                    <a:pt x="4304027" y="1335908"/>
                  </a:cubicBezTo>
                  <a:cubicBezTo>
                    <a:pt x="4317544" y="1339685"/>
                    <a:pt x="4330086" y="1352419"/>
                    <a:pt x="4343116" y="1358569"/>
                  </a:cubicBezTo>
                  <a:cubicBezTo>
                    <a:pt x="4358905" y="1366090"/>
                    <a:pt x="4343116" y="1352854"/>
                    <a:pt x="4338813" y="1350080"/>
                  </a:cubicBezTo>
                  <a:cubicBezTo>
                    <a:pt x="4324281" y="1340420"/>
                    <a:pt x="4309832" y="1330794"/>
                    <a:pt x="4295260" y="1321202"/>
                  </a:cubicBezTo>
                  <a:cubicBezTo>
                    <a:pt x="4269161" y="1303955"/>
                    <a:pt x="4233969" y="1288614"/>
                    <a:pt x="4211158" y="1270398"/>
                  </a:cubicBezTo>
                  <a:cubicBezTo>
                    <a:pt x="4206571" y="1266688"/>
                    <a:pt x="4182420" y="1248205"/>
                    <a:pt x="4182745" y="1258232"/>
                  </a:cubicBezTo>
                  <a:cubicBezTo>
                    <a:pt x="4183070" y="1269061"/>
                    <a:pt x="4168417" y="1262243"/>
                    <a:pt x="4152708" y="1252650"/>
                  </a:cubicBezTo>
                  <a:cubicBezTo>
                    <a:pt x="4144590" y="1247770"/>
                    <a:pt x="4120034" y="1237476"/>
                    <a:pt x="4116543" y="1243793"/>
                  </a:cubicBezTo>
                  <a:cubicBezTo>
                    <a:pt x="4111754" y="1252349"/>
                    <a:pt x="4144956" y="1258833"/>
                    <a:pt x="4142805" y="1261407"/>
                  </a:cubicBezTo>
                  <a:cubicBezTo>
                    <a:pt x="4140653" y="1263981"/>
                    <a:pt x="4125189" y="1257329"/>
                    <a:pt x="4126001" y="1261207"/>
                  </a:cubicBezTo>
                  <a:cubicBezTo>
                    <a:pt x="4126650" y="1264549"/>
                    <a:pt x="4141587" y="1280024"/>
                    <a:pt x="4128152" y="1278854"/>
                  </a:cubicBezTo>
                  <a:cubicBezTo>
                    <a:pt x="4114717" y="1277684"/>
                    <a:pt x="4108994" y="1267523"/>
                    <a:pt x="4101200" y="1261507"/>
                  </a:cubicBezTo>
                  <a:cubicBezTo>
                    <a:pt x="4095355" y="1256962"/>
                    <a:pt x="4057932" y="1243525"/>
                    <a:pt x="4058337" y="1244160"/>
                  </a:cubicBezTo>
                  <a:cubicBezTo>
                    <a:pt x="4061098" y="1248038"/>
                    <a:pt x="4075101" y="1252984"/>
                    <a:pt x="4074168" y="1257296"/>
                  </a:cubicBezTo>
                  <a:cubicBezTo>
                    <a:pt x="4073234" y="1261608"/>
                    <a:pt x="4052208" y="1250611"/>
                    <a:pt x="4049408" y="1247269"/>
                  </a:cubicBezTo>
                  <a:cubicBezTo>
                    <a:pt x="4045917" y="1243191"/>
                    <a:pt x="4047825" y="1237643"/>
                    <a:pt x="4039544" y="1234568"/>
                  </a:cubicBezTo>
                  <a:cubicBezTo>
                    <a:pt x="4027368" y="1230122"/>
                    <a:pt x="4016246" y="1220597"/>
                    <a:pt x="4006342" y="1214180"/>
                  </a:cubicBezTo>
                  <a:cubicBezTo>
                    <a:pt x="3986047" y="1200810"/>
                    <a:pt x="3966077" y="1202214"/>
                    <a:pt x="3944930" y="1190783"/>
                  </a:cubicBezTo>
                  <a:cubicBezTo>
                    <a:pt x="3932712" y="1184399"/>
                    <a:pt x="3921956" y="1176287"/>
                    <a:pt x="3913148" y="1166818"/>
                  </a:cubicBezTo>
                  <a:cubicBezTo>
                    <a:pt x="3906654" y="1159198"/>
                    <a:pt x="3907668" y="1152680"/>
                    <a:pt x="3892854" y="1153917"/>
                  </a:cubicBezTo>
                  <a:cubicBezTo>
                    <a:pt x="3884370" y="1154652"/>
                    <a:pt x="3879945" y="1158696"/>
                    <a:pt x="3873330" y="1160902"/>
                  </a:cubicBezTo>
                  <a:cubicBezTo>
                    <a:pt x="3867444" y="1162841"/>
                    <a:pt x="3857905" y="1159766"/>
                    <a:pt x="3851005" y="1161404"/>
                  </a:cubicBezTo>
                  <a:cubicBezTo>
                    <a:pt x="3835418" y="1165147"/>
                    <a:pt x="3826408" y="1158329"/>
                    <a:pt x="3812648" y="1147032"/>
                  </a:cubicBezTo>
                  <a:cubicBezTo>
                    <a:pt x="3800024" y="1136670"/>
                    <a:pt x="3787198" y="1121028"/>
                    <a:pt x="3784235" y="1110533"/>
                  </a:cubicBezTo>
                  <a:cubicBezTo>
                    <a:pt x="3783382" y="1107425"/>
                    <a:pt x="3765482" y="1078112"/>
                    <a:pt x="3763940" y="1078413"/>
                  </a:cubicBezTo>
                  <a:cubicBezTo>
                    <a:pt x="3772382" y="1076708"/>
                    <a:pt x="3788294" y="1101442"/>
                    <a:pt x="3803880" y="1097932"/>
                  </a:cubicBezTo>
                  <a:cubicBezTo>
                    <a:pt x="3820116" y="1094256"/>
                    <a:pt x="3788578" y="1080719"/>
                    <a:pt x="3795762" y="1078146"/>
                  </a:cubicBezTo>
                  <a:cubicBezTo>
                    <a:pt x="3804449" y="1075104"/>
                    <a:pt x="3805464" y="1078814"/>
                    <a:pt x="3801486" y="1068553"/>
                  </a:cubicBezTo>
                  <a:cubicBezTo>
                    <a:pt x="3799253" y="1062871"/>
                    <a:pt x="3803150" y="1066614"/>
                    <a:pt x="3807858" y="1065545"/>
                  </a:cubicBezTo>
                  <a:cubicBezTo>
                    <a:pt x="3814678" y="1063941"/>
                    <a:pt x="3796006" y="1054081"/>
                    <a:pt x="3793530" y="1052175"/>
                  </a:cubicBezTo>
                  <a:cubicBezTo>
                    <a:pt x="3782814" y="1044154"/>
                    <a:pt x="3785777" y="1039441"/>
                    <a:pt x="3772545" y="1032556"/>
                  </a:cubicBezTo>
                  <a:cubicBezTo>
                    <a:pt x="3769501" y="1030951"/>
                    <a:pt x="3740073" y="1016446"/>
                    <a:pt x="3739667" y="1020523"/>
                  </a:cubicBezTo>
                  <a:cubicBezTo>
                    <a:pt x="3738936" y="1028879"/>
                    <a:pt x="3724081" y="1010496"/>
                    <a:pt x="3725258" y="1011165"/>
                  </a:cubicBezTo>
                  <a:cubicBezTo>
                    <a:pt x="3707195" y="1000001"/>
                    <a:pt x="3684668" y="991979"/>
                    <a:pt x="3676551" y="977741"/>
                  </a:cubicBezTo>
                  <a:cubicBezTo>
                    <a:pt x="3671599" y="969151"/>
                    <a:pt x="3667418" y="970254"/>
                    <a:pt x="3660315" y="973195"/>
                  </a:cubicBezTo>
                  <a:cubicBezTo>
                    <a:pt x="3653211" y="976137"/>
                    <a:pt x="3625123" y="956784"/>
                    <a:pt x="3629222" y="972460"/>
                  </a:cubicBezTo>
                  <a:cubicBezTo>
                    <a:pt x="3630278" y="976538"/>
                    <a:pt x="3623499" y="989807"/>
                    <a:pt x="3612459" y="983189"/>
                  </a:cubicBezTo>
                  <a:cubicBezTo>
                    <a:pt x="3596223" y="973396"/>
                    <a:pt x="3593260" y="974766"/>
                    <a:pt x="3576172" y="968516"/>
                  </a:cubicBezTo>
                  <a:cubicBezTo>
                    <a:pt x="3559936" y="962567"/>
                    <a:pt x="3542198" y="951804"/>
                    <a:pt x="3526368" y="944652"/>
                  </a:cubicBezTo>
                  <a:cubicBezTo>
                    <a:pt x="3511229" y="937633"/>
                    <a:pt x="3520848" y="933355"/>
                    <a:pt x="3503516" y="932118"/>
                  </a:cubicBezTo>
                  <a:cubicBezTo>
                    <a:pt x="3493409" y="931382"/>
                    <a:pt x="3476362" y="922091"/>
                    <a:pt x="3468406" y="917144"/>
                  </a:cubicBezTo>
                  <a:cubicBezTo>
                    <a:pt x="3444823" y="902471"/>
                    <a:pt x="3478757" y="910861"/>
                    <a:pt x="3480583" y="908186"/>
                  </a:cubicBezTo>
                  <a:cubicBezTo>
                    <a:pt x="3482409" y="905513"/>
                    <a:pt x="3430739" y="884389"/>
                    <a:pt x="3424813" y="881047"/>
                  </a:cubicBezTo>
                  <a:cubicBezTo>
                    <a:pt x="3403097" y="868446"/>
                    <a:pt x="3381990" y="861393"/>
                    <a:pt x="3357230" y="853171"/>
                  </a:cubicBezTo>
                  <a:cubicBezTo>
                    <a:pt x="3341441" y="847924"/>
                    <a:pt x="3320699" y="839367"/>
                    <a:pt x="3304464" y="836961"/>
                  </a:cubicBezTo>
                  <a:cubicBezTo>
                    <a:pt x="3297279" y="835891"/>
                    <a:pt x="3303733" y="843144"/>
                    <a:pt x="3299959" y="844214"/>
                  </a:cubicBezTo>
                  <a:cubicBezTo>
                    <a:pt x="3289933" y="846955"/>
                    <a:pt x="3292327" y="835423"/>
                    <a:pt x="3293220" y="834187"/>
                  </a:cubicBezTo>
                  <a:cubicBezTo>
                    <a:pt x="3294560" y="832482"/>
                    <a:pt x="3299106" y="812495"/>
                    <a:pt x="3283723" y="816506"/>
                  </a:cubicBezTo>
                  <a:cubicBezTo>
                    <a:pt x="3275605" y="818645"/>
                    <a:pt x="3256771" y="817308"/>
                    <a:pt x="3246623" y="807147"/>
                  </a:cubicBezTo>
                  <a:cubicBezTo>
                    <a:pt x="3234446" y="794948"/>
                    <a:pt x="3213177" y="779840"/>
                    <a:pt x="3190123" y="776865"/>
                  </a:cubicBezTo>
                  <a:cubicBezTo>
                    <a:pt x="3183628" y="776030"/>
                    <a:pt x="3172345" y="775161"/>
                    <a:pt x="3169462" y="778102"/>
                  </a:cubicBezTo>
                  <a:cubicBezTo>
                    <a:pt x="3165403" y="782447"/>
                    <a:pt x="3189270" y="786792"/>
                    <a:pt x="3188540" y="789700"/>
                  </a:cubicBezTo>
                  <a:cubicBezTo>
                    <a:pt x="3187687" y="793042"/>
                    <a:pt x="3157407" y="782347"/>
                    <a:pt x="3152943" y="781177"/>
                  </a:cubicBezTo>
                  <a:cubicBezTo>
                    <a:pt x="3142673" y="778436"/>
                    <a:pt x="3132120" y="780007"/>
                    <a:pt x="3120471" y="777634"/>
                  </a:cubicBezTo>
                  <a:cubicBezTo>
                    <a:pt x="3100744" y="773590"/>
                    <a:pt x="3081951" y="767607"/>
                    <a:pt x="3062346" y="762527"/>
                  </a:cubicBezTo>
                  <a:cubicBezTo>
                    <a:pt x="3057313" y="761190"/>
                    <a:pt x="3021228" y="757413"/>
                    <a:pt x="3021472" y="757613"/>
                  </a:cubicBezTo>
                  <a:cubicBezTo>
                    <a:pt x="3013923" y="751163"/>
                    <a:pt x="3054553" y="750594"/>
                    <a:pt x="3059505" y="751630"/>
                  </a:cubicBezTo>
                  <a:cubicBezTo>
                    <a:pt x="3067379" y="753195"/>
                    <a:pt x="3075497" y="753803"/>
                    <a:pt x="3083574" y="753435"/>
                  </a:cubicBezTo>
                  <a:cubicBezTo>
                    <a:pt x="3094006" y="753435"/>
                    <a:pt x="3107928" y="758783"/>
                    <a:pt x="3118523" y="761758"/>
                  </a:cubicBezTo>
                  <a:cubicBezTo>
                    <a:pt x="3133825" y="765936"/>
                    <a:pt x="3155946" y="764432"/>
                    <a:pt x="3171289" y="766103"/>
                  </a:cubicBezTo>
                  <a:cubicBezTo>
                    <a:pt x="3189514" y="768075"/>
                    <a:pt x="3201082" y="765334"/>
                    <a:pt x="3220971" y="768910"/>
                  </a:cubicBezTo>
                  <a:cubicBezTo>
                    <a:pt x="3234324" y="771317"/>
                    <a:pt x="3256203" y="779573"/>
                    <a:pt x="3265620" y="776130"/>
                  </a:cubicBezTo>
                  <a:cubicBezTo>
                    <a:pt x="3276213" y="772219"/>
                    <a:pt x="3298092" y="779138"/>
                    <a:pt x="3313718" y="781611"/>
                  </a:cubicBezTo>
                  <a:cubicBezTo>
                    <a:pt x="3323176" y="783115"/>
                    <a:pt x="3331821" y="783918"/>
                    <a:pt x="3337626" y="781043"/>
                  </a:cubicBezTo>
                  <a:cubicBezTo>
                    <a:pt x="3346393" y="776631"/>
                    <a:pt x="3328168" y="773322"/>
                    <a:pt x="3328209" y="768075"/>
                  </a:cubicBezTo>
                  <a:cubicBezTo>
                    <a:pt x="3328209" y="764732"/>
                    <a:pt x="3347245" y="773623"/>
                    <a:pt x="3351589" y="771818"/>
                  </a:cubicBezTo>
                  <a:cubicBezTo>
                    <a:pt x="3360193" y="768209"/>
                    <a:pt x="3340954" y="762627"/>
                    <a:pt x="3339412" y="760454"/>
                  </a:cubicBezTo>
                  <a:cubicBezTo>
                    <a:pt x="3336935" y="757112"/>
                    <a:pt x="3352157" y="756477"/>
                    <a:pt x="3339980" y="749892"/>
                  </a:cubicBezTo>
                  <a:cubicBezTo>
                    <a:pt x="3336368" y="747954"/>
                    <a:pt x="3320375" y="745547"/>
                    <a:pt x="3322486" y="742539"/>
                  </a:cubicBezTo>
                  <a:cubicBezTo>
                    <a:pt x="3324597" y="739531"/>
                    <a:pt x="3329913" y="729170"/>
                    <a:pt x="3319442" y="725360"/>
                  </a:cubicBezTo>
                  <a:cubicBezTo>
                    <a:pt x="3305276" y="720179"/>
                    <a:pt x="3301582" y="722652"/>
                    <a:pt x="3288837" y="713661"/>
                  </a:cubicBezTo>
                  <a:cubicBezTo>
                    <a:pt x="3273657" y="702932"/>
                    <a:pt x="3254051" y="698353"/>
                    <a:pt x="3239642" y="690465"/>
                  </a:cubicBezTo>
                  <a:cubicBezTo>
                    <a:pt x="3222919" y="681341"/>
                    <a:pt x="3201285" y="678901"/>
                    <a:pt x="3183060" y="669375"/>
                  </a:cubicBezTo>
                  <a:cubicBezTo>
                    <a:pt x="3168245" y="661688"/>
                    <a:pt x="3165403" y="667604"/>
                    <a:pt x="3155702" y="667871"/>
                  </a:cubicBezTo>
                  <a:cubicBezTo>
                    <a:pt x="3146002" y="668138"/>
                    <a:pt x="3130131" y="660651"/>
                    <a:pt x="3121445" y="657075"/>
                  </a:cubicBezTo>
                  <a:cubicBezTo>
                    <a:pt x="3100906" y="648652"/>
                    <a:pt x="3137031" y="650391"/>
                    <a:pt x="3144825" y="648519"/>
                  </a:cubicBezTo>
                  <a:cubicBezTo>
                    <a:pt x="3148884" y="647549"/>
                    <a:pt x="3104478" y="632275"/>
                    <a:pt x="3099080" y="630236"/>
                  </a:cubicBezTo>
                  <a:cubicBezTo>
                    <a:pt x="3092260" y="627629"/>
                    <a:pt x="3090191" y="624988"/>
                    <a:pt x="3084142" y="622047"/>
                  </a:cubicBezTo>
                  <a:cubicBezTo>
                    <a:pt x="3075213" y="617702"/>
                    <a:pt x="3052807" y="612254"/>
                    <a:pt x="3046516" y="607508"/>
                  </a:cubicBezTo>
                  <a:cubicBezTo>
                    <a:pt x="3051590" y="611318"/>
                    <a:pt x="3097010" y="617301"/>
                    <a:pt x="3104235" y="617836"/>
                  </a:cubicBezTo>
                  <a:cubicBezTo>
                    <a:pt x="3123109" y="619206"/>
                    <a:pt x="3070220" y="594807"/>
                    <a:pt x="3068638" y="594038"/>
                  </a:cubicBezTo>
                  <a:cubicBezTo>
                    <a:pt x="3046273" y="582306"/>
                    <a:pt x="3031822" y="578964"/>
                    <a:pt x="3006698" y="573483"/>
                  </a:cubicBezTo>
                  <a:cubicBezTo>
                    <a:pt x="2981573" y="568001"/>
                    <a:pt x="2975281" y="570542"/>
                    <a:pt x="2954986" y="571277"/>
                  </a:cubicBezTo>
                  <a:cubicBezTo>
                    <a:pt x="2947599" y="571544"/>
                    <a:pt x="2915168" y="568503"/>
                    <a:pt x="2917846" y="575589"/>
                  </a:cubicBezTo>
                  <a:cubicBezTo>
                    <a:pt x="2920119" y="577387"/>
                    <a:pt x="2922555" y="579061"/>
                    <a:pt x="2925112" y="580602"/>
                  </a:cubicBezTo>
                  <a:cubicBezTo>
                    <a:pt x="2924827" y="582510"/>
                    <a:pt x="2924219" y="584372"/>
                    <a:pt x="2923245" y="586117"/>
                  </a:cubicBezTo>
                  <a:cubicBezTo>
                    <a:pt x="2923245" y="591164"/>
                    <a:pt x="2906238" y="584145"/>
                    <a:pt x="2902463" y="582540"/>
                  </a:cubicBezTo>
                  <a:cubicBezTo>
                    <a:pt x="2887932" y="576478"/>
                    <a:pt x="2872630" y="571835"/>
                    <a:pt x="2856800" y="568703"/>
                  </a:cubicBezTo>
                  <a:cubicBezTo>
                    <a:pt x="2831471" y="563990"/>
                    <a:pt x="2869545" y="582306"/>
                    <a:pt x="2866866" y="583978"/>
                  </a:cubicBezTo>
                  <a:cubicBezTo>
                    <a:pt x="2864187" y="585649"/>
                    <a:pt x="2825870" y="565628"/>
                    <a:pt x="2814870" y="565795"/>
                  </a:cubicBezTo>
                  <a:cubicBezTo>
                    <a:pt x="2805250" y="565795"/>
                    <a:pt x="2803424" y="568803"/>
                    <a:pt x="2791328" y="563890"/>
                  </a:cubicBezTo>
                  <a:cubicBezTo>
                    <a:pt x="2787269" y="562286"/>
                    <a:pt x="2761982" y="555401"/>
                    <a:pt x="2762509" y="554130"/>
                  </a:cubicBezTo>
                  <a:cubicBezTo>
                    <a:pt x="2763646" y="551189"/>
                    <a:pt x="2791613" y="552560"/>
                    <a:pt x="2769572" y="545674"/>
                  </a:cubicBezTo>
                  <a:cubicBezTo>
                    <a:pt x="2749764" y="539524"/>
                    <a:pt x="2744082" y="547178"/>
                    <a:pt x="2728089" y="537653"/>
                  </a:cubicBezTo>
                  <a:cubicBezTo>
                    <a:pt x="2720702" y="533241"/>
                    <a:pt x="2714086" y="534310"/>
                    <a:pt x="2705805" y="533675"/>
                  </a:cubicBezTo>
                  <a:cubicBezTo>
                    <a:pt x="2692411" y="532706"/>
                    <a:pt x="2685510" y="530132"/>
                    <a:pt x="2672562" y="525720"/>
                  </a:cubicBezTo>
                  <a:cubicBezTo>
                    <a:pt x="2642445" y="515426"/>
                    <a:pt x="2679584" y="537285"/>
                    <a:pt x="2679584" y="537084"/>
                  </a:cubicBezTo>
                  <a:cubicBezTo>
                    <a:pt x="2679584" y="536884"/>
                    <a:pt x="2580870" y="515426"/>
                    <a:pt x="2575106" y="513989"/>
                  </a:cubicBezTo>
                  <a:cubicBezTo>
                    <a:pt x="2563539" y="510646"/>
                    <a:pt x="2560048" y="511816"/>
                    <a:pt x="2550996" y="512652"/>
                  </a:cubicBezTo>
                  <a:cubicBezTo>
                    <a:pt x="2540280" y="513655"/>
                    <a:pt x="2526033" y="508340"/>
                    <a:pt x="2514466" y="507538"/>
                  </a:cubicBezTo>
                  <a:cubicBezTo>
                    <a:pt x="2503547" y="506836"/>
                    <a:pt x="2498716" y="511515"/>
                    <a:pt x="2486053" y="507538"/>
                  </a:cubicBezTo>
                  <a:cubicBezTo>
                    <a:pt x="2483414" y="506736"/>
                    <a:pt x="2460969" y="493099"/>
                    <a:pt x="2459344" y="499316"/>
                  </a:cubicBezTo>
                  <a:cubicBezTo>
                    <a:pt x="2458980" y="500753"/>
                    <a:pt x="2472292" y="505399"/>
                    <a:pt x="2459588" y="504329"/>
                  </a:cubicBezTo>
                  <a:cubicBezTo>
                    <a:pt x="2455895" y="503995"/>
                    <a:pt x="2438238" y="498580"/>
                    <a:pt x="2437832" y="502591"/>
                  </a:cubicBezTo>
                  <a:cubicBezTo>
                    <a:pt x="2437832" y="504129"/>
                    <a:pt x="2459629" y="509276"/>
                    <a:pt x="2447411" y="511983"/>
                  </a:cubicBezTo>
                  <a:cubicBezTo>
                    <a:pt x="2442622" y="513120"/>
                    <a:pt x="2431175" y="506903"/>
                    <a:pt x="2427116" y="505299"/>
                  </a:cubicBezTo>
                  <a:cubicBezTo>
                    <a:pt x="2420216" y="502591"/>
                    <a:pt x="2411529" y="502658"/>
                    <a:pt x="2420662" y="507839"/>
                  </a:cubicBezTo>
                  <a:cubicBezTo>
                    <a:pt x="2428456" y="512284"/>
                    <a:pt x="2442703" y="513788"/>
                    <a:pt x="2447005" y="519571"/>
                  </a:cubicBezTo>
                  <a:cubicBezTo>
                    <a:pt x="2455895" y="531536"/>
                    <a:pt x="2413884" y="510814"/>
                    <a:pt x="2420013" y="518601"/>
                  </a:cubicBezTo>
                  <a:cubicBezTo>
                    <a:pt x="2423706" y="523214"/>
                    <a:pt x="2457274" y="534043"/>
                    <a:pt x="2439780" y="538655"/>
                  </a:cubicBezTo>
                  <a:cubicBezTo>
                    <a:pt x="2423544" y="542900"/>
                    <a:pt x="2434869" y="540026"/>
                    <a:pt x="2416603" y="533776"/>
                  </a:cubicBezTo>
                  <a:cubicBezTo>
                    <a:pt x="2410718" y="531804"/>
                    <a:pt x="2399678" y="528361"/>
                    <a:pt x="2394157" y="529598"/>
                  </a:cubicBezTo>
                  <a:cubicBezTo>
                    <a:pt x="2383279" y="532104"/>
                    <a:pt x="2383767" y="530199"/>
                    <a:pt x="2373376" y="525954"/>
                  </a:cubicBezTo>
                  <a:cubicBezTo>
                    <a:pt x="2356611" y="519069"/>
                    <a:pt x="2329823" y="516429"/>
                    <a:pt x="2311395" y="511983"/>
                  </a:cubicBezTo>
                  <a:cubicBezTo>
                    <a:pt x="2288503" y="506502"/>
                    <a:pt x="2265244" y="500720"/>
                    <a:pt x="2242108" y="496742"/>
                  </a:cubicBezTo>
                  <a:cubicBezTo>
                    <a:pt x="2226278" y="494001"/>
                    <a:pt x="2202492" y="497377"/>
                    <a:pt x="2215360" y="508608"/>
                  </a:cubicBezTo>
                  <a:cubicBezTo>
                    <a:pt x="2228227" y="519838"/>
                    <a:pt x="2202452" y="517899"/>
                    <a:pt x="2223478" y="530099"/>
                  </a:cubicBezTo>
                  <a:cubicBezTo>
                    <a:pt x="2236953" y="537954"/>
                    <a:pt x="2261754" y="544304"/>
                    <a:pt x="2270197" y="553495"/>
                  </a:cubicBezTo>
                  <a:cubicBezTo>
                    <a:pt x="2281115" y="565428"/>
                    <a:pt x="2263134" y="568202"/>
                    <a:pt x="2245599" y="560481"/>
                  </a:cubicBezTo>
                  <a:cubicBezTo>
                    <a:pt x="2226278" y="552025"/>
                    <a:pt x="2214588" y="540427"/>
                    <a:pt x="2195836" y="531837"/>
                  </a:cubicBezTo>
                  <a:cubicBezTo>
                    <a:pt x="2178423" y="523892"/>
                    <a:pt x="2160076" y="517472"/>
                    <a:pt x="2141040" y="512685"/>
                  </a:cubicBezTo>
                  <a:cubicBezTo>
                    <a:pt x="2124519" y="508574"/>
                    <a:pt x="2125129" y="500352"/>
                    <a:pt x="2105564" y="498079"/>
                  </a:cubicBezTo>
                  <a:cubicBezTo>
                    <a:pt x="2099476" y="497377"/>
                    <a:pt x="2087258" y="496709"/>
                    <a:pt x="2084539" y="499683"/>
                  </a:cubicBezTo>
                  <a:cubicBezTo>
                    <a:pt x="2081819" y="502658"/>
                    <a:pt x="2105768" y="504597"/>
                    <a:pt x="2105077" y="507237"/>
                  </a:cubicBezTo>
                  <a:cubicBezTo>
                    <a:pt x="2103169" y="507815"/>
                    <a:pt x="2101302" y="508531"/>
                    <a:pt x="2099517" y="509376"/>
                  </a:cubicBezTo>
                  <a:cubicBezTo>
                    <a:pt x="2100003" y="511114"/>
                    <a:pt x="2117701" y="517431"/>
                    <a:pt x="2119202" y="518167"/>
                  </a:cubicBezTo>
                  <a:cubicBezTo>
                    <a:pt x="2130121" y="523448"/>
                    <a:pt x="2113764" y="521843"/>
                    <a:pt x="2108934" y="520807"/>
                  </a:cubicBezTo>
                  <a:cubicBezTo>
                    <a:pt x="2094443" y="517766"/>
                    <a:pt x="2086040" y="509410"/>
                    <a:pt x="2071550" y="507137"/>
                  </a:cubicBezTo>
                  <a:cubicBezTo>
                    <a:pt x="2062945" y="505767"/>
                    <a:pt x="2046912" y="505834"/>
                    <a:pt x="2050362" y="512017"/>
                  </a:cubicBezTo>
                  <a:cubicBezTo>
                    <a:pt x="2059535" y="528528"/>
                    <a:pt x="2094118" y="531804"/>
                    <a:pt x="2109623" y="544471"/>
                  </a:cubicBezTo>
                  <a:cubicBezTo>
                    <a:pt x="2113114" y="547312"/>
                    <a:pt x="2122409" y="552693"/>
                    <a:pt x="2124438" y="555167"/>
                  </a:cubicBezTo>
                  <a:cubicBezTo>
                    <a:pt x="2128944" y="560648"/>
                    <a:pt x="2104143" y="552493"/>
                    <a:pt x="2101830" y="551356"/>
                  </a:cubicBezTo>
                  <a:cubicBezTo>
                    <a:pt x="2077477" y="538555"/>
                    <a:pt x="2067816" y="532907"/>
                    <a:pt x="2037414" y="526289"/>
                  </a:cubicBezTo>
                  <a:cubicBezTo>
                    <a:pt x="2030473" y="524751"/>
                    <a:pt x="2014481" y="521810"/>
                    <a:pt x="2016307" y="516529"/>
                  </a:cubicBezTo>
                  <a:cubicBezTo>
                    <a:pt x="2017728" y="514868"/>
                    <a:pt x="2019270" y="513273"/>
                    <a:pt x="2020934" y="511749"/>
                  </a:cubicBezTo>
                  <a:cubicBezTo>
                    <a:pt x="2022193" y="508808"/>
                    <a:pt x="2015861" y="506435"/>
                    <a:pt x="2018337" y="503159"/>
                  </a:cubicBezTo>
                  <a:cubicBezTo>
                    <a:pt x="2024507" y="494971"/>
                    <a:pt x="2059495" y="484208"/>
                    <a:pt x="2025400" y="470672"/>
                  </a:cubicBezTo>
                  <a:cubicBezTo>
                    <a:pt x="2012370" y="465525"/>
                    <a:pt x="2009691" y="487150"/>
                    <a:pt x="1999179" y="490291"/>
                  </a:cubicBezTo>
                  <a:cubicBezTo>
                    <a:pt x="1985094" y="494469"/>
                    <a:pt x="1964880" y="487785"/>
                    <a:pt x="1951810" y="492598"/>
                  </a:cubicBezTo>
                  <a:cubicBezTo>
                    <a:pt x="1948928" y="493667"/>
                    <a:pt x="1931515" y="494336"/>
                    <a:pt x="1936670" y="498046"/>
                  </a:cubicBezTo>
                  <a:cubicBezTo>
                    <a:pt x="1942231" y="502277"/>
                    <a:pt x="1947426" y="506823"/>
                    <a:pt x="1952216" y="511649"/>
                  </a:cubicBezTo>
                  <a:cubicBezTo>
                    <a:pt x="1963134" y="521977"/>
                    <a:pt x="1974337" y="529664"/>
                    <a:pt x="1960334" y="536550"/>
                  </a:cubicBezTo>
                  <a:cubicBezTo>
                    <a:pt x="1944098" y="544705"/>
                    <a:pt x="1935047" y="553261"/>
                    <a:pt x="1933788" y="566631"/>
                  </a:cubicBezTo>
                  <a:cubicBezTo>
                    <a:pt x="1932692" y="578262"/>
                    <a:pt x="1990614" y="581270"/>
                    <a:pt x="2002142" y="582942"/>
                  </a:cubicBezTo>
                  <a:cubicBezTo>
                    <a:pt x="2024993" y="586284"/>
                    <a:pt x="2046790" y="600355"/>
                    <a:pt x="2064324" y="609246"/>
                  </a:cubicBezTo>
                  <a:cubicBezTo>
                    <a:pt x="2071022" y="612588"/>
                    <a:pt x="2074878" y="623451"/>
                    <a:pt x="2073052" y="626994"/>
                  </a:cubicBezTo>
                  <a:cubicBezTo>
                    <a:pt x="2071509" y="630002"/>
                    <a:pt x="2058724" y="628698"/>
                    <a:pt x="2054827" y="630838"/>
                  </a:cubicBezTo>
                  <a:cubicBezTo>
                    <a:pt x="2039281" y="639327"/>
                    <a:pt x="2085391" y="648485"/>
                    <a:pt x="2087299" y="655337"/>
                  </a:cubicBezTo>
                  <a:cubicBezTo>
                    <a:pt x="2087948" y="657510"/>
                    <a:pt x="2061687" y="649120"/>
                    <a:pt x="2059982" y="648652"/>
                  </a:cubicBezTo>
                  <a:cubicBezTo>
                    <a:pt x="2046140" y="643839"/>
                    <a:pt x="2042610" y="639996"/>
                    <a:pt x="2039078" y="632442"/>
                  </a:cubicBezTo>
                  <a:cubicBezTo>
                    <a:pt x="2035547" y="624888"/>
                    <a:pt x="2054056" y="625055"/>
                    <a:pt x="2050402" y="617936"/>
                  </a:cubicBezTo>
                  <a:cubicBezTo>
                    <a:pt x="2047927" y="613090"/>
                    <a:pt x="2031934" y="599319"/>
                    <a:pt x="2024060" y="596010"/>
                  </a:cubicBezTo>
                  <a:cubicBezTo>
                    <a:pt x="2009691" y="589894"/>
                    <a:pt x="1959644" y="583811"/>
                    <a:pt x="1956518" y="593203"/>
                  </a:cubicBezTo>
                  <a:cubicBezTo>
                    <a:pt x="1954367" y="599620"/>
                    <a:pt x="1965205" y="609714"/>
                    <a:pt x="1961592" y="615195"/>
                  </a:cubicBezTo>
                  <a:cubicBezTo>
                    <a:pt x="1957980" y="620677"/>
                    <a:pt x="1939674" y="620911"/>
                    <a:pt x="1930988" y="623518"/>
                  </a:cubicBezTo>
                  <a:cubicBezTo>
                    <a:pt x="1920718" y="626660"/>
                    <a:pt x="1922870" y="630637"/>
                    <a:pt x="1906634" y="631038"/>
                  </a:cubicBezTo>
                  <a:cubicBezTo>
                    <a:pt x="1894051" y="631339"/>
                    <a:pt x="1871483" y="629634"/>
                    <a:pt x="1863771" y="634782"/>
                  </a:cubicBezTo>
                  <a:cubicBezTo>
                    <a:pt x="1856059" y="639929"/>
                    <a:pt x="1852325" y="640798"/>
                    <a:pt x="1836535" y="633445"/>
                  </a:cubicBezTo>
                  <a:cubicBezTo>
                    <a:pt x="1819244" y="625423"/>
                    <a:pt x="1800410" y="628565"/>
                    <a:pt x="1783769" y="621345"/>
                  </a:cubicBezTo>
                  <a:cubicBezTo>
                    <a:pt x="1779263" y="619373"/>
                    <a:pt x="1776462" y="616064"/>
                    <a:pt x="1771267" y="614661"/>
                  </a:cubicBezTo>
                  <a:cubicBezTo>
                    <a:pt x="1764123" y="612655"/>
                    <a:pt x="1756817" y="614360"/>
                    <a:pt x="1751216" y="609814"/>
                  </a:cubicBezTo>
                  <a:cubicBezTo>
                    <a:pt x="1739444" y="600255"/>
                    <a:pt x="1768020" y="600790"/>
                    <a:pt x="1768101" y="609279"/>
                  </a:cubicBezTo>
                  <a:cubicBezTo>
                    <a:pt x="1768101" y="614594"/>
                    <a:pt x="1791034" y="610015"/>
                    <a:pt x="1797001" y="615964"/>
                  </a:cubicBezTo>
                  <a:cubicBezTo>
                    <a:pt x="1805849" y="624821"/>
                    <a:pt x="1815753" y="618638"/>
                    <a:pt x="1825414" y="621178"/>
                  </a:cubicBezTo>
                  <a:cubicBezTo>
                    <a:pt x="1840513" y="625189"/>
                    <a:pt x="1830690" y="616064"/>
                    <a:pt x="1845709" y="616165"/>
                  </a:cubicBezTo>
                  <a:cubicBezTo>
                    <a:pt x="1854557" y="615901"/>
                    <a:pt x="1863041" y="613220"/>
                    <a:pt x="1869819" y="608544"/>
                  </a:cubicBezTo>
                  <a:cubicBezTo>
                    <a:pt x="1872133" y="606706"/>
                    <a:pt x="1889099" y="603564"/>
                    <a:pt x="1894741" y="604834"/>
                  </a:cubicBezTo>
                  <a:cubicBezTo>
                    <a:pt x="1906593" y="607475"/>
                    <a:pt x="1903346" y="592434"/>
                    <a:pt x="1910977" y="590195"/>
                  </a:cubicBezTo>
                  <a:cubicBezTo>
                    <a:pt x="1922748" y="586852"/>
                    <a:pt x="1924655" y="587387"/>
                    <a:pt x="1912073" y="578864"/>
                  </a:cubicBezTo>
                  <a:cubicBezTo>
                    <a:pt x="1901682" y="571812"/>
                    <a:pt x="1896852" y="567634"/>
                    <a:pt x="1898313" y="560381"/>
                  </a:cubicBezTo>
                  <a:cubicBezTo>
                    <a:pt x="1899774" y="553128"/>
                    <a:pt x="1903955" y="546477"/>
                    <a:pt x="1905335" y="539257"/>
                  </a:cubicBezTo>
                  <a:cubicBezTo>
                    <a:pt x="1907283" y="529230"/>
                    <a:pt x="1913778" y="524216"/>
                    <a:pt x="1920637" y="515493"/>
                  </a:cubicBezTo>
                  <a:cubicBezTo>
                    <a:pt x="1933260" y="499316"/>
                    <a:pt x="1868804" y="487350"/>
                    <a:pt x="1913899" y="480532"/>
                  </a:cubicBezTo>
                  <a:cubicBezTo>
                    <a:pt x="1930541" y="478058"/>
                    <a:pt x="1949131" y="458472"/>
                    <a:pt x="1928309" y="449414"/>
                  </a:cubicBezTo>
                  <a:cubicBezTo>
                    <a:pt x="1905660" y="439588"/>
                    <a:pt x="1877084" y="435443"/>
                    <a:pt x="1851878" y="429360"/>
                  </a:cubicBezTo>
                  <a:cubicBezTo>
                    <a:pt x="1842177" y="426987"/>
                    <a:pt x="1825738" y="420737"/>
                    <a:pt x="1817458" y="423645"/>
                  </a:cubicBezTo>
                  <a:cubicBezTo>
                    <a:pt x="1806255" y="428070"/>
                    <a:pt x="1795783" y="433689"/>
                    <a:pt x="1786366" y="440357"/>
                  </a:cubicBezTo>
                  <a:cubicBezTo>
                    <a:pt x="1776990" y="446440"/>
                    <a:pt x="1772728" y="453024"/>
                    <a:pt x="1755680" y="454628"/>
                  </a:cubicBezTo>
                  <a:cubicBezTo>
                    <a:pt x="1743909" y="455731"/>
                    <a:pt x="1728688" y="453559"/>
                    <a:pt x="1717932" y="455665"/>
                  </a:cubicBezTo>
                  <a:cubicBezTo>
                    <a:pt x="1705755" y="458105"/>
                    <a:pt x="1698327" y="467864"/>
                    <a:pt x="1719312" y="471039"/>
                  </a:cubicBezTo>
                  <a:cubicBezTo>
                    <a:pt x="1733802" y="473245"/>
                    <a:pt x="1724995" y="483707"/>
                    <a:pt x="1717486" y="485044"/>
                  </a:cubicBezTo>
                  <a:cubicBezTo>
                    <a:pt x="1714482" y="485612"/>
                    <a:pt x="1718257" y="489757"/>
                    <a:pt x="1717242" y="491027"/>
                  </a:cubicBezTo>
                  <a:cubicBezTo>
                    <a:pt x="1715172" y="493634"/>
                    <a:pt x="1704213" y="493801"/>
                    <a:pt x="1700316" y="495806"/>
                  </a:cubicBezTo>
                  <a:cubicBezTo>
                    <a:pt x="1689722" y="501254"/>
                    <a:pt x="1709043" y="506569"/>
                    <a:pt x="1718662" y="509945"/>
                  </a:cubicBezTo>
                  <a:cubicBezTo>
                    <a:pt x="1736035" y="515994"/>
                    <a:pt x="1740784" y="519103"/>
                    <a:pt x="1744437" y="528796"/>
                  </a:cubicBezTo>
                  <a:cubicBezTo>
                    <a:pt x="1747238" y="536182"/>
                    <a:pt x="1772119" y="541262"/>
                    <a:pt x="1765016" y="546677"/>
                  </a:cubicBezTo>
                  <a:cubicBezTo>
                    <a:pt x="1748253" y="559445"/>
                    <a:pt x="1735751" y="554197"/>
                    <a:pt x="1717648" y="540828"/>
                  </a:cubicBezTo>
                  <a:cubicBezTo>
                    <a:pt x="1697881" y="526222"/>
                    <a:pt x="1671051" y="515627"/>
                    <a:pt x="1643693" y="504764"/>
                  </a:cubicBezTo>
                  <a:cubicBezTo>
                    <a:pt x="1617878" y="494503"/>
                    <a:pt x="1593403" y="480264"/>
                    <a:pt x="1564137" y="473546"/>
                  </a:cubicBezTo>
                  <a:cubicBezTo>
                    <a:pt x="1545588" y="469201"/>
                    <a:pt x="1483323" y="461547"/>
                    <a:pt x="1473379" y="451086"/>
                  </a:cubicBezTo>
                  <a:cubicBezTo>
                    <a:pt x="1467574" y="444802"/>
                    <a:pt x="1410667" y="416659"/>
                    <a:pt x="1410749" y="433171"/>
                  </a:cubicBezTo>
                  <a:cubicBezTo>
                    <a:pt x="1410749" y="448311"/>
                    <a:pt x="1467574" y="450450"/>
                    <a:pt x="1469685" y="461480"/>
                  </a:cubicBezTo>
                  <a:cubicBezTo>
                    <a:pt x="1470497" y="465658"/>
                    <a:pt x="1468548" y="468366"/>
                    <a:pt x="1472323" y="472778"/>
                  </a:cubicBezTo>
                  <a:cubicBezTo>
                    <a:pt x="1475327" y="476354"/>
                    <a:pt x="1482836" y="480197"/>
                    <a:pt x="1484297" y="483841"/>
                  </a:cubicBezTo>
                  <a:cubicBezTo>
                    <a:pt x="1487950" y="492932"/>
                    <a:pt x="1460634" y="486581"/>
                    <a:pt x="1452272" y="486047"/>
                  </a:cubicBezTo>
                  <a:cubicBezTo>
                    <a:pt x="1435427" y="484910"/>
                    <a:pt x="1451379" y="495305"/>
                    <a:pt x="1438350" y="493734"/>
                  </a:cubicBezTo>
                  <a:cubicBezTo>
                    <a:pt x="1420287" y="491562"/>
                    <a:pt x="1412494" y="484242"/>
                    <a:pt x="1427066" y="480365"/>
                  </a:cubicBezTo>
                  <a:cubicBezTo>
                    <a:pt x="1434291" y="478393"/>
                    <a:pt x="1409409" y="468967"/>
                    <a:pt x="1404904" y="468499"/>
                  </a:cubicBezTo>
                  <a:cubicBezTo>
                    <a:pt x="1393335" y="467296"/>
                    <a:pt x="1380793" y="469669"/>
                    <a:pt x="1370605" y="470906"/>
                  </a:cubicBezTo>
                  <a:cubicBezTo>
                    <a:pt x="1360417" y="472142"/>
                    <a:pt x="1351447" y="473981"/>
                    <a:pt x="1339514" y="471441"/>
                  </a:cubicBezTo>
                  <a:cubicBezTo>
                    <a:pt x="1319787" y="467296"/>
                    <a:pt x="1296448" y="460778"/>
                    <a:pt x="1277493" y="464488"/>
                  </a:cubicBezTo>
                  <a:cubicBezTo>
                    <a:pt x="1272460" y="465491"/>
                    <a:pt x="1264057" y="471674"/>
                    <a:pt x="1257198" y="469870"/>
                  </a:cubicBezTo>
                  <a:cubicBezTo>
                    <a:pt x="1243965" y="466360"/>
                    <a:pt x="1229150" y="466527"/>
                    <a:pt x="1215837" y="462784"/>
                  </a:cubicBezTo>
                  <a:cubicBezTo>
                    <a:pt x="1192092" y="456333"/>
                    <a:pt x="1220221" y="458372"/>
                    <a:pt x="1227202" y="458706"/>
                  </a:cubicBezTo>
                  <a:cubicBezTo>
                    <a:pt x="1234183" y="459040"/>
                    <a:pt x="1232641" y="456467"/>
                    <a:pt x="1229800" y="454161"/>
                  </a:cubicBezTo>
                  <a:cubicBezTo>
                    <a:pt x="1225132" y="450350"/>
                    <a:pt x="1235198" y="447476"/>
                    <a:pt x="1238527" y="445537"/>
                  </a:cubicBezTo>
                  <a:cubicBezTo>
                    <a:pt x="1244655" y="441894"/>
                    <a:pt x="1197937" y="441827"/>
                    <a:pt x="1191117" y="443498"/>
                  </a:cubicBezTo>
                  <a:cubicBezTo>
                    <a:pt x="1181620" y="445771"/>
                    <a:pt x="1186734" y="457703"/>
                    <a:pt x="1172365" y="447509"/>
                  </a:cubicBezTo>
                  <a:cubicBezTo>
                    <a:pt x="1165384" y="442529"/>
                    <a:pt x="1148254" y="443030"/>
                    <a:pt x="1139000" y="442730"/>
                  </a:cubicBezTo>
                  <a:cubicBezTo>
                    <a:pt x="1125322" y="442128"/>
                    <a:pt x="1111643" y="442319"/>
                    <a:pt x="1098005" y="443298"/>
                  </a:cubicBezTo>
                  <a:cubicBezTo>
                    <a:pt x="1086477" y="444234"/>
                    <a:pt x="1078237" y="447710"/>
                    <a:pt x="1066304" y="448378"/>
                  </a:cubicBezTo>
                  <a:cubicBezTo>
                    <a:pt x="1057415" y="448846"/>
                    <a:pt x="1051164" y="452088"/>
                    <a:pt x="1043696" y="452255"/>
                  </a:cubicBezTo>
                  <a:cubicBezTo>
                    <a:pt x="1031519" y="452523"/>
                    <a:pt x="1007773" y="447910"/>
                    <a:pt x="1003755" y="455330"/>
                  </a:cubicBezTo>
                  <a:cubicBezTo>
                    <a:pt x="1001360" y="459709"/>
                    <a:pt x="1005419" y="468967"/>
                    <a:pt x="993405" y="469602"/>
                  </a:cubicBezTo>
                  <a:cubicBezTo>
                    <a:pt x="981390" y="470237"/>
                    <a:pt x="967387" y="468031"/>
                    <a:pt x="955250" y="466460"/>
                  </a:cubicBezTo>
                  <a:cubicBezTo>
                    <a:pt x="943114" y="464890"/>
                    <a:pt x="933860" y="464622"/>
                    <a:pt x="927284" y="458238"/>
                  </a:cubicBezTo>
                  <a:cubicBezTo>
                    <a:pt x="922170" y="453258"/>
                    <a:pt x="906543" y="446607"/>
                    <a:pt x="910074" y="441961"/>
                  </a:cubicBezTo>
                  <a:cubicBezTo>
                    <a:pt x="915959" y="434207"/>
                    <a:pt x="926310" y="438418"/>
                    <a:pt x="939948" y="436012"/>
                  </a:cubicBezTo>
                  <a:cubicBezTo>
                    <a:pt x="945022" y="435109"/>
                    <a:pt x="973110" y="440891"/>
                    <a:pt x="971892" y="437716"/>
                  </a:cubicBezTo>
                  <a:cubicBezTo>
                    <a:pt x="969579" y="431466"/>
                    <a:pt x="953302" y="426954"/>
                    <a:pt x="952896" y="420269"/>
                  </a:cubicBezTo>
                  <a:cubicBezTo>
                    <a:pt x="952409" y="412983"/>
                    <a:pt x="926107" y="409674"/>
                    <a:pt x="915757" y="409072"/>
                  </a:cubicBezTo>
                  <a:cubicBezTo>
                    <a:pt x="897775" y="408003"/>
                    <a:pt x="882513" y="407434"/>
                    <a:pt x="866156" y="401585"/>
                  </a:cubicBezTo>
                  <a:cubicBezTo>
                    <a:pt x="854385" y="397407"/>
                    <a:pt x="862340" y="406599"/>
                    <a:pt x="871270" y="408771"/>
                  </a:cubicBezTo>
                  <a:cubicBezTo>
                    <a:pt x="901753" y="416225"/>
                    <a:pt x="855318" y="443298"/>
                    <a:pt x="860676" y="444601"/>
                  </a:cubicBezTo>
                  <a:cubicBezTo>
                    <a:pt x="874477" y="447944"/>
                    <a:pt x="884705" y="446273"/>
                    <a:pt x="884584" y="455832"/>
                  </a:cubicBezTo>
                  <a:cubicBezTo>
                    <a:pt x="884584" y="463653"/>
                    <a:pt x="879145" y="466126"/>
                    <a:pt x="872163" y="471975"/>
                  </a:cubicBezTo>
                  <a:cubicBezTo>
                    <a:pt x="863558" y="479195"/>
                    <a:pt x="863518" y="469301"/>
                    <a:pt x="855927" y="472410"/>
                  </a:cubicBezTo>
                  <a:cubicBezTo>
                    <a:pt x="850082" y="474783"/>
                    <a:pt x="846795" y="467095"/>
                    <a:pt x="846510" y="466260"/>
                  </a:cubicBezTo>
                  <a:cubicBezTo>
                    <a:pt x="845293" y="462650"/>
                    <a:pt x="830640" y="461848"/>
                    <a:pt x="825850" y="461280"/>
                  </a:cubicBezTo>
                  <a:cubicBezTo>
                    <a:pt x="810142" y="459408"/>
                    <a:pt x="800197" y="455564"/>
                    <a:pt x="789076" y="461982"/>
                  </a:cubicBezTo>
                  <a:cubicBezTo>
                    <a:pt x="779902" y="467229"/>
                    <a:pt x="763829" y="463853"/>
                    <a:pt x="751855" y="465525"/>
                  </a:cubicBezTo>
                  <a:cubicBezTo>
                    <a:pt x="739719" y="467259"/>
                    <a:pt x="728029" y="470528"/>
                    <a:pt x="717110" y="475217"/>
                  </a:cubicBezTo>
                  <a:cubicBezTo>
                    <a:pt x="704162" y="481902"/>
                    <a:pt x="730180" y="491662"/>
                    <a:pt x="733914" y="498814"/>
                  </a:cubicBezTo>
                  <a:cubicBezTo>
                    <a:pt x="740774" y="511816"/>
                    <a:pt x="697384" y="498814"/>
                    <a:pt x="689266" y="495873"/>
                  </a:cubicBezTo>
                  <a:cubicBezTo>
                    <a:pt x="678225" y="491695"/>
                    <a:pt x="664912" y="492898"/>
                    <a:pt x="654440" y="489790"/>
                  </a:cubicBezTo>
                  <a:cubicBezTo>
                    <a:pt x="642263" y="486247"/>
                    <a:pt x="633860" y="476788"/>
                    <a:pt x="619979" y="475217"/>
                  </a:cubicBezTo>
                  <a:cubicBezTo>
                    <a:pt x="612795" y="474609"/>
                    <a:pt x="605651" y="476655"/>
                    <a:pt x="600496" y="480799"/>
                  </a:cubicBezTo>
                  <a:cubicBezTo>
                    <a:pt x="593068" y="485946"/>
                    <a:pt x="602566" y="488019"/>
                    <a:pt x="606625" y="493533"/>
                  </a:cubicBezTo>
                  <a:cubicBezTo>
                    <a:pt x="613160" y="502424"/>
                    <a:pt x="648960" y="498982"/>
                    <a:pt x="644982" y="508307"/>
                  </a:cubicBezTo>
                  <a:cubicBezTo>
                    <a:pt x="639665" y="520673"/>
                    <a:pt x="620628" y="512017"/>
                    <a:pt x="606016" y="510145"/>
                  </a:cubicBezTo>
                  <a:cubicBezTo>
                    <a:pt x="602322" y="509644"/>
                    <a:pt x="588400" y="509309"/>
                    <a:pt x="588400" y="506134"/>
                  </a:cubicBezTo>
                  <a:cubicBezTo>
                    <a:pt x="588400" y="499617"/>
                    <a:pt x="568349" y="494703"/>
                    <a:pt x="557836" y="494636"/>
                  </a:cubicBezTo>
                  <a:cubicBezTo>
                    <a:pt x="547323" y="494570"/>
                    <a:pt x="540910" y="491896"/>
                    <a:pt x="540626" y="486782"/>
                  </a:cubicBezTo>
                  <a:cubicBezTo>
                    <a:pt x="540342" y="481668"/>
                    <a:pt x="533158" y="474415"/>
                    <a:pt x="534375" y="470404"/>
                  </a:cubicBezTo>
                  <a:cubicBezTo>
                    <a:pt x="535593" y="466394"/>
                    <a:pt x="527962" y="461581"/>
                    <a:pt x="536770" y="459441"/>
                  </a:cubicBezTo>
                  <a:cubicBezTo>
                    <a:pt x="545578" y="457302"/>
                    <a:pt x="541803" y="446941"/>
                    <a:pt x="535755" y="443432"/>
                  </a:cubicBezTo>
                  <a:cubicBezTo>
                    <a:pt x="527637" y="438652"/>
                    <a:pt x="518018" y="439187"/>
                    <a:pt x="508926" y="436012"/>
                  </a:cubicBezTo>
                  <a:cubicBezTo>
                    <a:pt x="501375" y="433338"/>
                    <a:pt x="498169" y="429327"/>
                    <a:pt x="489605" y="426619"/>
                  </a:cubicBezTo>
                  <a:cubicBezTo>
                    <a:pt x="479985" y="423768"/>
                    <a:pt x="471177" y="419343"/>
                    <a:pt x="463709" y="413618"/>
                  </a:cubicBezTo>
                  <a:cubicBezTo>
                    <a:pt x="459650" y="410041"/>
                    <a:pt x="452912" y="408704"/>
                    <a:pt x="449136" y="405763"/>
                  </a:cubicBezTo>
                  <a:cubicBezTo>
                    <a:pt x="446255" y="403524"/>
                    <a:pt x="464926" y="406900"/>
                    <a:pt x="462856" y="406432"/>
                  </a:cubicBezTo>
                  <a:cubicBezTo>
                    <a:pt x="472719" y="408838"/>
                    <a:pt x="478443" y="413283"/>
                    <a:pt x="486723" y="416659"/>
                  </a:cubicBezTo>
                  <a:cubicBezTo>
                    <a:pt x="505759" y="424414"/>
                    <a:pt x="529829" y="425650"/>
                    <a:pt x="550449" y="431733"/>
                  </a:cubicBezTo>
                  <a:cubicBezTo>
                    <a:pt x="585193" y="441928"/>
                    <a:pt x="641491" y="454094"/>
                    <a:pt x="680336" y="455832"/>
                  </a:cubicBezTo>
                  <a:cubicBezTo>
                    <a:pt x="703878" y="456801"/>
                    <a:pt x="762571" y="452255"/>
                    <a:pt x="773246" y="440657"/>
                  </a:cubicBezTo>
                  <a:cubicBezTo>
                    <a:pt x="777305" y="436312"/>
                    <a:pt x="773246" y="421773"/>
                    <a:pt x="763788" y="418364"/>
                  </a:cubicBezTo>
                  <a:cubicBezTo>
                    <a:pt x="749136" y="413083"/>
                    <a:pt x="741789" y="403390"/>
                    <a:pt x="722793" y="401652"/>
                  </a:cubicBezTo>
                  <a:cubicBezTo>
                    <a:pt x="709033" y="400315"/>
                    <a:pt x="705136" y="392494"/>
                    <a:pt x="690930" y="390723"/>
                  </a:cubicBezTo>
                  <a:cubicBezTo>
                    <a:pt x="674004" y="388584"/>
                    <a:pt x="657768" y="379158"/>
                    <a:pt x="645023" y="373677"/>
                  </a:cubicBezTo>
                  <a:cubicBezTo>
                    <a:pt x="625093" y="365117"/>
                    <a:pt x="604068" y="358338"/>
                    <a:pt x="582393" y="353455"/>
                  </a:cubicBezTo>
                  <a:cubicBezTo>
                    <a:pt x="577847" y="352419"/>
                    <a:pt x="569607" y="350113"/>
                    <a:pt x="564574" y="350915"/>
                  </a:cubicBezTo>
                  <a:cubicBezTo>
                    <a:pt x="550368" y="352887"/>
                    <a:pt x="552397" y="349277"/>
                    <a:pt x="541641" y="345935"/>
                  </a:cubicBezTo>
                  <a:cubicBezTo>
                    <a:pt x="530884" y="342593"/>
                    <a:pt x="525161" y="347172"/>
                    <a:pt x="515622" y="346603"/>
                  </a:cubicBezTo>
                  <a:cubicBezTo>
                    <a:pt x="506084" y="346035"/>
                    <a:pt x="499062" y="342225"/>
                    <a:pt x="488468" y="342593"/>
                  </a:cubicBezTo>
                  <a:cubicBezTo>
                    <a:pt x="469756" y="343294"/>
                    <a:pt x="459731" y="334437"/>
                    <a:pt x="484409" y="335273"/>
                  </a:cubicBezTo>
                  <a:cubicBezTo>
                    <a:pt x="513309" y="336276"/>
                    <a:pt x="471096" y="325814"/>
                    <a:pt x="463505" y="324477"/>
                  </a:cubicBezTo>
                  <a:cubicBezTo>
                    <a:pt x="443210" y="320834"/>
                    <a:pt x="448000" y="333969"/>
                    <a:pt x="423565" y="324678"/>
                  </a:cubicBezTo>
                  <a:cubicBezTo>
                    <a:pt x="419506" y="332632"/>
                    <a:pt x="399698" y="328889"/>
                    <a:pt x="387318" y="332332"/>
                  </a:cubicBezTo>
                  <a:cubicBezTo>
                    <a:pt x="378348" y="334805"/>
                    <a:pt x="367876" y="333468"/>
                    <a:pt x="359433" y="336510"/>
                  </a:cubicBezTo>
                  <a:cubicBezTo>
                    <a:pt x="352695" y="338916"/>
                    <a:pt x="351315" y="344932"/>
                    <a:pt x="342021" y="345300"/>
                  </a:cubicBezTo>
                  <a:cubicBezTo>
                    <a:pt x="325785" y="345902"/>
                    <a:pt x="329519" y="360307"/>
                    <a:pt x="334186" y="365354"/>
                  </a:cubicBezTo>
                  <a:cubicBezTo>
                    <a:pt x="338854" y="370401"/>
                    <a:pt x="362599" y="375381"/>
                    <a:pt x="371651" y="380629"/>
                  </a:cubicBezTo>
                  <a:cubicBezTo>
                    <a:pt x="396776" y="395235"/>
                    <a:pt x="331061" y="395770"/>
                    <a:pt x="349935" y="411679"/>
                  </a:cubicBezTo>
                  <a:cubicBezTo>
                    <a:pt x="359880" y="420135"/>
                    <a:pt x="373315" y="429594"/>
                    <a:pt x="378632" y="438919"/>
                  </a:cubicBezTo>
                  <a:cubicBezTo>
                    <a:pt x="382326" y="445437"/>
                    <a:pt x="354278" y="441025"/>
                    <a:pt x="361747" y="451587"/>
                  </a:cubicBezTo>
                  <a:cubicBezTo>
                    <a:pt x="362721" y="452991"/>
                    <a:pt x="369865" y="458105"/>
                    <a:pt x="366496" y="459609"/>
                  </a:cubicBezTo>
                  <a:cubicBezTo>
                    <a:pt x="363127" y="461113"/>
                    <a:pt x="353345" y="461280"/>
                    <a:pt x="361381" y="464254"/>
                  </a:cubicBezTo>
                  <a:cubicBezTo>
                    <a:pt x="364710" y="465525"/>
                    <a:pt x="379078" y="467764"/>
                    <a:pt x="374208" y="470638"/>
                  </a:cubicBezTo>
                  <a:cubicBezTo>
                    <a:pt x="369337" y="473513"/>
                    <a:pt x="365481" y="476387"/>
                    <a:pt x="374208" y="480030"/>
                  </a:cubicBezTo>
                  <a:cubicBezTo>
                    <a:pt x="388009" y="485846"/>
                    <a:pt x="391093" y="489623"/>
                    <a:pt x="373396" y="492397"/>
                  </a:cubicBezTo>
                  <a:cubicBezTo>
                    <a:pt x="352736" y="495740"/>
                    <a:pt x="379444" y="503026"/>
                    <a:pt x="388252" y="506402"/>
                  </a:cubicBezTo>
                  <a:cubicBezTo>
                    <a:pt x="399130" y="510580"/>
                    <a:pt x="421171" y="519771"/>
                    <a:pt x="416421" y="527325"/>
                  </a:cubicBezTo>
                  <a:cubicBezTo>
                    <a:pt x="411144" y="535814"/>
                    <a:pt x="389145" y="538889"/>
                    <a:pt x="375588" y="543335"/>
                  </a:cubicBezTo>
                  <a:cubicBezTo>
                    <a:pt x="362031" y="547780"/>
                    <a:pt x="355293" y="555066"/>
                    <a:pt x="339829" y="559010"/>
                  </a:cubicBezTo>
                  <a:cubicBezTo>
                    <a:pt x="319777" y="564191"/>
                    <a:pt x="303663" y="568235"/>
                    <a:pt x="289619" y="577326"/>
                  </a:cubicBezTo>
                  <a:cubicBezTo>
                    <a:pt x="311213" y="575889"/>
                    <a:pt x="308818" y="576090"/>
                    <a:pt x="321157" y="585682"/>
                  </a:cubicBezTo>
                  <a:cubicBezTo>
                    <a:pt x="325216" y="588724"/>
                    <a:pt x="357688" y="592367"/>
                    <a:pt x="355537" y="595008"/>
                  </a:cubicBezTo>
                  <a:cubicBezTo>
                    <a:pt x="353872" y="596779"/>
                    <a:pt x="327367" y="594038"/>
                    <a:pt x="321035" y="595342"/>
                  </a:cubicBezTo>
                  <a:cubicBezTo>
                    <a:pt x="309549" y="597227"/>
                    <a:pt x="298305" y="599948"/>
                    <a:pt x="287386" y="603464"/>
                  </a:cubicBezTo>
                  <a:cubicBezTo>
                    <a:pt x="294611" y="609547"/>
                    <a:pt x="276955" y="616064"/>
                    <a:pt x="269933" y="619908"/>
                  </a:cubicBezTo>
                  <a:cubicBezTo>
                    <a:pt x="261531" y="624487"/>
                    <a:pt x="269933" y="636887"/>
                    <a:pt x="275656" y="641700"/>
                  </a:cubicBezTo>
                  <a:cubicBezTo>
                    <a:pt x="281379" y="646513"/>
                    <a:pt x="258649" y="645043"/>
                    <a:pt x="265346" y="652630"/>
                  </a:cubicBezTo>
                  <a:cubicBezTo>
                    <a:pt x="268634" y="656306"/>
                    <a:pt x="275291" y="658579"/>
                    <a:pt x="274479" y="662924"/>
                  </a:cubicBezTo>
                  <a:cubicBezTo>
                    <a:pt x="273667" y="667269"/>
                    <a:pt x="271313" y="668372"/>
                    <a:pt x="277239" y="672951"/>
                  </a:cubicBezTo>
                  <a:cubicBezTo>
                    <a:pt x="284301" y="678232"/>
                    <a:pt x="284992" y="686989"/>
                    <a:pt x="295058" y="690666"/>
                  </a:cubicBezTo>
                  <a:cubicBezTo>
                    <a:pt x="302039" y="693239"/>
                    <a:pt x="308046" y="691301"/>
                    <a:pt x="315353" y="692571"/>
                  </a:cubicBezTo>
                  <a:cubicBezTo>
                    <a:pt x="324526" y="694209"/>
                    <a:pt x="323998" y="700927"/>
                    <a:pt x="335079" y="699790"/>
                  </a:cubicBezTo>
                  <a:cubicBezTo>
                    <a:pt x="364710" y="696749"/>
                    <a:pt x="379444" y="706141"/>
                    <a:pt x="374654" y="720379"/>
                  </a:cubicBezTo>
                  <a:cubicBezTo>
                    <a:pt x="370961" y="731543"/>
                    <a:pt x="398359" y="746684"/>
                    <a:pt x="415244" y="753435"/>
                  </a:cubicBezTo>
                  <a:cubicBezTo>
                    <a:pt x="428598" y="758716"/>
                    <a:pt x="431480" y="764498"/>
                    <a:pt x="415691" y="767574"/>
                  </a:cubicBezTo>
                  <a:cubicBezTo>
                    <a:pt x="407573" y="769144"/>
                    <a:pt x="390728" y="762894"/>
                    <a:pt x="386547" y="765000"/>
                  </a:cubicBezTo>
                  <a:cubicBezTo>
                    <a:pt x="380134" y="768342"/>
                    <a:pt x="389754" y="781712"/>
                    <a:pt x="391743" y="785455"/>
                  </a:cubicBezTo>
                  <a:cubicBezTo>
                    <a:pt x="396248" y="794112"/>
                    <a:pt x="408547" y="790402"/>
                    <a:pt x="418897" y="788196"/>
                  </a:cubicBezTo>
                  <a:cubicBezTo>
                    <a:pt x="424864" y="786926"/>
                    <a:pt x="444428" y="788965"/>
                    <a:pt x="451734" y="789466"/>
                  </a:cubicBezTo>
                  <a:cubicBezTo>
                    <a:pt x="467240" y="790502"/>
                    <a:pt x="473166" y="795750"/>
                    <a:pt x="472029" y="803604"/>
                  </a:cubicBezTo>
                  <a:cubicBezTo>
                    <a:pt x="469553" y="823291"/>
                    <a:pt x="507464" y="815302"/>
                    <a:pt x="513715" y="832850"/>
                  </a:cubicBezTo>
                  <a:cubicBezTo>
                    <a:pt x="517327" y="842877"/>
                    <a:pt x="523051" y="836426"/>
                    <a:pt x="535715" y="842609"/>
                  </a:cubicBezTo>
                  <a:cubicBezTo>
                    <a:pt x="542980" y="846152"/>
                    <a:pt x="548622" y="847957"/>
                    <a:pt x="557877" y="845952"/>
                  </a:cubicBezTo>
                  <a:cubicBezTo>
                    <a:pt x="561936" y="845049"/>
                    <a:pt x="573016" y="843278"/>
                    <a:pt x="576142" y="846821"/>
                  </a:cubicBezTo>
                  <a:cubicBezTo>
                    <a:pt x="589618" y="862095"/>
                    <a:pt x="625905" y="863232"/>
                    <a:pt x="651639" y="871320"/>
                  </a:cubicBezTo>
                  <a:cubicBezTo>
                    <a:pt x="673030" y="878005"/>
                    <a:pt x="644617" y="879977"/>
                    <a:pt x="652370" y="884088"/>
                  </a:cubicBezTo>
                  <a:cubicBezTo>
                    <a:pt x="667104" y="891976"/>
                    <a:pt x="640680" y="887598"/>
                    <a:pt x="646159" y="893280"/>
                  </a:cubicBezTo>
                  <a:cubicBezTo>
                    <a:pt x="653993" y="901402"/>
                    <a:pt x="645713" y="899964"/>
                    <a:pt x="644576" y="907785"/>
                  </a:cubicBezTo>
                  <a:cubicBezTo>
                    <a:pt x="644333" y="909590"/>
                    <a:pt x="618437" y="904443"/>
                    <a:pt x="614621" y="905112"/>
                  </a:cubicBezTo>
                  <a:cubicBezTo>
                    <a:pt x="610806" y="905780"/>
                    <a:pt x="590024" y="910326"/>
                    <a:pt x="588847" y="912632"/>
                  </a:cubicBezTo>
                  <a:cubicBezTo>
                    <a:pt x="583367" y="923394"/>
                    <a:pt x="608005" y="918247"/>
                    <a:pt x="620304" y="921088"/>
                  </a:cubicBezTo>
                  <a:cubicBezTo>
                    <a:pt x="631669" y="923695"/>
                    <a:pt x="579267" y="931115"/>
                    <a:pt x="579308" y="931416"/>
                  </a:cubicBezTo>
                  <a:cubicBezTo>
                    <a:pt x="580404" y="937298"/>
                    <a:pt x="602525" y="940808"/>
                    <a:pt x="583367" y="943716"/>
                  </a:cubicBezTo>
                  <a:cubicBezTo>
                    <a:pt x="568714" y="945922"/>
                    <a:pt x="575249" y="955715"/>
                    <a:pt x="559338" y="955314"/>
                  </a:cubicBezTo>
                  <a:cubicBezTo>
                    <a:pt x="514121" y="954278"/>
                    <a:pt x="587061" y="977173"/>
                    <a:pt x="597533" y="982821"/>
                  </a:cubicBezTo>
                  <a:cubicBezTo>
                    <a:pt x="606949" y="987805"/>
                    <a:pt x="615920" y="993393"/>
                    <a:pt x="624281" y="999533"/>
                  </a:cubicBezTo>
                  <a:cubicBezTo>
                    <a:pt x="632399" y="1005583"/>
                    <a:pt x="633860" y="1001839"/>
                    <a:pt x="644576" y="1002073"/>
                  </a:cubicBezTo>
                  <a:cubicBezTo>
                    <a:pt x="663085" y="1002541"/>
                    <a:pt x="674044" y="1011566"/>
                    <a:pt x="690321" y="1014306"/>
                  </a:cubicBezTo>
                  <a:cubicBezTo>
                    <a:pt x="698439" y="1015643"/>
                    <a:pt x="726487" y="1015276"/>
                    <a:pt x="731195" y="1019621"/>
                  </a:cubicBezTo>
                  <a:cubicBezTo>
                    <a:pt x="737608" y="1025537"/>
                    <a:pt x="761475" y="1036032"/>
                    <a:pt x="772921" y="1035564"/>
                  </a:cubicBezTo>
                  <a:cubicBezTo>
                    <a:pt x="782298" y="1035196"/>
                    <a:pt x="808803" y="1036199"/>
                    <a:pt x="814769" y="1042249"/>
                  </a:cubicBezTo>
                  <a:cubicBezTo>
                    <a:pt x="817814" y="1045390"/>
                    <a:pt x="816068" y="1048933"/>
                    <a:pt x="818828" y="1052075"/>
                  </a:cubicBezTo>
                  <a:cubicBezTo>
                    <a:pt x="823293" y="1054134"/>
                    <a:pt x="827880" y="1055952"/>
                    <a:pt x="832629" y="1057523"/>
                  </a:cubicBezTo>
                  <a:cubicBezTo>
                    <a:pt x="844806" y="1063473"/>
                    <a:pt x="856414" y="1069255"/>
                    <a:pt x="868429" y="1075204"/>
                  </a:cubicBezTo>
                  <a:cubicBezTo>
                    <a:pt x="877278" y="1079583"/>
                    <a:pt x="902037" y="1077744"/>
                    <a:pt x="906908" y="1072363"/>
                  </a:cubicBezTo>
                  <a:cubicBezTo>
                    <a:pt x="896273" y="1062837"/>
                    <a:pt x="879835" y="1051106"/>
                    <a:pt x="876263" y="1040277"/>
                  </a:cubicBezTo>
                  <a:cubicBezTo>
                    <a:pt x="872691" y="1029447"/>
                    <a:pt x="886045" y="1025136"/>
                    <a:pt x="868145" y="1013805"/>
                  </a:cubicBezTo>
                  <a:cubicBezTo>
                    <a:pt x="836322" y="993751"/>
                    <a:pt x="931221" y="984158"/>
                    <a:pt x="949324" y="980682"/>
                  </a:cubicBezTo>
                  <a:cubicBezTo>
                    <a:pt x="945265" y="978409"/>
                    <a:pt x="916853" y="967915"/>
                    <a:pt x="933819" y="967647"/>
                  </a:cubicBezTo>
                  <a:cubicBezTo>
                    <a:pt x="948999" y="967380"/>
                    <a:pt x="923347" y="947326"/>
                    <a:pt x="917583" y="943616"/>
                  </a:cubicBezTo>
                  <a:cubicBezTo>
                    <a:pt x="910804" y="939103"/>
                    <a:pt x="884827" y="942345"/>
                    <a:pt x="884259" y="936931"/>
                  </a:cubicBezTo>
                  <a:cubicBezTo>
                    <a:pt x="883122" y="926904"/>
                    <a:pt x="888561" y="928408"/>
                    <a:pt x="871311" y="922191"/>
                  </a:cubicBezTo>
                  <a:cubicBezTo>
                    <a:pt x="864451" y="919718"/>
                    <a:pt x="872772" y="912164"/>
                    <a:pt x="878130" y="911395"/>
                  </a:cubicBezTo>
                  <a:cubicBezTo>
                    <a:pt x="900657" y="908454"/>
                    <a:pt x="881580" y="906950"/>
                    <a:pt x="880403" y="900633"/>
                  </a:cubicBezTo>
                  <a:cubicBezTo>
                    <a:pt x="879713" y="896956"/>
                    <a:pt x="889170" y="895285"/>
                    <a:pt x="893879" y="894249"/>
                  </a:cubicBezTo>
                  <a:cubicBezTo>
                    <a:pt x="901672" y="892511"/>
                    <a:pt x="899561" y="889670"/>
                    <a:pt x="903539" y="886361"/>
                  </a:cubicBezTo>
                  <a:cubicBezTo>
                    <a:pt x="915716" y="876334"/>
                    <a:pt x="929395" y="894416"/>
                    <a:pt x="935727" y="898494"/>
                  </a:cubicBezTo>
                  <a:cubicBezTo>
                    <a:pt x="949324" y="907251"/>
                    <a:pt x="951232" y="895151"/>
                    <a:pt x="950095" y="890773"/>
                  </a:cubicBezTo>
                  <a:cubicBezTo>
                    <a:pt x="947457" y="881013"/>
                    <a:pt x="964870" y="884890"/>
                    <a:pt x="972298" y="878640"/>
                  </a:cubicBezTo>
                  <a:cubicBezTo>
                    <a:pt x="976073" y="875465"/>
                    <a:pt x="998600" y="876267"/>
                    <a:pt x="1006110" y="875298"/>
                  </a:cubicBezTo>
                  <a:cubicBezTo>
                    <a:pt x="1018286" y="873426"/>
                    <a:pt x="1033670" y="869749"/>
                    <a:pt x="1045725" y="875532"/>
                  </a:cubicBezTo>
                  <a:cubicBezTo>
                    <a:pt x="1057780" y="881314"/>
                    <a:pt x="1059566" y="872189"/>
                    <a:pt x="1072230" y="874730"/>
                  </a:cubicBezTo>
                  <a:cubicBezTo>
                    <a:pt x="1081769" y="876668"/>
                    <a:pt x="1086964" y="882116"/>
                    <a:pt x="1097517" y="884757"/>
                  </a:cubicBezTo>
                  <a:cubicBezTo>
                    <a:pt x="1108558" y="887183"/>
                    <a:pt x="1119071" y="891104"/>
                    <a:pt x="1128569" y="896355"/>
                  </a:cubicBezTo>
                  <a:cubicBezTo>
                    <a:pt x="1131166" y="897758"/>
                    <a:pt x="1149675" y="912565"/>
                    <a:pt x="1149513" y="912598"/>
                  </a:cubicBezTo>
                  <a:cubicBezTo>
                    <a:pt x="1156616" y="911462"/>
                    <a:pt x="1149838" y="904343"/>
                    <a:pt x="1162827" y="909958"/>
                  </a:cubicBezTo>
                  <a:cubicBezTo>
                    <a:pt x="1172852" y="914270"/>
                    <a:pt x="1184379" y="920654"/>
                    <a:pt x="1197165" y="918180"/>
                  </a:cubicBezTo>
                  <a:cubicBezTo>
                    <a:pt x="1206785" y="916375"/>
                    <a:pt x="1210438" y="913133"/>
                    <a:pt x="1223143" y="914136"/>
                  </a:cubicBezTo>
                  <a:cubicBezTo>
                    <a:pt x="1232600" y="914871"/>
                    <a:pt x="1238201" y="922258"/>
                    <a:pt x="1246198" y="921756"/>
                  </a:cubicBezTo>
                  <a:cubicBezTo>
                    <a:pt x="1255737" y="921155"/>
                    <a:pt x="1259876" y="918414"/>
                    <a:pt x="1271038" y="920520"/>
                  </a:cubicBezTo>
                  <a:cubicBezTo>
                    <a:pt x="1283946" y="923060"/>
                    <a:pt x="1281470" y="928542"/>
                    <a:pt x="1291333" y="932251"/>
                  </a:cubicBezTo>
                  <a:cubicBezTo>
                    <a:pt x="1302617" y="936463"/>
                    <a:pt x="1305946" y="936897"/>
                    <a:pt x="1314916" y="942479"/>
                  </a:cubicBezTo>
                  <a:cubicBezTo>
                    <a:pt x="1320842" y="946156"/>
                    <a:pt x="1325591" y="937733"/>
                    <a:pt x="1328636" y="936964"/>
                  </a:cubicBezTo>
                  <a:cubicBezTo>
                    <a:pt x="1334927" y="935393"/>
                    <a:pt x="1373041" y="958890"/>
                    <a:pt x="1376897" y="944284"/>
                  </a:cubicBezTo>
                  <a:cubicBezTo>
                    <a:pt x="1381484" y="926971"/>
                    <a:pt x="1353639" y="931483"/>
                    <a:pt x="1340731" y="918815"/>
                  </a:cubicBezTo>
                  <a:cubicBezTo>
                    <a:pt x="1333385" y="911596"/>
                    <a:pt x="1347551" y="912999"/>
                    <a:pt x="1355343" y="912131"/>
                  </a:cubicBezTo>
                  <a:cubicBezTo>
                    <a:pt x="1368251" y="910627"/>
                    <a:pt x="1363461" y="907251"/>
                    <a:pt x="1364436" y="901468"/>
                  </a:cubicBezTo>
                  <a:cubicBezTo>
                    <a:pt x="1365775" y="892110"/>
                    <a:pt x="1410667" y="901970"/>
                    <a:pt x="1409937" y="899931"/>
                  </a:cubicBezTo>
                  <a:cubicBezTo>
                    <a:pt x="1408760" y="896589"/>
                    <a:pt x="1390048" y="892010"/>
                    <a:pt x="1385583" y="889302"/>
                  </a:cubicBezTo>
                  <a:cubicBezTo>
                    <a:pt x="1380225" y="886194"/>
                    <a:pt x="1377465" y="874228"/>
                    <a:pt x="1385299" y="873025"/>
                  </a:cubicBezTo>
                  <a:cubicBezTo>
                    <a:pt x="1392321" y="871989"/>
                    <a:pt x="1416431" y="877270"/>
                    <a:pt x="1424630" y="879108"/>
                  </a:cubicBezTo>
                  <a:cubicBezTo>
                    <a:pt x="1443748" y="883319"/>
                    <a:pt x="1455682" y="880512"/>
                    <a:pt x="1474190" y="882116"/>
                  </a:cubicBezTo>
                  <a:cubicBezTo>
                    <a:pt x="1490426" y="883520"/>
                    <a:pt x="1506297" y="887899"/>
                    <a:pt x="1522127" y="887497"/>
                  </a:cubicBezTo>
                  <a:cubicBezTo>
                    <a:pt x="1535968" y="887594"/>
                    <a:pt x="1549809" y="888610"/>
                    <a:pt x="1563447" y="890539"/>
                  </a:cubicBezTo>
                  <a:cubicBezTo>
                    <a:pt x="1584514" y="892778"/>
                    <a:pt x="1612155" y="896221"/>
                    <a:pt x="1631882" y="895185"/>
                  </a:cubicBezTo>
                  <a:cubicBezTo>
                    <a:pt x="1652988" y="894048"/>
                    <a:pt x="1663826" y="892611"/>
                    <a:pt x="1686678" y="901201"/>
                  </a:cubicBezTo>
                  <a:cubicBezTo>
                    <a:pt x="1698084" y="905479"/>
                    <a:pt x="1716552" y="904543"/>
                    <a:pt x="1722194" y="913534"/>
                  </a:cubicBezTo>
                  <a:cubicBezTo>
                    <a:pt x="1724345" y="916877"/>
                    <a:pt x="1722600" y="921489"/>
                    <a:pt x="1724061" y="925132"/>
                  </a:cubicBezTo>
                  <a:cubicBezTo>
                    <a:pt x="1725766" y="929377"/>
                    <a:pt x="1715294" y="931817"/>
                    <a:pt x="1718541" y="935159"/>
                  </a:cubicBezTo>
                  <a:cubicBezTo>
                    <a:pt x="1723330" y="939939"/>
                    <a:pt x="1743179" y="940708"/>
                    <a:pt x="1748943" y="939037"/>
                  </a:cubicBezTo>
                  <a:cubicBezTo>
                    <a:pt x="1756574" y="936764"/>
                    <a:pt x="1767046" y="954411"/>
                    <a:pt x="1768872" y="949064"/>
                  </a:cubicBezTo>
                  <a:cubicBezTo>
                    <a:pt x="1770171" y="945053"/>
                    <a:pt x="1786610" y="955013"/>
                    <a:pt x="1791156" y="955514"/>
                  </a:cubicBezTo>
                  <a:cubicBezTo>
                    <a:pt x="1811207" y="957620"/>
                    <a:pt x="1791156" y="960662"/>
                    <a:pt x="1785879" y="962567"/>
                  </a:cubicBezTo>
                  <a:cubicBezTo>
                    <a:pt x="1774677" y="966745"/>
                    <a:pt x="1797325" y="968182"/>
                    <a:pt x="1801384" y="967814"/>
                  </a:cubicBezTo>
                  <a:cubicBezTo>
                    <a:pt x="1807351" y="967280"/>
                    <a:pt x="1810558" y="969719"/>
                    <a:pt x="1816444" y="970522"/>
                  </a:cubicBezTo>
                  <a:cubicBezTo>
                    <a:pt x="1823100" y="971110"/>
                    <a:pt x="1829797" y="970953"/>
                    <a:pt x="1836373" y="970054"/>
                  </a:cubicBezTo>
                  <a:cubicBezTo>
                    <a:pt x="1850620" y="968917"/>
                    <a:pt x="1866166" y="969151"/>
                    <a:pt x="1881021" y="968349"/>
                  </a:cubicBezTo>
                  <a:cubicBezTo>
                    <a:pt x="1887678" y="968279"/>
                    <a:pt x="1894294" y="969418"/>
                    <a:pt x="1900383" y="971691"/>
                  </a:cubicBezTo>
                  <a:cubicBezTo>
                    <a:pt x="1907649" y="974399"/>
                    <a:pt x="1898962" y="975268"/>
                    <a:pt x="1896689" y="976638"/>
                  </a:cubicBezTo>
                  <a:cubicBezTo>
                    <a:pt x="1888571" y="981518"/>
                    <a:pt x="1905051" y="987668"/>
                    <a:pt x="1911708" y="991645"/>
                  </a:cubicBezTo>
                  <a:cubicBezTo>
                    <a:pt x="1921489" y="998002"/>
                    <a:pt x="1929729" y="1005800"/>
                    <a:pt x="1936061" y="1014641"/>
                  </a:cubicBezTo>
                  <a:cubicBezTo>
                    <a:pt x="1950268" y="1032556"/>
                    <a:pt x="1958954" y="1050036"/>
                    <a:pt x="1968533" y="1068118"/>
                  </a:cubicBezTo>
                  <a:cubicBezTo>
                    <a:pt x="1979614" y="1088908"/>
                    <a:pt x="1990817" y="1061166"/>
                    <a:pt x="2005916" y="1074536"/>
                  </a:cubicBezTo>
                  <a:cubicBezTo>
                    <a:pt x="2013750" y="1082357"/>
                    <a:pt x="2023695" y="1088520"/>
                    <a:pt x="2035019" y="1092518"/>
                  </a:cubicBezTo>
                  <a:cubicBezTo>
                    <a:pt x="2050971" y="1098868"/>
                    <a:pt x="2063432" y="1094924"/>
                    <a:pt x="2079262" y="1098768"/>
                  </a:cubicBezTo>
                  <a:cubicBezTo>
                    <a:pt x="2088598" y="1101228"/>
                    <a:pt x="2096188" y="1106863"/>
                    <a:pt x="2100125" y="1114243"/>
                  </a:cubicBezTo>
                  <a:cubicBezTo>
                    <a:pt x="2103332" y="1123334"/>
                    <a:pt x="2114656" y="1123468"/>
                    <a:pt x="2120420" y="1129852"/>
                  </a:cubicBezTo>
                  <a:cubicBezTo>
                    <a:pt x="2125615" y="1135601"/>
                    <a:pt x="2117823" y="1142285"/>
                    <a:pt x="2134099" y="1146564"/>
                  </a:cubicBezTo>
                  <a:cubicBezTo>
                    <a:pt x="2140430" y="1148235"/>
                    <a:pt x="2171645" y="1150875"/>
                    <a:pt x="2171198" y="1154552"/>
                  </a:cubicBezTo>
                  <a:cubicBezTo>
                    <a:pt x="2168153" y="1180455"/>
                    <a:pt x="2268613" y="1174606"/>
                    <a:pt x="2287690" y="1174606"/>
                  </a:cubicBezTo>
                  <a:cubicBezTo>
                    <a:pt x="2305347" y="1174405"/>
                    <a:pt x="2334044" y="1171565"/>
                    <a:pt x="2352188" y="1180121"/>
                  </a:cubicBezTo>
                  <a:cubicBezTo>
                    <a:pt x="2361807" y="1184700"/>
                    <a:pt x="2372280" y="1188811"/>
                    <a:pt x="2382427" y="1192822"/>
                  </a:cubicBezTo>
                  <a:cubicBezTo>
                    <a:pt x="2397567" y="1198805"/>
                    <a:pt x="2393955" y="1197969"/>
                    <a:pt x="2398378" y="1207194"/>
                  </a:cubicBezTo>
                  <a:cubicBezTo>
                    <a:pt x="2405279" y="1221600"/>
                    <a:pt x="2440795" y="1222803"/>
                    <a:pt x="2454961" y="1233231"/>
                  </a:cubicBezTo>
                  <a:cubicBezTo>
                    <a:pt x="2466285" y="1241554"/>
                    <a:pt x="2471197" y="1237743"/>
                    <a:pt x="2484713" y="1239448"/>
                  </a:cubicBezTo>
                  <a:cubicBezTo>
                    <a:pt x="2492385" y="1240417"/>
                    <a:pt x="2514059" y="1240651"/>
                    <a:pt x="2503871" y="1231526"/>
                  </a:cubicBezTo>
                  <a:cubicBezTo>
                    <a:pt x="2485687" y="1215282"/>
                    <a:pt x="2509432" y="1208798"/>
                    <a:pt x="2530498" y="1210570"/>
                  </a:cubicBezTo>
                  <a:cubicBezTo>
                    <a:pt x="2546734" y="1211907"/>
                    <a:pt x="2542675" y="1205222"/>
                    <a:pt x="2560413" y="1215316"/>
                  </a:cubicBezTo>
                  <a:cubicBezTo>
                    <a:pt x="2572590" y="1222201"/>
                    <a:pt x="2587040" y="1228117"/>
                    <a:pt x="2598405" y="1235370"/>
                  </a:cubicBezTo>
                  <a:cubicBezTo>
                    <a:pt x="2608390" y="1241426"/>
                    <a:pt x="2618740" y="1247005"/>
                    <a:pt x="2629497" y="1252082"/>
                  </a:cubicBezTo>
                  <a:cubicBezTo>
                    <a:pt x="2642486" y="1258466"/>
                    <a:pt x="2633556" y="1262610"/>
                    <a:pt x="2632825" y="1268794"/>
                  </a:cubicBezTo>
                  <a:cubicBezTo>
                    <a:pt x="2631891" y="1277350"/>
                    <a:pt x="2666068" y="1298875"/>
                    <a:pt x="2680315" y="1299744"/>
                  </a:cubicBezTo>
                  <a:cubicBezTo>
                    <a:pt x="2724680" y="1301983"/>
                    <a:pt x="2762144" y="1323943"/>
                    <a:pt x="2795793" y="1344832"/>
                  </a:cubicBezTo>
                  <a:cubicBezTo>
                    <a:pt x="2802043" y="1350224"/>
                    <a:pt x="2807158" y="1356437"/>
                    <a:pt x="2810893" y="1363215"/>
                  </a:cubicBezTo>
                  <a:cubicBezTo>
                    <a:pt x="2812435" y="1367928"/>
                    <a:pt x="2830863" y="1373242"/>
                    <a:pt x="2836748" y="1375615"/>
                  </a:cubicBezTo>
                  <a:cubicBezTo>
                    <a:pt x="2844339" y="1378590"/>
                    <a:pt x="2882493" y="1400650"/>
                    <a:pt x="2888378" y="1396004"/>
                  </a:cubicBezTo>
                  <a:cubicBezTo>
                    <a:pt x="2890570" y="1394166"/>
                    <a:pt x="2942038" y="1408170"/>
                    <a:pt x="2949263" y="1410008"/>
                  </a:cubicBezTo>
                  <a:cubicBezTo>
                    <a:pt x="2957827" y="1412147"/>
                    <a:pt x="2971019" y="1410008"/>
                    <a:pt x="2980517" y="1411044"/>
                  </a:cubicBezTo>
                  <a:cubicBezTo>
                    <a:pt x="2994480" y="1412167"/>
                    <a:pt x="3007834" y="1416245"/>
                    <a:pt x="3019280" y="1422876"/>
                  </a:cubicBezTo>
                  <a:cubicBezTo>
                    <a:pt x="3028819" y="1428425"/>
                    <a:pt x="3028738" y="1433605"/>
                    <a:pt x="3042700" y="1438318"/>
                  </a:cubicBezTo>
                  <a:cubicBezTo>
                    <a:pt x="3053822" y="1442095"/>
                    <a:pt x="3065350" y="1444769"/>
                    <a:pt x="3073102" y="1452323"/>
                  </a:cubicBezTo>
                  <a:cubicBezTo>
                    <a:pt x="3091896" y="1470672"/>
                    <a:pt x="3102895" y="1469268"/>
                    <a:pt x="3130659" y="1473580"/>
                  </a:cubicBezTo>
                  <a:cubicBezTo>
                    <a:pt x="3147666" y="1476220"/>
                    <a:pt x="3146448" y="1474215"/>
                    <a:pt x="3156514" y="1469970"/>
                  </a:cubicBezTo>
                  <a:cubicBezTo>
                    <a:pt x="3163617" y="1466995"/>
                    <a:pt x="3171735" y="1464923"/>
                    <a:pt x="3178757" y="1461882"/>
                  </a:cubicBezTo>
                  <a:cubicBezTo>
                    <a:pt x="3194993" y="1454829"/>
                    <a:pt x="3225071" y="1461882"/>
                    <a:pt x="3222919" y="1445170"/>
                  </a:cubicBezTo>
                  <a:cubicBezTo>
                    <a:pt x="3222391" y="1441025"/>
                    <a:pt x="3210011" y="1436680"/>
                    <a:pt x="3212122" y="1434174"/>
                  </a:cubicBezTo>
                  <a:cubicBezTo>
                    <a:pt x="3217277" y="1427923"/>
                    <a:pt x="3236111" y="1429695"/>
                    <a:pt x="3248410" y="1433839"/>
                  </a:cubicBezTo>
                  <a:cubicBezTo>
                    <a:pt x="3266269" y="1439822"/>
                    <a:pt x="3295615" y="1448512"/>
                    <a:pt x="3310269" y="1457704"/>
                  </a:cubicBezTo>
                  <a:cubicBezTo>
                    <a:pt x="3331862" y="1471073"/>
                    <a:pt x="3362670" y="1482404"/>
                    <a:pt x="3377972" y="1499116"/>
                  </a:cubicBezTo>
                  <a:cubicBezTo>
                    <a:pt x="3385806" y="1507672"/>
                    <a:pt x="3389621" y="1510279"/>
                    <a:pt x="3386739" y="1517398"/>
                  </a:cubicBezTo>
                  <a:cubicBezTo>
                    <a:pt x="3385075" y="1521509"/>
                    <a:pt x="3394857" y="1530333"/>
                    <a:pt x="3393396" y="1535915"/>
                  </a:cubicBezTo>
                  <a:cubicBezTo>
                    <a:pt x="3390433" y="1548783"/>
                    <a:pt x="3401514" y="1567300"/>
                    <a:pt x="3403381" y="1581605"/>
                  </a:cubicBezTo>
                  <a:cubicBezTo>
                    <a:pt x="3404071" y="1586752"/>
                    <a:pt x="3393761" y="1589760"/>
                    <a:pt x="3401717" y="1595977"/>
                  </a:cubicBezTo>
                  <a:cubicBezTo>
                    <a:pt x="3404477" y="1598150"/>
                    <a:pt x="3431064" y="1617803"/>
                    <a:pt x="3433620" y="1618271"/>
                  </a:cubicBezTo>
                  <a:cubicBezTo>
                    <a:pt x="3442713" y="1619808"/>
                    <a:pt x="3455620" y="1633679"/>
                    <a:pt x="3458827" y="1638325"/>
                  </a:cubicBezTo>
                  <a:cubicBezTo>
                    <a:pt x="3466701" y="1649822"/>
                    <a:pt x="3474535" y="1647717"/>
                    <a:pt x="3473277" y="1658780"/>
                  </a:cubicBezTo>
                  <a:cubicBezTo>
                    <a:pt x="3472546" y="1665164"/>
                    <a:pt x="3469218" y="1672584"/>
                    <a:pt x="3478554" y="1679570"/>
                  </a:cubicBezTo>
                  <a:cubicBezTo>
                    <a:pt x="3485941" y="1685018"/>
                    <a:pt x="3510173" y="1698387"/>
                    <a:pt x="3519874" y="1699189"/>
                  </a:cubicBezTo>
                  <a:cubicBezTo>
                    <a:pt x="3531239" y="1699640"/>
                    <a:pt x="3542361" y="1701910"/>
                    <a:pt x="3552671" y="1705874"/>
                  </a:cubicBezTo>
                  <a:cubicBezTo>
                    <a:pt x="3560788" y="1708581"/>
                    <a:pt x="3572194" y="1708347"/>
                    <a:pt x="3578120" y="1715166"/>
                  </a:cubicBezTo>
                  <a:cubicBezTo>
                    <a:pt x="3581246" y="1718742"/>
                    <a:pt x="3576984" y="1729504"/>
                    <a:pt x="3575603" y="1732780"/>
                  </a:cubicBezTo>
                  <a:cubicBezTo>
                    <a:pt x="3574710" y="1734952"/>
                    <a:pt x="3568663" y="1733348"/>
                    <a:pt x="3565822" y="1733682"/>
                  </a:cubicBezTo>
                  <a:cubicBezTo>
                    <a:pt x="3559286" y="1734795"/>
                    <a:pt x="3553198" y="1737322"/>
                    <a:pt x="3548205" y="1741002"/>
                  </a:cubicBezTo>
                  <a:cubicBezTo>
                    <a:pt x="3539723" y="1746250"/>
                    <a:pt x="3531969" y="1744545"/>
                    <a:pt x="3520767" y="1746584"/>
                  </a:cubicBezTo>
                  <a:cubicBezTo>
                    <a:pt x="3516708" y="1747352"/>
                    <a:pt x="3497793" y="1749258"/>
                    <a:pt x="3496413" y="1751430"/>
                  </a:cubicBezTo>
                  <a:cubicBezTo>
                    <a:pt x="3492638" y="1756878"/>
                    <a:pt x="3473724" y="1742573"/>
                    <a:pt x="3470760" y="1739364"/>
                  </a:cubicBezTo>
                  <a:cubicBezTo>
                    <a:pt x="3466701" y="1735086"/>
                    <a:pt x="3444012" y="1732680"/>
                    <a:pt x="3439100" y="1733214"/>
                  </a:cubicBezTo>
                  <a:cubicBezTo>
                    <a:pt x="3425421" y="1734718"/>
                    <a:pt x="3420591" y="1762961"/>
                    <a:pt x="3417019" y="1770716"/>
                  </a:cubicBezTo>
                  <a:cubicBezTo>
                    <a:pt x="3439587" y="1772353"/>
                    <a:pt x="3447908" y="1774058"/>
                    <a:pt x="3460044" y="1789566"/>
                  </a:cubicBezTo>
                  <a:cubicBezTo>
                    <a:pt x="3469299" y="1801332"/>
                    <a:pt x="3479609" y="1803304"/>
                    <a:pt x="3495764" y="1805877"/>
                  </a:cubicBezTo>
                  <a:cubicBezTo>
                    <a:pt x="3525516" y="1810657"/>
                    <a:pt x="3544836" y="1809721"/>
                    <a:pt x="3570245" y="1808351"/>
                  </a:cubicBezTo>
                  <a:cubicBezTo>
                    <a:pt x="3607223" y="1806379"/>
                    <a:pt x="3652156" y="1809855"/>
                    <a:pt x="3681746" y="1799092"/>
                  </a:cubicBezTo>
                  <a:cubicBezTo>
                    <a:pt x="3705085" y="1790469"/>
                    <a:pt x="3742225" y="1796953"/>
                    <a:pt x="3762926" y="1785155"/>
                  </a:cubicBezTo>
                  <a:cubicBezTo>
                    <a:pt x="3778147" y="1776531"/>
                    <a:pt x="3786589" y="1752165"/>
                    <a:pt x="3809887" y="1750027"/>
                  </a:cubicBezTo>
                  <a:cubicBezTo>
                    <a:pt x="3817437" y="1749358"/>
                    <a:pt x="3819142" y="1744612"/>
                    <a:pt x="3828356" y="1745247"/>
                  </a:cubicBezTo>
                  <a:cubicBezTo>
                    <a:pt x="3841222" y="1746149"/>
                    <a:pt x="3838138" y="1740334"/>
                    <a:pt x="3841507" y="1734986"/>
                  </a:cubicBezTo>
                  <a:cubicBezTo>
                    <a:pt x="3842806" y="1732947"/>
                    <a:pt x="3845161" y="1724424"/>
                    <a:pt x="3847636" y="1723421"/>
                  </a:cubicBezTo>
                  <a:cubicBezTo>
                    <a:pt x="3854780" y="1720513"/>
                    <a:pt x="3860300" y="1722118"/>
                    <a:pt x="3848164" y="1711155"/>
                  </a:cubicBezTo>
                  <a:cubicBezTo>
                    <a:pt x="3842806" y="1706308"/>
                    <a:pt x="3833592" y="1699557"/>
                    <a:pt x="3835987" y="1694777"/>
                  </a:cubicBezTo>
                  <a:cubicBezTo>
                    <a:pt x="3838381" y="1689998"/>
                    <a:pt x="3828843" y="1678701"/>
                    <a:pt x="3819386" y="1674489"/>
                  </a:cubicBezTo>
                  <a:cubicBezTo>
                    <a:pt x="3811795" y="1671147"/>
                    <a:pt x="3805586" y="1666200"/>
                    <a:pt x="3798279" y="1662590"/>
                  </a:cubicBezTo>
                  <a:cubicBezTo>
                    <a:pt x="3790973" y="1658981"/>
                    <a:pt x="3794220" y="1671047"/>
                    <a:pt x="3784519" y="1664328"/>
                  </a:cubicBezTo>
                  <a:cubicBezTo>
                    <a:pt x="3787239" y="1666234"/>
                    <a:pt x="3740844" y="1659816"/>
                    <a:pt x="3747379" y="1656407"/>
                  </a:cubicBezTo>
                  <a:cubicBezTo>
                    <a:pt x="3751438" y="1654335"/>
                    <a:pt x="3758257" y="1657477"/>
                    <a:pt x="3755497" y="1651627"/>
                  </a:cubicBezTo>
                  <a:cubicBezTo>
                    <a:pt x="3753834" y="1648285"/>
                    <a:pt x="3763819" y="1641400"/>
                    <a:pt x="3764549" y="1641901"/>
                  </a:cubicBezTo>
                  <a:cubicBezTo>
                    <a:pt x="3757243" y="1637055"/>
                    <a:pt x="3725826" y="1647951"/>
                    <a:pt x="3730575" y="1635684"/>
                  </a:cubicBezTo>
                  <a:cubicBezTo>
                    <a:pt x="3732280" y="1631279"/>
                    <a:pt x="3735892" y="1627529"/>
                    <a:pt x="3740682" y="1625122"/>
                  </a:cubicBezTo>
                  <a:cubicBezTo>
                    <a:pt x="3744417" y="1623351"/>
                    <a:pt x="3718318" y="1613525"/>
                    <a:pt x="3716328" y="1612622"/>
                  </a:cubicBezTo>
                  <a:cubicBezTo>
                    <a:pt x="3681259" y="1596712"/>
                    <a:pt x="3707236" y="1598116"/>
                    <a:pt x="3725096" y="1599253"/>
                  </a:cubicBezTo>
                  <a:cubicBezTo>
                    <a:pt x="3733700" y="1599721"/>
                    <a:pt x="3737881" y="1597815"/>
                    <a:pt x="3747258" y="1599620"/>
                  </a:cubicBezTo>
                  <a:cubicBezTo>
                    <a:pt x="3759150" y="1601926"/>
                    <a:pt x="3770800" y="1603464"/>
                    <a:pt x="3782570" y="1605369"/>
                  </a:cubicBezTo>
                  <a:cubicBezTo>
                    <a:pt x="3803312" y="1608712"/>
                    <a:pt x="3812689" y="1602027"/>
                    <a:pt x="3833023" y="1605369"/>
                  </a:cubicBezTo>
                  <a:cubicBezTo>
                    <a:pt x="3857865" y="1609046"/>
                    <a:pt x="3887699" y="1614260"/>
                    <a:pt x="3908521" y="1610917"/>
                  </a:cubicBezTo>
                  <a:cubicBezTo>
                    <a:pt x="3918182" y="1609347"/>
                    <a:pt x="3951059" y="1618104"/>
                    <a:pt x="3955361" y="1613625"/>
                  </a:cubicBezTo>
                  <a:cubicBezTo>
                    <a:pt x="3961125" y="1607508"/>
                    <a:pt x="4004435" y="1622248"/>
                    <a:pt x="4015150" y="1626092"/>
                  </a:cubicBezTo>
                  <a:cubicBezTo>
                    <a:pt x="4036866" y="1634250"/>
                    <a:pt x="4056917" y="1645207"/>
                    <a:pt x="4074452" y="1658546"/>
                  </a:cubicBezTo>
                  <a:cubicBezTo>
                    <a:pt x="4080012" y="1662724"/>
                    <a:pt x="4086304" y="1672584"/>
                    <a:pt x="4093367" y="1674289"/>
                  </a:cubicBezTo>
                  <a:cubicBezTo>
                    <a:pt x="4104975" y="1677096"/>
                    <a:pt x="4107492" y="1677363"/>
                    <a:pt x="4118857" y="1684650"/>
                  </a:cubicBezTo>
                  <a:cubicBezTo>
                    <a:pt x="4127056" y="1690272"/>
                    <a:pt x="4136311" y="1694784"/>
                    <a:pt x="4146214" y="1698019"/>
                  </a:cubicBezTo>
                  <a:cubicBezTo>
                    <a:pt x="4156443" y="1701362"/>
                    <a:pt x="4161761" y="1709517"/>
                    <a:pt x="4171867" y="1712793"/>
                  </a:cubicBezTo>
                  <a:cubicBezTo>
                    <a:pt x="4181974" y="1716068"/>
                    <a:pt x="4186967" y="1711690"/>
                    <a:pt x="4198412" y="1716402"/>
                  </a:cubicBezTo>
                  <a:cubicBezTo>
                    <a:pt x="4207992" y="1720316"/>
                    <a:pt x="4216719" y="1725500"/>
                    <a:pt x="4224269" y="1731744"/>
                  </a:cubicBezTo>
                  <a:cubicBezTo>
                    <a:pt x="4229749" y="1736523"/>
                    <a:pt x="4230642" y="1742272"/>
                    <a:pt x="4238881" y="1746116"/>
                  </a:cubicBezTo>
                  <a:cubicBezTo>
                    <a:pt x="4251058" y="1751898"/>
                    <a:pt x="4253412" y="1748823"/>
                    <a:pt x="4257633" y="1758650"/>
                  </a:cubicBezTo>
                  <a:cubicBezTo>
                    <a:pt x="4259095" y="1761992"/>
                    <a:pt x="4274275" y="1773791"/>
                    <a:pt x="4260393" y="1769479"/>
                  </a:cubicBezTo>
                  <a:cubicBezTo>
                    <a:pt x="4257390" y="1768510"/>
                    <a:pt x="4229424" y="1753603"/>
                    <a:pt x="4240748" y="1766137"/>
                  </a:cubicBezTo>
                  <a:cubicBezTo>
                    <a:pt x="4248866" y="1774860"/>
                    <a:pt x="4262099" y="1774392"/>
                    <a:pt x="4271758" y="1780743"/>
                  </a:cubicBezTo>
                  <a:cubicBezTo>
                    <a:pt x="4285519" y="1789767"/>
                    <a:pt x="4297452" y="1791071"/>
                    <a:pt x="4310847" y="1798056"/>
                  </a:cubicBezTo>
                  <a:cubicBezTo>
                    <a:pt x="4321481" y="1803671"/>
                    <a:pt x="4318599" y="1805075"/>
                    <a:pt x="4331425" y="1809019"/>
                  </a:cubicBezTo>
                  <a:cubicBezTo>
                    <a:pt x="4338042" y="1811025"/>
                    <a:pt x="4356753" y="1822923"/>
                    <a:pt x="4361381" y="1823024"/>
                  </a:cubicBezTo>
                  <a:cubicBezTo>
                    <a:pt x="4368444" y="1823024"/>
                    <a:pt x="4338691" y="1804975"/>
                    <a:pt x="4343683" y="1801298"/>
                  </a:cubicBezTo>
                  <a:cubicBezTo>
                    <a:pt x="4353587" y="1793945"/>
                    <a:pt x="4377211" y="1797221"/>
                    <a:pt x="4395192" y="1800730"/>
                  </a:cubicBezTo>
                  <a:cubicBezTo>
                    <a:pt x="4402174" y="1802034"/>
                    <a:pt x="4441464" y="1813230"/>
                    <a:pt x="4443047" y="1811426"/>
                  </a:cubicBezTo>
                  <a:cubicBezTo>
                    <a:pt x="4447878" y="1805978"/>
                    <a:pt x="4460988" y="1802535"/>
                    <a:pt x="4473814" y="1810590"/>
                  </a:cubicBezTo>
                  <a:cubicBezTo>
                    <a:pt x="4492324" y="1822221"/>
                    <a:pt x="4507220" y="1828037"/>
                    <a:pt x="4526134" y="1837329"/>
                  </a:cubicBezTo>
                  <a:cubicBezTo>
                    <a:pt x="4541680" y="1845083"/>
                    <a:pt x="4525729" y="1849595"/>
                    <a:pt x="4549920" y="1854876"/>
                  </a:cubicBezTo>
                  <a:cubicBezTo>
                    <a:pt x="4575208" y="1860491"/>
                    <a:pt x="4540869" y="1862163"/>
                    <a:pt x="4538150" y="1862463"/>
                  </a:cubicBezTo>
                  <a:cubicBezTo>
                    <a:pt x="4516637" y="1864836"/>
                    <a:pt x="4550976" y="1877571"/>
                    <a:pt x="4545821" y="1880880"/>
                  </a:cubicBezTo>
                  <a:cubicBezTo>
                    <a:pt x="4544319" y="1881816"/>
                    <a:pt x="4529057" y="1876735"/>
                    <a:pt x="4532954" y="1880880"/>
                  </a:cubicBezTo>
                  <a:cubicBezTo>
                    <a:pt x="4537784" y="1886127"/>
                    <a:pt x="4549676" y="1889369"/>
                    <a:pt x="4555846" y="1890907"/>
                  </a:cubicBezTo>
                  <a:cubicBezTo>
                    <a:pt x="4580688" y="1897090"/>
                    <a:pt x="4605853" y="1895252"/>
                    <a:pt x="4630856" y="1913167"/>
                  </a:cubicBezTo>
                  <a:cubicBezTo>
                    <a:pt x="4643480" y="1922292"/>
                    <a:pt x="4646077" y="1899798"/>
                    <a:pt x="4660202" y="1902705"/>
                  </a:cubicBezTo>
                  <a:cubicBezTo>
                    <a:pt x="4667184" y="1904076"/>
                    <a:pt x="4720763" y="1928843"/>
                    <a:pt x="4711468" y="1935494"/>
                  </a:cubicBezTo>
                  <a:cubicBezTo>
                    <a:pt x="4712604" y="1934658"/>
                    <a:pt x="4686262" y="1921256"/>
                    <a:pt x="4679767" y="1922125"/>
                  </a:cubicBezTo>
                  <a:cubicBezTo>
                    <a:pt x="4671040" y="1923194"/>
                    <a:pt x="4664952" y="1929110"/>
                    <a:pt x="4657117" y="1931483"/>
                  </a:cubicBezTo>
                  <a:cubicBezTo>
                    <a:pt x="4653830" y="1932452"/>
                    <a:pt x="4657889" y="1935895"/>
                    <a:pt x="4655738" y="1937031"/>
                  </a:cubicBezTo>
                  <a:cubicBezTo>
                    <a:pt x="4653587" y="1938168"/>
                    <a:pt x="4647620" y="1935327"/>
                    <a:pt x="4644616" y="1934993"/>
                  </a:cubicBezTo>
                  <a:cubicBezTo>
                    <a:pt x="4639461" y="1934424"/>
                    <a:pt x="4640070" y="1938937"/>
                    <a:pt x="4634712" y="1938335"/>
                  </a:cubicBezTo>
                  <a:cubicBezTo>
                    <a:pt x="4628502" y="1937767"/>
                    <a:pt x="4619045" y="1932051"/>
                    <a:pt x="4612916" y="1929110"/>
                  </a:cubicBezTo>
                  <a:cubicBezTo>
                    <a:pt x="4605487" y="1925534"/>
                    <a:pt x="4587506" y="1916209"/>
                    <a:pt x="4582717" y="1920219"/>
                  </a:cubicBezTo>
                  <a:cubicBezTo>
                    <a:pt x="4576831" y="1925032"/>
                    <a:pt x="4557511" y="1916509"/>
                    <a:pt x="4548216" y="1917913"/>
                  </a:cubicBezTo>
                  <a:cubicBezTo>
                    <a:pt x="4540098" y="1919150"/>
                    <a:pt x="4527474" y="1915406"/>
                    <a:pt x="4517570" y="1913234"/>
                  </a:cubicBezTo>
                  <a:cubicBezTo>
                    <a:pt x="4498615" y="1909156"/>
                    <a:pt x="4484084" y="1909223"/>
                    <a:pt x="4466955" y="1908588"/>
                  </a:cubicBezTo>
                  <a:cubicBezTo>
                    <a:pt x="4449826" y="1907953"/>
                    <a:pt x="4428678" y="1899864"/>
                    <a:pt x="4411266" y="1895486"/>
                  </a:cubicBezTo>
                  <a:cubicBezTo>
                    <a:pt x="4405177" y="1893982"/>
                    <a:pt x="4386099" y="1880479"/>
                    <a:pt x="4382325" y="1881548"/>
                  </a:cubicBezTo>
                  <a:cubicBezTo>
                    <a:pt x="4379484" y="1882317"/>
                    <a:pt x="4378916" y="1886361"/>
                    <a:pt x="4377454" y="1887999"/>
                  </a:cubicBezTo>
                  <a:cubicBezTo>
                    <a:pt x="4372503" y="1893514"/>
                    <a:pt x="4362760" y="1892678"/>
                    <a:pt x="4352533" y="1892779"/>
                  </a:cubicBezTo>
                  <a:cubicBezTo>
                    <a:pt x="4302323" y="1893447"/>
                    <a:pt x="4287589" y="1931316"/>
                    <a:pt x="4278375" y="1961029"/>
                  </a:cubicBezTo>
                  <a:cubicBezTo>
                    <a:pt x="4276913" y="1965943"/>
                    <a:pt x="4278050" y="1971825"/>
                    <a:pt x="4276061" y="1976471"/>
                  </a:cubicBezTo>
                  <a:cubicBezTo>
                    <a:pt x="4273220" y="1983156"/>
                    <a:pt x="4265792" y="1988270"/>
                    <a:pt x="4264940" y="1995857"/>
                  </a:cubicBezTo>
                  <a:cubicBezTo>
                    <a:pt x="4264696" y="1997996"/>
                    <a:pt x="4262991" y="2012869"/>
                    <a:pt x="4265670" y="2013973"/>
                  </a:cubicBezTo>
                  <a:cubicBezTo>
                    <a:pt x="4277401" y="2018852"/>
                    <a:pt x="4293190" y="2016312"/>
                    <a:pt x="4304230" y="2017850"/>
                  </a:cubicBezTo>
                  <a:cubicBezTo>
                    <a:pt x="4312348" y="2018953"/>
                    <a:pt x="4328584" y="2019822"/>
                    <a:pt x="4333253" y="2016914"/>
                  </a:cubicBezTo>
                  <a:cubicBezTo>
                    <a:pt x="4339381" y="2013237"/>
                    <a:pt x="4340071" y="2005851"/>
                    <a:pt x="4352694" y="2009561"/>
                  </a:cubicBezTo>
                  <a:cubicBezTo>
                    <a:pt x="4365318" y="2013271"/>
                    <a:pt x="4373395" y="2014106"/>
                    <a:pt x="4385775" y="2021392"/>
                  </a:cubicBezTo>
                  <a:cubicBezTo>
                    <a:pt x="4402782" y="2031420"/>
                    <a:pt x="4394177" y="2011633"/>
                    <a:pt x="4401037" y="2009561"/>
                  </a:cubicBezTo>
                  <a:cubicBezTo>
                    <a:pt x="4409398" y="2007087"/>
                    <a:pt x="4426609" y="2012903"/>
                    <a:pt x="4437568" y="2015243"/>
                  </a:cubicBezTo>
                  <a:cubicBezTo>
                    <a:pt x="4451124" y="2018084"/>
                    <a:pt x="4459202" y="2031520"/>
                    <a:pt x="4473611" y="2033325"/>
                  </a:cubicBezTo>
                  <a:cubicBezTo>
                    <a:pt x="4488021" y="2035130"/>
                    <a:pt x="4483677" y="2024534"/>
                    <a:pt x="4481080" y="2016613"/>
                  </a:cubicBezTo>
                  <a:cubicBezTo>
                    <a:pt x="4478807" y="2009928"/>
                    <a:pt x="4501375" y="2010263"/>
                    <a:pt x="4507585" y="2010831"/>
                  </a:cubicBezTo>
                  <a:cubicBezTo>
                    <a:pt x="4520940" y="2011967"/>
                    <a:pt x="4526013" y="2023966"/>
                    <a:pt x="4538270" y="2025704"/>
                  </a:cubicBezTo>
                  <a:cubicBezTo>
                    <a:pt x="4549068" y="2027242"/>
                    <a:pt x="4541396" y="2012535"/>
                    <a:pt x="4533400" y="2008290"/>
                  </a:cubicBezTo>
                  <a:cubicBezTo>
                    <a:pt x="4524795" y="2003711"/>
                    <a:pt x="4539246" y="1997060"/>
                    <a:pt x="4541518" y="1996559"/>
                  </a:cubicBezTo>
                  <a:cubicBezTo>
                    <a:pt x="4547201" y="1995422"/>
                    <a:pt x="4573990" y="2002876"/>
                    <a:pt x="4562787" y="1992314"/>
                  </a:cubicBezTo>
                  <a:cubicBezTo>
                    <a:pt x="4555765" y="1985629"/>
                    <a:pt x="4537540" y="1979245"/>
                    <a:pt x="4536079" y="1972260"/>
                  </a:cubicBezTo>
                  <a:cubicBezTo>
                    <a:pt x="4533725" y="1960996"/>
                    <a:pt x="4551990" y="1960929"/>
                    <a:pt x="4565385" y="1963804"/>
                  </a:cubicBezTo>
                  <a:cubicBezTo>
                    <a:pt x="4584178" y="1967815"/>
                    <a:pt x="4613483" y="1953008"/>
                    <a:pt x="4632521" y="1966043"/>
                  </a:cubicBezTo>
                  <a:cubicBezTo>
                    <a:pt x="4641532" y="1972226"/>
                    <a:pt x="4649203" y="1976638"/>
                    <a:pt x="4651029" y="1983423"/>
                  </a:cubicBezTo>
                  <a:cubicBezTo>
                    <a:pt x="4652369" y="1988403"/>
                    <a:pt x="4677088" y="1987468"/>
                    <a:pt x="4680254" y="1987735"/>
                  </a:cubicBezTo>
                  <a:cubicBezTo>
                    <a:pt x="4721899" y="1991077"/>
                    <a:pt x="4676601" y="2008926"/>
                    <a:pt x="4701239" y="2012970"/>
                  </a:cubicBezTo>
                  <a:cubicBezTo>
                    <a:pt x="4730707" y="2017850"/>
                    <a:pt x="4754817" y="2028278"/>
                    <a:pt x="4781688" y="2048232"/>
                  </a:cubicBezTo>
                  <a:cubicBezTo>
                    <a:pt x="4791632" y="2055618"/>
                    <a:pt x="4800115" y="2062938"/>
                    <a:pt x="4803079" y="2071628"/>
                  </a:cubicBezTo>
                  <a:cubicBezTo>
                    <a:pt x="4806042" y="2080318"/>
                    <a:pt x="4810262" y="2089276"/>
                    <a:pt x="4820572" y="2083527"/>
                  </a:cubicBezTo>
                  <a:cubicBezTo>
                    <a:pt x="4826093" y="2080452"/>
                    <a:pt x="4852639" y="2093253"/>
                    <a:pt x="4861528" y="2095961"/>
                  </a:cubicBezTo>
                  <a:cubicBezTo>
                    <a:pt x="4872041" y="2099303"/>
                    <a:pt x="4887059" y="2105252"/>
                    <a:pt x="4897003" y="2106924"/>
                  </a:cubicBezTo>
                  <a:cubicBezTo>
                    <a:pt x="4923102" y="2111486"/>
                    <a:pt x="4948025" y="2119858"/>
                    <a:pt x="4970512" y="2131690"/>
                  </a:cubicBezTo>
                  <a:cubicBezTo>
                    <a:pt x="4990197" y="2141717"/>
                    <a:pt x="5031599" y="2166351"/>
                    <a:pt x="5050148" y="2165114"/>
                  </a:cubicBezTo>
                  <a:cubicBezTo>
                    <a:pt x="5059849" y="2164512"/>
                    <a:pt x="5058794" y="2166016"/>
                    <a:pt x="5063989" y="2173771"/>
                  </a:cubicBezTo>
                  <a:cubicBezTo>
                    <a:pt x="5069185" y="2181525"/>
                    <a:pt x="5089886" y="2198270"/>
                    <a:pt x="5098937" y="2205556"/>
                  </a:cubicBezTo>
                  <a:cubicBezTo>
                    <a:pt x="5127716" y="2228719"/>
                    <a:pt x="5127959" y="2199707"/>
                    <a:pt x="5123088" y="2187642"/>
                  </a:cubicBezTo>
                  <a:cubicBezTo>
                    <a:pt x="5117040" y="2172768"/>
                    <a:pt x="5137173" y="2167587"/>
                    <a:pt x="5113630" y="2150441"/>
                  </a:cubicBezTo>
                  <a:cubicBezTo>
                    <a:pt x="5100074" y="2140414"/>
                    <a:pt x="5110018" y="2137072"/>
                    <a:pt x="5109571" y="2130654"/>
                  </a:cubicBezTo>
                  <a:cubicBezTo>
                    <a:pt x="5109329" y="2126944"/>
                    <a:pt x="5086395" y="2117753"/>
                    <a:pt x="5082254" y="2109698"/>
                  </a:cubicBezTo>
                  <a:cubicBezTo>
                    <a:pt x="5075517" y="2096529"/>
                    <a:pt x="5101900" y="2112372"/>
                    <a:pt x="5107218" y="2116850"/>
                  </a:cubicBezTo>
                  <a:cubicBezTo>
                    <a:pt x="5120613" y="2128081"/>
                    <a:pt x="5115336" y="2136503"/>
                    <a:pt x="5129014" y="2146932"/>
                  </a:cubicBezTo>
                  <a:cubicBezTo>
                    <a:pt x="5143302" y="2157794"/>
                    <a:pt x="5185069" y="2180355"/>
                    <a:pt x="5199641" y="2180121"/>
                  </a:cubicBezTo>
                  <a:cubicBezTo>
                    <a:pt x="5204024" y="2180121"/>
                    <a:pt x="5221843" y="2180121"/>
                    <a:pt x="5222006" y="2177949"/>
                  </a:cubicBezTo>
                  <a:cubicBezTo>
                    <a:pt x="5222370" y="2173503"/>
                    <a:pt x="5216080" y="2168122"/>
                    <a:pt x="5216119" y="2163844"/>
                  </a:cubicBezTo>
                  <a:cubicBezTo>
                    <a:pt x="5216119" y="2156290"/>
                    <a:pt x="5225780" y="2164613"/>
                    <a:pt x="5231422" y="2165950"/>
                  </a:cubicBezTo>
                  <a:cubicBezTo>
                    <a:pt x="5238606" y="2167654"/>
                    <a:pt x="5253503" y="2171799"/>
                    <a:pt x="5260566" y="2179954"/>
                  </a:cubicBezTo>
                  <a:cubicBezTo>
                    <a:pt x="5261012" y="2180489"/>
                    <a:pt x="5241408" y="2181592"/>
                    <a:pt x="5242463" y="2186639"/>
                  </a:cubicBezTo>
                  <a:cubicBezTo>
                    <a:pt x="5244614" y="2196432"/>
                    <a:pt x="5247456" y="2203150"/>
                    <a:pt x="5260809" y="2212241"/>
                  </a:cubicBezTo>
                  <a:cubicBezTo>
                    <a:pt x="5281429" y="2226346"/>
                    <a:pt x="5311425" y="2243592"/>
                    <a:pt x="5308421" y="2262143"/>
                  </a:cubicBezTo>
                  <a:cubicBezTo>
                    <a:pt x="5306757" y="2272470"/>
                    <a:pt x="5316133" y="2285740"/>
                    <a:pt x="5328473" y="2297538"/>
                  </a:cubicBezTo>
                  <a:cubicBezTo>
                    <a:pt x="5331720" y="2300647"/>
                    <a:pt x="5338823" y="2306329"/>
                    <a:pt x="5338254" y="2309671"/>
                  </a:cubicBezTo>
                  <a:cubicBezTo>
                    <a:pt x="5336874" y="2317726"/>
                    <a:pt x="5346616" y="2320935"/>
                    <a:pt x="5353313" y="2328355"/>
                  </a:cubicBezTo>
                  <a:cubicBezTo>
                    <a:pt x="5358590" y="2334171"/>
                    <a:pt x="5372188" y="2346036"/>
                    <a:pt x="5380468" y="2348242"/>
                  </a:cubicBezTo>
                  <a:cubicBezTo>
                    <a:pt x="5390940" y="2351016"/>
                    <a:pt x="5370564" y="2331998"/>
                    <a:pt x="5376409" y="2332065"/>
                  </a:cubicBezTo>
                  <a:cubicBezTo>
                    <a:pt x="5382254" y="2332131"/>
                    <a:pt x="5387977" y="2350080"/>
                    <a:pt x="5392645" y="2343730"/>
                  </a:cubicBezTo>
                  <a:cubicBezTo>
                    <a:pt x="5395973" y="2339117"/>
                    <a:pt x="5402832" y="2340387"/>
                    <a:pt x="5406283" y="2335307"/>
                  </a:cubicBezTo>
                  <a:cubicBezTo>
                    <a:pt x="5407987" y="2332733"/>
                    <a:pt x="5405958" y="2317459"/>
                    <a:pt x="5413670" y="2324210"/>
                  </a:cubicBezTo>
                  <a:cubicBezTo>
                    <a:pt x="5414563" y="2324912"/>
                    <a:pt x="5446142" y="2363583"/>
                    <a:pt x="5448699" y="2358703"/>
                  </a:cubicBezTo>
                  <a:cubicBezTo>
                    <a:pt x="5450525" y="2355361"/>
                    <a:pt x="5439688" y="2348142"/>
                    <a:pt x="5440865" y="2345869"/>
                  </a:cubicBezTo>
                  <a:cubicBezTo>
                    <a:pt x="5443098" y="2341591"/>
                    <a:pt x="5457710" y="2367594"/>
                    <a:pt x="5463717" y="2364920"/>
                  </a:cubicBezTo>
                  <a:cubicBezTo>
                    <a:pt x="5469238" y="2363082"/>
                    <a:pt x="5475489" y="2363583"/>
                    <a:pt x="5480481" y="2366224"/>
                  </a:cubicBezTo>
                  <a:cubicBezTo>
                    <a:pt x="5483688" y="2367761"/>
                    <a:pt x="5503658" y="2382200"/>
                    <a:pt x="5492658" y="2368864"/>
                  </a:cubicBezTo>
                  <a:close/>
                  <a:moveTo>
                    <a:pt x="2856475" y="1286441"/>
                  </a:moveTo>
                  <a:cubicBezTo>
                    <a:pt x="2831552" y="1288246"/>
                    <a:pt x="2802856" y="1279757"/>
                    <a:pt x="2777162" y="1279757"/>
                  </a:cubicBezTo>
                  <a:cubicBezTo>
                    <a:pt x="2767542" y="1279757"/>
                    <a:pt x="2768314" y="1283634"/>
                    <a:pt x="2761576" y="1285305"/>
                  </a:cubicBezTo>
                  <a:cubicBezTo>
                    <a:pt x="2752768" y="1287477"/>
                    <a:pt x="2738277" y="1284536"/>
                    <a:pt x="2727643" y="1282230"/>
                  </a:cubicBezTo>
                  <a:cubicBezTo>
                    <a:pt x="2722041" y="1280960"/>
                    <a:pt x="2676987" y="1266253"/>
                    <a:pt x="2697931" y="1269061"/>
                  </a:cubicBezTo>
                  <a:cubicBezTo>
                    <a:pt x="2724843" y="1272637"/>
                    <a:pt x="2743432" y="1276247"/>
                    <a:pt x="2764052" y="1269696"/>
                  </a:cubicBezTo>
                  <a:cubicBezTo>
                    <a:pt x="2785280" y="1263011"/>
                    <a:pt x="2818442" y="1267557"/>
                    <a:pt x="2843324" y="1264883"/>
                  </a:cubicBezTo>
                  <a:cubicBezTo>
                    <a:pt x="2872061" y="1261808"/>
                    <a:pt x="2886389" y="1244829"/>
                    <a:pt x="2914964" y="1242790"/>
                  </a:cubicBezTo>
                  <a:cubicBezTo>
                    <a:pt x="2931200" y="1241687"/>
                    <a:pt x="2908998" y="1262243"/>
                    <a:pt x="2907253" y="1263646"/>
                  </a:cubicBezTo>
                  <a:cubicBezTo>
                    <a:pt x="2895360" y="1273172"/>
                    <a:pt x="2879205" y="1284904"/>
                    <a:pt x="2856475" y="1286575"/>
                  </a:cubicBezTo>
                  <a:close/>
                  <a:moveTo>
                    <a:pt x="3272236" y="790669"/>
                  </a:moveTo>
                  <a:cubicBezTo>
                    <a:pt x="3267771" y="792273"/>
                    <a:pt x="3239764" y="784285"/>
                    <a:pt x="3250521" y="792875"/>
                  </a:cubicBezTo>
                  <a:cubicBezTo>
                    <a:pt x="3261276" y="801465"/>
                    <a:pt x="3282342" y="807348"/>
                    <a:pt x="3296224" y="809587"/>
                  </a:cubicBezTo>
                  <a:cubicBezTo>
                    <a:pt x="3335597" y="816272"/>
                    <a:pt x="3286604" y="785355"/>
                    <a:pt x="3272236" y="790536"/>
                  </a:cubicBezTo>
                  <a:close/>
                  <a:moveTo>
                    <a:pt x="1454951" y="46493"/>
                  </a:moveTo>
                  <a:cubicBezTo>
                    <a:pt x="1468386" y="48699"/>
                    <a:pt x="1471918" y="46493"/>
                    <a:pt x="1482227" y="45189"/>
                  </a:cubicBezTo>
                  <a:cubicBezTo>
                    <a:pt x="1491725" y="43853"/>
                    <a:pt x="1507758" y="49568"/>
                    <a:pt x="1518393" y="50404"/>
                  </a:cubicBezTo>
                  <a:cubicBezTo>
                    <a:pt x="1529027" y="51239"/>
                    <a:pt x="1528094" y="47061"/>
                    <a:pt x="1519813" y="44321"/>
                  </a:cubicBezTo>
                  <a:cubicBezTo>
                    <a:pt x="1508367" y="40908"/>
                    <a:pt x="1496474" y="38512"/>
                    <a:pt x="1484419" y="37168"/>
                  </a:cubicBezTo>
                  <a:cubicBezTo>
                    <a:pt x="1477397" y="36232"/>
                    <a:pt x="1467087" y="34628"/>
                    <a:pt x="1460715" y="35630"/>
                  </a:cubicBezTo>
                  <a:cubicBezTo>
                    <a:pt x="1456656" y="36265"/>
                    <a:pt x="1462501" y="38505"/>
                    <a:pt x="1455600" y="38271"/>
                  </a:cubicBezTo>
                  <a:cubicBezTo>
                    <a:pt x="1451542" y="38104"/>
                    <a:pt x="1408191" y="32923"/>
                    <a:pt x="1408110" y="32756"/>
                  </a:cubicBezTo>
                  <a:cubicBezTo>
                    <a:pt x="1411276" y="39508"/>
                    <a:pt x="1444803" y="44822"/>
                    <a:pt x="1454951" y="46493"/>
                  </a:cubicBezTo>
                  <a:close/>
                  <a:moveTo>
                    <a:pt x="1311507" y="58325"/>
                  </a:moveTo>
                  <a:cubicBezTo>
                    <a:pt x="1313293" y="50303"/>
                    <a:pt x="1254397" y="50671"/>
                    <a:pt x="1265072" y="53980"/>
                  </a:cubicBezTo>
                  <a:cubicBezTo>
                    <a:pt x="1274610" y="56888"/>
                    <a:pt x="1309761" y="66213"/>
                    <a:pt x="1311547" y="58325"/>
                  </a:cubicBezTo>
                  <a:close/>
                  <a:moveTo>
                    <a:pt x="1453896" y="74101"/>
                  </a:moveTo>
                  <a:cubicBezTo>
                    <a:pt x="1457589" y="81220"/>
                    <a:pt x="1376775" y="65778"/>
                    <a:pt x="1401373" y="80451"/>
                  </a:cubicBezTo>
                  <a:cubicBezTo>
                    <a:pt x="1416147" y="89175"/>
                    <a:pt x="1462257" y="93988"/>
                    <a:pt x="1479589" y="91448"/>
                  </a:cubicBezTo>
                  <a:cubicBezTo>
                    <a:pt x="1488721" y="90011"/>
                    <a:pt x="1544939" y="94389"/>
                    <a:pt x="1512669" y="84329"/>
                  </a:cubicBezTo>
                  <a:cubicBezTo>
                    <a:pt x="1508002" y="82824"/>
                    <a:pt x="1452029" y="70424"/>
                    <a:pt x="1453896" y="74101"/>
                  </a:cubicBezTo>
                  <a:cubicBezTo>
                    <a:pt x="1456250" y="78747"/>
                    <a:pt x="1451623" y="69589"/>
                    <a:pt x="1453936" y="74101"/>
                  </a:cubicBezTo>
                  <a:close/>
                  <a:moveTo>
                    <a:pt x="1642679" y="97130"/>
                  </a:moveTo>
                  <a:cubicBezTo>
                    <a:pt x="1653232" y="93487"/>
                    <a:pt x="1612114" y="78747"/>
                    <a:pt x="1604118" y="77076"/>
                  </a:cubicBezTo>
                  <a:cubicBezTo>
                    <a:pt x="1594620" y="75037"/>
                    <a:pt x="1580860" y="71962"/>
                    <a:pt x="1571646" y="72697"/>
                  </a:cubicBezTo>
                  <a:cubicBezTo>
                    <a:pt x="1566695" y="73098"/>
                    <a:pt x="1564178" y="77009"/>
                    <a:pt x="1556994" y="77744"/>
                  </a:cubicBezTo>
                  <a:cubicBezTo>
                    <a:pt x="1552123" y="78245"/>
                    <a:pt x="1532640" y="78647"/>
                    <a:pt x="1534669" y="82657"/>
                  </a:cubicBezTo>
                  <a:cubicBezTo>
                    <a:pt x="1537226" y="88072"/>
                    <a:pt x="1559023" y="92217"/>
                    <a:pt x="1567669" y="93687"/>
                  </a:cubicBezTo>
                  <a:cubicBezTo>
                    <a:pt x="1586746" y="97030"/>
                    <a:pt x="1627741" y="102277"/>
                    <a:pt x="1642841" y="97030"/>
                  </a:cubicBezTo>
                  <a:close/>
                  <a:moveTo>
                    <a:pt x="1471187" y="58960"/>
                  </a:moveTo>
                  <a:cubicBezTo>
                    <a:pt x="1475246" y="52275"/>
                    <a:pt x="1454139" y="50303"/>
                    <a:pt x="1444641" y="48933"/>
                  </a:cubicBezTo>
                  <a:cubicBezTo>
                    <a:pt x="1421789" y="45591"/>
                    <a:pt x="1405999" y="38104"/>
                    <a:pt x="1384487" y="33525"/>
                  </a:cubicBezTo>
                  <a:cubicBezTo>
                    <a:pt x="1364720" y="29313"/>
                    <a:pt x="1387004" y="39975"/>
                    <a:pt x="1382052" y="41045"/>
                  </a:cubicBezTo>
                  <a:cubicBezTo>
                    <a:pt x="1373122" y="42917"/>
                    <a:pt x="1358306" y="41045"/>
                    <a:pt x="1348078" y="41246"/>
                  </a:cubicBezTo>
                  <a:cubicBezTo>
                    <a:pt x="1320599" y="41981"/>
                    <a:pt x="1388668" y="56587"/>
                    <a:pt x="1396014" y="57690"/>
                  </a:cubicBezTo>
                  <a:cubicBezTo>
                    <a:pt x="1410789" y="59796"/>
                    <a:pt x="1465707" y="68185"/>
                    <a:pt x="1471187" y="58960"/>
                  </a:cubicBezTo>
                  <a:close/>
                  <a:moveTo>
                    <a:pt x="1246888" y="308501"/>
                  </a:moveTo>
                  <a:cubicBezTo>
                    <a:pt x="1246888" y="318528"/>
                    <a:pt x="1213239" y="310472"/>
                    <a:pt x="1212549" y="313180"/>
                  </a:cubicBezTo>
                  <a:cubicBezTo>
                    <a:pt x="1211656" y="316856"/>
                    <a:pt x="1228095" y="321837"/>
                    <a:pt x="1228785" y="326282"/>
                  </a:cubicBezTo>
                  <a:cubicBezTo>
                    <a:pt x="1229475" y="330727"/>
                    <a:pt x="1212224" y="327753"/>
                    <a:pt x="1207840" y="330460"/>
                  </a:cubicBezTo>
                  <a:cubicBezTo>
                    <a:pt x="1200494" y="334939"/>
                    <a:pt x="1202361" y="336777"/>
                    <a:pt x="1186937" y="335006"/>
                  </a:cubicBezTo>
                  <a:cubicBezTo>
                    <a:pt x="1173258" y="333435"/>
                    <a:pt x="1157955" y="332666"/>
                    <a:pt x="1157753" y="341155"/>
                  </a:cubicBezTo>
                  <a:cubicBezTo>
                    <a:pt x="1157753" y="347840"/>
                    <a:pt x="1176261" y="350113"/>
                    <a:pt x="1186166" y="351684"/>
                  </a:cubicBezTo>
                  <a:cubicBezTo>
                    <a:pt x="1203254" y="354391"/>
                    <a:pt x="1196435" y="355628"/>
                    <a:pt x="1193391" y="361210"/>
                  </a:cubicBezTo>
                  <a:cubicBezTo>
                    <a:pt x="1191280" y="365154"/>
                    <a:pt x="1209342" y="373710"/>
                    <a:pt x="1212711" y="369198"/>
                  </a:cubicBezTo>
                  <a:cubicBezTo>
                    <a:pt x="1215228" y="365855"/>
                    <a:pt x="1204228" y="356597"/>
                    <a:pt x="1220017" y="361276"/>
                  </a:cubicBezTo>
                  <a:cubicBezTo>
                    <a:pt x="1227770" y="363583"/>
                    <a:pt x="1237268" y="367694"/>
                    <a:pt x="1240312" y="371972"/>
                  </a:cubicBezTo>
                  <a:cubicBezTo>
                    <a:pt x="1243356" y="376250"/>
                    <a:pt x="1229069" y="376350"/>
                    <a:pt x="1234427" y="380863"/>
                  </a:cubicBezTo>
                  <a:cubicBezTo>
                    <a:pt x="1247010" y="391391"/>
                    <a:pt x="1286260" y="396271"/>
                    <a:pt x="1306595" y="400917"/>
                  </a:cubicBezTo>
                  <a:cubicBezTo>
                    <a:pt x="1315241" y="402822"/>
                    <a:pt x="1367480" y="416826"/>
                    <a:pt x="1371011" y="409607"/>
                  </a:cubicBezTo>
                  <a:cubicBezTo>
                    <a:pt x="1373162" y="405095"/>
                    <a:pt x="1353882" y="397240"/>
                    <a:pt x="1348240" y="394132"/>
                  </a:cubicBezTo>
                  <a:cubicBezTo>
                    <a:pt x="1332004" y="385308"/>
                    <a:pt x="1318164" y="375548"/>
                    <a:pt x="1311426" y="364619"/>
                  </a:cubicBezTo>
                  <a:cubicBezTo>
                    <a:pt x="1299249" y="344765"/>
                    <a:pt x="1330990" y="347272"/>
                    <a:pt x="1341583" y="334337"/>
                  </a:cubicBezTo>
                  <a:cubicBezTo>
                    <a:pt x="1347064" y="327652"/>
                    <a:pt x="1366952" y="328354"/>
                    <a:pt x="1374542" y="322238"/>
                  </a:cubicBezTo>
                  <a:cubicBezTo>
                    <a:pt x="1376775" y="320433"/>
                    <a:pt x="1378114" y="317893"/>
                    <a:pt x="1381889" y="316723"/>
                  </a:cubicBezTo>
                  <a:cubicBezTo>
                    <a:pt x="1387450" y="314985"/>
                    <a:pt x="1399140" y="318695"/>
                    <a:pt x="1402509" y="315586"/>
                  </a:cubicBezTo>
                  <a:cubicBezTo>
                    <a:pt x="1409693" y="308902"/>
                    <a:pt x="1402834" y="309236"/>
                    <a:pt x="1421789" y="308467"/>
                  </a:cubicBezTo>
                  <a:cubicBezTo>
                    <a:pt x="1433073" y="307999"/>
                    <a:pt x="1440826" y="303153"/>
                    <a:pt x="1441028" y="297571"/>
                  </a:cubicBezTo>
                  <a:cubicBezTo>
                    <a:pt x="1441232" y="291989"/>
                    <a:pt x="1452840" y="296134"/>
                    <a:pt x="1462744" y="296836"/>
                  </a:cubicBezTo>
                  <a:cubicBezTo>
                    <a:pt x="1470618" y="297437"/>
                    <a:pt x="1474434" y="295566"/>
                    <a:pt x="1481334" y="295064"/>
                  </a:cubicBezTo>
                  <a:cubicBezTo>
                    <a:pt x="1490061" y="294396"/>
                    <a:pt x="1499884" y="296134"/>
                    <a:pt x="1508976" y="296568"/>
                  </a:cubicBezTo>
                  <a:cubicBezTo>
                    <a:pt x="1525212" y="297337"/>
                    <a:pt x="1544695" y="290586"/>
                    <a:pt x="1562392" y="290118"/>
                  </a:cubicBezTo>
                  <a:cubicBezTo>
                    <a:pt x="1597218" y="289182"/>
                    <a:pt x="1633302" y="290118"/>
                    <a:pt x="1669265" y="291989"/>
                  </a:cubicBezTo>
                  <a:cubicBezTo>
                    <a:pt x="1689884" y="292491"/>
                    <a:pt x="1862310" y="309436"/>
                    <a:pt x="1838727" y="287811"/>
                  </a:cubicBezTo>
                  <a:cubicBezTo>
                    <a:pt x="1823181" y="273372"/>
                    <a:pt x="1772972" y="271935"/>
                    <a:pt x="1750363" y="271801"/>
                  </a:cubicBezTo>
                  <a:cubicBezTo>
                    <a:pt x="1737699" y="271801"/>
                    <a:pt x="1726496" y="273740"/>
                    <a:pt x="1714116" y="273773"/>
                  </a:cubicBezTo>
                  <a:cubicBezTo>
                    <a:pt x="1694836" y="273773"/>
                    <a:pt x="1675232" y="268259"/>
                    <a:pt x="1655464" y="268492"/>
                  </a:cubicBezTo>
                  <a:cubicBezTo>
                    <a:pt x="1638011" y="268820"/>
                    <a:pt x="1620598" y="266938"/>
                    <a:pt x="1603834" y="262911"/>
                  </a:cubicBezTo>
                  <a:cubicBezTo>
                    <a:pt x="1582443" y="257362"/>
                    <a:pt x="1577572" y="252884"/>
                    <a:pt x="1554355" y="254455"/>
                  </a:cubicBezTo>
                  <a:cubicBezTo>
                    <a:pt x="1522452" y="256761"/>
                    <a:pt x="1484784" y="248505"/>
                    <a:pt x="1452881" y="251112"/>
                  </a:cubicBezTo>
                  <a:cubicBezTo>
                    <a:pt x="1442449" y="251914"/>
                    <a:pt x="1438674" y="255591"/>
                    <a:pt x="1427309" y="255190"/>
                  </a:cubicBezTo>
                  <a:cubicBezTo>
                    <a:pt x="1410546" y="254622"/>
                    <a:pt x="1411966" y="261106"/>
                    <a:pt x="1397394" y="261373"/>
                  </a:cubicBezTo>
                  <a:cubicBezTo>
                    <a:pt x="1385217" y="261607"/>
                    <a:pt x="1364923" y="249007"/>
                    <a:pt x="1361878" y="259301"/>
                  </a:cubicBezTo>
                  <a:cubicBezTo>
                    <a:pt x="1360296" y="265150"/>
                    <a:pt x="1378764" y="271701"/>
                    <a:pt x="1360417" y="272336"/>
                  </a:cubicBezTo>
                  <a:cubicBezTo>
                    <a:pt x="1340975" y="273038"/>
                    <a:pt x="1338824" y="278720"/>
                    <a:pt x="1331355" y="286174"/>
                  </a:cubicBezTo>
                  <a:cubicBezTo>
                    <a:pt x="1325916" y="291588"/>
                    <a:pt x="1296854" y="284837"/>
                    <a:pt x="1286707" y="287912"/>
                  </a:cubicBezTo>
                  <a:cubicBezTo>
                    <a:pt x="1267710" y="293660"/>
                    <a:pt x="1295677" y="296000"/>
                    <a:pt x="1298275" y="299510"/>
                  </a:cubicBezTo>
                  <a:cubicBezTo>
                    <a:pt x="1295677" y="296167"/>
                    <a:pt x="1279076" y="307865"/>
                    <a:pt x="1279076" y="307899"/>
                  </a:cubicBezTo>
                  <a:cubicBezTo>
                    <a:pt x="1274083" y="311241"/>
                    <a:pt x="1246604" y="304055"/>
                    <a:pt x="1246604" y="308567"/>
                  </a:cubicBezTo>
                  <a:cubicBezTo>
                    <a:pt x="1246888" y="313614"/>
                    <a:pt x="1247010" y="303387"/>
                    <a:pt x="1246969" y="3085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D5B06A75-5B00-4EA8-BE40-D89A827A4647}"/>
                </a:ext>
              </a:extLst>
            </p:cNvPr>
            <p:cNvSpPr/>
            <p:nvPr/>
          </p:nvSpPr>
          <p:spPr>
            <a:xfrm>
              <a:off x="6153312" y="4766402"/>
              <a:ext cx="517470" cy="329058"/>
            </a:xfrm>
            <a:custGeom>
              <a:avLst/>
              <a:gdLst>
                <a:gd name="connsiteX0" fmla="*/ 459498 w 517470"/>
                <a:gd name="connsiteY0" fmla="*/ 218146 h 329058"/>
                <a:gd name="connsiteX1" fmla="*/ 448823 w 517470"/>
                <a:gd name="connsiteY1" fmla="*/ 184722 h 329058"/>
                <a:gd name="connsiteX2" fmla="*/ 449310 w 517470"/>
                <a:gd name="connsiteY2" fmla="*/ 164133 h 329058"/>
                <a:gd name="connsiteX3" fmla="*/ 455439 w 517470"/>
                <a:gd name="connsiteY3" fmla="*/ 156212 h 329058"/>
                <a:gd name="connsiteX4" fmla="*/ 450040 w 517470"/>
                <a:gd name="connsiteY4" fmla="*/ 141037 h 329058"/>
                <a:gd name="connsiteX5" fmla="*/ 461528 w 517470"/>
                <a:gd name="connsiteY5" fmla="*/ 122354 h 329058"/>
                <a:gd name="connsiteX6" fmla="*/ 470863 w 517470"/>
                <a:gd name="connsiteY6" fmla="*/ 108984 h 329058"/>
                <a:gd name="connsiteX7" fmla="*/ 480523 w 517470"/>
                <a:gd name="connsiteY7" fmla="*/ 88061 h 329058"/>
                <a:gd name="connsiteX8" fmla="*/ 511615 w 517470"/>
                <a:gd name="connsiteY8" fmla="*/ 67773 h 329058"/>
                <a:gd name="connsiteX9" fmla="*/ 513685 w 517470"/>
                <a:gd name="connsiteY9" fmla="*/ 57746 h 329058"/>
                <a:gd name="connsiteX10" fmla="*/ 511575 w 517470"/>
                <a:gd name="connsiteY10" fmla="*/ 44176 h 329058"/>
                <a:gd name="connsiteX11" fmla="*/ 485272 w 517470"/>
                <a:gd name="connsiteY11" fmla="*/ 21114 h 329058"/>
                <a:gd name="connsiteX12" fmla="*/ 469929 w 517470"/>
                <a:gd name="connsiteY12" fmla="*/ 20412 h 329058"/>
                <a:gd name="connsiteX13" fmla="*/ 452719 w 517470"/>
                <a:gd name="connsiteY13" fmla="*/ 18941 h 329058"/>
                <a:gd name="connsiteX14" fmla="*/ 416554 w 517470"/>
                <a:gd name="connsiteY14" fmla="*/ 3967 h 329058"/>
                <a:gd name="connsiteX15" fmla="*/ 394838 w 517470"/>
                <a:gd name="connsiteY15" fmla="*/ 5338 h 329058"/>
                <a:gd name="connsiteX16" fmla="*/ 360905 w 517470"/>
                <a:gd name="connsiteY16" fmla="*/ 4435 h 329058"/>
                <a:gd name="connsiteX17" fmla="*/ 341301 w 517470"/>
                <a:gd name="connsiteY17" fmla="*/ 2998 h 329058"/>
                <a:gd name="connsiteX18" fmla="*/ 305298 w 517470"/>
                <a:gd name="connsiteY18" fmla="*/ 7276 h 329058"/>
                <a:gd name="connsiteX19" fmla="*/ 285287 w 517470"/>
                <a:gd name="connsiteY19" fmla="*/ 7911 h 329058"/>
                <a:gd name="connsiteX20" fmla="*/ 278346 w 517470"/>
                <a:gd name="connsiteY20" fmla="*/ 17136 h 329058"/>
                <a:gd name="connsiteX21" fmla="*/ 221845 w 517470"/>
                <a:gd name="connsiteY21" fmla="*/ 6507 h 329058"/>
                <a:gd name="connsiteX22" fmla="*/ 180727 w 517470"/>
                <a:gd name="connsiteY22" fmla="*/ 6307 h 329058"/>
                <a:gd name="connsiteX23" fmla="*/ 171757 w 517470"/>
                <a:gd name="connsiteY23" fmla="*/ 22350 h 329058"/>
                <a:gd name="connsiteX24" fmla="*/ 157591 w 517470"/>
                <a:gd name="connsiteY24" fmla="*/ 50326 h 329058"/>
                <a:gd name="connsiteX25" fmla="*/ 140381 w 517470"/>
                <a:gd name="connsiteY25" fmla="*/ 82112 h 329058"/>
                <a:gd name="connsiteX26" fmla="*/ 119315 w 517470"/>
                <a:gd name="connsiteY26" fmla="*/ 105207 h 329058"/>
                <a:gd name="connsiteX27" fmla="*/ 106854 w 517470"/>
                <a:gd name="connsiteY27" fmla="*/ 134988 h 329058"/>
                <a:gd name="connsiteX28" fmla="*/ 102389 w 517470"/>
                <a:gd name="connsiteY28" fmla="*/ 147221 h 329058"/>
                <a:gd name="connsiteX29" fmla="*/ 95246 w 517470"/>
                <a:gd name="connsiteY29" fmla="*/ 157248 h 329058"/>
                <a:gd name="connsiteX30" fmla="*/ 83069 w 517470"/>
                <a:gd name="connsiteY30" fmla="*/ 160590 h 329058"/>
                <a:gd name="connsiteX31" fmla="*/ 66833 w 517470"/>
                <a:gd name="connsiteY31" fmla="*/ 163264 h 329058"/>
                <a:gd name="connsiteX32" fmla="*/ 50921 w 517470"/>
                <a:gd name="connsiteY32" fmla="*/ 159588 h 329058"/>
                <a:gd name="connsiteX33" fmla="*/ 25877 w 517470"/>
                <a:gd name="connsiteY33" fmla="*/ 160724 h 329058"/>
                <a:gd name="connsiteX34" fmla="*/ -60 w 517470"/>
                <a:gd name="connsiteY34" fmla="*/ 169080 h 329058"/>
                <a:gd name="connsiteX35" fmla="*/ 10291 w 517470"/>
                <a:gd name="connsiteY35" fmla="*/ 189669 h 329058"/>
                <a:gd name="connsiteX36" fmla="*/ 109452 w 517470"/>
                <a:gd name="connsiteY36" fmla="*/ 185491 h 329058"/>
                <a:gd name="connsiteX37" fmla="*/ 123049 w 517470"/>
                <a:gd name="connsiteY37" fmla="*/ 206514 h 329058"/>
                <a:gd name="connsiteX38" fmla="*/ 142695 w 517470"/>
                <a:gd name="connsiteY38" fmla="*/ 224296 h 329058"/>
                <a:gd name="connsiteX39" fmla="*/ 184381 w 517470"/>
                <a:gd name="connsiteY39" fmla="*/ 222023 h 329058"/>
                <a:gd name="connsiteX40" fmla="*/ 193189 w 517470"/>
                <a:gd name="connsiteY40" fmla="*/ 208653 h 329058"/>
                <a:gd name="connsiteX41" fmla="*/ 217786 w 517470"/>
                <a:gd name="connsiteY41" fmla="*/ 207784 h 329058"/>
                <a:gd name="connsiteX42" fmla="*/ 237553 w 517470"/>
                <a:gd name="connsiteY42" fmla="*/ 211962 h 329058"/>
                <a:gd name="connsiteX43" fmla="*/ 251029 w 517470"/>
                <a:gd name="connsiteY43" fmla="*/ 226267 h 329058"/>
                <a:gd name="connsiteX44" fmla="*/ 251963 w 517470"/>
                <a:gd name="connsiteY44" fmla="*/ 255079 h 329058"/>
                <a:gd name="connsiteX45" fmla="*/ 258538 w 517470"/>
                <a:gd name="connsiteY45" fmla="*/ 272960 h 329058"/>
                <a:gd name="connsiteX46" fmla="*/ 274774 w 517470"/>
                <a:gd name="connsiteY46" fmla="*/ 276303 h 329058"/>
                <a:gd name="connsiteX47" fmla="*/ 311305 w 517470"/>
                <a:gd name="connsiteY47" fmla="*/ 279144 h 329058"/>
                <a:gd name="connsiteX48" fmla="*/ 328515 w 517470"/>
                <a:gd name="connsiteY48" fmla="*/ 283622 h 329058"/>
                <a:gd name="connsiteX49" fmla="*/ 341179 w 517470"/>
                <a:gd name="connsiteY49" fmla="*/ 293349 h 329058"/>
                <a:gd name="connsiteX50" fmla="*/ 372798 w 517470"/>
                <a:gd name="connsiteY50" fmla="*/ 299632 h 329058"/>
                <a:gd name="connsiteX51" fmla="*/ 391185 w 517470"/>
                <a:gd name="connsiteY51" fmla="*/ 298195 h 329058"/>
                <a:gd name="connsiteX52" fmla="*/ 417325 w 517470"/>
                <a:gd name="connsiteY52" fmla="*/ 307387 h 329058"/>
                <a:gd name="connsiteX53" fmla="*/ 452314 w 517470"/>
                <a:gd name="connsiteY53" fmla="*/ 325469 h 329058"/>
                <a:gd name="connsiteX54" fmla="*/ 454018 w 517470"/>
                <a:gd name="connsiteY54" fmla="*/ 306651 h 329058"/>
                <a:gd name="connsiteX55" fmla="*/ 428569 w 517470"/>
                <a:gd name="connsiteY55" fmla="*/ 305013 h 329058"/>
                <a:gd name="connsiteX56" fmla="*/ 419355 w 517470"/>
                <a:gd name="connsiteY56" fmla="*/ 290909 h 329058"/>
                <a:gd name="connsiteX57" fmla="*/ 429177 w 517470"/>
                <a:gd name="connsiteY57" fmla="*/ 270454 h 329058"/>
                <a:gd name="connsiteX58" fmla="*/ 428690 w 517470"/>
                <a:gd name="connsiteY58" fmla="*/ 254644 h 329058"/>
                <a:gd name="connsiteX59" fmla="*/ 436524 w 517470"/>
                <a:gd name="connsiteY59" fmla="*/ 246422 h 329058"/>
                <a:gd name="connsiteX60" fmla="*/ 441922 w 517470"/>
                <a:gd name="connsiteY60" fmla="*/ 240673 h 329058"/>
                <a:gd name="connsiteX61" fmla="*/ 475003 w 517470"/>
                <a:gd name="connsiteY61" fmla="*/ 239704 h 329058"/>
                <a:gd name="connsiteX62" fmla="*/ 459863 w 517470"/>
                <a:gd name="connsiteY62" fmla="*/ 217878 h 329058"/>
                <a:gd name="connsiteX63" fmla="*/ 459498 w 517470"/>
                <a:gd name="connsiteY63" fmla="*/ 218146 h 32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17470" h="329058">
                  <a:moveTo>
                    <a:pt x="459498" y="218146"/>
                  </a:moveTo>
                  <a:cubicBezTo>
                    <a:pt x="447321" y="213165"/>
                    <a:pt x="449269" y="192008"/>
                    <a:pt x="448823" y="184722"/>
                  </a:cubicBezTo>
                  <a:cubicBezTo>
                    <a:pt x="448336" y="177860"/>
                    <a:pt x="448498" y="170975"/>
                    <a:pt x="449310" y="164133"/>
                  </a:cubicBezTo>
                  <a:cubicBezTo>
                    <a:pt x="449310" y="163197"/>
                    <a:pt x="451948" y="150363"/>
                    <a:pt x="455439" y="156212"/>
                  </a:cubicBezTo>
                  <a:cubicBezTo>
                    <a:pt x="455439" y="148892"/>
                    <a:pt x="456291" y="146185"/>
                    <a:pt x="450040" y="141037"/>
                  </a:cubicBezTo>
                  <a:cubicBezTo>
                    <a:pt x="447970" y="139366"/>
                    <a:pt x="457022" y="123056"/>
                    <a:pt x="461528" y="122354"/>
                  </a:cubicBezTo>
                  <a:cubicBezTo>
                    <a:pt x="469645" y="121184"/>
                    <a:pt x="470498" y="112828"/>
                    <a:pt x="470863" y="108984"/>
                  </a:cubicBezTo>
                  <a:cubicBezTo>
                    <a:pt x="471553" y="101430"/>
                    <a:pt x="477560" y="95180"/>
                    <a:pt x="480523" y="88061"/>
                  </a:cubicBezTo>
                  <a:cubicBezTo>
                    <a:pt x="484826" y="77733"/>
                    <a:pt x="501224" y="74424"/>
                    <a:pt x="511615" y="67773"/>
                  </a:cubicBezTo>
                  <a:cubicBezTo>
                    <a:pt x="516973" y="64430"/>
                    <a:pt x="520423" y="61723"/>
                    <a:pt x="513685" y="57746"/>
                  </a:cubicBezTo>
                  <a:cubicBezTo>
                    <a:pt x="506947" y="53768"/>
                    <a:pt x="510154" y="48855"/>
                    <a:pt x="511575" y="44176"/>
                  </a:cubicBezTo>
                  <a:cubicBezTo>
                    <a:pt x="514700" y="33881"/>
                    <a:pt x="498302" y="28266"/>
                    <a:pt x="485272" y="21114"/>
                  </a:cubicBezTo>
                  <a:cubicBezTo>
                    <a:pt x="480686" y="18600"/>
                    <a:pt x="474800" y="18333"/>
                    <a:pt x="469929" y="20412"/>
                  </a:cubicBezTo>
                  <a:cubicBezTo>
                    <a:pt x="465180" y="21982"/>
                    <a:pt x="460391" y="15031"/>
                    <a:pt x="452719" y="18941"/>
                  </a:cubicBezTo>
                  <a:cubicBezTo>
                    <a:pt x="436483" y="27230"/>
                    <a:pt x="425037" y="7142"/>
                    <a:pt x="416554" y="3967"/>
                  </a:cubicBezTo>
                  <a:cubicBezTo>
                    <a:pt x="414524" y="4870"/>
                    <a:pt x="399182" y="6909"/>
                    <a:pt x="394838" y="5338"/>
                  </a:cubicBezTo>
                  <a:cubicBezTo>
                    <a:pt x="380023" y="-10"/>
                    <a:pt x="373407" y="-846"/>
                    <a:pt x="360905" y="4435"/>
                  </a:cubicBezTo>
                  <a:cubicBezTo>
                    <a:pt x="355994" y="6507"/>
                    <a:pt x="346577" y="3232"/>
                    <a:pt x="341301" y="2998"/>
                  </a:cubicBezTo>
                  <a:cubicBezTo>
                    <a:pt x="328596" y="2430"/>
                    <a:pt x="316947" y="8145"/>
                    <a:pt x="305298" y="7276"/>
                  </a:cubicBezTo>
                  <a:cubicBezTo>
                    <a:pt x="298397" y="6775"/>
                    <a:pt x="290238" y="3533"/>
                    <a:pt x="285287" y="7911"/>
                  </a:cubicBezTo>
                  <a:cubicBezTo>
                    <a:pt x="284231" y="8847"/>
                    <a:pt x="278914" y="17236"/>
                    <a:pt x="278346" y="17136"/>
                  </a:cubicBezTo>
                  <a:cubicBezTo>
                    <a:pt x="263003" y="14763"/>
                    <a:pt x="231870" y="13994"/>
                    <a:pt x="221845" y="6507"/>
                  </a:cubicBezTo>
                  <a:cubicBezTo>
                    <a:pt x="208329" y="-3520"/>
                    <a:pt x="194609" y="-1615"/>
                    <a:pt x="180727" y="6307"/>
                  </a:cubicBezTo>
                  <a:cubicBezTo>
                    <a:pt x="171026" y="11855"/>
                    <a:pt x="172041" y="14295"/>
                    <a:pt x="171757" y="22350"/>
                  </a:cubicBezTo>
                  <a:cubicBezTo>
                    <a:pt x="171270" y="34784"/>
                    <a:pt x="163071" y="39530"/>
                    <a:pt x="157591" y="50326"/>
                  </a:cubicBezTo>
                  <a:cubicBezTo>
                    <a:pt x="151827" y="61656"/>
                    <a:pt x="149473" y="71115"/>
                    <a:pt x="140381" y="82112"/>
                  </a:cubicBezTo>
                  <a:cubicBezTo>
                    <a:pt x="132953" y="91336"/>
                    <a:pt x="133481" y="98589"/>
                    <a:pt x="119315" y="105207"/>
                  </a:cubicBezTo>
                  <a:cubicBezTo>
                    <a:pt x="104175" y="112327"/>
                    <a:pt x="107625" y="123958"/>
                    <a:pt x="106854" y="134988"/>
                  </a:cubicBezTo>
                  <a:cubicBezTo>
                    <a:pt x="106854" y="137595"/>
                    <a:pt x="108681" y="145984"/>
                    <a:pt x="102389" y="147221"/>
                  </a:cubicBezTo>
                  <a:cubicBezTo>
                    <a:pt x="94271" y="148858"/>
                    <a:pt x="97396" y="152736"/>
                    <a:pt x="95246" y="157248"/>
                  </a:cubicBezTo>
                  <a:cubicBezTo>
                    <a:pt x="93500" y="160824"/>
                    <a:pt x="87371" y="159688"/>
                    <a:pt x="83069" y="160590"/>
                  </a:cubicBezTo>
                  <a:cubicBezTo>
                    <a:pt x="78766" y="161493"/>
                    <a:pt x="66833" y="171352"/>
                    <a:pt x="66833" y="163264"/>
                  </a:cubicBezTo>
                  <a:cubicBezTo>
                    <a:pt x="66833" y="157916"/>
                    <a:pt x="56360" y="158184"/>
                    <a:pt x="50921" y="159588"/>
                  </a:cubicBezTo>
                  <a:cubicBezTo>
                    <a:pt x="36715" y="163297"/>
                    <a:pt x="39313" y="163632"/>
                    <a:pt x="25877" y="160724"/>
                  </a:cubicBezTo>
                  <a:cubicBezTo>
                    <a:pt x="19383" y="159387"/>
                    <a:pt x="4568" y="167141"/>
                    <a:pt x="-60" y="169080"/>
                  </a:cubicBezTo>
                  <a:cubicBezTo>
                    <a:pt x="4284" y="175607"/>
                    <a:pt x="7774" y="182513"/>
                    <a:pt x="10291" y="189669"/>
                  </a:cubicBezTo>
                  <a:cubicBezTo>
                    <a:pt x="35903" y="178539"/>
                    <a:pt x="79618" y="184688"/>
                    <a:pt x="109452" y="185491"/>
                  </a:cubicBezTo>
                  <a:cubicBezTo>
                    <a:pt x="126459" y="185925"/>
                    <a:pt x="113917" y="201267"/>
                    <a:pt x="123049" y="206514"/>
                  </a:cubicBezTo>
                  <a:cubicBezTo>
                    <a:pt x="131167" y="211260"/>
                    <a:pt x="131167" y="221722"/>
                    <a:pt x="142695" y="224296"/>
                  </a:cubicBezTo>
                  <a:cubicBezTo>
                    <a:pt x="155562" y="227237"/>
                    <a:pt x="170702" y="219483"/>
                    <a:pt x="184381" y="222023"/>
                  </a:cubicBezTo>
                  <a:cubicBezTo>
                    <a:pt x="187831" y="222658"/>
                    <a:pt x="191443" y="210291"/>
                    <a:pt x="193189" y="208653"/>
                  </a:cubicBezTo>
                  <a:cubicBezTo>
                    <a:pt x="197856" y="204442"/>
                    <a:pt x="211251" y="206514"/>
                    <a:pt x="217786" y="207784"/>
                  </a:cubicBezTo>
                  <a:cubicBezTo>
                    <a:pt x="224321" y="209054"/>
                    <a:pt x="227324" y="212397"/>
                    <a:pt x="237553" y="211962"/>
                  </a:cubicBezTo>
                  <a:cubicBezTo>
                    <a:pt x="254926" y="211227"/>
                    <a:pt x="246321" y="218146"/>
                    <a:pt x="251029" y="226267"/>
                  </a:cubicBezTo>
                  <a:cubicBezTo>
                    <a:pt x="256752" y="236294"/>
                    <a:pt x="239907" y="246322"/>
                    <a:pt x="251963" y="255079"/>
                  </a:cubicBezTo>
                  <a:cubicBezTo>
                    <a:pt x="260852" y="261429"/>
                    <a:pt x="260811" y="265373"/>
                    <a:pt x="258538" y="272960"/>
                  </a:cubicBezTo>
                  <a:cubicBezTo>
                    <a:pt x="254722" y="285795"/>
                    <a:pt x="265641" y="276069"/>
                    <a:pt x="274774" y="276303"/>
                  </a:cubicBezTo>
                  <a:cubicBezTo>
                    <a:pt x="285814" y="276737"/>
                    <a:pt x="303430" y="272693"/>
                    <a:pt x="311305" y="279144"/>
                  </a:cubicBezTo>
                  <a:cubicBezTo>
                    <a:pt x="318124" y="284826"/>
                    <a:pt x="316744" y="284792"/>
                    <a:pt x="328515" y="283622"/>
                  </a:cubicBezTo>
                  <a:cubicBezTo>
                    <a:pt x="342194" y="282285"/>
                    <a:pt x="332574" y="289238"/>
                    <a:pt x="341179" y="293349"/>
                  </a:cubicBezTo>
                  <a:cubicBezTo>
                    <a:pt x="351245" y="296771"/>
                    <a:pt x="361920" y="298890"/>
                    <a:pt x="372798" y="299632"/>
                  </a:cubicBezTo>
                  <a:cubicBezTo>
                    <a:pt x="381971" y="299632"/>
                    <a:pt x="383757" y="289070"/>
                    <a:pt x="391185" y="298195"/>
                  </a:cubicBezTo>
                  <a:cubicBezTo>
                    <a:pt x="398045" y="306718"/>
                    <a:pt x="404986" y="304880"/>
                    <a:pt x="417325" y="307387"/>
                  </a:cubicBezTo>
                  <a:cubicBezTo>
                    <a:pt x="425443" y="308958"/>
                    <a:pt x="432384" y="338337"/>
                    <a:pt x="452314" y="325469"/>
                  </a:cubicBezTo>
                  <a:cubicBezTo>
                    <a:pt x="455195" y="323630"/>
                    <a:pt x="461324" y="307119"/>
                    <a:pt x="454018" y="306651"/>
                  </a:cubicBezTo>
                  <a:cubicBezTo>
                    <a:pt x="443424" y="305983"/>
                    <a:pt x="437782" y="313804"/>
                    <a:pt x="428569" y="305013"/>
                  </a:cubicBezTo>
                  <a:cubicBezTo>
                    <a:pt x="424875" y="301671"/>
                    <a:pt x="416919" y="294986"/>
                    <a:pt x="419355" y="290909"/>
                  </a:cubicBezTo>
                  <a:cubicBezTo>
                    <a:pt x="423332" y="284338"/>
                    <a:pt x="426620" y="277493"/>
                    <a:pt x="429177" y="270454"/>
                  </a:cubicBezTo>
                  <a:cubicBezTo>
                    <a:pt x="430760" y="266008"/>
                    <a:pt x="425768" y="257452"/>
                    <a:pt x="428690" y="254644"/>
                  </a:cubicBezTo>
                  <a:cubicBezTo>
                    <a:pt x="432506" y="251034"/>
                    <a:pt x="436443" y="251135"/>
                    <a:pt x="436524" y="246422"/>
                  </a:cubicBezTo>
                  <a:cubicBezTo>
                    <a:pt x="436524" y="243949"/>
                    <a:pt x="436037" y="240339"/>
                    <a:pt x="441922" y="240673"/>
                  </a:cubicBezTo>
                  <a:cubicBezTo>
                    <a:pt x="450852" y="241208"/>
                    <a:pt x="467778" y="244015"/>
                    <a:pt x="475003" y="239704"/>
                  </a:cubicBezTo>
                  <a:cubicBezTo>
                    <a:pt x="482228" y="235392"/>
                    <a:pt x="467332" y="220987"/>
                    <a:pt x="459863" y="217878"/>
                  </a:cubicBezTo>
                  <a:cubicBezTo>
                    <a:pt x="446550" y="212798"/>
                    <a:pt x="466763" y="221187"/>
                    <a:pt x="459498" y="21814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8149C9CE-4ABF-4078-AAA6-BE114F9DBCFC}"/>
                </a:ext>
              </a:extLst>
            </p:cNvPr>
            <p:cNvSpPr/>
            <p:nvPr/>
          </p:nvSpPr>
          <p:spPr>
            <a:xfrm>
              <a:off x="6606822" y="4905474"/>
              <a:ext cx="42381" cy="35527"/>
            </a:xfrm>
            <a:custGeom>
              <a:avLst/>
              <a:gdLst>
                <a:gd name="connsiteX0" fmla="*/ 1929 w 42381"/>
                <a:gd name="connsiteY0" fmla="*/ 17106 h 35527"/>
                <a:gd name="connsiteX1" fmla="*/ 7206 w 42381"/>
                <a:gd name="connsiteY1" fmla="*/ 35188 h 35527"/>
                <a:gd name="connsiteX2" fmla="*/ 38906 w 42381"/>
                <a:gd name="connsiteY2" fmla="*/ 10823 h 35527"/>
                <a:gd name="connsiteX3" fmla="*/ 23767 w 42381"/>
                <a:gd name="connsiteY3" fmla="*/ 395 h 35527"/>
                <a:gd name="connsiteX4" fmla="*/ 19708 w 42381"/>
                <a:gd name="connsiteY4" fmla="*/ 4806 h 35527"/>
                <a:gd name="connsiteX5" fmla="*/ -60 w 42381"/>
                <a:gd name="connsiteY5" fmla="*/ 3636 h 35527"/>
                <a:gd name="connsiteX6" fmla="*/ 1929 w 42381"/>
                <a:gd name="connsiteY6" fmla="*/ 17106 h 3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381" h="35527">
                  <a:moveTo>
                    <a:pt x="1929" y="17106"/>
                  </a:moveTo>
                  <a:cubicBezTo>
                    <a:pt x="4689" y="22902"/>
                    <a:pt x="6475" y="28988"/>
                    <a:pt x="7206" y="35188"/>
                  </a:cubicBezTo>
                  <a:cubicBezTo>
                    <a:pt x="16501" y="32147"/>
                    <a:pt x="53641" y="17474"/>
                    <a:pt x="38906" y="10823"/>
                  </a:cubicBezTo>
                  <a:cubicBezTo>
                    <a:pt x="32452" y="7915"/>
                    <a:pt x="42032" y="-3282"/>
                    <a:pt x="23767" y="395"/>
                  </a:cubicBezTo>
                  <a:cubicBezTo>
                    <a:pt x="23360" y="395"/>
                    <a:pt x="21818" y="4205"/>
                    <a:pt x="19708" y="4806"/>
                  </a:cubicBezTo>
                  <a:cubicBezTo>
                    <a:pt x="14066" y="6478"/>
                    <a:pt x="5907" y="4138"/>
                    <a:pt x="-60" y="3636"/>
                  </a:cubicBezTo>
                  <a:cubicBezTo>
                    <a:pt x="4283" y="5074"/>
                    <a:pt x="1889" y="13964"/>
                    <a:pt x="1929" y="1710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BD4E6461-B1DD-4242-909D-7DC0AA5B8BB9}"/>
                </a:ext>
              </a:extLst>
            </p:cNvPr>
            <p:cNvSpPr/>
            <p:nvPr/>
          </p:nvSpPr>
          <p:spPr>
            <a:xfrm>
              <a:off x="6615616" y="5069414"/>
              <a:ext cx="282558" cy="272805"/>
            </a:xfrm>
            <a:custGeom>
              <a:avLst/>
              <a:gdLst>
                <a:gd name="connsiteX0" fmla="*/ 280551 w 282558"/>
                <a:gd name="connsiteY0" fmla="*/ 74797 h 272805"/>
                <a:gd name="connsiteX1" fmla="*/ 282499 w 282558"/>
                <a:gd name="connsiteY1" fmla="*/ -339 h 272805"/>
                <a:gd name="connsiteX2" fmla="*/ 238500 w 282558"/>
                <a:gd name="connsiteY2" fmla="*/ 6647 h 272805"/>
                <a:gd name="connsiteX3" fmla="*/ 217150 w 282558"/>
                <a:gd name="connsiteY3" fmla="*/ 5677 h 272805"/>
                <a:gd name="connsiteX4" fmla="*/ 204973 w 282558"/>
                <a:gd name="connsiteY4" fmla="*/ 12696 h 272805"/>
                <a:gd name="connsiteX5" fmla="*/ 188047 w 282558"/>
                <a:gd name="connsiteY5" fmla="*/ 10691 h 272805"/>
                <a:gd name="connsiteX6" fmla="*/ 168077 w 282558"/>
                <a:gd name="connsiteY6" fmla="*/ 10958 h 272805"/>
                <a:gd name="connsiteX7" fmla="*/ 153586 w 282558"/>
                <a:gd name="connsiteY7" fmla="*/ 4541 h 272805"/>
                <a:gd name="connsiteX8" fmla="*/ 128665 w 282558"/>
                <a:gd name="connsiteY8" fmla="*/ 3639 h 272805"/>
                <a:gd name="connsiteX9" fmla="*/ 128665 w 282558"/>
                <a:gd name="connsiteY9" fmla="*/ 29743 h 272805"/>
                <a:gd name="connsiteX10" fmla="*/ 133495 w 282558"/>
                <a:gd name="connsiteY10" fmla="*/ 43881 h 272805"/>
                <a:gd name="connsiteX11" fmla="*/ 150705 w 282558"/>
                <a:gd name="connsiteY11" fmla="*/ 59890 h 272805"/>
                <a:gd name="connsiteX12" fmla="*/ 143033 w 282558"/>
                <a:gd name="connsiteY12" fmla="*/ 82619 h 272805"/>
                <a:gd name="connsiteX13" fmla="*/ 131100 w 282558"/>
                <a:gd name="connsiteY13" fmla="*/ 84557 h 272805"/>
                <a:gd name="connsiteX14" fmla="*/ 127041 w 282558"/>
                <a:gd name="connsiteY14" fmla="*/ 99932 h 272805"/>
                <a:gd name="connsiteX15" fmla="*/ 108897 w 282558"/>
                <a:gd name="connsiteY15" fmla="*/ 82585 h 272805"/>
                <a:gd name="connsiteX16" fmla="*/ 113322 w 282558"/>
                <a:gd name="connsiteY16" fmla="*/ 55846 h 272805"/>
                <a:gd name="connsiteX17" fmla="*/ 99480 w 282558"/>
                <a:gd name="connsiteY17" fmla="*/ 51468 h 272805"/>
                <a:gd name="connsiteX18" fmla="*/ 82717 w 282558"/>
                <a:gd name="connsiteY18" fmla="*/ 47591 h 272805"/>
                <a:gd name="connsiteX19" fmla="*/ 58363 w 282558"/>
                <a:gd name="connsiteY19" fmla="*/ 45084 h 272805"/>
                <a:gd name="connsiteX20" fmla="*/ -5 w 282558"/>
                <a:gd name="connsiteY20" fmla="*/ 57284 h 272805"/>
                <a:gd name="connsiteX21" fmla="*/ 6286 w 282558"/>
                <a:gd name="connsiteY21" fmla="*/ 73460 h 272805"/>
                <a:gd name="connsiteX22" fmla="*/ 56293 w 282558"/>
                <a:gd name="connsiteY22" fmla="*/ 86830 h 272805"/>
                <a:gd name="connsiteX23" fmla="*/ 68023 w 282558"/>
                <a:gd name="connsiteY23" fmla="*/ 106282 h 272805"/>
                <a:gd name="connsiteX24" fmla="*/ 64208 w 282558"/>
                <a:gd name="connsiteY24" fmla="*/ 122125 h 272805"/>
                <a:gd name="connsiteX25" fmla="*/ 58282 w 282558"/>
                <a:gd name="connsiteY25" fmla="*/ 131016 h 272805"/>
                <a:gd name="connsiteX26" fmla="*/ 56171 w 282558"/>
                <a:gd name="connsiteY26" fmla="*/ 153243 h 272805"/>
                <a:gd name="connsiteX27" fmla="*/ 28692 w 282558"/>
                <a:gd name="connsiteY27" fmla="*/ 179347 h 272805"/>
                <a:gd name="connsiteX28" fmla="*/ 13795 w 282558"/>
                <a:gd name="connsiteY28" fmla="*/ 188204 h 272805"/>
                <a:gd name="connsiteX29" fmla="*/ 17164 w 282558"/>
                <a:gd name="connsiteY29" fmla="*/ 199401 h 272805"/>
                <a:gd name="connsiteX30" fmla="*/ 28813 w 282558"/>
                <a:gd name="connsiteY30" fmla="*/ 223867 h 272805"/>
                <a:gd name="connsiteX31" fmla="*/ 26459 w 282558"/>
                <a:gd name="connsiteY31" fmla="*/ 271829 h 272805"/>
                <a:gd name="connsiteX32" fmla="*/ 46754 w 282558"/>
                <a:gd name="connsiteY32" fmla="*/ 267551 h 272805"/>
                <a:gd name="connsiteX33" fmla="*/ 38109 w 282558"/>
                <a:gd name="connsiteY33" fmla="*/ 256588 h 272805"/>
                <a:gd name="connsiteX34" fmla="*/ 100211 w 282558"/>
                <a:gd name="connsiteY34" fmla="*/ 236534 h 272805"/>
                <a:gd name="connsiteX35" fmla="*/ 118720 w 282558"/>
                <a:gd name="connsiteY35" fmla="*/ 207890 h 272805"/>
                <a:gd name="connsiteX36" fmla="*/ 112509 w 282558"/>
                <a:gd name="connsiteY36" fmla="*/ 168751 h 272805"/>
                <a:gd name="connsiteX37" fmla="*/ 107517 w 282558"/>
                <a:gd name="connsiteY37" fmla="*/ 151772 h 272805"/>
                <a:gd name="connsiteX38" fmla="*/ 117664 w 282558"/>
                <a:gd name="connsiteY38" fmla="*/ 148095 h 272805"/>
                <a:gd name="connsiteX39" fmla="*/ 126838 w 282558"/>
                <a:gd name="connsiteY39" fmla="*/ 140308 h 272805"/>
                <a:gd name="connsiteX40" fmla="*/ 154276 w 282558"/>
                <a:gd name="connsiteY40" fmla="*/ 131250 h 272805"/>
                <a:gd name="connsiteX41" fmla="*/ 180173 w 282558"/>
                <a:gd name="connsiteY41" fmla="*/ 116009 h 272805"/>
                <a:gd name="connsiteX42" fmla="*/ 245116 w 282558"/>
                <a:gd name="connsiteY42" fmla="*/ 101904 h 272805"/>
                <a:gd name="connsiteX43" fmla="*/ 280470 w 282558"/>
                <a:gd name="connsiteY43" fmla="*/ 75165 h 272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2558" h="272805">
                  <a:moveTo>
                    <a:pt x="280551" y="74797"/>
                  </a:moveTo>
                  <a:cubicBezTo>
                    <a:pt x="270566" y="51601"/>
                    <a:pt x="280836" y="22824"/>
                    <a:pt x="282499" y="-339"/>
                  </a:cubicBezTo>
                  <a:cubicBezTo>
                    <a:pt x="266548" y="2469"/>
                    <a:pt x="254493" y="6346"/>
                    <a:pt x="238500" y="6647"/>
                  </a:cubicBezTo>
                  <a:cubicBezTo>
                    <a:pt x="227784" y="6647"/>
                    <a:pt x="227866" y="8685"/>
                    <a:pt x="217150" y="5677"/>
                  </a:cubicBezTo>
                  <a:cubicBezTo>
                    <a:pt x="208382" y="3271"/>
                    <a:pt x="210574" y="11961"/>
                    <a:pt x="204973" y="12696"/>
                  </a:cubicBezTo>
                  <a:cubicBezTo>
                    <a:pt x="199372" y="13432"/>
                    <a:pt x="193730" y="10791"/>
                    <a:pt x="188047" y="10691"/>
                  </a:cubicBezTo>
                  <a:cubicBezTo>
                    <a:pt x="181431" y="10691"/>
                    <a:pt x="174734" y="11527"/>
                    <a:pt x="168077" y="10958"/>
                  </a:cubicBezTo>
                  <a:cubicBezTo>
                    <a:pt x="161420" y="10390"/>
                    <a:pt x="164343" y="3772"/>
                    <a:pt x="153586" y="4541"/>
                  </a:cubicBezTo>
                  <a:cubicBezTo>
                    <a:pt x="145266" y="5403"/>
                    <a:pt x="136863" y="5099"/>
                    <a:pt x="128665" y="3639"/>
                  </a:cubicBezTo>
                  <a:cubicBezTo>
                    <a:pt x="127082" y="13365"/>
                    <a:pt x="124606" y="19515"/>
                    <a:pt x="128665" y="29743"/>
                  </a:cubicBezTo>
                  <a:cubicBezTo>
                    <a:pt x="130694" y="34352"/>
                    <a:pt x="132317" y="39078"/>
                    <a:pt x="133495" y="43881"/>
                  </a:cubicBezTo>
                  <a:cubicBezTo>
                    <a:pt x="134712" y="50164"/>
                    <a:pt x="146686" y="53908"/>
                    <a:pt x="150705" y="59890"/>
                  </a:cubicBezTo>
                  <a:cubicBezTo>
                    <a:pt x="153140" y="63634"/>
                    <a:pt x="147538" y="81181"/>
                    <a:pt x="143033" y="82619"/>
                  </a:cubicBezTo>
                  <a:cubicBezTo>
                    <a:pt x="139218" y="83855"/>
                    <a:pt x="134915" y="82886"/>
                    <a:pt x="131100" y="84557"/>
                  </a:cubicBezTo>
                  <a:cubicBezTo>
                    <a:pt x="122697" y="88401"/>
                    <a:pt x="130532" y="95253"/>
                    <a:pt x="127041" y="99932"/>
                  </a:cubicBezTo>
                  <a:cubicBezTo>
                    <a:pt x="126351" y="100768"/>
                    <a:pt x="110155" y="84156"/>
                    <a:pt x="108897" y="82585"/>
                  </a:cubicBezTo>
                  <a:cubicBezTo>
                    <a:pt x="100779" y="72558"/>
                    <a:pt x="115473" y="65873"/>
                    <a:pt x="113322" y="55846"/>
                  </a:cubicBezTo>
                  <a:cubicBezTo>
                    <a:pt x="112307" y="51167"/>
                    <a:pt x="105204" y="50966"/>
                    <a:pt x="99480" y="51468"/>
                  </a:cubicBezTo>
                  <a:cubicBezTo>
                    <a:pt x="91362" y="52203"/>
                    <a:pt x="88886" y="51835"/>
                    <a:pt x="82717" y="47591"/>
                  </a:cubicBezTo>
                  <a:cubicBezTo>
                    <a:pt x="73584" y="41340"/>
                    <a:pt x="70540" y="43246"/>
                    <a:pt x="58363" y="45084"/>
                  </a:cubicBezTo>
                  <a:cubicBezTo>
                    <a:pt x="49108" y="46454"/>
                    <a:pt x="-1954" y="51468"/>
                    <a:pt x="-5" y="57284"/>
                  </a:cubicBezTo>
                  <a:cubicBezTo>
                    <a:pt x="969" y="60191"/>
                    <a:pt x="2268" y="72993"/>
                    <a:pt x="6286" y="73460"/>
                  </a:cubicBezTo>
                  <a:cubicBezTo>
                    <a:pt x="25404" y="75566"/>
                    <a:pt x="38758" y="82552"/>
                    <a:pt x="56293" y="86830"/>
                  </a:cubicBezTo>
                  <a:cubicBezTo>
                    <a:pt x="73828" y="91108"/>
                    <a:pt x="69890" y="95086"/>
                    <a:pt x="68023" y="106282"/>
                  </a:cubicBezTo>
                  <a:cubicBezTo>
                    <a:pt x="67212" y="111162"/>
                    <a:pt x="68713" y="118014"/>
                    <a:pt x="64208" y="122125"/>
                  </a:cubicBezTo>
                  <a:cubicBezTo>
                    <a:pt x="61488" y="124599"/>
                    <a:pt x="53654" y="127406"/>
                    <a:pt x="58282" y="131016"/>
                  </a:cubicBezTo>
                  <a:cubicBezTo>
                    <a:pt x="68186" y="138670"/>
                    <a:pt x="65994" y="147728"/>
                    <a:pt x="56171" y="153243"/>
                  </a:cubicBezTo>
                  <a:cubicBezTo>
                    <a:pt x="42655" y="160763"/>
                    <a:pt x="43994" y="171358"/>
                    <a:pt x="28692" y="179347"/>
                  </a:cubicBezTo>
                  <a:cubicBezTo>
                    <a:pt x="25769" y="180884"/>
                    <a:pt x="12456" y="186399"/>
                    <a:pt x="13795" y="188204"/>
                  </a:cubicBezTo>
                  <a:cubicBezTo>
                    <a:pt x="15622" y="191780"/>
                    <a:pt x="16758" y="195557"/>
                    <a:pt x="17164" y="199401"/>
                  </a:cubicBezTo>
                  <a:cubicBezTo>
                    <a:pt x="19437" y="208091"/>
                    <a:pt x="26216" y="215912"/>
                    <a:pt x="28813" y="223867"/>
                  </a:cubicBezTo>
                  <a:cubicBezTo>
                    <a:pt x="33603" y="238606"/>
                    <a:pt x="25120" y="256521"/>
                    <a:pt x="26459" y="271829"/>
                  </a:cubicBezTo>
                  <a:cubicBezTo>
                    <a:pt x="36323" y="271596"/>
                    <a:pt x="45009" y="275172"/>
                    <a:pt x="46754" y="267551"/>
                  </a:cubicBezTo>
                  <a:cubicBezTo>
                    <a:pt x="49393" y="256989"/>
                    <a:pt x="40666" y="262939"/>
                    <a:pt x="38109" y="256588"/>
                  </a:cubicBezTo>
                  <a:cubicBezTo>
                    <a:pt x="33400" y="245124"/>
                    <a:pt x="90631" y="238573"/>
                    <a:pt x="100211" y="236534"/>
                  </a:cubicBezTo>
                  <a:cubicBezTo>
                    <a:pt x="120506" y="231688"/>
                    <a:pt x="114661" y="219822"/>
                    <a:pt x="118720" y="207890"/>
                  </a:cubicBezTo>
                  <a:cubicBezTo>
                    <a:pt x="122738" y="194654"/>
                    <a:pt x="120506" y="180683"/>
                    <a:pt x="112509" y="168751"/>
                  </a:cubicBezTo>
                  <a:cubicBezTo>
                    <a:pt x="108816" y="163537"/>
                    <a:pt x="105244" y="157454"/>
                    <a:pt x="107517" y="151772"/>
                  </a:cubicBezTo>
                  <a:cubicBezTo>
                    <a:pt x="109181" y="147627"/>
                    <a:pt x="113078" y="149198"/>
                    <a:pt x="117664" y="148095"/>
                  </a:cubicBezTo>
                  <a:cubicBezTo>
                    <a:pt x="122251" y="146992"/>
                    <a:pt x="124727" y="142413"/>
                    <a:pt x="126838" y="140308"/>
                  </a:cubicBezTo>
                  <a:cubicBezTo>
                    <a:pt x="132764" y="134291"/>
                    <a:pt x="146037" y="135628"/>
                    <a:pt x="154276" y="131250"/>
                  </a:cubicBezTo>
                  <a:cubicBezTo>
                    <a:pt x="163531" y="126337"/>
                    <a:pt x="169498" y="120053"/>
                    <a:pt x="180173" y="116009"/>
                  </a:cubicBezTo>
                  <a:cubicBezTo>
                    <a:pt x="200468" y="108288"/>
                    <a:pt x="226039" y="111162"/>
                    <a:pt x="245116" y="101904"/>
                  </a:cubicBezTo>
                  <a:cubicBezTo>
                    <a:pt x="252950" y="98094"/>
                    <a:pt x="283961" y="83454"/>
                    <a:pt x="280470" y="7516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20F61D58-C869-4F8E-9036-C182C1D47C83}"/>
                </a:ext>
              </a:extLst>
            </p:cNvPr>
            <p:cNvSpPr/>
            <p:nvPr/>
          </p:nvSpPr>
          <p:spPr>
            <a:xfrm>
              <a:off x="6613803" y="4883833"/>
              <a:ext cx="283067" cy="198493"/>
            </a:xfrm>
            <a:custGeom>
              <a:avLst/>
              <a:gdLst>
                <a:gd name="connsiteX0" fmla="*/ 267508 w 283067"/>
                <a:gd name="connsiteY0" fmla="*/ 167962 h 198493"/>
                <a:gd name="connsiteX1" fmla="*/ 261460 w 283067"/>
                <a:gd name="connsiteY1" fmla="*/ 155261 h 198493"/>
                <a:gd name="connsiteX2" fmla="*/ 261135 w 283067"/>
                <a:gd name="connsiteY2" fmla="*/ 137146 h 198493"/>
                <a:gd name="connsiteX3" fmla="*/ 265803 w 283067"/>
                <a:gd name="connsiteY3" fmla="*/ 123108 h 198493"/>
                <a:gd name="connsiteX4" fmla="*/ 257685 w 283067"/>
                <a:gd name="connsiteY4" fmla="*/ 113081 h 198493"/>
                <a:gd name="connsiteX5" fmla="*/ 256143 w 283067"/>
                <a:gd name="connsiteY5" fmla="*/ 99912 h 198493"/>
                <a:gd name="connsiteX6" fmla="*/ 261785 w 283067"/>
                <a:gd name="connsiteY6" fmla="*/ 78955 h 198493"/>
                <a:gd name="connsiteX7" fmla="*/ 226228 w 283067"/>
                <a:gd name="connsiteY7" fmla="*/ 55559 h 198493"/>
                <a:gd name="connsiteX8" fmla="*/ 220911 w 283067"/>
                <a:gd name="connsiteY8" fmla="*/ 44730 h 198493"/>
                <a:gd name="connsiteX9" fmla="*/ 186491 w 283067"/>
                <a:gd name="connsiteY9" fmla="*/ 29923 h 198493"/>
                <a:gd name="connsiteX10" fmla="*/ 127636 w 283067"/>
                <a:gd name="connsiteY10" fmla="*/ 5089 h 198493"/>
                <a:gd name="connsiteX11" fmla="*/ 120654 w 283067"/>
                <a:gd name="connsiteY11" fmla="*/ 16353 h 198493"/>
                <a:gd name="connsiteX12" fmla="*/ 110344 w 283067"/>
                <a:gd name="connsiteY12" fmla="*/ 21133 h 198493"/>
                <a:gd name="connsiteX13" fmla="*/ 108437 w 283067"/>
                <a:gd name="connsiteY13" fmla="*/ 30458 h 198493"/>
                <a:gd name="connsiteX14" fmla="*/ 89360 w 283067"/>
                <a:gd name="connsiteY14" fmla="*/ 26815 h 198493"/>
                <a:gd name="connsiteX15" fmla="*/ 65006 w 283067"/>
                <a:gd name="connsiteY15" fmla="*/ 25879 h 198493"/>
                <a:gd name="connsiteX16" fmla="*/ 70769 w 283067"/>
                <a:gd name="connsiteY16" fmla="*/ -91 h 198493"/>
                <a:gd name="connsiteX17" fmla="*/ 34036 w 283067"/>
                <a:gd name="connsiteY17" fmla="*/ 711 h 198493"/>
                <a:gd name="connsiteX18" fmla="*/ 40165 w 283067"/>
                <a:gd name="connsiteY18" fmla="*/ 12643 h 198493"/>
                <a:gd name="connsiteX19" fmla="*/ 37040 w 283067"/>
                <a:gd name="connsiteY19" fmla="*/ 22002 h 198493"/>
                <a:gd name="connsiteX20" fmla="*/ 29855 w 283067"/>
                <a:gd name="connsiteY20" fmla="*/ 31561 h 198493"/>
                <a:gd name="connsiteX21" fmla="*/ 33386 w 283067"/>
                <a:gd name="connsiteY21" fmla="*/ 37811 h 198493"/>
                <a:gd name="connsiteX22" fmla="*/ 14349 w 283067"/>
                <a:gd name="connsiteY22" fmla="*/ 52450 h 198493"/>
                <a:gd name="connsiteX23" fmla="*/ -60 w 283067"/>
                <a:gd name="connsiteY23" fmla="*/ 56729 h 198493"/>
                <a:gd name="connsiteX24" fmla="*/ 3715 w 283067"/>
                <a:gd name="connsiteY24" fmla="*/ 71803 h 198493"/>
                <a:gd name="connsiteX25" fmla="*/ 21534 w 283067"/>
                <a:gd name="connsiteY25" fmla="*/ 97706 h 198493"/>
                <a:gd name="connsiteX26" fmla="*/ 28475 w 283067"/>
                <a:gd name="connsiteY26" fmla="*/ 116791 h 198493"/>
                <a:gd name="connsiteX27" fmla="*/ 16988 w 283067"/>
                <a:gd name="connsiteY27" fmla="*/ 119264 h 198493"/>
                <a:gd name="connsiteX28" fmla="*/ 47755 w 283067"/>
                <a:gd name="connsiteY28" fmla="*/ 135308 h 198493"/>
                <a:gd name="connsiteX29" fmla="*/ 89360 w 283067"/>
                <a:gd name="connsiteY29" fmla="*/ 149513 h 198493"/>
                <a:gd name="connsiteX30" fmla="*/ 123414 w 283067"/>
                <a:gd name="connsiteY30" fmla="*/ 160008 h 198493"/>
                <a:gd name="connsiteX31" fmla="*/ 129990 w 283067"/>
                <a:gd name="connsiteY31" fmla="*/ 178290 h 198493"/>
                <a:gd name="connsiteX32" fmla="*/ 141599 w 283067"/>
                <a:gd name="connsiteY32" fmla="*/ 190891 h 198493"/>
                <a:gd name="connsiteX33" fmla="*/ 161569 w 283067"/>
                <a:gd name="connsiteY33" fmla="*/ 190691 h 198493"/>
                <a:gd name="connsiteX34" fmla="*/ 179509 w 283067"/>
                <a:gd name="connsiteY34" fmla="*/ 196439 h 198493"/>
                <a:gd name="connsiteX35" fmla="*/ 202036 w 283067"/>
                <a:gd name="connsiteY35" fmla="*/ 198077 h 198493"/>
                <a:gd name="connsiteX36" fmla="*/ 218679 w 283067"/>
                <a:gd name="connsiteY36" fmla="*/ 191158 h 198493"/>
                <a:gd name="connsiteX37" fmla="*/ 267955 w 283067"/>
                <a:gd name="connsiteY37" fmla="*/ 188184 h 198493"/>
                <a:gd name="connsiteX38" fmla="*/ 267224 w 283067"/>
                <a:gd name="connsiteY38" fmla="*/ 167862 h 198493"/>
                <a:gd name="connsiteX39" fmla="*/ 267508 w 283067"/>
                <a:gd name="connsiteY39" fmla="*/ 167962 h 19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3067" h="198493">
                  <a:moveTo>
                    <a:pt x="267508" y="167962"/>
                  </a:moveTo>
                  <a:cubicBezTo>
                    <a:pt x="267833" y="162916"/>
                    <a:pt x="264829" y="159673"/>
                    <a:pt x="261460" y="155261"/>
                  </a:cubicBezTo>
                  <a:cubicBezTo>
                    <a:pt x="256914" y="149312"/>
                    <a:pt x="263774" y="143196"/>
                    <a:pt x="261135" y="137146"/>
                  </a:cubicBezTo>
                  <a:cubicBezTo>
                    <a:pt x="258497" y="131096"/>
                    <a:pt x="257726" y="129091"/>
                    <a:pt x="265803" y="123108"/>
                  </a:cubicBezTo>
                  <a:cubicBezTo>
                    <a:pt x="271161" y="119198"/>
                    <a:pt x="261744" y="115721"/>
                    <a:pt x="257685" y="113081"/>
                  </a:cubicBezTo>
                  <a:cubicBezTo>
                    <a:pt x="251394" y="108602"/>
                    <a:pt x="253221" y="104658"/>
                    <a:pt x="256143" y="99912"/>
                  </a:cubicBezTo>
                  <a:cubicBezTo>
                    <a:pt x="260932" y="92124"/>
                    <a:pt x="273394" y="85473"/>
                    <a:pt x="261785" y="78955"/>
                  </a:cubicBezTo>
                  <a:cubicBezTo>
                    <a:pt x="253667" y="74443"/>
                    <a:pt x="224321" y="62778"/>
                    <a:pt x="226228" y="55559"/>
                  </a:cubicBezTo>
                  <a:cubicBezTo>
                    <a:pt x="228136" y="48339"/>
                    <a:pt x="229922" y="48640"/>
                    <a:pt x="220911" y="44730"/>
                  </a:cubicBezTo>
                  <a:cubicBezTo>
                    <a:pt x="209465" y="39740"/>
                    <a:pt x="197978" y="34803"/>
                    <a:pt x="186491" y="29923"/>
                  </a:cubicBezTo>
                  <a:cubicBezTo>
                    <a:pt x="166967" y="21567"/>
                    <a:pt x="147322" y="13288"/>
                    <a:pt x="127636" y="5089"/>
                  </a:cubicBezTo>
                  <a:cubicBezTo>
                    <a:pt x="126905" y="9381"/>
                    <a:pt x="124429" y="13345"/>
                    <a:pt x="120654" y="16353"/>
                  </a:cubicBezTo>
                  <a:cubicBezTo>
                    <a:pt x="118584" y="17924"/>
                    <a:pt x="111278" y="19361"/>
                    <a:pt x="110344" y="21133"/>
                  </a:cubicBezTo>
                  <a:cubicBezTo>
                    <a:pt x="108477" y="24475"/>
                    <a:pt x="123820" y="32463"/>
                    <a:pt x="108437" y="30458"/>
                  </a:cubicBezTo>
                  <a:cubicBezTo>
                    <a:pt x="101943" y="29622"/>
                    <a:pt x="95732" y="27951"/>
                    <a:pt x="89360" y="26815"/>
                  </a:cubicBezTo>
                  <a:cubicBezTo>
                    <a:pt x="82987" y="25678"/>
                    <a:pt x="70445" y="27483"/>
                    <a:pt x="65006" y="25879"/>
                  </a:cubicBezTo>
                  <a:cubicBezTo>
                    <a:pt x="54615" y="22737"/>
                    <a:pt x="68172" y="3485"/>
                    <a:pt x="70769" y="-91"/>
                  </a:cubicBezTo>
                  <a:cubicBezTo>
                    <a:pt x="58511" y="-596"/>
                    <a:pt x="46253" y="-329"/>
                    <a:pt x="34036" y="711"/>
                  </a:cubicBezTo>
                  <a:cubicBezTo>
                    <a:pt x="36025" y="4688"/>
                    <a:pt x="38419" y="8666"/>
                    <a:pt x="40165" y="12643"/>
                  </a:cubicBezTo>
                  <a:cubicBezTo>
                    <a:pt x="41464" y="15718"/>
                    <a:pt x="43736" y="20765"/>
                    <a:pt x="37040" y="22002"/>
                  </a:cubicBezTo>
                  <a:cubicBezTo>
                    <a:pt x="28150" y="23639"/>
                    <a:pt x="28313" y="25344"/>
                    <a:pt x="29855" y="31561"/>
                  </a:cubicBezTo>
                  <a:cubicBezTo>
                    <a:pt x="31072" y="36508"/>
                    <a:pt x="39759" y="31895"/>
                    <a:pt x="33386" y="37811"/>
                  </a:cubicBezTo>
                  <a:cubicBezTo>
                    <a:pt x="28028" y="42824"/>
                    <a:pt x="22346" y="48908"/>
                    <a:pt x="14349" y="52450"/>
                  </a:cubicBezTo>
                  <a:cubicBezTo>
                    <a:pt x="9641" y="54085"/>
                    <a:pt x="4852" y="55512"/>
                    <a:pt x="-60" y="56729"/>
                  </a:cubicBezTo>
                  <a:cubicBezTo>
                    <a:pt x="1077" y="61776"/>
                    <a:pt x="2254" y="66756"/>
                    <a:pt x="3715" y="71803"/>
                  </a:cubicBezTo>
                  <a:cubicBezTo>
                    <a:pt x="6922" y="82599"/>
                    <a:pt x="15324" y="88114"/>
                    <a:pt x="21534" y="97706"/>
                  </a:cubicBezTo>
                  <a:cubicBezTo>
                    <a:pt x="25593" y="103923"/>
                    <a:pt x="23361" y="110808"/>
                    <a:pt x="28475" y="116791"/>
                  </a:cubicBezTo>
                  <a:cubicBezTo>
                    <a:pt x="38623" y="128590"/>
                    <a:pt x="26283" y="130461"/>
                    <a:pt x="16988" y="119264"/>
                  </a:cubicBezTo>
                  <a:cubicBezTo>
                    <a:pt x="11265" y="127587"/>
                    <a:pt x="37567" y="131263"/>
                    <a:pt x="47755" y="135308"/>
                  </a:cubicBezTo>
                  <a:cubicBezTo>
                    <a:pt x="61068" y="140622"/>
                    <a:pt x="77061" y="142928"/>
                    <a:pt x="89360" y="149513"/>
                  </a:cubicBezTo>
                  <a:cubicBezTo>
                    <a:pt x="100968" y="155796"/>
                    <a:pt x="116555" y="149312"/>
                    <a:pt x="123414" y="160008"/>
                  </a:cubicBezTo>
                  <a:cubicBezTo>
                    <a:pt x="126865" y="165743"/>
                    <a:pt x="129097" y="171930"/>
                    <a:pt x="129990" y="178290"/>
                  </a:cubicBezTo>
                  <a:cubicBezTo>
                    <a:pt x="131370" y="186780"/>
                    <a:pt x="127027" y="188819"/>
                    <a:pt x="141599" y="190891"/>
                  </a:cubicBezTo>
                  <a:cubicBezTo>
                    <a:pt x="148539" y="191860"/>
                    <a:pt x="154790" y="188652"/>
                    <a:pt x="161569" y="190691"/>
                  </a:cubicBezTo>
                  <a:cubicBezTo>
                    <a:pt x="170904" y="193532"/>
                    <a:pt x="166074" y="196941"/>
                    <a:pt x="179509" y="196439"/>
                  </a:cubicBezTo>
                  <a:cubicBezTo>
                    <a:pt x="187059" y="196379"/>
                    <a:pt x="194609" y="196927"/>
                    <a:pt x="202036" y="198077"/>
                  </a:cubicBezTo>
                  <a:cubicBezTo>
                    <a:pt x="211778" y="199147"/>
                    <a:pt x="209789" y="188719"/>
                    <a:pt x="218679" y="191158"/>
                  </a:cubicBezTo>
                  <a:cubicBezTo>
                    <a:pt x="236132" y="196072"/>
                    <a:pt x="251151" y="191626"/>
                    <a:pt x="267955" y="188184"/>
                  </a:cubicBezTo>
                  <a:cubicBezTo>
                    <a:pt x="302659" y="181065"/>
                    <a:pt x="266372" y="180597"/>
                    <a:pt x="267224" y="167862"/>
                  </a:cubicBezTo>
                  <a:cubicBezTo>
                    <a:pt x="268198" y="157635"/>
                    <a:pt x="266818" y="178090"/>
                    <a:pt x="267508" y="16796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290EACE-F058-48AB-8EE6-BB3882E7D002}"/>
                </a:ext>
              </a:extLst>
            </p:cNvPr>
            <p:cNvSpPr/>
            <p:nvPr/>
          </p:nvSpPr>
          <p:spPr>
            <a:xfrm>
              <a:off x="6685081" y="5036760"/>
              <a:ext cx="81238" cy="132825"/>
            </a:xfrm>
            <a:custGeom>
              <a:avLst/>
              <a:gdLst>
                <a:gd name="connsiteX0" fmla="*/ 79251 w 81238"/>
                <a:gd name="connsiteY0" fmla="*/ 90139 h 132825"/>
                <a:gd name="connsiteX1" fmla="*/ 64313 w 81238"/>
                <a:gd name="connsiteY1" fmla="*/ 78909 h 132825"/>
                <a:gd name="connsiteX2" fmla="*/ 50391 w 81238"/>
                <a:gd name="connsiteY2" fmla="*/ 77371 h 132825"/>
                <a:gd name="connsiteX3" fmla="*/ 37159 w 81238"/>
                <a:gd name="connsiteY3" fmla="*/ 53406 h 132825"/>
                <a:gd name="connsiteX4" fmla="*/ 45277 w 81238"/>
                <a:gd name="connsiteY4" fmla="*/ 27804 h 132825"/>
                <a:gd name="connsiteX5" fmla="*/ 39757 w 81238"/>
                <a:gd name="connsiteY5" fmla="*/ 1065 h 132825"/>
                <a:gd name="connsiteX6" fmla="*/ 21532 w 81238"/>
                <a:gd name="connsiteY6" fmla="*/ -339 h 132825"/>
                <a:gd name="connsiteX7" fmla="*/ 30380 w 81238"/>
                <a:gd name="connsiteY7" fmla="*/ 17075 h 132825"/>
                <a:gd name="connsiteX8" fmla="*/ 19299 w 81238"/>
                <a:gd name="connsiteY8" fmla="*/ 21487 h 132825"/>
                <a:gd name="connsiteX9" fmla="*/ 16053 w 81238"/>
                <a:gd name="connsiteY9" fmla="*/ 37396 h 132825"/>
                <a:gd name="connsiteX10" fmla="*/ 19503 w 81238"/>
                <a:gd name="connsiteY10" fmla="*/ 49061 h 132825"/>
                <a:gd name="connsiteX11" fmla="*/ 7082 w 81238"/>
                <a:gd name="connsiteY11" fmla="*/ 51234 h 132825"/>
                <a:gd name="connsiteX12" fmla="*/ 1197 w 81238"/>
                <a:gd name="connsiteY12" fmla="*/ 67444 h 132825"/>
                <a:gd name="connsiteX13" fmla="*/ 9802 w 81238"/>
                <a:gd name="connsiteY13" fmla="*/ 77772 h 132825"/>
                <a:gd name="connsiteX14" fmla="*/ 29812 w 81238"/>
                <a:gd name="connsiteY14" fmla="*/ 83922 h 132825"/>
                <a:gd name="connsiteX15" fmla="*/ 35535 w 81238"/>
                <a:gd name="connsiteY15" fmla="*/ 109959 h 132825"/>
                <a:gd name="connsiteX16" fmla="*/ 57373 w 81238"/>
                <a:gd name="connsiteY16" fmla="*/ 132487 h 132825"/>
                <a:gd name="connsiteX17" fmla="*/ 58428 w 81238"/>
                <a:gd name="connsiteY17" fmla="*/ 119786 h 132825"/>
                <a:gd name="connsiteX18" fmla="*/ 73527 w 81238"/>
                <a:gd name="connsiteY18" fmla="*/ 115173 h 132825"/>
                <a:gd name="connsiteX19" fmla="*/ 79210 w 81238"/>
                <a:gd name="connsiteY19" fmla="*/ 90206 h 1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238" h="132825">
                  <a:moveTo>
                    <a:pt x="79251" y="90139"/>
                  </a:moveTo>
                  <a:cubicBezTo>
                    <a:pt x="74664" y="86058"/>
                    <a:pt x="69671" y="82301"/>
                    <a:pt x="64313" y="78909"/>
                  </a:cubicBezTo>
                  <a:cubicBezTo>
                    <a:pt x="64313" y="86630"/>
                    <a:pt x="53354" y="80179"/>
                    <a:pt x="50391" y="77371"/>
                  </a:cubicBezTo>
                  <a:cubicBezTo>
                    <a:pt x="43044" y="70713"/>
                    <a:pt x="38417" y="62334"/>
                    <a:pt x="37159" y="53406"/>
                  </a:cubicBezTo>
                  <a:cubicBezTo>
                    <a:pt x="36469" y="44282"/>
                    <a:pt x="47185" y="36895"/>
                    <a:pt x="45277" y="27804"/>
                  </a:cubicBezTo>
                  <a:cubicBezTo>
                    <a:pt x="44140" y="22055"/>
                    <a:pt x="29609" y="5711"/>
                    <a:pt x="39757" y="1065"/>
                  </a:cubicBezTo>
                  <a:cubicBezTo>
                    <a:pt x="33709" y="280"/>
                    <a:pt x="27621" y="-192"/>
                    <a:pt x="21532" y="-339"/>
                  </a:cubicBezTo>
                  <a:cubicBezTo>
                    <a:pt x="25347" y="4474"/>
                    <a:pt x="30989" y="11660"/>
                    <a:pt x="30380" y="17075"/>
                  </a:cubicBezTo>
                  <a:cubicBezTo>
                    <a:pt x="30096" y="19247"/>
                    <a:pt x="21126" y="17576"/>
                    <a:pt x="19299" y="21487"/>
                  </a:cubicBezTo>
                  <a:cubicBezTo>
                    <a:pt x="17148" y="26604"/>
                    <a:pt x="16053" y="31982"/>
                    <a:pt x="16053" y="37396"/>
                  </a:cubicBezTo>
                  <a:cubicBezTo>
                    <a:pt x="16053" y="39669"/>
                    <a:pt x="20112" y="47691"/>
                    <a:pt x="19503" y="49061"/>
                  </a:cubicBezTo>
                  <a:cubicBezTo>
                    <a:pt x="18285" y="51334"/>
                    <a:pt x="7326" y="47658"/>
                    <a:pt x="7082" y="51234"/>
                  </a:cubicBezTo>
                  <a:cubicBezTo>
                    <a:pt x="6757" y="54209"/>
                    <a:pt x="6270" y="66241"/>
                    <a:pt x="1197" y="67444"/>
                  </a:cubicBezTo>
                  <a:cubicBezTo>
                    <a:pt x="-3877" y="68648"/>
                    <a:pt x="7935" y="76502"/>
                    <a:pt x="9802" y="77772"/>
                  </a:cubicBezTo>
                  <a:cubicBezTo>
                    <a:pt x="16986" y="82786"/>
                    <a:pt x="19624" y="84825"/>
                    <a:pt x="29812" y="83922"/>
                  </a:cubicBezTo>
                  <a:cubicBezTo>
                    <a:pt x="58225" y="81449"/>
                    <a:pt x="32856" y="103040"/>
                    <a:pt x="35535" y="109959"/>
                  </a:cubicBezTo>
                  <a:cubicBezTo>
                    <a:pt x="36875" y="113301"/>
                    <a:pt x="57251" y="132620"/>
                    <a:pt x="57373" y="132487"/>
                  </a:cubicBezTo>
                  <a:cubicBezTo>
                    <a:pt x="60133" y="128944"/>
                    <a:pt x="56074" y="123730"/>
                    <a:pt x="58428" y="119786"/>
                  </a:cubicBezTo>
                  <a:cubicBezTo>
                    <a:pt x="61432" y="114872"/>
                    <a:pt x="67926" y="116978"/>
                    <a:pt x="73527" y="115173"/>
                  </a:cubicBezTo>
                  <a:cubicBezTo>
                    <a:pt x="79738" y="113201"/>
                    <a:pt x="83797" y="94584"/>
                    <a:pt x="79210" y="9020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AF46409A-E1E6-4D05-9AAC-05294ABCD61C}"/>
                </a:ext>
              </a:extLst>
            </p:cNvPr>
            <p:cNvSpPr/>
            <p:nvPr/>
          </p:nvSpPr>
          <p:spPr>
            <a:xfrm>
              <a:off x="9883775" y="6269561"/>
              <a:ext cx="38768" cy="67843"/>
            </a:xfrm>
            <a:custGeom>
              <a:avLst/>
              <a:gdLst>
                <a:gd name="connsiteX0" fmla="*/ 163 w 38768"/>
                <a:gd name="connsiteY0" fmla="*/ -11 h 67843"/>
                <a:gd name="connsiteX1" fmla="*/ 36978 w 38768"/>
                <a:gd name="connsiteY1" fmla="*/ 67472 h 67843"/>
                <a:gd name="connsiteX2" fmla="*/ 163 w 38768"/>
                <a:gd name="connsiteY2" fmla="*/ -11 h 6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768" h="67843">
                  <a:moveTo>
                    <a:pt x="163" y="-11"/>
                  </a:moveTo>
                  <a:cubicBezTo>
                    <a:pt x="3735" y="-5893"/>
                    <a:pt x="47897" y="69310"/>
                    <a:pt x="36978" y="67472"/>
                  </a:cubicBezTo>
                  <a:cubicBezTo>
                    <a:pt x="26059" y="65633"/>
                    <a:pt x="-2881" y="5605"/>
                    <a:pt x="163" y="-1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45B82365-671C-4A4E-9E0B-91A8031A0C65}"/>
                </a:ext>
              </a:extLst>
            </p:cNvPr>
            <p:cNvSpPr/>
            <p:nvPr/>
          </p:nvSpPr>
          <p:spPr>
            <a:xfrm>
              <a:off x="7898997" y="4300594"/>
              <a:ext cx="226718" cy="109865"/>
            </a:xfrm>
            <a:custGeom>
              <a:avLst/>
              <a:gdLst>
                <a:gd name="connsiteX0" fmla="*/ 183487 w 226718"/>
                <a:gd name="connsiteY0" fmla="*/ 91955 h 109865"/>
                <a:gd name="connsiteX1" fmla="*/ 204147 w 226718"/>
                <a:gd name="connsiteY1" fmla="*/ 102283 h 109865"/>
                <a:gd name="connsiteX2" fmla="*/ 224442 w 226718"/>
                <a:gd name="connsiteY2" fmla="*/ 108432 h 109865"/>
                <a:gd name="connsiteX3" fmla="*/ 219166 w 226718"/>
                <a:gd name="connsiteY3" fmla="*/ 78686 h 109865"/>
                <a:gd name="connsiteX4" fmla="*/ 198871 w 226718"/>
                <a:gd name="connsiteY4" fmla="*/ 60637 h 109865"/>
                <a:gd name="connsiteX5" fmla="*/ 169484 w 226718"/>
                <a:gd name="connsiteY5" fmla="*/ 48069 h 109865"/>
                <a:gd name="connsiteX6" fmla="*/ 148336 w 226718"/>
                <a:gd name="connsiteY6" fmla="*/ 42922 h 109865"/>
                <a:gd name="connsiteX7" fmla="*/ 124429 w 226718"/>
                <a:gd name="connsiteY7" fmla="*/ 33965 h 109865"/>
                <a:gd name="connsiteX8" fmla="*/ 96016 w 226718"/>
                <a:gd name="connsiteY8" fmla="*/ 26812 h 109865"/>
                <a:gd name="connsiteX9" fmla="*/ 63260 w 226718"/>
                <a:gd name="connsiteY9" fmla="*/ 20127 h 109865"/>
                <a:gd name="connsiteX10" fmla="*/ 76817 w 226718"/>
                <a:gd name="connsiteY10" fmla="*/ 13443 h 109865"/>
                <a:gd name="connsiteX11" fmla="*/ 104621 w 226718"/>
                <a:gd name="connsiteY11" fmla="*/ 11771 h 109865"/>
                <a:gd name="connsiteX12" fmla="*/ 103241 w 226718"/>
                <a:gd name="connsiteY12" fmla="*/ 2246 h 109865"/>
                <a:gd name="connsiteX13" fmla="*/ 84570 w 226718"/>
                <a:gd name="connsiteY13" fmla="*/ 2814 h 109865"/>
                <a:gd name="connsiteX14" fmla="*/ 68334 w 226718"/>
                <a:gd name="connsiteY14" fmla="*/ -328 h 109865"/>
                <a:gd name="connsiteX15" fmla="*/ 47593 w 226718"/>
                <a:gd name="connsiteY15" fmla="*/ 6557 h 109865"/>
                <a:gd name="connsiteX16" fmla="*/ 34644 w 226718"/>
                <a:gd name="connsiteY16" fmla="*/ 13744 h 109865"/>
                <a:gd name="connsiteX17" fmla="*/ 6232 w 226718"/>
                <a:gd name="connsiteY17" fmla="*/ 12273 h 109865"/>
                <a:gd name="connsiteX18" fmla="*/ 16745 w 226718"/>
                <a:gd name="connsiteY18" fmla="*/ 25642 h 109865"/>
                <a:gd name="connsiteX19" fmla="*/ 21331 w 226718"/>
                <a:gd name="connsiteY19" fmla="*/ 41117 h 109865"/>
                <a:gd name="connsiteX20" fmla="*/ 3999 w 226718"/>
                <a:gd name="connsiteY20" fmla="*/ 52749 h 109865"/>
                <a:gd name="connsiteX21" fmla="*/ -60 w 226718"/>
                <a:gd name="connsiteY21" fmla="*/ 60537 h 109865"/>
                <a:gd name="connsiteX22" fmla="*/ 14106 w 226718"/>
                <a:gd name="connsiteY22" fmla="*/ 64280 h 109865"/>
                <a:gd name="connsiteX23" fmla="*/ 42235 w 226718"/>
                <a:gd name="connsiteY23" fmla="*/ 67288 h 109865"/>
                <a:gd name="connsiteX24" fmla="*/ 55548 w 226718"/>
                <a:gd name="connsiteY24" fmla="*/ 64781 h 109865"/>
                <a:gd name="connsiteX25" fmla="*/ 77223 w 226718"/>
                <a:gd name="connsiteY25" fmla="*/ 65684 h 109865"/>
                <a:gd name="connsiteX26" fmla="*/ 94271 w 226718"/>
                <a:gd name="connsiteY26" fmla="*/ 56793 h 109865"/>
                <a:gd name="connsiteX27" fmla="*/ 114809 w 226718"/>
                <a:gd name="connsiteY27" fmla="*/ 61940 h 109865"/>
                <a:gd name="connsiteX28" fmla="*/ 121953 w 226718"/>
                <a:gd name="connsiteY28" fmla="*/ 74875 h 109865"/>
                <a:gd name="connsiteX29" fmla="*/ 112861 w 226718"/>
                <a:gd name="connsiteY29" fmla="*/ 89949 h 109865"/>
                <a:gd name="connsiteX30" fmla="*/ 182756 w 226718"/>
                <a:gd name="connsiteY30" fmla="*/ 92122 h 109865"/>
                <a:gd name="connsiteX31" fmla="*/ 183487 w 226718"/>
                <a:gd name="connsiteY31" fmla="*/ 91955 h 10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6718" h="109865">
                  <a:moveTo>
                    <a:pt x="183487" y="91955"/>
                  </a:moveTo>
                  <a:cubicBezTo>
                    <a:pt x="189779" y="96153"/>
                    <a:pt x="196719" y="99625"/>
                    <a:pt x="204147" y="102283"/>
                  </a:cubicBezTo>
                  <a:cubicBezTo>
                    <a:pt x="206217" y="103118"/>
                    <a:pt x="224199" y="112711"/>
                    <a:pt x="224442" y="108432"/>
                  </a:cubicBezTo>
                  <a:cubicBezTo>
                    <a:pt x="224889" y="99843"/>
                    <a:pt x="231627" y="86741"/>
                    <a:pt x="219166" y="78686"/>
                  </a:cubicBezTo>
                  <a:cubicBezTo>
                    <a:pt x="205608" y="69929"/>
                    <a:pt x="198871" y="71098"/>
                    <a:pt x="198871" y="60637"/>
                  </a:cubicBezTo>
                  <a:cubicBezTo>
                    <a:pt x="198871" y="49005"/>
                    <a:pt x="189007" y="51880"/>
                    <a:pt x="169484" y="48069"/>
                  </a:cubicBezTo>
                  <a:cubicBezTo>
                    <a:pt x="162178" y="46666"/>
                    <a:pt x="155643" y="44226"/>
                    <a:pt x="148336" y="42922"/>
                  </a:cubicBezTo>
                  <a:cubicBezTo>
                    <a:pt x="138351" y="41151"/>
                    <a:pt x="133359" y="34433"/>
                    <a:pt x="124429" y="33965"/>
                  </a:cubicBezTo>
                  <a:cubicBezTo>
                    <a:pt x="111765" y="33296"/>
                    <a:pt x="107544" y="29720"/>
                    <a:pt x="96016" y="26812"/>
                  </a:cubicBezTo>
                  <a:cubicBezTo>
                    <a:pt x="86396" y="24339"/>
                    <a:pt x="71662" y="24105"/>
                    <a:pt x="63260" y="20127"/>
                  </a:cubicBezTo>
                  <a:cubicBezTo>
                    <a:pt x="56482" y="17052"/>
                    <a:pt x="74544" y="13443"/>
                    <a:pt x="76817" y="13443"/>
                  </a:cubicBezTo>
                  <a:cubicBezTo>
                    <a:pt x="90577" y="12072"/>
                    <a:pt x="93946" y="18155"/>
                    <a:pt x="104621" y="11771"/>
                  </a:cubicBezTo>
                  <a:cubicBezTo>
                    <a:pt x="109167" y="9031"/>
                    <a:pt x="117773" y="3315"/>
                    <a:pt x="103241" y="2246"/>
                  </a:cubicBezTo>
                  <a:cubicBezTo>
                    <a:pt x="96706" y="1778"/>
                    <a:pt x="91064" y="3716"/>
                    <a:pt x="84570" y="2814"/>
                  </a:cubicBezTo>
                  <a:cubicBezTo>
                    <a:pt x="79415" y="2112"/>
                    <a:pt x="73651" y="-528"/>
                    <a:pt x="68334" y="-328"/>
                  </a:cubicBezTo>
                  <a:cubicBezTo>
                    <a:pt x="59161" y="-94"/>
                    <a:pt x="60784" y="9265"/>
                    <a:pt x="47593" y="6557"/>
                  </a:cubicBezTo>
                  <a:cubicBezTo>
                    <a:pt x="39475" y="4920"/>
                    <a:pt x="42073" y="13543"/>
                    <a:pt x="34644" y="13744"/>
                  </a:cubicBezTo>
                  <a:cubicBezTo>
                    <a:pt x="25715" y="14011"/>
                    <a:pt x="14634" y="10401"/>
                    <a:pt x="6232" y="12273"/>
                  </a:cubicBezTo>
                  <a:cubicBezTo>
                    <a:pt x="-3672" y="14312"/>
                    <a:pt x="13579" y="22768"/>
                    <a:pt x="16745" y="25642"/>
                  </a:cubicBezTo>
                  <a:cubicBezTo>
                    <a:pt x="21088" y="29352"/>
                    <a:pt x="19951" y="36873"/>
                    <a:pt x="21331" y="41117"/>
                  </a:cubicBezTo>
                  <a:cubicBezTo>
                    <a:pt x="23117" y="46566"/>
                    <a:pt x="7815" y="48437"/>
                    <a:pt x="3999" y="52749"/>
                  </a:cubicBezTo>
                  <a:cubicBezTo>
                    <a:pt x="1970" y="55062"/>
                    <a:pt x="549" y="57722"/>
                    <a:pt x="-60" y="60537"/>
                  </a:cubicBezTo>
                  <a:cubicBezTo>
                    <a:pt x="3107" y="62475"/>
                    <a:pt x="9844" y="67221"/>
                    <a:pt x="14106" y="64280"/>
                  </a:cubicBezTo>
                  <a:cubicBezTo>
                    <a:pt x="19626" y="60670"/>
                    <a:pt x="34888" y="66419"/>
                    <a:pt x="42235" y="67288"/>
                  </a:cubicBezTo>
                  <a:cubicBezTo>
                    <a:pt x="47593" y="67890"/>
                    <a:pt x="49054" y="64414"/>
                    <a:pt x="55548" y="64781"/>
                  </a:cubicBezTo>
                  <a:cubicBezTo>
                    <a:pt x="62042" y="65149"/>
                    <a:pt x="71784" y="67355"/>
                    <a:pt x="77223" y="65684"/>
                  </a:cubicBezTo>
                  <a:cubicBezTo>
                    <a:pt x="83718" y="63578"/>
                    <a:pt x="86031" y="58698"/>
                    <a:pt x="94271" y="56793"/>
                  </a:cubicBezTo>
                  <a:cubicBezTo>
                    <a:pt x="101861" y="55022"/>
                    <a:pt x="117123" y="54320"/>
                    <a:pt x="114809" y="61940"/>
                  </a:cubicBezTo>
                  <a:cubicBezTo>
                    <a:pt x="112820" y="68458"/>
                    <a:pt x="117894" y="68993"/>
                    <a:pt x="121953" y="74875"/>
                  </a:cubicBezTo>
                  <a:cubicBezTo>
                    <a:pt x="126012" y="80758"/>
                    <a:pt x="113186" y="84702"/>
                    <a:pt x="112861" y="89949"/>
                  </a:cubicBezTo>
                  <a:cubicBezTo>
                    <a:pt x="111806" y="104756"/>
                    <a:pt x="176425" y="88211"/>
                    <a:pt x="182756" y="92122"/>
                  </a:cubicBezTo>
                  <a:cubicBezTo>
                    <a:pt x="189089" y="96032"/>
                    <a:pt x="178657" y="89013"/>
                    <a:pt x="183487" y="9195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65A58D7E-AA8A-4A67-8C2F-1FC535C7FAD9}"/>
                </a:ext>
              </a:extLst>
            </p:cNvPr>
            <p:cNvSpPr/>
            <p:nvPr/>
          </p:nvSpPr>
          <p:spPr>
            <a:xfrm>
              <a:off x="3446904" y="4834800"/>
              <a:ext cx="31155" cy="19424"/>
            </a:xfrm>
            <a:custGeom>
              <a:avLst/>
              <a:gdLst>
                <a:gd name="connsiteX0" fmla="*/ 30672 w 31155"/>
                <a:gd name="connsiteY0" fmla="*/ 18493 h 19424"/>
                <a:gd name="connsiteX1" fmla="*/ -54 w 31155"/>
                <a:gd name="connsiteY1" fmla="*/ 4088 h 19424"/>
                <a:gd name="connsiteX2" fmla="*/ 16182 w 31155"/>
                <a:gd name="connsiteY2" fmla="*/ 6360 h 19424"/>
                <a:gd name="connsiteX3" fmla="*/ 30713 w 31155"/>
                <a:gd name="connsiteY3" fmla="*/ 18493 h 19424"/>
                <a:gd name="connsiteX4" fmla="*/ 30672 w 31155"/>
                <a:gd name="connsiteY4" fmla="*/ 18493 h 1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5" h="19424">
                  <a:moveTo>
                    <a:pt x="30672" y="18493"/>
                  </a:moveTo>
                  <a:cubicBezTo>
                    <a:pt x="29941" y="21000"/>
                    <a:pt x="189" y="9870"/>
                    <a:pt x="-54" y="4088"/>
                  </a:cubicBezTo>
                  <a:cubicBezTo>
                    <a:pt x="-379" y="-5438"/>
                    <a:pt x="14680" y="2851"/>
                    <a:pt x="16182" y="6360"/>
                  </a:cubicBezTo>
                  <a:cubicBezTo>
                    <a:pt x="18049" y="10872"/>
                    <a:pt x="31930" y="14382"/>
                    <a:pt x="30713" y="18493"/>
                  </a:cubicBezTo>
                  <a:cubicBezTo>
                    <a:pt x="29779" y="21133"/>
                    <a:pt x="31971" y="13814"/>
                    <a:pt x="30672" y="1849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DA30E067-0ECD-489C-81CA-969944CBDC25}"/>
                </a:ext>
              </a:extLst>
            </p:cNvPr>
            <p:cNvSpPr/>
            <p:nvPr/>
          </p:nvSpPr>
          <p:spPr>
            <a:xfrm>
              <a:off x="3444797" y="4833596"/>
              <a:ext cx="34813" cy="22308"/>
            </a:xfrm>
            <a:custGeom>
              <a:avLst/>
              <a:gdLst>
                <a:gd name="connsiteX0" fmla="*/ 32170 w 34813"/>
                <a:gd name="connsiteY0" fmla="*/ 21969 h 22308"/>
                <a:gd name="connsiteX1" fmla="*/ 30993 w 34813"/>
                <a:gd name="connsiteY1" fmla="*/ 21268 h 22308"/>
                <a:gd name="connsiteX2" fmla="*/ 30993 w 34813"/>
                <a:gd name="connsiteY2" fmla="*/ 21268 h 22308"/>
                <a:gd name="connsiteX3" fmla="*/ 25960 w 34813"/>
                <a:gd name="connsiteY3" fmla="*/ 20298 h 22308"/>
                <a:gd name="connsiteX4" fmla="*/ 23 w 34813"/>
                <a:gd name="connsiteY4" fmla="*/ 5659 h 22308"/>
                <a:gd name="connsiteX5" fmla="*/ 3717 w 34813"/>
                <a:gd name="connsiteY5" fmla="*/ 77 h 22308"/>
                <a:gd name="connsiteX6" fmla="*/ 8425 w 34813"/>
                <a:gd name="connsiteY6" fmla="*/ -123 h 22308"/>
                <a:gd name="connsiteX7" fmla="*/ 19993 w 34813"/>
                <a:gd name="connsiteY7" fmla="*/ 6996 h 22308"/>
                <a:gd name="connsiteX8" fmla="*/ 27177 w 34813"/>
                <a:gd name="connsiteY8" fmla="*/ 12343 h 22308"/>
                <a:gd name="connsiteX9" fmla="*/ 33753 w 34813"/>
                <a:gd name="connsiteY9" fmla="*/ 16755 h 22308"/>
                <a:gd name="connsiteX10" fmla="*/ 33753 w 34813"/>
                <a:gd name="connsiteY10" fmla="*/ 16755 h 22308"/>
                <a:gd name="connsiteX11" fmla="*/ 34483 w 34813"/>
                <a:gd name="connsiteY11" fmla="*/ 17223 h 22308"/>
                <a:gd name="connsiteX12" fmla="*/ 34727 w 34813"/>
                <a:gd name="connsiteY12" fmla="*/ 18092 h 22308"/>
                <a:gd name="connsiteX13" fmla="*/ 34727 w 34813"/>
                <a:gd name="connsiteY13" fmla="*/ 18092 h 22308"/>
                <a:gd name="connsiteX14" fmla="*/ 34727 w 34813"/>
                <a:gd name="connsiteY14" fmla="*/ 18694 h 22308"/>
                <a:gd name="connsiteX15" fmla="*/ 34402 w 34813"/>
                <a:gd name="connsiteY15" fmla="*/ 19763 h 22308"/>
                <a:gd name="connsiteX16" fmla="*/ 34402 w 34813"/>
                <a:gd name="connsiteY16" fmla="*/ 20298 h 22308"/>
                <a:gd name="connsiteX17" fmla="*/ 34402 w 34813"/>
                <a:gd name="connsiteY17" fmla="*/ 20298 h 22308"/>
                <a:gd name="connsiteX18" fmla="*/ 33793 w 34813"/>
                <a:gd name="connsiteY18" fmla="*/ 21134 h 22308"/>
                <a:gd name="connsiteX19" fmla="*/ 4731 w 34813"/>
                <a:gd name="connsiteY19" fmla="*/ 2283 h 22308"/>
                <a:gd name="connsiteX20" fmla="*/ 3879 w 34813"/>
                <a:gd name="connsiteY20" fmla="*/ 5091 h 22308"/>
                <a:gd name="connsiteX21" fmla="*/ 30546 w 34813"/>
                <a:gd name="connsiteY21" fmla="*/ 18861 h 22308"/>
                <a:gd name="connsiteX22" fmla="*/ 24255 w 34813"/>
                <a:gd name="connsiteY22" fmla="*/ 14483 h 22308"/>
                <a:gd name="connsiteX23" fmla="*/ 16137 w 34813"/>
                <a:gd name="connsiteY23" fmla="*/ 8299 h 22308"/>
                <a:gd name="connsiteX24" fmla="*/ 6314 w 34813"/>
                <a:gd name="connsiteY24" fmla="*/ 2350 h 22308"/>
                <a:gd name="connsiteX25" fmla="*/ 4731 w 34813"/>
                <a:gd name="connsiteY25" fmla="*/ 2283 h 2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13" h="22308">
                  <a:moveTo>
                    <a:pt x="32170" y="21969"/>
                  </a:moveTo>
                  <a:lnTo>
                    <a:pt x="30993" y="21268"/>
                  </a:lnTo>
                  <a:lnTo>
                    <a:pt x="30993" y="21268"/>
                  </a:lnTo>
                  <a:cubicBezTo>
                    <a:pt x="29268" y="21144"/>
                    <a:pt x="27571" y="20816"/>
                    <a:pt x="25960" y="20298"/>
                  </a:cubicBezTo>
                  <a:cubicBezTo>
                    <a:pt x="18694" y="18260"/>
                    <a:pt x="226" y="10906"/>
                    <a:pt x="23" y="5659"/>
                  </a:cubicBezTo>
                  <a:cubicBezTo>
                    <a:pt x="-440" y="3322"/>
                    <a:pt x="1082" y="1023"/>
                    <a:pt x="3717" y="77"/>
                  </a:cubicBezTo>
                  <a:cubicBezTo>
                    <a:pt x="5222" y="-398"/>
                    <a:pt x="6870" y="-468"/>
                    <a:pt x="8425" y="-123"/>
                  </a:cubicBezTo>
                  <a:cubicBezTo>
                    <a:pt x="13251" y="933"/>
                    <a:pt x="17395" y="3483"/>
                    <a:pt x="19993" y="6996"/>
                  </a:cubicBezTo>
                  <a:cubicBezTo>
                    <a:pt x="20724" y="8801"/>
                    <a:pt x="24052" y="10605"/>
                    <a:pt x="27177" y="12343"/>
                  </a:cubicBezTo>
                  <a:cubicBezTo>
                    <a:pt x="29661" y="13490"/>
                    <a:pt x="31886" y="14984"/>
                    <a:pt x="33753" y="16755"/>
                  </a:cubicBezTo>
                  <a:lnTo>
                    <a:pt x="33753" y="16755"/>
                  </a:lnTo>
                  <a:lnTo>
                    <a:pt x="34483" y="17223"/>
                  </a:lnTo>
                  <a:cubicBezTo>
                    <a:pt x="34715" y="17471"/>
                    <a:pt x="34804" y="17788"/>
                    <a:pt x="34727" y="18092"/>
                  </a:cubicBezTo>
                  <a:lnTo>
                    <a:pt x="34727" y="18092"/>
                  </a:lnTo>
                  <a:cubicBezTo>
                    <a:pt x="34747" y="18293"/>
                    <a:pt x="34747" y="18493"/>
                    <a:pt x="34727" y="18694"/>
                  </a:cubicBezTo>
                  <a:cubicBezTo>
                    <a:pt x="34658" y="19058"/>
                    <a:pt x="34548" y="19416"/>
                    <a:pt x="34402" y="19763"/>
                  </a:cubicBezTo>
                  <a:cubicBezTo>
                    <a:pt x="34427" y="19941"/>
                    <a:pt x="34427" y="20121"/>
                    <a:pt x="34402" y="20298"/>
                  </a:cubicBezTo>
                  <a:lnTo>
                    <a:pt x="34402" y="20298"/>
                  </a:lnTo>
                  <a:cubicBezTo>
                    <a:pt x="34277" y="20609"/>
                    <a:pt x="34069" y="20893"/>
                    <a:pt x="33793" y="21134"/>
                  </a:cubicBezTo>
                  <a:close/>
                  <a:moveTo>
                    <a:pt x="4731" y="2283"/>
                  </a:moveTo>
                  <a:cubicBezTo>
                    <a:pt x="4528" y="2283"/>
                    <a:pt x="3798" y="3052"/>
                    <a:pt x="3879" y="5091"/>
                  </a:cubicBezTo>
                  <a:cubicBezTo>
                    <a:pt x="3879" y="9335"/>
                    <a:pt x="23890" y="17457"/>
                    <a:pt x="30546" y="18861"/>
                  </a:cubicBezTo>
                  <a:cubicBezTo>
                    <a:pt x="28821" y="17073"/>
                    <a:pt x="26682" y="15585"/>
                    <a:pt x="24255" y="14483"/>
                  </a:cubicBezTo>
                  <a:cubicBezTo>
                    <a:pt x="20805" y="12577"/>
                    <a:pt x="17233" y="10639"/>
                    <a:pt x="16137" y="8299"/>
                  </a:cubicBezTo>
                  <a:cubicBezTo>
                    <a:pt x="13836" y="5411"/>
                    <a:pt x="10349" y="3299"/>
                    <a:pt x="6314" y="2350"/>
                  </a:cubicBezTo>
                  <a:cubicBezTo>
                    <a:pt x="5803" y="2220"/>
                    <a:pt x="5259" y="2196"/>
                    <a:pt x="4731" y="228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821FC52E-2E87-42B6-90DE-36922CAC5004}"/>
                </a:ext>
              </a:extLst>
            </p:cNvPr>
            <p:cNvSpPr/>
            <p:nvPr/>
          </p:nvSpPr>
          <p:spPr>
            <a:xfrm>
              <a:off x="4022981" y="4932239"/>
              <a:ext cx="26786" cy="17173"/>
            </a:xfrm>
            <a:custGeom>
              <a:avLst/>
              <a:gdLst>
                <a:gd name="connsiteX0" fmla="*/ 5113 w 26786"/>
                <a:gd name="connsiteY0" fmla="*/ 16378 h 17173"/>
                <a:gd name="connsiteX1" fmla="*/ 1379 w 26786"/>
                <a:gd name="connsiteY1" fmla="*/ 8924 h 17173"/>
                <a:gd name="connsiteX2" fmla="*/ 12217 w 26786"/>
                <a:gd name="connsiteY2" fmla="*/ 1237 h 17173"/>
                <a:gd name="connsiteX3" fmla="*/ 5113 w 26786"/>
                <a:gd name="connsiteY3" fmla="*/ 16378 h 1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86" h="17173">
                  <a:moveTo>
                    <a:pt x="5113" y="16378"/>
                  </a:moveTo>
                  <a:cubicBezTo>
                    <a:pt x="161" y="15241"/>
                    <a:pt x="8604" y="8924"/>
                    <a:pt x="1379" y="8924"/>
                  </a:cubicBezTo>
                  <a:cubicBezTo>
                    <a:pt x="-4831" y="8924"/>
                    <a:pt x="10999" y="1605"/>
                    <a:pt x="12217" y="1237"/>
                  </a:cubicBezTo>
                  <a:cubicBezTo>
                    <a:pt x="38884" y="-7119"/>
                    <a:pt x="24150" y="20689"/>
                    <a:pt x="5113" y="1637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7C7A7C72-431B-48B1-B94B-F004DFA9228B}"/>
                </a:ext>
              </a:extLst>
            </p:cNvPr>
            <p:cNvSpPr/>
            <p:nvPr/>
          </p:nvSpPr>
          <p:spPr>
            <a:xfrm>
              <a:off x="4020970" y="4931968"/>
              <a:ext cx="30640" cy="18636"/>
            </a:xfrm>
            <a:custGeom>
              <a:avLst/>
              <a:gdLst>
                <a:gd name="connsiteX0" fmla="*/ 16420 w 30640"/>
                <a:gd name="connsiteY0" fmla="*/ 17552 h 18636"/>
                <a:gd name="connsiteX1" fmla="*/ 7937 w 30640"/>
                <a:gd name="connsiteY1" fmla="*/ 18086 h 18636"/>
                <a:gd name="connsiteX2" fmla="*/ 7328 w 30640"/>
                <a:gd name="connsiteY2" fmla="*/ 18086 h 18636"/>
                <a:gd name="connsiteX3" fmla="*/ 7328 w 30640"/>
                <a:gd name="connsiteY3" fmla="*/ 18086 h 18636"/>
                <a:gd name="connsiteX4" fmla="*/ 6800 w 30640"/>
                <a:gd name="connsiteY4" fmla="*/ 18086 h 18636"/>
                <a:gd name="connsiteX5" fmla="*/ 6232 w 30640"/>
                <a:gd name="connsiteY5" fmla="*/ 18086 h 18636"/>
                <a:gd name="connsiteX6" fmla="*/ 6232 w 30640"/>
                <a:gd name="connsiteY6" fmla="*/ 18086 h 18636"/>
                <a:gd name="connsiteX7" fmla="*/ 5664 w 30640"/>
                <a:gd name="connsiteY7" fmla="*/ 18086 h 18636"/>
                <a:gd name="connsiteX8" fmla="*/ 4933 w 30640"/>
                <a:gd name="connsiteY8" fmla="*/ 18086 h 18636"/>
                <a:gd name="connsiteX9" fmla="*/ 4933 w 30640"/>
                <a:gd name="connsiteY9" fmla="*/ 18086 h 18636"/>
                <a:gd name="connsiteX10" fmla="*/ 3999 w 30640"/>
                <a:gd name="connsiteY10" fmla="*/ 17050 h 18636"/>
                <a:gd name="connsiteX11" fmla="*/ 3999 w 30640"/>
                <a:gd name="connsiteY11" fmla="*/ 13708 h 18636"/>
                <a:gd name="connsiteX12" fmla="*/ 4284 w 30640"/>
                <a:gd name="connsiteY12" fmla="*/ 11435 h 18636"/>
                <a:gd name="connsiteX13" fmla="*/ 2863 w 30640"/>
                <a:gd name="connsiteY13" fmla="*/ 11201 h 18636"/>
                <a:gd name="connsiteX14" fmla="*/ -60 w 30640"/>
                <a:gd name="connsiteY14" fmla="*/ 9831 h 18636"/>
                <a:gd name="connsiteX15" fmla="*/ 13498 w 30640"/>
                <a:gd name="connsiteY15" fmla="*/ 1341 h 18636"/>
                <a:gd name="connsiteX16" fmla="*/ 25674 w 30640"/>
                <a:gd name="connsiteY16" fmla="*/ -163 h 18636"/>
                <a:gd name="connsiteX17" fmla="*/ 30261 w 30640"/>
                <a:gd name="connsiteY17" fmla="*/ 3180 h 18636"/>
                <a:gd name="connsiteX18" fmla="*/ 16420 w 30640"/>
                <a:gd name="connsiteY18" fmla="*/ 17552 h 18636"/>
                <a:gd name="connsiteX19" fmla="*/ 4243 w 30640"/>
                <a:gd name="connsiteY19" fmla="*/ 8093 h 18636"/>
                <a:gd name="connsiteX20" fmla="*/ 7531 w 30640"/>
                <a:gd name="connsiteY20" fmla="*/ 8995 h 18636"/>
                <a:gd name="connsiteX21" fmla="*/ 7531 w 30640"/>
                <a:gd name="connsiteY21" fmla="*/ 12939 h 18636"/>
                <a:gd name="connsiteX22" fmla="*/ 7774 w 30640"/>
                <a:gd name="connsiteY22" fmla="*/ 15546 h 18636"/>
                <a:gd name="connsiteX23" fmla="*/ 15364 w 30640"/>
                <a:gd name="connsiteY23" fmla="*/ 15546 h 18636"/>
                <a:gd name="connsiteX24" fmla="*/ 26405 w 30640"/>
                <a:gd name="connsiteY24" fmla="*/ 3280 h 18636"/>
                <a:gd name="connsiteX25" fmla="*/ 16501 w 30640"/>
                <a:gd name="connsiteY25" fmla="*/ 2110 h 18636"/>
                <a:gd name="connsiteX26" fmla="*/ 14512 w 30640"/>
                <a:gd name="connsiteY26" fmla="*/ 2678 h 18636"/>
                <a:gd name="connsiteX27" fmla="*/ 4284 w 30640"/>
                <a:gd name="connsiteY27" fmla="*/ 8059 h 1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640" h="18636">
                  <a:moveTo>
                    <a:pt x="16420" y="17552"/>
                  </a:moveTo>
                  <a:cubicBezTo>
                    <a:pt x="13692" y="18310"/>
                    <a:pt x="10774" y="18494"/>
                    <a:pt x="7937" y="18086"/>
                  </a:cubicBezTo>
                  <a:lnTo>
                    <a:pt x="7328" y="18086"/>
                  </a:lnTo>
                  <a:lnTo>
                    <a:pt x="7328" y="18086"/>
                  </a:lnTo>
                  <a:lnTo>
                    <a:pt x="6800" y="18086"/>
                  </a:lnTo>
                  <a:lnTo>
                    <a:pt x="6232" y="18086"/>
                  </a:lnTo>
                  <a:lnTo>
                    <a:pt x="6232" y="18086"/>
                  </a:lnTo>
                  <a:lnTo>
                    <a:pt x="5664" y="18086"/>
                  </a:lnTo>
                  <a:lnTo>
                    <a:pt x="4933" y="18086"/>
                  </a:lnTo>
                  <a:lnTo>
                    <a:pt x="4933" y="18086"/>
                  </a:lnTo>
                  <a:cubicBezTo>
                    <a:pt x="4121" y="17853"/>
                    <a:pt x="3878" y="17619"/>
                    <a:pt x="3999" y="17050"/>
                  </a:cubicBezTo>
                  <a:cubicBezTo>
                    <a:pt x="3545" y="15967"/>
                    <a:pt x="3545" y="14791"/>
                    <a:pt x="3999" y="13708"/>
                  </a:cubicBezTo>
                  <a:cubicBezTo>
                    <a:pt x="4324" y="12806"/>
                    <a:pt x="4690" y="11770"/>
                    <a:pt x="4284" y="11435"/>
                  </a:cubicBezTo>
                  <a:cubicBezTo>
                    <a:pt x="3849" y="11238"/>
                    <a:pt x="3354" y="11158"/>
                    <a:pt x="2863" y="11201"/>
                  </a:cubicBezTo>
                  <a:cubicBezTo>
                    <a:pt x="346" y="11201"/>
                    <a:pt x="-19" y="10232"/>
                    <a:pt x="-60" y="9831"/>
                  </a:cubicBezTo>
                  <a:cubicBezTo>
                    <a:pt x="-60" y="7057"/>
                    <a:pt x="13376" y="1375"/>
                    <a:pt x="13498" y="1341"/>
                  </a:cubicBezTo>
                  <a:cubicBezTo>
                    <a:pt x="17293" y="-126"/>
                    <a:pt x="21526" y="-647"/>
                    <a:pt x="25674" y="-163"/>
                  </a:cubicBezTo>
                  <a:cubicBezTo>
                    <a:pt x="27846" y="151"/>
                    <a:pt x="29620" y="1442"/>
                    <a:pt x="30261" y="3180"/>
                  </a:cubicBezTo>
                  <a:cubicBezTo>
                    <a:pt x="32088" y="6856"/>
                    <a:pt x="25918" y="15012"/>
                    <a:pt x="16420" y="17552"/>
                  </a:cubicBezTo>
                  <a:close/>
                  <a:moveTo>
                    <a:pt x="4243" y="8093"/>
                  </a:moveTo>
                  <a:cubicBezTo>
                    <a:pt x="5436" y="8059"/>
                    <a:pt x="6601" y="8380"/>
                    <a:pt x="7531" y="8995"/>
                  </a:cubicBezTo>
                  <a:cubicBezTo>
                    <a:pt x="8749" y="10031"/>
                    <a:pt x="8221" y="11569"/>
                    <a:pt x="7531" y="12939"/>
                  </a:cubicBezTo>
                  <a:cubicBezTo>
                    <a:pt x="6841" y="14310"/>
                    <a:pt x="6841" y="15346"/>
                    <a:pt x="7774" y="15546"/>
                  </a:cubicBezTo>
                  <a:cubicBezTo>
                    <a:pt x="10246" y="16168"/>
                    <a:pt x="12889" y="16168"/>
                    <a:pt x="15364" y="15546"/>
                  </a:cubicBezTo>
                  <a:cubicBezTo>
                    <a:pt x="22630" y="13608"/>
                    <a:pt x="27826" y="6923"/>
                    <a:pt x="26405" y="3280"/>
                  </a:cubicBezTo>
                  <a:cubicBezTo>
                    <a:pt x="25309" y="439"/>
                    <a:pt x="20398" y="1074"/>
                    <a:pt x="16501" y="2110"/>
                  </a:cubicBezTo>
                  <a:cubicBezTo>
                    <a:pt x="15852" y="2110"/>
                    <a:pt x="15202" y="2444"/>
                    <a:pt x="14512" y="2678"/>
                  </a:cubicBezTo>
                  <a:cubicBezTo>
                    <a:pt x="10896" y="4192"/>
                    <a:pt x="7470" y="5994"/>
                    <a:pt x="4284" y="805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4FD8E2-B3EB-4419-B88D-1E1CCAAD0E9B}"/>
                </a:ext>
              </a:extLst>
            </p:cNvPr>
            <p:cNvSpPr/>
            <p:nvPr/>
          </p:nvSpPr>
          <p:spPr>
            <a:xfrm>
              <a:off x="7137533" y="4156516"/>
              <a:ext cx="98267" cy="55188"/>
            </a:xfrm>
            <a:custGeom>
              <a:avLst/>
              <a:gdLst>
                <a:gd name="connsiteX0" fmla="*/ 93662 w 98267"/>
                <a:gd name="connsiteY0" fmla="*/ 45184 h 55188"/>
                <a:gd name="connsiteX1" fmla="*/ 77426 w 98267"/>
                <a:gd name="connsiteY1" fmla="*/ 32884 h 55188"/>
                <a:gd name="connsiteX2" fmla="*/ 67603 w 98267"/>
                <a:gd name="connsiteY2" fmla="*/ 18011 h 55188"/>
                <a:gd name="connsiteX3" fmla="*/ 51367 w 98267"/>
                <a:gd name="connsiteY3" fmla="*/ 2603 h 55188"/>
                <a:gd name="connsiteX4" fmla="*/ -60 w 98267"/>
                <a:gd name="connsiteY4" fmla="*/ -339 h 55188"/>
                <a:gd name="connsiteX5" fmla="*/ 11792 w 98267"/>
                <a:gd name="connsiteY5" fmla="*/ 19013 h 55188"/>
                <a:gd name="connsiteX6" fmla="*/ 32818 w 98267"/>
                <a:gd name="connsiteY6" fmla="*/ 29041 h 55188"/>
                <a:gd name="connsiteX7" fmla="*/ 58146 w 98267"/>
                <a:gd name="connsiteY7" fmla="*/ 39803 h 55188"/>
                <a:gd name="connsiteX8" fmla="*/ 77507 w 98267"/>
                <a:gd name="connsiteY8" fmla="*/ 54275 h 55188"/>
                <a:gd name="connsiteX9" fmla="*/ 98208 w 98267"/>
                <a:gd name="connsiteY9" fmla="*/ 54275 h 55188"/>
                <a:gd name="connsiteX10" fmla="*/ 93662 w 98267"/>
                <a:gd name="connsiteY10" fmla="*/ 45184 h 55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267" h="55188">
                  <a:moveTo>
                    <a:pt x="93662" y="45184"/>
                  </a:moveTo>
                  <a:cubicBezTo>
                    <a:pt x="94433" y="41006"/>
                    <a:pt x="80633" y="36561"/>
                    <a:pt x="77426" y="32884"/>
                  </a:cubicBezTo>
                  <a:cubicBezTo>
                    <a:pt x="73570" y="28212"/>
                    <a:pt x="70242" y="23228"/>
                    <a:pt x="67603" y="18011"/>
                  </a:cubicBezTo>
                  <a:cubicBezTo>
                    <a:pt x="64031" y="10858"/>
                    <a:pt x="67603" y="5978"/>
                    <a:pt x="51367" y="2603"/>
                  </a:cubicBezTo>
                  <a:cubicBezTo>
                    <a:pt x="33589" y="-1141"/>
                    <a:pt x="17759" y="196"/>
                    <a:pt x="-60" y="-339"/>
                  </a:cubicBezTo>
                  <a:cubicBezTo>
                    <a:pt x="5461" y="5510"/>
                    <a:pt x="-872" y="15036"/>
                    <a:pt x="11792" y="19013"/>
                  </a:cubicBezTo>
                  <a:cubicBezTo>
                    <a:pt x="24456" y="22991"/>
                    <a:pt x="28556" y="19682"/>
                    <a:pt x="32818" y="29041"/>
                  </a:cubicBezTo>
                  <a:cubicBezTo>
                    <a:pt x="40936" y="29609"/>
                    <a:pt x="50637" y="36995"/>
                    <a:pt x="58146" y="39803"/>
                  </a:cubicBezTo>
                  <a:cubicBezTo>
                    <a:pt x="67968" y="43446"/>
                    <a:pt x="81160" y="45585"/>
                    <a:pt x="77507" y="54275"/>
                  </a:cubicBezTo>
                  <a:cubicBezTo>
                    <a:pt x="84367" y="55041"/>
                    <a:pt x="91348" y="55041"/>
                    <a:pt x="98208" y="54275"/>
                  </a:cubicBezTo>
                  <a:cubicBezTo>
                    <a:pt x="95773" y="51615"/>
                    <a:pt x="94190" y="48486"/>
                    <a:pt x="93662" y="4518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E30DD341-E907-4AB9-9427-DC5F3350AA58}"/>
                </a:ext>
              </a:extLst>
            </p:cNvPr>
            <p:cNvSpPr/>
            <p:nvPr/>
          </p:nvSpPr>
          <p:spPr>
            <a:xfrm>
              <a:off x="7181167" y="4154036"/>
              <a:ext cx="154761" cy="77047"/>
            </a:xfrm>
            <a:custGeom>
              <a:avLst/>
              <a:gdLst>
                <a:gd name="connsiteX0" fmla="*/ 151827 w 154761"/>
                <a:gd name="connsiteY0" fmla="*/ 34227 h 77047"/>
                <a:gd name="connsiteX1" fmla="*/ 127473 w 154761"/>
                <a:gd name="connsiteY1" fmla="*/ 11065 h 77047"/>
                <a:gd name="connsiteX2" fmla="*/ 108599 w 154761"/>
                <a:gd name="connsiteY2" fmla="*/ 15143 h 77047"/>
                <a:gd name="connsiteX3" fmla="*/ 101293 w 154761"/>
                <a:gd name="connsiteY3" fmla="*/ 17382 h 77047"/>
                <a:gd name="connsiteX4" fmla="*/ 91470 w 154761"/>
                <a:gd name="connsiteY4" fmla="*/ 14608 h 77047"/>
                <a:gd name="connsiteX5" fmla="*/ 53803 w 154761"/>
                <a:gd name="connsiteY5" fmla="*/ 2040 h 77047"/>
                <a:gd name="connsiteX6" fmla="*/ 62205 w 154761"/>
                <a:gd name="connsiteY6" fmla="*/ 11566 h 77047"/>
                <a:gd name="connsiteX7" fmla="*/ 40570 w 154761"/>
                <a:gd name="connsiteY7" fmla="*/ 11132 h 77047"/>
                <a:gd name="connsiteX8" fmla="*/ 19708 w 154761"/>
                <a:gd name="connsiteY8" fmla="*/ 10229 h 77047"/>
                <a:gd name="connsiteX9" fmla="*/ 33792 w 154761"/>
                <a:gd name="connsiteY9" fmla="*/ 35364 h 77047"/>
                <a:gd name="connsiteX10" fmla="*/ 48973 w 154761"/>
                <a:gd name="connsiteY10" fmla="*/ 45391 h 77047"/>
                <a:gd name="connsiteX11" fmla="*/ 69836 w 154761"/>
                <a:gd name="connsiteY11" fmla="*/ 54315 h 77047"/>
                <a:gd name="connsiteX12" fmla="*/ 103363 w 154761"/>
                <a:gd name="connsiteY12" fmla="*/ 55351 h 77047"/>
                <a:gd name="connsiteX13" fmla="*/ 118787 w 154761"/>
                <a:gd name="connsiteY13" fmla="*/ 76709 h 77047"/>
                <a:gd name="connsiteX14" fmla="*/ 151868 w 154761"/>
                <a:gd name="connsiteY14" fmla="*/ 34094 h 77047"/>
                <a:gd name="connsiteX15" fmla="*/ 14634 w 154761"/>
                <a:gd name="connsiteY15" fmla="*/ 42216 h 77047"/>
                <a:gd name="connsiteX16" fmla="*/ -60 w 154761"/>
                <a:gd name="connsiteY16" fmla="*/ 36500 h 77047"/>
                <a:gd name="connsiteX17" fmla="*/ 33995 w 154761"/>
                <a:gd name="connsiteY17" fmla="*/ 56554 h 77047"/>
                <a:gd name="connsiteX18" fmla="*/ 14634 w 154761"/>
                <a:gd name="connsiteY18" fmla="*/ 42082 h 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4761" h="77047">
                  <a:moveTo>
                    <a:pt x="151827" y="34227"/>
                  </a:moveTo>
                  <a:cubicBezTo>
                    <a:pt x="145982" y="26206"/>
                    <a:pt x="135591" y="18518"/>
                    <a:pt x="127473" y="11065"/>
                  </a:cubicBezTo>
                  <a:cubicBezTo>
                    <a:pt x="123658" y="15310"/>
                    <a:pt x="115581" y="13939"/>
                    <a:pt x="108599" y="15143"/>
                  </a:cubicBezTo>
                  <a:cubicBezTo>
                    <a:pt x="106367" y="16246"/>
                    <a:pt x="103891" y="17004"/>
                    <a:pt x="101293" y="17382"/>
                  </a:cubicBezTo>
                  <a:cubicBezTo>
                    <a:pt x="98167" y="16149"/>
                    <a:pt x="94879" y="15219"/>
                    <a:pt x="91470" y="14608"/>
                  </a:cubicBezTo>
                  <a:cubicBezTo>
                    <a:pt x="79983" y="15143"/>
                    <a:pt x="68862" y="-7586"/>
                    <a:pt x="53803" y="2040"/>
                  </a:cubicBezTo>
                  <a:cubicBezTo>
                    <a:pt x="48080" y="5717"/>
                    <a:pt x="60175" y="8157"/>
                    <a:pt x="62205" y="11566"/>
                  </a:cubicBezTo>
                  <a:cubicBezTo>
                    <a:pt x="65330" y="16780"/>
                    <a:pt x="43127" y="12034"/>
                    <a:pt x="40570" y="11132"/>
                  </a:cubicBezTo>
                  <a:cubicBezTo>
                    <a:pt x="32128" y="8023"/>
                    <a:pt x="6150" y="-4076"/>
                    <a:pt x="19708" y="10229"/>
                  </a:cubicBezTo>
                  <a:cubicBezTo>
                    <a:pt x="27095" y="18017"/>
                    <a:pt x="26648" y="27376"/>
                    <a:pt x="33792" y="35364"/>
                  </a:cubicBezTo>
                  <a:cubicBezTo>
                    <a:pt x="37323" y="39341"/>
                    <a:pt x="44995" y="41714"/>
                    <a:pt x="48973" y="45391"/>
                  </a:cubicBezTo>
                  <a:cubicBezTo>
                    <a:pt x="57496" y="53647"/>
                    <a:pt x="48648" y="58760"/>
                    <a:pt x="69836" y="54315"/>
                  </a:cubicBezTo>
                  <a:cubicBezTo>
                    <a:pt x="78563" y="52477"/>
                    <a:pt x="105717" y="43018"/>
                    <a:pt x="103363" y="55351"/>
                  </a:cubicBezTo>
                  <a:cubicBezTo>
                    <a:pt x="101171" y="66615"/>
                    <a:pt x="94230" y="68152"/>
                    <a:pt x="118787" y="76709"/>
                  </a:cubicBezTo>
                  <a:cubicBezTo>
                    <a:pt x="119883" y="60933"/>
                    <a:pt x="166480" y="53947"/>
                    <a:pt x="151868" y="34094"/>
                  </a:cubicBezTo>
                  <a:close/>
                  <a:moveTo>
                    <a:pt x="14634" y="42216"/>
                  </a:moveTo>
                  <a:cubicBezTo>
                    <a:pt x="9925" y="40023"/>
                    <a:pt x="5014" y="38115"/>
                    <a:pt x="-60" y="36500"/>
                  </a:cubicBezTo>
                  <a:cubicBezTo>
                    <a:pt x="4648" y="46527"/>
                    <a:pt x="15121" y="54282"/>
                    <a:pt x="33995" y="56554"/>
                  </a:cubicBezTo>
                  <a:cubicBezTo>
                    <a:pt x="37648" y="47864"/>
                    <a:pt x="24456" y="45725"/>
                    <a:pt x="14634" y="420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511EAA56-470A-4B19-9F83-3835AE286810}"/>
                </a:ext>
              </a:extLst>
            </p:cNvPr>
            <p:cNvSpPr/>
            <p:nvPr/>
          </p:nvSpPr>
          <p:spPr>
            <a:xfrm>
              <a:off x="7639896" y="4338013"/>
              <a:ext cx="467934" cy="148076"/>
            </a:xfrm>
            <a:custGeom>
              <a:avLst/>
              <a:gdLst>
                <a:gd name="connsiteX0" fmla="*/ 452735 w 467934"/>
                <a:gd name="connsiteY0" fmla="*/ 61822 h 148076"/>
                <a:gd name="connsiteX1" fmla="*/ 427245 w 467934"/>
                <a:gd name="connsiteY1" fmla="*/ 54469 h 148076"/>
                <a:gd name="connsiteX2" fmla="*/ 379187 w 467934"/>
                <a:gd name="connsiteY2" fmla="*/ 57209 h 148076"/>
                <a:gd name="connsiteX3" fmla="*/ 380932 w 467934"/>
                <a:gd name="connsiteY3" fmla="*/ 42269 h 148076"/>
                <a:gd name="connsiteX4" fmla="*/ 374600 w 467934"/>
                <a:gd name="connsiteY4" fmla="*/ 24354 h 148076"/>
                <a:gd name="connsiteX5" fmla="*/ 334010 w 467934"/>
                <a:gd name="connsiteY5" fmla="*/ 28498 h 148076"/>
                <a:gd name="connsiteX6" fmla="*/ 308236 w 467934"/>
                <a:gd name="connsiteY6" fmla="*/ 27563 h 148076"/>
                <a:gd name="connsiteX7" fmla="*/ 281568 w 467934"/>
                <a:gd name="connsiteY7" fmla="*/ 25858 h 148076"/>
                <a:gd name="connsiteX8" fmla="*/ 257214 w 467934"/>
                <a:gd name="connsiteY8" fmla="*/ 21479 h 148076"/>
                <a:gd name="connsiteX9" fmla="*/ 230182 w 467934"/>
                <a:gd name="connsiteY9" fmla="*/ 8578 h 148076"/>
                <a:gd name="connsiteX10" fmla="*/ 210455 w 467934"/>
                <a:gd name="connsiteY10" fmla="*/ 4634 h 148076"/>
                <a:gd name="connsiteX11" fmla="*/ 194990 w 467934"/>
                <a:gd name="connsiteY11" fmla="*/ -279 h 148076"/>
                <a:gd name="connsiteX12" fmla="*/ 181758 w 467934"/>
                <a:gd name="connsiteY12" fmla="*/ 3531 h 148076"/>
                <a:gd name="connsiteX13" fmla="*/ 165035 w 467934"/>
                <a:gd name="connsiteY13" fmla="*/ 2996 h 148076"/>
                <a:gd name="connsiteX14" fmla="*/ 147663 w 467934"/>
                <a:gd name="connsiteY14" fmla="*/ 17268 h 148076"/>
                <a:gd name="connsiteX15" fmla="*/ 118722 w 467934"/>
                <a:gd name="connsiteY15" fmla="*/ 18137 h 148076"/>
                <a:gd name="connsiteX16" fmla="*/ 100822 w 467934"/>
                <a:gd name="connsiteY16" fmla="*/ 24020 h 148076"/>
                <a:gd name="connsiteX17" fmla="*/ 74114 w 467934"/>
                <a:gd name="connsiteY17" fmla="*/ 22014 h 148076"/>
                <a:gd name="connsiteX18" fmla="*/ 50288 w 467934"/>
                <a:gd name="connsiteY18" fmla="*/ 13959 h 148076"/>
                <a:gd name="connsiteX19" fmla="*/ 32509 w 467934"/>
                <a:gd name="connsiteY19" fmla="*/ 26426 h 148076"/>
                <a:gd name="connsiteX20" fmla="*/ 15137 w 467934"/>
                <a:gd name="connsiteY20" fmla="*/ 38927 h 148076"/>
                <a:gd name="connsiteX21" fmla="*/ 15137 w 467934"/>
                <a:gd name="connsiteY21" fmla="*/ 48051 h 148076"/>
                <a:gd name="connsiteX22" fmla="*/ 9942 w 467934"/>
                <a:gd name="connsiteY22" fmla="*/ 62958 h 148076"/>
                <a:gd name="connsiteX23" fmla="*/ 11322 w 467934"/>
                <a:gd name="connsiteY23" fmla="*/ 84015 h 148076"/>
                <a:gd name="connsiteX24" fmla="*/ 35676 w 467934"/>
                <a:gd name="connsiteY24" fmla="*/ 94042 h 148076"/>
                <a:gd name="connsiteX25" fmla="*/ 322 w 467934"/>
                <a:gd name="connsiteY25" fmla="*/ 114999 h 148076"/>
                <a:gd name="connsiteX26" fmla="*/ 141737 w 467934"/>
                <a:gd name="connsiteY26" fmla="*/ 145080 h 148076"/>
                <a:gd name="connsiteX27" fmla="*/ 175264 w 467934"/>
                <a:gd name="connsiteY27" fmla="*/ 143676 h 148076"/>
                <a:gd name="connsiteX28" fmla="*/ 178633 w 467934"/>
                <a:gd name="connsiteY28" fmla="*/ 128769 h 148076"/>
                <a:gd name="connsiteX29" fmla="*/ 221698 w 467934"/>
                <a:gd name="connsiteY29" fmla="*/ 130373 h 148076"/>
                <a:gd name="connsiteX30" fmla="*/ 253318 w 467934"/>
                <a:gd name="connsiteY30" fmla="*/ 126630 h 148076"/>
                <a:gd name="connsiteX31" fmla="*/ 262126 w 467934"/>
                <a:gd name="connsiteY31" fmla="*/ 132045 h 148076"/>
                <a:gd name="connsiteX32" fmla="*/ 276332 w 467934"/>
                <a:gd name="connsiteY32" fmla="*/ 120079 h 148076"/>
                <a:gd name="connsiteX33" fmla="*/ 285221 w 467934"/>
                <a:gd name="connsiteY33" fmla="*/ 109016 h 148076"/>
                <a:gd name="connsiteX34" fmla="*/ 310590 w 467934"/>
                <a:gd name="connsiteY34" fmla="*/ 108615 h 148076"/>
                <a:gd name="connsiteX35" fmla="*/ 315704 w 467934"/>
                <a:gd name="connsiteY35" fmla="*/ 96081 h 148076"/>
                <a:gd name="connsiteX36" fmla="*/ 343793 w 467934"/>
                <a:gd name="connsiteY36" fmla="*/ 92739 h 148076"/>
                <a:gd name="connsiteX37" fmla="*/ 362992 w 467934"/>
                <a:gd name="connsiteY37" fmla="*/ 83079 h 148076"/>
                <a:gd name="connsiteX38" fmla="*/ 360637 w 467934"/>
                <a:gd name="connsiteY38" fmla="*/ 66133 h 148076"/>
                <a:gd name="connsiteX39" fmla="*/ 411740 w 467934"/>
                <a:gd name="connsiteY39" fmla="*/ 61621 h 148076"/>
                <a:gd name="connsiteX40" fmla="*/ 467875 w 467934"/>
                <a:gd name="connsiteY40" fmla="*/ 67136 h 148076"/>
                <a:gd name="connsiteX41" fmla="*/ 452614 w 467934"/>
                <a:gd name="connsiteY41" fmla="*/ 61855 h 14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67934" h="148076">
                  <a:moveTo>
                    <a:pt x="452735" y="61822"/>
                  </a:moveTo>
                  <a:cubicBezTo>
                    <a:pt x="439300" y="59883"/>
                    <a:pt x="446119" y="51594"/>
                    <a:pt x="427245" y="54469"/>
                  </a:cubicBezTo>
                  <a:cubicBezTo>
                    <a:pt x="411659" y="56842"/>
                    <a:pt x="397939" y="61153"/>
                    <a:pt x="379187" y="57209"/>
                  </a:cubicBezTo>
                  <a:cubicBezTo>
                    <a:pt x="364777" y="54101"/>
                    <a:pt x="378415" y="45511"/>
                    <a:pt x="380932" y="42269"/>
                  </a:cubicBezTo>
                  <a:cubicBezTo>
                    <a:pt x="385316" y="36620"/>
                    <a:pt x="372489" y="31306"/>
                    <a:pt x="374600" y="24354"/>
                  </a:cubicBezTo>
                  <a:cubicBezTo>
                    <a:pt x="379633" y="7642"/>
                    <a:pt x="335431" y="28398"/>
                    <a:pt x="334010" y="28498"/>
                  </a:cubicBezTo>
                  <a:cubicBezTo>
                    <a:pt x="326461" y="28766"/>
                    <a:pt x="314690" y="25457"/>
                    <a:pt x="308236" y="27563"/>
                  </a:cubicBezTo>
                  <a:cubicBezTo>
                    <a:pt x="298981" y="30571"/>
                    <a:pt x="293867" y="27128"/>
                    <a:pt x="281568" y="25858"/>
                  </a:cubicBezTo>
                  <a:cubicBezTo>
                    <a:pt x="268377" y="24521"/>
                    <a:pt x="270365" y="29368"/>
                    <a:pt x="257214" y="21479"/>
                  </a:cubicBezTo>
                  <a:cubicBezTo>
                    <a:pt x="248772" y="16396"/>
                    <a:pt x="239720" y="12071"/>
                    <a:pt x="230182" y="8578"/>
                  </a:cubicBezTo>
                  <a:cubicBezTo>
                    <a:pt x="223363" y="6539"/>
                    <a:pt x="217274" y="7575"/>
                    <a:pt x="210455" y="4634"/>
                  </a:cubicBezTo>
                  <a:cubicBezTo>
                    <a:pt x="206153" y="2796"/>
                    <a:pt x="200551" y="-848"/>
                    <a:pt x="194990" y="-279"/>
                  </a:cubicBezTo>
                  <a:cubicBezTo>
                    <a:pt x="190444" y="667"/>
                    <a:pt x="186020" y="1943"/>
                    <a:pt x="181758" y="3531"/>
                  </a:cubicBezTo>
                  <a:cubicBezTo>
                    <a:pt x="175751" y="4968"/>
                    <a:pt x="170433" y="1158"/>
                    <a:pt x="165035" y="2996"/>
                  </a:cubicBezTo>
                  <a:cubicBezTo>
                    <a:pt x="156065" y="6138"/>
                    <a:pt x="156106" y="14360"/>
                    <a:pt x="147663" y="17268"/>
                  </a:cubicBezTo>
                  <a:cubicBezTo>
                    <a:pt x="140316" y="19808"/>
                    <a:pt x="127368" y="18204"/>
                    <a:pt x="118722" y="18137"/>
                  </a:cubicBezTo>
                  <a:cubicBezTo>
                    <a:pt x="106545" y="18137"/>
                    <a:pt x="106545" y="19441"/>
                    <a:pt x="100822" y="24020"/>
                  </a:cubicBezTo>
                  <a:cubicBezTo>
                    <a:pt x="97129" y="27028"/>
                    <a:pt x="75575" y="28264"/>
                    <a:pt x="74114" y="22014"/>
                  </a:cubicBezTo>
                  <a:cubicBezTo>
                    <a:pt x="73181" y="18137"/>
                    <a:pt x="55970" y="14695"/>
                    <a:pt x="50288" y="13959"/>
                  </a:cubicBezTo>
                  <a:cubicBezTo>
                    <a:pt x="36447" y="12121"/>
                    <a:pt x="38882" y="22950"/>
                    <a:pt x="32509" y="26426"/>
                  </a:cubicBezTo>
                  <a:cubicBezTo>
                    <a:pt x="25000" y="30504"/>
                    <a:pt x="18953" y="32944"/>
                    <a:pt x="15137" y="38927"/>
                  </a:cubicBezTo>
                  <a:cubicBezTo>
                    <a:pt x="12986" y="42269"/>
                    <a:pt x="16274" y="44776"/>
                    <a:pt x="15137" y="48051"/>
                  </a:cubicBezTo>
                  <a:cubicBezTo>
                    <a:pt x="13595" y="53332"/>
                    <a:pt x="7019" y="56808"/>
                    <a:pt x="9942" y="62958"/>
                  </a:cubicBezTo>
                  <a:cubicBezTo>
                    <a:pt x="12053" y="67236"/>
                    <a:pt x="5517" y="81241"/>
                    <a:pt x="11322" y="84015"/>
                  </a:cubicBezTo>
                  <a:cubicBezTo>
                    <a:pt x="19075" y="87725"/>
                    <a:pt x="29831" y="88627"/>
                    <a:pt x="35676" y="94042"/>
                  </a:cubicBezTo>
                  <a:cubicBezTo>
                    <a:pt x="48705" y="106275"/>
                    <a:pt x="4543" y="107813"/>
                    <a:pt x="322" y="114999"/>
                  </a:cubicBezTo>
                  <a:cubicBezTo>
                    <a:pt x="-8121" y="128669"/>
                    <a:pt x="126150" y="143175"/>
                    <a:pt x="141737" y="145080"/>
                  </a:cubicBezTo>
                  <a:cubicBezTo>
                    <a:pt x="151803" y="146083"/>
                    <a:pt x="174533" y="151263"/>
                    <a:pt x="175264" y="143676"/>
                  </a:cubicBezTo>
                  <a:cubicBezTo>
                    <a:pt x="175670" y="139565"/>
                    <a:pt x="172504" y="131243"/>
                    <a:pt x="178633" y="128769"/>
                  </a:cubicBezTo>
                  <a:cubicBezTo>
                    <a:pt x="193407" y="122753"/>
                    <a:pt x="209156" y="133415"/>
                    <a:pt x="221698" y="130373"/>
                  </a:cubicBezTo>
                  <a:cubicBezTo>
                    <a:pt x="232373" y="127800"/>
                    <a:pt x="236554" y="122753"/>
                    <a:pt x="253318" y="126630"/>
                  </a:cubicBezTo>
                  <a:cubicBezTo>
                    <a:pt x="258513" y="127833"/>
                    <a:pt x="257377" y="131075"/>
                    <a:pt x="262126" y="132045"/>
                  </a:cubicBezTo>
                  <a:cubicBezTo>
                    <a:pt x="272639" y="134217"/>
                    <a:pt x="275115" y="123388"/>
                    <a:pt x="276332" y="120079"/>
                  </a:cubicBezTo>
                  <a:cubicBezTo>
                    <a:pt x="277550" y="116770"/>
                    <a:pt x="278362" y="110052"/>
                    <a:pt x="285221" y="109016"/>
                  </a:cubicBezTo>
                  <a:cubicBezTo>
                    <a:pt x="293339" y="107779"/>
                    <a:pt x="302959" y="111690"/>
                    <a:pt x="310590" y="108615"/>
                  </a:cubicBezTo>
                  <a:cubicBezTo>
                    <a:pt x="318221" y="105540"/>
                    <a:pt x="293137" y="88293"/>
                    <a:pt x="315704" y="96081"/>
                  </a:cubicBezTo>
                  <a:cubicBezTo>
                    <a:pt x="334294" y="102532"/>
                    <a:pt x="340058" y="104871"/>
                    <a:pt x="343793" y="92739"/>
                  </a:cubicBezTo>
                  <a:cubicBezTo>
                    <a:pt x="345619" y="86923"/>
                    <a:pt x="356984" y="86689"/>
                    <a:pt x="362992" y="83079"/>
                  </a:cubicBezTo>
                  <a:cubicBezTo>
                    <a:pt x="371109" y="78132"/>
                    <a:pt x="361895" y="71882"/>
                    <a:pt x="360637" y="66133"/>
                  </a:cubicBezTo>
                  <a:cubicBezTo>
                    <a:pt x="359216" y="59649"/>
                    <a:pt x="402323" y="61320"/>
                    <a:pt x="411740" y="61621"/>
                  </a:cubicBezTo>
                  <a:cubicBezTo>
                    <a:pt x="431182" y="62223"/>
                    <a:pt x="450138" y="72250"/>
                    <a:pt x="467875" y="67136"/>
                  </a:cubicBezTo>
                  <a:cubicBezTo>
                    <a:pt x="463167" y="64686"/>
                    <a:pt x="458012" y="62898"/>
                    <a:pt x="452614" y="6185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186A2CE5-A4C7-40C1-92D2-9675885A6627}"/>
                </a:ext>
              </a:extLst>
            </p:cNvPr>
            <p:cNvSpPr/>
            <p:nvPr/>
          </p:nvSpPr>
          <p:spPr>
            <a:xfrm>
              <a:off x="7644539" y="4399559"/>
              <a:ext cx="532143" cy="213089"/>
            </a:xfrm>
            <a:custGeom>
              <a:avLst/>
              <a:gdLst>
                <a:gd name="connsiteX0" fmla="*/ 512752 w 532143"/>
                <a:gd name="connsiteY0" fmla="*/ 44529 h 213089"/>
                <a:gd name="connsiteX1" fmla="*/ 497936 w 532143"/>
                <a:gd name="connsiteY1" fmla="*/ 24475 h 213089"/>
                <a:gd name="connsiteX2" fmla="*/ 456413 w 532143"/>
                <a:gd name="connsiteY2" fmla="*/ 6760 h 213089"/>
                <a:gd name="connsiteX3" fmla="*/ 407259 w 532143"/>
                <a:gd name="connsiteY3" fmla="*/ 75 h 213089"/>
                <a:gd name="connsiteX4" fmla="*/ 356156 w 532143"/>
                <a:gd name="connsiteY4" fmla="*/ 4588 h 213089"/>
                <a:gd name="connsiteX5" fmla="*/ 360702 w 532143"/>
                <a:gd name="connsiteY5" fmla="*/ 18859 h 213089"/>
                <a:gd name="connsiteX6" fmla="*/ 342518 w 532143"/>
                <a:gd name="connsiteY6" fmla="*/ 27449 h 213089"/>
                <a:gd name="connsiteX7" fmla="*/ 315932 w 532143"/>
                <a:gd name="connsiteY7" fmla="*/ 36206 h 213089"/>
                <a:gd name="connsiteX8" fmla="*/ 307083 w 532143"/>
                <a:gd name="connsiteY8" fmla="*/ 42691 h 213089"/>
                <a:gd name="connsiteX9" fmla="*/ 293567 w 532143"/>
                <a:gd name="connsiteY9" fmla="*/ 48406 h 213089"/>
                <a:gd name="connsiteX10" fmla="*/ 273272 w 532143"/>
                <a:gd name="connsiteY10" fmla="*/ 54456 h 213089"/>
                <a:gd name="connsiteX11" fmla="*/ 253424 w 532143"/>
                <a:gd name="connsiteY11" fmla="*/ 67491 h 213089"/>
                <a:gd name="connsiteX12" fmla="*/ 220952 w 532143"/>
                <a:gd name="connsiteY12" fmla="*/ 65519 h 213089"/>
                <a:gd name="connsiteX13" fmla="*/ 205690 w 532143"/>
                <a:gd name="connsiteY13" fmla="*/ 67524 h 213089"/>
                <a:gd name="connsiteX14" fmla="*/ 178617 w 532143"/>
                <a:gd name="connsiteY14" fmla="*/ 65820 h 213089"/>
                <a:gd name="connsiteX15" fmla="*/ 169443 w 532143"/>
                <a:gd name="connsiteY15" fmla="*/ 85874 h 213089"/>
                <a:gd name="connsiteX16" fmla="*/ 101861 w 532143"/>
                <a:gd name="connsiteY16" fmla="*/ 79690 h 213089"/>
                <a:gd name="connsiteX17" fmla="*/ 387 w 532143"/>
                <a:gd name="connsiteY17" fmla="*/ 60071 h 213089"/>
                <a:gd name="connsiteX18" fmla="*/ 24741 w 532143"/>
                <a:gd name="connsiteY18" fmla="*/ 83868 h 213089"/>
                <a:gd name="connsiteX19" fmla="*/ 46375 w 532143"/>
                <a:gd name="connsiteY19" fmla="*/ 103288 h 213089"/>
                <a:gd name="connsiteX20" fmla="*/ 54493 w 532143"/>
                <a:gd name="connsiteY20" fmla="*/ 117559 h 213089"/>
                <a:gd name="connsiteX21" fmla="*/ 23685 w 532143"/>
                <a:gd name="connsiteY21" fmla="*/ 126016 h 213089"/>
                <a:gd name="connsiteX22" fmla="*/ -60 w 532143"/>
                <a:gd name="connsiteY22" fmla="*/ 143997 h 213089"/>
                <a:gd name="connsiteX23" fmla="*/ 49135 w 532143"/>
                <a:gd name="connsiteY23" fmla="*/ 151852 h 213089"/>
                <a:gd name="connsiteX24" fmla="*/ 79456 w 532143"/>
                <a:gd name="connsiteY24" fmla="*/ 154192 h 213089"/>
                <a:gd name="connsiteX25" fmla="*/ 116798 w 532143"/>
                <a:gd name="connsiteY25" fmla="*/ 163015 h 213089"/>
                <a:gd name="connsiteX26" fmla="*/ 149270 w 532143"/>
                <a:gd name="connsiteY26" fmla="*/ 169165 h 213089"/>
                <a:gd name="connsiteX27" fmla="*/ 162624 w 532143"/>
                <a:gd name="connsiteY27" fmla="*/ 191693 h 213089"/>
                <a:gd name="connsiteX28" fmla="*/ 187344 w 532143"/>
                <a:gd name="connsiteY28" fmla="*/ 207569 h 213089"/>
                <a:gd name="connsiteX29" fmla="*/ 211413 w 532143"/>
                <a:gd name="connsiteY29" fmla="*/ 202288 h 213089"/>
                <a:gd name="connsiteX30" fmla="*/ 275017 w 532143"/>
                <a:gd name="connsiteY30" fmla="*/ 211112 h 213089"/>
                <a:gd name="connsiteX31" fmla="*/ 266372 w 532143"/>
                <a:gd name="connsiteY31" fmla="*/ 190690 h 213089"/>
                <a:gd name="connsiteX32" fmla="*/ 256671 w 532143"/>
                <a:gd name="connsiteY32" fmla="*/ 167026 h 213089"/>
                <a:gd name="connsiteX33" fmla="*/ 252043 w 532143"/>
                <a:gd name="connsiteY33" fmla="*/ 154258 h 213089"/>
                <a:gd name="connsiteX34" fmla="*/ 276641 w 532143"/>
                <a:gd name="connsiteY34" fmla="*/ 147774 h 213089"/>
                <a:gd name="connsiteX35" fmla="*/ 288818 w 532143"/>
                <a:gd name="connsiteY35" fmla="*/ 153156 h 213089"/>
                <a:gd name="connsiteX36" fmla="*/ 300061 w 532143"/>
                <a:gd name="connsiteY36" fmla="*/ 152587 h 213089"/>
                <a:gd name="connsiteX37" fmla="*/ 333548 w 532143"/>
                <a:gd name="connsiteY37" fmla="*/ 151752 h 213089"/>
                <a:gd name="connsiteX38" fmla="*/ 357090 w 532143"/>
                <a:gd name="connsiteY38" fmla="*/ 145635 h 213089"/>
                <a:gd name="connsiteX39" fmla="*/ 374462 w 532143"/>
                <a:gd name="connsiteY39" fmla="*/ 136979 h 213089"/>
                <a:gd name="connsiteX40" fmla="*/ 391916 w 532143"/>
                <a:gd name="connsiteY40" fmla="*/ 130595 h 213089"/>
                <a:gd name="connsiteX41" fmla="*/ 414606 w 532143"/>
                <a:gd name="connsiteY41" fmla="*/ 120568 h 213089"/>
                <a:gd name="connsiteX42" fmla="*/ 431978 w 532143"/>
                <a:gd name="connsiteY42" fmla="*/ 106463 h 213089"/>
                <a:gd name="connsiteX43" fmla="*/ 450690 w 532143"/>
                <a:gd name="connsiteY43" fmla="*/ 96837 h 213089"/>
                <a:gd name="connsiteX44" fmla="*/ 428649 w 532143"/>
                <a:gd name="connsiteY44" fmla="*/ 85239 h 213089"/>
                <a:gd name="connsiteX45" fmla="*/ 424590 w 532143"/>
                <a:gd name="connsiteY45" fmla="*/ 70599 h 213089"/>
                <a:gd name="connsiteX46" fmla="*/ 437092 w 532143"/>
                <a:gd name="connsiteY46" fmla="*/ 48139 h 213089"/>
                <a:gd name="connsiteX47" fmla="*/ 472770 w 532143"/>
                <a:gd name="connsiteY47" fmla="*/ 60606 h 213089"/>
                <a:gd name="connsiteX48" fmla="*/ 515025 w 532143"/>
                <a:gd name="connsiteY48" fmla="*/ 64483 h 213089"/>
                <a:gd name="connsiteX49" fmla="*/ 530814 w 532143"/>
                <a:gd name="connsiteY49" fmla="*/ 59235 h 213089"/>
                <a:gd name="connsiteX50" fmla="*/ 512549 w 532143"/>
                <a:gd name="connsiteY50" fmla="*/ 44663 h 21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32143" h="213089">
                  <a:moveTo>
                    <a:pt x="512752" y="44529"/>
                  </a:moveTo>
                  <a:cubicBezTo>
                    <a:pt x="499600" y="37410"/>
                    <a:pt x="506338" y="31160"/>
                    <a:pt x="497936" y="24475"/>
                  </a:cubicBezTo>
                  <a:cubicBezTo>
                    <a:pt x="486328" y="15183"/>
                    <a:pt x="473096" y="5189"/>
                    <a:pt x="456413" y="6760"/>
                  </a:cubicBezTo>
                  <a:cubicBezTo>
                    <a:pt x="439730" y="8331"/>
                    <a:pt x="424347" y="510"/>
                    <a:pt x="407259" y="75"/>
                  </a:cubicBezTo>
                  <a:cubicBezTo>
                    <a:pt x="397842" y="-225"/>
                    <a:pt x="354736" y="-1896"/>
                    <a:pt x="356156" y="4588"/>
                  </a:cubicBezTo>
                  <a:cubicBezTo>
                    <a:pt x="357333" y="10036"/>
                    <a:pt x="361189" y="13178"/>
                    <a:pt x="360702" y="18859"/>
                  </a:cubicBezTo>
                  <a:cubicBezTo>
                    <a:pt x="360256" y="23672"/>
                    <a:pt x="347470" y="24909"/>
                    <a:pt x="342518" y="27449"/>
                  </a:cubicBezTo>
                  <a:cubicBezTo>
                    <a:pt x="329123" y="34301"/>
                    <a:pt x="342803" y="45699"/>
                    <a:pt x="315932" y="36206"/>
                  </a:cubicBezTo>
                  <a:cubicBezTo>
                    <a:pt x="298032" y="29889"/>
                    <a:pt x="300873" y="33599"/>
                    <a:pt x="307083" y="42691"/>
                  </a:cubicBezTo>
                  <a:cubicBezTo>
                    <a:pt x="310736" y="48038"/>
                    <a:pt x="300305" y="48640"/>
                    <a:pt x="293567" y="48406"/>
                  </a:cubicBezTo>
                  <a:cubicBezTo>
                    <a:pt x="280862" y="47938"/>
                    <a:pt x="276600" y="46802"/>
                    <a:pt x="273272" y="54456"/>
                  </a:cubicBezTo>
                  <a:cubicBezTo>
                    <a:pt x="272704" y="55759"/>
                    <a:pt x="257361" y="79356"/>
                    <a:pt x="253424" y="67491"/>
                  </a:cubicBezTo>
                  <a:cubicBezTo>
                    <a:pt x="251556" y="61842"/>
                    <a:pt x="225011" y="63614"/>
                    <a:pt x="220952" y="65519"/>
                  </a:cubicBezTo>
                  <a:cubicBezTo>
                    <a:pt x="214904" y="68293"/>
                    <a:pt x="216447" y="70098"/>
                    <a:pt x="205690" y="67524"/>
                  </a:cubicBezTo>
                  <a:cubicBezTo>
                    <a:pt x="195624" y="65084"/>
                    <a:pt x="187993" y="63748"/>
                    <a:pt x="178617" y="65820"/>
                  </a:cubicBezTo>
                  <a:cubicBezTo>
                    <a:pt x="163355" y="69162"/>
                    <a:pt x="177805" y="80192"/>
                    <a:pt x="169443" y="85874"/>
                  </a:cubicBezTo>
                  <a:cubicBezTo>
                    <a:pt x="163395" y="90052"/>
                    <a:pt x="111156" y="80727"/>
                    <a:pt x="101861" y="79690"/>
                  </a:cubicBezTo>
                  <a:cubicBezTo>
                    <a:pt x="65330" y="75379"/>
                    <a:pt x="35944" y="67257"/>
                    <a:pt x="387" y="60071"/>
                  </a:cubicBezTo>
                  <a:cubicBezTo>
                    <a:pt x="9601" y="67792"/>
                    <a:pt x="13741" y="76783"/>
                    <a:pt x="24741" y="83868"/>
                  </a:cubicBezTo>
                  <a:cubicBezTo>
                    <a:pt x="35741" y="90954"/>
                    <a:pt x="46862" y="93428"/>
                    <a:pt x="46375" y="103288"/>
                  </a:cubicBezTo>
                  <a:cubicBezTo>
                    <a:pt x="46010" y="110774"/>
                    <a:pt x="49663" y="110908"/>
                    <a:pt x="54493" y="117559"/>
                  </a:cubicBezTo>
                  <a:cubicBezTo>
                    <a:pt x="64478" y="130929"/>
                    <a:pt x="37202" y="124746"/>
                    <a:pt x="23685" y="126016"/>
                  </a:cubicBezTo>
                  <a:cubicBezTo>
                    <a:pt x="7449" y="127486"/>
                    <a:pt x="549" y="134773"/>
                    <a:pt x="-60" y="143997"/>
                  </a:cubicBezTo>
                  <a:cubicBezTo>
                    <a:pt x="16136" y="147410"/>
                    <a:pt x="32575" y="150034"/>
                    <a:pt x="49135" y="151852"/>
                  </a:cubicBezTo>
                  <a:cubicBezTo>
                    <a:pt x="59486" y="152788"/>
                    <a:pt x="69430" y="147975"/>
                    <a:pt x="79456" y="154192"/>
                  </a:cubicBezTo>
                  <a:cubicBezTo>
                    <a:pt x="87899" y="159506"/>
                    <a:pt x="106083" y="162013"/>
                    <a:pt x="116798" y="163015"/>
                  </a:cubicBezTo>
                  <a:cubicBezTo>
                    <a:pt x="127514" y="164018"/>
                    <a:pt x="144359" y="160442"/>
                    <a:pt x="149270" y="169165"/>
                  </a:cubicBezTo>
                  <a:cubicBezTo>
                    <a:pt x="153329" y="176519"/>
                    <a:pt x="163761" y="184373"/>
                    <a:pt x="162624" y="191693"/>
                  </a:cubicBezTo>
                  <a:cubicBezTo>
                    <a:pt x="161366" y="199949"/>
                    <a:pt x="178048" y="202990"/>
                    <a:pt x="187344" y="207569"/>
                  </a:cubicBezTo>
                  <a:cubicBezTo>
                    <a:pt x="197897" y="212750"/>
                    <a:pt x="200008" y="202689"/>
                    <a:pt x="211413" y="202288"/>
                  </a:cubicBezTo>
                  <a:cubicBezTo>
                    <a:pt x="228055" y="201687"/>
                    <a:pt x="261339" y="217830"/>
                    <a:pt x="275017" y="211112"/>
                  </a:cubicBezTo>
                  <a:cubicBezTo>
                    <a:pt x="283704" y="206834"/>
                    <a:pt x="270512" y="195737"/>
                    <a:pt x="266372" y="190690"/>
                  </a:cubicBezTo>
                  <a:cubicBezTo>
                    <a:pt x="260081" y="182936"/>
                    <a:pt x="266737" y="173076"/>
                    <a:pt x="256671" y="167026"/>
                  </a:cubicBezTo>
                  <a:cubicBezTo>
                    <a:pt x="248553" y="162146"/>
                    <a:pt x="242586" y="158637"/>
                    <a:pt x="252043" y="154258"/>
                  </a:cubicBezTo>
                  <a:cubicBezTo>
                    <a:pt x="255778" y="152487"/>
                    <a:pt x="270512" y="145969"/>
                    <a:pt x="276641" y="147774"/>
                  </a:cubicBezTo>
                  <a:cubicBezTo>
                    <a:pt x="281106" y="149111"/>
                    <a:pt x="284759" y="151585"/>
                    <a:pt x="288818" y="153156"/>
                  </a:cubicBezTo>
                  <a:cubicBezTo>
                    <a:pt x="295028" y="155462"/>
                    <a:pt x="294501" y="152420"/>
                    <a:pt x="300061" y="152587"/>
                  </a:cubicBezTo>
                  <a:cubicBezTo>
                    <a:pt x="316297" y="153022"/>
                    <a:pt x="321452" y="162247"/>
                    <a:pt x="333548" y="151752"/>
                  </a:cubicBezTo>
                  <a:cubicBezTo>
                    <a:pt x="340285" y="145936"/>
                    <a:pt x="343290" y="145067"/>
                    <a:pt x="357090" y="145635"/>
                  </a:cubicBezTo>
                  <a:cubicBezTo>
                    <a:pt x="367318" y="146103"/>
                    <a:pt x="370038" y="141290"/>
                    <a:pt x="374462" y="136979"/>
                  </a:cubicBezTo>
                  <a:cubicBezTo>
                    <a:pt x="379860" y="131731"/>
                    <a:pt x="380510" y="130093"/>
                    <a:pt x="391916" y="130595"/>
                  </a:cubicBezTo>
                  <a:cubicBezTo>
                    <a:pt x="405717" y="131263"/>
                    <a:pt x="399790" y="119598"/>
                    <a:pt x="414606" y="120568"/>
                  </a:cubicBezTo>
                  <a:cubicBezTo>
                    <a:pt x="429421" y="121537"/>
                    <a:pt x="425930" y="112145"/>
                    <a:pt x="431978" y="106463"/>
                  </a:cubicBezTo>
                  <a:cubicBezTo>
                    <a:pt x="436362" y="102352"/>
                    <a:pt x="456981" y="102586"/>
                    <a:pt x="450690" y="96837"/>
                  </a:cubicBezTo>
                  <a:cubicBezTo>
                    <a:pt x="444398" y="91088"/>
                    <a:pt x="432952" y="91957"/>
                    <a:pt x="428649" y="85239"/>
                  </a:cubicBezTo>
                  <a:cubicBezTo>
                    <a:pt x="426012" y="81128"/>
                    <a:pt x="422927" y="74543"/>
                    <a:pt x="424590" y="70599"/>
                  </a:cubicBezTo>
                  <a:cubicBezTo>
                    <a:pt x="427797" y="62645"/>
                    <a:pt x="417203" y="47203"/>
                    <a:pt x="437092" y="48139"/>
                  </a:cubicBezTo>
                  <a:cubicBezTo>
                    <a:pt x="449797" y="48707"/>
                    <a:pt x="462095" y="56361"/>
                    <a:pt x="472770" y="60606"/>
                  </a:cubicBezTo>
                  <a:cubicBezTo>
                    <a:pt x="486003" y="65887"/>
                    <a:pt x="501183" y="63714"/>
                    <a:pt x="515025" y="64483"/>
                  </a:cubicBezTo>
                  <a:cubicBezTo>
                    <a:pt x="520991" y="64753"/>
                    <a:pt x="526755" y="62828"/>
                    <a:pt x="530814" y="59235"/>
                  </a:cubicBezTo>
                  <a:cubicBezTo>
                    <a:pt x="536903" y="55124"/>
                    <a:pt x="519489" y="48406"/>
                    <a:pt x="512549" y="4466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EB98DCE3-D777-4BA4-BA72-37784905C939}"/>
                </a:ext>
              </a:extLst>
            </p:cNvPr>
            <p:cNvSpPr/>
            <p:nvPr/>
          </p:nvSpPr>
          <p:spPr>
            <a:xfrm>
              <a:off x="8451968" y="5099938"/>
              <a:ext cx="1108203" cy="697375"/>
            </a:xfrm>
            <a:custGeom>
              <a:avLst/>
              <a:gdLst>
                <a:gd name="connsiteX0" fmla="*/ 37428 w 1108203"/>
                <a:gd name="connsiteY0" fmla="*/ 134216 h 697375"/>
                <a:gd name="connsiteX1" fmla="*/ 45546 w 1108203"/>
                <a:gd name="connsiteY1" fmla="*/ 147151 h 697375"/>
                <a:gd name="connsiteX2" fmla="*/ 37428 w 1108203"/>
                <a:gd name="connsiteY2" fmla="*/ 134216 h 697375"/>
                <a:gd name="connsiteX3" fmla="*/ 276177 w 1108203"/>
                <a:gd name="connsiteY3" fmla="*/ 248258 h 697375"/>
                <a:gd name="connsiteX4" fmla="*/ 260428 w 1108203"/>
                <a:gd name="connsiteY4" fmla="*/ 247021 h 697375"/>
                <a:gd name="connsiteX5" fmla="*/ 270657 w 1108203"/>
                <a:gd name="connsiteY5" fmla="*/ 252035 h 697375"/>
                <a:gd name="connsiteX6" fmla="*/ 276177 w 1108203"/>
                <a:gd name="connsiteY6" fmla="*/ 248258 h 697375"/>
                <a:gd name="connsiteX7" fmla="*/ 17823 w 1108203"/>
                <a:gd name="connsiteY7" fmla="*/ 81608 h 697375"/>
                <a:gd name="connsiteX8" fmla="*/ 28458 w 1108203"/>
                <a:gd name="connsiteY8" fmla="*/ 99523 h 697375"/>
                <a:gd name="connsiteX9" fmla="*/ 17823 w 1108203"/>
                <a:gd name="connsiteY9" fmla="*/ 81608 h 697375"/>
                <a:gd name="connsiteX10" fmla="*/ 557424 w 1108203"/>
                <a:gd name="connsiteY10" fmla="*/ 369351 h 697375"/>
                <a:gd name="connsiteX11" fmla="*/ 558559 w 1108203"/>
                <a:gd name="connsiteY11" fmla="*/ 407554 h 697375"/>
                <a:gd name="connsiteX12" fmla="*/ 569722 w 1108203"/>
                <a:gd name="connsiteY12" fmla="*/ 387500 h 697375"/>
                <a:gd name="connsiteX13" fmla="*/ 592818 w 1108203"/>
                <a:gd name="connsiteY13" fmla="*/ 369986 h 697375"/>
                <a:gd name="connsiteX14" fmla="*/ 595172 w 1108203"/>
                <a:gd name="connsiteY14" fmla="*/ 390776 h 697375"/>
                <a:gd name="connsiteX15" fmla="*/ 615466 w 1108203"/>
                <a:gd name="connsiteY15" fmla="*/ 412902 h 697375"/>
                <a:gd name="connsiteX16" fmla="*/ 632717 w 1108203"/>
                <a:gd name="connsiteY16" fmla="*/ 394319 h 697375"/>
                <a:gd name="connsiteX17" fmla="*/ 631743 w 1108203"/>
                <a:gd name="connsiteY17" fmla="*/ 378576 h 697375"/>
                <a:gd name="connsiteX18" fmla="*/ 635031 w 1108203"/>
                <a:gd name="connsiteY18" fmla="*/ 367145 h 697375"/>
                <a:gd name="connsiteX19" fmla="*/ 667503 w 1108203"/>
                <a:gd name="connsiteY19" fmla="*/ 358221 h 697375"/>
                <a:gd name="connsiteX20" fmla="*/ 628334 w 1108203"/>
                <a:gd name="connsiteY20" fmla="*/ 352807 h 697375"/>
                <a:gd name="connsiteX21" fmla="*/ 601626 w 1108203"/>
                <a:gd name="connsiteY21" fmla="*/ 338936 h 697375"/>
                <a:gd name="connsiteX22" fmla="*/ 669207 w 1108203"/>
                <a:gd name="connsiteY22" fmla="*/ 335961 h 697375"/>
                <a:gd name="connsiteX23" fmla="*/ 705738 w 1108203"/>
                <a:gd name="connsiteY23" fmla="*/ 355681 h 697375"/>
                <a:gd name="connsiteX24" fmla="*/ 752497 w 1108203"/>
                <a:gd name="connsiteY24" fmla="*/ 351002 h 697375"/>
                <a:gd name="connsiteX25" fmla="*/ 718687 w 1108203"/>
                <a:gd name="connsiteY25" fmla="*/ 348027 h 697375"/>
                <a:gd name="connsiteX26" fmla="*/ 681790 w 1108203"/>
                <a:gd name="connsiteY26" fmla="*/ 332953 h 697375"/>
                <a:gd name="connsiteX27" fmla="*/ 646964 w 1108203"/>
                <a:gd name="connsiteY27" fmla="*/ 311963 h 697375"/>
                <a:gd name="connsiteX28" fmla="*/ 630728 w 1108203"/>
                <a:gd name="connsiteY28" fmla="*/ 312699 h 697375"/>
                <a:gd name="connsiteX29" fmla="*/ 613721 w 1108203"/>
                <a:gd name="connsiteY29" fmla="*/ 311027 h 697375"/>
                <a:gd name="connsiteX30" fmla="*/ 595253 w 1108203"/>
                <a:gd name="connsiteY30" fmla="*/ 323795 h 697375"/>
                <a:gd name="connsiteX31" fmla="*/ 576784 w 1108203"/>
                <a:gd name="connsiteY31" fmla="*/ 332652 h 697375"/>
                <a:gd name="connsiteX32" fmla="*/ 557504 w 1108203"/>
                <a:gd name="connsiteY32" fmla="*/ 369418 h 697375"/>
                <a:gd name="connsiteX33" fmla="*/ 204293 w 1108203"/>
                <a:gd name="connsiteY33" fmla="*/ 250297 h 697375"/>
                <a:gd name="connsiteX34" fmla="*/ 223370 w 1108203"/>
                <a:gd name="connsiteY34" fmla="*/ 233217 h 697375"/>
                <a:gd name="connsiteX35" fmla="*/ 236683 w 1108203"/>
                <a:gd name="connsiteY35" fmla="*/ 227869 h 697375"/>
                <a:gd name="connsiteX36" fmla="*/ 229133 w 1108203"/>
                <a:gd name="connsiteY36" fmla="*/ 213497 h 697375"/>
                <a:gd name="connsiteX37" fmla="*/ 208838 w 1108203"/>
                <a:gd name="connsiteY37" fmla="*/ 207848 h 697375"/>
                <a:gd name="connsiteX38" fmla="*/ 219514 w 1108203"/>
                <a:gd name="connsiteY38" fmla="*/ 222689 h 697375"/>
                <a:gd name="connsiteX39" fmla="*/ 200924 w 1108203"/>
                <a:gd name="connsiteY39" fmla="*/ 212461 h 697375"/>
                <a:gd name="connsiteX40" fmla="*/ 198894 w 1108203"/>
                <a:gd name="connsiteY40" fmla="*/ 205309 h 697375"/>
                <a:gd name="connsiteX41" fmla="*/ 189518 w 1108203"/>
                <a:gd name="connsiteY41" fmla="*/ 198624 h 697375"/>
                <a:gd name="connsiteX42" fmla="*/ 180304 w 1108203"/>
                <a:gd name="connsiteY42" fmla="*/ 180341 h 697375"/>
                <a:gd name="connsiteX43" fmla="*/ 172186 w 1108203"/>
                <a:gd name="connsiteY43" fmla="*/ 166771 h 697375"/>
                <a:gd name="connsiteX44" fmla="*/ 174418 w 1108203"/>
                <a:gd name="connsiteY44" fmla="*/ 154571 h 697375"/>
                <a:gd name="connsiteX45" fmla="*/ 165773 w 1108203"/>
                <a:gd name="connsiteY45" fmla="*/ 140366 h 697375"/>
                <a:gd name="connsiteX46" fmla="*/ 160293 w 1108203"/>
                <a:gd name="connsiteY46" fmla="*/ 134851 h 697375"/>
                <a:gd name="connsiteX47" fmla="*/ 150876 w 1108203"/>
                <a:gd name="connsiteY47" fmla="*/ 122451 h 697375"/>
                <a:gd name="connsiteX48" fmla="*/ 140120 w 1108203"/>
                <a:gd name="connsiteY48" fmla="*/ 115432 h 697375"/>
                <a:gd name="connsiteX49" fmla="*/ 128471 w 1108203"/>
                <a:gd name="connsiteY49" fmla="*/ 104169 h 697375"/>
                <a:gd name="connsiteX50" fmla="*/ 105822 w 1108203"/>
                <a:gd name="connsiteY50" fmla="*/ 88794 h 697375"/>
                <a:gd name="connsiteX51" fmla="*/ 94619 w 1108203"/>
                <a:gd name="connsiteY51" fmla="*/ 69408 h 697375"/>
                <a:gd name="connsiteX52" fmla="*/ 71036 w 1108203"/>
                <a:gd name="connsiteY52" fmla="*/ 46012 h 697375"/>
                <a:gd name="connsiteX53" fmla="*/ 59346 w 1108203"/>
                <a:gd name="connsiteY53" fmla="*/ 28063 h 697375"/>
                <a:gd name="connsiteX54" fmla="*/ 23628 w 1108203"/>
                <a:gd name="connsiteY54" fmla="*/ 13156 h 697375"/>
                <a:gd name="connsiteX55" fmla="*/ 6498 w 1108203"/>
                <a:gd name="connsiteY55" fmla="*/ 121 h 697375"/>
                <a:gd name="connsiteX56" fmla="*/ 2196 w 1108203"/>
                <a:gd name="connsiteY56" fmla="*/ 14861 h 697375"/>
                <a:gd name="connsiteX57" fmla="*/ 33816 w 1108203"/>
                <a:gd name="connsiteY57" fmla="*/ 55470 h 697375"/>
                <a:gd name="connsiteX58" fmla="*/ 47048 w 1108203"/>
                <a:gd name="connsiteY58" fmla="*/ 74923 h 697375"/>
                <a:gd name="connsiteX59" fmla="*/ 59225 w 1108203"/>
                <a:gd name="connsiteY59" fmla="*/ 90030 h 697375"/>
                <a:gd name="connsiteX60" fmla="*/ 67343 w 1108203"/>
                <a:gd name="connsiteY60" fmla="*/ 119443 h 697375"/>
                <a:gd name="connsiteX61" fmla="*/ 88368 w 1108203"/>
                <a:gd name="connsiteY61" fmla="*/ 164933 h 697375"/>
                <a:gd name="connsiteX62" fmla="*/ 112722 w 1108203"/>
                <a:gd name="connsiteY62" fmla="*/ 207514 h 697375"/>
                <a:gd name="connsiteX63" fmla="*/ 147223 w 1108203"/>
                <a:gd name="connsiteY63" fmla="*/ 248024 h 697375"/>
                <a:gd name="connsiteX64" fmla="*/ 156234 w 1108203"/>
                <a:gd name="connsiteY64" fmla="*/ 260391 h 697375"/>
                <a:gd name="connsiteX65" fmla="*/ 179289 w 1108203"/>
                <a:gd name="connsiteY65" fmla="*/ 268312 h 697375"/>
                <a:gd name="connsiteX66" fmla="*/ 204536 w 1108203"/>
                <a:gd name="connsiteY66" fmla="*/ 250297 h 697375"/>
                <a:gd name="connsiteX67" fmla="*/ 204373 w 1108203"/>
                <a:gd name="connsiteY67" fmla="*/ 250297 h 697375"/>
                <a:gd name="connsiteX68" fmla="*/ 825316 w 1108203"/>
                <a:gd name="connsiteY68" fmla="*/ 408022 h 697375"/>
                <a:gd name="connsiteX69" fmla="*/ 832500 w 1108203"/>
                <a:gd name="connsiteY69" fmla="*/ 393049 h 697375"/>
                <a:gd name="connsiteX70" fmla="*/ 812205 w 1108203"/>
                <a:gd name="connsiteY70" fmla="*/ 377975 h 697375"/>
                <a:gd name="connsiteX71" fmla="*/ 802667 w 1108203"/>
                <a:gd name="connsiteY71" fmla="*/ 410730 h 697375"/>
                <a:gd name="connsiteX72" fmla="*/ 825154 w 1108203"/>
                <a:gd name="connsiteY72" fmla="*/ 408022 h 697375"/>
                <a:gd name="connsiteX73" fmla="*/ 727901 w 1108203"/>
                <a:gd name="connsiteY73" fmla="*/ 436366 h 697375"/>
                <a:gd name="connsiteX74" fmla="*/ 755136 w 1108203"/>
                <a:gd name="connsiteY74" fmla="*/ 454682 h 697375"/>
                <a:gd name="connsiteX75" fmla="*/ 727941 w 1108203"/>
                <a:gd name="connsiteY75" fmla="*/ 436366 h 697375"/>
                <a:gd name="connsiteX76" fmla="*/ 621433 w 1108203"/>
                <a:gd name="connsiteY76" fmla="*/ 486501 h 697375"/>
                <a:gd name="connsiteX77" fmla="*/ 590463 w 1108203"/>
                <a:gd name="connsiteY77" fmla="*/ 476908 h 697375"/>
                <a:gd name="connsiteX78" fmla="*/ 561807 w 1108203"/>
                <a:gd name="connsiteY78" fmla="*/ 463539 h 697375"/>
                <a:gd name="connsiteX79" fmla="*/ 519228 w 1108203"/>
                <a:gd name="connsiteY79" fmla="*/ 453980 h 697375"/>
                <a:gd name="connsiteX80" fmla="*/ 585390 w 1108203"/>
                <a:gd name="connsiteY80" fmla="*/ 481621 h 697375"/>
                <a:gd name="connsiteX81" fmla="*/ 616359 w 1108203"/>
                <a:gd name="connsiteY81" fmla="*/ 489743 h 697375"/>
                <a:gd name="connsiteX82" fmla="*/ 621433 w 1108203"/>
                <a:gd name="connsiteY82" fmla="*/ 486601 h 697375"/>
                <a:gd name="connsiteX83" fmla="*/ 831932 w 1108203"/>
                <a:gd name="connsiteY83" fmla="*/ 474803 h 697375"/>
                <a:gd name="connsiteX84" fmla="*/ 789719 w 1108203"/>
                <a:gd name="connsiteY84" fmla="*/ 456420 h 697375"/>
                <a:gd name="connsiteX85" fmla="*/ 779612 w 1108203"/>
                <a:gd name="connsiteY85" fmla="*/ 458058 h 697375"/>
                <a:gd name="connsiteX86" fmla="*/ 803763 w 1108203"/>
                <a:gd name="connsiteY86" fmla="*/ 473132 h 697375"/>
                <a:gd name="connsiteX87" fmla="*/ 838710 w 1108203"/>
                <a:gd name="connsiteY87" fmla="*/ 497564 h 697375"/>
                <a:gd name="connsiteX88" fmla="*/ 831932 w 1108203"/>
                <a:gd name="connsiteY88" fmla="*/ 474803 h 697375"/>
                <a:gd name="connsiteX89" fmla="*/ 831973 w 1108203"/>
                <a:gd name="connsiteY89" fmla="*/ 474903 h 697375"/>
                <a:gd name="connsiteX90" fmla="*/ 392792 w 1108203"/>
                <a:gd name="connsiteY90" fmla="*/ 387333 h 697375"/>
                <a:gd name="connsiteX91" fmla="*/ 373390 w 1108203"/>
                <a:gd name="connsiteY91" fmla="*/ 364705 h 697375"/>
                <a:gd name="connsiteX92" fmla="*/ 368478 w 1108203"/>
                <a:gd name="connsiteY92" fmla="*/ 356985 h 697375"/>
                <a:gd name="connsiteX93" fmla="*/ 311084 w 1108203"/>
                <a:gd name="connsiteY93" fmla="*/ 332619 h 697375"/>
                <a:gd name="connsiteX94" fmla="*/ 288841 w 1108203"/>
                <a:gd name="connsiteY94" fmla="*/ 327873 h 697375"/>
                <a:gd name="connsiteX95" fmla="*/ 251498 w 1108203"/>
                <a:gd name="connsiteY95" fmla="*/ 303139 h 697375"/>
                <a:gd name="connsiteX96" fmla="*/ 213466 w 1108203"/>
                <a:gd name="connsiteY96" fmla="*/ 282082 h 697375"/>
                <a:gd name="connsiteX97" fmla="*/ 192521 w 1108203"/>
                <a:gd name="connsiteY97" fmla="*/ 280044 h 697375"/>
                <a:gd name="connsiteX98" fmla="*/ 176285 w 1108203"/>
                <a:gd name="connsiteY98" fmla="*/ 281815 h 697375"/>
                <a:gd name="connsiteX99" fmla="*/ 196987 w 1108203"/>
                <a:gd name="connsiteY99" fmla="*/ 300098 h 697375"/>
                <a:gd name="connsiteX100" fmla="*/ 228566 w 1108203"/>
                <a:gd name="connsiteY100" fmla="*/ 320854 h 697375"/>
                <a:gd name="connsiteX101" fmla="*/ 259373 w 1108203"/>
                <a:gd name="connsiteY101" fmla="*/ 328976 h 697375"/>
                <a:gd name="connsiteX102" fmla="*/ 302682 w 1108203"/>
                <a:gd name="connsiteY102" fmla="*/ 360628 h 697375"/>
                <a:gd name="connsiteX103" fmla="*/ 350091 w 1108203"/>
                <a:gd name="connsiteY103" fmla="*/ 381016 h 697375"/>
                <a:gd name="connsiteX104" fmla="*/ 375663 w 1108203"/>
                <a:gd name="connsiteY104" fmla="*/ 393784 h 697375"/>
                <a:gd name="connsiteX105" fmla="*/ 390965 w 1108203"/>
                <a:gd name="connsiteY105" fmla="*/ 397695 h 697375"/>
                <a:gd name="connsiteX106" fmla="*/ 406307 w 1108203"/>
                <a:gd name="connsiteY106" fmla="*/ 406418 h 697375"/>
                <a:gd name="connsiteX107" fmla="*/ 416536 w 1108203"/>
                <a:gd name="connsiteY107" fmla="*/ 403443 h 697375"/>
                <a:gd name="connsiteX108" fmla="*/ 392832 w 1108203"/>
                <a:gd name="connsiteY108" fmla="*/ 387333 h 697375"/>
                <a:gd name="connsiteX109" fmla="*/ 392832 w 1108203"/>
                <a:gd name="connsiteY109" fmla="*/ 387434 h 697375"/>
                <a:gd name="connsiteX110" fmla="*/ 1036951 w 1108203"/>
                <a:gd name="connsiteY110" fmla="*/ 545594 h 697375"/>
                <a:gd name="connsiteX111" fmla="*/ 1017386 w 1108203"/>
                <a:gd name="connsiteY111" fmla="*/ 546964 h 697375"/>
                <a:gd name="connsiteX112" fmla="*/ 993601 w 1108203"/>
                <a:gd name="connsiteY112" fmla="*/ 544424 h 697375"/>
                <a:gd name="connsiteX113" fmla="*/ 947572 w 1108203"/>
                <a:gd name="connsiteY113" fmla="*/ 533896 h 697375"/>
                <a:gd name="connsiteX114" fmla="*/ 934827 w 1108203"/>
                <a:gd name="connsiteY114" fmla="*/ 474168 h 697375"/>
                <a:gd name="connsiteX115" fmla="*/ 913193 w 1108203"/>
                <a:gd name="connsiteY115" fmla="*/ 462871 h 697375"/>
                <a:gd name="connsiteX116" fmla="*/ 892492 w 1108203"/>
                <a:gd name="connsiteY116" fmla="*/ 463105 h 697375"/>
                <a:gd name="connsiteX117" fmla="*/ 873130 w 1108203"/>
                <a:gd name="connsiteY117" fmla="*/ 461467 h 697375"/>
                <a:gd name="connsiteX118" fmla="*/ 888149 w 1108203"/>
                <a:gd name="connsiteY118" fmla="*/ 474268 h 697375"/>
                <a:gd name="connsiteX119" fmla="*/ 891802 w 1108203"/>
                <a:gd name="connsiteY119" fmla="*/ 490545 h 697375"/>
                <a:gd name="connsiteX120" fmla="*/ 917333 w 1108203"/>
                <a:gd name="connsiteY120" fmla="*/ 503714 h 697375"/>
                <a:gd name="connsiteX121" fmla="*/ 934421 w 1108203"/>
                <a:gd name="connsiteY121" fmla="*/ 514510 h 697375"/>
                <a:gd name="connsiteX122" fmla="*/ 911934 w 1108203"/>
                <a:gd name="connsiteY122" fmla="*/ 506488 h 697375"/>
                <a:gd name="connsiteX123" fmla="*/ 891355 w 1108203"/>
                <a:gd name="connsiteY123" fmla="*/ 497999 h 697375"/>
                <a:gd name="connsiteX124" fmla="*/ 891761 w 1108203"/>
                <a:gd name="connsiteY124" fmla="*/ 508728 h 697375"/>
                <a:gd name="connsiteX125" fmla="*/ 892208 w 1108203"/>
                <a:gd name="connsiteY125" fmla="*/ 524971 h 697375"/>
                <a:gd name="connsiteX126" fmla="*/ 910230 w 1108203"/>
                <a:gd name="connsiteY126" fmla="*/ 525874 h 697375"/>
                <a:gd name="connsiteX127" fmla="*/ 939982 w 1108203"/>
                <a:gd name="connsiteY127" fmla="*/ 555955 h 697375"/>
                <a:gd name="connsiteX128" fmla="*/ 964945 w 1108203"/>
                <a:gd name="connsiteY128" fmla="*/ 572099 h 697375"/>
                <a:gd name="connsiteX129" fmla="*/ 993357 w 1108203"/>
                <a:gd name="connsiteY129" fmla="*/ 595261 h 697375"/>
                <a:gd name="connsiteX130" fmla="*/ 1009106 w 1108203"/>
                <a:gd name="connsiteY130" fmla="*/ 614280 h 697375"/>
                <a:gd name="connsiteX131" fmla="*/ 1007564 w 1108203"/>
                <a:gd name="connsiteY131" fmla="*/ 632896 h 697375"/>
                <a:gd name="connsiteX132" fmla="*/ 969571 w 1108203"/>
                <a:gd name="connsiteY132" fmla="*/ 642121 h 697375"/>
                <a:gd name="connsiteX133" fmla="*/ 998716 w 1108203"/>
                <a:gd name="connsiteY133" fmla="*/ 662175 h 697375"/>
                <a:gd name="connsiteX134" fmla="*/ 1022785 w 1108203"/>
                <a:gd name="connsiteY134" fmla="*/ 671969 h 697375"/>
                <a:gd name="connsiteX135" fmla="*/ 1039305 w 1108203"/>
                <a:gd name="connsiteY135" fmla="*/ 697036 h 697375"/>
                <a:gd name="connsiteX136" fmla="*/ 1089758 w 1108203"/>
                <a:gd name="connsiteY136" fmla="*/ 630189 h 697375"/>
                <a:gd name="connsiteX137" fmla="*/ 1108105 w 1108203"/>
                <a:gd name="connsiteY137" fmla="*/ 605790 h 697375"/>
                <a:gd name="connsiteX138" fmla="*/ 1036951 w 1108203"/>
                <a:gd name="connsiteY138" fmla="*/ 545828 h 697375"/>
                <a:gd name="connsiteX139" fmla="*/ 644692 w 1108203"/>
                <a:gd name="connsiteY139" fmla="*/ 510466 h 697375"/>
                <a:gd name="connsiteX140" fmla="*/ 622651 w 1108203"/>
                <a:gd name="connsiteY140" fmla="*/ 505653 h 697375"/>
                <a:gd name="connsiteX141" fmla="*/ 598014 w 1108203"/>
                <a:gd name="connsiteY141" fmla="*/ 512338 h 697375"/>
                <a:gd name="connsiteX142" fmla="*/ 649278 w 1108203"/>
                <a:gd name="connsiteY142" fmla="*/ 519022 h 697375"/>
                <a:gd name="connsiteX143" fmla="*/ 644692 w 1108203"/>
                <a:gd name="connsiteY143" fmla="*/ 510599 h 697375"/>
                <a:gd name="connsiteX144" fmla="*/ 644611 w 1108203"/>
                <a:gd name="connsiteY144" fmla="*/ 510466 h 697375"/>
                <a:gd name="connsiteX145" fmla="*/ 508432 w 1108203"/>
                <a:gd name="connsiteY145" fmla="*/ 308654 h 697375"/>
                <a:gd name="connsiteX146" fmla="*/ 548210 w 1108203"/>
                <a:gd name="connsiteY146" fmla="*/ 287597 h 697375"/>
                <a:gd name="connsiteX147" fmla="*/ 584741 w 1108203"/>
                <a:gd name="connsiteY147" fmla="*/ 285859 h 697375"/>
                <a:gd name="connsiteX148" fmla="*/ 570980 w 1108203"/>
                <a:gd name="connsiteY148" fmla="*/ 267643 h 697375"/>
                <a:gd name="connsiteX149" fmla="*/ 566921 w 1108203"/>
                <a:gd name="connsiteY149" fmla="*/ 248124 h 697375"/>
                <a:gd name="connsiteX150" fmla="*/ 576257 w 1108203"/>
                <a:gd name="connsiteY150" fmla="*/ 240904 h 697375"/>
                <a:gd name="connsiteX151" fmla="*/ 584659 w 1108203"/>
                <a:gd name="connsiteY151" fmla="*/ 231245 h 697375"/>
                <a:gd name="connsiteX152" fmla="*/ 543541 w 1108203"/>
                <a:gd name="connsiteY152" fmla="*/ 213397 h 697375"/>
                <a:gd name="connsiteX153" fmla="*/ 516550 w 1108203"/>
                <a:gd name="connsiteY153" fmla="*/ 223992 h 697375"/>
                <a:gd name="connsiteX154" fmla="*/ 493454 w 1108203"/>
                <a:gd name="connsiteY154" fmla="*/ 231880 h 697375"/>
                <a:gd name="connsiteX155" fmla="*/ 484524 w 1108203"/>
                <a:gd name="connsiteY155" fmla="*/ 241372 h 697375"/>
                <a:gd name="connsiteX156" fmla="*/ 460170 w 1108203"/>
                <a:gd name="connsiteY156" fmla="*/ 237495 h 697375"/>
                <a:gd name="connsiteX157" fmla="*/ 424776 w 1108203"/>
                <a:gd name="connsiteY157" fmla="*/ 222221 h 697375"/>
                <a:gd name="connsiteX158" fmla="*/ 407282 w 1108203"/>
                <a:gd name="connsiteY158" fmla="*/ 221853 h 697375"/>
                <a:gd name="connsiteX159" fmla="*/ 380818 w 1108203"/>
                <a:gd name="connsiteY159" fmla="*/ 212695 h 697375"/>
                <a:gd name="connsiteX160" fmla="*/ 365597 w 1108203"/>
                <a:gd name="connsiteY160" fmla="*/ 208049 h 697375"/>
                <a:gd name="connsiteX161" fmla="*/ 351958 w 1108203"/>
                <a:gd name="connsiteY161" fmla="*/ 194078 h 697375"/>
                <a:gd name="connsiteX162" fmla="*/ 341161 w 1108203"/>
                <a:gd name="connsiteY162" fmla="*/ 182079 h 697375"/>
                <a:gd name="connsiteX163" fmla="*/ 321313 w 1108203"/>
                <a:gd name="connsiteY163" fmla="*/ 190201 h 697375"/>
                <a:gd name="connsiteX164" fmla="*/ 322652 w 1108203"/>
                <a:gd name="connsiteY164" fmla="*/ 202534 h 697375"/>
                <a:gd name="connsiteX165" fmla="*/ 321841 w 1108203"/>
                <a:gd name="connsiteY165" fmla="*/ 221652 h 697375"/>
                <a:gd name="connsiteX166" fmla="*/ 336250 w 1108203"/>
                <a:gd name="connsiteY166" fmla="*/ 248625 h 697375"/>
                <a:gd name="connsiteX167" fmla="*/ 345951 w 1108203"/>
                <a:gd name="connsiteY167" fmla="*/ 277871 h 697375"/>
                <a:gd name="connsiteX168" fmla="*/ 365758 w 1108203"/>
                <a:gd name="connsiteY168" fmla="*/ 288500 h 697375"/>
                <a:gd name="connsiteX169" fmla="*/ 379437 w 1108203"/>
                <a:gd name="connsiteY169" fmla="*/ 297323 h 697375"/>
                <a:gd name="connsiteX170" fmla="*/ 417023 w 1108203"/>
                <a:gd name="connsiteY170" fmla="*/ 311194 h 697375"/>
                <a:gd name="connsiteX171" fmla="*/ 442433 w 1108203"/>
                <a:gd name="connsiteY171" fmla="*/ 330981 h 697375"/>
                <a:gd name="connsiteX172" fmla="*/ 482413 w 1108203"/>
                <a:gd name="connsiteY172" fmla="*/ 329176 h 697375"/>
                <a:gd name="connsiteX173" fmla="*/ 508188 w 1108203"/>
                <a:gd name="connsiteY173" fmla="*/ 308654 h 697375"/>
                <a:gd name="connsiteX174" fmla="*/ 489477 w 1108203"/>
                <a:gd name="connsiteY174" fmla="*/ 458091 h 697375"/>
                <a:gd name="connsiteX175" fmla="*/ 511881 w 1108203"/>
                <a:gd name="connsiteY175" fmla="*/ 478646 h 697375"/>
                <a:gd name="connsiteX176" fmla="*/ 530147 w 1108203"/>
                <a:gd name="connsiteY176" fmla="*/ 481320 h 697375"/>
                <a:gd name="connsiteX177" fmla="*/ 507214 w 1108203"/>
                <a:gd name="connsiteY177" fmla="*/ 463840 h 697375"/>
                <a:gd name="connsiteX178" fmla="*/ 489477 w 1108203"/>
                <a:gd name="connsiteY178" fmla="*/ 458091 h 697375"/>
                <a:gd name="connsiteX179" fmla="*/ 489395 w 1108203"/>
                <a:gd name="connsiteY179" fmla="*/ 458091 h 697375"/>
                <a:gd name="connsiteX180" fmla="*/ 465650 w 1108203"/>
                <a:gd name="connsiteY180" fmla="*/ 421024 h 697375"/>
                <a:gd name="connsiteX181" fmla="*/ 425060 w 1108203"/>
                <a:gd name="connsiteY181" fmla="*/ 414540 h 697375"/>
                <a:gd name="connsiteX182" fmla="*/ 467842 w 1108203"/>
                <a:gd name="connsiteY182" fmla="*/ 436499 h 697375"/>
                <a:gd name="connsiteX183" fmla="*/ 496458 w 1108203"/>
                <a:gd name="connsiteY183" fmla="*/ 436499 h 697375"/>
                <a:gd name="connsiteX184" fmla="*/ 465772 w 1108203"/>
                <a:gd name="connsiteY184" fmla="*/ 421024 h 69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108203" h="697375">
                  <a:moveTo>
                    <a:pt x="37428" y="134216"/>
                  </a:moveTo>
                  <a:cubicBezTo>
                    <a:pt x="34790" y="136088"/>
                    <a:pt x="38930" y="148221"/>
                    <a:pt x="45546" y="147151"/>
                  </a:cubicBezTo>
                  <a:cubicBezTo>
                    <a:pt x="52162" y="146082"/>
                    <a:pt x="45871" y="128334"/>
                    <a:pt x="37428" y="134216"/>
                  </a:cubicBezTo>
                  <a:close/>
                  <a:moveTo>
                    <a:pt x="276177" y="248258"/>
                  </a:moveTo>
                  <a:cubicBezTo>
                    <a:pt x="278369" y="244080"/>
                    <a:pt x="257546" y="239033"/>
                    <a:pt x="260428" y="247021"/>
                  </a:cubicBezTo>
                  <a:cubicBezTo>
                    <a:pt x="261565" y="250731"/>
                    <a:pt x="266152" y="252970"/>
                    <a:pt x="270657" y="252035"/>
                  </a:cubicBezTo>
                  <a:cubicBezTo>
                    <a:pt x="273092" y="251500"/>
                    <a:pt x="275122" y="250129"/>
                    <a:pt x="276177" y="248258"/>
                  </a:cubicBezTo>
                  <a:close/>
                  <a:moveTo>
                    <a:pt x="17823" y="81608"/>
                  </a:moveTo>
                  <a:cubicBezTo>
                    <a:pt x="14089" y="85819"/>
                    <a:pt x="16403" y="102197"/>
                    <a:pt x="28458" y="99523"/>
                  </a:cubicBezTo>
                  <a:cubicBezTo>
                    <a:pt x="40513" y="96849"/>
                    <a:pt x="21517" y="77463"/>
                    <a:pt x="17823" y="81608"/>
                  </a:cubicBezTo>
                  <a:close/>
                  <a:moveTo>
                    <a:pt x="557424" y="369351"/>
                  </a:moveTo>
                  <a:cubicBezTo>
                    <a:pt x="576013" y="377875"/>
                    <a:pt x="522679" y="413069"/>
                    <a:pt x="558559" y="407554"/>
                  </a:cubicBezTo>
                  <a:cubicBezTo>
                    <a:pt x="574795" y="405114"/>
                    <a:pt x="566353" y="395923"/>
                    <a:pt x="569722" y="387500"/>
                  </a:cubicBezTo>
                  <a:cubicBezTo>
                    <a:pt x="571832" y="382219"/>
                    <a:pt x="578895" y="362667"/>
                    <a:pt x="592818" y="369986"/>
                  </a:cubicBezTo>
                  <a:cubicBezTo>
                    <a:pt x="608810" y="378409"/>
                    <a:pt x="587663" y="381852"/>
                    <a:pt x="595172" y="390776"/>
                  </a:cubicBezTo>
                  <a:cubicBezTo>
                    <a:pt x="605522" y="403109"/>
                    <a:pt x="590220" y="408591"/>
                    <a:pt x="615466" y="412902"/>
                  </a:cubicBezTo>
                  <a:cubicBezTo>
                    <a:pt x="644407" y="417883"/>
                    <a:pt x="622367" y="403443"/>
                    <a:pt x="632717" y="394319"/>
                  </a:cubicBezTo>
                  <a:cubicBezTo>
                    <a:pt x="639171" y="388670"/>
                    <a:pt x="637304" y="386297"/>
                    <a:pt x="631743" y="378576"/>
                  </a:cubicBezTo>
                  <a:cubicBezTo>
                    <a:pt x="629024" y="374766"/>
                    <a:pt x="623382" y="364004"/>
                    <a:pt x="635031" y="367145"/>
                  </a:cubicBezTo>
                  <a:cubicBezTo>
                    <a:pt x="651023" y="371390"/>
                    <a:pt x="708093" y="371323"/>
                    <a:pt x="667503" y="358221"/>
                  </a:cubicBezTo>
                  <a:cubicBezTo>
                    <a:pt x="656300" y="354578"/>
                    <a:pt x="638400" y="349665"/>
                    <a:pt x="628334" y="352807"/>
                  </a:cubicBezTo>
                  <a:cubicBezTo>
                    <a:pt x="616157" y="356583"/>
                    <a:pt x="605807" y="348963"/>
                    <a:pt x="601626" y="338936"/>
                  </a:cubicBezTo>
                  <a:cubicBezTo>
                    <a:pt x="589449" y="309423"/>
                    <a:pt x="649115" y="327472"/>
                    <a:pt x="669207" y="335961"/>
                  </a:cubicBezTo>
                  <a:cubicBezTo>
                    <a:pt x="681750" y="341209"/>
                    <a:pt x="693318" y="351503"/>
                    <a:pt x="705738" y="355681"/>
                  </a:cubicBezTo>
                  <a:cubicBezTo>
                    <a:pt x="712151" y="357820"/>
                    <a:pt x="758992" y="357286"/>
                    <a:pt x="752497" y="351002"/>
                  </a:cubicBezTo>
                  <a:cubicBezTo>
                    <a:pt x="748155" y="346824"/>
                    <a:pt x="724085" y="348227"/>
                    <a:pt x="718687" y="348027"/>
                  </a:cubicBezTo>
                  <a:cubicBezTo>
                    <a:pt x="706307" y="347559"/>
                    <a:pt x="691735" y="338802"/>
                    <a:pt x="681790" y="332953"/>
                  </a:cubicBezTo>
                  <a:cubicBezTo>
                    <a:pt x="671846" y="327104"/>
                    <a:pt x="658411" y="314537"/>
                    <a:pt x="646964" y="311963"/>
                  </a:cubicBezTo>
                  <a:cubicBezTo>
                    <a:pt x="641079" y="310659"/>
                    <a:pt x="636168" y="312464"/>
                    <a:pt x="630728" y="312699"/>
                  </a:cubicBezTo>
                  <a:cubicBezTo>
                    <a:pt x="625290" y="312932"/>
                    <a:pt x="619039" y="310058"/>
                    <a:pt x="613721" y="311027"/>
                  </a:cubicBezTo>
                  <a:cubicBezTo>
                    <a:pt x="604792" y="312699"/>
                    <a:pt x="600652" y="319483"/>
                    <a:pt x="595253" y="323795"/>
                  </a:cubicBezTo>
                  <a:cubicBezTo>
                    <a:pt x="589855" y="328107"/>
                    <a:pt x="582224" y="328541"/>
                    <a:pt x="576784" y="332652"/>
                  </a:cubicBezTo>
                  <a:cubicBezTo>
                    <a:pt x="562943" y="343047"/>
                    <a:pt x="520690" y="352707"/>
                    <a:pt x="557504" y="369418"/>
                  </a:cubicBezTo>
                  <a:close/>
                  <a:moveTo>
                    <a:pt x="204293" y="250297"/>
                  </a:moveTo>
                  <a:cubicBezTo>
                    <a:pt x="205713" y="246553"/>
                    <a:pt x="214968" y="231379"/>
                    <a:pt x="223370" y="233217"/>
                  </a:cubicBezTo>
                  <a:cubicBezTo>
                    <a:pt x="231122" y="234888"/>
                    <a:pt x="240783" y="237161"/>
                    <a:pt x="236683" y="227869"/>
                  </a:cubicBezTo>
                  <a:cubicBezTo>
                    <a:pt x="234776" y="223524"/>
                    <a:pt x="231610" y="217842"/>
                    <a:pt x="229133" y="213497"/>
                  </a:cubicBezTo>
                  <a:cubicBezTo>
                    <a:pt x="226333" y="208383"/>
                    <a:pt x="205794" y="199426"/>
                    <a:pt x="208838" y="207848"/>
                  </a:cubicBezTo>
                  <a:cubicBezTo>
                    <a:pt x="210462" y="212662"/>
                    <a:pt x="228119" y="217408"/>
                    <a:pt x="219514" y="222689"/>
                  </a:cubicBezTo>
                  <a:cubicBezTo>
                    <a:pt x="212979" y="219714"/>
                    <a:pt x="206768" y="216305"/>
                    <a:pt x="200924" y="212461"/>
                  </a:cubicBezTo>
                  <a:cubicBezTo>
                    <a:pt x="198325" y="210289"/>
                    <a:pt x="199584" y="207548"/>
                    <a:pt x="198894" y="205309"/>
                  </a:cubicBezTo>
                  <a:cubicBezTo>
                    <a:pt x="197758" y="201732"/>
                    <a:pt x="192765" y="201064"/>
                    <a:pt x="189518" y="198624"/>
                  </a:cubicBezTo>
                  <a:cubicBezTo>
                    <a:pt x="182577" y="193109"/>
                    <a:pt x="187976" y="185655"/>
                    <a:pt x="180304" y="180341"/>
                  </a:cubicBezTo>
                  <a:cubicBezTo>
                    <a:pt x="174012" y="175929"/>
                    <a:pt x="160496" y="171584"/>
                    <a:pt x="172186" y="166771"/>
                  </a:cubicBezTo>
                  <a:cubicBezTo>
                    <a:pt x="181237" y="163061"/>
                    <a:pt x="181115" y="162493"/>
                    <a:pt x="174418" y="154571"/>
                  </a:cubicBezTo>
                  <a:cubicBezTo>
                    <a:pt x="170075" y="149357"/>
                    <a:pt x="173363" y="144177"/>
                    <a:pt x="165773" y="140366"/>
                  </a:cubicBezTo>
                  <a:cubicBezTo>
                    <a:pt x="163012" y="138963"/>
                    <a:pt x="159116" y="137225"/>
                    <a:pt x="160293" y="134851"/>
                  </a:cubicBezTo>
                  <a:cubicBezTo>
                    <a:pt x="162241" y="130941"/>
                    <a:pt x="153028" y="126395"/>
                    <a:pt x="150876" y="122451"/>
                  </a:cubicBezTo>
                  <a:cubicBezTo>
                    <a:pt x="148157" y="117337"/>
                    <a:pt x="145478" y="118240"/>
                    <a:pt x="140120" y="115432"/>
                  </a:cubicBezTo>
                  <a:cubicBezTo>
                    <a:pt x="134762" y="112625"/>
                    <a:pt x="133261" y="107377"/>
                    <a:pt x="128471" y="104169"/>
                  </a:cubicBezTo>
                  <a:cubicBezTo>
                    <a:pt x="118404" y="97484"/>
                    <a:pt x="111707" y="99222"/>
                    <a:pt x="105822" y="88794"/>
                  </a:cubicBezTo>
                  <a:cubicBezTo>
                    <a:pt x="101763" y="81407"/>
                    <a:pt x="101763" y="76360"/>
                    <a:pt x="94619" y="69408"/>
                  </a:cubicBezTo>
                  <a:cubicBezTo>
                    <a:pt x="86501" y="61754"/>
                    <a:pt x="76962" y="54368"/>
                    <a:pt x="71036" y="46012"/>
                  </a:cubicBezTo>
                  <a:cubicBezTo>
                    <a:pt x="66368" y="39561"/>
                    <a:pt x="68114" y="33946"/>
                    <a:pt x="59346" y="28063"/>
                  </a:cubicBezTo>
                  <a:cubicBezTo>
                    <a:pt x="48834" y="21011"/>
                    <a:pt x="34465" y="19473"/>
                    <a:pt x="23628" y="13156"/>
                  </a:cubicBezTo>
                  <a:cubicBezTo>
                    <a:pt x="18026" y="9814"/>
                    <a:pt x="12952" y="2160"/>
                    <a:pt x="6498" y="121"/>
                  </a:cubicBezTo>
                  <a:cubicBezTo>
                    <a:pt x="-4177" y="-3221"/>
                    <a:pt x="1141" y="12688"/>
                    <a:pt x="2196" y="14861"/>
                  </a:cubicBezTo>
                  <a:cubicBezTo>
                    <a:pt x="9340" y="29433"/>
                    <a:pt x="27077" y="41232"/>
                    <a:pt x="33816" y="55470"/>
                  </a:cubicBezTo>
                  <a:cubicBezTo>
                    <a:pt x="36779" y="61721"/>
                    <a:pt x="39011" y="69742"/>
                    <a:pt x="47048" y="74923"/>
                  </a:cubicBezTo>
                  <a:cubicBezTo>
                    <a:pt x="55085" y="80104"/>
                    <a:pt x="58048" y="82610"/>
                    <a:pt x="59225" y="90030"/>
                  </a:cubicBezTo>
                  <a:cubicBezTo>
                    <a:pt x="60442" y="99656"/>
                    <a:pt x="55815" y="110920"/>
                    <a:pt x="67343" y="119443"/>
                  </a:cubicBezTo>
                  <a:cubicBezTo>
                    <a:pt x="82564" y="130707"/>
                    <a:pt x="88368" y="152299"/>
                    <a:pt x="88368" y="164933"/>
                  </a:cubicBezTo>
                  <a:cubicBezTo>
                    <a:pt x="88368" y="181411"/>
                    <a:pt x="107323" y="191671"/>
                    <a:pt x="112722" y="207514"/>
                  </a:cubicBezTo>
                  <a:cubicBezTo>
                    <a:pt x="117918" y="222388"/>
                    <a:pt x="139917" y="233885"/>
                    <a:pt x="147223" y="248024"/>
                  </a:cubicBezTo>
                  <a:cubicBezTo>
                    <a:pt x="148157" y="249862"/>
                    <a:pt x="150308" y="263265"/>
                    <a:pt x="156234" y="260391"/>
                  </a:cubicBezTo>
                  <a:cubicBezTo>
                    <a:pt x="162160" y="257516"/>
                    <a:pt x="174337" y="265738"/>
                    <a:pt x="179289" y="268312"/>
                  </a:cubicBezTo>
                  <a:cubicBezTo>
                    <a:pt x="193577" y="275799"/>
                    <a:pt x="202142" y="256513"/>
                    <a:pt x="204536" y="250297"/>
                  </a:cubicBezTo>
                  <a:cubicBezTo>
                    <a:pt x="206931" y="243545"/>
                    <a:pt x="201776" y="257048"/>
                    <a:pt x="204373" y="250297"/>
                  </a:cubicBezTo>
                  <a:close/>
                  <a:moveTo>
                    <a:pt x="825316" y="408022"/>
                  </a:moveTo>
                  <a:cubicBezTo>
                    <a:pt x="841552" y="416445"/>
                    <a:pt x="848249" y="399265"/>
                    <a:pt x="832500" y="393049"/>
                  </a:cubicBezTo>
                  <a:cubicBezTo>
                    <a:pt x="825640" y="390341"/>
                    <a:pt x="835057" y="367045"/>
                    <a:pt x="812205" y="377975"/>
                  </a:cubicBezTo>
                  <a:cubicBezTo>
                    <a:pt x="800515" y="383657"/>
                    <a:pt x="797349" y="399566"/>
                    <a:pt x="802667" y="410730"/>
                  </a:cubicBezTo>
                  <a:cubicBezTo>
                    <a:pt x="808958" y="424099"/>
                    <a:pt x="812977" y="401672"/>
                    <a:pt x="825154" y="408022"/>
                  </a:cubicBezTo>
                  <a:close/>
                  <a:moveTo>
                    <a:pt x="727901" y="436366"/>
                  </a:moveTo>
                  <a:cubicBezTo>
                    <a:pt x="726277" y="444788"/>
                    <a:pt x="745151" y="458258"/>
                    <a:pt x="755136" y="454682"/>
                  </a:cubicBezTo>
                  <a:cubicBezTo>
                    <a:pt x="765121" y="451105"/>
                    <a:pt x="729849" y="426573"/>
                    <a:pt x="727941" y="436366"/>
                  </a:cubicBezTo>
                  <a:close/>
                  <a:moveTo>
                    <a:pt x="621433" y="486501"/>
                  </a:moveTo>
                  <a:cubicBezTo>
                    <a:pt x="611854" y="481220"/>
                    <a:pt x="601138" y="479415"/>
                    <a:pt x="590463" y="476908"/>
                  </a:cubicBezTo>
                  <a:cubicBezTo>
                    <a:pt x="578287" y="474067"/>
                    <a:pt x="571630" y="469388"/>
                    <a:pt x="561807" y="463539"/>
                  </a:cubicBezTo>
                  <a:cubicBezTo>
                    <a:pt x="557302" y="460765"/>
                    <a:pt x="510014" y="444120"/>
                    <a:pt x="519228" y="453980"/>
                  </a:cubicBezTo>
                  <a:cubicBezTo>
                    <a:pt x="531690" y="467349"/>
                    <a:pt x="566069" y="477744"/>
                    <a:pt x="585390" y="481621"/>
                  </a:cubicBezTo>
                  <a:cubicBezTo>
                    <a:pt x="595943" y="483626"/>
                    <a:pt x="606334" y="486334"/>
                    <a:pt x="616359" y="489743"/>
                  </a:cubicBezTo>
                  <a:cubicBezTo>
                    <a:pt x="626345" y="493086"/>
                    <a:pt x="635802" y="494489"/>
                    <a:pt x="621433" y="486601"/>
                  </a:cubicBezTo>
                  <a:close/>
                  <a:moveTo>
                    <a:pt x="831932" y="474803"/>
                  </a:moveTo>
                  <a:cubicBezTo>
                    <a:pt x="819796" y="466079"/>
                    <a:pt x="805345" y="459762"/>
                    <a:pt x="789719" y="456420"/>
                  </a:cubicBezTo>
                  <a:cubicBezTo>
                    <a:pt x="786268" y="455751"/>
                    <a:pt x="779855" y="454882"/>
                    <a:pt x="779612" y="458058"/>
                  </a:cubicBezTo>
                  <a:cubicBezTo>
                    <a:pt x="779084" y="464742"/>
                    <a:pt x="796903" y="470290"/>
                    <a:pt x="803763" y="473132"/>
                  </a:cubicBezTo>
                  <a:cubicBezTo>
                    <a:pt x="819592" y="479817"/>
                    <a:pt x="825154" y="491347"/>
                    <a:pt x="838710" y="497564"/>
                  </a:cubicBezTo>
                  <a:cubicBezTo>
                    <a:pt x="852267" y="503781"/>
                    <a:pt x="836032" y="477777"/>
                    <a:pt x="831932" y="474803"/>
                  </a:cubicBezTo>
                  <a:cubicBezTo>
                    <a:pt x="815169" y="462637"/>
                    <a:pt x="848776" y="487236"/>
                    <a:pt x="831973" y="474903"/>
                  </a:cubicBezTo>
                  <a:close/>
                  <a:moveTo>
                    <a:pt x="392792" y="387333"/>
                  </a:moveTo>
                  <a:cubicBezTo>
                    <a:pt x="396039" y="379479"/>
                    <a:pt x="309501" y="356283"/>
                    <a:pt x="373390" y="364705"/>
                  </a:cubicBezTo>
                  <a:cubicBezTo>
                    <a:pt x="394780" y="367580"/>
                    <a:pt x="381792" y="360394"/>
                    <a:pt x="368478" y="356985"/>
                  </a:cubicBezTo>
                  <a:cubicBezTo>
                    <a:pt x="343353" y="350567"/>
                    <a:pt x="331419" y="345855"/>
                    <a:pt x="311084" y="332619"/>
                  </a:cubicBezTo>
                  <a:cubicBezTo>
                    <a:pt x="302966" y="327305"/>
                    <a:pt x="299151" y="332619"/>
                    <a:pt x="288841" y="327873"/>
                  </a:cubicBezTo>
                  <a:cubicBezTo>
                    <a:pt x="274756" y="321456"/>
                    <a:pt x="262133" y="313066"/>
                    <a:pt x="251498" y="303139"/>
                  </a:cubicBezTo>
                  <a:cubicBezTo>
                    <a:pt x="243137" y="294449"/>
                    <a:pt x="226698" y="286427"/>
                    <a:pt x="213466" y="282082"/>
                  </a:cubicBezTo>
                  <a:cubicBezTo>
                    <a:pt x="207012" y="279876"/>
                    <a:pt x="198042" y="277503"/>
                    <a:pt x="192521" y="280044"/>
                  </a:cubicBezTo>
                  <a:cubicBezTo>
                    <a:pt x="189721" y="281314"/>
                    <a:pt x="176854" y="280545"/>
                    <a:pt x="176285" y="281815"/>
                  </a:cubicBezTo>
                  <a:cubicBezTo>
                    <a:pt x="170806" y="293480"/>
                    <a:pt x="195972" y="289670"/>
                    <a:pt x="196987" y="300098"/>
                  </a:cubicBezTo>
                  <a:cubicBezTo>
                    <a:pt x="197798" y="308554"/>
                    <a:pt x="218701" y="316208"/>
                    <a:pt x="228566" y="320854"/>
                  </a:cubicBezTo>
                  <a:cubicBezTo>
                    <a:pt x="240255" y="326335"/>
                    <a:pt x="248657" y="324196"/>
                    <a:pt x="259373" y="328976"/>
                  </a:cubicBezTo>
                  <a:cubicBezTo>
                    <a:pt x="278450" y="337599"/>
                    <a:pt x="286567" y="350567"/>
                    <a:pt x="302682" y="360628"/>
                  </a:cubicBezTo>
                  <a:cubicBezTo>
                    <a:pt x="317010" y="369519"/>
                    <a:pt x="333044" y="376404"/>
                    <a:pt x="350091" y="381016"/>
                  </a:cubicBezTo>
                  <a:cubicBezTo>
                    <a:pt x="360117" y="383623"/>
                    <a:pt x="366693" y="389940"/>
                    <a:pt x="375663" y="393784"/>
                  </a:cubicBezTo>
                  <a:cubicBezTo>
                    <a:pt x="382319" y="396625"/>
                    <a:pt x="385241" y="392681"/>
                    <a:pt x="390965" y="397695"/>
                  </a:cubicBezTo>
                  <a:cubicBezTo>
                    <a:pt x="394821" y="401906"/>
                    <a:pt x="400179" y="404948"/>
                    <a:pt x="406307" y="406418"/>
                  </a:cubicBezTo>
                  <a:cubicBezTo>
                    <a:pt x="408216" y="406752"/>
                    <a:pt x="421326" y="407688"/>
                    <a:pt x="416536" y="403443"/>
                  </a:cubicBezTo>
                  <a:cubicBezTo>
                    <a:pt x="412477" y="399767"/>
                    <a:pt x="390843" y="392180"/>
                    <a:pt x="392832" y="387333"/>
                  </a:cubicBezTo>
                  <a:cubicBezTo>
                    <a:pt x="395186" y="381651"/>
                    <a:pt x="390437" y="393216"/>
                    <a:pt x="392832" y="387434"/>
                  </a:cubicBezTo>
                  <a:close/>
                  <a:moveTo>
                    <a:pt x="1036951" y="545594"/>
                  </a:moveTo>
                  <a:cubicBezTo>
                    <a:pt x="1029604" y="542252"/>
                    <a:pt x="1022948" y="545594"/>
                    <a:pt x="1017386" y="546964"/>
                  </a:cubicBezTo>
                  <a:cubicBezTo>
                    <a:pt x="1009918" y="548802"/>
                    <a:pt x="1002003" y="544558"/>
                    <a:pt x="993601" y="544424"/>
                  </a:cubicBezTo>
                  <a:cubicBezTo>
                    <a:pt x="982033" y="544223"/>
                    <a:pt x="950130" y="548335"/>
                    <a:pt x="947572" y="533896"/>
                  </a:cubicBezTo>
                  <a:cubicBezTo>
                    <a:pt x="943229" y="509530"/>
                    <a:pt x="970627" y="497831"/>
                    <a:pt x="934827" y="474168"/>
                  </a:cubicBezTo>
                  <a:cubicBezTo>
                    <a:pt x="928251" y="469622"/>
                    <a:pt x="920986" y="465812"/>
                    <a:pt x="913193" y="462871"/>
                  </a:cubicBezTo>
                  <a:cubicBezTo>
                    <a:pt x="903208" y="459328"/>
                    <a:pt x="901381" y="464241"/>
                    <a:pt x="892492" y="463105"/>
                  </a:cubicBezTo>
                  <a:cubicBezTo>
                    <a:pt x="886281" y="462302"/>
                    <a:pt x="877270" y="457590"/>
                    <a:pt x="873130" y="461467"/>
                  </a:cubicBezTo>
                  <a:cubicBezTo>
                    <a:pt x="866514" y="467650"/>
                    <a:pt x="882710" y="469522"/>
                    <a:pt x="888149" y="474268"/>
                  </a:cubicBezTo>
                  <a:cubicBezTo>
                    <a:pt x="894319" y="479716"/>
                    <a:pt x="887824" y="485131"/>
                    <a:pt x="891802" y="490545"/>
                  </a:cubicBezTo>
                  <a:cubicBezTo>
                    <a:pt x="896308" y="496695"/>
                    <a:pt x="909418" y="500806"/>
                    <a:pt x="917333" y="503714"/>
                  </a:cubicBezTo>
                  <a:cubicBezTo>
                    <a:pt x="921392" y="505252"/>
                    <a:pt x="938196" y="509697"/>
                    <a:pt x="934421" y="514510"/>
                  </a:cubicBezTo>
                  <a:cubicBezTo>
                    <a:pt x="931702" y="517852"/>
                    <a:pt x="917860" y="506856"/>
                    <a:pt x="911934" y="506488"/>
                  </a:cubicBezTo>
                  <a:cubicBezTo>
                    <a:pt x="903167" y="505920"/>
                    <a:pt x="899311" y="501408"/>
                    <a:pt x="891355" y="497999"/>
                  </a:cubicBezTo>
                  <a:cubicBezTo>
                    <a:pt x="878366" y="492417"/>
                    <a:pt x="890097" y="505285"/>
                    <a:pt x="891761" y="508728"/>
                  </a:cubicBezTo>
                  <a:cubicBezTo>
                    <a:pt x="894521" y="514376"/>
                    <a:pt x="887946" y="520125"/>
                    <a:pt x="892208" y="524971"/>
                  </a:cubicBezTo>
                  <a:cubicBezTo>
                    <a:pt x="899311" y="533094"/>
                    <a:pt x="905075" y="527278"/>
                    <a:pt x="910230" y="525874"/>
                  </a:cubicBezTo>
                  <a:cubicBezTo>
                    <a:pt x="915385" y="524470"/>
                    <a:pt x="936979" y="552245"/>
                    <a:pt x="939982" y="555955"/>
                  </a:cubicBezTo>
                  <a:cubicBezTo>
                    <a:pt x="944487" y="561437"/>
                    <a:pt x="958369" y="567386"/>
                    <a:pt x="964945" y="572099"/>
                  </a:cubicBezTo>
                  <a:cubicBezTo>
                    <a:pt x="975051" y="579285"/>
                    <a:pt x="984550" y="587006"/>
                    <a:pt x="993357" y="595261"/>
                  </a:cubicBezTo>
                  <a:cubicBezTo>
                    <a:pt x="999487" y="601010"/>
                    <a:pt x="1006549" y="607695"/>
                    <a:pt x="1009106" y="614280"/>
                  </a:cubicBezTo>
                  <a:cubicBezTo>
                    <a:pt x="1011948" y="621499"/>
                    <a:pt x="1004195" y="625543"/>
                    <a:pt x="1007564" y="632896"/>
                  </a:cubicBezTo>
                  <a:cubicBezTo>
                    <a:pt x="1019741" y="659301"/>
                    <a:pt x="986010" y="636673"/>
                    <a:pt x="969571" y="642121"/>
                  </a:cubicBezTo>
                  <a:cubicBezTo>
                    <a:pt x="955041" y="646901"/>
                    <a:pt x="993073" y="659836"/>
                    <a:pt x="998716" y="662175"/>
                  </a:cubicBezTo>
                  <a:cubicBezTo>
                    <a:pt x="1006915" y="665117"/>
                    <a:pt x="1014951" y="668359"/>
                    <a:pt x="1022785" y="671969"/>
                  </a:cubicBezTo>
                  <a:cubicBezTo>
                    <a:pt x="1031593" y="676414"/>
                    <a:pt x="1034596" y="690819"/>
                    <a:pt x="1039305" y="697036"/>
                  </a:cubicBezTo>
                  <a:cubicBezTo>
                    <a:pt x="1056109" y="674743"/>
                    <a:pt x="1072914" y="652482"/>
                    <a:pt x="1089758" y="630189"/>
                  </a:cubicBezTo>
                  <a:cubicBezTo>
                    <a:pt x="1095887" y="622067"/>
                    <a:pt x="1102016" y="613945"/>
                    <a:pt x="1108105" y="605790"/>
                  </a:cubicBezTo>
                  <a:cubicBezTo>
                    <a:pt x="1109931" y="603517"/>
                    <a:pt x="1047017" y="550106"/>
                    <a:pt x="1036951" y="545828"/>
                  </a:cubicBezTo>
                  <a:close/>
                  <a:moveTo>
                    <a:pt x="644692" y="510466"/>
                  </a:moveTo>
                  <a:cubicBezTo>
                    <a:pt x="635680" y="510265"/>
                    <a:pt x="626791" y="514042"/>
                    <a:pt x="622651" y="505653"/>
                  </a:cubicBezTo>
                  <a:cubicBezTo>
                    <a:pt x="613396" y="504249"/>
                    <a:pt x="599881" y="505653"/>
                    <a:pt x="598014" y="512338"/>
                  </a:cubicBezTo>
                  <a:cubicBezTo>
                    <a:pt x="593264" y="529049"/>
                    <a:pt x="642459" y="518421"/>
                    <a:pt x="649278" y="519022"/>
                  </a:cubicBezTo>
                  <a:cubicBezTo>
                    <a:pt x="648263" y="516048"/>
                    <a:pt x="646681" y="513207"/>
                    <a:pt x="644692" y="510599"/>
                  </a:cubicBezTo>
                  <a:cubicBezTo>
                    <a:pt x="641768" y="510399"/>
                    <a:pt x="646437" y="512739"/>
                    <a:pt x="644611" y="510466"/>
                  </a:cubicBezTo>
                  <a:close/>
                  <a:moveTo>
                    <a:pt x="508432" y="308654"/>
                  </a:moveTo>
                  <a:cubicBezTo>
                    <a:pt x="533150" y="309289"/>
                    <a:pt x="528442" y="286494"/>
                    <a:pt x="548210" y="287597"/>
                  </a:cubicBezTo>
                  <a:cubicBezTo>
                    <a:pt x="557951" y="288132"/>
                    <a:pt x="594685" y="300967"/>
                    <a:pt x="584741" y="285859"/>
                  </a:cubicBezTo>
                  <a:cubicBezTo>
                    <a:pt x="581209" y="280445"/>
                    <a:pt x="568748" y="272991"/>
                    <a:pt x="570980" y="267643"/>
                  </a:cubicBezTo>
                  <a:cubicBezTo>
                    <a:pt x="574146" y="260190"/>
                    <a:pt x="569601" y="256313"/>
                    <a:pt x="566921" y="248124"/>
                  </a:cubicBezTo>
                  <a:cubicBezTo>
                    <a:pt x="563836" y="238097"/>
                    <a:pt x="575039" y="245183"/>
                    <a:pt x="576257" y="240904"/>
                  </a:cubicBezTo>
                  <a:cubicBezTo>
                    <a:pt x="577719" y="235356"/>
                    <a:pt x="572198" y="230075"/>
                    <a:pt x="584659" y="231245"/>
                  </a:cubicBezTo>
                  <a:cubicBezTo>
                    <a:pt x="573091" y="222455"/>
                    <a:pt x="558885" y="216305"/>
                    <a:pt x="543541" y="213397"/>
                  </a:cubicBezTo>
                  <a:cubicBezTo>
                    <a:pt x="525642" y="210255"/>
                    <a:pt x="531365" y="224895"/>
                    <a:pt x="516550" y="223992"/>
                  </a:cubicBezTo>
                  <a:cubicBezTo>
                    <a:pt x="504373" y="223257"/>
                    <a:pt x="502506" y="227903"/>
                    <a:pt x="493454" y="231880"/>
                  </a:cubicBezTo>
                  <a:cubicBezTo>
                    <a:pt x="488664" y="233986"/>
                    <a:pt x="489841" y="240102"/>
                    <a:pt x="484524" y="241372"/>
                  </a:cubicBezTo>
                  <a:cubicBezTo>
                    <a:pt x="479207" y="242642"/>
                    <a:pt x="466502" y="238030"/>
                    <a:pt x="460170" y="237495"/>
                  </a:cubicBezTo>
                  <a:cubicBezTo>
                    <a:pt x="444989" y="236359"/>
                    <a:pt x="442433" y="224126"/>
                    <a:pt x="424776" y="222221"/>
                  </a:cubicBezTo>
                  <a:cubicBezTo>
                    <a:pt x="418769" y="221586"/>
                    <a:pt x="413410" y="222856"/>
                    <a:pt x="407282" y="221853"/>
                  </a:cubicBezTo>
                  <a:cubicBezTo>
                    <a:pt x="398150" y="220416"/>
                    <a:pt x="389504" y="215536"/>
                    <a:pt x="380818" y="212695"/>
                  </a:cubicBezTo>
                  <a:cubicBezTo>
                    <a:pt x="375338" y="210924"/>
                    <a:pt x="369656" y="211859"/>
                    <a:pt x="365597" y="208049"/>
                  </a:cubicBezTo>
                  <a:cubicBezTo>
                    <a:pt x="362430" y="205074"/>
                    <a:pt x="353054" y="197186"/>
                    <a:pt x="351958" y="194078"/>
                  </a:cubicBezTo>
                  <a:cubicBezTo>
                    <a:pt x="349807" y="187962"/>
                    <a:pt x="355287" y="180709"/>
                    <a:pt x="341161" y="182079"/>
                  </a:cubicBezTo>
                  <a:cubicBezTo>
                    <a:pt x="333571" y="182681"/>
                    <a:pt x="326508" y="185589"/>
                    <a:pt x="321313" y="190201"/>
                  </a:cubicBezTo>
                  <a:cubicBezTo>
                    <a:pt x="317050" y="194479"/>
                    <a:pt x="320623" y="197320"/>
                    <a:pt x="322652" y="202534"/>
                  </a:cubicBezTo>
                  <a:cubicBezTo>
                    <a:pt x="325331" y="209453"/>
                    <a:pt x="321800" y="215168"/>
                    <a:pt x="321841" y="221652"/>
                  </a:cubicBezTo>
                  <a:cubicBezTo>
                    <a:pt x="321841" y="231446"/>
                    <a:pt x="341689" y="238598"/>
                    <a:pt x="336250" y="248625"/>
                  </a:cubicBezTo>
                  <a:cubicBezTo>
                    <a:pt x="333084" y="254475"/>
                    <a:pt x="332191" y="273526"/>
                    <a:pt x="345951" y="277871"/>
                  </a:cubicBezTo>
                  <a:cubicBezTo>
                    <a:pt x="355976" y="281046"/>
                    <a:pt x="362187" y="279242"/>
                    <a:pt x="365758" y="288500"/>
                  </a:cubicBezTo>
                  <a:cubicBezTo>
                    <a:pt x="368031" y="294516"/>
                    <a:pt x="370142" y="295418"/>
                    <a:pt x="379437" y="297323"/>
                  </a:cubicBezTo>
                  <a:cubicBezTo>
                    <a:pt x="395145" y="300666"/>
                    <a:pt x="404116" y="302872"/>
                    <a:pt x="417023" y="311194"/>
                  </a:cubicBezTo>
                  <a:cubicBezTo>
                    <a:pt x="428713" y="318748"/>
                    <a:pt x="427212" y="327906"/>
                    <a:pt x="442433" y="330981"/>
                  </a:cubicBezTo>
                  <a:cubicBezTo>
                    <a:pt x="458669" y="334324"/>
                    <a:pt x="473524" y="337933"/>
                    <a:pt x="482413" y="329176"/>
                  </a:cubicBezTo>
                  <a:cubicBezTo>
                    <a:pt x="488421" y="323260"/>
                    <a:pt x="494388" y="308320"/>
                    <a:pt x="508188" y="308654"/>
                  </a:cubicBezTo>
                  <a:close/>
                  <a:moveTo>
                    <a:pt x="489477" y="458091"/>
                  </a:moveTo>
                  <a:cubicBezTo>
                    <a:pt x="491506" y="464174"/>
                    <a:pt x="505915" y="473098"/>
                    <a:pt x="511881" y="478646"/>
                  </a:cubicBezTo>
                  <a:cubicBezTo>
                    <a:pt x="515940" y="482557"/>
                    <a:pt x="535789" y="492283"/>
                    <a:pt x="530147" y="481320"/>
                  </a:cubicBezTo>
                  <a:cubicBezTo>
                    <a:pt x="526656" y="474636"/>
                    <a:pt x="515251" y="468218"/>
                    <a:pt x="507214" y="463840"/>
                  </a:cubicBezTo>
                  <a:cubicBezTo>
                    <a:pt x="506077" y="463238"/>
                    <a:pt x="488177" y="454314"/>
                    <a:pt x="489477" y="458091"/>
                  </a:cubicBezTo>
                  <a:cubicBezTo>
                    <a:pt x="491344" y="463973"/>
                    <a:pt x="487163" y="451573"/>
                    <a:pt x="489395" y="458091"/>
                  </a:cubicBezTo>
                  <a:close/>
                  <a:moveTo>
                    <a:pt x="465650" y="421024"/>
                  </a:moveTo>
                  <a:cubicBezTo>
                    <a:pt x="453270" y="427709"/>
                    <a:pt x="431352" y="400201"/>
                    <a:pt x="425060" y="414540"/>
                  </a:cubicBezTo>
                  <a:cubicBezTo>
                    <a:pt x="419337" y="427408"/>
                    <a:pt x="458100" y="434594"/>
                    <a:pt x="467842" y="436499"/>
                  </a:cubicBezTo>
                  <a:cubicBezTo>
                    <a:pt x="472875" y="437502"/>
                    <a:pt x="511638" y="451206"/>
                    <a:pt x="496458" y="436499"/>
                  </a:cubicBezTo>
                  <a:cubicBezTo>
                    <a:pt x="492845" y="432957"/>
                    <a:pt x="472104" y="417581"/>
                    <a:pt x="465772" y="42102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65C07C72-309C-4CE2-B407-FD2D7B8C27ED}"/>
                </a:ext>
              </a:extLst>
            </p:cNvPr>
            <p:cNvSpPr/>
            <p:nvPr/>
          </p:nvSpPr>
          <p:spPr>
            <a:xfrm>
              <a:off x="9074597" y="5606097"/>
              <a:ext cx="86612" cy="21730"/>
            </a:xfrm>
            <a:custGeom>
              <a:avLst/>
              <a:gdLst>
                <a:gd name="connsiteX0" fmla="*/ 8668 w 86612"/>
                <a:gd name="connsiteY0" fmla="*/ 1867 h 21730"/>
                <a:gd name="connsiteX1" fmla="*/ -60 w 86612"/>
                <a:gd name="connsiteY1" fmla="*/ -339 h 21730"/>
                <a:gd name="connsiteX2" fmla="*/ 12646 w 86612"/>
                <a:gd name="connsiteY2" fmla="*/ 3004 h 21730"/>
                <a:gd name="connsiteX3" fmla="*/ 8587 w 86612"/>
                <a:gd name="connsiteY3" fmla="*/ 1800 h 21730"/>
                <a:gd name="connsiteX4" fmla="*/ 8668 w 86612"/>
                <a:gd name="connsiteY4" fmla="*/ 1867 h 21730"/>
                <a:gd name="connsiteX5" fmla="*/ 51125 w 86612"/>
                <a:gd name="connsiteY5" fmla="*/ 5510 h 21730"/>
                <a:gd name="connsiteX6" fmla="*/ 21981 w 86612"/>
                <a:gd name="connsiteY6" fmla="*/ 4474 h 21730"/>
                <a:gd name="connsiteX7" fmla="*/ 30992 w 86612"/>
                <a:gd name="connsiteY7" fmla="*/ 13265 h 21730"/>
                <a:gd name="connsiteX8" fmla="*/ 47228 w 86612"/>
                <a:gd name="connsiteY8" fmla="*/ 15604 h 21730"/>
                <a:gd name="connsiteX9" fmla="*/ 80065 w 86612"/>
                <a:gd name="connsiteY9" fmla="*/ 21052 h 21730"/>
                <a:gd name="connsiteX10" fmla="*/ 51003 w 86612"/>
                <a:gd name="connsiteY10" fmla="*/ 5510 h 21730"/>
                <a:gd name="connsiteX11" fmla="*/ 51125 w 86612"/>
                <a:gd name="connsiteY11" fmla="*/ 5210 h 2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12" h="21730">
                  <a:moveTo>
                    <a:pt x="8668" y="1867"/>
                  </a:moveTo>
                  <a:cubicBezTo>
                    <a:pt x="5867" y="864"/>
                    <a:pt x="2944" y="96"/>
                    <a:pt x="-60" y="-339"/>
                  </a:cubicBezTo>
                  <a:cubicBezTo>
                    <a:pt x="3310" y="6346"/>
                    <a:pt x="7125" y="6346"/>
                    <a:pt x="12646" y="3004"/>
                  </a:cubicBezTo>
                  <a:lnTo>
                    <a:pt x="8587" y="1800"/>
                  </a:lnTo>
                  <a:cubicBezTo>
                    <a:pt x="5745" y="631"/>
                    <a:pt x="8830" y="1867"/>
                    <a:pt x="8668" y="1867"/>
                  </a:cubicBezTo>
                  <a:close/>
                  <a:moveTo>
                    <a:pt x="51125" y="5510"/>
                  </a:moveTo>
                  <a:cubicBezTo>
                    <a:pt x="40977" y="631"/>
                    <a:pt x="31560" y="4641"/>
                    <a:pt x="21981" y="4474"/>
                  </a:cubicBezTo>
                  <a:cubicBezTo>
                    <a:pt x="25634" y="9054"/>
                    <a:pt x="23280" y="12429"/>
                    <a:pt x="30992" y="13265"/>
                  </a:cubicBezTo>
                  <a:cubicBezTo>
                    <a:pt x="36431" y="13833"/>
                    <a:pt x="41911" y="14702"/>
                    <a:pt x="47228" y="15604"/>
                  </a:cubicBezTo>
                  <a:cubicBezTo>
                    <a:pt x="58187" y="17409"/>
                    <a:pt x="69187" y="19715"/>
                    <a:pt x="80065" y="21052"/>
                  </a:cubicBezTo>
                  <a:cubicBezTo>
                    <a:pt x="103647" y="23927"/>
                    <a:pt x="55711" y="7683"/>
                    <a:pt x="51003" y="5510"/>
                  </a:cubicBezTo>
                  <a:cubicBezTo>
                    <a:pt x="41464" y="698"/>
                    <a:pt x="65493" y="12162"/>
                    <a:pt x="51125" y="521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F22935D2-7F80-4B11-BA4A-E3D3AC0953A2}"/>
                </a:ext>
              </a:extLst>
            </p:cNvPr>
            <p:cNvSpPr/>
            <p:nvPr/>
          </p:nvSpPr>
          <p:spPr>
            <a:xfrm>
              <a:off x="5986238" y="3974558"/>
              <a:ext cx="364913" cy="214533"/>
            </a:xfrm>
            <a:custGeom>
              <a:avLst/>
              <a:gdLst>
                <a:gd name="connsiteX0" fmla="*/ 251442 w 364913"/>
                <a:gd name="connsiteY0" fmla="*/ 185530 h 214533"/>
                <a:gd name="connsiteX1" fmla="*/ 218523 w 364913"/>
                <a:gd name="connsiteY1" fmla="*/ 186365 h 214533"/>
                <a:gd name="connsiteX2" fmla="*/ 186701 w 364913"/>
                <a:gd name="connsiteY2" fmla="*/ 189708 h 214533"/>
                <a:gd name="connsiteX3" fmla="*/ 237925 w 364913"/>
                <a:gd name="connsiteY3" fmla="*/ 207055 h 214533"/>
                <a:gd name="connsiteX4" fmla="*/ 254648 w 364913"/>
                <a:gd name="connsiteY4" fmla="*/ 214174 h 214533"/>
                <a:gd name="connsiteX5" fmla="*/ 263415 w 364913"/>
                <a:gd name="connsiteY5" fmla="*/ 199233 h 214533"/>
                <a:gd name="connsiteX6" fmla="*/ 251238 w 364913"/>
                <a:gd name="connsiteY6" fmla="*/ 185630 h 214533"/>
                <a:gd name="connsiteX7" fmla="*/ 69924 w 364913"/>
                <a:gd name="connsiteY7" fmla="*/ 127807 h 214533"/>
                <a:gd name="connsiteX8" fmla="*/ 46869 w 364913"/>
                <a:gd name="connsiteY8" fmla="*/ 131150 h 214533"/>
                <a:gd name="connsiteX9" fmla="*/ 55555 w 364913"/>
                <a:gd name="connsiteY9" fmla="*/ 143015 h 214533"/>
                <a:gd name="connsiteX10" fmla="*/ 72238 w 364913"/>
                <a:gd name="connsiteY10" fmla="*/ 169286 h 214533"/>
                <a:gd name="connsiteX11" fmla="*/ 96023 w 364913"/>
                <a:gd name="connsiteY11" fmla="*/ 159727 h 214533"/>
                <a:gd name="connsiteX12" fmla="*/ 97525 w 364913"/>
                <a:gd name="connsiteY12" fmla="*/ 141010 h 214533"/>
                <a:gd name="connsiteX13" fmla="*/ 94521 w 364913"/>
                <a:gd name="connsiteY13" fmla="*/ 127640 h 214533"/>
                <a:gd name="connsiteX14" fmla="*/ 69924 w 364913"/>
                <a:gd name="connsiteY14" fmla="*/ 128075 h 214533"/>
                <a:gd name="connsiteX15" fmla="*/ 301286 w 364913"/>
                <a:gd name="connsiteY15" fmla="*/ 121122 h 214533"/>
                <a:gd name="connsiteX16" fmla="*/ 292315 w 364913"/>
                <a:gd name="connsiteY16" fmla="*/ 114204 h 214533"/>
                <a:gd name="connsiteX17" fmla="*/ 272020 w 364913"/>
                <a:gd name="connsiteY17" fmla="*/ 110293 h 214533"/>
                <a:gd name="connsiteX18" fmla="*/ 234556 w 364913"/>
                <a:gd name="connsiteY18" fmla="*/ 91409 h 214533"/>
                <a:gd name="connsiteX19" fmla="*/ 208944 w 364913"/>
                <a:gd name="connsiteY19" fmla="*/ 68982 h 214533"/>
                <a:gd name="connsiteX20" fmla="*/ 181546 w 364913"/>
                <a:gd name="connsiteY20" fmla="*/ 54142 h 214533"/>
                <a:gd name="connsiteX21" fmla="*/ 186417 w 364913"/>
                <a:gd name="connsiteY21" fmla="*/ 35224 h 214533"/>
                <a:gd name="connsiteX22" fmla="*/ 198594 w 364913"/>
                <a:gd name="connsiteY22" fmla="*/ 26300 h 214533"/>
                <a:gd name="connsiteX23" fmla="*/ 200704 w 364913"/>
                <a:gd name="connsiteY23" fmla="*/ 8619 h 214533"/>
                <a:gd name="connsiteX24" fmla="*/ 181952 w 364913"/>
                <a:gd name="connsiteY24" fmla="*/ 5276 h 214533"/>
                <a:gd name="connsiteX25" fmla="*/ 175295 w 364913"/>
                <a:gd name="connsiteY25" fmla="*/ -339 h 214533"/>
                <a:gd name="connsiteX26" fmla="*/ 136572 w 364913"/>
                <a:gd name="connsiteY26" fmla="*/ 5410 h 214533"/>
                <a:gd name="connsiteX27" fmla="*/ 119281 w 364913"/>
                <a:gd name="connsiteY27" fmla="*/ 9789 h 214533"/>
                <a:gd name="connsiteX28" fmla="*/ 108363 w 364913"/>
                <a:gd name="connsiteY28" fmla="*/ 10791 h 214533"/>
                <a:gd name="connsiteX29" fmla="*/ 95780 w 364913"/>
                <a:gd name="connsiteY29" fmla="*/ 15337 h 214533"/>
                <a:gd name="connsiteX30" fmla="*/ 75891 w 364913"/>
                <a:gd name="connsiteY30" fmla="*/ 25598 h 214533"/>
                <a:gd name="connsiteX31" fmla="*/ 48939 w 364913"/>
                <a:gd name="connsiteY31" fmla="*/ 16841 h 214533"/>
                <a:gd name="connsiteX32" fmla="*/ 16954 w 364913"/>
                <a:gd name="connsiteY32" fmla="*/ 26367 h 214533"/>
                <a:gd name="connsiteX33" fmla="*/ 6604 w 364913"/>
                <a:gd name="connsiteY33" fmla="*/ 41741 h 214533"/>
                <a:gd name="connsiteX34" fmla="*/ 9729 w 364913"/>
                <a:gd name="connsiteY34" fmla="*/ 54543 h 214533"/>
                <a:gd name="connsiteX35" fmla="*/ 24626 w 364913"/>
                <a:gd name="connsiteY35" fmla="*/ 62865 h 214533"/>
                <a:gd name="connsiteX36" fmla="*/ 28685 w 364913"/>
                <a:gd name="connsiteY36" fmla="*/ 71054 h 214533"/>
                <a:gd name="connsiteX37" fmla="*/ 58721 w 364913"/>
                <a:gd name="connsiteY37" fmla="*/ 60058 h 214533"/>
                <a:gd name="connsiteX38" fmla="*/ 108079 w 364913"/>
                <a:gd name="connsiteY38" fmla="*/ 65740 h 214533"/>
                <a:gd name="connsiteX39" fmla="*/ 152281 w 364913"/>
                <a:gd name="connsiteY39" fmla="*/ 98829 h 214533"/>
                <a:gd name="connsiteX40" fmla="*/ 187148 w 364913"/>
                <a:gd name="connsiteY40" fmla="*/ 115541 h 214533"/>
                <a:gd name="connsiteX41" fmla="*/ 231796 w 364913"/>
                <a:gd name="connsiteY41" fmla="*/ 129412 h 214533"/>
                <a:gd name="connsiteX42" fmla="*/ 266825 w 364913"/>
                <a:gd name="connsiteY42" fmla="*/ 143617 h 214533"/>
                <a:gd name="connsiteX43" fmla="*/ 281356 w 364913"/>
                <a:gd name="connsiteY43" fmla="*/ 148196 h 214533"/>
                <a:gd name="connsiteX44" fmla="*/ 289474 w 364913"/>
                <a:gd name="connsiteY44" fmla="*/ 160195 h 214533"/>
                <a:gd name="connsiteX45" fmla="*/ 283102 w 364913"/>
                <a:gd name="connsiteY45" fmla="*/ 182421 h 214533"/>
                <a:gd name="connsiteX46" fmla="*/ 300636 w 364913"/>
                <a:gd name="connsiteY46" fmla="*/ 181118 h 214533"/>
                <a:gd name="connsiteX47" fmla="*/ 306969 w 364913"/>
                <a:gd name="connsiteY47" fmla="*/ 172394 h 214533"/>
                <a:gd name="connsiteX48" fmla="*/ 323204 w 364913"/>
                <a:gd name="connsiteY48" fmla="*/ 165710 h 214533"/>
                <a:gd name="connsiteX49" fmla="*/ 309119 w 364913"/>
                <a:gd name="connsiteY49" fmla="*/ 148764 h 214533"/>
                <a:gd name="connsiteX50" fmla="*/ 347152 w 364913"/>
                <a:gd name="connsiteY50" fmla="*/ 148129 h 214533"/>
                <a:gd name="connsiteX51" fmla="*/ 361724 w 364913"/>
                <a:gd name="connsiteY51" fmla="*/ 143115 h 214533"/>
                <a:gd name="connsiteX52" fmla="*/ 301367 w 364913"/>
                <a:gd name="connsiteY52" fmla="*/ 121423 h 21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64913" h="214533">
                  <a:moveTo>
                    <a:pt x="251442" y="185530"/>
                  </a:moveTo>
                  <a:cubicBezTo>
                    <a:pt x="240888" y="186633"/>
                    <a:pt x="229198" y="188337"/>
                    <a:pt x="218523" y="186365"/>
                  </a:cubicBezTo>
                  <a:cubicBezTo>
                    <a:pt x="207848" y="184393"/>
                    <a:pt x="192465" y="182455"/>
                    <a:pt x="186701" y="189708"/>
                  </a:cubicBezTo>
                  <a:cubicBezTo>
                    <a:pt x="180206" y="197730"/>
                    <a:pt x="230822" y="203679"/>
                    <a:pt x="237925" y="207055"/>
                  </a:cubicBezTo>
                  <a:cubicBezTo>
                    <a:pt x="242715" y="209294"/>
                    <a:pt x="247707" y="213739"/>
                    <a:pt x="254648" y="214174"/>
                  </a:cubicBezTo>
                  <a:cubicBezTo>
                    <a:pt x="269585" y="214742"/>
                    <a:pt x="261914" y="203445"/>
                    <a:pt x="263415" y="199233"/>
                  </a:cubicBezTo>
                  <a:cubicBezTo>
                    <a:pt x="267150" y="188605"/>
                    <a:pt x="289677" y="181619"/>
                    <a:pt x="251238" y="185630"/>
                  </a:cubicBezTo>
                  <a:close/>
                  <a:moveTo>
                    <a:pt x="69924" y="127807"/>
                  </a:moveTo>
                  <a:cubicBezTo>
                    <a:pt x="63714" y="130715"/>
                    <a:pt x="50400" y="127807"/>
                    <a:pt x="46869" y="131150"/>
                  </a:cubicBezTo>
                  <a:cubicBezTo>
                    <a:pt x="43338" y="134492"/>
                    <a:pt x="52796" y="140174"/>
                    <a:pt x="55555" y="143015"/>
                  </a:cubicBezTo>
                  <a:cubicBezTo>
                    <a:pt x="58316" y="145856"/>
                    <a:pt x="56611" y="177876"/>
                    <a:pt x="72238" y="169286"/>
                  </a:cubicBezTo>
                  <a:cubicBezTo>
                    <a:pt x="78976" y="165576"/>
                    <a:pt x="93182" y="165142"/>
                    <a:pt x="96023" y="159727"/>
                  </a:cubicBezTo>
                  <a:cubicBezTo>
                    <a:pt x="99067" y="153777"/>
                    <a:pt x="97079" y="147093"/>
                    <a:pt x="97525" y="141010"/>
                  </a:cubicBezTo>
                  <a:cubicBezTo>
                    <a:pt x="97850" y="136464"/>
                    <a:pt x="103248" y="130682"/>
                    <a:pt x="94521" y="127640"/>
                  </a:cubicBezTo>
                  <a:cubicBezTo>
                    <a:pt x="86607" y="124986"/>
                    <a:pt x="77717" y="125143"/>
                    <a:pt x="69924" y="128075"/>
                  </a:cubicBezTo>
                  <a:close/>
                  <a:moveTo>
                    <a:pt x="301286" y="121122"/>
                  </a:moveTo>
                  <a:cubicBezTo>
                    <a:pt x="297470" y="119672"/>
                    <a:pt x="294305" y="117245"/>
                    <a:pt x="292315" y="114204"/>
                  </a:cubicBezTo>
                  <a:cubicBezTo>
                    <a:pt x="288256" y="109759"/>
                    <a:pt x="279408" y="111162"/>
                    <a:pt x="272020" y="110293"/>
                  </a:cubicBezTo>
                  <a:cubicBezTo>
                    <a:pt x="257043" y="108231"/>
                    <a:pt x="243608" y="101463"/>
                    <a:pt x="234556" y="91409"/>
                  </a:cubicBezTo>
                  <a:cubicBezTo>
                    <a:pt x="226438" y="82552"/>
                    <a:pt x="225423" y="74931"/>
                    <a:pt x="208944" y="68982"/>
                  </a:cubicBezTo>
                  <a:cubicBezTo>
                    <a:pt x="198269" y="65105"/>
                    <a:pt x="183089" y="61963"/>
                    <a:pt x="181546" y="54142"/>
                  </a:cubicBezTo>
                  <a:cubicBezTo>
                    <a:pt x="180978" y="51267"/>
                    <a:pt x="183778" y="36761"/>
                    <a:pt x="186417" y="35224"/>
                  </a:cubicBezTo>
                  <a:cubicBezTo>
                    <a:pt x="194819" y="30344"/>
                    <a:pt x="198594" y="34054"/>
                    <a:pt x="198594" y="26300"/>
                  </a:cubicBezTo>
                  <a:cubicBezTo>
                    <a:pt x="198634" y="20367"/>
                    <a:pt x="199365" y="14448"/>
                    <a:pt x="200704" y="8619"/>
                  </a:cubicBezTo>
                  <a:cubicBezTo>
                    <a:pt x="195671" y="8318"/>
                    <a:pt x="184468" y="8385"/>
                    <a:pt x="181952" y="5276"/>
                  </a:cubicBezTo>
                  <a:cubicBezTo>
                    <a:pt x="180166" y="3137"/>
                    <a:pt x="180775" y="-339"/>
                    <a:pt x="175295" y="-339"/>
                  </a:cubicBezTo>
                  <a:cubicBezTo>
                    <a:pt x="159668" y="-339"/>
                    <a:pt x="150373" y="4808"/>
                    <a:pt x="136572" y="5410"/>
                  </a:cubicBezTo>
                  <a:cubicBezTo>
                    <a:pt x="123787" y="5978"/>
                    <a:pt x="126750" y="3505"/>
                    <a:pt x="119281" y="9789"/>
                  </a:cubicBezTo>
                  <a:cubicBezTo>
                    <a:pt x="116481" y="12128"/>
                    <a:pt x="112016" y="9789"/>
                    <a:pt x="108363" y="10791"/>
                  </a:cubicBezTo>
                  <a:cubicBezTo>
                    <a:pt x="101868" y="12763"/>
                    <a:pt x="107429" y="16039"/>
                    <a:pt x="95780" y="15337"/>
                  </a:cubicBezTo>
                  <a:cubicBezTo>
                    <a:pt x="73456" y="13966"/>
                    <a:pt x="87905" y="23826"/>
                    <a:pt x="75891" y="25598"/>
                  </a:cubicBezTo>
                  <a:cubicBezTo>
                    <a:pt x="63064" y="27536"/>
                    <a:pt x="58803" y="6012"/>
                    <a:pt x="48939" y="16841"/>
                  </a:cubicBezTo>
                  <a:cubicBezTo>
                    <a:pt x="40821" y="25932"/>
                    <a:pt x="35057" y="25364"/>
                    <a:pt x="16954" y="26367"/>
                  </a:cubicBezTo>
                  <a:cubicBezTo>
                    <a:pt x="-5086" y="27637"/>
                    <a:pt x="24667" y="36728"/>
                    <a:pt x="6604" y="41741"/>
                  </a:cubicBezTo>
                  <a:cubicBezTo>
                    <a:pt x="-13041" y="47256"/>
                    <a:pt x="17807" y="47658"/>
                    <a:pt x="9729" y="54543"/>
                  </a:cubicBezTo>
                  <a:cubicBezTo>
                    <a:pt x="1652" y="61428"/>
                    <a:pt x="15980" y="62765"/>
                    <a:pt x="24626" y="62865"/>
                  </a:cubicBezTo>
                  <a:cubicBezTo>
                    <a:pt x="37209" y="62865"/>
                    <a:pt x="29416" y="67010"/>
                    <a:pt x="28685" y="71054"/>
                  </a:cubicBezTo>
                  <a:cubicBezTo>
                    <a:pt x="45165" y="68313"/>
                    <a:pt x="46057" y="64369"/>
                    <a:pt x="58721" y="60058"/>
                  </a:cubicBezTo>
                  <a:cubicBezTo>
                    <a:pt x="74552" y="54576"/>
                    <a:pt x="96104" y="59423"/>
                    <a:pt x="108079" y="65740"/>
                  </a:cubicBezTo>
                  <a:cubicBezTo>
                    <a:pt x="128130" y="76268"/>
                    <a:pt x="125938" y="89738"/>
                    <a:pt x="152281" y="98829"/>
                  </a:cubicBezTo>
                  <a:cubicBezTo>
                    <a:pt x="165675" y="103441"/>
                    <a:pt x="175620" y="109692"/>
                    <a:pt x="187148" y="115541"/>
                  </a:cubicBezTo>
                  <a:cubicBezTo>
                    <a:pt x="200136" y="122025"/>
                    <a:pt x="218199" y="123061"/>
                    <a:pt x="231796" y="129412"/>
                  </a:cubicBezTo>
                  <a:cubicBezTo>
                    <a:pt x="243973" y="134893"/>
                    <a:pt x="256759" y="136832"/>
                    <a:pt x="266825" y="143617"/>
                  </a:cubicBezTo>
                  <a:cubicBezTo>
                    <a:pt x="270884" y="146224"/>
                    <a:pt x="278028" y="145889"/>
                    <a:pt x="281356" y="148196"/>
                  </a:cubicBezTo>
                  <a:cubicBezTo>
                    <a:pt x="284684" y="150502"/>
                    <a:pt x="287363" y="157287"/>
                    <a:pt x="289474" y="160195"/>
                  </a:cubicBezTo>
                  <a:cubicBezTo>
                    <a:pt x="296334" y="169520"/>
                    <a:pt x="283304" y="173999"/>
                    <a:pt x="283102" y="182421"/>
                  </a:cubicBezTo>
                  <a:cubicBezTo>
                    <a:pt x="282858" y="193752"/>
                    <a:pt x="295684" y="186532"/>
                    <a:pt x="300636" y="181118"/>
                  </a:cubicBezTo>
                  <a:cubicBezTo>
                    <a:pt x="302950" y="178611"/>
                    <a:pt x="303559" y="174433"/>
                    <a:pt x="306969" y="172394"/>
                  </a:cubicBezTo>
                  <a:cubicBezTo>
                    <a:pt x="311595" y="169553"/>
                    <a:pt x="318537" y="168617"/>
                    <a:pt x="323204" y="165710"/>
                  </a:cubicBezTo>
                  <a:cubicBezTo>
                    <a:pt x="331038" y="160429"/>
                    <a:pt x="305548" y="155683"/>
                    <a:pt x="309119" y="148764"/>
                  </a:cubicBezTo>
                  <a:cubicBezTo>
                    <a:pt x="314315" y="138737"/>
                    <a:pt x="337045" y="144285"/>
                    <a:pt x="347152" y="148129"/>
                  </a:cubicBezTo>
                  <a:cubicBezTo>
                    <a:pt x="357259" y="151973"/>
                    <a:pt x="371141" y="151104"/>
                    <a:pt x="361724" y="143115"/>
                  </a:cubicBezTo>
                  <a:cubicBezTo>
                    <a:pt x="348979" y="132320"/>
                    <a:pt x="320404" y="128041"/>
                    <a:pt x="301367" y="12142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C3EC2AD0-8E4C-441E-B175-74A8DB05D146}"/>
                </a:ext>
              </a:extLst>
            </p:cNvPr>
            <p:cNvSpPr/>
            <p:nvPr/>
          </p:nvSpPr>
          <p:spPr>
            <a:xfrm>
              <a:off x="6353731" y="4056078"/>
              <a:ext cx="37680" cy="27741"/>
            </a:xfrm>
            <a:custGeom>
              <a:avLst/>
              <a:gdLst>
                <a:gd name="connsiteX0" fmla="*/ 13065 w 37680"/>
                <a:gd name="connsiteY0" fmla="*/ -339 h 27741"/>
                <a:gd name="connsiteX1" fmla="*/ 76 w 37680"/>
                <a:gd name="connsiteY1" fmla="*/ 14033 h 27741"/>
                <a:gd name="connsiteX2" fmla="*/ 22724 w 37680"/>
                <a:gd name="connsiteY2" fmla="*/ 27403 h 27741"/>
                <a:gd name="connsiteX3" fmla="*/ 37621 w 37680"/>
                <a:gd name="connsiteY3" fmla="*/ 15738 h 27741"/>
                <a:gd name="connsiteX4" fmla="*/ 13267 w 37680"/>
                <a:gd name="connsiteY4" fmla="*/ -272 h 27741"/>
                <a:gd name="connsiteX5" fmla="*/ 13065 w 37680"/>
                <a:gd name="connsiteY5" fmla="*/ -339 h 2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80" h="27741">
                  <a:moveTo>
                    <a:pt x="13065" y="-339"/>
                  </a:moveTo>
                  <a:cubicBezTo>
                    <a:pt x="6164" y="4307"/>
                    <a:pt x="1780" y="8284"/>
                    <a:pt x="76" y="14033"/>
                  </a:cubicBezTo>
                  <a:cubicBezTo>
                    <a:pt x="-1629" y="19782"/>
                    <a:pt x="13186" y="24428"/>
                    <a:pt x="22724" y="27403"/>
                  </a:cubicBezTo>
                  <a:cubicBezTo>
                    <a:pt x="24145" y="23693"/>
                    <a:pt x="29300" y="16540"/>
                    <a:pt x="37621" y="15738"/>
                  </a:cubicBezTo>
                  <a:cubicBezTo>
                    <a:pt x="29828" y="10290"/>
                    <a:pt x="21872" y="4775"/>
                    <a:pt x="13267" y="-272"/>
                  </a:cubicBezTo>
                  <a:cubicBezTo>
                    <a:pt x="6286" y="4374"/>
                    <a:pt x="19883" y="3572"/>
                    <a:pt x="1306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944DEA8C-5432-4350-9400-58A4A526233D}"/>
                </a:ext>
              </a:extLst>
            </p:cNvPr>
            <p:cNvSpPr/>
            <p:nvPr/>
          </p:nvSpPr>
          <p:spPr>
            <a:xfrm>
              <a:off x="6365693" y="3996957"/>
              <a:ext cx="123537" cy="84606"/>
            </a:xfrm>
            <a:custGeom>
              <a:avLst/>
              <a:gdLst>
                <a:gd name="connsiteX0" fmla="*/ 114024 w 123537"/>
                <a:gd name="connsiteY0" fmla="*/ 58348 h 84606"/>
                <a:gd name="connsiteX1" fmla="*/ 110857 w 123537"/>
                <a:gd name="connsiteY1" fmla="*/ 48789 h 84606"/>
                <a:gd name="connsiteX2" fmla="*/ 115931 w 123537"/>
                <a:gd name="connsiteY2" fmla="*/ 37592 h 84606"/>
                <a:gd name="connsiteX3" fmla="*/ 82972 w 123537"/>
                <a:gd name="connsiteY3" fmla="*/ 30907 h 84606"/>
                <a:gd name="connsiteX4" fmla="*/ 76681 w 123537"/>
                <a:gd name="connsiteY4" fmla="*/ 19810 h 84606"/>
                <a:gd name="connsiteX5" fmla="*/ 56102 w 123537"/>
                <a:gd name="connsiteY5" fmla="*/ 2463 h 84606"/>
                <a:gd name="connsiteX6" fmla="*/ 21398 w 123537"/>
                <a:gd name="connsiteY6" fmla="*/ 358 h 84606"/>
                <a:gd name="connsiteX7" fmla="*/ 372 w 123537"/>
                <a:gd name="connsiteY7" fmla="*/ 7845 h 84606"/>
                <a:gd name="connsiteX8" fmla="*/ 14538 w 123537"/>
                <a:gd name="connsiteY8" fmla="*/ 19209 h 84606"/>
                <a:gd name="connsiteX9" fmla="*/ 18191 w 123537"/>
                <a:gd name="connsiteY9" fmla="*/ 43040 h 84606"/>
                <a:gd name="connsiteX10" fmla="*/ 1103 w 123537"/>
                <a:gd name="connsiteY10" fmla="*/ 58715 h 84606"/>
                <a:gd name="connsiteX11" fmla="*/ 33899 w 123537"/>
                <a:gd name="connsiteY11" fmla="*/ 76229 h 84606"/>
                <a:gd name="connsiteX12" fmla="*/ 60323 w 123537"/>
                <a:gd name="connsiteY12" fmla="*/ 84218 h 84606"/>
                <a:gd name="connsiteX13" fmla="*/ 112116 w 123537"/>
                <a:gd name="connsiteY13" fmla="*/ 78369 h 84606"/>
                <a:gd name="connsiteX14" fmla="*/ 114024 w 123537"/>
                <a:gd name="connsiteY14" fmla="*/ 58314 h 8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537" h="84606">
                  <a:moveTo>
                    <a:pt x="114024" y="58348"/>
                  </a:moveTo>
                  <a:cubicBezTo>
                    <a:pt x="109315" y="55841"/>
                    <a:pt x="107773" y="51663"/>
                    <a:pt x="110857" y="48789"/>
                  </a:cubicBezTo>
                  <a:cubicBezTo>
                    <a:pt x="116499" y="43207"/>
                    <a:pt x="115525" y="44176"/>
                    <a:pt x="115931" y="37592"/>
                  </a:cubicBezTo>
                  <a:cubicBezTo>
                    <a:pt x="116175" y="33247"/>
                    <a:pt x="88411" y="31609"/>
                    <a:pt x="82972" y="30907"/>
                  </a:cubicBezTo>
                  <a:cubicBezTo>
                    <a:pt x="73109" y="29704"/>
                    <a:pt x="85733" y="20111"/>
                    <a:pt x="76681" y="19810"/>
                  </a:cubicBezTo>
                  <a:cubicBezTo>
                    <a:pt x="70593" y="19576"/>
                    <a:pt x="53139" y="4034"/>
                    <a:pt x="56102" y="2463"/>
                  </a:cubicBezTo>
                  <a:cubicBezTo>
                    <a:pt x="42099" y="893"/>
                    <a:pt x="35117" y="-1547"/>
                    <a:pt x="21398" y="358"/>
                  </a:cubicBezTo>
                  <a:cubicBezTo>
                    <a:pt x="10642" y="1828"/>
                    <a:pt x="-2631" y="759"/>
                    <a:pt x="372" y="7845"/>
                  </a:cubicBezTo>
                  <a:cubicBezTo>
                    <a:pt x="2686" y="13193"/>
                    <a:pt x="12914" y="14162"/>
                    <a:pt x="14538" y="19209"/>
                  </a:cubicBezTo>
                  <a:cubicBezTo>
                    <a:pt x="17704" y="26866"/>
                    <a:pt x="18962" y="34975"/>
                    <a:pt x="18191" y="43040"/>
                  </a:cubicBezTo>
                  <a:cubicBezTo>
                    <a:pt x="16730" y="52231"/>
                    <a:pt x="10966" y="52064"/>
                    <a:pt x="1103" y="58715"/>
                  </a:cubicBezTo>
                  <a:cubicBezTo>
                    <a:pt x="12712" y="65400"/>
                    <a:pt x="19977" y="72085"/>
                    <a:pt x="33899" y="76229"/>
                  </a:cubicBezTo>
                  <a:cubicBezTo>
                    <a:pt x="42017" y="78703"/>
                    <a:pt x="51028" y="84886"/>
                    <a:pt x="60323" y="84218"/>
                  </a:cubicBezTo>
                  <a:cubicBezTo>
                    <a:pt x="71486" y="83349"/>
                    <a:pt x="110817" y="83716"/>
                    <a:pt x="112116" y="78369"/>
                  </a:cubicBezTo>
                  <a:cubicBezTo>
                    <a:pt x="114673" y="67873"/>
                    <a:pt x="135130" y="69478"/>
                    <a:pt x="114024" y="5831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660EFE3F-A987-4216-8C50-01E192434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EE255-D581-44F9-8751-82C594A128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00FBB-31DF-483A-91E9-7B9E0DC819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4" name="Right Triangle 193">
            <a:extLst>
              <a:ext uri="{FF2B5EF4-FFF2-40B4-BE49-F238E27FC236}">
                <a16:creationId xmlns:a16="http://schemas.microsoft.com/office/drawing/2014/main" id="{289C2FFF-4945-4C0B-97D6-0E845B9A315D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1950434" y="6228000"/>
            <a:ext cx="241566" cy="630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5" name="Picture 194" descr="Logo&#10;&#10;Description automatically generated">
            <a:extLst>
              <a:ext uri="{FF2B5EF4-FFF2-40B4-BE49-F238E27FC236}">
                <a16:creationId xmlns:a16="http://schemas.microsoft.com/office/drawing/2014/main" id="{0B019A45-4615-4DAF-92C6-359570EB9A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4809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+ Clean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57E641-DF65-4B3B-88F7-6127BCD6B66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00" name="Freeform: Shape 199">
            <a:extLst>
              <a:ext uri="{FF2B5EF4-FFF2-40B4-BE49-F238E27FC236}">
                <a16:creationId xmlns:a16="http://schemas.microsoft.com/office/drawing/2014/main" id="{07DC33BF-57AC-4B0A-8DC9-ADB39B5802CF}"/>
              </a:ext>
            </a:extLst>
          </p:cNvPr>
          <p:cNvSpPr/>
          <p:nvPr userDrawn="1"/>
        </p:nvSpPr>
        <p:spPr>
          <a:xfrm>
            <a:off x="0" y="3537013"/>
            <a:ext cx="12192000" cy="3388222"/>
          </a:xfrm>
          <a:custGeom>
            <a:avLst/>
            <a:gdLst>
              <a:gd name="connsiteX0" fmla="*/ 6098241 w 12192000"/>
              <a:gd name="connsiteY0" fmla="*/ 0 h 3321424"/>
              <a:gd name="connsiteX1" fmla="*/ 12180113 w 12192000"/>
              <a:gd name="connsiteY1" fmla="*/ 2278639 h 3321424"/>
              <a:gd name="connsiteX2" fmla="*/ 12192000 w 12192000"/>
              <a:gd name="connsiteY2" fmla="*/ 2297480 h 3321424"/>
              <a:gd name="connsiteX3" fmla="*/ 12192000 w 12192000"/>
              <a:gd name="connsiteY3" fmla="*/ 3321424 h 3321424"/>
              <a:gd name="connsiteX4" fmla="*/ 0 w 12192000"/>
              <a:gd name="connsiteY4" fmla="*/ 3321424 h 3321424"/>
              <a:gd name="connsiteX5" fmla="*/ 0 w 12192000"/>
              <a:gd name="connsiteY5" fmla="*/ 2304585 h 3321424"/>
              <a:gd name="connsiteX6" fmla="*/ 16369 w 12192000"/>
              <a:gd name="connsiteY6" fmla="*/ 2278639 h 3321424"/>
              <a:gd name="connsiteX7" fmla="*/ 6098241 w 12192000"/>
              <a:gd name="connsiteY7" fmla="*/ 0 h 3321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321424">
                <a:moveTo>
                  <a:pt x="6098241" y="0"/>
                </a:moveTo>
                <a:cubicBezTo>
                  <a:pt x="8891921" y="0"/>
                  <a:pt x="11272355" y="948951"/>
                  <a:pt x="12180113" y="2278639"/>
                </a:cubicBezTo>
                <a:lnTo>
                  <a:pt x="12192000" y="2297480"/>
                </a:lnTo>
                <a:lnTo>
                  <a:pt x="12192000" y="3321424"/>
                </a:lnTo>
                <a:lnTo>
                  <a:pt x="0" y="3321424"/>
                </a:lnTo>
                <a:lnTo>
                  <a:pt x="0" y="2304585"/>
                </a:lnTo>
                <a:lnTo>
                  <a:pt x="16369" y="2278639"/>
                </a:lnTo>
                <a:cubicBezTo>
                  <a:pt x="924127" y="948951"/>
                  <a:pt x="3304561" y="0"/>
                  <a:pt x="6098241" y="0"/>
                </a:cubicBezTo>
                <a:close/>
              </a:path>
            </a:pathLst>
          </a:custGeom>
          <a:gradFill>
            <a:gsLst>
              <a:gs pos="0">
                <a:schemeClr val="bg1">
                  <a:alpha val="0"/>
                </a:schemeClr>
              </a:gs>
              <a:gs pos="57000">
                <a:schemeClr val="accent1">
                  <a:lumMod val="97000"/>
                  <a:lumOff val="3000"/>
                  <a:alpha val="5000"/>
                </a:schemeClr>
              </a:gs>
              <a:gs pos="100000">
                <a:schemeClr val="tx2">
                  <a:lumMod val="50000"/>
                  <a:lumOff val="50000"/>
                  <a:alpha val="9000"/>
                </a:schemeClr>
              </a:gs>
            </a:gsLst>
            <a:lin ang="162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741E1E-3ECE-4113-AB7D-4ED3B8DFE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208995-E800-4EAA-B365-F9352B1126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C1F35E-CC3D-45E3-87DF-0C5FB1D8AB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6" name="Right Triangle 195">
            <a:extLst>
              <a:ext uri="{FF2B5EF4-FFF2-40B4-BE49-F238E27FC236}">
                <a16:creationId xmlns:a16="http://schemas.microsoft.com/office/drawing/2014/main" id="{2E569E1A-8D00-4D37-9321-706FED0706DE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1950434" y="6228000"/>
            <a:ext cx="241566" cy="630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7" name="Picture 196">
            <a:extLst>
              <a:ext uri="{FF2B5EF4-FFF2-40B4-BE49-F238E27FC236}">
                <a16:creationId xmlns:a16="http://schemas.microsoft.com/office/drawing/2014/main" id="{9B750705-527F-42C7-8D64-A31B37B229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grpSp>
        <p:nvGrpSpPr>
          <p:cNvPr id="198" name="Group 197">
            <a:extLst>
              <a:ext uri="{FF2B5EF4-FFF2-40B4-BE49-F238E27FC236}">
                <a16:creationId xmlns:a16="http://schemas.microsoft.com/office/drawing/2014/main" id="{DDDFD0EF-04A4-47AC-B6BC-242A0DC43A57}"/>
              </a:ext>
            </a:extLst>
          </p:cNvPr>
          <p:cNvGrpSpPr/>
          <p:nvPr userDrawn="1"/>
        </p:nvGrpSpPr>
        <p:grpSpPr>
          <a:xfrm>
            <a:off x="438475" y="3789040"/>
            <a:ext cx="11306175" cy="2736304"/>
            <a:chOff x="294219" y="2997195"/>
            <a:chExt cx="11604033" cy="3746625"/>
          </a:xfrm>
        </p:grpSpPr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C480C9B8-0A70-438C-98CA-F99704C713D6}"/>
                </a:ext>
              </a:extLst>
            </p:cNvPr>
            <p:cNvSpPr/>
            <p:nvPr/>
          </p:nvSpPr>
          <p:spPr>
            <a:xfrm>
              <a:off x="6142252" y="5144897"/>
              <a:ext cx="335616" cy="217795"/>
            </a:xfrm>
            <a:custGeom>
              <a:avLst/>
              <a:gdLst>
                <a:gd name="connsiteX0" fmla="*/ 118402 w 335616"/>
                <a:gd name="connsiteY0" fmla="*/ 208045 h 217795"/>
                <a:gd name="connsiteX1" fmla="*/ 129401 w 335616"/>
                <a:gd name="connsiteY1" fmla="*/ 201361 h 217795"/>
                <a:gd name="connsiteX2" fmla="*/ 138291 w 335616"/>
                <a:gd name="connsiteY2" fmla="*/ 212624 h 217795"/>
                <a:gd name="connsiteX3" fmla="*/ 176079 w 335616"/>
                <a:gd name="connsiteY3" fmla="*/ 216802 h 217795"/>
                <a:gd name="connsiteX4" fmla="*/ 195887 w 335616"/>
                <a:gd name="connsiteY4" fmla="*/ 191835 h 217795"/>
                <a:gd name="connsiteX5" fmla="*/ 199946 w 335616"/>
                <a:gd name="connsiteY5" fmla="*/ 99854 h 217795"/>
                <a:gd name="connsiteX6" fmla="*/ 201205 w 335616"/>
                <a:gd name="connsiteY6" fmla="*/ 91832 h 217795"/>
                <a:gd name="connsiteX7" fmla="*/ 226735 w 335616"/>
                <a:gd name="connsiteY7" fmla="*/ 87153 h 217795"/>
                <a:gd name="connsiteX8" fmla="*/ 228887 w 335616"/>
                <a:gd name="connsiteY8" fmla="*/ 43334 h 217795"/>
                <a:gd name="connsiteX9" fmla="*/ 229577 w 335616"/>
                <a:gd name="connsiteY9" fmla="*/ 28929 h 217795"/>
                <a:gd name="connsiteX10" fmla="*/ 257990 w 335616"/>
                <a:gd name="connsiteY10" fmla="*/ 26923 h 217795"/>
                <a:gd name="connsiteX11" fmla="*/ 292085 w 335616"/>
                <a:gd name="connsiteY11" fmla="*/ 28427 h 217795"/>
                <a:gd name="connsiteX12" fmla="*/ 306332 w 335616"/>
                <a:gd name="connsiteY12" fmla="*/ 25854 h 217795"/>
                <a:gd name="connsiteX13" fmla="*/ 335557 w 335616"/>
                <a:gd name="connsiteY13" fmla="*/ 22144 h 217795"/>
                <a:gd name="connsiteX14" fmla="*/ 308970 w 335616"/>
                <a:gd name="connsiteY14" fmla="*/ 16027 h 217795"/>
                <a:gd name="connsiteX15" fmla="*/ 274266 w 335616"/>
                <a:gd name="connsiteY15" fmla="*/ 18801 h 217795"/>
                <a:gd name="connsiteX16" fmla="*/ 190732 w 335616"/>
                <a:gd name="connsiteY16" fmla="*/ 16562 h 217795"/>
                <a:gd name="connsiteX17" fmla="*/ 170722 w 335616"/>
                <a:gd name="connsiteY17" fmla="*/ 11181 h 217795"/>
                <a:gd name="connsiteX18" fmla="*/ 150995 w 335616"/>
                <a:gd name="connsiteY18" fmla="*/ 10111 h 217795"/>
                <a:gd name="connsiteX19" fmla="*/ 71967 w 335616"/>
                <a:gd name="connsiteY19" fmla="*/ 8574 h 217795"/>
                <a:gd name="connsiteX20" fmla="*/ 48749 w 335616"/>
                <a:gd name="connsiteY20" fmla="*/ 2324 h 217795"/>
                <a:gd name="connsiteX21" fmla="*/ 23259 w 335616"/>
                <a:gd name="connsiteY21" fmla="*/ 3126 h 217795"/>
                <a:gd name="connsiteX22" fmla="*/ 12259 w 335616"/>
                <a:gd name="connsiteY22" fmla="*/ 853 h 217795"/>
                <a:gd name="connsiteX23" fmla="*/ 82 w 335616"/>
                <a:gd name="connsiteY23" fmla="*/ 5365 h 217795"/>
                <a:gd name="connsiteX24" fmla="*/ 25288 w 335616"/>
                <a:gd name="connsiteY24" fmla="*/ 38789 h 217795"/>
                <a:gd name="connsiteX25" fmla="*/ 52078 w 335616"/>
                <a:gd name="connsiteY25" fmla="*/ 79465 h 217795"/>
                <a:gd name="connsiteX26" fmla="*/ 66284 w 335616"/>
                <a:gd name="connsiteY26" fmla="*/ 116231 h 217795"/>
                <a:gd name="connsiteX27" fmla="*/ 75660 w 335616"/>
                <a:gd name="connsiteY27" fmla="*/ 154000 h 217795"/>
                <a:gd name="connsiteX28" fmla="*/ 84103 w 335616"/>
                <a:gd name="connsiteY28" fmla="*/ 186621 h 217795"/>
                <a:gd name="connsiteX29" fmla="*/ 100055 w 335616"/>
                <a:gd name="connsiteY29" fmla="*/ 201795 h 217795"/>
                <a:gd name="connsiteX30" fmla="*/ 118645 w 335616"/>
                <a:gd name="connsiteY30" fmla="*/ 207879 h 217795"/>
                <a:gd name="connsiteX31" fmla="*/ 118402 w 335616"/>
                <a:gd name="connsiteY31" fmla="*/ 208045 h 21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5616" h="217795">
                  <a:moveTo>
                    <a:pt x="118402" y="208045"/>
                  </a:moveTo>
                  <a:cubicBezTo>
                    <a:pt x="119457" y="203834"/>
                    <a:pt x="124206" y="200926"/>
                    <a:pt x="129401" y="201361"/>
                  </a:cubicBezTo>
                  <a:cubicBezTo>
                    <a:pt x="135774" y="202497"/>
                    <a:pt x="135814" y="209483"/>
                    <a:pt x="138291" y="212624"/>
                  </a:cubicBezTo>
                  <a:cubicBezTo>
                    <a:pt x="142350" y="217505"/>
                    <a:pt x="168854" y="218240"/>
                    <a:pt x="176079" y="216802"/>
                  </a:cubicBezTo>
                  <a:cubicBezTo>
                    <a:pt x="195644" y="212926"/>
                    <a:pt x="195441" y="202865"/>
                    <a:pt x="195887" y="191835"/>
                  </a:cubicBezTo>
                  <a:lnTo>
                    <a:pt x="199946" y="99854"/>
                  </a:lnTo>
                  <a:cubicBezTo>
                    <a:pt x="199946" y="98383"/>
                    <a:pt x="198810" y="92901"/>
                    <a:pt x="201205" y="91832"/>
                  </a:cubicBezTo>
                  <a:cubicBezTo>
                    <a:pt x="206481" y="89526"/>
                    <a:pt x="226452" y="93570"/>
                    <a:pt x="226735" y="87153"/>
                  </a:cubicBezTo>
                  <a:cubicBezTo>
                    <a:pt x="227466" y="72546"/>
                    <a:pt x="228197" y="57950"/>
                    <a:pt x="228887" y="43334"/>
                  </a:cubicBezTo>
                  <a:cubicBezTo>
                    <a:pt x="229130" y="38521"/>
                    <a:pt x="229374" y="33742"/>
                    <a:pt x="229577" y="28929"/>
                  </a:cubicBezTo>
                  <a:cubicBezTo>
                    <a:pt x="229577" y="28728"/>
                    <a:pt x="254580" y="27625"/>
                    <a:pt x="257990" y="26923"/>
                  </a:cubicBezTo>
                  <a:cubicBezTo>
                    <a:pt x="272886" y="23581"/>
                    <a:pt x="280761" y="20005"/>
                    <a:pt x="292085" y="28427"/>
                  </a:cubicBezTo>
                  <a:cubicBezTo>
                    <a:pt x="298093" y="32873"/>
                    <a:pt x="300934" y="28126"/>
                    <a:pt x="306332" y="25854"/>
                  </a:cubicBezTo>
                  <a:cubicBezTo>
                    <a:pt x="314450" y="22511"/>
                    <a:pt x="326262" y="23113"/>
                    <a:pt x="335557" y="22144"/>
                  </a:cubicBezTo>
                  <a:cubicBezTo>
                    <a:pt x="329550" y="14423"/>
                    <a:pt x="322893" y="15459"/>
                    <a:pt x="308970" y="16027"/>
                  </a:cubicBezTo>
                  <a:cubicBezTo>
                    <a:pt x="297362" y="16462"/>
                    <a:pt x="285753" y="17387"/>
                    <a:pt x="274266" y="18801"/>
                  </a:cubicBezTo>
                  <a:cubicBezTo>
                    <a:pt x="247152" y="21977"/>
                    <a:pt x="218536" y="16261"/>
                    <a:pt x="190732" y="16562"/>
                  </a:cubicBezTo>
                  <a:cubicBezTo>
                    <a:pt x="179124" y="16562"/>
                    <a:pt x="178880" y="16796"/>
                    <a:pt x="170722" y="11181"/>
                  </a:cubicBezTo>
                  <a:cubicBezTo>
                    <a:pt x="167556" y="9008"/>
                    <a:pt x="155216" y="10178"/>
                    <a:pt x="150995" y="10111"/>
                  </a:cubicBezTo>
                  <a:cubicBezTo>
                    <a:pt x="124977" y="9509"/>
                    <a:pt x="97822" y="10546"/>
                    <a:pt x="71967" y="8574"/>
                  </a:cubicBezTo>
                  <a:cubicBezTo>
                    <a:pt x="62793" y="7872"/>
                    <a:pt x="57071" y="4228"/>
                    <a:pt x="48749" y="2324"/>
                  </a:cubicBezTo>
                  <a:cubicBezTo>
                    <a:pt x="42742" y="953"/>
                    <a:pt x="26141" y="5398"/>
                    <a:pt x="23259" y="3126"/>
                  </a:cubicBezTo>
                  <a:cubicBezTo>
                    <a:pt x="20377" y="853"/>
                    <a:pt x="18551" y="-1988"/>
                    <a:pt x="12259" y="853"/>
                  </a:cubicBezTo>
                  <a:cubicBezTo>
                    <a:pt x="12259" y="853"/>
                    <a:pt x="-729" y="6535"/>
                    <a:pt x="82" y="5365"/>
                  </a:cubicBezTo>
                  <a:cubicBezTo>
                    <a:pt x="-1907" y="17197"/>
                    <a:pt x="17536" y="29196"/>
                    <a:pt x="25288" y="38789"/>
                  </a:cubicBezTo>
                  <a:cubicBezTo>
                    <a:pt x="35802" y="52158"/>
                    <a:pt x="41078" y="66430"/>
                    <a:pt x="52078" y="79465"/>
                  </a:cubicBezTo>
                  <a:cubicBezTo>
                    <a:pt x="63078" y="92500"/>
                    <a:pt x="68598" y="101090"/>
                    <a:pt x="66284" y="116231"/>
                  </a:cubicBezTo>
                  <a:cubicBezTo>
                    <a:pt x="64376" y="128564"/>
                    <a:pt x="73185" y="141666"/>
                    <a:pt x="75660" y="154000"/>
                  </a:cubicBezTo>
                  <a:cubicBezTo>
                    <a:pt x="77852" y="164929"/>
                    <a:pt x="78096" y="176193"/>
                    <a:pt x="84103" y="186621"/>
                  </a:cubicBezTo>
                  <a:cubicBezTo>
                    <a:pt x="87634" y="192738"/>
                    <a:pt x="94332" y="196648"/>
                    <a:pt x="100055" y="201795"/>
                  </a:cubicBezTo>
                  <a:cubicBezTo>
                    <a:pt x="101110" y="202731"/>
                    <a:pt x="118402" y="216502"/>
                    <a:pt x="118645" y="207879"/>
                  </a:cubicBezTo>
                  <a:cubicBezTo>
                    <a:pt x="118483" y="204503"/>
                    <a:pt x="118320" y="210719"/>
                    <a:pt x="118402" y="20804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00808EE7-115E-47ED-B7F7-6C734C4BBCDE}"/>
                </a:ext>
              </a:extLst>
            </p:cNvPr>
            <p:cNvSpPr/>
            <p:nvPr/>
          </p:nvSpPr>
          <p:spPr>
            <a:xfrm>
              <a:off x="6477665" y="5136101"/>
              <a:ext cx="209571" cy="121020"/>
            </a:xfrm>
            <a:custGeom>
              <a:avLst/>
              <a:gdLst>
                <a:gd name="connsiteX0" fmla="*/ 143019 w 209571"/>
                <a:gd name="connsiteY0" fmla="*/ 6373 h 121020"/>
                <a:gd name="connsiteX1" fmla="*/ 117773 w 209571"/>
                <a:gd name="connsiteY1" fmla="*/ -312 h 121020"/>
                <a:gd name="connsiteX2" fmla="*/ 86843 w 209571"/>
                <a:gd name="connsiteY2" fmla="*/ 15197 h 121020"/>
                <a:gd name="connsiteX3" fmla="*/ 65047 w 209571"/>
                <a:gd name="connsiteY3" fmla="*/ 22751 h 121020"/>
                <a:gd name="connsiteX4" fmla="*/ 49135 w 209571"/>
                <a:gd name="connsiteY4" fmla="*/ 34516 h 121020"/>
                <a:gd name="connsiteX5" fmla="*/ -60 w 209571"/>
                <a:gd name="connsiteY5" fmla="*/ 31173 h 121020"/>
                <a:gd name="connsiteX6" fmla="*/ 16176 w 209571"/>
                <a:gd name="connsiteY6" fmla="*/ 43540 h 121020"/>
                <a:gd name="connsiteX7" fmla="*/ 24659 w 209571"/>
                <a:gd name="connsiteY7" fmla="*/ 61388 h 121020"/>
                <a:gd name="connsiteX8" fmla="*/ 61840 w 209571"/>
                <a:gd name="connsiteY8" fmla="*/ 89364 h 121020"/>
                <a:gd name="connsiteX9" fmla="*/ 86194 w 209571"/>
                <a:gd name="connsiteY9" fmla="*/ 102900 h 121020"/>
                <a:gd name="connsiteX10" fmla="*/ 100157 w 209571"/>
                <a:gd name="connsiteY10" fmla="*/ 112092 h 121020"/>
                <a:gd name="connsiteX11" fmla="*/ 121304 w 209571"/>
                <a:gd name="connsiteY11" fmla="*/ 115133 h 121020"/>
                <a:gd name="connsiteX12" fmla="*/ 150488 w 209571"/>
                <a:gd name="connsiteY12" fmla="*/ 120682 h 121020"/>
                <a:gd name="connsiteX13" fmla="*/ 178657 w 209571"/>
                <a:gd name="connsiteY13" fmla="*/ 105340 h 121020"/>
                <a:gd name="connsiteX14" fmla="*/ 183853 w 209571"/>
                <a:gd name="connsiteY14" fmla="*/ 94143 h 121020"/>
                <a:gd name="connsiteX15" fmla="*/ 193797 w 209571"/>
                <a:gd name="connsiteY15" fmla="*/ 86322 h 121020"/>
                <a:gd name="connsiteX16" fmla="*/ 200819 w 209571"/>
                <a:gd name="connsiteY16" fmla="*/ 76295 h 121020"/>
                <a:gd name="connsiteX17" fmla="*/ 196760 w 209571"/>
                <a:gd name="connsiteY17" fmla="*/ 59015 h 121020"/>
                <a:gd name="connsiteX18" fmla="*/ 206380 w 209571"/>
                <a:gd name="connsiteY18" fmla="*/ 23219 h 121020"/>
                <a:gd name="connsiteX19" fmla="*/ 172204 w 209571"/>
                <a:gd name="connsiteY19" fmla="*/ 12389 h 121020"/>
                <a:gd name="connsiteX20" fmla="*/ 143019 w 209571"/>
                <a:gd name="connsiteY20" fmla="*/ 6373 h 12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571" h="121020">
                  <a:moveTo>
                    <a:pt x="143019" y="6373"/>
                  </a:moveTo>
                  <a:cubicBezTo>
                    <a:pt x="142248" y="-2217"/>
                    <a:pt x="127352" y="89"/>
                    <a:pt x="117773" y="-312"/>
                  </a:cubicBezTo>
                  <a:cubicBezTo>
                    <a:pt x="101780" y="-980"/>
                    <a:pt x="99426" y="10985"/>
                    <a:pt x="86843" y="15197"/>
                  </a:cubicBezTo>
                  <a:cubicBezTo>
                    <a:pt x="78725" y="17871"/>
                    <a:pt x="71500" y="18539"/>
                    <a:pt x="65047" y="22751"/>
                  </a:cubicBezTo>
                  <a:cubicBezTo>
                    <a:pt x="59526" y="26494"/>
                    <a:pt x="55224" y="31140"/>
                    <a:pt x="49135" y="34516"/>
                  </a:cubicBezTo>
                  <a:cubicBezTo>
                    <a:pt x="40206" y="39496"/>
                    <a:pt x="12604" y="29636"/>
                    <a:pt x="-60" y="31173"/>
                  </a:cubicBezTo>
                  <a:cubicBezTo>
                    <a:pt x="3594" y="35853"/>
                    <a:pt x="14228" y="39262"/>
                    <a:pt x="16176" y="43540"/>
                  </a:cubicBezTo>
                  <a:cubicBezTo>
                    <a:pt x="18896" y="49255"/>
                    <a:pt x="18450" y="56575"/>
                    <a:pt x="24659" y="61388"/>
                  </a:cubicBezTo>
                  <a:cubicBezTo>
                    <a:pt x="35660" y="69911"/>
                    <a:pt x="63058" y="74758"/>
                    <a:pt x="61840" y="89364"/>
                  </a:cubicBezTo>
                  <a:cubicBezTo>
                    <a:pt x="61069" y="98823"/>
                    <a:pt x="75803" y="101329"/>
                    <a:pt x="86194" y="102900"/>
                  </a:cubicBezTo>
                  <a:cubicBezTo>
                    <a:pt x="96585" y="104471"/>
                    <a:pt x="93906" y="111156"/>
                    <a:pt x="100157" y="112092"/>
                  </a:cubicBezTo>
                  <a:cubicBezTo>
                    <a:pt x="104824" y="112794"/>
                    <a:pt x="118625" y="111824"/>
                    <a:pt x="121304" y="115133"/>
                  </a:cubicBezTo>
                  <a:cubicBezTo>
                    <a:pt x="125363" y="120013"/>
                    <a:pt x="143872" y="117774"/>
                    <a:pt x="150488" y="120682"/>
                  </a:cubicBezTo>
                  <a:cubicBezTo>
                    <a:pt x="159783" y="115702"/>
                    <a:pt x="170783" y="111256"/>
                    <a:pt x="178657" y="105340"/>
                  </a:cubicBezTo>
                  <a:cubicBezTo>
                    <a:pt x="182716" y="102232"/>
                    <a:pt x="183122" y="98121"/>
                    <a:pt x="183853" y="94143"/>
                  </a:cubicBezTo>
                  <a:cubicBezTo>
                    <a:pt x="184664" y="89598"/>
                    <a:pt x="189089" y="88963"/>
                    <a:pt x="193797" y="86322"/>
                  </a:cubicBezTo>
                  <a:cubicBezTo>
                    <a:pt x="200616" y="82545"/>
                    <a:pt x="203498" y="80941"/>
                    <a:pt x="200819" y="76295"/>
                  </a:cubicBezTo>
                  <a:cubicBezTo>
                    <a:pt x="198749" y="72518"/>
                    <a:pt x="192701" y="61823"/>
                    <a:pt x="196760" y="59015"/>
                  </a:cubicBezTo>
                  <a:cubicBezTo>
                    <a:pt x="202808" y="54804"/>
                    <a:pt x="215351" y="27931"/>
                    <a:pt x="206380" y="23219"/>
                  </a:cubicBezTo>
                  <a:cubicBezTo>
                    <a:pt x="197410" y="18506"/>
                    <a:pt x="182026" y="15865"/>
                    <a:pt x="172204" y="12389"/>
                  </a:cubicBezTo>
                  <a:cubicBezTo>
                    <a:pt x="162827" y="9328"/>
                    <a:pt x="153045" y="7305"/>
                    <a:pt x="143019" y="637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9F04721E-D596-423C-BBE2-E65C08207A33}"/>
                </a:ext>
              </a:extLst>
            </p:cNvPr>
            <p:cNvSpPr/>
            <p:nvPr/>
          </p:nvSpPr>
          <p:spPr>
            <a:xfrm>
              <a:off x="6340472" y="5167479"/>
              <a:ext cx="233256" cy="159093"/>
            </a:xfrm>
            <a:custGeom>
              <a:avLst/>
              <a:gdLst>
                <a:gd name="connsiteX0" fmla="*/ 216405 w 233256"/>
                <a:gd name="connsiteY0" fmla="*/ 70787 h 159093"/>
                <a:gd name="connsiteX1" fmla="*/ 188885 w 233256"/>
                <a:gd name="connsiteY1" fmla="*/ 42845 h 159093"/>
                <a:gd name="connsiteX2" fmla="*/ 164532 w 233256"/>
                <a:gd name="connsiteY2" fmla="*/ 31213 h 159093"/>
                <a:gd name="connsiteX3" fmla="*/ 155277 w 233256"/>
                <a:gd name="connsiteY3" fmla="*/ 16707 h 159093"/>
                <a:gd name="connsiteX4" fmla="*/ 148620 w 233256"/>
                <a:gd name="connsiteY4" fmla="*/ 9020 h 159093"/>
                <a:gd name="connsiteX5" fmla="*/ 137255 w 233256"/>
                <a:gd name="connsiteY5" fmla="*/ -339 h 159093"/>
                <a:gd name="connsiteX6" fmla="*/ 119355 w 233256"/>
                <a:gd name="connsiteY6" fmla="*/ 1032 h 159093"/>
                <a:gd name="connsiteX7" fmla="*/ 93784 w 233256"/>
                <a:gd name="connsiteY7" fmla="*/ 5945 h 159093"/>
                <a:gd name="connsiteX8" fmla="*/ 69186 w 233256"/>
                <a:gd name="connsiteY8" fmla="*/ 2302 h 159093"/>
                <a:gd name="connsiteX9" fmla="*/ 31438 w 233256"/>
                <a:gd name="connsiteY9" fmla="*/ 6446 h 159093"/>
                <a:gd name="connsiteX10" fmla="*/ 30139 w 233256"/>
                <a:gd name="connsiteY10" fmla="*/ 32985 h 159093"/>
                <a:gd name="connsiteX11" fmla="*/ 28678 w 233256"/>
                <a:gd name="connsiteY11" fmla="*/ 63701 h 159093"/>
                <a:gd name="connsiteX12" fmla="*/ 2010 w 233256"/>
                <a:gd name="connsiteY12" fmla="*/ 72725 h 159093"/>
                <a:gd name="connsiteX13" fmla="*/ -60 w 233256"/>
                <a:gd name="connsiteY13" fmla="*/ 120521 h 159093"/>
                <a:gd name="connsiteX14" fmla="*/ 17312 w 233256"/>
                <a:gd name="connsiteY14" fmla="*/ 136731 h 159093"/>
                <a:gd name="connsiteX15" fmla="*/ 19342 w 233256"/>
                <a:gd name="connsiteY15" fmla="*/ 145622 h 159093"/>
                <a:gd name="connsiteX16" fmla="*/ 13862 w 233256"/>
                <a:gd name="connsiteY16" fmla="*/ 149466 h 159093"/>
                <a:gd name="connsiteX17" fmla="*/ 53722 w 233256"/>
                <a:gd name="connsiteY17" fmla="*/ 151237 h 159093"/>
                <a:gd name="connsiteX18" fmla="*/ 68943 w 233256"/>
                <a:gd name="connsiteY18" fmla="*/ 138068 h 159093"/>
                <a:gd name="connsiteX19" fmla="*/ 86315 w 233256"/>
                <a:gd name="connsiteY19" fmla="*/ 131919 h 159093"/>
                <a:gd name="connsiteX20" fmla="*/ 137580 w 233256"/>
                <a:gd name="connsiteY20" fmla="*/ 137801 h 159093"/>
                <a:gd name="connsiteX21" fmla="*/ 147362 w 233256"/>
                <a:gd name="connsiteY21" fmla="*/ 121691 h 159093"/>
                <a:gd name="connsiteX22" fmla="*/ 174882 w 233256"/>
                <a:gd name="connsiteY22" fmla="*/ 111831 h 159093"/>
                <a:gd name="connsiteX23" fmla="*/ 196192 w 233256"/>
                <a:gd name="connsiteY23" fmla="*/ 99264 h 159093"/>
                <a:gd name="connsiteX24" fmla="*/ 217623 w 233256"/>
                <a:gd name="connsiteY24" fmla="*/ 88401 h 159093"/>
                <a:gd name="connsiteX25" fmla="*/ 216527 w 233256"/>
                <a:gd name="connsiteY25" fmla="*/ 70787 h 1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33256" h="159093">
                  <a:moveTo>
                    <a:pt x="216405" y="70787"/>
                  </a:moveTo>
                  <a:cubicBezTo>
                    <a:pt x="199236" y="70185"/>
                    <a:pt x="196111" y="50398"/>
                    <a:pt x="188885" y="42845"/>
                  </a:cubicBezTo>
                  <a:cubicBezTo>
                    <a:pt x="183893" y="37630"/>
                    <a:pt x="172650" y="33920"/>
                    <a:pt x="164532" y="31213"/>
                  </a:cubicBezTo>
                  <a:cubicBezTo>
                    <a:pt x="157672" y="28907"/>
                    <a:pt x="156414" y="20919"/>
                    <a:pt x="155277" y="16707"/>
                  </a:cubicBezTo>
                  <a:cubicBezTo>
                    <a:pt x="154912" y="13338"/>
                    <a:pt x="152355" y="10394"/>
                    <a:pt x="148620" y="9020"/>
                  </a:cubicBezTo>
                  <a:cubicBezTo>
                    <a:pt x="144074" y="6597"/>
                    <a:pt x="140218" y="3405"/>
                    <a:pt x="137255" y="-339"/>
                  </a:cubicBezTo>
                  <a:cubicBezTo>
                    <a:pt x="131329" y="554"/>
                    <a:pt x="125362" y="1012"/>
                    <a:pt x="119355" y="1032"/>
                  </a:cubicBezTo>
                  <a:cubicBezTo>
                    <a:pt x="109492" y="597"/>
                    <a:pt x="101049" y="11360"/>
                    <a:pt x="93784" y="5945"/>
                  </a:cubicBezTo>
                  <a:cubicBezTo>
                    <a:pt x="85098" y="-506"/>
                    <a:pt x="81607" y="-405"/>
                    <a:pt x="69186" y="2302"/>
                  </a:cubicBezTo>
                  <a:cubicBezTo>
                    <a:pt x="65655" y="3037"/>
                    <a:pt x="31397" y="7884"/>
                    <a:pt x="31438" y="6446"/>
                  </a:cubicBezTo>
                  <a:cubicBezTo>
                    <a:pt x="31032" y="15304"/>
                    <a:pt x="30585" y="24127"/>
                    <a:pt x="30139" y="32985"/>
                  </a:cubicBezTo>
                  <a:lnTo>
                    <a:pt x="28678" y="63701"/>
                  </a:lnTo>
                  <a:cubicBezTo>
                    <a:pt x="28191" y="73461"/>
                    <a:pt x="2416" y="63400"/>
                    <a:pt x="2010" y="72725"/>
                  </a:cubicBezTo>
                  <a:lnTo>
                    <a:pt x="-60" y="120521"/>
                  </a:lnTo>
                  <a:cubicBezTo>
                    <a:pt x="11833" y="123863"/>
                    <a:pt x="13862" y="129011"/>
                    <a:pt x="17312" y="136731"/>
                  </a:cubicBezTo>
                  <a:cubicBezTo>
                    <a:pt x="18327" y="139038"/>
                    <a:pt x="20722" y="143115"/>
                    <a:pt x="19342" y="145622"/>
                  </a:cubicBezTo>
                  <a:cubicBezTo>
                    <a:pt x="17962" y="148129"/>
                    <a:pt x="13984" y="146859"/>
                    <a:pt x="13862" y="149466"/>
                  </a:cubicBezTo>
                  <a:cubicBezTo>
                    <a:pt x="13132" y="165108"/>
                    <a:pt x="42275" y="157655"/>
                    <a:pt x="53722" y="151237"/>
                  </a:cubicBezTo>
                  <a:cubicBezTo>
                    <a:pt x="60541" y="147360"/>
                    <a:pt x="66792" y="144018"/>
                    <a:pt x="68943" y="138068"/>
                  </a:cubicBezTo>
                  <a:cubicBezTo>
                    <a:pt x="71094" y="132119"/>
                    <a:pt x="77061" y="127473"/>
                    <a:pt x="86315" y="131919"/>
                  </a:cubicBezTo>
                  <a:cubicBezTo>
                    <a:pt x="97437" y="137233"/>
                    <a:pt x="125647" y="146257"/>
                    <a:pt x="137580" y="137801"/>
                  </a:cubicBezTo>
                  <a:cubicBezTo>
                    <a:pt x="143100" y="133891"/>
                    <a:pt x="140218" y="123964"/>
                    <a:pt x="147362" y="121691"/>
                  </a:cubicBezTo>
                  <a:cubicBezTo>
                    <a:pt x="155480" y="119151"/>
                    <a:pt x="174151" y="121223"/>
                    <a:pt x="174882" y="111831"/>
                  </a:cubicBezTo>
                  <a:cubicBezTo>
                    <a:pt x="175694" y="101603"/>
                    <a:pt x="185557" y="102539"/>
                    <a:pt x="196192" y="99264"/>
                  </a:cubicBezTo>
                  <a:cubicBezTo>
                    <a:pt x="205730" y="96356"/>
                    <a:pt x="206988" y="89236"/>
                    <a:pt x="217623" y="88401"/>
                  </a:cubicBezTo>
                  <a:cubicBezTo>
                    <a:pt x="237471" y="86897"/>
                    <a:pt x="239663" y="71689"/>
                    <a:pt x="216527" y="707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BB49D63C-1B60-496E-9FE9-1EF5D6DC4043}"/>
                </a:ext>
              </a:extLst>
            </p:cNvPr>
            <p:cNvSpPr/>
            <p:nvPr/>
          </p:nvSpPr>
          <p:spPr>
            <a:xfrm>
              <a:off x="6608164" y="5318598"/>
              <a:ext cx="34440" cy="28994"/>
            </a:xfrm>
            <a:custGeom>
              <a:avLst/>
              <a:gdLst>
                <a:gd name="connsiteX0" fmla="*/ 18609 w 34440"/>
                <a:gd name="connsiteY0" fmla="*/ -316 h 28994"/>
                <a:gd name="connsiteX1" fmla="*/ 749 w 34440"/>
                <a:gd name="connsiteY1" fmla="*/ 9477 h 28994"/>
                <a:gd name="connsiteX2" fmla="*/ 10937 w 34440"/>
                <a:gd name="connsiteY2" fmla="*/ 26490 h 28994"/>
                <a:gd name="connsiteX3" fmla="*/ 18609 w 34440"/>
                <a:gd name="connsiteY3" fmla="*/ -316 h 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40" h="28994">
                  <a:moveTo>
                    <a:pt x="18609" y="-316"/>
                  </a:moveTo>
                  <a:cubicBezTo>
                    <a:pt x="11709" y="-784"/>
                    <a:pt x="3631" y="6035"/>
                    <a:pt x="749" y="9477"/>
                  </a:cubicBezTo>
                  <a:cubicBezTo>
                    <a:pt x="-2782" y="13655"/>
                    <a:pt x="6107" y="23783"/>
                    <a:pt x="10937" y="26490"/>
                  </a:cubicBezTo>
                  <a:cubicBezTo>
                    <a:pt x="31070" y="37720"/>
                    <a:pt x="47914" y="1723"/>
                    <a:pt x="18609" y="-31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CBBA6581-9DC1-4886-A48C-ED02348FD2FE}"/>
                </a:ext>
              </a:extLst>
            </p:cNvPr>
            <p:cNvSpPr/>
            <p:nvPr/>
          </p:nvSpPr>
          <p:spPr>
            <a:xfrm>
              <a:off x="6513175" y="5364063"/>
              <a:ext cx="55100" cy="38722"/>
            </a:xfrm>
            <a:custGeom>
              <a:avLst/>
              <a:gdLst>
                <a:gd name="connsiteX0" fmla="*/ 39724 w 55100"/>
                <a:gd name="connsiteY0" fmla="*/ 2282 h 38722"/>
                <a:gd name="connsiteX1" fmla="*/ 5832 w 55100"/>
                <a:gd name="connsiteY1" fmla="*/ 15084 h 38722"/>
                <a:gd name="connsiteX2" fmla="*/ 10743 w 55100"/>
                <a:gd name="connsiteY2" fmla="*/ 36508 h 38722"/>
                <a:gd name="connsiteX3" fmla="*/ 22555 w 55100"/>
                <a:gd name="connsiteY3" fmla="*/ 37210 h 38722"/>
                <a:gd name="connsiteX4" fmla="*/ 41226 w 55100"/>
                <a:gd name="connsiteY4" fmla="*/ 29322 h 38722"/>
                <a:gd name="connsiteX5" fmla="*/ 55027 w 55100"/>
                <a:gd name="connsiteY5" fmla="*/ 16320 h 38722"/>
                <a:gd name="connsiteX6" fmla="*/ 39724 w 55100"/>
                <a:gd name="connsiteY6" fmla="*/ 2282 h 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100" h="38722">
                  <a:moveTo>
                    <a:pt x="39724" y="2282"/>
                  </a:moveTo>
                  <a:cubicBezTo>
                    <a:pt x="33636" y="-7310"/>
                    <a:pt x="8795" y="12309"/>
                    <a:pt x="5832" y="15084"/>
                  </a:cubicBezTo>
                  <a:cubicBezTo>
                    <a:pt x="-5290" y="24676"/>
                    <a:pt x="1042" y="26013"/>
                    <a:pt x="10743" y="36508"/>
                  </a:cubicBezTo>
                  <a:cubicBezTo>
                    <a:pt x="12529" y="38480"/>
                    <a:pt x="21134" y="39182"/>
                    <a:pt x="22555" y="37210"/>
                  </a:cubicBezTo>
                  <a:cubicBezTo>
                    <a:pt x="28278" y="29389"/>
                    <a:pt x="29090" y="28586"/>
                    <a:pt x="41226" y="29322"/>
                  </a:cubicBezTo>
                  <a:cubicBezTo>
                    <a:pt x="44960" y="29556"/>
                    <a:pt x="54783" y="18927"/>
                    <a:pt x="55027" y="16320"/>
                  </a:cubicBezTo>
                  <a:cubicBezTo>
                    <a:pt x="55514" y="10906"/>
                    <a:pt x="42850" y="6928"/>
                    <a:pt x="39724" y="22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AB1C44AF-C420-42F9-B3BD-571B003BE454}"/>
                </a:ext>
              </a:extLst>
            </p:cNvPr>
            <p:cNvSpPr/>
            <p:nvPr/>
          </p:nvSpPr>
          <p:spPr>
            <a:xfrm>
              <a:off x="6249875" y="5246793"/>
              <a:ext cx="411255" cy="228285"/>
            </a:xfrm>
            <a:custGeom>
              <a:avLst/>
              <a:gdLst>
                <a:gd name="connsiteX0" fmla="*/ 391997 w 411255"/>
                <a:gd name="connsiteY0" fmla="*/ 94083 h 228285"/>
                <a:gd name="connsiteX1" fmla="*/ 377953 w 411255"/>
                <a:gd name="connsiteY1" fmla="*/ 99865 h 228285"/>
                <a:gd name="connsiteX2" fmla="*/ 359647 w 411255"/>
                <a:gd name="connsiteY2" fmla="*/ 86496 h 228285"/>
                <a:gd name="connsiteX3" fmla="*/ 366994 w 411255"/>
                <a:gd name="connsiteY3" fmla="*/ 74831 h 228285"/>
                <a:gd name="connsiteX4" fmla="*/ 391023 w 411255"/>
                <a:gd name="connsiteY4" fmla="*/ 77337 h 228285"/>
                <a:gd name="connsiteX5" fmla="*/ 395082 w 411255"/>
                <a:gd name="connsiteY5" fmla="*/ 51033 h 228285"/>
                <a:gd name="connsiteX6" fmla="*/ 383636 w 411255"/>
                <a:gd name="connsiteY6" fmla="*/ 24863 h 228285"/>
                <a:gd name="connsiteX7" fmla="*/ 362245 w 411255"/>
                <a:gd name="connsiteY7" fmla="*/ 7081 h 228285"/>
                <a:gd name="connsiteX8" fmla="*/ 324862 w 411255"/>
                <a:gd name="connsiteY8" fmla="*/ -339 h 228285"/>
                <a:gd name="connsiteX9" fmla="*/ 296164 w 411255"/>
                <a:gd name="connsiteY9" fmla="*/ 15304 h 228285"/>
                <a:gd name="connsiteX10" fmla="*/ 272703 w 411255"/>
                <a:gd name="connsiteY10" fmla="*/ 22289 h 228285"/>
                <a:gd name="connsiteX11" fmla="*/ 260039 w 411255"/>
                <a:gd name="connsiteY11" fmla="*/ 37764 h 228285"/>
                <a:gd name="connsiteX12" fmla="*/ 237878 w 411255"/>
                <a:gd name="connsiteY12" fmla="*/ 42209 h 228285"/>
                <a:gd name="connsiteX13" fmla="*/ 230044 w 411255"/>
                <a:gd name="connsiteY13" fmla="*/ 56448 h 228285"/>
                <a:gd name="connsiteX14" fmla="*/ 186491 w 411255"/>
                <a:gd name="connsiteY14" fmla="*/ 57016 h 228285"/>
                <a:gd name="connsiteX15" fmla="*/ 158809 w 411255"/>
                <a:gd name="connsiteY15" fmla="*/ 60793 h 228285"/>
                <a:gd name="connsiteX16" fmla="*/ 125078 w 411255"/>
                <a:gd name="connsiteY16" fmla="*/ 79343 h 228285"/>
                <a:gd name="connsiteX17" fmla="*/ 104784 w 411255"/>
                <a:gd name="connsiteY17" fmla="*/ 76836 h 228285"/>
                <a:gd name="connsiteX18" fmla="*/ 107828 w 411255"/>
                <a:gd name="connsiteY18" fmla="*/ 67778 h 228285"/>
                <a:gd name="connsiteX19" fmla="*/ 90537 w 411255"/>
                <a:gd name="connsiteY19" fmla="*/ 41040 h 228285"/>
                <a:gd name="connsiteX20" fmla="*/ 88304 w 411255"/>
                <a:gd name="connsiteY20" fmla="*/ 92178 h 228285"/>
                <a:gd name="connsiteX21" fmla="*/ 73165 w 411255"/>
                <a:gd name="connsiteY21" fmla="*/ 112499 h 228285"/>
                <a:gd name="connsiteX22" fmla="*/ 30789 w 411255"/>
                <a:gd name="connsiteY22" fmla="*/ 110661 h 228285"/>
                <a:gd name="connsiteX23" fmla="*/ 18084 w 411255"/>
                <a:gd name="connsiteY23" fmla="*/ 99665 h 228285"/>
                <a:gd name="connsiteX24" fmla="*/ -60 w 411255"/>
                <a:gd name="connsiteY24" fmla="*/ 107553 h 228285"/>
                <a:gd name="connsiteX25" fmla="*/ 20479 w 411255"/>
                <a:gd name="connsiteY25" fmla="*/ 139606 h 228285"/>
                <a:gd name="connsiteX26" fmla="*/ 39921 w 411255"/>
                <a:gd name="connsiteY26" fmla="*/ 166612 h 228285"/>
                <a:gd name="connsiteX27" fmla="*/ 44995 w 411255"/>
                <a:gd name="connsiteY27" fmla="*/ 178277 h 228285"/>
                <a:gd name="connsiteX28" fmla="*/ 37121 w 411255"/>
                <a:gd name="connsiteY28" fmla="*/ 186131 h 228285"/>
                <a:gd name="connsiteX29" fmla="*/ 44954 w 411255"/>
                <a:gd name="connsiteY29" fmla="*/ 210798 h 228285"/>
                <a:gd name="connsiteX30" fmla="*/ 67725 w 411255"/>
                <a:gd name="connsiteY30" fmla="*/ 222797 h 228285"/>
                <a:gd name="connsiteX31" fmla="*/ 96138 w 411255"/>
                <a:gd name="connsiteY31" fmla="*/ 222563 h 228285"/>
                <a:gd name="connsiteX32" fmla="*/ 134292 w 411255"/>
                <a:gd name="connsiteY32" fmla="*/ 217483 h 228285"/>
                <a:gd name="connsiteX33" fmla="*/ 186044 w 411255"/>
                <a:gd name="connsiteY33" fmla="*/ 218753 h 228285"/>
                <a:gd name="connsiteX34" fmla="*/ 202646 w 411255"/>
                <a:gd name="connsiteY34" fmla="*/ 216413 h 228285"/>
                <a:gd name="connsiteX35" fmla="*/ 217014 w 411255"/>
                <a:gd name="connsiteY35" fmla="*/ 217048 h 228285"/>
                <a:gd name="connsiteX36" fmla="*/ 223712 w 411255"/>
                <a:gd name="connsiteY36" fmla="*/ 210932 h 228285"/>
                <a:gd name="connsiteX37" fmla="*/ 242870 w 411255"/>
                <a:gd name="connsiteY37" fmla="*/ 210932 h 228285"/>
                <a:gd name="connsiteX38" fmla="*/ 312563 w 411255"/>
                <a:gd name="connsiteY38" fmla="*/ 179514 h 228285"/>
                <a:gd name="connsiteX39" fmla="*/ 365654 w 411255"/>
                <a:gd name="connsiteY39" fmla="*/ 138904 h 228285"/>
                <a:gd name="connsiteX40" fmla="*/ 396178 w 411255"/>
                <a:gd name="connsiteY40" fmla="*/ 121356 h 228285"/>
                <a:gd name="connsiteX41" fmla="*/ 411196 w 411255"/>
                <a:gd name="connsiteY41" fmla="*/ 94283 h 228285"/>
                <a:gd name="connsiteX42" fmla="*/ 391997 w 411255"/>
                <a:gd name="connsiteY42" fmla="*/ 94083 h 228285"/>
                <a:gd name="connsiteX43" fmla="*/ 308463 w 411255"/>
                <a:gd name="connsiteY43" fmla="*/ 145154 h 228285"/>
                <a:gd name="connsiteX44" fmla="*/ 294135 w 411255"/>
                <a:gd name="connsiteY44" fmla="*/ 145956 h 228285"/>
                <a:gd name="connsiteX45" fmla="*/ 279847 w 411255"/>
                <a:gd name="connsiteY45" fmla="*/ 155081 h 228285"/>
                <a:gd name="connsiteX46" fmla="*/ 261622 w 411255"/>
                <a:gd name="connsiteY46" fmla="*/ 138803 h 228285"/>
                <a:gd name="connsiteX47" fmla="*/ 298438 w 411255"/>
                <a:gd name="connsiteY47" fmla="*/ 118081 h 228285"/>
                <a:gd name="connsiteX48" fmla="*/ 315283 w 411255"/>
                <a:gd name="connsiteY48" fmla="*/ 129111 h 228285"/>
                <a:gd name="connsiteX49" fmla="*/ 308463 w 411255"/>
                <a:gd name="connsiteY49" fmla="*/ 145154 h 22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11255" h="228285">
                  <a:moveTo>
                    <a:pt x="391997" y="94083"/>
                  </a:moveTo>
                  <a:cubicBezTo>
                    <a:pt x="389074" y="91576"/>
                    <a:pt x="386720" y="100233"/>
                    <a:pt x="377953" y="99865"/>
                  </a:cubicBezTo>
                  <a:cubicBezTo>
                    <a:pt x="366750" y="99397"/>
                    <a:pt x="362732" y="93180"/>
                    <a:pt x="359647" y="86496"/>
                  </a:cubicBezTo>
                  <a:cubicBezTo>
                    <a:pt x="357090" y="81148"/>
                    <a:pt x="361108" y="78374"/>
                    <a:pt x="366994" y="74831"/>
                  </a:cubicBezTo>
                  <a:cubicBezTo>
                    <a:pt x="376289" y="69216"/>
                    <a:pt x="382012" y="72458"/>
                    <a:pt x="391023" y="77337"/>
                  </a:cubicBezTo>
                  <a:cubicBezTo>
                    <a:pt x="391023" y="68514"/>
                    <a:pt x="395082" y="59924"/>
                    <a:pt x="395082" y="51033"/>
                  </a:cubicBezTo>
                  <a:cubicBezTo>
                    <a:pt x="395082" y="42143"/>
                    <a:pt x="386071" y="33653"/>
                    <a:pt x="383636" y="24863"/>
                  </a:cubicBezTo>
                  <a:cubicBezTo>
                    <a:pt x="380186" y="12362"/>
                    <a:pt x="382093" y="9421"/>
                    <a:pt x="362245" y="7081"/>
                  </a:cubicBezTo>
                  <a:cubicBezTo>
                    <a:pt x="357902" y="6580"/>
                    <a:pt x="324862" y="-71"/>
                    <a:pt x="324862" y="-339"/>
                  </a:cubicBezTo>
                  <a:cubicBezTo>
                    <a:pt x="315566" y="7482"/>
                    <a:pt x="305013" y="8418"/>
                    <a:pt x="296164" y="15304"/>
                  </a:cubicBezTo>
                  <a:cubicBezTo>
                    <a:pt x="289346" y="20618"/>
                    <a:pt x="279929" y="18646"/>
                    <a:pt x="272703" y="22289"/>
                  </a:cubicBezTo>
                  <a:cubicBezTo>
                    <a:pt x="264585" y="26266"/>
                    <a:pt x="267711" y="33686"/>
                    <a:pt x="260039" y="37764"/>
                  </a:cubicBezTo>
                  <a:cubicBezTo>
                    <a:pt x="252368" y="41842"/>
                    <a:pt x="245265" y="39870"/>
                    <a:pt x="237878" y="42209"/>
                  </a:cubicBezTo>
                  <a:cubicBezTo>
                    <a:pt x="231911" y="44081"/>
                    <a:pt x="232844" y="52905"/>
                    <a:pt x="230044" y="56448"/>
                  </a:cubicBezTo>
                  <a:cubicBezTo>
                    <a:pt x="223671" y="64403"/>
                    <a:pt x="195867" y="60893"/>
                    <a:pt x="186491" y="57016"/>
                  </a:cubicBezTo>
                  <a:cubicBezTo>
                    <a:pt x="173218" y="51434"/>
                    <a:pt x="161894" y="46989"/>
                    <a:pt x="158809" y="60793"/>
                  </a:cubicBezTo>
                  <a:cubicBezTo>
                    <a:pt x="157348" y="67210"/>
                    <a:pt x="134455" y="79644"/>
                    <a:pt x="125078" y="79343"/>
                  </a:cubicBezTo>
                  <a:cubicBezTo>
                    <a:pt x="121019" y="79343"/>
                    <a:pt x="107950" y="78942"/>
                    <a:pt x="104784" y="76836"/>
                  </a:cubicBezTo>
                  <a:cubicBezTo>
                    <a:pt x="101618" y="74731"/>
                    <a:pt x="104297" y="68848"/>
                    <a:pt x="107828" y="67778"/>
                  </a:cubicBezTo>
                  <a:cubicBezTo>
                    <a:pt x="120492" y="64035"/>
                    <a:pt x="98452" y="43179"/>
                    <a:pt x="90537" y="41040"/>
                  </a:cubicBezTo>
                  <a:cubicBezTo>
                    <a:pt x="89766" y="58085"/>
                    <a:pt x="88995" y="75132"/>
                    <a:pt x="88304" y="92178"/>
                  </a:cubicBezTo>
                  <a:cubicBezTo>
                    <a:pt x="87817" y="103575"/>
                    <a:pt x="87330" y="105848"/>
                    <a:pt x="73165" y="112499"/>
                  </a:cubicBezTo>
                  <a:cubicBezTo>
                    <a:pt x="65574" y="116042"/>
                    <a:pt x="36065" y="117212"/>
                    <a:pt x="30789" y="110661"/>
                  </a:cubicBezTo>
                  <a:cubicBezTo>
                    <a:pt x="28231" y="107319"/>
                    <a:pt x="27055" y="97292"/>
                    <a:pt x="18084" y="99665"/>
                  </a:cubicBezTo>
                  <a:cubicBezTo>
                    <a:pt x="7166" y="102740"/>
                    <a:pt x="14471" y="108756"/>
                    <a:pt x="-60" y="107553"/>
                  </a:cubicBezTo>
                  <a:cubicBezTo>
                    <a:pt x="8221" y="117546"/>
                    <a:pt x="15121" y="128308"/>
                    <a:pt x="20479" y="139606"/>
                  </a:cubicBezTo>
                  <a:cubicBezTo>
                    <a:pt x="25634" y="149065"/>
                    <a:pt x="34198" y="157354"/>
                    <a:pt x="39921" y="166612"/>
                  </a:cubicBezTo>
                  <a:cubicBezTo>
                    <a:pt x="42154" y="170322"/>
                    <a:pt x="43859" y="174232"/>
                    <a:pt x="44995" y="178277"/>
                  </a:cubicBezTo>
                  <a:cubicBezTo>
                    <a:pt x="46781" y="184694"/>
                    <a:pt x="43047" y="183391"/>
                    <a:pt x="37121" y="186131"/>
                  </a:cubicBezTo>
                  <a:cubicBezTo>
                    <a:pt x="29977" y="189474"/>
                    <a:pt x="44589" y="205484"/>
                    <a:pt x="44954" y="210798"/>
                  </a:cubicBezTo>
                  <a:cubicBezTo>
                    <a:pt x="45320" y="216112"/>
                    <a:pt x="63220" y="219020"/>
                    <a:pt x="67725" y="222797"/>
                  </a:cubicBezTo>
                  <a:cubicBezTo>
                    <a:pt x="79902" y="233158"/>
                    <a:pt x="82257" y="225103"/>
                    <a:pt x="96138" y="222563"/>
                  </a:cubicBezTo>
                  <a:cubicBezTo>
                    <a:pt x="110020" y="220023"/>
                    <a:pt x="121141" y="221728"/>
                    <a:pt x="134292" y="217483"/>
                  </a:cubicBezTo>
                  <a:cubicBezTo>
                    <a:pt x="152315" y="211634"/>
                    <a:pt x="168185" y="217182"/>
                    <a:pt x="186044" y="218753"/>
                  </a:cubicBezTo>
                  <a:cubicBezTo>
                    <a:pt x="191727" y="219221"/>
                    <a:pt x="197491" y="218419"/>
                    <a:pt x="202646" y="216413"/>
                  </a:cubicBezTo>
                  <a:cubicBezTo>
                    <a:pt x="207273" y="214642"/>
                    <a:pt x="212834" y="218920"/>
                    <a:pt x="217014" y="217048"/>
                  </a:cubicBezTo>
                  <a:cubicBezTo>
                    <a:pt x="221195" y="215176"/>
                    <a:pt x="218151" y="211968"/>
                    <a:pt x="223712" y="210932"/>
                  </a:cubicBezTo>
                  <a:cubicBezTo>
                    <a:pt x="230044" y="209762"/>
                    <a:pt x="236538" y="211701"/>
                    <a:pt x="242870" y="210932"/>
                  </a:cubicBezTo>
                  <a:cubicBezTo>
                    <a:pt x="269294" y="208024"/>
                    <a:pt x="294135" y="191680"/>
                    <a:pt x="312563" y="179514"/>
                  </a:cubicBezTo>
                  <a:cubicBezTo>
                    <a:pt x="331802" y="166712"/>
                    <a:pt x="347389" y="152206"/>
                    <a:pt x="365654" y="138904"/>
                  </a:cubicBezTo>
                  <a:cubicBezTo>
                    <a:pt x="375233" y="132353"/>
                    <a:pt x="385421" y="126504"/>
                    <a:pt x="396178" y="121356"/>
                  </a:cubicBezTo>
                  <a:cubicBezTo>
                    <a:pt x="406528" y="116109"/>
                    <a:pt x="408882" y="102205"/>
                    <a:pt x="411196" y="94283"/>
                  </a:cubicBezTo>
                  <a:cubicBezTo>
                    <a:pt x="404823" y="93849"/>
                    <a:pt x="398410" y="93782"/>
                    <a:pt x="391997" y="94083"/>
                  </a:cubicBezTo>
                  <a:close/>
                  <a:moveTo>
                    <a:pt x="308463" y="145154"/>
                  </a:moveTo>
                  <a:cubicBezTo>
                    <a:pt x="308179" y="148296"/>
                    <a:pt x="296936" y="145421"/>
                    <a:pt x="294135" y="145956"/>
                  </a:cubicBezTo>
                  <a:cubicBezTo>
                    <a:pt x="284678" y="147828"/>
                    <a:pt x="291091" y="156819"/>
                    <a:pt x="279847" y="155081"/>
                  </a:cubicBezTo>
                  <a:cubicBezTo>
                    <a:pt x="274327" y="154245"/>
                    <a:pt x="258335" y="141511"/>
                    <a:pt x="261622" y="138803"/>
                  </a:cubicBezTo>
                  <a:cubicBezTo>
                    <a:pt x="271527" y="130682"/>
                    <a:pt x="280172" y="118281"/>
                    <a:pt x="298438" y="118081"/>
                  </a:cubicBezTo>
                  <a:cubicBezTo>
                    <a:pt x="304039" y="118081"/>
                    <a:pt x="311913" y="126337"/>
                    <a:pt x="315283" y="129111"/>
                  </a:cubicBezTo>
                  <a:cubicBezTo>
                    <a:pt x="323928" y="136330"/>
                    <a:pt x="308869" y="138503"/>
                    <a:pt x="308463" y="14515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5A0BED8B-40E5-4694-BAFA-72AE1E4E3223}"/>
                </a:ext>
              </a:extLst>
            </p:cNvPr>
            <p:cNvSpPr/>
            <p:nvPr/>
          </p:nvSpPr>
          <p:spPr>
            <a:xfrm>
              <a:off x="6141988" y="4950998"/>
              <a:ext cx="316738" cy="214593"/>
            </a:xfrm>
            <a:custGeom>
              <a:avLst/>
              <a:gdLst>
                <a:gd name="connsiteX0" fmla="*/ 17719 w 316738"/>
                <a:gd name="connsiteY0" fmla="*/ 193782 h 214593"/>
                <a:gd name="connsiteX1" fmla="*/ 25430 w 316738"/>
                <a:gd name="connsiteY1" fmla="*/ 197859 h 214593"/>
                <a:gd name="connsiteX2" fmla="*/ 48810 w 316738"/>
                <a:gd name="connsiteY2" fmla="*/ 196322 h 214593"/>
                <a:gd name="connsiteX3" fmla="*/ 87411 w 316738"/>
                <a:gd name="connsiteY3" fmla="*/ 203007 h 214593"/>
                <a:gd name="connsiteX4" fmla="*/ 164532 w 316738"/>
                <a:gd name="connsiteY4" fmla="*/ 204477 h 214593"/>
                <a:gd name="connsiteX5" fmla="*/ 177926 w 316738"/>
                <a:gd name="connsiteY5" fmla="*/ 210159 h 214593"/>
                <a:gd name="connsiteX6" fmla="*/ 205000 w 316738"/>
                <a:gd name="connsiteY6" fmla="*/ 210594 h 214593"/>
                <a:gd name="connsiteX7" fmla="*/ 240678 w 316738"/>
                <a:gd name="connsiteY7" fmla="*/ 213401 h 214593"/>
                <a:gd name="connsiteX8" fmla="*/ 285327 w 316738"/>
                <a:gd name="connsiteY8" fmla="*/ 211530 h 214593"/>
                <a:gd name="connsiteX9" fmla="*/ 257280 w 316738"/>
                <a:gd name="connsiteY9" fmla="*/ 177137 h 214593"/>
                <a:gd name="connsiteX10" fmla="*/ 262393 w 316738"/>
                <a:gd name="connsiteY10" fmla="*/ 127235 h 214593"/>
                <a:gd name="connsiteX11" fmla="*/ 301522 w 316738"/>
                <a:gd name="connsiteY11" fmla="*/ 129608 h 214593"/>
                <a:gd name="connsiteX12" fmla="*/ 312928 w 316738"/>
                <a:gd name="connsiteY12" fmla="*/ 110256 h 214593"/>
                <a:gd name="connsiteX13" fmla="*/ 316541 w 316738"/>
                <a:gd name="connsiteY13" fmla="*/ 94781 h 214593"/>
                <a:gd name="connsiteX14" fmla="*/ 301725 w 316738"/>
                <a:gd name="connsiteY14" fmla="*/ 92575 h 214593"/>
                <a:gd name="connsiteX15" fmla="*/ 280659 w 316738"/>
                <a:gd name="connsiteY15" fmla="*/ 92575 h 214593"/>
                <a:gd name="connsiteX16" fmla="*/ 271161 w 316738"/>
                <a:gd name="connsiteY16" fmla="*/ 95917 h 214593"/>
                <a:gd name="connsiteX17" fmla="*/ 271729 w 316738"/>
                <a:gd name="connsiteY17" fmla="*/ 79740 h 214593"/>
                <a:gd name="connsiteX18" fmla="*/ 258010 w 316738"/>
                <a:gd name="connsiteY18" fmla="*/ 64733 h 214593"/>
                <a:gd name="connsiteX19" fmla="*/ 264585 w 316738"/>
                <a:gd name="connsiteY19" fmla="*/ 47286 h 214593"/>
                <a:gd name="connsiteX20" fmla="*/ 260202 w 316738"/>
                <a:gd name="connsiteY20" fmla="*/ 30407 h 214593"/>
                <a:gd name="connsiteX21" fmla="*/ 235848 w 316738"/>
                <a:gd name="connsiteY21" fmla="*/ 27065 h 214593"/>
                <a:gd name="connsiteX22" fmla="*/ 200697 w 316738"/>
                <a:gd name="connsiteY22" fmla="*/ 29772 h 214593"/>
                <a:gd name="connsiteX23" fmla="*/ 185598 w 316738"/>
                <a:gd name="connsiteY23" fmla="*/ 37426 h 214593"/>
                <a:gd name="connsiteX24" fmla="*/ 146713 w 316738"/>
                <a:gd name="connsiteY24" fmla="*/ 36123 h 214593"/>
                <a:gd name="connsiteX25" fmla="*/ 129909 w 316738"/>
                <a:gd name="connsiteY25" fmla="*/ 18742 h 214593"/>
                <a:gd name="connsiteX26" fmla="*/ 125850 w 316738"/>
                <a:gd name="connsiteY26" fmla="*/ 1195 h 214593"/>
                <a:gd name="connsiteX27" fmla="*/ 87046 w 316738"/>
                <a:gd name="connsiteY27" fmla="*/ 326 h 214593"/>
                <a:gd name="connsiteX28" fmla="*/ 38338 w 316738"/>
                <a:gd name="connsiteY28" fmla="*/ -8 h 214593"/>
                <a:gd name="connsiteX29" fmla="*/ 40043 w 316738"/>
                <a:gd name="connsiteY29" fmla="*/ 34351 h 214593"/>
                <a:gd name="connsiteX30" fmla="*/ 45685 w 316738"/>
                <a:gd name="connsiteY30" fmla="*/ 72187 h 214593"/>
                <a:gd name="connsiteX31" fmla="*/ 41626 w 316738"/>
                <a:gd name="connsiteY31" fmla="*/ 116339 h 214593"/>
                <a:gd name="connsiteX32" fmla="*/ 22792 w 316738"/>
                <a:gd name="connsiteY32" fmla="*/ 136627 h 214593"/>
                <a:gd name="connsiteX33" fmla="*/ 14675 w 316738"/>
                <a:gd name="connsiteY33" fmla="*/ 160224 h 214593"/>
                <a:gd name="connsiteX34" fmla="*/ -60 w 316738"/>
                <a:gd name="connsiteY34" fmla="*/ 199464 h 214593"/>
                <a:gd name="connsiteX35" fmla="*/ 17719 w 316738"/>
                <a:gd name="connsiteY35" fmla="*/ 193782 h 2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6738" h="214593">
                  <a:moveTo>
                    <a:pt x="17719" y="193782"/>
                  </a:moveTo>
                  <a:cubicBezTo>
                    <a:pt x="22508" y="193782"/>
                    <a:pt x="21331" y="197592"/>
                    <a:pt x="25430" y="197859"/>
                  </a:cubicBezTo>
                  <a:cubicBezTo>
                    <a:pt x="33548" y="198327"/>
                    <a:pt x="39718" y="194250"/>
                    <a:pt x="48810" y="196322"/>
                  </a:cubicBezTo>
                  <a:cubicBezTo>
                    <a:pt x="62895" y="199664"/>
                    <a:pt x="72149" y="202739"/>
                    <a:pt x="87411" y="203007"/>
                  </a:cubicBezTo>
                  <a:cubicBezTo>
                    <a:pt x="113145" y="203384"/>
                    <a:pt x="138838" y="203876"/>
                    <a:pt x="164532" y="204477"/>
                  </a:cubicBezTo>
                  <a:cubicBezTo>
                    <a:pt x="171554" y="204477"/>
                    <a:pt x="172893" y="206717"/>
                    <a:pt x="177926" y="210159"/>
                  </a:cubicBezTo>
                  <a:cubicBezTo>
                    <a:pt x="181539" y="212666"/>
                    <a:pt x="199926" y="210560"/>
                    <a:pt x="205000" y="210594"/>
                  </a:cubicBezTo>
                  <a:cubicBezTo>
                    <a:pt x="216974" y="210631"/>
                    <a:pt x="228907" y="211570"/>
                    <a:pt x="240678" y="213401"/>
                  </a:cubicBezTo>
                  <a:cubicBezTo>
                    <a:pt x="255615" y="215674"/>
                    <a:pt x="270755" y="212833"/>
                    <a:pt x="285327" y="211530"/>
                  </a:cubicBezTo>
                  <a:cubicBezTo>
                    <a:pt x="274449" y="200968"/>
                    <a:pt x="255980" y="189971"/>
                    <a:pt x="257280" y="177137"/>
                  </a:cubicBezTo>
                  <a:lnTo>
                    <a:pt x="262393" y="127235"/>
                  </a:lnTo>
                  <a:cubicBezTo>
                    <a:pt x="275423" y="128004"/>
                    <a:pt x="288493" y="128773"/>
                    <a:pt x="301522" y="129608"/>
                  </a:cubicBezTo>
                  <a:cubicBezTo>
                    <a:pt x="312197" y="130310"/>
                    <a:pt x="312157" y="113565"/>
                    <a:pt x="312928" y="110256"/>
                  </a:cubicBezTo>
                  <a:cubicBezTo>
                    <a:pt x="314105" y="105109"/>
                    <a:pt x="315323" y="99928"/>
                    <a:pt x="316541" y="94781"/>
                  </a:cubicBezTo>
                  <a:cubicBezTo>
                    <a:pt x="317961" y="88731"/>
                    <a:pt x="308138" y="92274"/>
                    <a:pt x="301725" y="92575"/>
                  </a:cubicBezTo>
                  <a:cubicBezTo>
                    <a:pt x="295312" y="92876"/>
                    <a:pt x="286667" y="90804"/>
                    <a:pt x="280659" y="92575"/>
                  </a:cubicBezTo>
                  <a:cubicBezTo>
                    <a:pt x="277940" y="93444"/>
                    <a:pt x="274814" y="96686"/>
                    <a:pt x="271161" y="95917"/>
                  </a:cubicBezTo>
                  <a:cubicBezTo>
                    <a:pt x="264464" y="94614"/>
                    <a:pt x="272866" y="82715"/>
                    <a:pt x="271729" y="79740"/>
                  </a:cubicBezTo>
                  <a:cubicBezTo>
                    <a:pt x="269497" y="74125"/>
                    <a:pt x="257564" y="70181"/>
                    <a:pt x="258010" y="64733"/>
                  </a:cubicBezTo>
                  <a:cubicBezTo>
                    <a:pt x="258497" y="58717"/>
                    <a:pt x="262962" y="53169"/>
                    <a:pt x="264585" y="47286"/>
                  </a:cubicBezTo>
                  <a:cubicBezTo>
                    <a:pt x="265965" y="42306"/>
                    <a:pt x="259918" y="36056"/>
                    <a:pt x="260202" y="30407"/>
                  </a:cubicBezTo>
                  <a:cubicBezTo>
                    <a:pt x="260486" y="24759"/>
                    <a:pt x="241937" y="28001"/>
                    <a:pt x="235848" y="27065"/>
                  </a:cubicBezTo>
                  <a:cubicBezTo>
                    <a:pt x="223671" y="24792"/>
                    <a:pt x="206583" y="15534"/>
                    <a:pt x="200697" y="29772"/>
                  </a:cubicBezTo>
                  <a:cubicBezTo>
                    <a:pt x="197410" y="37693"/>
                    <a:pt x="197897" y="36791"/>
                    <a:pt x="185598" y="37426"/>
                  </a:cubicBezTo>
                  <a:cubicBezTo>
                    <a:pt x="173299" y="38061"/>
                    <a:pt x="155358" y="44111"/>
                    <a:pt x="146713" y="36123"/>
                  </a:cubicBezTo>
                  <a:cubicBezTo>
                    <a:pt x="142654" y="32546"/>
                    <a:pt x="130883" y="22753"/>
                    <a:pt x="129909" y="18742"/>
                  </a:cubicBezTo>
                  <a:cubicBezTo>
                    <a:pt x="128813" y="14197"/>
                    <a:pt x="133968" y="4805"/>
                    <a:pt x="125850" y="1195"/>
                  </a:cubicBezTo>
                  <a:cubicBezTo>
                    <a:pt x="119436" y="-1713"/>
                    <a:pt x="94758" y="426"/>
                    <a:pt x="87046" y="326"/>
                  </a:cubicBezTo>
                  <a:cubicBezTo>
                    <a:pt x="70810" y="25"/>
                    <a:pt x="54331" y="-610"/>
                    <a:pt x="38338" y="-8"/>
                  </a:cubicBezTo>
                  <a:cubicBezTo>
                    <a:pt x="7653" y="1195"/>
                    <a:pt x="32940" y="24792"/>
                    <a:pt x="40043" y="34351"/>
                  </a:cubicBezTo>
                  <a:cubicBezTo>
                    <a:pt x="49541" y="47152"/>
                    <a:pt x="37607" y="58383"/>
                    <a:pt x="45685" y="72187"/>
                  </a:cubicBezTo>
                  <a:cubicBezTo>
                    <a:pt x="55751" y="89400"/>
                    <a:pt x="62449" y="101399"/>
                    <a:pt x="41626" y="116339"/>
                  </a:cubicBezTo>
                  <a:cubicBezTo>
                    <a:pt x="33630" y="121894"/>
                    <a:pt x="27217" y="128820"/>
                    <a:pt x="22792" y="136627"/>
                  </a:cubicBezTo>
                  <a:cubicBezTo>
                    <a:pt x="18490" y="144315"/>
                    <a:pt x="19545" y="152771"/>
                    <a:pt x="14675" y="160224"/>
                  </a:cubicBezTo>
                  <a:cubicBezTo>
                    <a:pt x="6232" y="173594"/>
                    <a:pt x="752" y="184457"/>
                    <a:pt x="-60" y="199464"/>
                  </a:cubicBezTo>
                  <a:cubicBezTo>
                    <a:pt x="8180" y="199063"/>
                    <a:pt x="10453" y="193748"/>
                    <a:pt x="17719" y="1937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7F95E13D-B0A7-44E5-B359-784CFC52AE95}"/>
                </a:ext>
              </a:extLst>
            </p:cNvPr>
            <p:cNvSpPr/>
            <p:nvPr/>
          </p:nvSpPr>
          <p:spPr>
            <a:xfrm>
              <a:off x="6399514" y="5007139"/>
              <a:ext cx="315259" cy="164009"/>
            </a:xfrm>
            <a:custGeom>
              <a:avLst/>
              <a:gdLst>
                <a:gd name="connsiteX0" fmla="*/ 247431 w 315259"/>
                <a:gd name="connsiteY0" fmla="*/ 7523 h 164009"/>
                <a:gd name="connsiteX1" fmla="*/ 224701 w 315259"/>
                <a:gd name="connsiteY1" fmla="*/ 471 h 164009"/>
                <a:gd name="connsiteX2" fmla="*/ 191418 w 315259"/>
                <a:gd name="connsiteY2" fmla="*/ 872 h 164009"/>
                <a:gd name="connsiteX3" fmla="*/ 189470 w 315259"/>
                <a:gd name="connsiteY3" fmla="*/ 8894 h 164009"/>
                <a:gd name="connsiteX4" fmla="*/ 180378 w 315259"/>
                <a:gd name="connsiteY4" fmla="*/ 17417 h 164009"/>
                <a:gd name="connsiteX5" fmla="*/ 184437 w 315259"/>
                <a:gd name="connsiteY5" fmla="*/ 23667 h 164009"/>
                <a:gd name="connsiteX6" fmla="*/ 181595 w 315259"/>
                <a:gd name="connsiteY6" fmla="*/ 33327 h 164009"/>
                <a:gd name="connsiteX7" fmla="*/ 179241 w 315259"/>
                <a:gd name="connsiteY7" fmla="*/ 61436 h 164009"/>
                <a:gd name="connsiteX8" fmla="*/ 204406 w 315259"/>
                <a:gd name="connsiteY8" fmla="*/ 66783 h 164009"/>
                <a:gd name="connsiteX9" fmla="*/ 208465 w 315259"/>
                <a:gd name="connsiteY9" fmla="*/ 82693 h 164009"/>
                <a:gd name="connsiteX10" fmla="*/ 176481 w 315259"/>
                <a:gd name="connsiteY10" fmla="*/ 71964 h 164009"/>
                <a:gd name="connsiteX11" fmla="*/ 156186 w 315259"/>
                <a:gd name="connsiteY11" fmla="*/ 65279 h 164009"/>
                <a:gd name="connsiteX12" fmla="*/ 134998 w 315259"/>
                <a:gd name="connsiteY12" fmla="*/ 54818 h 164009"/>
                <a:gd name="connsiteX13" fmla="*/ 116570 w 315259"/>
                <a:gd name="connsiteY13" fmla="*/ 58160 h 164009"/>
                <a:gd name="connsiteX14" fmla="*/ 92216 w 315259"/>
                <a:gd name="connsiteY14" fmla="*/ 50573 h 164009"/>
                <a:gd name="connsiteX15" fmla="*/ 77604 w 315259"/>
                <a:gd name="connsiteY15" fmla="*/ 43888 h 164009"/>
                <a:gd name="connsiteX16" fmla="*/ 60110 w 315259"/>
                <a:gd name="connsiteY16" fmla="*/ 35900 h 164009"/>
                <a:gd name="connsiteX17" fmla="*/ 52357 w 315259"/>
                <a:gd name="connsiteY17" fmla="*/ 69157 h 164009"/>
                <a:gd name="connsiteX18" fmla="*/ 5314 w 315259"/>
                <a:gd name="connsiteY18" fmla="*/ 71129 h 164009"/>
                <a:gd name="connsiteX19" fmla="*/ -4 w 315259"/>
                <a:gd name="connsiteY19" fmla="*/ 122935 h 164009"/>
                <a:gd name="connsiteX20" fmla="*/ 11240 w 315259"/>
                <a:gd name="connsiteY20" fmla="*/ 138945 h 164009"/>
                <a:gd name="connsiteX21" fmla="*/ 25609 w 315259"/>
                <a:gd name="connsiteY21" fmla="*/ 152849 h 164009"/>
                <a:gd name="connsiteX22" fmla="*/ 43955 w 315259"/>
                <a:gd name="connsiteY22" fmla="*/ 154320 h 164009"/>
                <a:gd name="connsiteX23" fmla="*/ 73748 w 315259"/>
                <a:gd name="connsiteY23" fmla="*/ 154621 h 164009"/>
                <a:gd name="connsiteX24" fmla="*/ 78456 w 315259"/>
                <a:gd name="connsiteY24" fmla="*/ 160102 h 164009"/>
                <a:gd name="connsiteX25" fmla="*/ 94977 w 315259"/>
                <a:gd name="connsiteY25" fmla="*/ 159935 h 164009"/>
                <a:gd name="connsiteX26" fmla="*/ 140031 w 315259"/>
                <a:gd name="connsiteY26" fmla="*/ 154387 h 164009"/>
                <a:gd name="connsiteX27" fmla="*/ 165359 w 315259"/>
                <a:gd name="connsiteY27" fmla="*/ 144360 h 164009"/>
                <a:gd name="connsiteX28" fmla="*/ 180865 w 315259"/>
                <a:gd name="connsiteY28" fmla="*/ 132895 h 164009"/>
                <a:gd name="connsiteX29" fmla="*/ 219709 w 315259"/>
                <a:gd name="connsiteY29" fmla="*/ 129820 h 164009"/>
                <a:gd name="connsiteX30" fmla="*/ 234078 w 315259"/>
                <a:gd name="connsiteY30" fmla="*/ 113777 h 164009"/>
                <a:gd name="connsiteX31" fmla="*/ 290903 w 315259"/>
                <a:gd name="connsiteY31" fmla="*/ 104987 h 164009"/>
                <a:gd name="connsiteX32" fmla="*/ 291837 w 315259"/>
                <a:gd name="connsiteY32" fmla="*/ 86537 h 164009"/>
                <a:gd name="connsiteX33" fmla="*/ 294232 w 315259"/>
                <a:gd name="connsiteY33" fmla="*/ 79852 h 164009"/>
                <a:gd name="connsiteX34" fmla="*/ 305312 w 315259"/>
                <a:gd name="connsiteY34" fmla="*/ 78883 h 164009"/>
                <a:gd name="connsiteX35" fmla="*/ 301903 w 315259"/>
                <a:gd name="connsiteY35" fmla="*/ 70560 h 164009"/>
                <a:gd name="connsiteX36" fmla="*/ 304176 w 315259"/>
                <a:gd name="connsiteY36" fmla="*/ 53848 h 164009"/>
                <a:gd name="connsiteX37" fmla="*/ 313430 w 315259"/>
                <a:gd name="connsiteY37" fmla="*/ 39142 h 164009"/>
                <a:gd name="connsiteX38" fmla="*/ 288062 w 315259"/>
                <a:gd name="connsiteY38" fmla="*/ 20358 h 164009"/>
                <a:gd name="connsiteX39" fmla="*/ 247431 w 315259"/>
                <a:gd name="connsiteY39" fmla="*/ 7523 h 164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5259" h="164009">
                  <a:moveTo>
                    <a:pt x="247431" y="7523"/>
                  </a:moveTo>
                  <a:cubicBezTo>
                    <a:pt x="237325" y="6822"/>
                    <a:pt x="234240" y="-1367"/>
                    <a:pt x="224701" y="471"/>
                  </a:cubicBezTo>
                  <a:cubicBezTo>
                    <a:pt x="217152" y="1942"/>
                    <a:pt x="196288" y="-2303"/>
                    <a:pt x="191418" y="872"/>
                  </a:cubicBezTo>
                  <a:cubicBezTo>
                    <a:pt x="188536" y="2710"/>
                    <a:pt x="190444" y="6621"/>
                    <a:pt x="189470" y="8894"/>
                  </a:cubicBezTo>
                  <a:cubicBezTo>
                    <a:pt x="187927" y="12470"/>
                    <a:pt x="180174" y="13139"/>
                    <a:pt x="180378" y="17417"/>
                  </a:cubicBezTo>
                  <a:cubicBezTo>
                    <a:pt x="180378" y="20057"/>
                    <a:pt x="184437" y="20592"/>
                    <a:pt x="184437" y="23667"/>
                  </a:cubicBezTo>
                  <a:cubicBezTo>
                    <a:pt x="183909" y="26959"/>
                    <a:pt x="182975" y="30198"/>
                    <a:pt x="181595" y="33327"/>
                  </a:cubicBezTo>
                  <a:cubicBezTo>
                    <a:pt x="177536" y="45058"/>
                    <a:pt x="169743" y="50306"/>
                    <a:pt x="179241" y="61436"/>
                  </a:cubicBezTo>
                  <a:cubicBezTo>
                    <a:pt x="185735" y="69090"/>
                    <a:pt x="192635" y="70560"/>
                    <a:pt x="204406" y="66783"/>
                  </a:cubicBezTo>
                  <a:cubicBezTo>
                    <a:pt x="214067" y="63708"/>
                    <a:pt x="210211" y="80153"/>
                    <a:pt x="208465" y="82693"/>
                  </a:cubicBezTo>
                  <a:cubicBezTo>
                    <a:pt x="199130" y="95093"/>
                    <a:pt x="178794" y="80019"/>
                    <a:pt x="176481" y="71964"/>
                  </a:cubicBezTo>
                  <a:cubicBezTo>
                    <a:pt x="174695" y="65580"/>
                    <a:pt x="165197" y="65915"/>
                    <a:pt x="156186" y="65279"/>
                  </a:cubicBezTo>
                  <a:cubicBezTo>
                    <a:pt x="147175" y="64644"/>
                    <a:pt x="144009" y="49370"/>
                    <a:pt x="134998" y="54818"/>
                  </a:cubicBezTo>
                  <a:cubicBezTo>
                    <a:pt x="129153" y="58160"/>
                    <a:pt x="126636" y="60968"/>
                    <a:pt x="116570" y="58160"/>
                  </a:cubicBezTo>
                  <a:cubicBezTo>
                    <a:pt x="111050" y="56523"/>
                    <a:pt x="94530" y="53715"/>
                    <a:pt x="92216" y="50573"/>
                  </a:cubicBezTo>
                  <a:cubicBezTo>
                    <a:pt x="87386" y="44289"/>
                    <a:pt x="92216" y="41348"/>
                    <a:pt x="77604" y="43888"/>
                  </a:cubicBezTo>
                  <a:cubicBezTo>
                    <a:pt x="66036" y="45860"/>
                    <a:pt x="68918" y="39042"/>
                    <a:pt x="60110" y="35900"/>
                  </a:cubicBezTo>
                  <a:cubicBezTo>
                    <a:pt x="57390" y="47040"/>
                    <a:pt x="54833" y="58127"/>
                    <a:pt x="52357" y="69157"/>
                  </a:cubicBezTo>
                  <a:cubicBezTo>
                    <a:pt x="50328" y="77813"/>
                    <a:pt x="13594" y="71563"/>
                    <a:pt x="5314" y="71129"/>
                  </a:cubicBezTo>
                  <a:cubicBezTo>
                    <a:pt x="3528" y="88375"/>
                    <a:pt x="1742" y="105645"/>
                    <a:pt x="-4" y="122935"/>
                  </a:cubicBezTo>
                  <a:cubicBezTo>
                    <a:pt x="-694" y="129620"/>
                    <a:pt x="5111" y="132962"/>
                    <a:pt x="11240" y="138945"/>
                  </a:cubicBezTo>
                  <a:lnTo>
                    <a:pt x="25609" y="152849"/>
                  </a:lnTo>
                  <a:cubicBezTo>
                    <a:pt x="30033" y="157127"/>
                    <a:pt x="36487" y="154721"/>
                    <a:pt x="43955" y="154320"/>
                  </a:cubicBezTo>
                  <a:cubicBezTo>
                    <a:pt x="53291" y="153852"/>
                    <a:pt x="64494" y="152849"/>
                    <a:pt x="73748" y="154621"/>
                  </a:cubicBezTo>
                  <a:cubicBezTo>
                    <a:pt x="77807" y="155423"/>
                    <a:pt x="76549" y="157629"/>
                    <a:pt x="78456" y="160102"/>
                  </a:cubicBezTo>
                  <a:cubicBezTo>
                    <a:pt x="83896" y="159180"/>
                    <a:pt x="89497" y="159123"/>
                    <a:pt x="94977" y="159935"/>
                  </a:cubicBezTo>
                  <a:cubicBezTo>
                    <a:pt x="118925" y="164848"/>
                    <a:pt x="123836" y="166620"/>
                    <a:pt x="140031" y="154387"/>
                  </a:cubicBezTo>
                  <a:cubicBezTo>
                    <a:pt x="147784" y="148538"/>
                    <a:pt x="155171" y="147702"/>
                    <a:pt x="165359" y="144360"/>
                  </a:cubicBezTo>
                  <a:cubicBezTo>
                    <a:pt x="175547" y="141017"/>
                    <a:pt x="175872" y="138176"/>
                    <a:pt x="180865" y="132895"/>
                  </a:cubicBezTo>
                  <a:cubicBezTo>
                    <a:pt x="187359" y="126044"/>
                    <a:pt x="209277" y="129352"/>
                    <a:pt x="219709" y="129820"/>
                  </a:cubicBezTo>
                  <a:cubicBezTo>
                    <a:pt x="215122" y="116083"/>
                    <a:pt x="213661" y="117153"/>
                    <a:pt x="234078" y="113777"/>
                  </a:cubicBezTo>
                  <a:cubicBezTo>
                    <a:pt x="252018" y="110802"/>
                    <a:pt x="272272" y="105454"/>
                    <a:pt x="290903" y="104987"/>
                  </a:cubicBezTo>
                  <a:cubicBezTo>
                    <a:pt x="285789" y="96831"/>
                    <a:pt x="289807" y="94960"/>
                    <a:pt x="291837" y="86537"/>
                  </a:cubicBezTo>
                  <a:cubicBezTo>
                    <a:pt x="292121" y="85300"/>
                    <a:pt x="291837" y="80554"/>
                    <a:pt x="294232" y="79852"/>
                  </a:cubicBezTo>
                  <a:cubicBezTo>
                    <a:pt x="296626" y="79150"/>
                    <a:pt x="304541" y="80287"/>
                    <a:pt x="305312" y="78883"/>
                  </a:cubicBezTo>
                  <a:cubicBezTo>
                    <a:pt x="305800" y="78047"/>
                    <a:pt x="301984" y="71931"/>
                    <a:pt x="301903" y="70560"/>
                  </a:cubicBezTo>
                  <a:cubicBezTo>
                    <a:pt x="301579" y="64925"/>
                    <a:pt x="302349" y="59283"/>
                    <a:pt x="304176" y="53848"/>
                  </a:cubicBezTo>
                  <a:cubicBezTo>
                    <a:pt x="307301" y="44423"/>
                    <a:pt x="319763" y="51275"/>
                    <a:pt x="313430" y="39142"/>
                  </a:cubicBezTo>
                  <a:cubicBezTo>
                    <a:pt x="308195" y="29115"/>
                    <a:pt x="302837" y="25372"/>
                    <a:pt x="288062" y="20358"/>
                  </a:cubicBezTo>
                  <a:cubicBezTo>
                    <a:pt x="277062" y="16381"/>
                    <a:pt x="258919" y="8292"/>
                    <a:pt x="247431" y="752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050052D-57E6-42AC-A0AD-2DC3A6157F01}"/>
                </a:ext>
              </a:extLst>
            </p:cNvPr>
            <p:cNvSpPr/>
            <p:nvPr/>
          </p:nvSpPr>
          <p:spPr>
            <a:xfrm>
              <a:off x="6601734" y="4884983"/>
              <a:ext cx="53704" cy="26171"/>
            </a:xfrm>
            <a:custGeom>
              <a:avLst/>
              <a:gdLst>
                <a:gd name="connsiteX0" fmla="*/ 46389 w 53704"/>
                <a:gd name="connsiteY0" fmla="*/ -339 h 26171"/>
                <a:gd name="connsiteX1" fmla="*/ 6855 w 53704"/>
                <a:gd name="connsiteY1" fmla="*/ 10925 h 26171"/>
                <a:gd name="connsiteX2" fmla="*/ -45 w 53704"/>
                <a:gd name="connsiteY2" fmla="*/ 18880 h 26171"/>
                <a:gd name="connsiteX3" fmla="*/ 20615 w 53704"/>
                <a:gd name="connsiteY3" fmla="*/ 25832 h 26171"/>
                <a:gd name="connsiteX4" fmla="*/ 28733 w 53704"/>
                <a:gd name="connsiteY4" fmla="*/ 20885 h 26171"/>
                <a:gd name="connsiteX5" fmla="*/ 44684 w 53704"/>
                <a:gd name="connsiteY5" fmla="*/ 21453 h 26171"/>
                <a:gd name="connsiteX6" fmla="*/ 46389 w 53704"/>
                <a:gd name="connsiteY6" fmla="*/ -339 h 2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704" h="26171">
                  <a:moveTo>
                    <a:pt x="46389" y="-339"/>
                  </a:moveTo>
                  <a:cubicBezTo>
                    <a:pt x="32304" y="1098"/>
                    <a:pt x="8884" y="597"/>
                    <a:pt x="6855" y="10925"/>
                  </a:cubicBezTo>
                  <a:cubicBezTo>
                    <a:pt x="6002" y="15270"/>
                    <a:pt x="360" y="14267"/>
                    <a:pt x="-45" y="18880"/>
                  </a:cubicBezTo>
                  <a:cubicBezTo>
                    <a:pt x="-573" y="24829"/>
                    <a:pt x="13795" y="25865"/>
                    <a:pt x="20615" y="25832"/>
                  </a:cubicBezTo>
                  <a:cubicBezTo>
                    <a:pt x="28124" y="25832"/>
                    <a:pt x="25810" y="21587"/>
                    <a:pt x="28733" y="20885"/>
                  </a:cubicBezTo>
                  <a:cubicBezTo>
                    <a:pt x="32467" y="20083"/>
                    <a:pt x="40463" y="21654"/>
                    <a:pt x="44684" y="21453"/>
                  </a:cubicBezTo>
                  <a:cubicBezTo>
                    <a:pt x="61894" y="20618"/>
                    <a:pt x="49596" y="6112"/>
                    <a:pt x="46389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744D8E49-3131-4B03-873D-00129EB9B4D8}"/>
                </a:ext>
              </a:extLst>
            </p:cNvPr>
            <p:cNvSpPr/>
            <p:nvPr/>
          </p:nvSpPr>
          <p:spPr>
            <a:xfrm>
              <a:off x="6942382" y="4705688"/>
              <a:ext cx="327730" cy="214122"/>
            </a:xfrm>
            <a:custGeom>
              <a:avLst/>
              <a:gdLst>
                <a:gd name="connsiteX0" fmla="*/ 93738 w 327730"/>
                <a:gd name="connsiteY0" fmla="*/ 28216 h 214122"/>
                <a:gd name="connsiteX1" fmla="*/ 117199 w 327730"/>
                <a:gd name="connsiteY1" fmla="*/ 42254 h 214122"/>
                <a:gd name="connsiteX2" fmla="*/ 166719 w 327730"/>
                <a:gd name="connsiteY2" fmla="*/ 59233 h 214122"/>
                <a:gd name="connsiteX3" fmla="*/ 204995 w 327730"/>
                <a:gd name="connsiteY3" fmla="*/ 69261 h 214122"/>
                <a:gd name="connsiteX4" fmla="*/ 207552 w 327730"/>
                <a:gd name="connsiteY4" fmla="*/ 76881 h 214122"/>
                <a:gd name="connsiteX5" fmla="*/ 148534 w 327730"/>
                <a:gd name="connsiteY5" fmla="*/ 101982 h 214122"/>
                <a:gd name="connsiteX6" fmla="*/ 126494 w 327730"/>
                <a:gd name="connsiteY6" fmla="*/ 111541 h 214122"/>
                <a:gd name="connsiteX7" fmla="*/ 79816 w 327730"/>
                <a:gd name="connsiteY7" fmla="*/ 111541 h 214122"/>
                <a:gd name="connsiteX8" fmla="*/ 50754 w 327730"/>
                <a:gd name="connsiteY8" fmla="*/ 116889 h 214122"/>
                <a:gd name="connsiteX9" fmla="*/ 22341 w 327730"/>
                <a:gd name="connsiteY9" fmla="*/ 126916 h 214122"/>
                <a:gd name="connsiteX10" fmla="*/ 5618 w 327730"/>
                <a:gd name="connsiteY10" fmla="*/ 146669 h 214122"/>
                <a:gd name="connsiteX11" fmla="*/ 260 w 327730"/>
                <a:gd name="connsiteY11" fmla="*/ 188415 h 214122"/>
                <a:gd name="connsiteX12" fmla="*/ 10610 w 327730"/>
                <a:gd name="connsiteY12" fmla="*/ 213784 h 214122"/>
                <a:gd name="connsiteX13" fmla="*/ 97391 w 327730"/>
                <a:gd name="connsiteY13" fmla="*/ 172807 h 214122"/>
                <a:gd name="connsiteX14" fmla="*/ 171590 w 327730"/>
                <a:gd name="connsiteY14" fmla="*/ 149410 h 214122"/>
                <a:gd name="connsiteX15" fmla="*/ 221150 w 327730"/>
                <a:gd name="connsiteY15" fmla="*/ 124309 h 214122"/>
                <a:gd name="connsiteX16" fmla="*/ 252891 w 327730"/>
                <a:gd name="connsiteY16" fmla="*/ 97570 h 214122"/>
                <a:gd name="connsiteX17" fmla="*/ 311300 w 327730"/>
                <a:gd name="connsiteY17" fmla="*/ 51914 h 214122"/>
                <a:gd name="connsiteX18" fmla="*/ 327536 w 327730"/>
                <a:gd name="connsiteY18" fmla="*/ 19894 h 214122"/>
                <a:gd name="connsiteX19" fmla="*/ 303506 w 327730"/>
                <a:gd name="connsiteY19" fmla="*/ 17922 h 214122"/>
                <a:gd name="connsiteX20" fmla="*/ 199515 w 327730"/>
                <a:gd name="connsiteY20" fmla="*/ 16451 h 214122"/>
                <a:gd name="connsiteX21" fmla="*/ 157626 w 327730"/>
                <a:gd name="connsiteY21" fmla="*/ 17086 h 214122"/>
                <a:gd name="connsiteX22" fmla="*/ 121096 w 327730"/>
                <a:gd name="connsiteY22" fmla="*/ 17086 h 214122"/>
                <a:gd name="connsiteX23" fmla="*/ 86392 w 327730"/>
                <a:gd name="connsiteY23" fmla="*/ 3516 h 214122"/>
                <a:gd name="connsiteX24" fmla="*/ 93941 w 327730"/>
                <a:gd name="connsiteY24" fmla="*/ 28183 h 21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27730" h="214122">
                  <a:moveTo>
                    <a:pt x="93738" y="28216"/>
                  </a:moveTo>
                  <a:cubicBezTo>
                    <a:pt x="103399" y="32327"/>
                    <a:pt x="105915" y="38778"/>
                    <a:pt x="117199" y="42254"/>
                  </a:cubicBezTo>
                  <a:cubicBezTo>
                    <a:pt x="134044" y="47468"/>
                    <a:pt x="150605" y="53150"/>
                    <a:pt x="166719" y="59233"/>
                  </a:cubicBezTo>
                  <a:cubicBezTo>
                    <a:pt x="178855" y="64006"/>
                    <a:pt x="191722" y="67382"/>
                    <a:pt x="204995" y="69261"/>
                  </a:cubicBezTo>
                  <a:cubicBezTo>
                    <a:pt x="219526" y="71099"/>
                    <a:pt x="215629" y="73639"/>
                    <a:pt x="207552" y="76881"/>
                  </a:cubicBezTo>
                  <a:cubicBezTo>
                    <a:pt x="187501" y="84936"/>
                    <a:pt x="167977" y="93593"/>
                    <a:pt x="148534" y="101982"/>
                  </a:cubicBezTo>
                  <a:cubicBezTo>
                    <a:pt x="141512" y="105662"/>
                    <a:pt x="134166" y="108861"/>
                    <a:pt x="126494" y="111541"/>
                  </a:cubicBezTo>
                  <a:cubicBezTo>
                    <a:pt x="112694" y="115352"/>
                    <a:pt x="95281" y="107330"/>
                    <a:pt x="79816" y="111541"/>
                  </a:cubicBezTo>
                  <a:cubicBezTo>
                    <a:pt x="68045" y="114650"/>
                    <a:pt x="63824" y="117023"/>
                    <a:pt x="50754" y="116889"/>
                  </a:cubicBezTo>
                  <a:cubicBezTo>
                    <a:pt x="34518" y="116722"/>
                    <a:pt x="32285" y="120031"/>
                    <a:pt x="22341" y="126916"/>
                  </a:cubicBezTo>
                  <a:cubicBezTo>
                    <a:pt x="12397" y="133801"/>
                    <a:pt x="6795" y="137244"/>
                    <a:pt x="5618" y="146669"/>
                  </a:cubicBezTo>
                  <a:lnTo>
                    <a:pt x="260" y="188415"/>
                  </a:lnTo>
                  <a:cubicBezTo>
                    <a:pt x="-1161" y="199412"/>
                    <a:pt x="2127" y="203122"/>
                    <a:pt x="10610" y="213784"/>
                  </a:cubicBezTo>
                  <a:cubicBezTo>
                    <a:pt x="34964" y="198309"/>
                    <a:pt x="67436" y="184137"/>
                    <a:pt x="97391" y="172807"/>
                  </a:cubicBezTo>
                  <a:cubicBezTo>
                    <a:pt x="121502" y="163649"/>
                    <a:pt x="148047" y="159872"/>
                    <a:pt x="171590" y="149410"/>
                  </a:cubicBezTo>
                  <a:cubicBezTo>
                    <a:pt x="188718" y="141880"/>
                    <a:pt x="205279" y="133497"/>
                    <a:pt x="221150" y="124309"/>
                  </a:cubicBezTo>
                  <a:cubicBezTo>
                    <a:pt x="235600" y="116020"/>
                    <a:pt x="242013" y="107196"/>
                    <a:pt x="252891" y="97570"/>
                  </a:cubicBezTo>
                  <a:cubicBezTo>
                    <a:pt x="268761" y="83599"/>
                    <a:pt x="308743" y="70831"/>
                    <a:pt x="311300" y="51914"/>
                  </a:cubicBezTo>
                  <a:cubicBezTo>
                    <a:pt x="312802" y="40650"/>
                    <a:pt x="329321" y="31860"/>
                    <a:pt x="327536" y="19894"/>
                  </a:cubicBezTo>
                  <a:cubicBezTo>
                    <a:pt x="325749" y="7928"/>
                    <a:pt x="310934" y="16551"/>
                    <a:pt x="303506" y="17922"/>
                  </a:cubicBezTo>
                  <a:cubicBezTo>
                    <a:pt x="270750" y="24606"/>
                    <a:pt x="230445" y="8764"/>
                    <a:pt x="199515" y="16451"/>
                  </a:cubicBezTo>
                  <a:cubicBezTo>
                    <a:pt x="187338" y="19493"/>
                    <a:pt x="166800" y="12474"/>
                    <a:pt x="157626" y="17086"/>
                  </a:cubicBezTo>
                  <a:cubicBezTo>
                    <a:pt x="148453" y="21699"/>
                    <a:pt x="131203" y="20830"/>
                    <a:pt x="121096" y="17086"/>
                  </a:cubicBezTo>
                  <a:cubicBezTo>
                    <a:pt x="104129" y="10903"/>
                    <a:pt x="107133" y="-8516"/>
                    <a:pt x="86392" y="3516"/>
                  </a:cubicBezTo>
                  <a:cubicBezTo>
                    <a:pt x="75839" y="9666"/>
                    <a:pt x="79938" y="22200"/>
                    <a:pt x="93941" y="2818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12120C99-D7F0-48AB-9BE8-6ECDD54C44F3}"/>
                </a:ext>
              </a:extLst>
            </p:cNvPr>
            <p:cNvSpPr/>
            <p:nvPr/>
          </p:nvSpPr>
          <p:spPr>
            <a:xfrm>
              <a:off x="5384867" y="4221478"/>
              <a:ext cx="360714" cy="171476"/>
            </a:xfrm>
            <a:custGeom>
              <a:avLst/>
              <a:gdLst>
                <a:gd name="connsiteX0" fmla="*/ 135835 w 360714"/>
                <a:gd name="connsiteY0" fmla="*/ 167127 h 171476"/>
                <a:gd name="connsiteX1" fmla="*/ 142370 w 360714"/>
                <a:gd name="connsiteY1" fmla="*/ 138750 h 171476"/>
                <a:gd name="connsiteX2" fmla="*/ 184624 w 360714"/>
                <a:gd name="connsiteY2" fmla="*/ 122039 h 171476"/>
                <a:gd name="connsiteX3" fmla="*/ 200860 w 360714"/>
                <a:gd name="connsiteY3" fmla="*/ 116758 h 171476"/>
                <a:gd name="connsiteX4" fmla="*/ 226472 w 360714"/>
                <a:gd name="connsiteY4" fmla="*/ 113616 h 171476"/>
                <a:gd name="connsiteX5" fmla="*/ 242992 w 360714"/>
                <a:gd name="connsiteY5" fmla="*/ 100246 h 171476"/>
                <a:gd name="connsiteX6" fmla="*/ 272298 w 360714"/>
                <a:gd name="connsiteY6" fmla="*/ 93796 h 171476"/>
                <a:gd name="connsiteX7" fmla="*/ 281349 w 360714"/>
                <a:gd name="connsiteY7" fmla="*/ 84437 h 171476"/>
                <a:gd name="connsiteX8" fmla="*/ 290969 w 360714"/>
                <a:gd name="connsiteY8" fmla="*/ 75513 h 171476"/>
                <a:gd name="connsiteX9" fmla="*/ 312076 w 360714"/>
                <a:gd name="connsiteY9" fmla="*/ 67023 h 171476"/>
                <a:gd name="connsiteX10" fmla="*/ 343086 w 360714"/>
                <a:gd name="connsiteY10" fmla="*/ 65419 h 171476"/>
                <a:gd name="connsiteX11" fmla="*/ 351204 w 360714"/>
                <a:gd name="connsiteY11" fmla="*/ 48206 h 171476"/>
                <a:gd name="connsiteX12" fmla="*/ 344466 w 360714"/>
                <a:gd name="connsiteY12" fmla="*/ 35872 h 171476"/>
                <a:gd name="connsiteX13" fmla="*/ 331680 w 360714"/>
                <a:gd name="connsiteY13" fmla="*/ 12476 h 171476"/>
                <a:gd name="connsiteX14" fmla="*/ 264139 w 360714"/>
                <a:gd name="connsiteY14" fmla="*/ 9134 h 171476"/>
                <a:gd name="connsiteX15" fmla="*/ 231667 w 360714"/>
                <a:gd name="connsiteY15" fmla="*/ 2950 h 171476"/>
                <a:gd name="connsiteX16" fmla="*/ 204675 w 360714"/>
                <a:gd name="connsiteY16" fmla="*/ 3518 h 171476"/>
                <a:gd name="connsiteX17" fmla="*/ 180037 w 360714"/>
                <a:gd name="connsiteY17" fmla="*/ 35371 h 171476"/>
                <a:gd name="connsiteX18" fmla="*/ 156333 w 360714"/>
                <a:gd name="connsiteY18" fmla="*/ 47838 h 171476"/>
                <a:gd name="connsiteX19" fmla="*/ 122684 w 360714"/>
                <a:gd name="connsiteY19" fmla="*/ 56395 h 171476"/>
                <a:gd name="connsiteX20" fmla="*/ 91349 w 360714"/>
                <a:gd name="connsiteY20" fmla="*/ 88682 h 171476"/>
                <a:gd name="connsiteX21" fmla="*/ 96747 w 360714"/>
                <a:gd name="connsiteY21" fmla="*/ 118362 h 171476"/>
                <a:gd name="connsiteX22" fmla="*/ 59364 w 360714"/>
                <a:gd name="connsiteY22" fmla="*/ 145101 h 171476"/>
                <a:gd name="connsiteX23" fmla="*/ 39719 w 360714"/>
                <a:gd name="connsiteY23" fmla="*/ 157467 h 171476"/>
                <a:gd name="connsiteX24" fmla="*/ -60 w 360714"/>
                <a:gd name="connsiteY24" fmla="*/ 171138 h 171476"/>
                <a:gd name="connsiteX25" fmla="*/ 86031 w 360714"/>
                <a:gd name="connsiteY25" fmla="*/ 164253 h 171476"/>
                <a:gd name="connsiteX26" fmla="*/ 135754 w 360714"/>
                <a:gd name="connsiteY26" fmla="*/ 167227 h 171476"/>
                <a:gd name="connsiteX27" fmla="*/ 135835 w 360714"/>
                <a:gd name="connsiteY27" fmla="*/ 167127 h 17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0714" h="171476">
                  <a:moveTo>
                    <a:pt x="135835" y="167127"/>
                  </a:moveTo>
                  <a:cubicBezTo>
                    <a:pt x="134292" y="156632"/>
                    <a:pt x="126053" y="146271"/>
                    <a:pt x="142370" y="138750"/>
                  </a:cubicBezTo>
                  <a:cubicBezTo>
                    <a:pt x="153370" y="133703"/>
                    <a:pt x="170499" y="123710"/>
                    <a:pt x="184624" y="122039"/>
                  </a:cubicBezTo>
                  <a:cubicBezTo>
                    <a:pt x="196517" y="120568"/>
                    <a:pt x="193716" y="120902"/>
                    <a:pt x="200860" y="116758"/>
                  </a:cubicBezTo>
                  <a:cubicBezTo>
                    <a:pt x="206339" y="113415"/>
                    <a:pt x="219450" y="114819"/>
                    <a:pt x="226472" y="113616"/>
                  </a:cubicBezTo>
                  <a:cubicBezTo>
                    <a:pt x="242261" y="110908"/>
                    <a:pt x="235442" y="105427"/>
                    <a:pt x="242992" y="100246"/>
                  </a:cubicBezTo>
                  <a:cubicBezTo>
                    <a:pt x="250542" y="95066"/>
                    <a:pt x="265276" y="99578"/>
                    <a:pt x="272298" y="93796"/>
                  </a:cubicBezTo>
                  <a:cubicBezTo>
                    <a:pt x="278021" y="89116"/>
                    <a:pt x="282161" y="91322"/>
                    <a:pt x="281349" y="84437"/>
                  </a:cubicBezTo>
                  <a:cubicBezTo>
                    <a:pt x="280659" y="78320"/>
                    <a:pt x="279929" y="76048"/>
                    <a:pt x="290969" y="75513"/>
                  </a:cubicBezTo>
                  <a:cubicBezTo>
                    <a:pt x="304607" y="74811"/>
                    <a:pt x="303146" y="68628"/>
                    <a:pt x="312076" y="67023"/>
                  </a:cubicBezTo>
                  <a:cubicBezTo>
                    <a:pt x="322345" y="65670"/>
                    <a:pt x="332695" y="65132"/>
                    <a:pt x="343086" y="65419"/>
                  </a:cubicBezTo>
                  <a:cubicBezTo>
                    <a:pt x="363381" y="65218"/>
                    <a:pt x="366100" y="55592"/>
                    <a:pt x="351204" y="48206"/>
                  </a:cubicBezTo>
                  <a:cubicBezTo>
                    <a:pt x="343086" y="44195"/>
                    <a:pt x="343898" y="42658"/>
                    <a:pt x="344466" y="35872"/>
                  </a:cubicBezTo>
                  <a:cubicBezTo>
                    <a:pt x="345319" y="26146"/>
                    <a:pt x="340407" y="20264"/>
                    <a:pt x="331680" y="12476"/>
                  </a:cubicBezTo>
                  <a:cubicBezTo>
                    <a:pt x="321533" y="3051"/>
                    <a:pt x="281795" y="7897"/>
                    <a:pt x="264139" y="9134"/>
                  </a:cubicBezTo>
                  <a:cubicBezTo>
                    <a:pt x="248918" y="10237"/>
                    <a:pt x="242789" y="7630"/>
                    <a:pt x="231667" y="2950"/>
                  </a:cubicBezTo>
                  <a:cubicBezTo>
                    <a:pt x="223549" y="-392"/>
                    <a:pt x="211372" y="-2598"/>
                    <a:pt x="204675" y="3518"/>
                  </a:cubicBezTo>
                  <a:cubicBezTo>
                    <a:pt x="193675" y="13545"/>
                    <a:pt x="189251" y="25043"/>
                    <a:pt x="180037" y="35371"/>
                  </a:cubicBezTo>
                  <a:cubicBezTo>
                    <a:pt x="175045" y="40953"/>
                    <a:pt x="166034" y="44830"/>
                    <a:pt x="156333" y="47838"/>
                  </a:cubicBezTo>
                  <a:cubicBezTo>
                    <a:pt x="146632" y="50846"/>
                    <a:pt x="128650" y="51481"/>
                    <a:pt x="122684" y="56395"/>
                  </a:cubicBezTo>
                  <a:cubicBezTo>
                    <a:pt x="111400" y="66589"/>
                    <a:pt x="100928" y="77375"/>
                    <a:pt x="91349" y="88682"/>
                  </a:cubicBezTo>
                  <a:cubicBezTo>
                    <a:pt x="80917" y="99946"/>
                    <a:pt x="102957" y="108736"/>
                    <a:pt x="96747" y="118362"/>
                  </a:cubicBezTo>
                  <a:cubicBezTo>
                    <a:pt x="89725" y="129458"/>
                    <a:pt x="74057" y="137146"/>
                    <a:pt x="59364" y="145101"/>
                  </a:cubicBezTo>
                  <a:cubicBezTo>
                    <a:pt x="52261" y="148944"/>
                    <a:pt x="47187" y="153791"/>
                    <a:pt x="39719" y="157467"/>
                  </a:cubicBezTo>
                  <a:cubicBezTo>
                    <a:pt x="27542" y="163551"/>
                    <a:pt x="10981" y="163952"/>
                    <a:pt x="-60" y="171138"/>
                  </a:cubicBezTo>
                  <a:cubicBezTo>
                    <a:pt x="28597" y="168688"/>
                    <a:pt x="57294" y="166392"/>
                    <a:pt x="86031" y="164253"/>
                  </a:cubicBezTo>
                  <a:cubicBezTo>
                    <a:pt x="104784" y="162849"/>
                    <a:pt x="124754" y="158470"/>
                    <a:pt x="135754" y="167227"/>
                  </a:cubicBezTo>
                  <a:cubicBezTo>
                    <a:pt x="134374" y="156030"/>
                    <a:pt x="131695" y="163818"/>
                    <a:pt x="135835" y="16712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DC577C4-DD6B-4232-B554-53180B1C8469}"/>
                </a:ext>
              </a:extLst>
            </p:cNvPr>
            <p:cNvSpPr/>
            <p:nvPr/>
          </p:nvSpPr>
          <p:spPr>
            <a:xfrm>
              <a:off x="6013656" y="4177341"/>
              <a:ext cx="130254" cy="136433"/>
            </a:xfrm>
            <a:custGeom>
              <a:avLst/>
              <a:gdLst>
                <a:gd name="connsiteX0" fmla="*/ 31303 w 130254"/>
                <a:gd name="connsiteY0" fmla="*/ 33050 h 136433"/>
                <a:gd name="connsiteX1" fmla="*/ 6381 w 130254"/>
                <a:gd name="connsiteY1" fmla="*/ 61560 h 136433"/>
                <a:gd name="connsiteX2" fmla="*/ 21683 w 130254"/>
                <a:gd name="connsiteY2" fmla="*/ 82550 h 136433"/>
                <a:gd name="connsiteX3" fmla="*/ 29801 w 130254"/>
                <a:gd name="connsiteY3" fmla="*/ 93045 h 136433"/>
                <a:gd name="connsiteX4" fmla="*/ 52369 w 130254"/>
                <a:gd name="connsiteY4" fmla="*/ 101468 h 136433"/>
                <a:gd name="connsiteX5" fmla="*/ 70026 w 130254"/>
                <a:gd name="connsiteY5" fmla="*/ 136095 h 136433"/>
                <a:gd name="connsiteX6" fmla="*/ 87682 w 130254"/>
                <a:gd name="connsiteY6" fmla="*/ 122124 h 136433"/>
                <a:gd name="connsiteX7" fmla="*/ 90929 w 130254"/>
                <a:gd name="connsiteY7" fmla="*/ 108754 h 136433"/>
                <a:gd name="connsiteX8" fmla="*/ 109316 w 130254"/>
                <a:gd name="connsiteY8" fmla="*/ 98727 h 136433"/>
                <a:gd name="connsiteX9" fmla="*/ 126567 w 130254"/>
                <a:gd name="connsiteY9" fmla="*/ 94081 h 136433"/>
                <a:gd name="connsiteX10" fmla="*/ 118449 w 130254"/>
                <a:gd name="connsiteY10" fmla="*/ 76835 h 136433"/>
                <a:gd name="connsiteX11" fmla="*/ 104121 w 130254"/>
                <a:gd name="connsiteY11" fmla="*/ 69080 h 136433"/>
                <a:gd name="connsiteX12" fmla="*/ 81959 w 130254"/>
                <a:gd name="connsiteY12" fmla="*/ 66139 h 136433"/>
                <a:gd name="connsiteX13" fmla="*/ 96368 w 130254"/>
                <a:gd name="connsiteY13" fmla="*/ 54274 h 136433"/>
                <a:gd name="connsiteX14" fmla="*/ 114268 w 130254"/>
                <a:gd name="connsiteY14" fmla="*/ 41840 h 136433"/>
                <a:gd name="connsiteX15" fmla="*/ 99291 w 130254"/>
                <a:gd name="connsiteY15" fmla="*/ 25128 h 136433"/>
                <a:gd name="connsiteX16" fmla="*/ 114755 w 130254"/>
                <a:gd name="connsiteY16" fmla="*/ 9954 h 136433"/>
                <a:gd name="connsiteX17" fmla="*/ 97545 w 130254"/>
                <a:gd name="connsiteY17" fmla="*/ 9386 h 136433"/>
                <a:gd name="connsiteX18" fmla="*/ 82203 w 130254"/>
                <a:gd name="connsiteY18" fmla="*/ 528 h 136433"/>
                <a:gd name="connsiteX19" fmla="*/ 52653 w 130254"/>
                <a:gd name="connsiteY19" fmla="*/ 1999 h 136433"/>
                <a:gd name="connsiteX20" fmla="*/ 29233 w 130254"/>
                <a:gd name="connsiteY20" fmla="*/ 15369 h 136433"/>
                <a:gd name="connsiteX21" fmla="*/ 31262 w 130254"/>
                <a:gd name="connsiteY21" fmla="*/ 33050 h 136433"/>
                <a:gd name="connsiteX22" fmla="*/ 31303 w 130254"/>
                <a:gd name="connsiteY22" fmla="*/ 33050 h 136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0254" h="136433">
                  <a:moveTo>
                    <a:pt x="31303" y="33050"/>
                  </a:moveTo>
                  <a:cubicBezTo>
                    <a:pt x="42506" y="41974"/>
                    <a:pt x="18152" y="56212"/>
                    <a:pt x="6381" y="61560"/>
                  </a:cubicBezTo>
                  <a:cubicBezTo>
                    <a:pt x="-10220" y="69147"/>
                    <a:pt x="9060" y="77102"/>
                    <a:pt x="21683" y="82550"/>
                  </a:cubicBezTo>
                  <a:cubicBezTo>
                    <a:pt x="28786" y="85625"/>
                    <a:pt x="24849" y="90237"/>
                    <a:pt x="29801" y="93045"/>
                  </a:cubicBezTo>
                  <a:cubicBezTo>
                    <a:pt x="36173" y="96655"/>
                    <a:pt x="46727" y="97357"/>
                    <a:pt x="52369" y="101468"/>
                  </a:cubicBezTo>
                  <a:cubicBezTo>
                    <a:pt x="65723" y="111094"/>
                    <a:pt x="57929" y="127271"/>
                    <a:pt x="70026" y="136095"/>
                  </a:cubicBezTo>
                  <a:cubicBezTo>
                    <a:pt x="80011" y="132284"/>
                    <a:pt x="85003" y="128708"/>
                    <a:pt x="87682" y="122124"/>
                  </a:cubicBezTo>
                  <a:cubicBezTo>
                    <a:pt x="89468" y="117812"/>
                    <a:pt x="84069" y="112096"/>
                    <a:pt x="90929" y="108754"/>
                  </a:cubicBezTo>
                  <a:cubicBezTo>
                    <a:pt x="97789" y="105412"/>
                    <a:pt x="103106" y="102069"/>
                    <a:pt x="109316" y="98727"/>
                  </a:cubicBezTo>
                  <a:cubicBezTo>
                    <a:pt x="114187" y="96220"/>
                    <a:pt x="122954" y="96688"/>
                    <a:pt x="126567" y="94081"/>
                  </a:cubicBezTo>
                  <a:cubicBezTo>
                    <a:pt x="136227" y="87229"/>
                    <a:pt x="124172" y="81514"/>
                    <a:pt x="118449" y="76835"/>
                  </a:cubicBezTo>
                  <a:cubicBezTo>
                    <a:pt x="116623" y="75331"/>
                    <a:pt x="111468" y="64234"/>
                    <a:pt x="104121" y="69080"/>
                  </a:cubicBezTo>
                  <a:cubicBezTo>
                    <a:pt x="98600" y="72690"/>
                    <a:pt x="85693" y="69080"/>
                    <a:pt x="81959" y="66139"/>
                  </a:cubicBezTo>
                  <a:cubicBezTo>
                    <a:pt x="73191" y="59454"/>
                    <a:pt x="88291" y="56780"/>
                    <a:pt x="96368" y="54274"/>
                  </a:cubicBezTo>
                  <a:cubicBezTo>
                    <a:pt x="105298" y="51533"/>
                    <a:pt x="112604" y="47589"/>
                    <a:pt x="114268" y="41840"/>
                  </a:cubicBezTo>
                  <a:cubicBezTo>
                    <a:pt x="116866" y="33317"/>
                    <a:pt x="105866" y="31378"/>
                    <a:pt x="99291" y="25128"/>
                  </a:cubicBezTo>
                  <a:cubicBezTo>
                    <a:pt x="92715" y="18878"/>
                    <a:pt x="112442" y="15101"/>
                    <a:pt x="114755" y="9954"/>
                  </a:cubicBezTo>
                  <a:cubicBezTo>
                    <a:pt x="117759" y="3269"/>
                    <a:pt x="100833" y="9653"/>
                    <a:pt x="97545" y="9386"/>
                  </a:cubicBezTo>
                  <a:cubicBezTo>
                    <a:pt x="90361" y="8784"/>
                    <a:pt x="91213" y="1932"/>
                    <a:pt x="82203" y="528"/>
                  </a:cubicBezTo>
                  <a:cubicBezTo>
                    <a:pt x="72339" y="-1006"/>
                    <a:pt x="62192" y="-498"/>
                    <a:pt x="52653" y="1999"/>
                  </a:cubicBezTo>
                  <a:cubicBezTo>
                    <a:pt x="36782" y="6612"/>
                    <a:pt x="31059" y="5141"/>
                    <a:pt x="29233" y="15369"/>
                  </a:cubicBezTo>
                  <a:cubicBezTo>
                    <a:pt x="28299" y="20382"/>
                    <a:pt x="25661" y="28537"/>
                    <a:pt x="31262" y="33050"/>
                  </a:cubicBezTo>
                  <a:cubicBezTo>
                    <a:pt x="38812" y="39033"/>
                    <a:pt x="26310" y="29039"/>
                    <a:pt x="31303" y="330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BBB61C50-7AD8-4412-8C55-BBE2EAD053FB}"/>
                </a:ext>
              </a:extLst>
            </p:cNvPr>
            <p:cNvSpPr/>
            <p:nvPr/>
          </p:nvSpPr>
          <p:spPr>
            <a:xfrm>
              <a:off x="5516142" y="4181838"/>
              <a:ext cx="639650" cy="342371"/>
            </a:xfrm>
            <a:custGeom>
              <a:avLst/>
              <a:gdLst>
                <a:gd name="connsiteX0" fmla="*/ 213394 w 639650"/>
                <a:gd name="connsiteY0" fmla="*/ 71368 h 342371"/>
                <a:gd name="connsiteX1" fmla="*/ 216438 w 639650"/>
                <a:gd name="connsiteY1" fmla="*/ 86810 h 342371"/>
                <a:gd name="connsiteX2" fmla="*/ 229468 w 639650"/>
                <a:gd name="connsiteY2" fmla="*/ 100915 h 342371"/>
                <a:gd name="connsiteX3" fmla="*/ 178203 w 639650"/>
                <a:gd name="connsiteY3" fmla="*/ 107265 h 342371"/>
                <a:gd name="connsiteX4" fmla="*/ 168298 w 639650"/>
                <a:gd name="connsiteY4" fmla="*/ 113950 h 342371"/>
                <a:gd name="connsiteX5" fmla="*/ 151576 w 639650"/>
                <a:gd name="connsiteY5" fmla="*/ 115788 h 342371"/>
                <a:gd name="connsiteX6" fmla="*/ 146705 w 639650"/>
                <a:gd name="connsiteY6" fmla="*/ 130929 h 342371"/>
                <a:gd name="connsiteX7" fmla="*/ 138100 w 639650"/>
                <a:gd name="connsiteY7" fmla="*/ 135374 h 342371"/>
                <a:gd name="connsiteX8" fmla="*/ 121012 w 639650"/>
                <a:gd name="connsiteY8" fmla="*/ 137681 h 342371"/>
                <a:gd name="connsiteX9" fmla="*/ 101691 w 639650"/>
                <a:gd name="connsiteY9" fmla="*/ 151585 h 342371"/>
                <a:gd name="connsiteX10" fmla="*/ 72913 w 639650"/>
                <a:gd name="connsiteY10" fmla="*/ 155362 h 342371"/>
                <a:gd name="connsiteX11" fmla="*/ 67108 w 639650"/>
                <a:gd name="connsiteY11" fmla="*/ 160141 h 342371"/>
                <a:gd name="connsiteX12" fmla="*/ 53348 w 639650"/>
                <a:gd name="connsiteY12" fmla="*/ 161712 h 342371"/>
                <a:gd name="connsiteX13" fmla="*/ 4316 w 639650"/>
                <a:gd name="connsiteY13" fmla="*/ 181766 h 342371"/>
                <a:gd name="connsiteX14" fmla="*/ 12434 w 639650"/>
                <a:gd name="connsiteY14" fmla="*/ 209842 h 342371"/>
                <a:gd name="connsiteX15" fmla="*/ 35935 w 639650"/>
                <a:gd name="connsiteY15" fmla="*/ 216527 h 342371"/>
                <a:gd name="connsiteX16" fmla="*/ 241726 w 639650"/>
                <a:gd name="connsiteY16" fmla="*/ 280032 h 342371"/>
                <a:gd name="connsiteX17" fmla="*/ 309592 w 639650"/>
                <a:gd name="connsiteY17" fmla="*/ 303428 h 342371"/>
                <a:gd name="connsiteX18" fmla="*/ 337436 w 639650"/>
                <a:gd name="connsiteY18" fmla="*/ 319806 h 342371"/>
                <a:gd name="connsiteX19" fmla="*/ 381233 w 639650"/>
                <a:gd name="connsiteY19" fmla="*/ 342033 h 342371"/>
                <a:gd name="connsiteX20" fmla="*/ 461763 w 639650"/>
                <a:gd name="connsiteY20" fmla="*/ 325655 h 342371"/>
                <a:gd name="connsiteX21" fmla="*/ 517290 w 639650"/>
                <a:gd name="connsiteY21" fmla="*/ 299819 h 342371"/>
                <a:gd name="connsiteX22" fmla="*/ 605369 w 639650"/>
                <a:gd name="connsiteY22" fmla="*/ 268100 h 342371"/>
                <a:gd name="connsiteX23" fmla="*/ 637029 w 639650"/>
                <a:gd name="connsiteY23" fmla="*/ 257003 h 342371"/>
                <a:gd name="connsiteX24" fmla="*/ 636826 w 639650"/>
                <a:gd name="connsiteY24" fmla="*/ 251722 h 342371"/>
                <a:gd name="connsiteX25" fmla="*/ 613325 w 639650"/>
                <a:gd name="connsiteY25" fmla="*/ 239890 h 342371"/>
                <a:gd name="connsiteX26" fmla="*/ 583045 w 639650"/>
                <a:gd name="connsiteY26" fmla="*/ 234041 h 342371"/>
                <a:gd name="connsiteX27" fmla="*/ 572126 w 639650"/>
                <a:gd name="connsiteY27" fmla="*/ 214221 h 342371"/>
                <a:gd name="connsiteX28" fmla="*/ 569447 w 639650"/>
                <a:gd name="connsiteY28" fmla="*/ 202456 h 342371"/>
                <a:gd name="connsiteX29" fmla="*/ 571152 w 639650"/>
                <a:gd name="connsiteY29" fmla="*/ 187682 h 342371"/>
                <a:gd name="connsiteX30" fmla="*/ 574277 w 639650"/>
                <a:gd name="connsiteY30" fmla="*/ 168798 h 342371"/>
                <a:gd name="connsiteX31" fmla="*/ 571274 w 639650"/>
                <a:gd name="connsiteY31" fmla="*/ 146705 h 342371"/>
                <a:gd name="connsiteX32" fmla="*/ 563156 w 639650"/>
                <a:gd name="connsiteY32" fmla="*/ 133603 h 342371"/>
                <a:gd name="connsiteX33" fmla="*/ 561329 w 639650"/>
                <a:gd name="connsiteY33" fmla="*/ 114719 h 342371"/>
                <a:gd name="connsiteX34" fmla="*/ 551872 w 639650"/>
                <a:gd name="connsiteY34" fmla="*/ 98675 h 342371"/>
                <a:gd name="connsiteX35" fmla="*/ 527518 w 639650"/>
                <a:gd name="connsiteY35" fmla="*/ 88648 h 342371"/>
                <a:gd name="connsiteX36" fmla="*/ 519400 w 639650"/>
                <a:gd name="connsiteY36" fmla="*/ 78153 h 342371"/>
                <a:gd name="connsiteX37" fmla="*/ 498131 w 639650"/>
                <a:gd name="connsiteY37" fmla="*/ 64784 h 342371"/>
                <a:gd name="connsiteX38" fmla="*/ 527315 w 639650"/>
                <a:gd name="connsiteY38" fmla="*/ 42557 h 342371"/>
                <a:gd name="connsiteX39" fmla="*/ 527315 w 639650"/>
                <a:gd name="connsiteY39" fmla="*/ 26447 h 342371"/>
                <a:gd name="connsiteX40" fmla="*/ 529020 w 639650"/>
                <a:gd name="connsiteY40" fmla="*/ 2014 h 342371"/>
                <a:gd name="connsiteX41" fmla="*/ 481327 w 639650"/>
                <a:gd name="connsiteY41" fmla="*/ 176 h 342371"/>
                <a:gd name="connsiteX42" fmla="*/ 438424 w 639650"/>
                <a:gd name="connsiteY42" fmla="*/ 7128 h 342371"/>
                <a:gd name="connsiteX43" fmla="*/ 412892 w 639650"/>
                <a:gd name="connsiteY43" fmla="*/ 5925 h 342371"/>
                <a:gd name="connsiteX44" fmla="*/ 367108 w 639650"/>
                <a:gd name="connsiteY44" fmla="*/ 8599 h 342371"/>
                <a:gd name="connsiteX45" fmla="*/ 282397 w 639650"/>
                <a:gd name="connsiteY45" fmla="*/ 19929 h 342371"/>
                <a:gd name="connsiteX46" fmla="*/ 251020 w 639650"/>
                <a:gd name="connsiteY46" fmla="*/ 30458 h 342371"/>
                <a:gd name="connsiteX47" fmla="*/ 197807 w 639650"/>
                <a:gd name="connsiteY47" fmla="*/ 49108 h 342371"/>
                <a:gd name="connsiteX48" fmla="*/ 213394 w 639650"/>
                <a:gd name="connsiteY48" fmla="*/ 71368 h 3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39650" h="342371">
                  <a:moveTo>
                    <a:pt x="213394" y="71368"/>
                  </a:moveTo>
                  <a:cubicBezTo>
                    <a:pt x="213394" y="73674"/>
                    <a:pt x="209335" y="86476"/>
                    <a:pt x="216438" y="86810"/>
                  </a:cubicBezTo>
                  <a:cubicBezTo>
                    <a:pt x="224556" y="87178"/>
                    <a:pt x="230685" y="97104"/>
                    <a:pt x="229468" y="100915"/>
                  </a:cubicBezTo>
                  <a:cubicBezTo>
                    <a:pt x="226748" y="109605"/>
                    <a:pt x="188878" y="102786"/>
                    <a:pt x="178203" y="107265"/>
                  </a:cubicBezTo>
                  <a:cubicBezTo>
                    <a:pt x="172277" y="109805"/>
                    <a:pt x="177431" y="111543"/>
                    <a:pt x="168298" y="113950"/>
                  </a:cubicBezTo>
                  <a:cubicBezTo>
                    <a:pt x="164240" y="114953"/>
                    <a:pt x="155107" y="114418"/>
                    <a:pt x="151576" y="115788"/>
                  </a:cubicBezTo>
                  <a:cubicBezTo>
                    <a:pt x="145487" y="118195"/>
                    <a:pt x="155878" y="130461"/>
                    <a:pt x="146705" y="130929"/>
                  </a:cubicBezTo>
                  <a:cubicBezTo>
                    <a:pt x="142240" y="131163"/>
                    <a:pt x="141063" y="134037"/>
                    <a:pt x="138100" y="135374"/>
                  </a:cubicBezTo>
                  <a:cubicBezTo>
                    <a:pt x="133595" y="137413"/>
                    <a:pt x="126207" y="137146"/>
                    <a:pt x="121012" y="137681"/>
                  </a:cubicBezTo>
                  <a:cubicBezTo>
                    <a:pt x="105547" y="139285"/>
                    <a:pt x="113502" y="147206"/>
                    <a:pt x="101691" y="151585"/>
                  </a:cubicBezTo>
                  <a:cubicBezTo>
                    <a:pt x="92761" y="154927"/>
                    <a:pt x="82452" y="153523"/>
                    <a:pt x="72913" y="155362"/>
                  </a:cubicBezTo>
                  <a:cubicBezTo>
                    <a:pt x="66865" y="156498"/>
                    <a:pt x="70721" y="158336"/>
                    <a:pt x="67108" y="160141"/>
                  </a:cubicBezTo>
                  <a:cubicBezTo>
                    <a:pt x="63496" y="161946"/>
                    <a:pt x="57204" y="161244"/>
                    <a:pt x="53348" y="161712"/>
                  </a:cubicBezTo>
                  <a:cubicBezTo>
                    <a:pt x="37518" y="163718"/>
                    <a:pt x="15884" y="175650"/>
                    <a:pt x="4316" y="181766"/>
                  </a:cubicBezTo>
                  <a:cubicBezTo>
                    <a:pt x="-5223" y="186914"/>
                    <a:pt x="2368" y="207235"/>
                    <a:pt x="12434" y="209842"/>
                  </a:cubicBezTo>
                  <a:cubicBezTo>
                    <a:pt x="20552" y="211948"/>
                    <a:pt x="28142" y="214221"/>
                    <a:pt x="35935" y="216527"/>
                  </a:cubicBezTo>
                  <a:cubicBezTo>
                    <a:pt x="105669" y="236581"/>
                    <a:pt x="174266" y="257748"/>
                    <a:pt x="241726" y="280032"/>
                  </a:cubicBezTo>
                  <a:cubicBezTo>
                    <a:pt x="264537" y="287552"/>
                    <a:pt x="287714" y="294905"/>
                    <a:pt x="309592" y="303428"/>
                  </a:cubicBezTo>
                  <a:cubicBezTo>
                    <a:pt x="320632" y="307640"/>
                    <a:pt x="324569" y="318837"/>
                    <a:pt x="337436" y="319806"/>
                  </a:cubicBezTo>
                  <a:cubicBezTo>
                    <a:pt x="361466" y="321577"/>
                    <a:pt x="379974" y="327092"/>
                    <a:pt x="381233" y="342033"/>
                  </a:cubicBezTo>
                  <a:cubicBezTo>
                    <a:pt x="406479" y="338122"/>
                    <a:pt x="441184" y="335615"/>
                    <a:pt x="461763" y="325655"/>
                  </a:cubicBezTo>
                  <a:cubicBezTo>
                    <a:pt x="479866" y="316898"/>
                    <a:pt x="497319" y="307138"/>
                    <a:pt x="517290" y="299819"/>
                  </a:cubicBezTo>
                  <a:cubicBezTo>
                    <a:pt x="546473" y="289080"/>
                    <a:pt x="575820" y="278504"/>
                    <a:pt x="605369" y="268100"/>
                  </a:cubicBezTo>
                  <a:cubicBezTo>
                    <a:pt x="615882" y="264399"/>
                    <a:pt x="626435" y="260703"/>
                    <a:pt x="637029" y="257003"/>
                  </a:cubicBezTo>
                  <a:cubicBezTo>
                    <a:pt x="641088" y="255532"/>
                    <a:pt x="639789" y="257003"/>
                    <a:pt x="636826" y="251722"/>
                  </a:cubicBezTo>
                  <a:cubicBezTo>
                    <a:pt x="631631" y="242731"/>
                    <a:pt x="626557" y="243466"/>
                    <a:pt x="613325" y="239890"/>
                  </a:cubicBezTo>
                  <a:cubicBezTo>
                    <a:pt x="603705" y="237283"/>
                    <a:pt x="590716" y="238887"/>
                    <a:pt x="583045" y="234041"/>
                  </a:cubicBezTo>
                  <a:cubicBezTo>
                    <a:pt x="575373" y="229194"/>
                    <a:pt x="581381" y="220471"/>
                    <a:pt x="572126" y="214221"/>
                  </a:cubicBezTo>
                  <a:cubicBezTo>
                    <a:pt x="565185" y="209575"/>
                    <a:pt x="560315" y="207536"/>
                    <a:pt x="569447" y="202456"/>
                  </a:cubicBezTo>
                  <a:cubicBezTo>
                    <a:pt x="579473" y="197008"/>
                    <a:pt x="574196" y="195102"/>
                    <a:pt x="571152" y="187682"/>
                  </a:cubicBezTo>
                  <a:cubicBezTo>
                    <a:pt x="568108" y="180262"/>
                    <a:pt x="581259" y="176452"/>
                    <a:pt x="574277" y="168798"/>
                  </a:cubicBezTo>
                  <a:cubicBezTo>
                    <a:pt x="568027" y="161913"/>
                    <a:pt x="579473" y="154827"/>
                    <a:pt x="571274" y="146705"/>
                  </a:cubicBezTo>
                  <a:cubicBezTo>
                    <a:pt x="568351" y="143831"/>
                    <a:pt x="556540" y="136845"/>
                    <a:pt x="563156" y="133603"/>
                  </a:cubicBezTo>
                  <a:cubicBezTo>
                    <a:pt x="569772" y="130361"/>
                    <a:pt x="563602" y="119999"/>
                    <a:pt x="561329" y="114719"/>
                  </a:cubicBezTo>
                  <a:cubicBezTo>
                    <a:pt x="559178" y="109007"/>
                    <a:pt x="556012" y="103595"/>
                    <a:pt x="551872" y="98675"/>
                  </a:cubicBezTo>
                  <a:cubicBezTo>
                    <a:pt x="546920" y="93294"/>
                    <a:pt x="534662" y="92726"/>
                    <a:pt x="527518" y="88648"/>
                  </a:cubicBezTo>
                  <a:cubicBezTo>
                    <a:pt x="522566" y="85841"/>
                    <a:pt x="526503" y="81228"/>
                    <a:pt x="519400" y="78153"/>
                  </a:cubicBezTo>
                  <a:cubicBezTo>
                    <a:pt x="509415" y="73842"/>
                    <a:pt x="501865" y="72204"/>
                    <a:pt x="498131" y="64784"/>
                  </a:cubicBezTo>
                  <a:cubicBezTo>
                    <a:pt x="493585" y="55893"/>
                    <a:pt x="519441" y="49910"/>
                    <a:pt x="527315" y="42557"/>
                  </a:cubicBezTo>
                  <a:cubicBezTo>
                    <a:pt x="534013" y="36240"/>
                    <a:pt x="530359" y="32530"/>
                    <a:pt x="527315" y="26447"/>
                  </a:cubicBezTo>
                  <a:cubicBezTo>
                    <a:pt x="523581" y="18826"/>
                    <a:pt x="526990" y="9735"/>
                    <a:pt x="529020" y="2014"/>
                  </a:cubicBezTo>
                  <a:cubicBezTo>
                    <a:pt x="511769" y="2014"/>
                    <a:pt x="498659" y="-1662"/>
                    <a:pt x="481327" y="176"/>
                  </a:cubicBezTo>
                  <a:cubicBezTo>
                    <a:pt x="465944" y="1780"/>
                    <a:pt x="453280" y="4588"/>
                    <a:pt x="438424" y="7128"/>
                  </a:cubicBezTo>
                  <a:cubicBezTo>
                    <a:pt x="428520" y="8799"/>
                    <a:pt x="422472" y="5958"/>
                    <a:pt x="412892" y="5925"/>
                  </a:cubicBezTo>
                  <a:cubicBezTo>
                    <a:pt x="397590" y="6162"/>
                    <a:pt x="382288" y="7055"/>
                    <a:pt x="367108" y="8599"/>
                  </a:cubicBezTo>
                  <a:cubicBezTo>
                    <a:pt x="342104" y="10671"/>
                    <a:pt x="302570" y="10471"/>
                    <a:pt x="282397" y="19929"/>
                  </a:cubicBezTo>
                  <a:cubicBezTo>
                    <a:pt x="270910" y="25311"/>
                    <a:pt x="265552" y="28319"/>
                    <a:pt x="251020" y="30458"/>
                  </a:cubicBezTo>
                  <a:cubicBezTo>
                    <a:pt x="231375" y="33366"/>
                    <a:pt x="215342" y="48139"/>
                    <a:pt x="197807" y="49108"/>
                  </a:cubicBezTo>
                  <a:cubicBezTo>
                    <a:pt x="204748" y="56796"/>
                    <a:pt x="212785" y="61943"/>
                    <a:pt x="213394" y="7136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B7A4FAB3-5FB9-4DFE-81AF-A29E28D44A20}"/>
                </a:ext>
              </a:extLst>
            </p:cNvPr>
            <p:cNvSpPr/>
            <p:nvPr/>
          </p:nvSpPr>
          <p:spPr>
            <a:xfrm>
              <a:off x="6077206" y="4259695"/>
              <a:ext cx="467370" cy="256659"/>
            </a:xfrm>
            <a:custGeom>
              <a:avLst/>
              <a:gdLst>
                <a:gd name="connsiteX0" fmla="*/ 51165 w 467370"/>
                <a:gd name="connsiteY0" fmla="*/ 13866 h 256659"/>
                <a:gd name="connsiteX1" fmla="*/ 24660 w 467370"/>
                <a:gd name="connsiteY1" fmla="*/ 33920 h 256659"/>
                <a:gd name="connsiteX2" fmla="*/ 306 w 467370"/>
                <a:gd name="connsiteY2" fmla="*/ 59356 h 256659"/>
                <a:gd name="connsiteX3" fmla="*/ 15689 w 467370"/>
                <a:gd name="connsiteY3" fmla="*/ 77171 h 256659"/>
                <a:gd name="connsiteX4" fmla="*/ 12970 w 467370"/>
                <a:gd name="connsiteY4" fmla="*/ 84357 h 256659"/>
                <a:gd name="connsiteX5" fmla="*/ 15811 w 467370"/>
                <a:gd name="connsiteY5" fmla="*/ 95721 h 256659"/>
                <a:gd name="connsiteX6" fmla="*/ 10941 w 467370"/>
                <a:gd name="connsiteY6" fmla="*/ 102405 h 256659"/>
                <a:gd name="connsiteX7" fmla="*/ 10941 w 467370"/>
                <a:gd name="connsiteY7" fmla="*/ 113001 h 256659"/>
                <a:gd name="connsiteX8" fmla="*/ 15487 w 467370"/>
                <a:gd name="connsiteY8" fmla="*/ 120788 h 256659"/>
                <a:gd name="connsiteX9" fmla="*/ 4121 w 467370"/>
                <a:gd name="connsiteY9" fmla="*/ 127039 h 256659"/>
                <a:gd name="connsiteX10" fmla="*/ 15852 w 467370"/>
                <a:gd name="connsiteY10" fmla="*/ 139907 h 256659"/>
                <a:gd name="connsiteX11" fmla="*/ 21818 w 467370"/>
                <a:gd name="connsiteY11" fmla="*/ 156050 h 256659"/>
                <a:gd name="connsiteX12" fmla="*/ 72961 w 467370"/>
                <a:gd name="connsiteY12" fmla="*/ 169754 h 256659"/>
                <a:gd name="connsiteX13" fmla="*/ 88304 w 467370"/>
                <a:gd name="connsiteY13" fmla="*/ 178645 h 256659"/>
                <a:gd name="connsiteX14" fmla="*/ 117610 w 467370"/>
                <a:gd name="connsiteY14" fmla="*/ 181987 h 256659"/>
                <a:gd name="connsiteX15" fmla="*/ 152883 w 467370"/>
                <a:gd name="connsiteY15" fmla="*/ 190878 h 256659"/>
                <a:gd name="connsiteX16" fmla="*/ 202037 w 467370"/>
                <a:gd name="connsiteY16" fmla="*/ 182655 h 256659"/>
                <a:gd name="connsiteX17" fmla="*/ 277778 w 467370"/>
                <a:gd name="connsiteY17" fmla="*/ 207690 h 256659"/>
                <a:gd name="connsiteX18" fmla="*/ 417934 w 467370"/>
                <a:gd name="connsiteY18" fmla="*/ 256321 h 256659"/>
                <a:gd name="connsiteX19" fmla="*/ 441801 w 467370"/>
                <a:gd name="connsiteY19" fmla="*/ 248366 h 256659"/>
                <a:gd name="connsiteX20" fmla="*/ 446509 w 467370"/>
                <a:gd name="connsiteY20" fmla="*/ 242517 h 256659"/>
                <a:gd name="connsiteX21" fmla="*/ 450284 w 467370"/>
                <a:gd name="connsiteY21" fmla="*/ 188271 h 256659"/>
                <a:gd name="connsiteX22" fmla="*/ 455195 w 467370"/>
                <a:gd name="connsiteY22" fmla="*/ 117847 h 256659"/>
                <a:gd name="connsiteX23" fmla="*/ 456657 w 467370"/>
                <a:gd name="connsiteY23" fmla="*/ 72625 h 256659"/>
                <a:gd name="connsiteX24" fmla="*/ 459458 w 467370"/>
                <a:gd name="connsiteY24" fmla="*/ 56414 h 256659"/>
                <a:gd name="connsiteX25" fmla="*/ 462299 w 467370"/>
                <a:gd name="connsiteY25" fmla="*/ 39970 h 256659"/>
                <a:gd name="connsiteX26" fmla="*/ 463476 w 467370"/>
                <a:gd name="connsiteY26" fmla="*/ 28539 h 256659"/>
                <a:gd name="connsiteX27" fmla="*/ 425768 w 467370"/>
                <a:gd name="connsiteY27" fmla="*/ 22891 h 256659"/>
                <a:gd name="connsiteX28" fmla="*/ 372190 w 467370"/>
                <a:gd name="connsiteY28" fmla="*/ 7416 h 256659"/>
                <a:gd name="connsiteX29" fmla="*/ 309072 w 467370"/>
                <a:gd name="connsiteY29" fmla="*/ 24729 h 256659"/>
                <a:gd name="connsiteX30" fmla="*/ 315526 w 467370"/>
                <a:gd name="connsiteY30" fmla="*/ 43413 h 256659"/>
                <a:gd name="connsiteX31" fmla="*/ 278995 w 467370"/>
                <a:gd name="connsiteY31" fmla="*/ 50966 h 256659"/>
                <a:gd name="connsiteX32" fmla="*/ 237716 w 467370"/>
                <a:gd name="connsiteY32" fmla="*/ 36728 h 256659"/>
                <a:gd name="connsiteX33" fmla="*/ 191484 w 467370"/>
                <a:gd name="connsiteY33" fmla="*/ 31213 h 256659"/>
                <a:gd name="connsiteX34" fmla="*/ 177602 w 467370"/>
                <a:gd name="connsiteY34" fmla="*/ 17844 h 256659"/>
                <a:gd name="connsiteX35" fmla="*/ 147485 w 467370"/>
                <a:gd name="connsiteY35" fmla="*/ 8819 h 256659"/>
                <a:gd name="connsiteX36" fmla="*/ 109980 w 467370"/>
                <a:gd name="connsiteY36" fmla="*/ 3438 h 256659"/>
                <a:gd name="connsiteX37" fmla="*/ 65331 w 467370"/>
                <a:gd name="connsiteY37" fmla="*/ -339 h 256659"/>
                <a:gd name="connsiteX38" fmla="*/ 51043 w 467370"/>
                <a:gd name="connsiteY38" fmla="*/ 13799 h 25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7370" h="256659">
                  <a:moveTo>
                    <a:pt x="51165" y="13866"/>
                  </a:moveTo>
                  <a:cubicBezTo>
                    <a:pt x="42357" y="15905"/>
                    <a:pt x="19180" y="27904"/>
                    <a:pt x="24660" y="33920"/>
                  </a:cubicBezTo>
                  <a:cubicBezTo>
                    <a:pt x="35295" y="45719"/>
                    <a:pt x="-4240" y="52972"/>
                    <a:pt x="306" y="59356"/>
                  </a:cubicBezTo>
                  <a:cubicBezTo>
                    <a:pt x="4852" y="65740"/>
                    <a:pt x="15446" y="70386"/>
                    <a:pt x="15689" y="77171"/>
                  </a:cubicBezTo>
                  <a:cubicBezTo>
                    <a:pt x="15405" y="79697"/>
                    <a:pt x="14472" y="82147"/>
                    <a:pt x="12970" y="84357"/>
                  </a:cubicBezTo>
                  <a:cubicBezTo>
                    <a:pt x="10494" y="89103"/>
                    <a:pt x="15202" y="91041"/>
                    <a:pt x="15811" y="95721"/>
                  </a:cubicBezTo>
                  <a:cubicBezTo>
                    <a:pt x="15689" y="98488"/>
                    <a:pt x="13863" y="101012"/>
                    <a:pt x="10941" y="102405"/>
                  </a:cubicBezTo>
                  <a:cubicBezTo>
                    <a:pt x="6232" y="105748"/>
                    <a:pt x="10941" y="109592"/>
                    <a:pt x="10941" y="113001"/>
                  </a:cubicBezTo>
                  <a:cubicBezTo>
                    <a:pt x="10941" y="114438"/>
                    <a:pt x="17394" y="119685"/>
                    <a:pt x="15487" y="120788"/>
                  </a:cubicBezTo>
                  <a:cubicBezTo>
                    <a:pt x="11550" y="122667"/>
                    <a:pt x="7734" y="124752"/>
                    <a:pt x="4121" y="127039"/>
                  </a:cubicBezTo>
                  <a:cubicBezTo>
                    <a:pt x="-1480" y="131317"/>
                    <a:pt x="12239" y="136798"/>
                    <a:pt x="15852" y="139907"/>
                  </a:cubicBezTo>
                  <a:cubicBezTo>
                    <a:pt x="21859" y="144954"/>
                    <a:pt x="15081" y="151806"/>
                    <a:pt x="21818" y="156050"/>
                  </a:cubicBezTo>
                  <a:cubicBezTo>
                    <a:pt x="34889" y="164306"/>
                    <a:pt x="64032" y="158022"/>
                    <a:pt x="72961" y="169754"/>
                  </a:cubicBezTo>
                  <a:cubicBezTo>
                    <a:pt x="78360" y="176840"/>
                    <a:pt x="75113" y="178076"/>
                    <a:pt x="88304" y="178645"/>
                  </a:cubicBezTo>
                  <a:cubicBezTo>
                    <a:pt x="98209" y="178835"/>
                    <a:pt x="108031" y="179955"/>
                    <a:pt x="117610" y="181987"/>
                  </a:cubicBezTo>
                  <a:cubicBezTo>
                    <a:pt x="137905" y="187034"/>
                    <a:pt x="132751" y="196794"/>
                    <a:pt x="152883" y="190878"/>
                  </a:cubicBezTo>
                  <a:cubicBezTo>
                    <a:pt x="169768" y="185931"/>
                    <a:pt x="184543" y="176973"/>
                    <a:pt x="202037" y="182655"/>
                  </a:cubicBezTo>
                  <a:cubicBezTo>
                    <a:pt x="227406" y="190878"/>
                    <a:pt x="252652" y="199223"/>
                    <a:pt x="277778" y="207690"/>
                  </a:cubicBezTo>
                  <a:cubicBezTo>
                    <a:pt x="324862" y="223532"/>
                    <a:pt x="371581" y="239743"/>
                    <a:pt x="417934" y="256321"/>
                  </a:cubicBezTo>
                  <a:cubicBezTo>
                    <a:pt x="418665" y="244757"/>
                    <a:pt x="421993" y="247464"/>
                    <a:pt x="441801" y="248366"/>
                  </a:cubicBezTo>
                  <a:cubicBezTo>
                    <a:pt x="448620" y="248700"/>
                    <a:pt x="446306" y="246127"/>
                    <a:pt x="446509" y="242517"/>
                  </a:cubicBezTo>
                  <a:lnTo>
                    <a:pt x="450284" y="188271"/>
                  </a:lnTo>
                  <a:cubicBezTo>
                    <a:pt x="451908" y="164784"/>
                    <a:pt x="453531" y="141310"/>
                    <a:pt x="455195" y="117847"/>
                  </a:cubicBezTo>
                  <a:cubicBezTo>
                    <a:pt x="456210" y="103207"/>
                    <a:pt x="460432" y="87331"/>
                    <a:pt x="456657" y="72625"/>
                  </a:cubicBezTo>
                  <a:cubicBezTo>
                    <a:pt x="455277" y="67210"/>
                    <a:pt x="452070" y="60793"/>
                    <a:pt x="459458" y="56414"/>
                  </a:cubicBezTo>
                  <a:cubicBezTo>
                    <a:pt x="466845" y="52036"/>
                    <a:pt x="460432" y="45485"/>
                    <a:pt x="462299" y="39970"/>
                  </a:cubicBezTo>
                  <a:cubicBezTo>
                    <a:pt x="463638" y="36093"/>
                    <a:pt x="472122" y="31514"/>
                    <a:pt x="463476" y="28539"/>
                  </a:cubicBezTo>
                  <a:cubicBezTo>
                    <a:pt x="452963" y="24896"/>
                    <a:pt x="437417" y="24361"/>
                    <a:pt x="425768" y="22891"/>
                  </a:cubicBezTo>
                  <a:cubicBezTo>
                    <a:pt x="402997" y="20016"/>
                    <a:pt x="398492" y="7482"/>
                    <a:pt x="372190" y="7416"/>
                  </a:cubicBezTo>
                  <a:cubicBezTo>
                    <a:pt x="356238" y="7416"/>
                    <a:pt x="310331" y="12897"/>
                    <a:pt x="309072" y="24729"/>
                  </a:cubicBezTo>
                  <a:cubicBezTo>
                    <a:pt x="308382" y="31146"/>
                    <a:pt x="318408" y="36928"/>
                    <a:pt x="315526" y="43413"/>
                  </a:cubicBezTo>
                  <a:cubicBezTo>
                    <a:pt x="311751" y="51869"/>
                    <a:pt x="291822" y="53440"/>
                    <a:pt x="278995" y="50966"/>
                  </a:cubicBezTo>
                  <a:cubicBezTo>
                    <a:pt x="263774" y="47892"/>
                    <a:pt x="253343" y="40004"/>
                    <a:pt x="237716" y="36728"/>
                  </a:cubicBezTo>
                  <a:cubicBezTo>
                    <a:pt x="222860" y="33620"/>
                    <a:pt x="205528" y="34990"/>
                    <a:pt x="191484" y="31213"/>
                  </a:cubicBezTo>
                  <a:cubicBezTo>
                    <a:pt x="178860" y="27871"/>
                    <a:pt x="179835" y="24161"/>
                    <a:pt x="177602" y="17844"/>
                  </a:cubicBezTo>
                  <a:cubicBezTo>
                    <a:pt x="175370" y="11527"/>
                    <a:pt x="156536" y="10892"/>
                    <a:pt x="147485" y="8819"/>
                  </a:cubicBezTo>
                  <a:cubicBezTo>
                    <a:pt x="135389" y="5454"/>
                    <a:pt x="122725" y="3639"/>
                    <a:pt x="109980" y="3438"/>
                  </a:cubicBezTo>
                  <a:cubicBezTo>
                    <a:pt x="93744" y="3705"/>
                    <a:pt x="80065" y="4842"/>
                    <a:pt x="65331" y="-339"/>
                  </a:cubicBezTo>
                  <a:cubicBezTo>
                    <a:pt x="63423" y="9254"/>
                    <a:pt x="66021" y="10257"/>
                    <a:pt x="51043" y="1379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63DDA609-C939-49C8-BACB-A1C4EDAE5899}"/>
                </a:ext>
              </a:extLst>
            </p:cNvPr>
            <p:cNvSpPr/>
            <p:nvPr/>
          </p:nvSpPr>
          <p:spPr>
            <a:xfrm>
              <a:off x="5313835" y="4644906"/>
              <a:ext cx="83371" cy="18712"/>
            </a:xfrm>
            <a:custGeom>
              <a:avLst/>
              <a:gdLst>
                <a:gd name="connsiteX0" fmla="*/ 40733 w 83371"/>
                <a:gd name="connsiteY0" fmla="*/ 7878 h 18712"/>
                <a:gd name="connsiteX1" fmla="*/ 60297 w 83371"/>
                <a:gd name="connsiteY1" fmla="*/ 9015 h 18712"/>
                <a:gd name="connsiteX2" fmla="*/ 83312 w 83371"/>
                <a:gd name="connsiteY2" fmla="*/ 5038 h 18712"/>
                <a:gd name="connsiteX3" fmla="*/ 50515 w 83371"/>
                <a:gd name="connsiteY3" fmla="*/ 693 h 18712"/>
                <a:gd name="connsiteX4" fmla="*/ 25187 w 83371"/>
                <a:gd name="connsiteY4" fmla="*/ 5004 h 18712"/>
                <a:gd name="connsiteX5" fmla="*/ -60 w 83371"/>
                <a:gd name="connsiteY5" fmla="*/ 18374 h 18712"/>
                <a:gd name="connsiteX6" fmla="*/ 40530 w 83371"/>
                <a:gd name="connsiteY6" fmla="*/ 7979 h 18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371" h="18712">
                  <a:moveTo>
                    <a:pt x="40733" y="7878"/>
                  </a:moveTo>
                  <a:cubicBezTo>
                    <a:pt x="45685" y="4536"/>
                    <a:pt x="55386" y="8213"/>
                    <a:pt x="60297" y="9015"/>
                  </a:cubicBezTo>
                  <a:cubicBezTo>
                    <a:pt x="68293" y="9961"/>
                    <a:pt x="76452" y="8554"/>
                    <a:pt x="83312" y="5038"/>
                  </a:cubicBezTo>
                  <a:cubicBezTo>
                    <a:pt x="69674" y="4302"/>
                    <a:pt x="61880" y="5338"/>
                    <a:pt x="50515" y="693"/>
                  </a:cubicBezTo>
                  <a:cubicBezTo>
                    <a:pt x="42113" y="-2650"/>
                    <a:pt x="33386" y="3032"/>
                    <a:pt x="25187" y="5004"/>
                  </a:cubicBezTo>
                  <a:cubicBezTo>
                    <a:pt x="7409" y="9249"/>
                    <a:pt x="1036" y="4804"/>
                    <a:pt x="-60" y="18374"/>
                  </a:cubicBezTo>
                  <a:cubicBezTo>
                    <a:pt x="12645" y="15031"/>
                    <a:pt x="30951" y="14496"/>
                    <a:pt x="40530" y="797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F77AD2CB-5ED7-4834-95F9-6E9843B907F0}"/>
                </a:ext>
              </a:extLst>
            </p:cNvPr>
            <p:cNvSpPr/>
            <p:nvPr/>
          </p:nvSpPr>
          <p:spPr>
            <a:xfrm>
              <a:off x="5298334" y="4596601"/>
              <a:ext cx="169879" cy="77210"/>
            </a:xfrm>
            <a:custGeom>
              <a:avLst/>
              <a:gdLst>
                <a:gd name="connsiteX0" fmla="*/ 38252 w 169879"/>
                <a:gd name="connsiteY0" fmla="*/ 76839 h 77210"/>
                <a:gd name="connsiteX1" fmla="*/ 57208 w 169879"/>
                <a:gd name="connsiteY1" fmla="*/ 71057 h 77210"/>
                <a:gd name="connsiteX2" fmla="*/ 90248 w 169879"/>
                <a:gd name="connsiteY2" fmla="*/ 66578 h 77210"/>
                <a:gd name="connsiteX3" fmla="*/ 113465 w 169879"/>
                <a:gd name="connsiteY3" fmla="*/ 65308 h 77210"/>
                <a:gd name="connsiteX4" fmla="*/ 141229 w 169879"/>
                <a:gd name="connsiteY4" fmla="*/ 69319 h 77210"/>
                <a:gd name="connsiteX5" fmla="*/ 169641 w 169879"/>
                <a:gd name="connsiteY5" fmla="*/ 56952 h 77210"/>
                <a:gd name="connsiteX6" fmla="*/ 147317 w 169879"/>
                <a:gd name="connsiteY6" fmla="*/ 38335 h 77210"/>
                <a:gd name="connsiteX7" fmla="*/ 138834 w 169879"/>
                <a:gd name="connsiteY7" fmla="*/ 27573 h 77210"/>
                <a:gd name="connsiteX8" fmla="*/ 110015 w 169879"/>
                <a:gd name="connsiteY8" fmla="*/ 14504 h 77210"/>
                <a:gd name="connsiteX9" fmla="*/ 92480 w 169879"/>
                <a:gd name="connsiteY9" fmla="*/ 6349 h 77210"/>
                <a:gd name="connsiteX10" fmla="*/ 60577 w 169879"/>
                <a:gd name="connsiteY10" fmla="*/ 132 h 77210"/>
                <a:gd name="connsiteX11" fmla="*/ 29607 w 169879"/>
                <a:gd name="connsiteY11" fmla="*/ 5279 h 77210"/>
                <a:gd name="connsiteX12" fmla="*/ 6024 w 169879"/>
                <a:gd name="connsiteY12" fmla="*/ 15774 h 77210"/>
                <a:gd name="connsiteX13" fmla="*/ 4238 w 169879"/>
                <a:gd name="connsiteY13" fmla="*/ 45521 h 77210"/>
                <a:gd name="connsiteX14" fmla="*/ 40769 w 169879"/>
                <a:gd name="connsiteY14" fmla="*/ 53309 h 77210"/>
                <a:gd name="connsiteX15" fmla="*/ 73241 w 169879"/>
                <a:gd name="connsiteY15" fmla="*/ 52039 h 77210"/>
                <a:gd name="connsiteX16" fmla="*/ 99015 w 169879"/>
                <a:gd name="connsiteY16" fmla="*/ 53342 h 77210"/>
                <a:gd name="connsiteX17" fmla="*/ 70602 w 169879"/>
                <a:gd name="connsiteY17" fmla="*/ 56217 h 77210"/>
                <a:gd name="connsiteX18" fmla="*/ 41540 w 169879"/>
                <a:gd name="connsiteY18" fmla="*/ 61398 h 77210"/>
                <a:gd name="connsiteX19" fmla="*/ 16537 w 169879"/>
                <a:gd name="connsiteY19" fmla="*/ 70689 h 77210"/>
                <a:gd name="connsiteX20" fmla="*/ 30134 w 169879"/>
                <a:gd name="connsiteY20" fmla="*/ 74633 h 77210"/>
                <a:gd name="connsiteX21" fmla="*/ 38536 w 169879"/>
                <a:gd name="connsiteY21" fmla="*/ 76839 h 77210"/>
                <a:gd name="connsiteX22" fmla="*/ 38252 w 169879"/>
                <a:gd name="connsiteY22" fmla="*/ 76839 h 7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9879" h="77210">
                  <a:moveTo>
                    <a:pt x="38252" y="76839"/>
                  </a:moveTo>
                  <a:cubicBezTo>
                    <a:pt x="45639" y="76572"/>
                    <a:pt x="50429" y="71993"/>
                    <a:pt x="57208" y="71057"/>
                  </a:cubicBezTo>
                  <a:lnTo>
                    <a:pt x="90248" y="66578"/>
                  </a:lnTo>
                  <a:cubicBezTo>
                    <a:pt x="97838" y="65051"/>
                    <a:pt x="105712" y="64620"/>
                    <a:pt x="113465" y="65308"/>
                  </a:cubicBezTo>
                  <a:cubicBezTo>
                    <a:pt x="124302" y="66277"/>
                    <a:pt x="129173" y="69720"/>
                    <a:pt x="141229" y="69319"/>
                  </a:cubicBezTo>
                  <a:cubicBezTo>
                    <a:pt x="159129" y="68751"/>
                    <a:pt x="171468" y="68149"/>
                    <a:pt x="169641" y="56952"/>
                  </a:cubicBezTo>
                  <a:cubicBezTo>
                    <a:pt x="168302" y="48329"/>
                    <a:pt x="149996" y="46758"/>
                    <a:pt x="147317" y="38335"/>
                  </a:cubicBezTo>
                  <a:cubicBezTo>
                    <a:pt x="145856" y="33790"/>
                    <a:pt x="142325" y="31651"/>
                    <a:pt x="138834" y="27573"/>
                  </a:cubicBezTo>
                  <a:cubicBezTo>
                    <a:pt x="132258" y="20153"/>
                    <a:pt x="118782" y="20286"/>
                    <a:pt x="110015" y="14504"/>
                  </a:cubicBezTo>
                  <a:cubicBezTo>
                    <a:pt x="102790" y="9725"/>
                    <a:pt x="104129" y="5346"/>
                    <a:pt x="92480" y="6349"/>
                  </a:cubicBezTo>
                  <a:cubicBezTo>
                    <a:pt x="81481" y="7318"/>
                    <a:pt x="75676" y="-2575"/>
                    <a:pt x="60577" y="132"/>
                  </a:cubicBezTo>
                  <a:cubicBezTo>
                    <a:pt x="50429" y="2522"/>
                    <a:pt x="40079" y="4243"/>
                    <a:pt x="29607" y="5279"/>
                  </a:cubicBezTo>
                  <a:cubicBezTo>
                    <a:pt x="12194" y="6382"/>
                    <a:pt x="19175" y="12633"/>
                    <a:pt x="6024" y="15774"/>
                  </a:cubicBezTo>
                  <a:cubicBezTo>
                    <a:pt x="5497" y="26670"/>
                    <a:pt x="-6153" y="35829"/>
                    <a:pt x="4238" y="45521"/>
                  </a:cubicBezTo>
                  <a:cubicBezTo>
                    <a:pt x="13736" y="54613"/>
                    <a:pt x="21732" y="57821"/>
                    <a:pt x="40769" y="53309"/>
                  </a:cubicBezTo>
                  <a:cubicBezTo>
                    <a:pt x="58101" y="49198"/>
                    <a:pt x="58060" y="46624"/>
                    <a:pt x="73241" y="52039"/>
                  </a:cubicBezTo>
                  <a:cubicBezTo>
                    <a:pt x="80709" y="54679"/>
                    <a:pt x="90532" y="52874"/>
                    <a:pt x="99015" y="53342"/>
                  </a:cubicBezTo>
                  <a:cubicBezTo>
                    <a:pt x="90451" y="57534"/>
                    <a:pt x="80141" y="58573"/>
                    <a:pt x="70602" y="56217"/>
                  </a:cubicBezTo>
                  <a:cubicBezTo>
                    <a:pt x="58182" y="53543"/>
                    <a:pt x="53230" y="58623"/>
                    <a:pt x="41540" y="61398"/>
                  </a:cubicBezTo>
                  <a:cubicBezTo>
                    <a:pt x="33138" y="63403"/>
                    <a:pt x="13127" y="63904"/>
                    <a:pt x="16537" y="70689"/>
                  </a:cubicBezTo>
                  <a:cubicBezTo>
                    <a:pt x="19337" y="76171"/>
                    <a:pt x="22747" y="75335"/>
                    <a:pt x="30134" y="74633"/>
                  </a:cubicBezTo>
                  <a:cubicBezTo>
                    <a:pt x="35167" y="74132"/>
                    <a:pt x="34680" y="76973"/>
                    <a:pt x="38536" y="76839"/>
                  </a:cubicBezTo>
                  <a:cubicBezTo>
                    <a:pt x="43610" y="76639"/>
                    <a:pt x="33584" y="76973"/>
                    <a:pt x="38252" y="768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DFC7F1E2-4B6F-4F37-AE97-2A2B2F90EAC9}"/>
                </a:ext>
              </a:extLst>
            </p:cNvPr>
            <p:cNvSpPr/>
            <p:nvPr/>
          </p:nvSpPr>
          <p:spPr>
            <a:xfrm>
              <a:off x="5321506" y="4662856"/>
              <a:ext cx="78725" cy="30793"/>
            </a:xfrm>
            <a:custGeom>
              <a:avLst/>
              <a:gdLst>
                <a:gd name="connsiteX0" fmla="*/ 45157 w 78725"/>
                <a:gd name="connsiteY0" fmla="*/ 28567 h 30793"/>
                <a:gd name="connsiteX1" fmla="*/ 76249 w 78725"/>
                <a:gd name="connsiteY1" fmla="*/ 13058 h 30793"/>
                <a:gd name="connsiteX2" fmla="*/ 66995 w 78725"/>
                <a:gd name="connsiteY2" fmla="*/ 324 h 30793"/>
                <a:gd name="connsiteX3" fmla="*/ 30748 w 78725"/>
                <a:gd name="connsiteY3" fmla="*/ 5237 h 30793"/>
                <a:gd name="connsiteX4" fmla="*/ 14999 w 78725"/>
                <a:gd name="connsiteY4" fmla="*/ 10585 h 30793"/>
                <a:gd name="connsiteX5" fmla="*/ -60 w 78725"/>
                <a:gd name="connsiteY5" fmla="*/ 9615 h 30793"/>
                <a:gd name="connsiteX6" fmla="*/ 30626 w 78725"/>
                <a:gd name="connsiteY6" fmla="*/ 18907 h 30793"/>
                <a:gd name="connsiteX7" fmla="*/ 45157 w 78725"/>
                <a:gd name="connsiteY7" fmla="*/ 28567 h 30793"/>
                <a:gd name="connsiteX8" fmla="*/ 45157 w 78725"/>
                <a:gd name="connsiteY8" fmla="*/ 28567 h 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725" h="30793">
                  <a:moveTo>
                    <a:pt x="45157" y="28567"/>
                  </a:moveTo>
                  <a:cubicBezTo>
                    <a:pt x="50759" y="25592"/>
                    <a:pt x="78847" y="15197"/>
                    <a:pt x="76249" y="13058"/>
                  </a:cubicBezTo>
                  <a:cubicBezTo>
                    <a:pt x="68131" y="7075"/>
                    <a:pt x="91754" y="-3019"/>
                    <a:pt x="66995" y="324"/>
                  </a:cubicBezTo>
                  <a:cubicBezTo>
                    <a:pt x="55711" y="1828"/>
                    <a:pt x="41423" y="2362"/>
                    <a:pt x="30748" y="5237"/>
                  </a:cubicBezTo>
                  <a:cubicBezTo>
                    <a:pt x="25350" y="6674"/>
                    <a:pt x="21493" y="10351"/>
                    <a:pt x="14999" y="10585"/>
                  </a:cubicBezTo>
                  <a:cubicBezTo>
                    <a:pt x="8505" y="10818"/>
                    <a:pt x="10616" y="6975"/>
                    <a:pt x="-60" y="9615"/>
                  </a:cubicBezTo>
                  <a:cubicBezTo>
                    <a:pt x="10128" y="15464"/>
                    <a:pt x="19626" y="14796"/>
                    <a:pt x="30626" y="18907"/>
                  </a:cubicBezTo>
                  <a:cubicBezTo>
                    <a:pt x="35578" y="20779"/>
                    <a:pt x="32331" y="35619"/>
                    <a:pt x="45157" y="28567"/>
                  </a:cubicBezTo>
                  <a:cubicBezTo>
                    <a:pt x="51246" y="25358"/>
                    <a:pt x="44508" y="28934"/>
                    <a:pt x="45157" y="2856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1C0D64A-5A3A-4A18-A1A3-42E08FFC6BFD}"/>
                </a:ext>
              </a:extLst>
            </p:cNvPr>
            <p:cNvSpPr/>
            <p:nvPr/>
          </p:nvSpPr>
          <p:spPr>
            <a:xfrm>
              <a:off x="6221627" y="4663985"/>
              <a:ext cx="348298" cy="141382"/>
            </a:xfrm>
            <a:custGeom>
              <a:avLst/>
              <a:gdLst>
                <a:gd name="connsiteX0" fmla="*/ 323764 w 348298"/>
                <a:gd name="connsiteY0" fmla="*/ 86731 h 141382"/>
                <a:gd name="connsiteX1" fmla="*/ 307081 w 348298"/>
                <a:gd name="connsiteY1" fmla="*/ 71022 h 141382"/>
                <a:gd name="connsiteX2" fmla="*/ 290845 w 348298"/>
                <a:gd name="connsiteY2" fmla="*/ 57351 h 141382"/>
                <a:gd name="connsiteX3" fmla="*/ 266816 w 348298"/>
                <a:gd name="connsiteY3" fmla="*/ 46321 h 141382"/>
                <a:gd name="connsiteX4" fmla="*/ 257684 w 348298"/>
                <a:gd name="connsiteY4" fmla="*/ 40238 h 141382"/>
                <a:gd name="connsiteX5" fmla="*/ 253625 w 348298"/>
                <a:gd name="connsiteY5" fmla="*/ 22657 h 141382"/>
                <a:gd name="connsiteX6" fmla="*/ 213684 w 348298"/>
                <a:gd name="connsiteY6" fmla="*/ 364 h 141382"/>
                <a:gd name="connsiteX7" fmla="*/ 195013 w 348298"/>
                <a:gd name="connsiteY7" fmla="*/ 12630 h 141382"/>
                <a:gd name="connsiteX8" fmla="*/ 165951 w 348298"/>
                <a:gd name="connsiteY8" fmla="*/ 28808 h 141382"/>
                <a:gd name="connsiteX9" fmla="*/ 133113 w 348298"/>
                <a:gd name="connsiteY9" fmla="*/ 32150 h 141382"/>
                <a:gd name="connsiteX10" fmla="*/ 122723 w 348298"/>
                <a:gd name="connsiteY10" fmla="*/ 41776 h 141382"/>
                <a:gd name="connsiteX11" fmla="*/ 68657 w 348298"/>
                <a:gd name="connsiteY11" fmla="*/ 52471 h 141382"/>
                <a:gd name="connsiteX12" fmla="*/ 49661 w 348298"/>
                <a:gd name="connsiteY12" fmla="*/ 52471 h 141382"/>
                <a:gd name="connsiteX13" fmla="*/ 27864 w 348298"/>
                <a:gd name="connsiteY13" fmla="*/ 55814 h 141382"/>
                <a:gd name="connsiteX14" fmla="*/ 4282 w 348298"/>
                <a:gd name="connsiteY14" fmla="*/ 104512 h 141382"/>
                <a:gd name="connsiteX15" fmla="*/ 43532 w 348298"/>
                <a:gd name="connsiteY15" fmla="*/ 141044 h 141382"/>
                <a:gd name="connsiteX16" fmla="*/ 50960 w 348298"/>
                <a:gd name="connsiteY16" fmla="*/ 127675 h 141382"/>
                <a:gd name="connsiteX17" fmla="*/ 66668 w 348298"/>
                <a:gd name="connsiteY17" fmla="*/ 125067 h 141382"/>
                <a:gd name="connsiteX18" fmla="*/ 103199 w 348298"/>
                <a:gd name="connsiteY18" fmla="*/ 125903 h 141382"/>
                <a:gd name="connsiteX19" fmla="*/ 108760 w 348298"/>
                <a:gd name="connsiteY19" fmla="*/ 110929 h 141382"/>
                <a:gd name="connsiteX20" fmla="*/ 149796 w 348298"/>
                <a:gd name="connsiteY20" fmla="*/ 106651 h 141382"/>
                <a:gd name="connsiteX21" fmla="*/ 208326 w 348298"/>
                <a:gd name="connsiteY21" fmla="*/ 119452 h 141382"/>
                <a:gd name="connsiteX22" fmla="*/ 230529 w 348298"/>
                <a:gd name="connsiteY22" fmla="*/ 108991 h 141382"/>
                <a:gd name="connsiteX23" fmla="*/ 255776 w 348298"/>
                <a:gd name="connsiteY23" fmla="*/ 106618 h 141382"/>
                <a:gd name="connsiteX24" fmla="*/ 288775 w 348298"/>
                <a:gd name="connsiteY24" fmla="*/ 107654 h 141382"/>
                <a:gd name="connsiteX25" fmla="*/ 302048 w 348298"/>
                <a:gd name="connsiteY25" fmla="*/ 102540 h 141382"/>
                <a:gd name="connsiteX26" fmla="*/ 323885 w 348298"/>
                <a:gd name="connsiteY26" fmla="*/ 107019 h 141382"/>
                <a:gd name="connsiteX27" fmla="*/ 348239 w 348298"/>
                <a:gd name="connsiteY27" fmla="*/ 107219 h 141382"/>
                <a:gd name="connsiteX28" fmla="*/ 342069 w 348298"/>
                <a:gd name="connsiteY28" fmla="*/ 96357 h 141382"/>
                <a:gd name="connsiteX29" fmla="*/ 323358 w 348298"/>
                <a:gd name="connsiteY29" fmla="*/ 86931 h 141382"/>
                <a:gd name="connsiteX30" fmla="*/ 323764 w 348298"/>
                <a:gd name="connsiteY30" fmla="*/ 86731 h 14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8298" h="141382">
                  <a:moveTo>
                    <a:pt x="323764" y="86731"/>
                  </a:moveTo>
                  <a:cubicBezTo>
                    <a:pt x="324291" y="79778"/>
                    <a:pt x="315646" y="75199"/>
                    <a:pt x="307081" y="71022"/>
                  </a:cubicBezTo>
                  <a:cubicBezTo>
                    <a:pt x="298517" y="66844"/>
                    <a:pt x="297868" y="62532"/>
                    <a:pt x="290845" y="57351"/>
                  </a:cubicBezTo>
                  <a:cubicBezTo>
                    <a:pt x="283823" y="52171"/>
                    <a:pt x="278019" y="47892"/>
                    <a:pt x="266816" y="46321"/>
                  </a:cubicBezTo>
                  <a:cubicBezTo>
                    <a:pt x="260200" y="45386"/>
                    <a:pt x="263001" y="40940"/>
                    <a:pt x="257684" y="40238"/>
                  </a:cubicBezTo>
                  <a:cubicBezTo>
                    <a:pt x="232437" y="36896"/>
                    <a:pt x="261093" y="33219"/>
                    <a:pt x="253625" y="22657"/>
                  </a:cubicBezTo>
                  <a:cubicBezTo>
                    <a:pt x="247292" y="13667"/>
                    <a:pt x="234101" y="-4081"/>
                    <a:pt x="213684" y="364"/>
                  </a:cubicBezTo>
                  <a:cubicBezTo>
                    <a:pt x="200695" y="3305"/>
                    <a:pt x="202928" y="8352"/>
                    <a:pt x="195013" y="12630"/>
                  </a:cubicBezTo>
                  <a:cubicBezTo>
                    <a:pt x="184947" y="17530"/>
                    <a:pt x="175246" y="22932"/>
                    <a:pt x="165951" y="28808"/>
                  </a:cubicBezTo>
                  <a:cubicBezTo>
                    <a:pt x="158279" y="34122"/>
                    <a:pt x="143505" y="32150"/>
                    <a:pt x="133113" y="32150"/>
                  </a:cubicBezTo>
                  <a:cubicBezTo>
                    <a:pt x="115173" y="31849"/>
                    <a:pt x="129866" y="38534"/>
                    <a:pt x="122723" y="41776"/>
                  </a:cubicBezTo>
                  <a:cubicBezTo>
                    <a:pt x="105675" y="49597"/>
                    <a:pt x="85907" y="46956"/>
                    <a:pt x="68657" y="52471"/>
                  </a:cubicBezTo>
                  <a:cubicBezTo>
                    <a:pt x="58104" y="55814"/>
                    <a:pt x="58794" y="51068"/>
                    <a:pt x="49661" y="52471"/>
                  </a:cubicBezTo>
                  <a:cubicBezTo>
                    <a:pt x="42680" y="53441"/>
                    <a:pt x="35577" y="63234"/>
                    <a:pt x="27864" y="55814"/>
                  </a:cubicBezTo>
                  <a:cubicBezTo>
                    <a:pt x="4485" y="68114"/>
                    <a:pt x="-6921" y="86497"/>
                    <a:pt x="4282" y="104512"/>
                  </a:cubicBezTo>
                  <a:cubicBezTo>
                    <a:pt x="11953" y="116845"/>
                    <a:pt x="22628" y="133891"/>
                    <a:pt x="43532" y="141044"/>
                  </a:cubicBezTo>
                  <a:cubicBezTo>
                    <a:pt x="48078" y="136766"/>
                    <a:pt x="51406" y="133056"/>
                    <a:pt x="50960" y="127675"/>
                  </a:cubicBezTo>
                  <a:cubicBezTo>
                    <a:pt x="50960" y="125769"/>
                    <a:pt x="63542" y="125468"/>
                    <a:pt x="66668" y="125067"/>
                  </a:cubicBezTo>
                  <a:cubicBezTo>
                    <a:pt x="80306" y="123263"/>
                    <a:pt x="89358" y="124332"/>
                    <a:pt x="103199" y="125903"/>
                  </a:cubicBezTo>
                  <a:cubicBezTo>
                    <a:pt x="103199" y="119686"/>
                    <a:pt x="101575" y="115375"/>
                    <a:pt x="108760" y="110929"/>
                  </a:cubicBezTo>
                  <a:cubicBezTo>
                    <a:pt x="120936" y="103442"/>
                    <a:pt x="134778" y="97560"/>
                    <a:pt x="149796" y="106651"/>
                  </a:cubicBezTo>
                  <a:cubicBezTo>
                    <a:pt x="164814" y="115742"/>
                    <a:pt x="187828" y="116277"/>
                    <a:pt x="208326" y="119452"/>
                  </a:cubicBezTo>
                  <a:cubicBezTo>
                    <a:pt x="214496" y="120421"/>
                    <a:pt x="213725" y="106083"/>
                    <a:pt x="230529" y="108991"/>
                  </a:cubicBezTo>
                  <a:cubicBezTo>
                    <a:pt x="240595" y="110695"/>
                    <a:pt x="246400" y="108155"/>
                    <a:pt x="255776" y="106618"/>
                  </a:cubicBezTo>
                  <a:cubicBezTo>
                    <a:pt x="268277" y="104612"/>
                    <a:pt x="276923" y="107553"/>
                    <a:pt x="288775" y="107654"/>
                  </a:cubicBezTo>
                  <a:cubicBezTo>
                    <a:pt x="295107" y="107654"/>
                    <a:pt x="295432" y="102707"/>
                    <a:pt x="302048" y="102540"/>
                  </a:cubicBezTo>
                  <a:cubicBezTo>
                    <a:pt x="309598" y="102821"/>
                    <a:pt x="317026" y="104341"/>
                    <a:pt x="323885" y="107019"/>
                  </a:cubicBezTo>
                  <a:cubicBezTo>
                    <a:pt x="330948" y="109392"/>
                    <a:pt x="340689" y="107587"/>
                    <a:pt x="348239" y="107219"/>
                  </a:cubicBezTo>
                  <a:cubicBezTo>
                    <a:pt x="346494" y="104178"/>
                    <a:pt x="345398" y="98863"/>
                    <a:pt x="342069" y="96357"/>
                  </a:cubicBezTo>
                  <a:cubicBezTo>
                    <a:pt x="338741" y="93850"/>
                    <a:pt x="322992" y="91677"/>
                    <a:pt x="323358" y="86931"/>
                  </a:cubicBezTo>
                  <a:cubicBezTo>
                    <a:pt x="323967" y="83589"/>
                    <a:pt x="323520" y="89872"/>
                    <a:pt x="323764" y="8673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E60F5F2C-9E57-45C9-9BAB-73A2E01439B0}"/>
                </a:ext>
              </a:extLst>
            </p:cNvPr>
            <p:cNvSpPr/>
            <p:nvPr/>
          </p:nvSpPr>
          <p:spPr>
            <a:xfrm>
              <a:off x="5885260" y="4612799"/>
              <a:ext cx="341831" cy="162926"/>
            </a:xfrm>
            <a:custGeom>
              <a:avLst/>
              <a:gdLst>
                <a:gd name="connsiteX0" fmla="*/ 210355 w 341831"/>
                <a:gd name="connsiteY0" fmla="*/ 117663 h 162926"/>
                <a:gd name="connsiteX1" fmla="*/ 231543 w 341831"/>
                <a:gd name="connsiteY1" fmla="*/ 115557 h 162926"/>
                <a:gd name="connsiteX2" fmla="*/ 249484 w 341831"/>
                <a:gd name="connsiteY2" fmla="*/ 126420 h 162926"/>
                <a:gd name="connsiteX3" fmla="*/ 280454 w 341831"/>
                <a:gd name="connsiteY3" fmla="*/ 92562 h 162926"/>
                <a:gd name="connsiteX4" fmla="*/ 294660 w 341831"/>
                <a:gd name="connsiteY4" fmla="*/ 80997 h 162926"/>
                <a:gd name="connsiteX5" fmla="*/ 305132 w 341831"/>
                <a:gd name="connsiteY5" fmla="*/ 60943 h 162926"/>
                <a:gd name="connsiteX6" fmla="*/ 334073 w 341831"/>
                <a:gd name="connsiteY6" fmla="*/ 40354 h 162926"/>
                <a:gd name="connsiteX7" fmla="*/ 332895 w 341831"/>
                <a:gd name="connsiteY7" fmla="*/ 24712 h 162926"/>
                <a:gd name="connsiteX8" fmla="*/ 326523 w 341831"/>
                <a:gd name="connsiteY8" fmla="*/ 17091 h 162926"/>
                <a:gd name="connsiteX9" fmla="*/ 320231 w 341831"/>
                <a:gd name="connsiteY9" fmla="*/ 5794 h 162926"/>
                <a:gd name="connsiteX10" fmla="*/ 299003 w 341831"/>
                <a:gd name="connsiteY10" fmla="*/ 3287 h 162926"/>
                <a:gd name="connsiteX11" fmla="*/ 266531 w 341831"/>
                <a:gd name="connsiteY11" fmla="*/ 8167 h 162926"/>
                <a:gd name="connsiteX12" fmla="*/ 234344 w 341831"/>
                <a:gd name="connsiteY12" fmla="*/ 6262 h 162926"/>
                <a:gd name="connsiteX13" fmla="*/ 218676 w 341831"/>
                <a:gd name="connsiteY13" fmla="*/ 6997 h 162926"/>
                <a:gd name="connsiteX14" fmla="*/ 198137 w 341831"/>
                <a:gd name="connsiteY14" fmla="*/ 15253 h 162926"/>
                <a:gd name="connsiteX15" fmla="*/ 134412 w 341831"/>
                <a:gd name="connsiteY15" fmla="*/ 9972 h 162926"/>
                <a:gd name="connsiteX16" fmla="*/ 111113 w 341831"/>
                <a:gd name="connsiteY16" fmla="*/ 3287 h 162926"/>
                <a:gd name="connsiteX17" fmla="*/ 77099 w 341831"/>
                <a:gd name="connsiteY17" fmla="*/ 1315 h 162926"/>
                <a:gd name="connsiteX18" fmla="*/ 47793 w 341831"/>
                <a:gd name="connsiteY18" fmla="*/ 2953 h 162926"/>
                <a:gd name="connsiteX19" fmla="*/ 37199 w 341831"/>
                <a:gd name="connsiteY19" fmla="*/ 17826 h 162926"/>
                <a:gd name="connsiteX20" fmla="*/ 26889 w 341831"/>
                <a:gd name="connsiteY20" fmla="*/ 55328 h 162926"/>
                <a:gd name="connsiteX21" fmla="*/ 5823 w 341831"/>
                <a:gd name="connsiteY21" fmla="*/ 84172 h 162926"/>
                <a:gd name="connsiteX22" fmla="*/ 15037 w 341831"/>
                <a:gd name="connsiteY22" fmla="*/ 126988 h 162926"/>
                <a:gd name="connsiteX23" fmla="*/ 79981 w 341831"/>
                <a:gd name="connsiteY23" fmla="*/ 143031 h 162926"/>
                <a:gd name="connsiteX24" fmla="*/ 94390 w 341831"/>
                <a:gd name="connsiteY24" fmla="*/ 160545 h 162926"/>
                <a:gd name="connsiteX25" fmla="*/ 127430 w 341831"/>
                <a:gd name="connsiteY25" fmla="*/ 158105 h 162926"/>
                <a:gd name="connsiteX26" fmla="*/ 158238 w 341831"/>
                <a:gd name="connsiteY26" fmla="*/ 156802 h 162926"/>
                <a:gd name="connsiteX27" fmla="*/ 176097 w 341831"/>
                <a:gd name="connsiteY27" fmla="*/ 142162 h 162926"/>
                <a:gd name="connsiteX28" fmla="*/ 204510 w 341831"/>
                <a:gd name="connsiteY28" fmla="*/ 120571 h 162926"/>
                <a:gd name="connsiteX29" fmla="*/ 210314 w 341831"/>
                <a:gd name="connsiteY29" fmla="*/ 117830 h 162926"/>
                <a:gd name="connsiteX30" fmla="*/ 210355 w 341831"/>
                <a:gd name="connsiteY30" fmla="*/ 117663 h 16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1831" h="162926">
                  <a:moveTo>
                    <a:pt x="210355" y="117663"/>
                  </a:moveTo>
                  <a:cubicBezTo>
                    <a:pt x="217336" y="116463"/>
                    <a:pt x="224440" y="115758"/>
                    <a:pt x="231543" y="115557"/>
                  </a:cubicBezTo>
                  <a:cubicBezTo>
                    <a:pt x="238890" y="116025"/>
                    <a:pt x="247779" y="126486"/>
                    <a:pt x="249484" y="126420"/>
                  </a:cubicBezTo>
                  <a:cubicBezTo>
                    <a:pt x="257602" y="126019"/>
                    <a:pt x="278180" y="97274"/>
                    <a:pt x="280454" y="92562"/>
                  </a:cubicBezTo>
                  <a:cubicBezTo>
                    <a:pt x="282402" y="88517"/>
                    <a:pt x="294619" y="84272"/>
                    <a:pt x="294660" y="80997"/>
                  </a:cubicBezTo>
                  <a:cubicBezTo>
                    <a:pt x="294660" y="73510"/>
                    <a:pt x="307527" y="68263"/>
                    <a:pt x="305132" y="60943"/>
                  </a:cubicBezTo>
                  <a:cubicBezTo>
                    <a:pt x="302332" y="52453"/>
                    <a:pt x="323113" y="42393"/>
                    <a:pt x="334073" y="40354"/>
                  </a:cubicBezTo>
                  <a:cubicBezTo>
                    <a:pt x="347954" y="37747"/>
                    <a:pt x="340242" y="27954"/>
                    <a:pt x="332895" y="24712"/>
                  </a:cubicBezTo>
                  <a:cubicBezTo>
                    <a:pt x="328065" y="22573"/>
                    <a:pt x="326117" y="20467"/>
                    <a:pt x="326523" y="17091"/>
                  </a:cubicBezTo>
                  <a:cubicBezTo>
                    <a:pt x="327416" y="9471"/>
                    <a:pt x="325752" y="11810"/>
                    <a:pt x="320231" y="5794"/>
                  </a:cubicBezTo>
                  <a:cubicBezTo>
                    <a:pt x="314711" y="-222"/>
                    <a:pt x="307689" y="-2696"/>
                    <a:pt x="299003" y="3287"/>
                  </a:cubicBezTo>
                  <a:cubicBezTo>
                    <a:pt x="288896" y="10239"/>
                    <a:pt x="281712" y="12345"/>
                    <a:pt x="266531" y="8167"/>
                  </a:cubicBezTo>
                  <a:cubicBezTo>
                    <a:pt x="256100" y="5293"/>
                    <a:pt x="245668" y="6061"/>
                    <a:pt x="234344" y="6262"/>
                  </a:cubicBezTo>
                  <a:cubicBezTo>
                    <a:pt x="229107" y="5881"/>
                    <a:pt x="223831" y="6128"/>
                    <a:pt x="218676" y="6997"/>
                  </a:cubicBezTo>
                  <a:cubicBezTo>
                    <a:pt x="211167" y="9270"/>
                    <a:pt x="206824" y="14350"/>
                    <a:pt x="198137" y="15253"/>
                  </a:cubicBezTo>
                  <a:cubicBezTo>
                    <a:pt x="172850" y="17826"/>
                    <a:pt x="158725" y="4089"/>
                    <a:pt x="134412" y="9972"/>
                  </a:cubicBezTo>
                  <a:cubicBezTo>
                    <a:pt x="117607" y="14050"/>
                    <a:pt x="121261" y="9805"/>
                    <a:pt x="111113" y="3287"/>
                  </a:cubicBezTo>
                  <a:cubicBezTo>
                    <a:pt x="105836" y="-55"/>
                    <a:pt x="82700" y="-1860"/>
                    <a:pt x="77099" y="1315"/>
                  </a:cubicBezTo>
                  <a:cubicBezTo>
                    <a:pt x="69346" y="5694"/>
                    <a:pt x="57494" y="1649"/>
                    <a:pt x="47793" y="2953"/>
                  </a:cubicBezTo>
                  <a:cubicBezTo>
                    <a:pt x="35251" y="4624"/>
                    <a:pt x="43734" y="13916"/>
                    <a:pt x="37199" y="17826"/>
                  </a:cubicBezTo>
                  <a:cubicBezTo>
                    <a:pt x="17838" y="29892"/>
                    <a:pt x="26077" y="40855"/>
                    <a:pt x="26889" y="55328"/>
                  </a:cubicBezTo>
                  <a:cubicBezTo>
                    <a:pt x="27620" y="67995"/>
                    <a:pt x="16295" y="74179"/>
                    <a:pt x="5823" y="84172"/>
                  </a:cubicBezTo>
                  <a:cubicBezTo>
                    <a:pt x="-3391" y="92963"/>
                    <a:pt x="-2822" y="121272"/>
                    <a:pt x="15037" y="126988"/>
                  </a:cubicBezTo>
                  <a:cubicBezTo>
                    <a:pt x="38336" y="134408"/>
                    <a:pt x="63745" y="126754"/>
                    <a:pt x="79981" y="143031"/>
                  </a:cubicBezTo>
                  <a:cubicBezTo>
                    <a:pt x="85947" y="149047"/>
                    <a:pt x="85014" y="155231"/>
                    <a:pt x="94390" y="160545"/>
                  </a:cubicBezTo>
                  <a:cubicBezTo>
                    <a:pt x="104497" y="166227"/>
                    <a:pt x="116268" y="158272"/>
                    <a:pt x="127430" y="158105"/>
                  </a:cubicBezTo>
                  <a:cubicBezTo>
                    <a:pt x="137740" y="158222"/>
                    <a:pt x="148009" y="157788"/>
                    <a:pt x="158238" y="156802"/>
                  </a:cubicBezTo>
                  <a:cubicBezTo>
                    <a:pt x="172241" y="155064"/>
                    <a:pt x="173013" y="150317"/>
                    <a:pt x="176097" y="142162"/>
                  </a:cubicBezTo>
                  <a:cubicBezTo>
                    <a:pt x="179629" y="132837"/>
                    <a:pt x="192942" y="127021"/>
                    <a:pt x="204510" y="120571"/>
                  </a:cubicBezTo>
                  <a:cubicBezTo>
                    <a:pt x="206255" y="119384"/>
                    <a:pt x="208204" y="118458"/>
                    <a:pt x="210314" y="117830"/>
                  </a:cubicBezTo>
                  <a:cubicBezTo>
                    <a:pt x="213927" y="117161"/>
                    <a:pt x="207148" y="118197"/>
                    <a:pt x="210355" y="11766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B8B28EF6-60A5-45BB-9AF0-5C40A8EC00A0}"/>
                </a:ext>
              </a:extLst>
            </p:cNvPr>
            <p:cNvSpPr/>
            <p:nvPr/>
          </p:nvSpPr>
          <p:spPr>
            <a:xfrm>
              <a:off x="5826564" y="4637285"/>
              <a:ext cx="86802" cy="106884"/>
            </a:xfrm>
            <a:custGeom>
              <a:avLst/>
              <a:gdLst>
                <a:gd name="connsiteX0" fmla="*/ 59932 w 86802"/>
                <a:gd name="connsiteY0" fmla="*/ 67674 h 106884"/>
                <a:gd name="connsiteX1" fmla="*/ 83840 w 86802"/>
                <a:gd name="connsiteY1" fmla="*/ 42974 h 106884"/>
                <a:gd name="connsiteX2" fmla="*/ 80999 w 86802"/>
                <a:gd name="connsiteY2" fmla="*/ 9049 h 106884"/>
                <a:gd name="connsiteX3" fmla="*/ 65980 w 86802"/>
                <a:gd name="connsiteY3" fmla="*/ 2632 h 106884"/>
                <a:gd name="connsiteX4" fmla="*/ 51530 w 86802"/>
                <a:gd name="connsiteY4" fmla="*/ 12425 h 106884"/>
                <a:gd name="connsiteX5" fmla="*/ 24660 w 86802"/>
                <a:gd name="connsiteY5" fmla="*/ 19845 h 106884"/>
                <a:gd name="connsiteX6" fmla="*/ -60 w 86802"/>
                <a:gd name="connsiteY6" fmla="*/ 27532 h 106884"/>
                <a:gd name="connsiteX7" fmla="*/ 9560 w 86802"/>
                <a:gd name="connsiteY7" fmla="*/ 40902 h 106884"/>
                <a:gd name="connsiteX8" fmla="*/ 21413 w 86802"/>
                <a:gd name="connsiteY8" fmla="*/ 45314 h 106884"/>
                <a:gd name="connsiteX9" fmla="*/ 22914 w 86802"/>
                <a:gd name="connsiteY9" fmla="*/ 55341 h 106884"/>
                <a:gd name="connsiteX10" fmla="*/ 28760 w 86802"/>
                <a:gd name="connsiteY10" fmla="*/ 77768 h 106884"/>
                <a:gd name="connsiteX11" fmla="*/ 32291 w 86802"/>
                <a:gd name="connsiteY11" fmla="*/ 106546 h 106884"/>
                <a:gd name="connsiteX12" fmla="*/ 70770 w 86802"/>
                <a:gd name="connsiteY12" fmla="*/ 100663 h 106884"/>
                <a:gd name="connsiteX13" fmla="*/ 59932 w 86802"/>
                <a:gd name="connsiteY13" fmla="*/ 67473 h 106884"/>
                <a:gd name="connsiteX14" fmla="*/ 59932 w 86802"/>
                <a:gd name="connsiteY14" fmla="*/ 67674 h 10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802" h="106884">
                  <a:moveTo>
                    <a:pt x="59932" y="67674"/>
                  </a:moveTo>
                  <a:cubicBezTo>
                    <a:pt x="61759" y="57948"/>
                    <a:pt x="78035" y="51731"/>
                    <a:pt x="83840" y="42974"/>
                  </a:cubicBezTo>
                  <a:cubicBezTo>
                    <a:pt x="90456" y="32947"/>
                    <a:pt x="84124" y="19009"/>
                    <a:pt x="80999" y="9049"/>
                  </a:cubicBezTo>
                  <a:cubicBezTo>
                    <a:pt x="70851" y="12926"/>
                    <a:pt x="68822" y="5439"/>
                    <a:pt x="65980" y="2632"/>
                  </a:cubicBezTo>
                  <a:cubicBezTo>
                    <a:pt x="54737" y="-7596"/>
                    <a:pt x="52139" y="11823"/>
                    <a:pt x="51530" y="12425"/>
                  </a:cubicBezTo>
                  <a:cubicBezTo>
                    <a:pt x="46010" y="17773"/>
                    <a:pt x="34117" y="19109"/>
                    <a:pt x="24660" y="19845"/>
                  </a:cubicBezTo>
                  <a:cubicBezTo>
                    <a:pt x="14187" y="20513"/>
                    <a:pt x="10088" y="27566"/>
                    <a:pt x="-60" y="27532"/>
                  </a:cubicBezTo>
                  <a:cubicBezTo>
                    <a:pt x="671" y="32546"/>
                    <a:pt x="1077" y="38495"/>
                    <a:pt x="9560" y="40902"/>
                  </a:cubicBezTo>
                  <a:cubicBezTo>
                    <a:pt x="13619" y="42071"/>
                    <a:pt x="18977" y="42907"/>
                    <a:pt x="21413" y="45314"/>
                  </a:cubicBezTo>
                  <a:cubicBezTo>
                    <a:pt x="24497" y="48355"/>
                    <a:pt x="18409" y="53068"/>
                    <a:pt x="22914" y="55341"/>
                  </a:cubicBezTo>
                  <a:cubicBezTo>
                    <a:pt x="30667" y="59585"/>
                    <a:pt x="27907" y="72052"/>
                    <a:pt x="28760" y="77768"/>
                  </a:cubicBezTo>
                  <a:cubicBezTo>
                    <a:pt x="30261" y="87327"/>
                    <a:pt x="31235" y="96953"/>
                    <a:pt x="32291" y="106546"/>
                  </a:cubicBezTo>
                  <a:cubicBezTo>
                    <a:pt x="36837" y="105844"/>
                    <a:pt x="69796" y="99861"/>
                    <a:pt x="70770" y="100663"/>
                  </a:cubicBezTo>
                  <a:cubicBezTo>
                    <a:pt x="63910" y="89232"/>
                    <a:pt x="57538" y="80341"/>
                    <a:pt x="59932" y="67473"/>
                  </a:cubicBezTo>
                  <a:cubicBezTo>
                    <a:pt x="61515" y="59285"/>
                    <a:pt x="58390" y="76030"/>
                    <a:pt x="59932" y="676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AF454411-77D8-4AFD-93E2-DD8669CB4BAB}"/>
                </a:ext>
              </a:extLst>
            </p:cNvPr>
            <p:cNvSpPr/>
            <p:nvPr/>
          </p:nvSpPr>
          <p:spPr>
            <a:xfrm>
              <a:off x="5800993" y="4663223"/>
              <a:ext cx="57799" cy="87998"/>
            </a:xfrm>
            <a:custGeom>
              <a:avLst/>
              <a:gdLst>
                <a:gd name="connsiteX0" fmla="*/ 48486 w 57799"/>
                <a:gd name="connsiteY0" fmla="*/ 29603 h 87998"/>
                <a:gd name="connsiteX1" fmla="*/ 46984 w 57799"/>
                <a:gd name="connsiteY1" fmla="*/ 19576 h 87998"/>
                <a:gd name="connsiteX2" fmla="*/ 32534 w 57799"/>
                <a:gd name="connsiteY2" fmla="*/ 14261 h 87998"/>
                <a:gd name="connsiteX3" fmla="*/ 26324 w 57799"/>
                <a:gd name="connsiteY3" fmla="*/ 6039 h 87998"/>
                <a:gd name="connsiteX4" fmla="*/ -60 w 57799"/>
                <a:gd name="connsiteY4" fmla="*/ 825 h 87998"/>
                <a:gd name="connsiteX5" fmla="*/ 13619 w 57799"/>
                <a:gd name="connsiteY5" fmla="*/ 17738 h 87998"/>
                <a:gd name="connsiteX6" fmla="*/ 13619 w 57799"/>
                <a:gd name="connsiteY6" fmla="*/ 39129 h 87998"/>
                <a:gd name="connsiteX7" fmla="*/ 24091 w 57799"/>
                <a:gd name="connsiteY7" fmla="*/ 63194 h 87998"/>
                <a:gd name="connsiteX8" fmla="*/ 36268 w 57799"/>
                <a:gd name="connsiteY8" fmla="*/ 87660 h 87998"/>
                <a:gd name="connsiteX9" fmla="*/ 57740 w 57799"/>
                <a:gd name="connsiteY9" fmla="*/ 80975 h 87998"/>
                <a:gd name="connsiteX10" fmla="*/ 55711 w 57799"/>
                <a:gd name="connsiteY10" fmla="*/ 63394 h 87998"/>
                <a:gd name="connsiteX11" fmla="*/ 48364 w 57799"/>
                <a:gd name="connsiteY11" fmla="*/ 29770 h 87998"/>
                <a:gd name="connsiteX12" fmla="*/ 48486 w 57799"/>
                <a:gd name="connsiteY12" fmla="*/ 29603 h 8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799" h="87998">
                  <a:moveTo>
                    <a:pt x="48486" y="29603"/>
                  </a:moveTo>
                  <a:cubicBezTo>
                    <a:pt x="43980" y="27196"/>
                    <a:pt x="50069" y="22484"/>
                    <a:pt x="46984" y="19576"/>
                  </a:cubicBezTo>
                  <a:cubicBezTo>
                    <a:pt x="43899" y="16668"/>
                    <a:pt x="36999" y="16233"/>
                    <a:pt x="32534" y="14261"/>
                  </a:cubicBezTo>
                  <a:cubicBezTo>
                    <a:pt x="28962" y="12530"/>
                    <a:pt x="26608" y="9455"/>
                    <a:pt x="26324" y="6039"/>
                  </a:cubicBezTo>
                  <a:cubicBezTo>
                    <a:pt x="25106" y="1026"/>
                    <a:pt x="9479" y="-2183"/>
                    <a:pt x="-60" y="825"/>
                  </a:cubicBezTo>
                  <a:cubicBezTo>
                    <a:pt x="2376" y="7777"/>
                    <a:pt x="11712" y="11588"/>
                    <a:pt x="13619" y="17738"/>
                  </a:cubicBezTo>
                  <a:cubicBezTo>
                    <a:pt x="15771" y="24623"/>
                    <a:pt x="12604" y="32143"/>
                    <a:pt x="13619" y="39129"/>
                  </a:cubicBezTo>
                  <a:cubicBezTo>
                    <a:pt x="14918" y="47418"/>
                    <a:pt x="22305" y="54838"/>
                    <a:pt x="24091" y="63194"/>
                  </a:cubicBezTo>
                  <a:cubicBezTo>
                    <a:pt x="25431" y="72098"/>
                    <a:pt x="29611" y="80547"/>
                    <a:pt x="36268" y="87660"/>
                  </a:cubicBezTo>
                  <a:cubicBezTo>
                    <a:pt x="43047" y="84661"/>
                    <a:pt x="50272" y="82412"/>
                    <a:pt x="57740" y="80975"/>
                  </a:cubicBezTo>
                  <a:cubicBezTo>
                    <a:pt x="57091" y="75126"/>
                    <a:pt x="56441" y="69243"/>
                    <a:pt x="55711" y="63394"/>
                  </a:cubicBezTo>
                  <a:cubicBezTo>
                    <a:pt x="54737" y="55372"/>
                    <a:pt x="58309" y="35218"/>
                    <a:pt x="48364" y="29770"/>
                  </a:cubicBezTo>
                  <a:cubicBezTo>
                    <a:pt x="43209" y="26762"/>
                    <a:pt x="53722" y="32477"/>
                    <a:pt x="48486" y="2960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954B9DF-2053-4B70-9D64-51A733F31098}"/>
                </a:ext>
              </a:extLst>
            </p:cNvPr>
            <p:cNvSpPr/>
            <p:nvPr/>
          </p:nvSpPr>
          <p:spPr>
            <a:xfrm>
              <a:off x="6057146" y="4623042"/>
              <a:ext cx="208169" cy="196998"/>
            </a:xfrm>
            <a:custGeom>
              <a:avLst/>
              <a:gdLst>
                <a:gd name="connsiteX0" fmla="*/ 85879 w 208169"/>
                <a:gd name="connsiteY0" fmla="*/ 186098 h 196998"/>
                <a:gd name="connsiteX1" fmla="*/ 200625 w 208169"/>
                <a:gd name="connsiteY1" fmla="*/ 196660 h 196998"/>
                <a:gd name="connsiteX2" fmla="*/ 202980 w 208169"/>
                <a:gd name="connsiteY2" fmla="*/ 189307 h 196998"/>
                <a:gd name="connsiteX3" fmla="*/ 205050 w 208169"/>
                <a:gd name="connsiteY3" fmla="*/ 185296 h 196998"/>
                <a:gd name="connsiteX4" fmla="*/ 203183 w 208169"/>
                <a:gd name="connsiteY4" fmla="*/ 178611 h 196998"/>
                <a:gd name="connsiteX5" fmla="*/ 179722 w 208169"/>
                <a:gd name="connsiteY5" fmla="*/ 162334 h 196998"/>
                <a:gd name="connsiteX6" fmla="*/ 179073 w 208169"/>
                <a:gd name="connsiteY6" fmla="*/ 158190 h 196998"/>
                <a:gd name="connsiteX7" fmla="*/ 168763 w 208169"/>
                <a:gd name="connsiteY7" fmla="*/ 145021 h 196998"/>
                <a:gd name="connsiteX8" fmla="*/ 164704 w 208169"/>
                <a:gd name="connsiteY8" fmla="*/ 121190 h 196998"/>
                <a:gd name="connsiteX9" fmla="*/ 192548 w 208169"/>
                <a:gd name="connsiteY9" fmla="*/ 96322 h 196998"/>
                <a:gd name="connsiteX10" fmla="*/ 167058 w 208169"/>
                <a:gd name="connsiteY10" fmla="*/ 72257 h 196998"/>
                <a:gd name="connsiteX11" fmla="*/ 155693 w 208169"/>
                <a:gd name="connsiteY11" fmla="*/ 55546 h 196998"/>
                <a:gd name="connsiteX12" fmla="*/ 192224 w 208169"/>
                <a:gd name="connsiteY12" fmla="*/ 53808 h 196998"/>
                <a:gd name="connsiteX13" fmla="*/ 182076 w 208169"/>
                <a:gd name="connsiteY13" fmla="*/ 42611 h 196998"/>
                <a:gd name="connsiteX14" fmla="*/ 178382 w 208169"/>
                <a:gd name="connsiteY14" fmla="*/ 23827 h 196998"/>
                <a:gd name="connsiteX15" fmla="*/ 156667 w 208169"/>
                <a:gd name="connsiteY15" fmla="*/ -339 h 196998"/>
                <a:gd name="connsiteX16" fmla="*/ 166652 w 208169"/>
                <a:gd name="connsiteY16" fmla="*/ 16039 h 196998"/>
                <a:gd name="connsiteX17" fmla="*/ 157885 w 208169"/>
                <a:gd name="connsiteY17" fmla="*/ 30545 h 196998"/>
                <a:gd name="connsiteX18" fmla="*/ 133531 w 208169"/>
                <a:gd name="connsiteY18" fmla="*/ 53172 h 196998"/>
                <a:gd name="connsiteX19" fmla="*/ 123180 w 208169"/>
                <a:gd name="connsiteY19" fmla="*/ 70586 h 196998"/>
                <a:gd name="connsiteX20" fmla="*/ 108974 w 208169"/>
                <a:gd name="connsiteY20" fmla="*/ 82151 h 196998"/>
                <a:gd name="connsiteX21" fmla="*/ 78004 w 208169"/>
                <a:gd name="connsiteY21" fmla="*/ 116009 h 196998"/>
                <a:gd name="connsiteX22" fmla="*/ 69886 w 208169"/>
                <a:gd name="connsiteY22" fmla="*/ 108355 h 196998"/>
                <a:gd name="connsiteX23" fmla="*/ 49591 w 208169"/>
                <a:gd name="connsiteY23" fmla="*/ 107118 h 196998"/>
                <a:gd name="connsiteX24" fmla="*/ 23086 w 208169"/>
                <a:gd name="connsiteY24" fmla="*/ 115775 h 196998"/>
                <a:gd name="connsiteX25" fmla="*/ 6120 w 208169"/>
                <a:gd name="connsiteY25" fmla="*/ 126738 h 196998"/>
                <a:gd name="connsiteX26" fmla="*/ 883 w 208169"/>
                <a:gd name="connsiteY26" fmla="*/ 139673 h 196998"/>
                <a:gd name="connsiteX27" fmla="*/ 10179 w 208169"/>
                <a:gd name="connsiteY27" fmla="*/ 153778 h 196998"/>
                <a:gd name="connsiteX28" fmla="*/ 38591 w 208169"/>
                <a:gd name="connsiteY28" fmla="*/ 164072 h 196998"/>
                <a:gd name="connsiteX29" fmla="*/ 35020 w 208169"/>
                <a:gd name="connsiteY29" fmla="*/ 188204 h 196998"/>
                <a:gd name="connsiteX30" fmla="*/ 85879 w 208169"/>
                <a:gd name="connsiteY30" fmla="*/ 186098 h 19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8169" h="196998">
                  <a:moveTo>
                    <a:pt x="85879" y="186098"/>
                  </a:moveTo>
                  <a:cubicBezTo>
                    <a:pt x="126143" y="187468"/>
                    <a:pt x="164095" y="185095"/>
                    <a:pt x="200625" y="196660"/>
                  </a:cubicBezTo>
                  <a:cubicBezTo>
                    <a:pt x="201153" y="194157"/>
                    <a:pt x="201925" y="191697"/>
                    <a:pt x="202980" y="189307"/>
                  </a:cubicBezTo>
                  <a:lnTo>
                    <a:pt x="205050" y="185296"/>
                  </a:lnTo>
                  <a:cubicBezTo>
                    <a:pt x="209637" y="182555"/>
                    <a:pt x="209109" y="180349"/>
                    <a:pt x="203183" y="178611"/>
                  </a:cubicBezTo>
                  <a:cubicBezTo>
                    <a:pt x="200625" y="172796"/>
                    <a:pt x="184917" y="167949"/>
                    <a:pt x="179722" y="162334"/>
                  </a:cubicBezTo>
                  <a:cubicBezTo>
                    <a:pt x="178586" y="161097"/>
                    <a:pt x="179316" y="159560"/>
                    <a:pt x="179073" y="158190"/>
                  </a:cubicBezTo>
                  <a:cubicBezTo>
                    <a:pt x="178139" y="152975"/>
                    <a:pt x="171685" y="149700"/>
                    <a:pt x="168763" y="145021"/>
                  </a:cubicBezTo>
                  <a:cubicBezTo>
                    <a:pt x="165840" y="140341"/>
                    <a:pt x="160929" y="125835"/>
                    <a:pt x="164704" y="121190"/>
                  </a:cubicBezTo>
                  <a:cubicBezTo>
                    <a:pt x="171685" y="111330"/>
                    <a:pt x="181183" y="102843"/>
                    <a:pt x="192548" y="96322"/>
                  </a:cubicBezTo>
                  <a:cubicBezTo>
                    <a:pt x="182685" y="86897"/>
                    <a:pt x="182401" y="79611"/>
                    <a:pt x="167058" y="72257"/>
                  </a:cubicBezTo>
                  <a:cubicBezTo>
                    <a:pt x="163364" y="70453"/>
                    <a:pt x="144003" y="59122"/>
                    <a:pt x="155693" y="55546"/>
                  </a:cubicBezTo>
                  <a:cubicBezTo>
                    <a:pt x="161335" y="53808"/>
                    <a:pt x="190965" y="57250"/>
                    <a:pt x="192224" y="53808"/>
                  </a:cubicBezTo>
                  <a:cubicBezTo>
                    <a:pt x="192548" y="52905"/>
                    <a:pt x="182928" y="44182"/>
                    <a:pt x="182076" y="42611"/>
                  </a:cubicBezTo>
                  <a:cubicBezTo>
                    <a:pt x="178788" y="36294"/>
                    <a:pt x="180858" y="30077"/>
                    <a:pt x="178382" y="23827"/>
                  </a:cubicBezTo>
                  <a:cubicBezTo>
                    <a:pt x="175135" y="15671"/>
                    <a:pt x="175460" y="1332"/>
                    <a:pt x="156667" y="-339"/>
                  </a:cubicBezTo>
                  <a:cubicBezTo>
                    <a:pt x="153826" y="6346"/>
                    <a:pt x="153258" y="13231"/>
                    <a:pt x="166652" y="16039"/>
                  </a:cubicBezTo>
                  <a:cubicBezTo>
                    <a:pt x="178220" y="18412"/>
                    <a:pt x="166003" y="29609"/>
                    <a:pt x="157885" y="30545"/>
                  </a:cubicBezTo>
                  <a:cubicBezTo>
                    <a:pt x="143678" y="32183"/>
                    <a:pt x="135317" y="45753"/>
                    <a:pt x="133531" y="53172"/>
                  </a:cubicBezTo>
                  <a:cubicBezTo>
                    <a:pt x="131745" y="60593"/>
                    <a:pt x="123262" y="62966"/>
                    <a:pt x="123180" y="70586"/>
                  </a:cubicBezTo>
                  <a:cubicBezTo>
                    <a:pt x="123180" y="73929"/>
                    <a:pt x="111003" y="78107"/>
                    <a:pt x="108974" y="82151"/>
                  </a:cubicBezTo>
                  <a:cubicBezTo>
                    <a:pt x="106701" y="86864"/>
                    <a:pt x="86284" y="115574"/>
                    <a:pt x="78004" y="116009"/>
                  </a:cubicBezTo>
                  <a:cubicBezTo>
                    <a:pt x="77517" y="116009"/>
                    <a:pt x="70941" y="108890"/>
                    <a:pt x="69886" y="108355"/>
                  </a:cubicBezTo>
                  <a:cubicBezTo>
                    <a:pt x="61525" y="103642"/>
                    <a:pt x="58724" y="106383"/>
                    <a:pt x="49591" y="107118"/>
                  </a:cubicBezTo>
                  <a:cubicBezTo>
                    <a:pt x="35872" y="108221"/>
                    <a:pt x="33355" y="109625"/>
                    <a:pt x="23086" y="115775"/>
                  </a:cubicBezTo>
                  <a:cubicBezTo>
                    <a:pt x="19027" y="118215"/>
                    <a:pt x="7134" y="123161"/>
                    <a:pt x="6120" y="126738"/>
                  </a:cubicBezTo>
                  <a:cubicBezTo>
                    <a:pt x="4821" y="131163"/>
                    <a:pt x="3075" y="135492"/>
                    <a:pt x="883" y="139673"/>
                  </a:cubicBezTo>
                  <a:cubicBezTo>
                    <a:pt x="-2445" y="146123"/>
                    <a:pt x="3603" y="148263"/>
                    <a:pt x="10179" y="153778"/>
                  </a:cubicBezTo>
                  <a:cubicBezTo>
                    <a:pt x="19636" y="161799"/>
                    <a:pt x="32503" y="151271"/>
                    <a:pt x="38591" y="164072"/>
                  </a:cubicBezTo>
                  <a:cubicBezTo>
                    <a:pt x="42245" y="172060"/>
                    <a:pt x="29661" y="181653"/>
                    <a:pt x="35020" y="188204"/>
                  </a:cubicBezTo>
                  <a:cubicBezTo>
                    <a:pt x="41189" y="192348"/>
                    <a:pt x="76421" y="187803"/>
                    <a:pt x="85879" y="18609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96F1731D-1806-42EA-BB16-9ECBFE175099}"/>
                </a:ext>
              </a:extLst>
            </p:cNvPr>
            <p:cNvSpPr/>
            <p:nvPr/>
          </p:nvSpPr>
          <p:spPr>
            <a:xfrm>
              <a:off x="5565001" y="4681453"/>
              <a:ext cx="170453" cy="108306"/>
            </a:xfrm>
            <a:custGeom>
              <a:avLst/>
              <a:gdLst>
                <a:gd name="connsiteX0" fmla="*/ 163804 w 170453"/>
                <a:gd name="connsiteY0" fmla="*/ 82566 h 108306"/>
                <a:gd name="connsiteX1" fmla="*/ 168391 w 170453"/>
                <a:gd name="connsiteY1" fmla="*/ 38112 h 108306"/>
                <a:gd name="connsiteX2" fmla="*/ 160801 w 170453"/>
                <a:gd name="connsiteY2" fmla="*/ 12911 h 108306"/>
                <a:gd name="connsiteX3" fmla="*/ 122606 w 170453"/>
                <a:gd name="connsiteY3" fmla="*/ 10137 h 108306"/>
                <a:gd name="connsiteX4" fmla="*/ 92529 w 170453"/>
                <a:gd name="connsiteY4" fmla="*/ 6594 h 108306"/>
                <a:gd name="connsiteX5" fmla="*/ 59732 w 170453"/>
                <a:gd name="connsiteY5" fmla="*/ 4655 h 108306"/>
                <a:gd name="connsiteX6" fmla="*/ 37976 w 170453"/>
                <a:gd name="connsiteY6" fmla="*/ 9201 h 108306"/>
                <a:gd name="connsiteX7" fmla="*/ 21537 w 170453"/>
                <a:gd name="connsiteY7" fmla="*/ 5859 h 108306"/>
                <a:gd name="connsiteX8" fmla="*/ 4774 w 170453"/>
                <a:gd name="connsiteY8" fmla="*/ 9936 h 108306"/>
                <a:gd name="connsiteX9" fmla="*/ 17478 w 170453"/>
                <a:gd name="connsiteY9" fmla="*/ 37110 h 108306"/>
                <a:gd name="connsiteX10" fmla="*/ 7493 w 170453"/>
                <a:gd name="connsiteY10" fmla="*/ 41756 h 108306"/>
                <a:gd name="connsiteX11" fmla="*/ 5504 w 170453"/>
                <a:gd name="connsiteY11" fmla="*/ 55426 h 108306"/>
                <a:gd name="connsiteX12" fmla="*/ 2176 w 170453"/>
                <a:gd name="connsiteY12" fmla="*/ 70868 h 108306"/>
                <a:gd name="connsiteX13" fmla="*/ 9158 w 170453"/>
                <a:gd name="connsiteY13" fmla="*/ 80226 h 108306"/>
                <a:gd name="connsiteX14" fmla="*/ 31685 w 170453"/>
                <a:gd name="connsiteY14" fmla="*/ 88950 h 108306"/>
                <a:gd name="connsiteX15" fmla="*/ 25677 w 170453"/>
                <a:gd name="connsiteY15" fmla="*/ 107968 h 108306"/>
                <a:gd name="connsiteX16" fmla="*/ 82828 w 170453"/>
                <a:gd name="connsiteY16" fmla="*/ 96737 h 108306"/>
                <a:gd name="connsiteX17" fmla="*/ 164008 w 170453"/>
                <a:gd name="connsiteY17" fmla="*/ 91055 h 108306"/>
                <a:gd name="connsiteX18" fmla="*/ 164008 w 170453"/>
                <a:gd name="connsiteY18" fmla="*/ 82666 h 10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0453" h="108306">
                  <a:moveTo>
                    <a:pt x="163804" y="82566"/>
                  </a:moveTo>
                  <a:cubicBezTo>
                    <a:pt x="144159" y="68695"/>
                    <a:pt x="153251" y="52217"/>
                    <a:pt x="168391" y="38112"/>
                  </a:cubicBezTo>
                  <a:cubicBezTo>
                    <a:pt x="174723" y="32196"/>
                    <a:pt x="164332" y="18259"/>
                    <a:pt x="160801" y="12911"/>
                  </a:cubicBezTo>
                  <a:cubicBezTo>
                    <a:pt x="155118" y="4522"/>
                    <a:pt x="134214" y="5391"/>
                    <a:pt x="122606" y="10137"/>
                  </a:cubicBezTo>
                  <a:cubicBezTo>
                    <a:pt x="110997" y="14883"/>
                    <a:pt x="101174" y="13981"/>
                    <a:pt x="92529" y="6594"/>
                  </a:cubicBezTo>
                  <a:cubicBezTo>
                    <a:pt x="85060" y="177"/>
                    <a:pt x="60057" y="5357"/>
                    <a:pt x="59732" y="4655"/>
                  </a:cubicBezTo>
                  <a:cubicBezTo>
                    <a:pt x="53968" y="-7477"/>
                    <a:pt x="47028" y="5892"/>
                    <a:pt x="37976" y="9201"/>
                  </a:cubicBezTo>
                  <a:cubicBezTo>
                    <a:pt x="29858" y="12176"/>
                    <a:pt x="27951" y="7196"/>
                    <a:pt x="21537" y="5859"/>
                  </a:cubicBezTo>
                  <a:cubicBezTo>
                    <a:pt x="13095" y="3987"/>
                    <a:pt x="14313" y="13312"/>
                    <a:pt x="4774" y="9936"/>
                  </a:cubicBezTo>
                  <a:cubicBezTo>
                    <a:pt x="1892" y="20465"/>
                    <a:pt x="8833" y="28587"/>
                    <a:pt x="17478" y="37110"/>
                  </a:cubicBezTo>
                  <a:cubicBezTo>
                    <a:pt x="23486" y="43193"/>
                    <a:pt x="12283" y="41054"/>
                    <a:pt x="7493" y="41756"/>
                  </a:cubicBezTo>
                  <a:cubicBezTo>
                    <a:pt x="593" y="42691"/>
                    <a:pt x="11187" y="51783"/>
                    <a:pt x="5504" y="55426"/>
                  </a:cubicBezTo>
                  <a:cubicBezTo>
                    <a:pt x="-2248" y="60306"/>
                    <a:pt x="2947" y="65085"/>
                    <a:pt x="2176" y="70868"/>
                  </a:cubicBezTo>
                  <a:cubicBezTo>
                    <a:pt x="1162" y="78655"/>
                    <a:pt x="-5089" y="75881"/>
                    <a:pt x="9158" y="80226"/>
                  </a:cubicBezTo>
                  <a:cubicBezTo>
                    <a:pt x="16463" y="82432"/>
                    <a:pt x="27869" y="84137"/>
                    <a:pt x="31685" y="88950"/>
                  </a:cubicBezTo>
                  <a:cubicBezTo>
                    <a:pt x="35500" y="93763"/>
                    <a:pt x="26936" y="103088"/>
                    <a:pt x="25677" y="107968"/>
                  </a:cubicBezTo>
                  <a:cubicBezTo>
                    <a:pt x="44958" y="106965"/>
                    <a:pt x="64603" y="100581"/>
                    <a:pt x="82828" y="96737"/>
                  </a:cubicBezTo>
                  <a:cubicBezTo>
                    <a:pt x="109658" y="91156"/>
                    <a:pt x="136203" y="87646"/>
                    <a:pt x="164008" y="91055"/>
                  </a:cubicBezTo>
                  <a:cubicBezTo>
                    <a:pt x="165671" y="88425"/>
                    <a:pt x="165671" y="85297"/>
                    <a:pt x="164008" y="8266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FF7B2D74-0415-461F-818F-63A9BDD33EF7}"/>
                </a:ext>
              </a:extLst>
            </p:cNvPr>
            <p:cNvSpPr/>
            <p:nvPr/>
          </p:nvSpPr>
          <p:spPr>
            <a:xfrm>
              <a:off x="5715378" y="4664254"/>
              <a:ext cx="122064" cy="110842"/>
            </a:xfrm>
            <a:custGeom>
              <a:avLst/>
              <a:gdLst>
                <a:gd name="connsiteX0" fmla="*/ 101588 w 122064"/>
                <a:gd name="connsiteY0" fmla="*/ 44115 h 110842"/>
                <a:gd name="connsiteX1" fmla="*/ 99640 w 122064"/>
                <a:gd name="connsiteY1" fmla="*/ 20350 h 110842"/>
                <a:gd name="connsiteX2" fmla="*/ 85556 w 122064"/>
                <a:gd name="connsiteY2" fmla="*/ -339 h 110842"/>
                <a:gd name="connsiteX3" fmla="*/ 75530 w 122064"/>
                <a:gd name="connsiteY3" fmla="*/ 3505 h 110842"/>
                <a:gd name="connsiteX4" fmla="*/ 57143 w 122064"/>
                <a:gd name="connsiteY4" fmla="*/ 2870 h 110842"/>
                <a:gd name="connsiteX5" fmla="*/ 10546 w 122064"/>
                <a:gd name="connsiteY5" fmla="*/ 5009 h 110842"/>
                <a:gd name="connsiteX6" fmla="*/ 19638 w 122064"/>
                <a:gd name="connsiteY6" fmla="*/ 52504 h 110842"/>
                <a:gd name="connsiteX7" fmla="*/ 9247 w 122064"/>
                <a:gd name="connsiteY7" fmla="*/ 66943 h 110842"/>
                <a:gd name="connsiteX8" fmla="*/ -8 w 122064"/>
                <a:gd name="connsiteY8" fmla="*/ 81482 h 110842"/>
                <a:gd name="connsiteX9" fmla="*/ 8922 w 122064"/>
                <a:gd name="connsiteY9" fmla="*/ 95420 h 110842"/>
                <a:gd name="connsiteX10" fmla="*/ 21464 w 122064"/>
                <a:gd name="connsiteY10" fmla="*/ 109257 h 110842"/>
                <a:gd name="connsiteX11" fmla="*/ 64571 w 122064"/>
                <a:gd name="connsiteY11" fmla="*/ 104177 h 110842"/>
                <a:gd name="connsiteX12" fmla="*/ 122005 w 122064"/>
                <a:gd name="connsiteY12" fmla="*/ 86496 h 110842"/>
                <a:gd name="connsiteX13" fmla="*/ 101710 w 122064"/>
                <a:gd name="connsiteY13" fmla="*/ 44115 h 11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064" h="110842">
                  <a:moveTo>
                    <a:pt x="101588" y="44115"/>
                  </a:moveTo>
                  <a:cubicBezTo>
                    <a:pt x="96353" y="37129"/>
                    <a:pt x="99194" y="27804"/>
                    <a:pt x="99640" y="20350"/>
                  </a:cubicBezTo>
                  <a:cubicBezTo>
                    <a:pt x="100087" y="12897"/>
                    <a:pt x="88316" y="7416"/>
                    <a:pt x="85556" y="-339"/>
                  </a:cubicBezTo>
                  <a:cubicBezTo>
                    <a:pt x="78696" y="1767"/>
                    <a:pt x="82917" y="4407"/>
                    <a:pt x="75530" y="3505"/>
                  </a:cubicBezTo>
                  <a:cubicBezTo>
                    <a:pt x="69442" y="2940"/>
                    <a:pt x="63272" y="2730"/>
                    <a:pt x="57143" y="2870"/>
                  </a:cubicBezTo>
                  <a:cubicBezTo>
                    <a:pt x="41557" y="2529"/>
                    <a:pt x="25970" y="3244"/>
                    <a:pt x="10546" y="5009"/>
                  </a:cubicBezTo>
                  <a:cubicBezTo>
                    <a:pt x="-2605" y="6814"/>
                    <a:pt x="19192" y="45585"/>
                    <a:pt x="19638" y="52504"/>
                  </a:cubicBezTo>
                  <a:cubicBezTo>
                    <a:pt x="19881" y="56281"/>
                    <a:pt x="10830" y="62531"/>
                    <a:pt x="9247" y="66943"/>
                  </a:cubicBezTo>
                  <a:cubicBezTo>
                    <a:pt x="7420" y="71856"/>
                    <a:pt x="682" y="76536"/>
                    <a:pt x="-8" y="81482"/>
                  </a:cubicBezTo>
                  <a:cubicBezTo>
                    <a:pt x="-698" y="86429"/>
                    <a:pt x="5675" y="91743"/>
                    <a:pt x="8922" y="95420"/>
                  </a:cubicBezTo>
                  <a:cubicBezTo>
                    <a:pt x="14320" y="101503"/>
                    <a:pt x="11114" y="107586"/>
                    <a:pt x="21464" y="109257"/>
                  </a:cubicBezTo>
                  <a:cubicBezTo>
                    <a:pt x="39730" y="112232"/>
                    <a:pt x="46955" y="109625"/>
                    <a:pt x="64571" y="104177"/>
                  </a:cubicBezTo>
                  <a:cubicBezTo>
                    <a:pt x="83445" y="98294"/>
                    <a:pt x="103821" y="92980"/>
                    <a:pt x="122005" y="86496"/>
                  </a:cubicBezTo>
                  <a:cubicBezTo>
                    <a:pt x="109301" y="73126"/>
                    <a:pt x="111980" y="57952"/>
                    <a:pt x="101710" y="4411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84FCD810-6FF8-4430-BB30-E8F0C87D3C40}"/>
                </a:ext>
              </a:extLst>
            </p:cNvPr>
            <p:cNvSpPr/>
            <p:nvPr/>
          </p:nvSpPr>
          <p:spPr>
            <a:xfrm>
              <a:off x="5363720" y="4655981"/>
              <a:ext cx="220179" cy="90441"/>
            </a:xfrm>
            <a:custGeom>
              <a:avLst/>
              <a:gdLst>
                <a:gd name="connsiteX0" fmla="*/ 75924 w 220179"/>
                <a:gd name="connsiteY0" fmla="*/ 54159 h 90441"/>
                <a:gd name="connsiteX1" fmla="*/ 110507 w 220179"/>
                <a:gd name="connsiteY1" fmla="*/ 46806 h 90441"/>
                <a:gd name="connsiteX2" fmla="*/ 132263 w 220179"/>
                <a:gd name="connsiteY2" fmla="*/ 57969 h 90441"/>
                <a:gd name="connsiteX3" fmla="*/ 141436 w 220179"/>
                <a:gd name="connsiteY3" fmla="*/ 72976 h 90441"/>
                <a:gd name="connsiteX4" fmla="*/ 169403 w 220179"/>
                <a:gd name="connsiteY4" fmla="*/ 75784 h 90441"/>
                <a:gd name="connsiteX5" fmla="*/ 182919 w 220179"/>
                <a:gd name="connsiteY5" fmla="*/ 89721 h 90441"/>
                <a:gd name="connsiteX6" fmla="*/ 194081 w 220179"/>
                <a:gd name="connsiteY6" fmla="*/ 81366 h 90441"/>
                <a:gd name="connsiteX7" fmla="*/ 202645 w 220179"/>
                <a:gd name="connsiteY7" fmla="*/ 84340 h 90441"/>
                <a:gd name="connsiteX8" fmla="*/ 210236 w 220179"/>
                <a:gd name="connsiteY8" fmla="*/ 76319 h 90441"/>
                <a:gd name="connsiteX9" fmla="*/ 206177 w 220179"/>
                <a:gd name="connsiteY9" fmla="*/ 68698 h 90441"/>
                <a:gd name="connsiteX10" fmla="*/ 216202 w 220179"/>
                <a:gd name="connsiteY10" fmla="*/ 60242 h 90441"/>
                <a:gd name="connsiteX11" fmla="*/ 213564 w 220179"/>
                <a:gd name="connsiteY11" fmla="*/ 53791 h 90441"/>
                <a:gd name="connsiteX12" fmla="*/ 204919 w 220179"/>
                <a:gd name="connsiteY12" fmla="*/ 47106 h 90441"/>
                <a:gd name="connsiteX13" fmla="*/ 206095 w 220179"/>
                <a:gd name="connsiteY13" fmla="*/ 35375 h 90441"/>
                <a:gd name="connsiteX14" fmla="*/ 198952 w 220179"/>
                <a:gd name="connsiteY14" fmla="*/ 27520 h 90441"/>
                <a:gd name="connsiteX15" fmla="*/ 190225 w 220179"/>
                <a:gd name="connsiteY15" fmla="*/ 23075 h 90441"/>
                <a:gd name="connsiteX16" fmla="*/ 194284 w 220179"/>
                <a:gd name="connsiteY16" fmla="*/ 17192 h 90441"/>
                <a:gd name="connsiteX17" fmla="*/ 184137 w 220179"/>
                <a:gd name="connsiteY17" fmla="*/ 12780 h 90441"/>
                <a:gd name="connsiteX18" fmla="*/ 175653 w 220179"/>
                <a:gd name="connsiteY18" fmla="*/ 2285 h 90441"/>
                <a:gd name="connsiteX19" fmla="*/ 156779 w 220179"/>
                <a:gd name="connsiteY19" fmla="*/ 6229 h 90441"/>
                <a:gd name="connsiteX20" fmla="*/ 132993 w 220179"/>
                <a:gd name="connsiteY20" fmla="*/ 7466 h 90441"/>
                <a:gd name="connsiteX21" fmla="*/ 124875 w 220179"/>
                <a:gd name="connsiteY21" fmla="*/ 11510 h 90441"/>
                <a:gd name="connsiteX22" fmla="*/ 114322 w 220179"/>
                <a:gd name="connsiteY22" fmla="*/ 12279 h 90441"/>
                <a:gd name="connsiteX23" fmla="*/ 105068 w 220179"/>
                <a:gd name="connsiteY23" fmla="*/ 5594 h 90441"/>
                <a:gd name="connsiteX24" fmla="*/ 38014 w 220179"/>
                <a:gd name="connsiteY24" fmla="*/ 5327 h 90441"/>
                <a:gd name="connsiteX25" fmla="*/ 33955 w 220179"/>
                <a:gd name="connsiteY25" fmla="*/ 19966 h 90441"/>
                <a:gd name="connsiteX26" fmla="*/ 12117 w 220179"/>
                <a:gd name="connsiteY26" fmla="*/ 30194 h 90441"/>
                <a:gd name="connsiteX27" fmla="*/ -60 w 220179"/>
                <a:gd name="connsiteY27" fmla="*/ 37547 h 90441"/>
                <a:gd name="connsiteX28" fmla="*/ 16501 w 220179"/>
                <a:gd name="connsiteY28" fmla="*/ 48042 h 90441"/>
                <a:gd name="connsiteX29" fmla="*/ 57618 w 220179"/>
                <a:gd name="connsiteY29" fmla="*/ 68564 h 90441"/>
                <a:gd name="connsiteX30" fmla="*/ 75762 w 220179"/>
                <a:gd name="connsiteY30" fmla="*/ 54192 h 90441"/>
                <a:gd name="connsiteX31" fmla="*/ 75924 w 220179"/>
                <a:gd name="connsiteY31" fmla="*/ 54159 h 9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0179" h="90441">
                  <a:moveTo>
                    <a:pt x="75924" y="54159"/>
                  </a:moveTo>
                  <a:cubicBezTo>
                    <a:pt x="75924" y="51485"/>
                    <a:pt x="105027" y="47240"/>
                    <a:pt x="110507" y="46806"/>
                  </a:cubicBezTo>
                  <a:cubicBezTo>
                    <a:pt x="118625" y="46170"/>
                    <a:pt x="128650" y="54760"/>
                    <a:pt x="132263" y="57969"/>
                  </a:cubicBezTo>
                  <a:cubicBezTo>
                    <a:pt x="136890" y="62047"/>
                    <a:pt x="138514" y="68297"/>
                    <a:pt x="141436" y="72976"/>
                  </a:cubicBezTo>
                  <a:cubicBezTo>
                    <a:pt x="155074" y="70068"/>
                    <a:pt x="163761" y="66626"/>
                    <a:pt x="169403" y="75784"/>
                  </a:cubicBezTo>
                  <a:cubicBezTo>
                    <a:pt x="171594" y="79360"/>
                    <a:pt x="170296" y="92496"/>
                    <a:pt x="182919" y="89721"/>
                  </a:cubicBezTo>
                  <a:cubicBezTo>
                    <a:pt x="188642" y="88518"/>
                    <a:pt x="189048" y="83304"/>
                    <a:pt x="194081" y="81366"/>
                  </a:cubicBezTo>
                  <a:cubicBezTo>
                    <a:pt x="194325" y="81366"/>
                    <a:pt x="202199" y="84240"/>
                    <a:pt x="202645" y="84340"/>
                  </a:cubicBezTo>
                  <a:cubicBezTo>
                    <a:pt x="204229" y="81633"/>
                    <a:pt x="211819" y="79494"/>
                    <a:pt x="210236" y="76319"/>
                  </a:cubicBezTo>
                  <a:cubicBezTo>
                    <a:pt x="208978" y="73812"/>
                    <a:pt x="203985" y="71773"/>
                    <a:pt x="206177" y="68698"/>
                  </a:cubicBezTo>
                  <a:cubicBezTo>
                    <a:pt x="209424" y="64052"/>
                    <a:pt x="228095" y="70135"/>
                    <a:pt x="216202" y="60242"/>
                  </a:cubicBezTo>
                  <a:cubicBezTo>
                    <a:pt x="212874" y="57434"/>
                    <a:pt x="214254" y="56900"/>
                    <a:pt x="213564" y="53791"/>
                  </a:cubicBezTo>
                  <a:cubicBezTo>
                    <a:pt x="212712" y="50048"/>
                    <a:pt x="206583" y="50148"/>
                    <a:pt x="204919" y="47106"/>
                  </a:cubicBezTo>
                  <a:cubicBezTo>
                    <a:pt x="203254" y="44065"/>
                    <a:pt x="204919" y="38985"/>
                    <a:pt x="206095" y="35375"/>
                  </a:cubicBezTo>
                  <a:cubicBezTo>
                    <a:pt x="200819" y="33536"/>
                    <a:pt x="200170" y="30829"/>
                    <a:pt x="198952" y="27520"/>
                  </a:cubicBezTo>
                  <a:cubicBezTo>
                    <a:pt x="197328" y="23208"/>
                    <a:pt x="192823" y="26016"/>
                    <a:pt x="190225" y="23075"/>
                  </a:cubicBezTo>
                  <a:cubicBezTo>
                    <a:pt x="187627" y="20134"/>
                    <a:pt x="195583" y="18329"/>
                    <a:pt x="194284" y="17192"/>
                  </a:cubicBezTo>
                  <a:cubicBezTo>
                    <a:pt x="192255" y="15220"/>
                    <a:pt x="186856" y="14452"/>
                    <a:pt x="184137" y="12780"/>
                  </a:cubicBezTo>
                  <a:cubicBezTo>
                    <a:pt x="180078" y="10307"/>
                    <a:pt x="179266" y="5260"/>
                    <a:pt x="175653" y="2285"/>
                  </a:cubicBezTo>
                  <a:cubicBezTo>
                    <a:pt x="168266" y="-3831"/>
                    <a:pt x="163476" y="2118"/>
                    <a:pt x="156779" y="6229"/>
                  </a:cubicBezTo>
                  <a:cubicBezTo>
                    <a:pt x="147362" y="11878"/>
                    <a:pt x="142410" y="4658"/>
                    <a:pt x="132993" y="7466"/>
                  </a:cubicBezTo>
                  <a:cubicBezTo>
                    <a:pt x="128934" y="8669"/>
                    <a:pt x="130517" y="12212"/>
                    <a:pt x="124875" y="11510"/>
                  </a:cubicBezTo>
                  <a:cubicBezTo>
                    <a:pt x="121344" y="11076"/>
                    <a:pt x="117042" y="9672"/>
                    <a:pt x="114322" y="12279"/>
                  </a:cubicBezTo>
                  <a:cubicBezTo>
                    <a:pt x="109086" y="17192"/>
                    <a:pt x="105189" y="7666"/>
                    <a:pt x="105068" y="5594"/>
                  </a:cubicBezTo>
                  <a:cubicBezTo>
                    <a:pt x="77507" y="13649"/>
                    <a:pt x="63342" y="6096"/>
                    <a:pt x="38014" y="5327"/>
                  </a:cubicBezTo>
                  <a:cubicBezTo>
                    <a:pt x="40124" y="12446"/>
                    <a:pt x="25837" y="13816"/>
                    <a:pt x="33955" y="19966"/>
                  </a:cubicBezTo>
                  <a:cubicBezTo>
                    <a:pt x="38744" y="23643"/>
                    <a:pt x="16785" y="27587"/>
                    <a:pt x="12117" y="30194"/>
                  </a:cubicBezTo>
                  <a:cubicBezTo>
                    <a:pt x="7815" y="32347"/>
                    <a:pt x="3715" y="34807"/>
                    <a:pt x="-60" y="37547"/>
                  </a:cubicBezTo>
                  <a:cubicBezTo>
                    <a:pt x="7206" y="40154"/>
                    <a:pt x="10372" y="44767"/>
                    <a:pt x="16501" y="48042"/>
                  </a:cubicBezTo>
                  <a:cubicBezTo>
                    <a:pt x="30423" y="55462"/>
                    <a:pt x="47349" y="58404"/>
                    <a:pt x="57618" y="68564"/>
                  </a:cubicBezTo>
                  <a:cubicBezTo>
                    <a:pt x="62814" y="65222"/>
                    <a:pt x="75600" y="59039"/>
                    <a:pt x="75762" y="54192"/>
                  </a:cubicBezTo>
                  <a:cubicBezTo>
                    <a:pt x="76046" y="49981"/>
                    <a:pt x="75843" y="57033"/>
                    <a:pt x="75924" y="5415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67C880E9-D9C8-4364-9336-95648F1E3A4D}"/>
                </a:ext>
              </a:extLst>
            </p:cNvPr>
            <p:cNvSpPr/>
            <p:nvPr/>
          </p:nvSpPr>
          <p:spPr>
            <a:xfrm>
              <a:off x="5477923" y="4725595"/>
              <a:ext cx="118376" cy="64026"/>
            </a:xfrm>
            <a:custGeom>
              <a:avLst/>
              <a:gdLst>
                <a:gd name="connsiteX0" fmla="*/ 96235 w 118376"/>
                <a:gd name="connsiteY0" fmla="*/ 35984 h 64026"/>
                <a:gd name="connsiteX1" fmla="*/ 88117 w 118376"/>
                <a:gd name="connsiteY1" fmla="*/ 19071 h 64026"/>
                <a:gd name="connsiteX2" fmla="*/ 64738 w 118376"/>
                <a:gd name="connsiteY2" fmla="*/ 20141 h 64026"/>
                <a:gd name="connsiteX3" fmla="*/ 47650 w 118376"/>
                <a:gd name="connsiteY3" fmla="*/ -315 h 64026"/>
                <a:gd name="connsiteX4" fmla="*/ 27355 w 118376"/>
                <a:gd name="connsiteY4" fmla="*/ 3362 h 64026"/>
                <a:gd name="connsiteX5" fmla="*/ 19237 w 118376"/>
                <a:gd name="connsiteY5" fmla="*/ 17266 h 64026"/>
                <a:gd name="connsiteX6" fmla="*/ 1174 w 118376"/>
                <a:gd name="connsiteY6" fmla="*/ 27628 h 64026"/>
                <a:gd name="connsiteX7" fmla="*/ 21672 w 118376"/>
                <a:gd name="connsiteY7" fmla="*/ 38356 h 64026"/>
                <a:gd name="connsiteX8" fmla="*/ 77280 w 118376"/>
                <a:gd name="connsiteY8" fmla="*/ 56505 h 64026"/>
                <a:gd name="connsiteX9" fmla="*/ 101350 w 118376"/>
                <a:gd name="connsiteY9" fmla="*/ 62756 h 64026"/>
                <a:gd name="connsiteX10" fmla="*/ 116165 w 118376"/>
                <a:gd name="connsiteY10" fmla="*/ 55269 h 64026"/>
                <a:gd name="connsiteX11" fmla="*/ 96317 w 118376"/>
                <a:gd name="connsiteY11" fmla="*/ 35984 h 64026"/>
                <a:gd name="connsiteX12" fmla="*/ 96235 w 118376"/>
                <a:gd name="connsiteY12" fmla="*/ 35984 h 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376" h="64026">
                  <a:moveTo>
                    <a:pt x="96235" y="35984"/>
                  </a:moveTo>
                  <a:cubicBezTo>
                    <a:pt x="79674" y="30937"/>
                    <a:pt x="91568" y="29867"/>
                    <a:pt x="88117" y="19071"/>
                  </a:cubicBezTo>
                  <a:cubicBezTo>
                    <a:pt x="83044" y="2928"/>
                    <a:pt x="76509" y="22046"/>
                    <a:pt x="64738" y="20141"/>
                  </a:cubicBezTo>
                  <a:cubicBezTo>
                    <a:pt x="53738" y="18403"/>
                    <a:pt x="59055" y="-1117"/>
                    <a:pt x="47650" y="-315"/>
                  </a:cubicBezTo>
                  <a:cubicBezTo>
                    <a:pt x="40790" y="471"/>
                    <a:pt x="34011" y="1701"/>
                    <a:pt x="27355" y="3362"/>
                  </a:cubicBezTo>
                  <a:cubicBezTo>
                    <a:pt x="30236" y="7908"/>
                    <a:pt x="24838" y="14091"/>
                    <a:pt x="19237" y="17266"/>
                  </a:cubicBezTo>
                  <a:cubicBezTo>
                    <a:pt x="13635" y="20441"/>
                    <a:pt x="5152" y="23316"/>
                    <a:pt x="1174" y="27628"/>
                  </a:cubicBezTo>
                  <a:cubicBezTo>
                    <a:pt x="-4914" y="34312"/>
                    <a:pt x="13067" y="35716"/>
                    <a:pt x="21672" y="38356"/>
                  </a:cubicBezTo>
                  <a:cubicBezTo>
                    <a:pt x="40465" y="44172"/>
                    <a:pt x="58203" y="50924"/>
                    <a:pt x="77280" y="56505"/>
                  </a:cubicBezTo>
                  <a:cubicBezTo>
                    <a:pt x="85114" y="58812"/>
                    <a:pt x="93069" y="61051"/>
                    <a:pt x="101350" y="62756"/>
                  </a:cubicBezTo>
                  <a:cubicBezTo>
                    <a:pt x="114866" y="65496"/>
                    <a:pt x="112471" y="61953"/>
                    <a:pt x="116165" y="55269"/>
                  </a:cubicBezTo>
                  <a:cubicBezTo>
                    <a:pt x="122943" y="43002"/>
                    <a:pt x="112999" y="41031"/>
                    <a:pt x="96317" y="35984"/>
                  </a:cubicBezTo>
                  <a:cubicBezTo>
                    <a:pt x="87062" y="33176"/>
                    <a:pt x="105449" y="38758"/>
                    <a:pt x="96235" y="3598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B9559B02-8B18-42DA-B1E8-08A7DF6B0188}"/>
                </a:ext>
              </a:extLst>
            </p:cNvPr>
            <p:cNvSpPr/>
            <p:nvPr/>
          </p:nvSpPr>
          <p:spPr>
            <a:xfrm>
              <a:off x="5423580" y="4703095"/>
              <a:ext cx="80456" cy="54210"/>
            </a:xfrm>
            <a:custGeom>
              <a:avLst/>
              <a:gdLst>
                <a:gd name="connsiteX0" fmla="*/ 79749 w 80456"/>
                <a:gd name="connsiteY0" fmla="*/ 34687 h 54210"/>
                <a:gd name="connsiteX1" fmla="*/ 69196 w 80456"/>
                <a:gd name="connsiteY1" fmla="*/ 8282 h 54210"/>
                <a:gd name="connsiteX2" fmla="*/ 50647 w 80456"/>
                <a:gd name="connsiteY2" fmla="*/ -308 h 54210"/>
                <a:gd name="connsiteX3" fmla="*/ 36522 w 80456"/>
                <a:gd name="connsiteY3" fmla="*/ 3034 h 54210"/>
                <a:gd name="connsiteX4" fmla="*/ 17931 w 80456"/>
                <a:gd name="connsiteY4" fmla="*/ 4271 h 54210"/>
                <a:gd name="connsiteX5" fmla="*/ 2751 w 80456"/>
                <a:gd name="connsiteY5" fmla="*/ 18242 h 54210"/>
                <a:gd name="connsiteX6" fmla="*/ 9042 w 80456"/>
                <a:gd name="connsiteY6" fmla="*/ 35255 h 54210"/>
                <a:gd name="connsiteX7" fmla="*/ 52351 w 80456"/>
                <a:gd name="connsiteY7" fmla="*/ 53872 h 54210"/>
                <a:gd name="connsiteX8" fmla="*/ 79749 w 80456"/>
                <a:gd name="connsiteY8" fmla="*/ 34586 h 54210"/>
                <a:gd name="connsiteX9" fmla="*/ 79749 w 80456"/>
                <a:gd name="connsiteY9" fmla="*/ 34687 h 54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456" h="54210">
                  <a:moveTo>
                    <a:pt x="79749" y="34687"/>
                  </a:moveTo>
                  <a:cubicBezTo>
                    <a:pt x="82063" y="24970"/>
                    <a:pt x="78086" y="14957"/>
                    <a:pt x="69196" y="8282"/>
                  </a:cubicBezTo>
                  <a:cubicBezTo>
                    <a:pt x="65746" y="5742"/>
                    <a:pt x="57466" y="-843"/>
                    <a:pt x="50647" y="-308"/>
                  </a:cubicBezTo>
                  <a:cubicBezTo>
                    <a:pt x="45857" y="508"/>
                    <a:pt x="41108" y="1624"/>
                    <a:pt x="36522" y="3034"/>
                  </a:cubicBezTo>
                  <a:cubicBezTo>
                    <a:pt x="30920" y="4405"/>
                    <a:pt x="22762" y="2366"/>
                    <a:pt x="17931" y="4271"/>
                  </a:cubicBezTo>
                  <a:cubicBezTo>
                    <a:pt x="13872" y="5942"/>
                    <a:pt x="7134" y="15435"/>
                    <a:pt x="2751" y="18242"/>
                  </a:cubicBezTo>
                  <a:cubicBezTo>
                    <a:pt x="-4555" y="22988"/>
                    <a:pt x="4131" y="30007"/>
                    <a:pt x="9042" y="35255"/>
                  </a:cubicBezTo>
                  <a:cubicBezTo>
                    <a:pt x="18134" y="45014"/>
                    <a:pt x="36115" y="49259"/>
                    <a:pt x="52351" y="53872"/>
                  </a:cubicBezTo>
                  <a:cubicBezTo>
                    <a:pt x="57466" y="46719"/>
                    <a:pt x="77964" y="41538"/>
                    <a:pt x="79749" y="34586"/>
                  </a:cubicBezTo>
                  <a:cubicBezTo>
                    <a:pt x="80602" y="31210"/>
                    <a:pt x="78857" y="38163"/>
                    <a:pt x="79749" y="346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E211267C-0181-4CCE-A356-BBBEA0EC0CD9}"/>
                </a:ext>
              </a:extLst>
            </p:cNvPr>
            <p:cNvSpPr/>
            <p:nvPr/>
          </p:nvSpPr>
          <p:spPr>
            <a:xfrm>
              <a:off x="5282134" y="4383762"/>
              <a:ext cx="242770" cy="135500"/>
            </a:xfrm>
            <a:custGeom>
              <a:avLst/>
              <a:gdLst>
                <a:gd name="connsiteX0" fmla="*/ 114282 w 242770"/>
                <a:gd name="connsiteY0" fmla="*/ 97827 h 135500"/>
                <a:gd name="connsiteX1" fmla="*/ 140422 w 242770"/>
                <a:gd name="connsiteY1" fmla="*/ 85561 h 135500"/>
                <a:gd name="connsiteX2" fmla="*/ 142776 w 242770"/>
                <a:gd name="connsiteY2" fmla="*/ 71824 h 135500"/>
                <a:gd name="connsiteX3" fmla="*/ 138717 w 242770"/>
                <a:gd name="connsiteY3" fmla="*/ 37163 h 135500"/>
                <a:gd name="connsiteX4" fmla="*/ 230247 w 242770"/>
                <a:gd name="connsiteY4" fmla="*/ 30646 h 135500"/>
                <a:gd name="connsiteX5" fmla="*/ 238690 w 242770"/>
                <a:gd name="connsiteY5" fmla="*/ 4976 h 135500"/>
                <a:gd name="connsiteX6" fmla="*/ 188967 w 242770"/>
                <a:gd name="connsiteY6" fmla="*/ 2002 h 135500"/>
                <a:gd name="connsiteX7" fmla="*/ 102876 w 242770"/>
                <a:gd name="connsiteY7" fmla="*/ 8887 h 135500"/>
                <a:gd name="connsiteX8" fmla="*/ 86356 w 242770"/>
                <a:gd name="connsiteY8" fmla="*/ 28306 h 135500"/>
                <a:gd name="connsiteX9" fmla="*/ 61678 w 242770"/>
                <a:gd name="connsiteY9" fmla="*/ 47190 h 135500"/>
                <a:gd name="connsiteX10" fmla="*/ 37324 w 242770"/>
                <a:gd name="connsiteY10" fmla="*/ 82018 h 135500"/>
                <a:gd name="connsiteX11" fmla="*/ -60 w 242770"/>
                <a:gd name="connsiteY11" fmla="*/ 135161 h 135500"/>
                <a:gd name="connsiteX12" fmla="*/ 87046 w 242770"/>
                <a:gd name="connsiteY12" fmla="*/ 127006 h 135500"/>
                <a:gd name="connsiteX13" fmla="*/ 117570 w 242770"/>
                <a:gd name="connsiteY13" fmla="*/ 124366 h 135500"/>
                <a:gd name="connsiteX14" fmla="*/ 114241 w 242770"/>
                <a:gd name="connsiteY14" fmla="*/ 97827 h 13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70" h="135500">
                  <a:moveTo>
                    <a:pt x="114282" y="97827"/>
                  </a:moveTo>
                  <a:cubicBezTo>
                    <a:pt x="113714" y="93616"/>
                    <a:pt x="135551" y="87800"/>
                    <a:pt x="140422" y="85561"/>
                  </a:cubicBezTo>
                  <a:cubicBezTo>
                    <a:pt x="146876" y="82219"/>
                    <a:pt x="143263" y="75868"/>
                    <a:pt x="142776" y="71824"/>
                  </a:cubicBezTo>
                  <a:cubicBezTo>
                    <a:pt x="141396" y="60259"/>
                    <a:pt x="139975" y="48695"/>
                    <a:pt x="138717" y="37163"/>
                  </a:cubicBezTo>
                  <a:cubicBezTo>
                    <a:pt x="169241" y="35024"/>
                    <a:pt x="199602" y="33153"/>
                    <a:pt x="230247" y="30646"/>
                  </a:cubicBezTo>
                  <a:cubicBezTo>
                    <a:pt x="250826" y="28941"/>
                    <a:pt x="240029" y="13934"/>
                    <a:pt x="238690" y="4976"/>
                  </a:cubicBezTo>
                  <a:cubicBezTo>
                    <a:pt x="227690" y="-3780"/>
                    <a:pt x="207720" y="598"/>
                    <a:pt x="188967" y="2002"/>
                  </a:cubicBezTo>
                  <a:cubicBezTo>
                    <a:pt x="160230" y="4231"/>
                    <a:pt x="131533" y="6524"/>
                    <a:pt x="102876" y="8887"/>
                  </a:cubicBezTo>
                  <a:cubicBezTo>
                    <a:pt x="93663" y="14870"/>
                    <a:pt x="92526" y="21722"/>
                    <a:pt x="86356" y="28306"/>
                  </a:cubicBezTo>
                  <a:cubicBezTo>
                    <a:pt x="80186" y="34891"/>
                    <a:pt x="69430" y="40807"/>
                    <a:pt x="61678" y="47190"/>
                  </a:cubicBezTo>
                  <a:cubicBezTo>
                    <a:pt x="49257" y="57452"/>
                    <a:pt x="48120" y="70754"/>
                    <a:pt x="37324" y="82018"/>
                  </a:cubicBezTo>
                  <a:cubicBezTo>
                    <a:pt x="22265" y="97961"/>
                    <a:pt x="144" y="117046"/>
                    <a:pt x="-60" y="135161"/>
                  </a:cubicBezTo>
                  <a:cubicBezTo>
                    <a:pt x="28962" y="132287"/>
                    <a:pt x="58025" y="129570"/>
                    <a:pt x="87046" y="127006"/>
                  </a:cubicBezTo>
                  <a:cubicBezTo>
                    <a:pt x="91754" y="126571"/>
                    <a:pt x="114160" y="126538"/>
                    <a:pt x="117570" y="124366"/>
                  </a:cubicBezTo>
                  <a:cubicBezTo>
                    <a:pt x="122116" y="121424"/>
                    <a:pt x="114769" y="102072"/>
                    <a:pt x="114241" y="9782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A43C9E47-4778-4BDB-9134-111CDE6A87C1}"/>
                </a:ext>
              </a:extLst>
            </p:cNvPr>
            <p:cNvSpPr/>
            <p:nvPr/>
          </p:nvSpPr>
          <p:spPr>
            <a:xfrm>
              <a:off x="5282418" y="4389077"/>
              <a:ext cx="356516" cy="233063"/>
            </a:xfrm>
            <a:custGeom>
              <a:avLst/>
              <a:gdLst>
                <a:gd name="connsiteX0" fmla="*/ 38744 w 356516"/>
                <a:gd name="connsiteY0" fmla="*/ 213004 h 233063"/>
                <a:gd name="connsiteX1" fmla="*/ 88142 w 356516"/>
                <a:gd name="connsiteY1" fmla="*/ 207222 h 233063"/>
                <a:gd name="connsiteX2" fmla="*/ 108437 w 356516"/>
                <a:gd name="connsiteY2" fmla="*/ 213907 h 233063"/>
                <a:gd name="connsiteX3" fmla="*/ 119923 w 356516"/>
                <a:gd name="connsiteY3" fmla="*/ 217249 h 233063"/>
                <a:gd name="connsiteX4" fmla="*/ 164572 w 356516"/>
                <a:gd name="connsiteY4" fmla="*/ 231554 h 233063"/>
                <a:gd name="connsiteX5" fmla="*/ 173218 w 356516"/>
                <a:gd name="connsiteY5" fmla="*/ 219956 h 233063"/>
                <a:gd name="connsiteX6" fmla="*/ 199642 w 356516"/>
                <a:gd name="connsiteY6" fmla="*/ 221026 h 233063"/>
                <a:gd name="connsiteX7" fmla="*/ 226797 w 356516"/>
                <a:gd name="connsiteY7" fmla="*/ 217683 h 233063"/>
                <a:gd name="connsiteX8" fmla="*/ 240029 w 356516"/>
                <a:gd name="connsiteY8" fmla="*/ 214141 h 233063"/>
                <a:gd name="connsiteX9" fmla="*/ 275504 w 356516"/>
                <a:gd name="connsiteY9" fmla="*/ 211834 h 233063"/>
                <a:gd name="connsiteX10" fmla="*/ 356034 w 356516"/>
                <a:gd name="connsiteY10" fmla="*/ 202309 h 233063"/>
                <a:gd name="connsiteX11" fmla="*/ 343857 w 356516"/>
                <a:gd name="connsiteY11" fmla="*/ 177642 h 233063"/>
                <a:gd name="connsiteX12" fmla="*/ 329854 w 356516"/>
                <a:gd name="connsiteY12" fmla="*/ 127172 h 233063"/>
                <a:gd name="connsiteX13" fmla="*/ 304729 w 356516"/>
                <a:gd name="connsiteY13" fmla="*/ 37931 h 233063"/>
                <a:gd name="connsiteX14" fmla="*/ 355710 w 356516"/>
                <a:gd name="connsiteY14" fmla="*/ 34923 h 233063"/>
                <a:gd name="connsiteX15" fmla="*/ 275099 w 356516"/>
                <a:gd name="connsiteY15" fmla="*/ 10858 h 233063"/>
                <a:gd name="connsiteX16" fmla="*/ 238568 w 356516"/>
                <a:gd name="connsiteY16" fmla="*/ -339 h 233063"/>
                <a:gd name="connsiteX17" fmla="*/ 238243 w 356516"/>
                <a:gd name="connsiteY17" fmla="*/ 24562 h 233063"/>
                <a:gd name="connsiteX18" fmla="*/ 207557 w 356516"/>
                <a:gd name="connsiteY18" fmla="*/ 27002 h 233063"/>
                <a:gd name="connsiteX19" fmla="*/ 138555 w 356516"/>
                <a:gd name="connsiteY19" fmla="*/ 31848 h 233063"/>
                <a:gd name="connsiteX20" fmla="*/ 143547 w 356516"/>
                <a:gd name="connsiteY20" fmla="*/ 73461 h 233063"/>
                <a:gd name="connsiteX21" fmla="*/ 121832 w 356516"/>
                <a:gd name="connsiteY21" fmla="*/ 87666 h 233063"/>
                <a:gd name="connsiteX22" fmla="*/ 116473 w 356516"/>
                <a:gd name="connsiteY22" fmla="*/ 110260 h 233063"/>
                <a:gd name="connsiteX23" fmla="*/ 112780 w 356516"/>
                <a:gd name="connsiteY23" fmla="*/ 119452 h 233063"/>
                <a:gd name="connsiteX24" fmla="*/ 71987 w 356516"/>
                <a:gd name="connsiteY24" fmla="*/ 123028 h 233063"/>
                <a:gd name="connsiteX25" fmla="*/ -60 w 356516"/>
                <a:gd name="connsiteY25" fmla="*/ 129713 h 233063"/>
                <a:gd name="connsiteX26" fmla="*/ 16176 w 356516"/>
                <a:gd name="connsiteY26" fmla="*/ 145656 h 233063"/>
                <a:gd name="connsiteX27" fmla="*/ 25228 w 356516"/>
                <a:gd name="connsiteY27" fmla="*/ 169654 h 233063"/>
                <a:gd name="connsiteX28" fmla="*/ 33670 w 356516"/>
                <a:gd name="connsiteY28" fmla="*/ 195891 h 233063"/>
                <a:gd name="connsiteX29" fmla="*/ 22346 w 356516"/>
                <a:gd name="connsiteY29" fmla="*/ 223299 h 233063"/>
                <a:gd name="connsiteX30" fmla="*/ 39150 w 356516"/>
                <a:gd name="connsiteY30" fmla="*/ 213004 h 23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6516" h="233063">
                  <a:moveTo>
                    <a:pt x="38744" y="213004"/>
                  </a:moveTo>
                  <a:cubicBezTo>
                    <a:pt x="52788" y="213272"/>
                    <a:pt x="75843" y="204882"/>
                    <a:pt x="88142" y="207222"/>
                  </a:cubicBezTo>
                  <a:cubicBezTo>
                    <a:pt x="94677" y="208492"/>
                    <a:pt x="101821" y="214441"/>
                    <a:pt x="108437" y="213907"/>
                  </a:cubicBezTo>
                  <a:cubicBezTo>
                    <a:pt x="117204" y="213138"/>
                    <a:pt x="115621" y="213272"/>
                    <a:pt x="119923" y="217249"/>
                  </a:cubicBezTo>
                  <a:cubicBezTo>
                    <a:pt x="127027" y="223934"/>
                    <a:pt x="152395" y="236635"/>
                    <a:pt x="164572" y="231554"/>
                  </a:cubicBezTo>
                  <a:cubicBezTo>
                    <a:pt x="171554" y="228646"/>
                    <a:pt x="165181" y="222062"/>
                    <a:pt x="173218" y="219956"/>
                  </a:cubicBezTo>
                  <a:cubicBezTo>
                    <a:pt x="182229" y="217550"/>
                    <a:pt x="194731" y="229983"/>
                    <a:pt x="199642" y="221026"/>
                  </a:cubicBezTo>
                  <a:cubicBezTo>
                    <a:pt x="202686" y="215544"/>
                    <a:pt x="219084" y="219188"/>
                    <a:pt x="226797" y="217683"/>
                  </a:cubicBezTo>
                  <a:cubicBezTo>
                    <a:pt x="231099" y="216203"/>
                    <a:pt x="235524" y="215016"/>
                    <a:pt x="240029" y="214141"/>
                  </a:cubicBezTo>
                  <a:lnTo>
                    <a:pt x="275504" y="211834"/>
                  </a:lnTo>
                  <a:cubicBezTo>
                    <a:pt x="288290" y="210898"/>
                    <a:pt x="353558" y="211600"/>
                    <a:pt x="356034" y="202309"/>
                  </a:cubicBezTo>
                  <a:cubicBezTo>
                    <a:pt x="358875" y="191546"/>
                    <a:pt x="346577" y="187669"/>
                    <a:pt x="343857" y="177642"/>
                  </a:cubicBezTo>
                  <a:cubicBezTo>
                    <a:pt x="339230" y="160796"/>
                    <a:pt x="334562" y="143974"/>
                    <a:pt x="329854" y="127172"/>
                  </a:cubicBezTo>
                  <a:cubicBezTo>
                    <a:pt x="321574" y="97382"/>
                    <a:pt x="313212" y="67635"/>
                    <a:pt x="304729" y="37931"/>
                  </a:cubicBezTo>
                  <a:cubicBezTo>
                    <a:pt x="321736" y="36862"/>
                    <a:pt x="338702" y="35859"/>
                    <a:pt x="355710" y="34923"/>
                  </a:cubicBezTo>
                  <a:cubicBezTo>
                    <a:pt x="329001" y="26725"/>
                    <a:pt x="302131" y="18703"/>
                    <a:pt x="275099" y="10858"/>
                  </a:cubicBezTo>
                  <a:cubicBezTo>
                    <a:pt x="265438" y="8051"/>
                    <a:pt x="245062" y="4909"/>
                    <a:pt x="238568" y="-339"/>
                  </a:cubicBezTo>
                  <a:cubicBezTo>
                    <a:pt x="239014" y="2736"/>
                    <a:pt x="245427" y="23693"/>
                    <a:pt x="238243" y="24562"/>
                  </a:cubicBezTo>
                  <a:cubicBezTo>
                    <a:pt x="228136" y="25765"/>
                    <a:pt x="217948" y="26300"/>
                    <a:pt x="207557" y="27002"/>
                  </a:cubicBezTo>
                  <a:lnTo>
                    <a:pt x="138555" y="31848"/>
                  </a:lnTo>
                  <a:lnTo>
                    <a:pt x="143547" y="73461"/>
                  </a:lnTo>
                  <a:cubicBezTo>
                    <a:pt x="144480" y="81248"/>
                    <a:pt x="132263" y="83488"/>
                    <a:pt x="121832" y="87666"/>
                  </a:cubicBezTo>
                  <a:cubicBezTo>
                    <a:pt x="109127" y="92913"/>
                    <a:pt x="115540" y="102773"/>
                    <a:pt x="116473" y="110260"/>
                  </a:cubicBezTo>
                  <a:cubicBezTo>
                    <a:pt x="117001" y="114572"/>
                    <a:pt x="121263" y="118750"/>
                    <a:pt x="112780" y="119452"/>
                  </a:cubicBezTo>
                  <a:lnTo>
                    <a:pt x="71987" y="123028"/>
                  </a:lnTo>
                  <a:cubicBezTo>
                    <a:pt x="47958" y="125257"/>
                    <a:pt x="23929" y="127483"/>
                    <a:pt x="-60" y="129713"/>
                  </a:cubicBezTo>
                  <a:cubicBezTo>
                    <a:pt x="-60" y="137233"/>
                    <a:pt x="6557" y="141544"/>
                    <a:pt x="16176" y="145656"/>
                  </a:cubicBezTo>
                  <a:cubicBezTo>
                    <a:pt x="29368" y="151371"/>
                    <a:pt x="19099" y="161732"/>
                    <a:pt x="25228" y="169654"/>
                  </a:cubicBezTo>
                  <a:cubicBezTo>
                    <a:pt x="32859" y="179681"/>
                    <a:pt x="39921" y="183758"/>
                    <a:pt x="33670" y="195891"/>
                  </a:cubicBezTo>
                  <a:cubicBezTo>
                    <a:pt x="28556" y="205918"/>
                    <a:pt x="22792" y="212603"/>
                    <a:pt x="22346" y="223299"/>
                  </a:cubicBezTo>
                  <a:cubicBezTo>
                    <a:pt x="30707" y="221293"/>
                    <a:pt x="29246" y="212804"/>
                    <a:pt x="39150" y="21300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5FBA3528-9B21-4254-BB5C-E12534C31687}"/>
                </a:ext>
              </a:extLst>
            </p:cNvPr>
            <p:cNvSpPr/>
            <p:nvPr/>
          </p:nvSpPr>
          <p:spPr>
            <a:xfrm>
              <a:off x="5644096" y="4597126"/>
              <a:ext cx="234543" cy="98251"/>
            </a:xfrm>
            <a:custGeom>
              <a:avLst/>
              <a:gdLst>
                <a:gd name="connsiteX0" fmla="*/ 234324 w 234543"/>
                <a:gd name="connsiteY0" fmla="*/ 49475 h 98251"/>
                <a:gd name="connsiteX1" fmla="*/ 220685 w 234543"/>
                <a:gd name="connsiteY1" fmla="*/ 41153 h 98251"/>
                <a:gd name="connsiteX2" fmla="*/ 216626 w 234543"/>
                <a:gd name="connsiteY2" fmla="*/ 37476 h 98251"/>
                <a:gd name="connsiteX3" fmla="*/ 197103 w 234543"/>
                <a:gd name="connsiteY3" fmla="*/ 34468 h 98251"/>
                <a:gd name="connsiteX4" fmla="*/ 188132 w 234543"/>
                <a:gd name="connsiteY4" fmla="*/ 30223 h 98251"/>
                <a:gd name="connsiteX5" fmla="*/ 173520 w 234543"/>
                <a:gd name="connsiteY5" fmla="*/ 18458 h 98251"/>
                <a:gd name="connsiteX6" fmla="*/ 162520 w 234543"/>
                <a:gd name="connsiteY6" fmla="*/ -125 h 98251"/>
                <a:gd name="connsiteX7" fmla="*/ 122824 w 234543"/>
                <a:gd name="connsiteY7" fmla="*/ 5189 h 98251"/>
                <a:gd name="connsiteX8" fmla="*/ 99525 w 234543"/>
                <a:gd name="connsiteY8" fmla="*/ 10938 h 98251"/>
                <a:gd name="connsiteX9" fmla="*/ 87064 w 234543"/>
                <a:gd name="connsiteY9" fmla="*/ 16386 h 98251"/>
                <a:gd name="connsiteX10" fmla="*/ 62710 w 234543"/>
                <a:gd name="connsiteY10" fmla="*/ 26613 h 98251"/>
                <a:gd name="connsiteX11" fmla="*/ 48910 w 234543"/>
                <a:gd name="connsiteY11" fmla="*/ 31861 h 98251"/>
                <a:gd name="connsiteX12" fmla="*/ 36733 w 234543"/>
                <a:gd name="connsiteY12" fmla="*/ 33398 h 98251"/>
                <a:gd name="connsiteX13" fmla="*/ 31497 w 234543"/>
                <a:gd name="connsiteY13" fmla="*/ 46066 h 98251"/>
                <a:gd name="connsiteX14" fmla="*/ 19320 w 234543"/>
                <a:gd name="connsiteY14" fmla="*/ 59201 h 98251"/>
                <a:gd name="connsiteX15" fmla="*/ 3084 w 234543"/>
                <a:gd name="connsiteY15" fmla="*/ 61675 h 98251"/>
                <a:gd name="connsiteX16" fmla="*/ 729 w 234543"/>
                <a:gd name="connsiteY16" fmla="*/ 81729 h 98251"/>
                <a:gd name="connsiteX17" fmla="*/ 13312 w 234543"/>
                <a:gd name="connsiteY17" fmla="*/ 90853 h 98251"/>
                <a:gd name="connsiteX18" fmla="*/ 26991 w 234543"/>
                <a:gd name="connsiteY18" fmla="*/ 97304 h 98251"/>
                <a:gd name="connsiteX19" fmla="*/ 60112 w 234543"/>
                <a:gd name="connsiteY19" fmla="*/ 91021 h 98251"/>
                <a:gd name="connsiteX20" fmla="*/ 81178 w 234543"/>
                <a:gd name="connsiteY20" fmla="*/ 86141 h 98251"/>
                <a:gd name="connsiteX21" fmla="*/ 81706 w 234543"/>
                <a:gd name="connsiteY21" fmla="*/ 72069 h 98251"/>
                <a:gd name="connsiteX22" fmla="*/ 118237 w 234543"/>
                <a:gd name="connsiteY22" fmla="*/ 69997 h 98251"/>
                <a:gd name="connsiteX23" fmla="*/ 146650 w 234543"/>
                <a:gd name="connsiteY23" fmla="*/ 70565 h 98251"/>
                <a:gd name="connsiteX24" fmla="*/ 167229 w 234543"/>
                <a:gd name="connsiteY24" fmla="*/ 66621 h 98251"/>
                <a:gd name="connsiteX25" fmla="*/ 190771 w 234543"/>
                <a:gd name="connsiteY25" fmla="*/ 65685 h 98251"/>
                <a:gd name="connsiteX26" fmla="*/ 207007 w 234543"/>
                <a:gd name="connsiteY26" fmla="*/ 59937 h 98251"/>
                <a:gd name="connsiteX27" fmla="*/ 234202 w 234543"/>
                <a:gd name="connsiteY27" fmla="*/ 49408 h 98251"/>
                <a:gd name="connsiteX28" fmla="*/ 234324 w 234543"/>
                <a:gd name="connsiteY28" fmla="*/ 49475 h 9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4543" h="98251">
                  <a:moveTo>
                    <a:pt x="234324" y="49475"/>
                  </a:moveTo>
                  <a:cubicBezTo>
                    <a:pt x="225800" y="45197"/>
                    <a:pt x="220929" y="48740"/>
                    <a:pt x="220685" y="41153"/>
                  </a:cubicBezTo>
                  <a:cubicBezTo>
                    <a:pt x="220685" y="39247"/>
                    <a:pt x="221741" y="36407"/>
                    <a:pt x="216626" y="37476"/>
                  </a:cubicBezTo>
                  <a:cubicBezTo>
                    <a:pt x="206276" y="39682"/>
                    <a:pt x="204166" y="38813"/>
                    <a:pt x="197103" y="34468"/>
                  </a:cubicBezTo>
                  <a:cubicBezTo>
                    <a:pt x="193409" y="32195"/>
                    <a:pt x="189391" y="33966"/>
                    <a:pt x="188132" y="30223"/>
                  </a:cubicBezTo>
                  <a:cubicBezTo>
                    <a:pt x="186103" y="24073"/>
                    <a:pt x="182572" y="22001"/>
                    <a:pt x="173520" y="18458"/>
                  </a:cubicBezTo>
                  <a:cubicBezTo>
                    <a:pt x="165443" y="14805"/>
                    <a:pt x="161059" y="7361"/>
                    <a:pt x="162520" y="-125"/>
                  </a:cubicBezTo>
                  <a:cubicBezTo>
                    <a:pt x="142226" y="476"/>
                    <a:pt x="140683" y="-2933"/>
                    <a:pt x="122824" y="5189"/>
                  </a:cubicBezTo>
                  <a:cubicBezTo>
                    <a:pt x="115639" y="8531"/>
                    <a:pt x="106588" y="8164"/>
                    <a:pt x="99525" y="10938"/>
                  </a:cubicBezTo>
                  <a:cubicBezTo>
                    <a:pt x="93802" y="13144"/>
                    <a:pt x="97942" y="17622"/>
                    <a:pt x="87064" y="16386"/>
                  </a:cubicBezTo>
                  <a:cubicBezTo>
                    <a:pt x="76835" y="15182"/>
                    <a:pt x="69245" y="22536"/>
                    <a:pt x="62710" y="26613"/>
                  </a:cubicBezTo>
                  <a:cubicBezTo>
                    <a:pt x="56175" y="30691"/>
                    <a:pt x="61736" y="35237"/>
                    <a:pt x="48910" y="31861"/>
                  </a:cubicBezTo>
                  <a:cubicBezTo>
                    <a:pt x="42781" y="30256"/>
                    <a:pt x="39046" y="28719"/>
                    <a:pt x="36733" y="33398"/>
                  </a:cubicBezTo>
                  <a:cubicBezTo>
                    <a:pt x="34419" y="38078"/>
                    <a:pt x="35312" y="41855"/>
                    <a:pt x="31497" y="46066"/>
                  </a:cubicBezTo>
                  <a:cubicBezTo>
                    <a:pt x="27681" y="50277"/>
                    <a:pt x="26951" y="56661"/>
                    <a:pt x="19320" y="59201"/>
                  </a:cubicBezTo>
                  <a:cubicBezTo>
                    <a:pt x="14205" y="60873"/>
                    <a:pt x="8239" y="60171"/>
                    <a:pt x="3084" y="61675"/>
                  </a:cubicBezTo>
                  <a:cubicBezTo>
                    <a:pt x="6169" y="60739"/>
                    <a:pt x="1460" y="80258"/>
                    <a:pt x="729" y="81729"/>
                  </a:cubicBezTo>
                  <a:cubicBezTo>
                    <a:pt x="-2923" y="89483"/>
                    <a:pt x="6940" y="85439"/>
                    <a:pt x="13312" y="90853"/>
                  </a:cubicBezTo>
                  <a:cubicBezTo>
                    <a:pt x="17250" y="93811"/>
                    <a:pt x="21917" y="96017"/>
                    <a:pt x="26991" y="97304"/>
                  </a:cubicBezTo>
                  <a:cubicBezTo>
                    <a:pt x="37788" y="100212"/>
                    <a:pt x="48341" y="91789"/>
                    <a:pt x="60112" y="91021"/>
                  </a:cubicBezTo>
                  <a:cubicBezTo>
                    <a:pt x="70057" y="90385"/>
                    <a:pt x="87632" y="97271"/>
                    <a:pt x="81178" y="86141"/>
                  </a:cubicBezTo>
                  <a:cubicBezTo>
                    <a:pt x="78743" y="81896"/>
                    <a:pt x="70097" y="73674"/>
                    <a:pt x="81706" y="72069"/>
                  </a:cubicBezTo>
                  <a:cubicBezTo>
                    <a:pt x="93802" y="70676"/>
                    <a:pt x="106019" y="69984"/>
                    <a:pt x="118237" y="69997"/>
                  </a:cubicBezTo>
                  <a:cubicBezTo>
                    <a:pt x="127694" y="69553"/>
                    <a:pt x="137233" y="69743"/>
                    <a:pt x="146650" y="70565"/>
                  </a:cubicBezTo>
                  <a:cubicBezTo>
                    <a:pt x="154768" y="71568"/>
                    <a:pt x="154768" y="65619"/>
                    <a:pt x="167229" y="66621"/>
                  </a:cubicBezTo>
                  <a:cubicBezTo>
                    <a:pt x="174738" y="67223"/>
                    <a:pt x="184277" y="69128"/>
                    <a:pt x="190771" y="65685"/>
                  </a:cubicBezTo>
                  <a:cubicBezTo>
                    <a:pt x="196494" y="62644"/>
                    <a:pt x="199132" y="60438"/>
                    <a:pt x="207007" y="59937"/>
                  </a:cubicBezTo>
                  <a:cubicBezTo>
                    <a:pt x="214881" y="59435"/>
                    <a:pt x="237246" y="56594"/>
                    <a:pt x="234202" y="49408"/>
                  </a:cubicBezTo>
                  <a:cubicBezTo>
                    <a:pt x="229818" y="47236"/>
                    <a:pt x="234324" y="49542"/>
                    <a:pt x="234324" y="4947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2772A804-59A5-400F-9B23-E0F91FE6F077}"/>
                </a:ext>
              </a:extLst>
            </p:cNvPr>
            <p:cNvSpPr/>
            <p:nvPr/>
          </p:nvSpPr>
          <p:spPr>
            <a:xfrm>
              <a:off x="5806005" y="4438655"/>
              <a:ext cx="455408" cy="208423"/>
            </a:xfrm>
            <a:custGeom>
              <a:avLst/>
              <a:gdLst>
                <a:gd name="connsiteX0" fmla="*/ 437600 w 455408"/>
                <a:gd name="connsiteY0" fmla="*/ 30400 h 208423"/>
                <a:gd name="connsiteX1" fmla="*/ 436302 w 455408"/>
                <a:gd name="connsiteY1" fmla="*/ 8474 h 208423"/>
                <a:gd name="connsiteX2" fmla="*/ 409269 w 455408"/>
                <a:gd name="connsiteY2" fmla="*/ 13053 h 208423"/>
                <a:gd name="connsiteX3" fmla="*/ 356096 w 455408"/>
                <a:gd name="connsiteY3" fmla="*/ -316 h 208423"/>
                <a:gd name="connsiteX4" fmla="*/ 298012 w 455408"/>
                <a:gd name="connsiteY4" fmla="*/ 17432 h 208423"/>
                <a:gd name="connsiteX5" fmla="*/ 169424 w 455408"/>
                <a:gd name="connsiteY5" fmla="*/ 69974 h 208423"/>
                <a:gd name="connsiteX6" fmla="*/ 138697 w 455408"/>
                <a:gd name="connsiteY6" fmla="*/ 77427 h 208423"/>
                <a:gd name="connsiteX7" fmla="*/ 116413 w 455408"/>
                <a:gd name="connsiteY7" fmla="*/ 81438 h 208423"/>
                <a:gd name="connsiteX8" fmla="*/ 117225 w 455408"/>
                <a:gd name="connsiteY8" fmla="*/ 97247 h 208423"/>
                <a:gd name="connsiteX9" fmla="*/ 84388 w 455408"/>
                <a:gd name="connsiteY9" fmla="*/ 147984 h 208423"/>
                <a:gd name="connsiteX10" fmla="*/ 23503 w 455408"/>
                <a:gd name="connsiteY10" fmla="*/ 155505 h 208423"/>
                <a:gd name="connsiteX11" fmla="*/ -38 w 455408"/>
                <a:gd name="connsiteY11" fmla="*/ 162390 h 208423"/>
                <a:gd name="connsiteX12" fmla="*/ 8080 w 455408"/>
                <a:gd name="connsiteY12" fmla="*/ 174824 h 208423"/>
                <a:gd name="connsiteX13" fmla="*/ 26061 w 455408"/>
                <a:gd name="connsiteY13" fmla="*/ 188795 h 208423"/>
                <a:gd name="connsiteX14" fmla="*/ 43027 w 455408"/>
                <a:gd name="connsiteY14" fmla="*/ 197518 h 208423"/>
                <a:gd name="connsiteX15" fmla="*/ 58532 w 455408"/>
                <a:gd name="connsiteY15" fmla="*/ 199724 h 208423"/>
                <a:gd name="connsiteX16" fmla="*/ 72171 w 455408"/>
                <a:gd name="connsiteY16" fmla="*/ 208047 h 208423"/>
                <a:gd name="connsiteX17" fmla="*/ 82196 w 455408"/>
                <a:gd name="connsiteY17" fmla="*/ 199858 h 208423"/>
                <a:gd name="connsiteX18" fmla="*/ 91979 w 455408"/>
                <a:gd name="connsiteY18" fmla="*/ 207679 h 208423"/>
                <a:gd name="connsiteX19" fmla="*/ 116333 w 455408"/>
                <a:gd name="connsiteY19" fmla="*/ 191903 h 208423"/>
                <a:gd name="connsiteX20" fmla="*/ 138982 w 455408"/>
                <a:gd name="connsiteY20" fmla="*/ 176829 h 208423"/>
                <a:gd name="connsiteX21" fmla="*/ 156232 w 455408"/>
                <a:gd name="connsiteY21" fmla="*/ 175392 h 208423"/>
                <a:gd name="connsiteX22" fmla="*/ 172468 w 455408"/>
                <a:gd name="connsiteY22" fmla="*/ 175225 h 208423"/>
                <a:gd name="connsiteX23" fmla="*/ 193006 w 455408"/>
                <a:gd name="connsiteY23" fmla="*/ 179904 h 208423"/>
                <a:gd name="connsiteX24" fmla="*/ 206685 w 455408"/>
                <a:gd name="connsiteY24" fmla="*/ 186187 h 208423"/>
                <a:gd name="connsiteX25" fmla="*/ 249507 w 455408"/>
                <a:gd name="connsiteY25" fmla="*/ 187625 h 208423"/>
                <a:gd name="connsiteX26" fmla="*/ 291964 w 455408"/>
                <a:gd name="connsiteY26" fmla="*/ 183547 h 208423"/>
                <a:gd name="connsiteX27" fmla="*/ 340672 w 455408"/>
                <a:gd name="connsiteY27" fmla="*/ 180940 h 208423"/>
                <a:gd name="connsiteX28" fmla="*/ 381952 w 455408"/>
                <a:gd name="connsiteY28" fmla="*/ 175024 h 208423"/>
                <a:gd name="connsiteX29" fmla="*/ 390070 w 455408"/>
                <a:gd name="connsiteY29" fmla="*/ 173620 h 208423"/>
                <a:gd name="connsiteX30" fmla="*/ 390760 w 455408"/>
                <a:gd name="connsiteY30" fmla="*/ 163994 h 208423"/>
                <a:gd name="connsiteX31" fmla="*/ 396605 w 455408"/>
                <a:gd name="connsiteY31" fmla="*/ 153566 h 208423"/>
                <a:gd name="connsiteX32" fmla="*/ 443242 w 455408"/>
                <a:gd name="connsiteY32" fmla="*/ 120142 h 208423"/>
                <a:gd name="connsiteX33" fmla="*/ 448560 w 455408"/>
                <a:gd name="connsiteY33" fmla="*/ 82173 h 208423"/>
                <a:gd name="connsiteX34" fmla="*/ 455216 w 455408"/>
                <a:gd name="connsiteY34" fmla="*/ 55902 h 208423"/>
                <a:gd name="connsiteX35" fmla="*/ 437600 w 455408"/>
                <a:gd name="connsiteY35" fmla="*/ 30400 h 208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55408" h="208423">
                  <a:moveTo>
                    <a:pt x="437600" y="30400"/>
                  </a:moveTo>
                  <a:cubicBezTo>
                    <a:pt x="437600" y="23080"/>
                    <a:pt x="436829" y="15761"/>
                    <a:pt x="436302" y="8474"/>
                  </a:cubicBezTo>
                  <a:cubicBezTo>
                    <a:pt x="428184" y="10814"/>
                    <a:pt x="415438" y="17599"/>
                    <a:pt x="409269" y="13053"/>
                  </a:cubicBezTo>
                  <a:cubicBezTo>
                    <a:pt x="395468" y="3026"/>
                    <a:pt x="377568" y="319"/>
                    <a:pt x="356096" y="-316"/>
                  </a:cubicBezTo>
                  <a:cubicBezTo>
                    <a:pt x="337019" y="-951"/>
                    <a:pt x="313355" y="11950"/>
                    <a:pt x="298012" y="17432"/>
                  </a:cubicBezTo>
                  <a:cubicBezTo>
                    <a:pt x="253850" y="32693"/>
                    <a:pt x="210906" y="50244"/>
                    <a:pt x="169424" y="69974"/>
                  </a:cubicBezTo>
                  <a:cubicBezTo>
                    <a:pt x="161306" y="73951"/>
                    <a:pt x="148683" y="75388"/>
                    <a:pt x="138697" y="77427"/>
                  </a:cubicBezTo>
                  <a:cubicBezTo>
                    <a:pt x="131310" y="78965"/>
                    <a:pt x="123963" y="80335"/>
                    <a:pt x="116413" y="81438"/>
                  </a:cubicBezTo>
                  <a:cubicBezTo>
                    <a:pt x="116738" y="86719"/>
                    <a:pt x="117022" y="91966"/>
                    <a:pt x="117225" y="97247"/>
                  </a:cubicBezTo>
                  <a:cubicBezTo>
                    <a:pt x="117915" y="113224"/>
                    <a:pt x="122868" y="144809"/>
                    <a:pt x="84388" y="147984"/>
                  </a:cubicBezTo>
                  <a:cubicBezTo>
                    <a:pt x="66407" y="149455"/>
                    <a:pt x="38846" y="149622"/>
                    <a:pt x="23503" y="155505"/>
                  </a:cubicBezTo>
                  <a:cubicBezTo>
                    <a:pt x="14331" y="159081"/>
                    <a:pt x="530" y="155237"/>
                    <a:pt x="-38" y="162390"/>
                  </a:cubicBezTo>
                  <a:cubicBezTo>
                    <a:pt x="-404" y="166902"/>
                    <a:pt x="4021" y="171113"/>
                    <a:pt x="8080" y="174824"/>
                  </a:cubicBezTo>
                  <a:cubicBezTo>
                    <a:pt x="14493" y="180873"/>
                    <a:pt x="23463" y="180940"/>
                    <a:pt x="26061" y="188795"/>
                  </a:cubicBezTo>
                  <a:cubicBezTo>
                    <a:pt x="26751" y="190867"/>
                    <a:pt x="39577" y="196883"/>
                    <a:pt x="43027" y="197518"/>
                  </a:cubicBezTo>
                  <a:cubicBezTo>
                    <a:pt x="51470" y="199089"/>
                    <a:pt x="58248" y="192137"/>
                    <a:pt x="58532" y="199724"/>
                  </a:cubicBezTo>
                  <a:cubicBezTo>
                    <a:pt x="58817" y="207311"/>
                    <a:pt x="63647" y="203768"/>
                    <a:pt x="72171" y="208047"/>
                  </a:cubicBezTo>
                  <a:cubicBezTo>
                    <a:pt x="70507" y="204270"/>
                    <a:pt x="73673" y="198621"/>
                    <a:pt x="82196" y="199858"/>
                  </a:cubicBezTo>
                  <a:cubicBezTo>
                    <a:pt x="89909" y="200994"/>
                    <a:pt x="85038" y="206075"/>
                    <a:pt x="91979" y="207679"/>
                  </a:cubicBezTo>
                  <a:cubicBezTo>
                    <a:pt x="104845" y="210620"/>
                    <a:pt x="108580" y="196783"/>
                    <a:pt x="116333" y="191903"/>
                  </a:cubicBezTo>
                  <a:cubicBezTo>
                    <a:pt x="127860" y="184750"/>
                    <a:pt x="112841" y="175559"/>
                    <a:pt x="138982" y="176829"/>
                  </a:cubicBezTo>
                  <a:cubicBezTo>
                    <a:pt x="145882" y="177163"/>
                    <a:pt x="150753" y="178467"/>
                    <a:pt x="156232" y="175392"/>
                  </a:cubicBezTo>
                  <a:cubicBezTo>
                    <a:pt x="163457" y="171314"/>
                    <a:pt x="164350" y="174322"/>
                    <a:pt x="172468" y="175225"/>
                  </a:cubicBezTo>
                  <a:cubicBezTo>
                    <a:pt x="180586" y="176127"/>
                    <a:pt x="188014" y="174690"/>
                    <a:pt x="193006" y="179904"/>
                  </a:cubicBezTo>
                  <a:cubicBezTo>
                    <a:pt x="195523" y="182544"/>
                    <a:pt x="199338" y="188861"/>
                    <a:pt x="206685" y="186187"/>
                  </a:cubicBezTo>
                  <a:cubicBezTo>
                    <a:pt x="223976" y="179837"/>
                    <a:pt x="233840" y="182310"/>
                    <a:pt x="249507" y="187625"/>
                  </a:cubicBezTo>
                  <a:cubicBezTo>
                    <a:pt x="263633" y="191923"/>
                    <a:pt x="279422" y="190406"/>
                    <a:pt x="291964" y="183547"/>
                  </a:cubicBezTo>
                  <a:cubicBezTo>
                    <a:pt x="300569" y="179202"/>
                    <a:pt x="330240" y="177899"/>
                    <a:pt x="340672" y="180940"/>
                  </a:cubicBezTo>
                  <a:cubicBezTo>
                    <a:pt x="362388" y="187357"/>
                    <a:pt x="366244" y="183313"/>
                    <a:pt x="381952" y="175024"/>
                  </a:cubicBezTo>
                  <a:cubicBezTo>
                    <a:pt x="384306" y="173620"/>
                    <a:pt x="387229" y="173109"/>
                    <a:pt x="390070" y="173620"/>
                  </a:cubicBezTo>
                  <a:cubicBezTo>
                    <a:pt x="390110" y="170405"/>
                    <a:pt x="390313" y="167190"/>
                    <a:pt x="390760" y="163994"/>
                  </a:cubicBezTo>
                  <a:cubicBezTo>
                    <a:pt x="391693" y="160385"/>
                    <a:pt x="395468" y="157309"/>
                    <a:pt x="396605" y="153566"/>
                  </a:cubicBezTo>
                  <a:cubicBezTo>
                    <a:pt x="400217" y="141400"/>
                    <a:pt x="427859" y="128031"/>
                    <a:pt x="443242" y="120142"/>
                  </a:cubicBezTo>
                  <a:cubicBezTo>
                    <a:pt x="453999" y="114761"/>
                    <a:pt x="448357" y="90061"/>
                    <a:pt x="448560" y="82173"/>
                  </a:cubicBezTo>
                  <a:cubicBezTo>
                    <a:pt x="448844" y="73550"/>
                    <a:pt x="456434" y="64058"/>
                    <a:pt x="455216" y="55902"/>
                  </a:cubicBezTo>
                  <a:cubicBezTo>
                    <a:pt x="453999" y="47747"/>
                    <a:pt x="437479" y="38054"/>
                    <a:pt x="437600" y="3040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C9E40864-22CC-4556-89E1-B44477304386}"/>
                </a:ext>
              </a:extLst>
            </p:cNvPr>
            <p:cNvSpPr/>
            <p:nvPr/>
          </p:nvSpPr>
          <p:spPr>
            <a:xfrm>
              <a:off x="6195863" y="4439773"/>
              <a:ext cx="299337" cy="282878"/>
            </a:xfrm>
            <a:custGeom>
              <a:avLst/>
              <a:gdLst>
                <a:gd name="connsiteX0" fmla="*/ 299278 w 299337"/>
                <a:gd name="connsiteY0" fmla="*/ 76343 h 282878"/>
                <a:gd name="connsiteX1" fmla="*/ 159121 w 299337"/>
                <a:gd name="connsiteY1" fmla="*/ 27712 h 282878"/>
                <a:gd name="connsiteX2" fmla="*/ 83381 w 299337"/>
                <a:gd name="connsiteY2" fmla="*/ 2678 h 282878"/>
                <a:gd name="connsiteX3" fmla="*/ 72624 w 299337"/>
                <a:gd name="connsiteY3" fmla="*/ -230 h 282878"/>
                <a:gd name="connsiteX4" fmla="*/ 53466 w 299337"/>
                <a:gd name="connsiteY4" fmla="*/ 5285 h 282878"/>
                <a:gd name="connsiteX5" fmla="*/ 47337 w 299337"/>
                <a:gd name="connsiteY5" fmla="*/ 20492 h 282878"/>
                <a:gd name="connsiteX6" fmla="*/ 52248 w 299337"/>
                <a:gd name="connsiteY6" fmla="*/ 34697 h 282878"/>
                <a:gd name="connsiteX7" fmla="*/ 62193 w 299337"/>
                <a:gd name="connsiteY7" fmla="*/ 50540 h 282878"/>
                <a:gd name="connsiteX8" fmla="*/ 58905 w 299337"/>
                <a:gd name="connsiteY8" fmla="*/ 83563 h 282878"/>
                <a:gd name="connsiteX9" fmla="*/ 56632 w 299337"/>
                <a:gd name="connsiteY9" fmla="*/ 113276 h 282878"/>
                <a:gd name="connsiteX10" fmla="*/ 36337 w 299337"/>
                <a:gd name="connsiteY10" fmla="*/ 128952 h 282878"/>
                <a:gd name="connsiteX11" fmla="*/ 14500 w 299337"/>
                <a:gd name="connsiteY11" fmla="*/ 182430 h 282878"/>
                <a:gd name="connsiteX12" fmla="*/ 33455 w 299337"/>
                <a:gd name="connsiteY12" fmla="*/ 191287 h 282878"/>
                <a:gd name="connsiteX13" fmla="*/ 38367 w 299337"/>
                <a:gd name="connsiteY13" fmla="*/ 204656 h 282878"/>
                <a:gd name="connsiteX14" fmla="*/ 41614 w 299337"/>
                <a:gd name="connsiteY14" fmla="*/ 222304 h 282878"/>
                <a:gd name="connsiteX15" fmla="*/ 53425 w 299337"/>
                <a:gd name="connsiteY15" fmla="*/ 237311 h 282878"/>
                <a:gd name="connsiteX16" fmla="*/ 15190 w 299337"/>
                <a:gd name="connsiteY16" fmla="*/ 240252 h 282878"/>
                <a:gd name="connsiteX17" fmla="*/ 42750 w 299337"/>
                <a:gd name="connsiteY17" fmla="*/ 263850 h 282878"/>
                <a:gd name="connsiteX18" fmla="*/ 72381 w 299337"/>
                <a:gd name="connsiteY18" fmla="*/ 277854 h 282878"/>
                <a:gd name="connsiteX19" fmla="*/ 84883 w 299337"/>
                <a:gd name="connsiteY19" fmla="*/ 278990 h 282878"/>
                <a:gd name="connsiteX20" fmla="*/ 104447 w 299337"/>
                <a:gd name="connsiteY20" fmla="*/ 274879 h 282878"/>
                <a:gd name="connsiteX21" fmla="*/ 144347 w 299337"/>
                <a:gd name="connsiteY21" fmla="*/ 267493 h 282878"/>
                <a:gd name="connsiteX22" fmla="*/ 147715 w 299337"/>
                <a:gd name="connsiteY22" fmla="*/ 258970 h 282878"/>
                <a:gd name="connsiteX23" fmla="*/ 170446 w 299337"/>
                <a:gd name="connsiteY23" fmla="*/ 256664 h 282878"/>
                <a:gd name="connsiteX24" fmla="*/ 217814 w 299337"/>
                <a:gd name="connsiteY24" fmla="*/ 238448 h 282878"/>
                <a:gd name="connsiteX25" fmla="*/ 227231 w 299337"/>
                <a:gd name="connsiteY25" fmla="*/ 229056 h 282878"/>
                <a:gd name="connsiteX26" fmla="*/ 256537 w 299337"/>
                <a:gd name="connsiteY26" fmla="*/ 225279 h 282878"/>
                <a:gd name="connsiteX27" fmla="*/ 259053 w 299337"/>
                <a:gd name="connsiteY27" fmla="*/ 218594 h 282878"/>
                <a:gd name="connsiteX28" fmla="*/ 249352 w 299337"/>
                <a:gd name="connsiteY28" fmla="*/ 211909 h 282878"/>
                <a:gd name="connsiteX29" fmla="*/ 245821 w 299337"/>
                <a:gd name="connsiteY29" fmla="*/ 194696 h 282878"/>
                <a:gd name="connsiteX30" fmla="*/ 238149 w 299337"/>
                <a:gd name="connsiteY30" fmla="*/ 183833 h 282878"/>
                <a:gd name="connsiteX31" fmla="*/ 236729 w 299337"/>
                <a:gd name="connsiteY31" fmla="*/ 174809 h 282878"/>
                <a:gd name="connsiteX32" fmla="*/ 247242 w 299337"/>
                <a:gd name="connsiteY32" fmla="*/ 169227 h 282878"/>
                <a:gd name="connsiteX33" fmla="*/ 254061 w 299337"/>
                <a:gd name="connsiteY33" fmla="*/ 159200 h 282878"/>
                <a:gd name="connsiteX34" fmla="*/ 266765 w 299337"/>
                <a:gd name="connsiteY34" fmla="*/ 147067 h 282878"/>
                <a:gd name="connsiteX35" fmla="*/ 295178 w 299337"/>
                <a:gd name="connsiteY35" fmla="*/ 135804 h 282878"/>
                <a:gd name="connsiteX36" fmla="*/ 296518 w 299337"/>
                <a:gd name="connsiteY36" fmla="*/ 119292 h 282878"/>
                <a:gd name="connsiteX37" fmla="*/ 299278 w 299337"/>
                <a:gd name="connsiteY37" fmla="*/ 76343 h 28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9337" h="282878">
                  <a:moveTo>
                    <a:pt x="299278" y="76343"/>
                  </a:moveTo>
                  <a:cubicBezTo>
                    <a:pt x="252924" y="59765"/>
                    <a:pt x="206205" y="43555"/>
                    <a:pt x="159121" y="27712"/>
                  </a:cubicBezTo>
                  <a:cubicBezTo>
                    <a:pt x="133996" y="19266"/>
                    <a:pt x="108749" y="10923"/>
                    <a:pt x="83381" y="2678"/>
                  </a:cubicBezTo>
                  <a:cubicBezTo>
                    <a:pt x="81229" y="1976"/>
                    <a:pt x="75263" y="-932"/>
                    <a:pt x="72624" y="-230"/>
                  </a:cubicBezTo>
                  <a:lnTo>
                    <a:pt x="53466" y="5285"/>
                  </a:lnTo>
                  <a:cubicBezTo>
                    <a:pt x="42385" y="8627"/>
                    <a:pt x="46891" y="13707"/>
                    <a:pt x="47337" y="20492"/>
                  </a:cubicBezTo>
                  <a:cubicBezTo>
                    <a:pt x="47662" y="25807"/>
                    <a:pt x="46687" y="30118"/>
                    <a:pt x="52248" y="34697"/>
                  </a:cubicBezTo>
                  <a:cubicBezTo>
                    <a:pt x="58621" y="39911"/>
                    <a:pt x="56794" y="45727"/>
                    <a:pt x="62193" y="50540"/>
                  </a:cubicBezTo>
                  <a:cubicBezTo>
                    <a:pt x="70757" y="58161"/>
                    <a:pt x="59189" y="73937"/>
                    <a:pt x="58905" y="83563"/>
                  </a:cubicBezTo>
                  <a:cubicBezTo>
                    <a:pt x="58864" y="93496"/>
                    <a:pt x="58093" y="103416"/>
                    <a:pt x="56632" y="113276"/>
                  </a:cubicBezTo>
                  <a:cubicBezTo>
                    <a:pt x="55333" y="120529"/>
                    <a:pt x="44699" y="123872"/>
                    <a:pt x="36337" y="128952"/>
                  </a:cubicBezTo>
                  <a:cubicBezTo>
                    <a:pt x="17422" y="140450"/>
                    <a:pt x="-21097" y="169060"/>
                    <a:pt x="14500" y="182430"/>
                  </a:cubicBezTo>
                  <a:cubicBezTo>
                    <a:pt x="22983" y="185772"/>
                    <a:pt x="28057" y="185003"/>
                    <a:pt x="33455" y="191287"/>
                  </a:cubicBezTo>
                  <a:cubicBezTo>
                    <a:pt x="37514" y="195833"/>
                    <a:pt x="36175" y="199910"/>
                    <a:pt x="38367" y="204656"/>
                  </a:cubicBezTo>
                  <a:cubicBezTo>
                    <a:pt x="41127" y="210539"/>
                    <a:pt x="39503" y="216388"/>
                    <a:pt x="41614" y="222304"/>
                  </a:cubicBezTo>
                  <a:cubicBezTo>
                    <a:pt x="42548" y="224911"/>
                    <a:pt x="53791" y="235874"/>
                    <a:pt x="53425" y="237311"/>
                  </a:cubicBezTo>
                  <a:cubicBezTo>
                    <a:pt x="51558" y="242124"/>
                    <a:pt x="15312" y="234203"/>
                    <a:pt x="15190" y="240252"/>
                  </a:cubicBezTo>
                  <a:cubicBezTo>
                    <a:pt x="15190" y="252987"/>
                    <a:pt x="32360" y="254123"/>
                    <a:pt x="42750" y="263850"/>
                  </a:cubicBezTo>
                  <a:cubicBezTo>
                    <a:pt x="49123" y="269799"/>
                    <a:pt x="54927" y="292126"/>
                    <a:pt x="72381" y="277854"/>
                  </a:cubicBezTo>
                  <a:cubicBezTo>
                    <a:pt x="76440" y="274512"/>
                    <a:pt x="80864" y="277854"/>
                    <a:pt x="84883" y="278990"/>
                  </a:cubicBezTo>
                  <a:cubicBezTo>
                    <a:pt x="88901" y="280127"/>
                    <a:pt x="99170" y="275381"/>
                    <a:pt x="104447" y="274879"/>
                  </a:cubicBezTo>
                  <a:cubicBezTo>
                    <a:pt x="118085" y="273950"/>
                    <a:pt x="131520" y="271463"/>
                    <a:pt x="144347" y="267493"/>
                  </a:cubicBezTo>
                  <a:cubicBezTo>
                    <a:pt x="153357" y="264585"/>
                    <a:pt x="146863" y="263415"/>
                    <a:pt x="147715" y="258970"/>
                  </a:cubicBezTo>
                  <a:cubicBezTo>
                    <a:pt x="148568" y="254524"/>
                    <a:pt x="166143" y="256563"/>
                    <a:pt x="170446" y="256664"/>
                  </a:cubicBezTo>
                  <a:cubicBezTo>
                    <a:pt x="191836" y="257131"/>
                    <a:pt x="202917" y="245935"/>
                    <a:pt x="217814" y="238448"/>
                  </a:cubicBezTo>
                  <a:cubicBezTo>
                    <a:pt x="223334" y="235673"/>
                    <a:pt x="222117" y="231763"/>
                    <a:pt x="227231" y="229056"/>
                  </a:cubicBezTo>
                  <a:cubicBezTo>
                    <a:pt x="237459" y="223574"/>
                    <a:pt x="244319" y="224477"/>
                    <a:pt x="256537" y="225279"/>
                  </a:cubicBezTo>
                  <a:cubicBezTo>
                    <a:pt x="254507" y="223674"/>
                    <a:pt x="258120" y="220198"/>
                    <a:pt x="259053" y="218594"/>
                  </a:cubicBezTo>
                  <a:cubicBezTo>
                    <a:pt x="259987" y="216990"/>
                    <a:pt x="251706" y="213982"/>
                    <a:pt x="249352" y="211909"/>
                  </a:cubicBezTo>
                  <a:cubicBezTo>
                    <a:pt x="242574" y="206461"/>
                    <a:pt x="251788" y="199543"/>
                    <a:pt x="245821" y="194696"/>
                  </a:cubicBezTo>
                  <a:cubicBezTo>
                    <a:pt x="241194" y="190919"/>
                    <a:pt x="224552" y="191020"/>
                    <a:pt x="238149" y="183833"/>
                  </a:cubicBezTo>
                  <a:cubicBezTo>
                    <a:pt x="242655" y="181494"/>
                    <a:pt x="238149" y="177383"/>
                    <a:pt x="236729" y="174809"/>
                  </a:cubicBezTo>
                  <a:cubicBezTo>
                    <a:pt x="233441" y="169561"/>
                    <a:pt x="244400" y="172737"/>
                    <a:pt x="247242" y="169227"/>
                  </a:cubicBezTo>
                  <a:cubicBezTo>
                    <a:pt x="249393" y="166620"/>
                    <a:pt x="247242" y="159702"/>
                    <a:pt x="254061" y="159200"/>
                  </a:cubicBezTo>
                  <a:cubicBezTo>
                    <a:pt x="267293" y="158198"/>
                    <a:pt x="261489" y="151513"/>
                    <a:pt x="266765" y="147067"/>
                  </a:cubicBezTo>
                  <a:cubicBezTo>
                    <a:pt x="274558" y="140383"/>
                    <a:pt x="292864" y="144494"/>
                    <a:pt x="295178" y="135804"/>
                  </a:cubicBezTo>
                  <a:cubicBezTo>
                    <a:pt x="296152" y="130339"/>
                    <a:pt x="296639" y="124817"/>
                    <a:pt x="296518" y="119292"/>
                  </a:cubicBezTo>
                  <a:cubicBezTo>
                    <a:pt x="297410" y="104964"/>
                    <a:pt x="298344" y="90648"/>
                    <a:pt x="299278" y="7634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E8CDD5EA-C3ED-4B48-AB2B-18741BF7FBA6}"/>
                </a:ext>
              </a:extLst>
            </p:cNvPr>
            <p:cNvSpPr/>
            <p:nvPr/>
          </p:nvSpPr>
          <p:spPr>
            <a:xfrm>
              <a:off x="6524787" y="4291648"/>
              <a:ext cx="322605" cy="201383"/>
            </a:xfrm>
            <a:custGeom>
              <a:avLst/>
              <a:gdLst>
                <a:gd name="connsiteX0" fmla="*/ 315326 w 322605"/>
                <a:gd name="connsiteY0" fmla="*/ 59122 h 201383"/>
                <a:gd name="connsiteX1" fmla="*/ 296817 w 322605"/>
                <a:gd name="connsiteY1" fmla="*/ 27470 h 201383"/>
                <a:gd name="connsiteX2" fmla="*/ 268891 w 322605"/>
                <a:gd name="connsiteY2" fmla="*/ 26500 h 201383"/>
                <a:gd name="connsiteX3" fmla="*/ 222050 w 322605"/>
                <a:gd name="connsiteY3" fmla="*/ 19013 h 201383"/>
                <a:gd name="connsiteX4" fmla="*/ 162628 w 322605"/>
                <a:gd name="connsiteY4" fmla="*/ 18646 h 201383"/>
                <a:gd name="connsiteX5" fmla="*/ 138558 w 322605"/>
                <a:gd name="connsiteY5" fmla="*/ 23158 h 201383"/>
                <a:gd name="connsiteX6" fmla="*/ 98779 w 322605"/>
                <a:gd name="connsiteY6" fmla="*/ 13666 h 201383"/>
                <a:gd name="connsiteX7" fmla="*/ 20279 w 322605"/>
                <a:gd name="connsiteY7" fmla="*/ -339 h 201383"/>
                <a:gd name="connsiteX8" fmla="*/ 15490 w 322605"/>
                <a:gd name="connsiteY8" fmla="*/ 17443 h 201383"/>
                <a:gd name="connsiteX9" fmla="*/ 7372 w 322605"/>
                <a:gd name="connsiteY9" fmla="*/ 33319 h 201383"/>
                <a:gd name="connsiteX10" fmla="*/ 9198 w 322605"/>
                <a:gd name="connsiteY10" fmla="*/ 62932 h 201383"/>
                <a:gd name="connsiteX11" fmla="*/ 2663 w 322605"/>
                <a:gd name="connsiteY11" fmla="*/ 156919 h 201383"/>
                <a:gd name="connsiteX12" fmla="*/ 5951 w 322605"/>
                <a:gd name="connsiteY12" fmla="*/ 181084 h 201383"/>
                <a:gd name="connsiteX13" fmla="*/ 48449 w 322605"/>
                <a:gd name="connsiteY13" fmla="*/ 183224 h 201383"/>
                <a:gd name="connsiteX14" fmla="*/ 165590 w 322605"/>
                <a:gd name="connsiteY14" fmla="*/ 190142 h 201383"/>
                <a:gd name="connsiteX15" fmla="*/ 187387 w 322605"/>
                <a:gd name="connsiteY15" fmla="*/ 190343 h 201383"/>
                <a:gd name="connsiteX16" fmla="*/ 236095 w 322605"/>
                <a:gd name="connsiteY16" fmla="*/ 194086 h 201383"/>
                <a:gd name="connsiteX17" fmla="*/ 252331 w 322605"/>
                <a:gd name="connsiteY17" fmla="*/ 197830 h 201383"/>
                <a:gd name="connsiteX18" fmla="*/ 272626 w 322605"/>
                <a:gd name="connsiteY18" fmla="*/ 195958 h 201383"/>
                <a:gd name="connsiteX19" fmla="*/ 294260 w 322605"/>
                <a:gd name="connsiteY19" fmla="*/ 189474 h 201383"/>
                <a:gd name="connsiteX20" fmla="*/ 309644 w 322605"/>
                <a:gd name="connsiteY20" fmla="*/ 184561 h 201383"/>
                <a:gd name="connsiteX21" fmla="*/ 281718 w 322605"/>
                <a:gd name="connsiteY21" fmla="*/ 114772 h 201383"/>
                <a:gd name="connsiteX22" fmla="*/ 269297 w 322605"/>
                <a:gd name="connsiteY22" fmla="*/ 96322 h 201383"/>
                <a:gd name="connsiteX23" fmla="*/ 255821 w 322605"/>
                <a:gd name="connsiteY23" fmla="*/ 80513 h 201383"/>
                <a:gd name="connsiteX24" fmla="*/ 240032 w 322605"/>
                <a:gd name="connsiteY24" fmla="*/ 43747 h 201383"/>
                <a:gd name="connsiteX25" fmla="*/ 276116 w 322605"/>
                <a:gd name="connsiteY25" fmla="*/ 87198 h 201383"/>
                <a:gd name="connsiteX26" fmla="*/ 297020 w 322605"/>
                <a:gd name="connsiteY26" fmla="*/ 84290 h 201383"/>
                <a:gd name="connsiteX27" fmla="*/ 308223 w 322605"/>
                <a:gd name="connsiteY27" fmla="*/ 69984 h 201383"/>
                <a:gd name="connsiteX28" fmla="*/ 315326 w 322605"/>
                <a:gd name="connsiteY28" fmla="*/ 59122 h 20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2605" h="201383">
                  <a:moveTo>
                    <a:pt x="315326" y="59122"/>
                  </a:moveTo>
                  <a:cubicBezTo>
                    <a:pt x="309197" y="48560"/>
                    <a:pt x="303027" y="38008"/>
                    <a:pt x="296817" y="27470"/>
                  </a:cubicBezTo>
                  <a:cubicBezTo>
                    <a:pt x="289389" y="32684"/>
                    <a:pt x="279323" y="27470"/>
                    <a:pt x="268891" y="26500"/>
                  </a:cubicBezTo>
                  <a:cubicBezTo>
                    <a:pt x="249936" y="24729"/>
                    <a:pt x="239586" y="25230"/>
                    <a:pt x="222050" y="19013"/>
                  </a:cubicBezTo>
                  <a:cubicBezTo>
                    <a:pt x="206951" y="13599"/>
                    <a:pt x="177646" y="15437"/>
                    <a:pt x="162628" y="18646"/>
                  </a:cubicBezTo>
                  <a:cubicBezTo>
                    <a:pt x="153454" y="20584"/>
                    <a:pt x="150451" y="24161"/>
                    <a:pt x="138558" y="23158"/>
                  </a:cubicBezTo>
                  <a:cubicBezTo>
                    <a:pt x="124514" y="21955"/>
                    <a:pt x="111809" y="16774"/>
                    <a:pt x="98779" y="13666"/>
                  </a:cubicBezTo>
                  <a:cubicBezTo>
                    <a:pt x="80108" y="9153"/>
                    <a:pt x="32213" y="9387"/>
                    <a:pt x="20279" y="-339"/>
                  </a:cubicBezTo>
                  <a:cubicBezTo>
                    <a:pt x="15449" y="5878"/>
                    <a:pt x="13582" y="10658"/>
                    <a:pt x="15490" y="17443"/>
                  </a:cubicBezTo>
                  <a:cubicBezTo>
                    <a:pt x="17194" y="23659"/>
                    <a:pt x="6438" y="26868"/>
                    <a:pt x="7372" y="33319"/>
                  </a:cubicBezTo>
                  <a:cubicBezTo>
                    <a:pt x="8995" y="43132"/>
                    <a:pt x="9604" y="53035"/>
                    <a:pt x="9198" y="62932"/>
                  </a:cubicBezTo>
                  <a:cubicBezTo>
                    <a:pt x="7047" y="94283"/>
                    <a:pt x="4855" y="125611"/>
                    <a:pt x="2663" y="156919"/>
                  </a:cubicBezTo>
                  <a:cubicBezTo>
                    <a:pt x="2298" y="162167"/>
                    <a:pt x="-5008" y="180583"/>
                    <a:pt x="5951" y="181084"/>
                  </a:cubicBezTo>
                  <a:cubicBezTo>
                    <a:pt x="20116" y="181753"/>
                    <a:pt x="34363" y="182488"/>
                    <a:pt x="48449" y="183224"/>
                  </a:cubicBezTo>
                  <a:cubicBezTo>
                    <a:pt x="87536" y="185252"/>
                    <a:pt x="126584" y="187559"/>
                    <a:pt x="165590" y="190142"/>
                  </a:cubicBezTo>
                  <a:cubicBezTo>
                    <a:pt x="172734" y="190610"/>
                    <a:pt x="181096" y="192215"/>
                    <a:pt x="187387" y="190343"/>
                  </a:cubicBezTo>
                  <a:cubicBezTo>
                    <a:pt x="198103" y="187000"/>
                    <a:pt x="221442" y="192983"/>
                    <a:pt x="236095" y="194086"/>
                  </a:cubicBezTo>
                  <a:cubicBezTo>
                    <a:pt x="244984" y="194755"/>
                    <a:pt x="245999" y="194487"/>
                    <a:pt x="252331" y="197830"/>
                  </a:cubicBezTo>
                  <a:cubicBezTo>
                    <a:pt x="263858" y="204046"/>
                    <a:pt x="265928" y="200036"/>
                    <a:pt x="272626" y="195958"/>
                  </a:cubicBezTo>
                  <a:cubicBezTo>
                    <a:pt x="279323" y="191880"/>
                    <a:pt x="288862" y="195958"/>
                    <a:pt x="294260" y="189474"/>
                  </a:cubicBezTo>
                  <a:cubicBezTo>
                    <a:pt x="299009" y="183725"/>
                    <a:pt x="300024" y="185363"/>
                    <a:pt x="309644" y="184561"/>
                  </a:cubicBezTo>
                  <a:cubicBezTo>
                    <a:pt x="350233" y="181218"/>
                    <a:pt x="282124" y="124398"/>
                    <a:pt x="281718" y="114772"/>
                  </a:cubicBezTo>
                  <a:cubicBezTo>
                    <a:pt x="281718" y="108087"/>
                    <a:pt x="268080" y="103308"/>
                    <a:pt x="269297" y="96322"/>
                  </a:cubicBezTo>
                  <a:cubicBezTo>
                    <a:pt x="270434" y="90139"/>
                    <a:pt x="261707" y="85460"/>
                    <a:pt x="255821" y="80513"/>
                  </a:cubicBezTo>
                  <a:cubicBezTo>
                    <a:pt x="251762" y="77171"/>
                    <a:pt x="225988" y="45284"/>
                    <a:pt x="240032" y="43747"/>
                  </a:cubicBezTo>
                  <a:cubicBezTo>
                    <a:pt x="243157" y="43413"/>
                    <a:pt x="270799" y="83187"/>
                    <a:pt x="276116" y="87198"/>
                  </a:cubicBezTo>
                  <a:cubicBezTo>
                    <a:pt x="286020" y="94685"/>
                    <a:pt x="292352" y="90774"/>
                    <a:pt x="297020" y="84290"/>
                  </a:cubicBezTo>
                  <a:cubicBezTo>
                    <a:pt x="298359" y="82351"/>
                    <a:pt x="307573" y="68480"/>
                    <a:pt x="308223" y="69984"/>
                  </a:cubicBezTo>
                  <a:cubicBezTo>
                    <a:pt x="309522" y="65957"/>
                    <a:pt x="311957" y="62237"/>
                    <a:pt x="315326" y="5912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0CDD9410-3B88-4752-A0D2-1A60CE7EF361}"/>
                </a:ext>
              </a:extLst>
            </p:cNvPr>
            <p:cNvSpPr/>
            <p:nvPr/>
          </p:nvSpPr>
          <p:spPr>
            <a:xfrm>
              <a:off x="6066398" y="4809203"/>
              <a:ext cx="152648" cy="107365"/>
            </a:xfrm>
            <a:custGeom>
              <a:avLst/>
              <a:gdLst>
                <a:gd name="connsiteX0" fmla="*/ 73379 w 152648"/>
                <a:gd name="connsiteY0" fmla="*/ 102013 h 107365"/>
                <a:gd name="connsiteX1" fmla="*/ 75774 w 152648"/>
                <a:gd name="connsiteY1" fmla="*/ 84834 h 107365"/>
                <a:gd name="connsiteX2" fmla="*/ 100818 w 152648"/>
                <a:gd name="connsiteY2" fmla="*/ 76277 h 107365"/>
                <a:gd name="connsiteX3" fmla="*/ 116120 w 152648"/>
                <a:gd name="connsiteY3" fmla="*/ 79920 h 107365"/>
                <a:gd name="connsiteX4" fmla="*/ 148348 w 152648"/>
                <a:gd name="connsiteY4" fmla="*/ 80823 h 107365"/>
                <a:gd name="connsiteX5" fmla="*/ 150662 w 152648"/>
                <a:gd name="connsiteY5" fmla="*/ 51911 h 107365"/>
                <a:gd name="connsiteX6" fmla="*/ 144817 w 152648"/>
                <a:gd name="connsiteY6" fmla="*/ 30654 h 107365"/>
                <a:gd name="connsiteX7" fmla="*/ 123629 w 152648"/>
                <a:gd name="connsiteY7" fmla="*/ 19424 h 107365"/>
                <a:gd name="connsiteX8" fmla="*/ 118596 w 152648"/>
                <a:gd name="connsiteY8" fmla="*/ 1375 h 107365"/>
                <a:gd name="connsiteX9" fmla="*/ 73948 w 152648"/>
                <a:gd name="connsiteY9" fmla="*/ 539 h 107365"/>
                <a:gd name="connsiteX10" fmla="*/ 70132 w 152648"/>
                <a:gd name="connsiteY10" fmla="*/ 22933 h 107365"/>
                <a:gd name="connsiteX11" fmla="*/ 38513 w 152648"/>
                <a:gd name="connsiteY11" fmla="*/ 23902 h 107365"/>
                <a:gd name="connsiteX12" fmla="*/ 18867 w 152648"/>
                <a:gd name="connsiteY12" fmla="*/ 25106 h 107365"/>
                <a:gd name="connsiteX13" fmla="*/ 24955 w 152648"/>
                <a:gd name="connsiteY13" fmla="*/ 37238 h 107365"/>
                <a:gd name="connsiteX14" fmla="*/ 13875 w 152648"/>
                <a:gd name="connsiteY14" fmla="*/ 41116 h 107365"/>
                <a:gd name="connsiteX15" fmla="*/ 6162 w 152648"/>
                <a:gd name="connsiteY15" fmla="*/ 50775 h 107365"/>
                <a:gd name="connsiteX16" fmla="*/ 9328 w 152648"/>
                <a:gd name="connsiteY16" fmla="*/ 66918 h 107365"/>
                <a:gd name="connsiteX17" fmla="*/ 60147 w 152648"/>
                <a:gd name="connsiteY17" fmla="*/ 107027 h 107365"/>
                <a:gd name="connsiteX18" fmla="*/ 73379 w 152648"/>
                <a:gd name="connsiteY18" fmla="*/ 102013 h 10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2648" h="107365">
                  <a:moveTo>
                    <a:pt x="73379" y="102013"/>
                  </a:moveTo>
                  <a:cubicBezTo>
                    <a:pt x="91320" y="102013"/>
                    <a:pt x="75287" y="90215"/>
                    <a:pt x="75774" y="84834"/>
                  </a:cubicBezTo>
                  <a:cubicBezTo>
                    <a:pt x="76423" y="77614"/>
                    <a:pt x="97205" y="84165"/>
                    <a:pt x="100818" y="76277"/>
                  </a:cubicBezTo>
                  <a:cubicBezTo>
                    <a:pt x="105242" y="66684"/>
                    <a:pt x="111899" y="75508"/>
                    <a:pt x="116120" y="79920"/>
                  </a:cubicBezTo>
                  <a:cubicBezTo>
                    <a:pt x="120341" y="84332"/>
                    <a:pt x="144533" y="86605"/>
                    <a:pt x="148348" y="80823"/>
                  </a:cubicBezTo>
                  <a:cubicBezTo>
                    <a:pt x="153057" y="71675"/>
                    <a:pt x="153869" y="61487"/>
                    <a:pt x="150662" y="51911"/>
                  </a:cubicBezTo>
                  <a:cubicBezTo>
                    <a:pt x="145913" y="39912"/>
                    <a:pt x="125050" y="42486"/>
                    <a:pt x="144817" y="30654"/>
                  </a:cubicBezTo>
                  <a:cubicBezTo>
                    <a:pt x="160810" y="21162"/>
                    <a:pt x="134954" y="17485"/>
                    <a:pt x="123629" y="19424"/>
                  </a:cubicBezTo>
                  <a:cubicBezTo>
                    <a:pt x="108489" y="22031"/>
                    <a:pt x="117419" y="6723"/>
                    <a:pt x="118596" y="1375"/>
                  </a:cubicBezTo>
                  <a:cubicBezTo>
                    <a:pt x="105242" y="1007"/>
                    <a:pt x="86977" y="-1700"/>
                    <a:pt x="73948" y="539"/>
                  </a:cubicBezTo>
                  <a:cubicBezTo>
                    <a:pt x="65221" y="2043"/>
                    <a:pt x="76545" y="18755"/>
                    <a:pt x="70132" y="22933"/>
                  </a:cubicBezTo>
                  <a:cubicBezTo>
                    <a:pt x="66844" y="25106"/>
                    <a:pt x="43546" y="23769"/>
                    <a:pt x="38513" y="23902"/>
                  </a:cubicBezTo>
                  <a:cubicBezTo>
                    <a:pt x="31815" y="24069"/>
                    <a:pt x="25524" y="24437"/>
                    <a:pt x="18867" y="25106"/>
                  </a:cubicBezTo>
                  <a:cubicBezTo>
                    <a:pt x="9734" y="33929"/>
                    <a:pt x="19963" y="29484"/>
                    <a:pt x="24955" y="37238"/>
                  </a:cubicBezTo>
                  <a:cubicBezTo>
                    <a:pt x="26457" y="39611"/>
                    <a:pt x="15782" y="40581"/>
                    <a:pt x="13875" y="41116"/>
                  </a:cubicBezTo>
                  <a:cubicBezTo>
                    <a:pt x="7664" y="42854"/>
                    <a:pt x="9816" y="47800"/>
                    <a:pt x="6162" y="50775"/>
                  </a:cubicBezTo>
                  <a:cubicBezTo>
                    <a:pt x="-3741" y="59031"/>
                    <a:pt x="-1184" y="58362"/>
                    <a:pt x="9328" y="66918"/>
                  </a:cubicBezTo>
                  <a:cubicBezTo>
                    <a:pt x="24875" y="79653"/>
                    <a:pt x="39446" y="96498"/>
                    <a:pt x="60147" y="107027"/>
                  </a:cubicBezTo>
                  <a:cubicBezTo>
                    <a:pt x="63435" y="103815"/>
                    <a:pt x="68265" y="101976"/>
                    <a:pt x="73379" y="10201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944767EF-6F40-4CBA-BB01-8E630C0B1DD3}"/>
                </a:ext>
              </a:extLst>
            </p:cNvPr>
            <p:cNvSpPr/>
            <p:nvPr/>
          </p:nvSpPr>
          <p:spPr>
            <a:xfrm>
              <a:off x="6079224" y="4810515"/>
              <a:ext cx="58975" cy="24131"/>
            </a:xfrm>
            <a:custGeom>
              <a:avLst/>
              <a:gdLst>
                <a:gd name="connsiteX0" fmla="*/ 57346 w 58975"/>
                <a:gd name="connsiteY0" fmla="*/ 21621 h 24131"/>
                <a:gd name="connsiteX1" fmla="*/ 58564 w 58975"/>
                <a:gd name="connsiteY1" fmla="*/ -339 h 24131"/>
                <a:gd name="connsiteX2" fmla="*/ 12495 w 58975"/>
                <a:gd name="connsiteY2" fmla="*/ 898 h 24131"/>
                <a:gd name="connsiteX3" fmla="*/ 6203 w 58975"/>
                <a:gd name="connsiteY3" fmla="*/ 12529 h 24131"/>
                <a:gd name="connsiteX4" fmla="*/ 6203 w 58975"/>
                <a:gd name="connsiteY4" fmla="*/ 23793 h 24131"/>
                <a:gd name="connsiteX5" fmla="*/ 57346 w 58975"/>
                <a:gd name="connsiteY5" fmla="*/ 21621 h 2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975" h="24131">
                  <a:moveTo>
                    <a:pt x="57346" y="21621"/>
                  </a:moveTo>
                  <a:cubicBezTo>
                    <a:pt x="58889" y="14374"/>
                    <a:pt x="59294" y="6995"/>
                    <a:pt x="58564" y="-339"/>
                  </a:cubicBezTo>
                  <a:cubicBezTo>
                    <a:pt x="44967" y="3004"/>
                    <a:pt x="26782" y="831"/>
                    <a:pt x="12495" y="898"/>
                  </a:cubicBezTo>
                  <a:cubicBezTo>
                    <a:pt x="15620" y="5544"/>
                    <a:pt x="15701" y="10557"/>
                    <a:pt x="6203" y="12529"/>
                  </a:cubicBezTo>
                  <a:cubicBezTo>
                    <a:pt x="-10033" y="15872"/>
                    <a:pt x="10993" y="19214"/>
                    <a:pt x="6203" y="23793"/>
                  </a:cubicBezTo>
                  <a:cubicBezTo>
                    <a:pt x="22967" y="22022"/>
                    <a:pt x="40258" y="22189"/>
                    <a:pt x="57346" y="2162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F8F65425-05FA-4101-96E5-FF0011C88338}"/>
                </a:ext>
              </a:extLst>
            </p:cNvPr>
            <p:cNvSpPr/>
            <p:nvPr/>
          </p:nvSpPr>
          <p:spPr>
            <a:xfrm>
              <a:off x="6126482" y="4788559"/>
              <a:ext cx="199106" cy="147629"/>
            </a:xfrm>
            <a:custGeom>
              <a:avLst/>
              <a:gdLst>
                <a:gd name="connsiteX0" fmla="*/ 52586 w 199106"/>
                <a:gd name="connsiteY0" fmla="*/ 138634 h 147629"/>
                <a:gd name="connsiteX1" fmla="*/ 64763 w 199106"/>
                <a:gd name="connsiteY1" fmla="*/ 141976 h 147629"/>
                <a:gd name="connsiteX2" fmla="*/ 88710 w 199106"/>
                <a:gd name="connsiteY2" fmla="*/ 136896 h 147629"/>
                <a:gd name="connsiteX3" fmla="*/ 96220 w 199106"/>
                <a:gd name="connsiteY3" fmla="*/ 144583 h 147629"/>
                <a:gd name="connsiteX4" fmla="*/ 113754 w 199106"/>
                <a:gd name="connsiteY4" fmla="*/ 137899 h 147629"/>
                <a:gd name="connsiteX5" fmla="*/ 129179 w 199106"/>
                <a:gd name="connsiteY5" fmla="*/ 124997 h 147629"/>
                <a:gd name="connsiteX6" fmla="*/ 135632 w 199106"/>
                <a:gd name="connsiteY6" fmla="*/ 93245 h 147629"/>
                <a:gd name="connsiteX7" fmla="*/ 154060 w 199106"/>
                <a:gd name="connsiteY7" fmla="*/ 78973 h 147629"/>
                <a:gd name="connsiteX8" fmla="*/ 170012 w 199106"/>
                <a:gd name="connsiteY8" fmla="*/ 56445 h 147629"/>
                <a:gd name="connsiteX9" fmla="*/ 184381 w 199106"/>
                <a:gd name="connsiteY9" fmla="*/ 28102 h 147629"/>
                <a:gd name="connsiteX10" fmla="*/ 198506 w 199106"/>
                <a:gd name="connsiteY10" fmla="*/ 996 h 147629"/>
                <a:gd name="connsiteX11" fmla="*/ 160108 w 199106"/>
                <a:gd name="connsiteY11" fmla="*/ 461 h 147629"/>
                <a:gd name="connsiteX12" fmla="*/ 145455 w 199106"/>
                <a:gd name="connsiteY12" fmla="*/ 7981 h 147629"/>
                <a:gd name="connsiteX13" fmla="*/ 131248 w 199106"/>
                <a:gd name="connsiteY13" fmla="*/ 31378 h 147629"/>
                <a:gd name="connsiteX14" fmla="*/ 94312 w 199106"/>
                <a:gd name="connsiteY14" fmla="*/ 22387 h 147629"/>
                <a:gd name="connsiteX15" fmla="*/ 67319 w 199106"/>
                <a:gd name="connsiteY15" fmla="*/ 22387 h 147629"/>
                <a:gd name="connsiteX16" fmla="*/ 55508 w 199106"/>
                <a:gd name="connsiteY16" fmla="*/ 37661 h 147629"/>
                <a:gd name="connsiteX17" fmla="*/ 88629 w 199106"/>
                <a:gd name="connsiteY17" fmla="*/ 45750 h 147629"/>
                <a:gd name="connsiteX18" fmla="*/ 74220 w 199106"/>
                <a:gd name="connsiteY18" fmla="*/ 58852 h 147629"/>
                <a:gd name="connsiteX19" fmla="*/ 90456 w 199106"/>
                <a:gd name="connsiteY19" fmla="*/ 72689 h 147629"/>
                <a:gd name="connsiteX20" fmla="*/ 76168 w 199106"/>
                <a:gd name="connsiteY20" fmla="*/ 105210 h 147629"/>
                <a:gd name="connsiteX21" fmla="*/ 55873 w 199106"/>
                <a:gd name="connsiteY21" fmla="*/ 100698 h 147629"/>
                <a:gd name="connsiteX22" fmla="*/ 43291 w 199106"/>
                <a:gd name="connsiteY22" fmla="*/ 93044 h 147629"/>
                <a:gd name="connsiteX23" fmla="*/ 33873 w 199106"/>
                <a:gd name="connsiteY23" fmla="*/ 101768 h 147629"/>
                <a:gd name="connsiteX24" fmla="*/ 15527 w 199106"/>
                <a:gd name="connsiteY24" fmla="*/ 105611 h 147629"/>
                <a:gd name="connsiteX25" fmla="*/ 21291 w 199106"/>
                <a:gd name="connsiteY25" fmla="*/ 121120 h 147629"/>
                <a:gd name="connsiteX26" fmla="*/ -60 w 199106"/>
                <a:gd name="connsiteY26" fmla="*/ 127805 h 147629"/>
                <a:gd name="connsiteX27" fmla="*/ 26486 w 199106"/>
                <a:gd name="connsiteY27" fmla="*/ 147291 h 147629"/>
                <a:gd name="connsiteX28" fmla="*/ 52423 w 199106"/>
                <a:gd name="connsiteY28" fmla="*/ 138935 h 147629"/>
                <a:gd name="connsiteX29" fmla="*/ 52586 w 199106"/>
                <a:gd name="connsiteY29" fmla="*/ 138634 h 14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99106" h="147629">
                  <a:moveTo>
                    <a:pt x="52586" y="138634"/>
                  </a:moveTo>
                  <a:cubicBezTo>
                    <a:pt x="57050" y="139603"/>
                    <a:pt x="59323" y="142645"/>
                    <a:pt x="64763" y="141976"/>
                  </a:cubicBezTo>
                  <a:cubicBezTo>
                    <a:pt x="73327" y="140974"/>
                    <a:pt x="78685" y="134657"/>
                    <a:pt x="88710" y="136896"/>
                  </a:cubicBezTo>
                  <a:cubicBezTo>
                    <a:pt x="93256" y="137932"/>
                    <a:pt x="93337" y="144951"/>
                    <a:pt x="96220" y="144583"/>
                  </a:cubicBezTo>
                  <a:cubicBezTo>
                    <a:pt x="103201" y="143714"/>
                    <a:pt x="106083" y="138467"/>
                    <a:pt x="113754" y="137899"/>
                  </a:cubicBezTo>
                  <a:cubicBezTo>
                    <a:pt x="127758" y="136829"/>
                    <a:pt x="117529" y="127270"/>
                    <a:pt x="129179" y="124997"/>
                  </a:cubicBezTo>
                  <a:cubicBezTo>
                    <a:pt x="138067" y="123259"/>
                    <a:pt x="135145" y="98593"/>
                    <a:pt x="135632" y="93245"/>
                  </a:cubicBezTo>
                  <a:cubicBezTo>
                    <a:pt x="136322" y="85657"/>
                    <a:pt x="145820" y="83819"/>
                    <a:pt x="154060" y="78973"/>
                  </a:cubicBezTo>
                  <a:cubicBezTo>
                    <a:pt x="162299" y="74127"/>
                    <a:pt x="164370" y="63197"/>
                    <a:pt x="170012" y="56445"/>
                  </a:cubicBezTo>
                  <a:cubicBezTo>
                    <a:pt x="178130" y="46686"/>
                    <a:pt x="179226" y="38196"/>
                    <a:pt x="184381" y="28102"/>
                  </a:cubicBezTo>
                  <a:cubicBezTo>
                    <a:pt x="189536" y="18008"/>
                    <a:pt x="201753" y="13128"/>
                    <a:pt x="198506" y="996"/>
                  </a:cubicBezTo>
                  <a:cubicBezTo>
                    <a:pt x="184015" y="60"/>
                    <a:pt x="174680" y="-1177"/>
                    <a:pt x="160108" y="461"/>
                  </a:cubicBezTo>
                  <a:cubicBezTo>
                    <a:pt x="146551" y="1998"/>
                    <a:pt x="147931" y="661"/>
                    <a:pt x="145455" y="7981"/>
                  </a:cubicBezTo>
                  <a:cubicBezTo>
                    <a:pt x="142654" y="16203"/>
                    <a:pt x="132994" y="22387"/>
                    <a:pt x="131248" y="31378"/>
                  </a:cubicBezTo>
                  <a:cubicBezTo>
                    <a:pt x="120005" y="27801"/>
                    <a:pt x="106894" y="23256"/>
                    <a:pt x="94312" y="22387"/>
                  </a:cubicBezTo>
                  <a:cubicBezTo>
                    <a:pt x="85585" y="21785"/>
                    <a:pt x="76087" y="22387"/>
                    <a:pt x="67319" y="22387"/>
                  </a:cubicBezTo>
                  <a:cubicBezTo>
                    <a:pt x="53275" y="22052"/>
                    <a:pt x="56523" y="30241"/>
                    <a:pt x="55508" y="37661"/>
                  </a:cubicBezTo>
                  <a:cubicBezTo>
                    <a:pt x="54371" y="45683"/>
                    <a:pt x="87087" y="31679"/>
                    <a:pt x="88629" y="45750"/>
                  </a:cubicBezTo>
                  <a:cubicBezTo>
                    <a:pt x="89360" y="52635"/>
                    <a:pt x="73165" y="52435"/>
                    <a:pt x="74220" y="58852"/>
                  </a:cubicBezTo>
                  <a:cubicBezTo>
                    <a:pt x="75275" y="65269"/>
                    <a:pt x="88183" y="66673"/>
                    <a:pt x="90456" y="72689"/>
                  </a:cubicBezTo>
                  <a:cubicBezTo>
                    <a:pt x="93094" y="79374"/>
                    <a:pt x="96017" y="107985"/>
                    <a:pt x="76168" y="105210"/>
                  </a:cubicBezTo>
                  <a:cubicBezTo>
                    <a:pt x="70770" y="104475"/>
                    <a:pt x="58796" y="103673"/>
                    <a:pt x="55873" y="100698"/>
                  </a:cubicBezTo>
                  <a:cubicBezTo>
                    <a:pt x="54290" y="99060"/>
                    <a:pt x="48973" y="89434"/>
                    <a:pt x="43291" y="93044"/>
                  </a:cubicBezTo>
                  <a:cubicBezTo>
                    <a:pt x="39597" y="95417"/>
                    <a:pt x="41342" y="101835"/>
                    <a:pt x="33873" y="101768"/>
                  </a:cubicBezTo>
                  <a:cubicBezTo>
                    <a:pt x="28638" y="101768"/>
                    <a:pt x="15974" y="100564"/>
                    <a:pt x="15527" y="105611"/>
                  </a:cubicBezTo>
                  <a:cubicBezTo>
                    <a:pt x="15121" y="110124"/>
                    <a:pt x="25593" y="116842"/>
                    <a:pt x="21291" y="121120"/>
                  </a:cubicBezTo>
                  <a:cubicBezTo>
                    <a:pt x="16988" y="125398"/>
                    <a:pt x="5055" y="122591"/>
                    <a:pt x="-60" y="127805"/>
                  </a:cubicBezTo>
                  <a:cubicBezTo>
                    <a:pt x="10494" y="132544"/>
                    <a:pt x="19546" y="139209"/>
                    <a:pt x="26486" y="147291"/>
                  </a:cubicBezTo>
                  <a:cubicBezTo>
                    <a:pt x="31114" y="145352"/>
                    <a:pt x="45929" y="137598"/>
                    <a:pt x="52423" y="138935"/>
                  </a:cubicBezTo>
                  <a:cubicBezTo>
                    <a:pt x="57700" y="139737"/>
                    <a:pt x="49744" y="138066"/>
                    <a:pt x="52586" y="13863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D3DD7EBB-1046-428A-BFDF-C5B36DA365B6}"/>
                </a:ext>
              </a:extLst>
            </p:cNvPr>
            <p:cNvSpPr/>
            <p:nvPr/>
          </p:nvSpPr>
          <p:spPr>
            <a:xfrm>
              <a:off x="6429155" y="4471099"/>
              <a:ext cx="486444" cy="336473"/>
            </a:xfrm>
            <a:custGeom>
              <a:avLst/>
              <a:gdLst>
                <a:gd name="connsiteX0" fmla="*/ 398416 w 486444"/>
                <a:gd name="connsiteY0" fmla="*/ 4708 h 336473"/>
                <a:gd name="connsiteX1" fmla="*/ 385468 w 486444"/>
                <a:gd name="connsiteY1" fmla="*/ 13933 h 336473"/>
                <a:gd name="connsiteX2" fmla="*/ 364442 w 486444"/>
                <a:gd name="connsiteY2" fmla="*/ 20150 h 336473"/>
                <a:gd name="connsiteX3" fmla="*/ 343457 w 486444"/>
                <a:gd name="connsiteY3" fmla="*/ 15571 h 336473"/>
                <a:gd name="connsiteX4" fmla="*/ 316221 w 486444"/>
                <a:gd name="connsiteY4" fmla="*/ 13565 h 336473"/>
                <a:gd name="connsiteX5" fmla="*/ 299620 w 486444"/>
                <a:gd name="connsiteY5" fmla="*/ 10223 h 336473"/>
                <a:gd name="connsiteX6" fmla="*/ 278757 w 486444"/>
                <a:gd name="connsiteY6" fmla="*/ 12061 h 336473"/>
                <a:gd name="connsiteX7" fmla="*/ 241415 w 486444"/>
                <a:gd name="connsiteY7" fmla="*/ 9621 h 336473"/>
                <a:gd name="connsiteX8" fmla="*/ 118509 w 486444"/>
                <a:gd name="connsiteY8" fmla="*/ 2669 h 336473"/>
                <a:gd name="connsiteX9" fmla="*/ 96266 w 486444"/>
                <a:gd name="connsiteY9" fmla="*/ 7148 h 336473"/>
                <a:gd name="connsiteX10" fmla="*/ 94561 w 486444"/>
                <a:gd name="connsiteY10" fmla="*/ 31915 h 336473"/>
                <a:gd name="connsiteX11" fmla="*/ 85428 w 486444"/>
                <a:gd name="connsiteY11" fmla="*/ 36995 h 336473"/>
                <a:gd name="connsiteX12" fmla="*/ 65945 w 486444"/>
                <a:gd name="connsiteY12" fmla="*/ 45452 h 336473"/>
                <a:gd name="connsiteX13" fmla="*/ 63550 w 486444"/>
                <a:gd name="connsiteY13" fmla="*/ 82552 h 336473"/>
                <a:gd name="connsiteX14" fmla="*/ 62455 w 486444"/>
                <a:gd name="connsiteY14" fmla="*/ 101804 h 336473"/>
                <a:gd name="connsiteX15" fmla="*/ 50683 w 486444"/>
                <a:gd name="connsiteY15" fmla="*/ 110594 h 336473"/>
                <a:gd name="connsiteX16" fmla="*/ 29739 w 486444"/>
                <a:gd name="connsiteY16" fmla="*/ 124665 h 336473"/>
                <a:gd name="connsiteX17" fmla="*/ 15046 w 486444"/>
                <a:gd name="connsiteY17" fmla="*/ 135762 h 336473"/>
                <a:gd name="connsiteX18" fmla="*/ 3396 w 486444"/>
                <a:gd name="connsiteY18" fmla="*/ 143617 h 336473"/>
                <a:gd name="connsiteX19" fmla="*/ 190 w 486444"/>
                <a:gd name="connsiteY19" fmla="*/ 158791 h 336473"/>
                <a:gd name="connsiteX20" fmla="*/ 12367 w 486444"/>
                <a:gd name="connsiteY20" fmla="*/ 163504 h 336473"/>
                <a:gd name="connsiteX21" fmla="*/ 13381 w 486444"/>
                <a:gd name="connsiteY21" fmla="*/ 178043 h 336473"/>
                <a:gd name="connsiteX22" fmla="*/ 25558 w 486444"/>
                <a:gd name="connsiteY22" fmla="*/ 187234 h 336473"/>
                <a:gd name="connsiteX23" fmla="*/ 27101 w 486444"/>
                <a:gd name="connsiteY23" fmla="*/ 197262 h 336473"/>
                <a:gd name="connsiteX24" fmla="*/ 42606 w 486444"/>
                <a:gd name="connsiteY24" fmla="*/ 211065 h 336473"/>
                <a:gd name="connsiteX25" fmla="*/ 47680 w 486444"/>
                <a:gd name="connsiteY25" fmla="*/ 218653 h 336473"/>
                <a:gd name="connsiteX26" fmla="*/ 38222 w 486444"/>
                <a:gd name="connsiteY26" fmla="*/ 227944 h 336473"/>
                <a:gd name="connsiteX27" fmla="*/ 49953 w 486444"/>
                <a:gd name="connsiteY27" fmla="*/ 233325 h 336473"/>
                <a:gd name="connsiteX28" fmla="*/ 59085 w 486444"/>
                <a:gd name="connsiteY28" fmla="*/ 239409 h 336473"/>
                <a:gd name="connsiteX29" fmla="*/ 86808 w 486444"/>
                <a:gd name="connsiteY29" fmla="*/ 253213 h 336473"/>
                <a:gd name="connsiteX30" fmla="*/ 90502 w 486444"/>
                <a:gd name="connsiteY30" fmla="*/ 259530 h 336473"/>
                <a:gd name="connsiteX31" fmla="*/ 106373 w 486444"/>
                <a:gd name="connsiteY31" fmla="*/ 267719 h 336473"/>
                <a:gd name="connsiteX32" fmla="*/ 119686 w 486444"/>
                <a:gd name="connsiteY32" fmla="*/ 283060 h 336473"/>
                <a:gd name="connsiteX33" fmla="*/ 135191 w 486444"/>
                <a:gd name="connsiteY33" fmla="*/ 289979 h 336473"/>
                <a:gd name="connsiteX34" fmla="*/ 160885 w 486444"/>
                <a:gd name="connsiteY34" fmla="*/ 314077 h 336473"/>
                <a:gd name="connsiteX35" fmla="*/ 191002 w 486444"/>
                <a:gd name="connsiteY35" fmla="*/ 315548 h 336473"/>
                <a:gd name="connsiteX36" fmla="*/ 209267 w 486444"/>
                <a:gd name="connsiteY36" fmla="*/ 316550 h 336473"/>
                <a:gd name="connsiteX37" fmla="*/ 240237 w 486444"/>
                <a:gd name="connsiteY37" fmla="*/ 333496 h 336473"/>
                <a:gd name="connsiteX38" fmla="*/ 267067 w 486444"/>
                <a:gd name="connsiteY38" fmla="*/ 333997 h 336473"/>
                <a:gd name="connsiteX39" fmla="*/ 288661 w 486444"/>
                <a:gd name="connsiteY39" fmla="*/ 333496 h 336473"/>
                <a:gd name="connsiteX40" fmla="*/ 315085 w 486444"/>
                <a:gd name="connsiteY40" fmla="*/ 334566 h 336473"/>
                <a:gd name="connsiteX41" fmla="*/ 339439 w 486444"/>
                <a:gd name="connsiteY41" fmla="*/ 322667 h 336473"/>
                <a:gd name="connsiteX42" fmla="*/ 376700 w 486444"/>
                <a:gd name="connsiteY42" fmla="*/ 325742 h 336473"/>
                <a:gd name="connsiteX43" fmla="*/ 370409 w 486444"/>
                <a:gd name="connsiteY43" fmla="*/ 308763 h 336473"/>
                <a:gd name="connsiteX44" fmla="*/ 340413 w 486444"/>
                <a:gd name="connsiteY44" fmla="*/ 283026 h 336473"/>
                <a:gd name="connsiteX45" fmla="*/ 316506 w 486444"/>
                <a:gd name="connsiteY45" fmla="*/ 269089 h 336473"/>
                <a:gd name="connsiteX46" fmla="*/ 313827 w 486444"/>
                <a:gd name="connsiteY46" fmla="*/ 254149 h 336473"/>
                <a:gd name="connsiteX47" fmla="*/ 336923 w 486444"/>
                <a:gd name="connsiteY47" fmla="*/ 253179 h 336473"/>
                <a:gd name="connsiteX48" fmla="*/ 349099 w 486444"/>
                <a:gd name="connsiteY48" fmla="*/ 227276 h 336473"/>
                <a:gd name="connsiteX49" fmla="*/ 351250 w 486444"/>
                <a:gd name="connsiteY49" fmla="*/ 218653 h 336473"/>
                <a:gd name="connsiteX50" fmla="*/ 368623 w 486444"/>
                <a:gd name="connsiteY50" fmla="*/ 212603 h 336473"/>
                <a:gd name="connsiteX51" fmla="*/ 373737 w 486444"/>
                <a:gd name="connsiteY51" fmla="*/ 200637 h 336473"/>
                <a:gd name="connsiteX52" fmla="*/ 389202 w 486444"/>
                <a:gd name="connsiteY52" fmla="*/ 189975 h 336473"/>
                <a:gd name="connsiteX53" fmla="*/ 402028 w 486444"/>
                <a:gd name="connsiteY53" fmla="*/ 186633 h 336473"/>
                <a:gd name="connsiteX54" fmla="*/ 413718 w 486444"/>
                <a:gd name="connsiteY54" fmla="*/ 174968 h 336473"/>
                <a:gd name="connsiteX55" fmla="*/ 422201 w 486444"/>
                <a:gd name="connsiteY55" fmla="*/ 144887 h 336473"/>
                <a:gd name="connsiteX56" fmla="*/ 438681 w 486444"/>
                <a:gd name="connsiteY56" fmla="*/ 130214 h 336473"/>
                <a:gd name="connsiteX57" fmla="*/ 445135 w 486444"/>
                <a:gd name="connsiteY57" fmla="*/ 117981 h 336473"/>
                <a:gd name="connsiteX58" fmla="*/ 478580 w 486444"/>
                <a:gd name="connsiteY58" fmla="*/ 107787 h 336473"/>
                <a:gd name="connsiteX59" fmla="*/ 468352 w 486444"/>
                <a:gd name="connsiteY59" fmla="*/ 88735 h 336473"/>
                <a:gd name="connsiteX60" fmla="*/ 458407 w 486444"/>
                <a:gd name="connsiteY60" fmla="*/ 56782 h 336473"/>
                <a:gd name="connsiteX61" fmla="*/ 451710 w 486444"/>
                <a:gd name="connsiteY61" fmla="*/ 27804 h 336473"/>
                <a:gd name="connsiteX62" fmla="*/ 416113 w 486444"/>
                <a:gd name="connsiteY62" fmla="*/ -339 h 336473"/>
                <a:gd name="connsiteX63" fmla="*/ 398416 w 486444"/>
                <a:gd name="connsiteY63" fmla="*/ 4708 h 33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444" h="336473">
                  <a:moveTo>
                    <a:pt x="398416" y="4708"/>
                  </a:moveTo>
                  <a:cubicBezTo>
                    <a:pt x="391475" y="4140"/>
                    <a:pt x="389445" y="11894"/>
                    <a:pt x="385468" y="13933"/>
                  </a:cubicBezTo>
                  <a:cubicBezTo>
                    <a:pt x="378121" y="17677"/>
                    <a:pt x="370652" y="14334"/>
                    <a:pt x="364442" y="20150"/>
                  </a:cubicBezTo>
                  <a:cubicBezTo>
                    <a:pt x="358232" y="25966"/>
                    <a:pt x="348693" y="16808"/>
                    <a:pt x="343457" y="15571"/>
                  </a:cubicBezTo>
                  <a:cubicBezTo>
                    <a:pt x="335583" y="13833"/>
                    <a:pt x="324421" y="14134"/>
                    <a:pt x="316221" y="13565"/>
                  </a:cubicBezTo>
                  <a:cubicBezTo>
                    <a:pt x="310417" y="13722"/>
                    <a:pt x="304694" y="12566"/>
                    <a:pt x="299620" y="10223"/>
                  </a:cubicBezTo>
                  <a:cubicBezTo>
                    <a:pt x="290284" y="6145"/>
                    <a:pt x="286956" y="12630"/>
                    <a:pt x="278757" y="12061"/>
                  </a:cubicBezTo>
                  <a:lnTo>
                    <a:pt x="241415" y="9621"/>
                  </a:lnTo>
                  <a:cubicBezTo>
                    <a:pt x="200460" y="7015"/>
                    <a:pt x="159464" y="4698"/>
                    <a:pt x="118509" y="2669"/>
                  </a:cubicBezTo>
                  <a:cubicBezTo>
                    <a:pt x="104830" y="2001"/>
                    <a:pt x="96875" y="-1341"/>
                    <a:pt x="96266" y="7148"/>
                  </a:cubicBezTo>
                  <a:lnTo>
                    <a:pt x="94561" y="31915"/>
                  </a:lnTo>
                  <a:cubicBezTo>
                    <a:pt x="94155" y="37630"/>
                    <a:pt x="95616" y="37463"/>
                    <a:pt x="85428" y="36995"/>
                  </a:cubicBezTo>
                  <a:cubicBezTo>
                    <a:pt x="65864" y="36093"/>
                    <a:pt x="66635" y="34723"/>
                    <a:pt x="65945" y="45452"/>
                  </a:cubicBezTo>
                  <a:cubicBezTo>
                    <a:pt x="65174" y="57818"/>
                    <a:pt x="64362" y="70185"/>
                    <a:pt x="63550" y="82552"/>
                  </a:cubicBezTo>
                  <a:cubicBezTo>
                    <a:pt x="63144" y="88936"/>
                    <a:pt x="63550" y="95453"/>
                    <a:pt x="62455" y="101804"/>
                  </a:cubicBezTo>
                  <a:cubicBezTo>
                    <a:pt x="61359" y="108154"/>
                    <a:pt x="60222" y="109057"/>
                    <a:pt x="50683" y="110594"/>
                  </a:cubicBezTo>
                  <a:cubicBezTo>
                    <a:pt x="32661" y="113502"/>
                    <a:pt x="37248" y="116777"/>
                    <a:pt x="29739" y="124665"/>
                  </a:cubicBezTo>
                  <a:cubicBezTo>
                    <a:pt x="23975" y="130682"/>
                    <a:pt x="17562" y="127573"/>
                    <a:pt x="15046" y="135762"/>
                  </a:cubicBezTo>
                  <a:cubicBezTo>
                    <a:pt x="13503" y="141010"/>
                    <a:pt x="311" y="138670"/>
                    <a:pt x="3396" y="143617"/>
                  </a:cubicBezTo>
                  <a:cubicBezTo>
                    <a:pt x="8105" y="151137"/>
                    <a:pt x="-1718" y="152541"/>
                    <a:pt x="190" y="158791"/>
                  </a:cubicBezTo>
                  <a:cubicBezTo>
                    <a:pt x="1529" y="163103"/>
                    <a:pt x="9160" y="160796"/>
                    <a:pt x="12367" y="163504"/>
                  </a:cubicBezTo>
                  <a:cubicBezTo>
                    <a:pt x="17238" y="167481"/>
                    <a:pt x="10500" y="173531"/>
                    <a:pt x="13381" y="178043"/>
                  </a:cubicBezTo>
                  <a:cubicBezTo>
                    <a:pt x="15249" y="180951"/>
                    <a:pt x="26776" y="185095"/>
                    <a:pt x="25558" y="187234"/>
                  </a:cubicBezTo>
                  <a:cubicBezTo>
                    <a:pt x="22555" y="192616"/>
                    <a:pt x="21499" y="192716"/>
                    <a:pt x="27101" y="197262"/>
                  </a:cubicBezTo>
                  <a:cubicBezTo>
                    <a:pt x="32702" y="201807"/>
                    <a:pt x="40170" y="206186"/>
                    <a:pt x="42606" y="211065"/>
                  </a:cubicBezTo>
                  <a:cubicBezTo>
                    <a:pt x="43864" y="213672"/>
                    <a:pt x="46665" y="216012"/>
                    <a:pt x="47680" y="218653"/>
                  </a:cubicBezTo>
                  <a:cubicBezTo>
                    <a:pt x="50602" y="224970"/>
                    <a:pt x="43093" y="224067"/>
                    <a:pt x="38222" y="227944"/>
                  </a:cubicBezTo>
                  <a:cubicBezTo>
                    <a:pt x="33352" y="231821"/>
                    <a:pt x="46706" y="232924"/>
                    <a:pt x="49953" y="233325"/>
                  </a:cubicBezTo>
                  <a:cubicBezTo>
                    <a:pt x="55270" y="234027"/>
                    <a:pt x="52469" y="238473"/>
                    <a:pt x="59085" y="239409"/>
                  </a:cubicBezTo>
                  <a:cubicBezTo>
                    <a:pt x="71912" y="241214"/>
                    <a:pt x="79380" y="247129"/>
                    <a:pt x="86808" y="253213"/>
                  </a:cubicBezTo>
                  <a:cubicBezTo>
                    <a:pt x="89365" y="255285"/>
                    <a:pt x="88188" y="257591"/>
                    <a:pt x="90502" y="259530"/>
                  </a:cubicBezTo>
                  <a:cubicBezTo>
                    <a:pt x="94277" y="262872"/>
                    <a:pt x="101705" y="265078"/>
                    <a:pt x="106373" y="267719"/>
                  </a:cubicBezTo>
                  <a:cubicBezTo>
                    <a:pt x="114937" y="272598"/>
                    <a:pt x="112420" y="279116"/>
                    <a:pt x="119686" y="283060"/>
                  </a:cubicBezTo>
                  <a:cubicBezTo>
                    <a:pt x="123258" y="284998"/>
                    <a:pt x="133689" y="287372"/>
                    <a:pt x="135191" y="289979"/>
                  </a:cubicBezTo>
                  <a:cubicBezTo>
                    <a:pt x="139981" y="298334"/>
                    <a:pt x="147612" y="309197"/>
                    <a:pt x="160885" y="314077"/>
                  </a:cubicBezTo>
                  <a:cubicBezTo>
                    <a:pt x="172372" y="318255"/>
                    <a:pt x="180733" y="309999"/>
                    <a:pt x="191002" y="315548"/>
                  </a:cubicBezTo>
                  <a:cubicBezTo>
                    <a:pt x="195061" y="317653"/>
                    <a:pt x="202367" y="312740"/>
                    <a:pt x="209267" y="316550"/>
                  </a:cubicBezTo>
                  <a:cubicBezTo>
                    <a:pt x="215275" y="319893"/>
                    <a:pt x="233946" y="334398"/>
                    <a:pt x="240237" y="333496"/>
                  </a:cubicBezTo>
                  <a:cubicBezTo>
                    <a:pt x="249330" y="332193"/>
                    <a:pt x="258665" y="330154"/>
                    <a:pt x="267067" y="333997"/>
                  </a:cubicBezTo>
                  <a:cubicBezTo>
                    <a:pt x="276971" y="338576"/>
                    <a:pt x="277905" y="334532"/>
                    <a:pt x="288661" y="333496"/>
                  </a:cubicBezTo>
                  <a:cubicBezTo>
                    <a:pt x="293532" y="333028"/>
                    <a:pt x="313583" y="338777"/>
                    <a:pt x="315085" y="334566"/>
                  </a:cubicBezTo>
                  <a:cubicBezTo>
                    <a:pt x="316181" y="331524"/>
                    <a:pt x="333878" y="324204"/>
                    <a:pt x="339439" y="322667"/>
                  </a:cubicBezTo>
                  <a:cubicBezTo>
                    <a:pt x="355188" y="318188"/>
                    <a:pt x="362291" y="320828"/>
                    <a:pt x="376700" y="325742"/>
                  </a:cubicBezTo>
                  <a:cubicBezTo>
                    <a:pt x="380759" y="314846"/>
                    <a:pt x="385305" y="314378"/>
                    <a:pt x="370409" y="308763"/>
                  </a:cubicBezTo>
                  <a:cubicBezTo>
                    <a:pt x="355512" y="303147"/>
                    <a:pt x="351657" y="291082"/>
                    <a:pt x="340413" y="283026"/>
                  </a:cubicBezTo>
                  <a:cubicBezTo>
                    <a:pt x="331686" y="276776"/>
                    <a:pt x="329779" y="272298"/>
                    <a:pt x="316506" y="269089"/>
                  </a:cubicBezTo>
                  <a:cubicBezTo>
                    <a:pt x="303233" y="265880"/>
                    <a:pt x="303842" y="259062"/>
                    <a:pt x="313827" y="254149"/>
                  </a:cubicBezTo>
                  <a:cubicBezTo>
                    <a:pt x="319347" y="251474"/>
                    <a:pt x="334771" y="257023"/>
                    <a:pt x="336923" y="253179"/>
                  </a:cubicBezTo>
                  <a:cubicBezTo>
                    <a:pt x="341915" y="244155"/>
                    <a:pt x="339236" y="235064"/>
                    <a:pt x="349099" y="227276"/>
                  </a:cubicBezTo>
                  <a:cubicBezTo>
                    <a:pt x="353889" y="223499"/>
                    <a:pt x="349099" y="221460"/>
                    <a:pt x="351250" y="218653"/>
                  </a:cubicBezTo>
                  <a:cubicBezTo>
                    <a:pt x="354011" y="215076"/>
                    <a:pt x="365173" y="216346"/>
                    <a:pt x="368623" y="212603"/>
                  </a:cubicBezTo>
                  <a:cubicBezTo>
                    <a:pt x="372073" y="208859"/>
                    <a:pt x="370693" y="204381"/>
                    <a:pt x="373737" y="200637"/>
                  </a:cubicBezTo>
                  <a:cubicBezTo>
                    <a:pt x="376781" y="196894"/>
                    <a:pt x="384534" y="193117"/>
                    <a:pt x="389202" y="189975"/>
                  </a:cubicBezTo>
                  <a:cubicBezTo>
                    <a:pt x="393870" y="186833"/>
                    <a:pt x="396265" y="188337"/>
                    <a:pt x="402028" y="186633"/>
                  </a:cubicBezTo>
                  <a:cubicBezTo>
                    <a:pt x="409578" y="184226"/>
                    <a:pt x="409578" y="178879"/>
                    <a:pt x="413718" y="174968"/>
                  </a:cubicBezTo>
                  <a:cubicBezTo>
                    <a:pt x="425043" y="164172"/>
                    <a:pt x="418508" y="156652"/>
                    <a:pt x="422201" y="144887"/>
                  </a:cubicBezTo>
                  <a:cubicBezTo>
                    <a:pt x="424150" y="138570"/>
                    <a:pt x="434094" y="135662"/>
                    <a:pt x="438681" y="130214"/>
                  </a:cubicBezTo>
                  <a:cubicBezTo>
                    <a:pt x="441847" y="126437"/>
                    <a:pt x="438397" y="120187"/>
                    <a:pt x="445135" y="117981"/>
                  </a:cubicBezTo>
                  <a:cubicBezTo>
                    <a:pt x="455932" y="114204"/>
                    <a:pt x="468352" y="112265"/>
                    <a:pt x="478580" y="107787"/>
                  </a:cubicBezTo>
                  <a:cubicBezTo>
                    <a:pt x="496115" y="100099"/>
                    <a:pt x="480285" y="96055"/>
                    <a:pt x="468352" y="88735"/>
                  </a:cubicBezTo>
                  <a:cubicBezTo>
                    <a:pt x="454430" y="80212"/>
                    <a:pt x="458205" y="66742"/>
                    <a:pt x="458407" y="56782"/>
                  </a:cubicBezTo>
                  <a:cubicBezTo>
                    <a:pt x="458407" y="48259"/>
                    <a:pt x="458894" y="35959"/>
                    <a:pt x="451710" y="27804"/>
                  </a:cubicBezTo>
                  <a:cubicBezTo>
                    <a:pt x="442456" y="17309"/>
                    <a:pt x="418305" y="11727"/>
                    <a:pt x="416113" y="-339"/>
                  </a:cubicBezTo>
                  <a:cubicBezTo>
                    <a:pt x="409740" y="3405"/>
                    <a:pt x="408239" y="5510"/>
                    <a:pt x="398416" y="470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34F93981-D7AE-4D66-A2DF-F73984E6B810}"/>
                </a:ext>
              </a:extLst>
            </p:cNvPr>
            <p:cNvSpPr/>
            <p:nvPr/>
          </p:nvSpPr>
          <p:spPr>
            <a:xfrm>
              <a:off x="6995223" y="4679829"/>
              <a:ext cx="52754" cy="31250"/>
            </a:xfrm>
            <a:custGeom>
              <a:avLst/>
              <a:gdLst>
                <a:gd name="connsiteX0" fmla="*/ 20602 w 52754"/>
                <a:gd name="connsiteY0" fmla="*/ 1098 h 31250"/>
                <a:gd name="connsiteX1" fmla="*/ -17 w 52754"/>
                <a:gd name="connsiteY1" fmla="*/ 20518 h 31250"/>
                <a:gd name="connsiteX2" fmla="*/ 30953 w 52754"/>
                <a:gd name="connsiteY2" fmla="*/ 30912 h 31250"/>
                <a:gd name="connsiteX3" fmla="*/ 44226 w 52754"/>
                <a:gd name="connsiteY3" fmla="*/ 23893 h 31250"/>
                <a:gd name="connsiteX4" fmla="*/ 29451 w 52754"/>
                <a:gd name="connsiteY4" fmla="*/ 16941 h 31250"/>
                <a:gd name="connsiteX5" fmla="*/ 51572 w 52754"/>
                <a:gd name="connsiteY5" fmla="*/ 11393 h 31250"/>
                <a:gd name="connsiteX6" fmla="*/ 42927 w 52754"/>
                <a:gd name="connsiteY6" fmla="*/ -339 h 31250"/>
                <a:gd name="connsiteX7" fmla="*/ 20602 w 52754"/>
                <a:gd name="connsiteY7" fmla="*/ 1098 h 31250"/>
                <a:gd name="connsiteX8" fmla="*/ 20602 w 52754"/>
                <a:gd name="connsiteY8" fmla="*/ 1098 h 3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" h="31250">
                  <a:moveTo>
                    <a:pt x="20602" y="1098"/>
                  </a:moveTo>
                  <a:cubicBezTo>
                    <a:pt x="12484" y="7081"/>
                    <a:pt x="-910" y="11727"/>
                    <a:pt x="-17" y="20518"/>
                  </a:cubicBezTo>
                  <a:cubicBezTo>
                    <a:pt x="1160" y="32082"/>
                    <a:pt x="20278" y="23258"/>
                    <a:pt x="30953" y="30912"/>
                  </a:cubicBezTo>
                  <a:cubicBezTo>
                    <a:pt x="35174" y="28302"/>
                    <a:pt x="39599" y="25956"/>
                    <a:pt x="44226" y="23893"/>
                  </a:cubicBezTo>
                  <a:cubicBezTo>
                    <a:pt x="42440" y="23024"/>
                    <a:pt x="27300" y="19080"/>
                    <a:pt x="29451" y="16941"/>
                  </a:cubicBezTo>
                  <a:cubicBezTo>
                    <a:pt x="34078" y="12362"/>
                    <a:pt x="47229" y="14869"/>
                    <a:pt x="51572" y="11393"/>
                  </a:cubicBezTo>
                  <a:cubicBezTo>
                    <a:pt x="55916" y="7917"/>
                    <a:pt x="46499" y="2235"/>
                    <a:pt x="42927" y="-339"/>
                  </a:cubicBezTo>
                  <a:cubicBezTo>
                    <a:pt x="33388" y="1767"/>
                    <a:pt x="31481" y="3004"/>
                    <a:pt x="20602" y="1098"/>
                  </a:cubicBezTo>
                  <a:cubicBezTo>
                    <a:pt x="18695" y="2502"/>
                    <a:pt x="27503" y="2302"/>
                    <a:pt x="20602" y="109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BCDF89B8-5A75-42B0-B364-D4DDC038812A}"/>
                </a:ext>
              </a:extLst>
            </p:cNvPr>
            <p:cNvSpPr/>
            <p:nvPr/>
          </p:nvSpPr>
          <p:spPr>
            <a:xfrm>
              <a:off x="6850846" y="4573341"/>
              <a:ext cx="187363" cy="108264"/>
            </a:xfrm>
            <a:custGeom>
              <a:avLst/>
              <a:gdLst>
                <a:gd name="connsiteX0" fmla="*/ 37122 w 187363"/>
                <a:gd name="connsiteY0" fmla="*/ 11861 h 108264"/>
                <a:gd name="connsiteX1" fmla="*/ 20318 w 187363"/>
                <a:gd name="connsiteY1" fmla="*/ 17175 h 108264"/>
                <a:gd name="connsiteX2" fmla="*/ 12768 w 187363"/>
                <a:gd name="connsiteY2" fmla="*/ 31614 h 108264"/>
                <a:gd name="connsiteX3" fmla="*/ -17 w 187363"/>
                <a:gd name="connsiteY3" fmla="*/ 46287 h 108264"/>
                <a:gd name="connsiteX4" fmla="*/ 17071 w 187363"/>
                <a:gd name="connsiteY4" fmla="*/ 59657 h 108264"/>
                <a:gd name="connsiteX5" fmla="*/ 32576 w 187363"/>
                <a:gd name="connsiteY5" fmla="*/ 61094 h 108264"/>
                <a:gd name="connsiteX6" fmla="*/ 45849 w 187363"/>
                <a:gd name="connsiteY6" fmla="*/ 54409 h 108264"/>
                <a:gd name="connsiteX7" fmla="*/ 61273 w 187363"/>
                <a:gd name="connsiteY7" fmla="*/ 62531 h 108264"/>
                <a:gd name="connsiteX8" fmla="*/ 73815 w 187363"/>
                <a:gd name="connsiteY8" fmla="*/ 61462 h 108264"/>
                <a:gd name="connsiteX9" fmla="*/ 83272 w 187363"/>
                <a:gd name="connsiteY9" fmla="*/ 64136 h 108264"/>
                <a:gd name="connsiteX10" fmla="*/ 113634 w 187363"/>
                <a:gd name="connsiteY10" fmla="*/ 68581 h 108264"/>
                <a:gd name="connsiteX11" fmla="*/ 141479 w 187363"/>
                <a:gd name="connsiteY11" fmla="*/ 88635 h 108264"/>
                <a:gd name="connsiteX12" fmla="*/ 187304 w 187363"/>
                <a:gd name="connsiteY12" fmla="*/ 106416 h 108264"/>
                <a:gd name="connsiteX13" fmla="*/ 149515 w 187363"/>
                <a:gd name="connsiteY13" fmla="*/ 74497 h 108264"/>
                <a:gd name="connsiteX14" fmla="*/ 128936 w 187363"/>
                <a:gd name="connsiteY14" fmla="*/ 63032 h 108264"/>
                <a:gd name="connsiteX15" fmla="*/ 108641 w 187363"/>
                <a:gd name="connsiteY15" fmla="*/ 56114 h 108264"/>
                <a:gd name="connsiteX16" fmla="*/ 86195 w 187363"/>
                <a:gd name="connsiteY16" fmla="*/ 34856 h 108264"/>
                <a:gd name="connsiteX17" fmla="*/ 67240 w 187363"/>
                <a:gd name="connsiteY17" fmla="*/ -339 h 108264"/>
                <a:gd name="connsiteX18" fmla="*/ 37001 w 187363"/>
                <a:gd name="connsiteY18" fmla="*/ 12128 h 1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7363" h="108264">
                  <a:moveTo>
                    <a:pt x="37122" y="11861"/>
                  </a:moveTo>
                  <a:cubicBezTo>
                    <a:pt x="32251" y="14034"/>
                    <a:pt x="23687" y="13900"/>
                    <a:pt x="20318" y="17175"/>
                  </a:cubicBezTo>
                  <a:cubicBezTo>
                    <a:pt x="15812" y="21587"/>
                    <a:pt x="19141" y="26902"/>
                    <a:pt x="12768" y="31614"/>
                  </a:cubicBezTo>
                  <a:cubicBezTo>
                    <a:pt x="6396" y="36327"/>
                    <a:pt x="104" y="39235"/>
                    <a:pt x="-17" y="46287"/>
                  </a:cubicBezTo>
                  <a:cubicBezTo>
                    <a:pt x="-261" y="56916"/>
                    <a:pt x="-17" y="57651"/>
                    <a:pt x="17071" y="59657"/>
                  </a:cubicBezTo>
                  <a:cubicBezTo>
                    <a:pt x="22266" y="60225"/>
                    <a:pt x="29532" y="64202"/>
                    <a:pt x="32576" y="61094"/>
                  </a:cubicBezTo>
                  <a:cubicBezTo>
                    <a:pt x="35174" y="58487"/>
                    <a:pt x="37528" y="51267"/>
                    <a:pt x="45849" y="54409"/>
                  </a:cubicBezTo>
                  <a:cubicBezTo>
                    <a:pt x="51613" y="56515"/>
                    <a:pt x="54291" y="61595"/>
                    <a:pt x="61273" y="62531"/>
                  </a:cubicBezTo>
                  <a:cubicBezTo>
                    <a:pt x="65494" y="62484"/>
                    <a:pt x="69675" y="62127"/>
                    <a:pt x="73815" y="61462"/>
                  </a:cubicBezTo>
                  <a:cubicBezTo>
                    <a:pt x="77306" y="61462"/>
                    <a:pt x="79822" y="63668"/>
                    <a:pt x="83272" y="64136"/>
                  </a:cubicBezTo>
                  <a:cubicBezTo>
                    <a:pt x="93136" y="65439"/>
                    <a:pt x="105922" y="63868"/>
                    <a:pt x="113634" y="68581"/>
                  </a:cubicBezTo>
                  <a:cubicBezTo>
                    <a:pt x="123375" y="74834"/>
                    <a:pt x="132670" y="81529"/>
                    <a:pt x="141479" y="88635"/>
                  </a:cubicBezTo>
                  <a:cubicBezTo>
                    <a:pt x="157714" y="101069"/>
                    <a:pt x="161773" y="112031"/>
                    <a:pt x="187304" y="106416"/>
                  </a:cubicBezTo>
                  <a:cubicBezTo>
                    <a:pt x="173301" y="96389"/>
                    <a:pt x="163437" y="84591"/>
                    <a:pt x="149515" y="74497"/>
                  </a:cubicBezTo>
                  <a:cubicBezTo>
                    <a:pt x="143305" y="69928"/>
                    <a:pt x="136405" y="66071"/>
                    <a:pt x="128936" y="63032"/>
                  </a:cubicBezTo>
                  <a:cubicBezTo>
                    <a:pt x="122645" y="60526"/>
                    <a:pt x="112700" y="60091"/>
                    <a:pt x="108641" y="56114"/>
                  </a:cubicBezTo>
                  <a:cubicBezTo>
                    <a:pt x="101213" y="48961"/>
                    <a:pt x="91310" y="42744"/>
                    <a:pt x="86195" y="34856"/>
                  </a:cubicBezTo>
                  <a:cubicBezTo>
                    <a:pt x="78077" y="22389"/>
                    <a:pt x="80675" y="11460"/>
                    <a:pt x="67240" y="-339"/>
                  </a:cubicBezTo>
                  <a:cubicBezTo>
                    <a:pt x="58757" y="5845"/>
                    <a:pt x="46945" y="7516"/>
                    <a:pt x="37001" y="1212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362CA935-FDBB-43FA-8E13-76FA9633CB5A}"/>
                </a:ext>
              </a:extLst>
            </p:cNvPr>
            <p:cNvSpPr/>
            <p:nvPr/>
          </p:nvSpPr>
          <p:spPr>
            <a:xfrm>
              <a:off x="6734835" y="4627182"/>
              <a:ext cx="423569" cy="199254"/>
            </a:xfrm>
            <a:custGeom>
              <a:avLst/>
              <a:gdLst>
                <a:gd name="connsiteX0" fmla="*/ 26006 w 423569"/>
                <a:gd name="connsiteY0" fmla="*/ 118989 h 199254"/>
                <a:gd name="connsiteX1" fmla="*/ 46057 w 423569"/>
                <a:gd name="connsiteY1" fmla="*/ 136202 h 199254"/>
                <a:gd name="connsiteX2" fmla="*/ 69356 w 423569"/>
                <a:gd name="connsiteY2" fmla="*/ 153917 h 199254"/>
                <a:gd name="connsiteX3" fmla="*/ 71020 w 423569"/>
                <a:gd name="connsiteY3" fmla="*/ 169459 h 199254"/>
                <a:gd name="connsiteX4" fmla="*/ 99433 w 423569"/>
                <a:gd name="connsiteY4" fmla="*/ 175608 h 199254"/>
                <a:gd name="connsiteX5" fmla="*/ 126507 w 423569"/>
                <a:gd name="connsiteY5" fmla="*/ 188109 h 199254"/>
                <a:gd name="connsiteX6" fmla="*/ 153661 w 423569"/>
                <a:gd name="connsiteY6" fmla="*/ 194794 h 199254"/>
                <a:gd name="connsiteX7" fmla="*/ 177163 w 423569"/>
                <a:gd name="connsiteY7" fmla="*/ 198136 h 199254"/>
                <a:gd name="connsiteX8" fmla="*/ 214424 w 423569"/>
                <a:gd name="connsiteY8" fmla="*/ 190214 h 199254"/>
                <a:gd name="connsiteX9" fmla="*/ 224409 w 423569"/>
                <a:gd name="connsiteY9" fmla="*/ 196064 h 199254"/>
                <a:gd name="connsiteX10" fmla="*/ 244258 w 423569"/>
                <a:gd name="connsiteY10" fmla="*/ 195362 h 199254"/>
                <a:gd name="connsiteX11" fmla="*/ 273076 w 423569"/>
                <a:gd name="connsiteY11" fmla="*/ 194626 h 199254"/>
                <a:gd name="connsiteX12" fmla="*/ 306360 w 423569"/>
                <a:gd name="connsiteY12" fmla="*/ 188176 h 199254"/>
                <a:gd name="connsiteX13" fmla="*/ 338304 w 423569"/>
                <a:gd name="connsiteY13" fmla="*/ 188443 h 199254"/>
                <a:gd name="connsiteX14" fmla="*/ 420985 w 423569"/>
                <a:gd name="connsiteY14" fmla="*/ 153114 h 199254"/>
                <a:gd name="connsiteX15" fmla="*/ 409458 w 423569"/>
                <a:gd name="connsiteY15" fmla="*/ 147332 h 199254"/>
                <a:gd name="connsiteX16" fmla="*/ 374266 w 423569"/>
                <a:gd name="connsiteY16" fmla="*/ 137706 h 199254"/>
                <a:gd name="connsiteX17" fmla="*/ 311515 w 423569"/>
                <a:gd name="connsiteY17" fmla="*/ 114610 h 199254"/>
                <a:gd name="connsiteX18" fmla="*/ 292559 w 423569"/>
                <a:gd name="connsiteY18" fmla="*/ 98601 h 199254"/>
                <a:gd name="connsiteX19" fmla="*/ 285943 w 423569"/>
                <a:gd name="connsiteY19" fmla="*/ 89342 h 199254"/>
                <a:gd name="connsiteX20" fmla="*/ 286390 w 423569"/>
                <a:gd name="connsiteY20" fmla="*/ 80351 h 199254"/>
                <a:gd name="connsiteX21" fmla="*/ 261021 w 423569"/>
                <a:gd name="connsiteY21" fmla="*/ 76073 h 199254"/>
                <a:gd name="connsiteX22" fmla="*/ 277663 w 423569"/>
                <a:gd name="connsiteY22" fmla="*/ 56019 h 199254"/>
                <a:gd name="connsiteX23" fmla="*/ 226235 w 423569"/>
                <a:gd name="connsiteY23" fmla="*/ 12568 h 199254"/>
                <a:gd name="connsiteX24" fmla="*/ 199284 w 423569"/>
                <a:gd name="connsiteY24" fmla="*/ 9995 h 199254"/>
                <a:gd name="connsiteX25" fmla="*/ 189827 w 423569"/>
                <a:gd name="connsiteY25" fmla="*/ 7321 h 199254"/>
                <a:gd name="connsiteX26" fmla="*/ 172860 w 423569"/>
                <a:gd name="connsiteY26" fmla="*/ 6987 h 199254"/>
                <a:gd name="connsiteX27" fmla="*/ 151753 w 423569"/>
                <a:gd name="connsiteY27" fmla="*/ 3042 h 199254"/>
                <a:gd name="connsiteX28" fmla="*/ 117617 w 423569"/>
                <a:gd name="connsiteY28" fmla="*/ 4580 h 199254"/>
                <a:gd name="connsiteX29" fmla="*/ 105440 w 423569"/>
                <a:gd name="connsiteY29" fmla="*/ 21292 h 199254"/>
                <a:gd name="connsiteX30" fmla="*/ 79706 w 423569"/>
                <a:gd name="connsiteY30" fmla="*/ 36433 h 199254"/>
                <a:gd name="connsiteX31" fmla="*/ 68139 w 423569"/>
                <a:gd name="connsiteY31" fmla="*/ 44287 h 199254"/>
                <a:gd name="connsiteX32" fmla="*/ 63024 w 423569"/>
                <a:gd name="connsiteY32" fmla="*/ 56253 h 199254"/>
                <a:gd name="connsiteX33" fmla="*/ 48736 w 423569"/>
                <a:gd name="connsiteY33" fmla="*/ 60899 h 199254"/>
                <a:gd name="connsiteX34" fmla="*/ 46301 w 423569"/>
                <a:gd name="connsiteY34" fmla="*/ 68519 h 199254"/>
                <a:gd name="connsiteX35" fmla="*/ 33515 w 423569"/>
                <a:gd name="connsiteY35" fmla="*/ 90779 h 199254"/>
                <a:gd name="connsiteX36" fmla="*/ 15656 w 423569"/>
                <a:gd name="connsiteY36" fmla="*/ 96996 h 199254"/>
                <a:gd name="connsiteX37" fmla="*/ 394 w 423569"/>
                <a:gd name="connsiteY37" fmla="*/ 108527 h 199254"/>
                <a:gd name="connsiteX38" fmla="*/ 26006 w 423569"/>
                <a:gd name="connsiteY38" fmla="*/ 118922 h 199254"/>
                <a:gd name="connsiteX39" fmla="*/ 26006 w 423569"/>
                <a:gd name="connsiteY39" fmla="*/ 118989 h 199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23569" h="199254">
                  <a:moveTo>
                    <a:pt x="26006" y="118989"/>
                  </a:moveTo>
                  <a:cubicBezTo>
                    <a:pt x="29416" y="125440"/>
                    <a:pt x="40903" y="130152"/>
                    <a:pt x="46057" y="136202"/>
                  </a:cubicBezTo>
                  <a:cubicBezTo>
                    <a:pt x="52227" y="143488"/>
                    <a:pt x="55393" y="150507"/>
                    <a:pt x="69356" y="153917"/>
                  </a:cubicBezTo>
                  <a:cubicBezTo>
                    <a:pt x="81046" y="156791"/>
                    <a:pt x="73131" y="163442"/>
                    <a:pt x="71020" y="169459"/>
                  </a:cubicBezTo>
                  <a:cubicBezTo>
                    <a:pt x="80234" y="172259"/>
                    <a:pt x="89732" y="174318"/>
                    <a:pt x="99433" y="175608"/>
                  </a:cubicBezTo>
                  <a:cubicBezTo>
                    <a:pt x="109986" y="177480"/>
                    <a:pt x="117861" y="184132"/>
                    <a:pt x="126507" y="188109"/>
                  </a:cubicBezTo>
                  <a:cubicBezTo>
                    <a:pt x="135152" y="192086"/>
                    <a:pt x="143351" y="193022"/>
                    <a:pt x="153661" y="194794"/>
                  </a:cubicBezTo>
                  <a:cubicBezTo>
                    <a:pt x="160155" y="195963"/>
                    <a:pt x="171642" y="200776"/>
                    <a:pt x="177163" y="198136"/>
                  </a:cubicBezTo>
                  <a:cubicBezTo>
                    <a:pt x="185889" y="193791"/>
                    <a:pt x="201313" y="186839"/>
                    <a:pt x="214424" y="190214"/>
                  </a:cubicBezTo>
                  <a:cubicBezTo>
                    <a:pt x="219010" y="191351"/>
                    <a:pt x="218808" y="194827"/>
                    <a:pt x="224409" y="196064"/>
                  </a:cubicBezTo>
                  <a:cubicBezTo>
                    <a:pt x="230010" y="197300"/>
                    <a:pt x="239427" y="195495"/>
                    <a:pt x="244258" y="195362"/>
                  </a:cubicBezTo>
                  <a:cubicBezTo>
                    <a:pt x="252822" y="195128"/>
                    <a:pt x="265648" y="197100"/>
                    <a:pt x="273076" y="194626"/>
                  </a:cubicBezTo>
                  <a:cubicBezTo>
                    <a:pt x="283183" y="191284"/>
                    <a:pt x="293371" y="186738"/>
                    <a:pt x="306360" y="188176"/>
                  </a:cubicBezTo>
                  <a:cubicBezTo>
                    <a:pt x="317360" y="189412"/>
                    <a:pt x="328968" y="192822"/>
                    <a:pt x="338304" y="188443"/>
                  </a:cubicBezTo>
                  <a:cubicBezTo>
                    <a:pt x="365093" y="175455"/>
                    <a:pt x="392694" y="163663"/>
                    <a:pt x="420985" y="153114"/>
                  </a:cubicBezTo>
                  <a:cubicBezTo>
                    <a:pt x="429671" y="149772"/>
                    <a:pt x="413476" y="147934"/>
                    <a:pt x="409458" y="147332"/>
                  </a:cubicBezTo>
                  <a:cubicBezTo>
                    <a:pt x="397281" y="145330"/>
                    <a:pt x="385469" y="142095"/>
                    <a:pt x="374266" y="137706"/>
                  </a:cubicBezTo>
                  <a:cubicBezTo>
                    <a:pt x="356610" y="131021"/>
                    <a:pt x="324017" y="124905"/>
                    <a:pt x="311515" y="114610"/>
                  </a:cubicBezTo>
                  <a:cubicBezTo>
                    <a:pt x="305020" y="109263"/>
                    <a:pt x="297430" y="104583"/>
                    <a:pt x="292559" y="98601"/>
                  </a:cubicBezTo>
                  <a:cubicBezTo>
                    <a:pt x="290042" y="95676"/>
                    <a:pt x="287810" y="92581"/>
                    <a:pt x="285943" y="89342"/>
                  </a:cubicBezTo>
                  <a:cubicBezTo>
                    <a:pt x="282899" y="83727"/>
                    <a:pt x="298120" y="86401"/>
                    <a:pt x="286390" y="80351"/>
                  </a:cubicBezTo>
                  <a:cubicBezTo>
                    <a:pt x="279043" y="76508"/>
                    <a:pt x="263740" y="84362"/>
                    <a:pt x="261021" y="76073"/>
                  </a:cubicBezTo>
                  <a:cubicBezTo>
                    <a:pt x="257774" y="66313"/>
                    <a:pt x="268571" y="62470"/>
                    <a:pt x="277663" y="56019"/>
                  </a:cubicBezTo>
                  <a:cubicBezTo>
                    <a:pt x="286755" y="49568"/>
                    <a:pt x="238494" y="17782"/>
                    <a:pt x="226235" y="12568"/>
                  </a:cubicBezTo>
                  <a:cubicBezTo>
                    <a:pt x="219985" y="9794"/>
                    <a:pt x="206631" y="10964"/>
                    <a:pt x="199284" y="9995"/>
                  </a:cubicBezTo>
                  <a:cubicBezTo>
                    <a:pt x="195834" y="9527"/>
                    <a:pt x="193317" y="7354"/>
                    <a:pt x="189827" y="7321"/>
                  </a:cubicBezTo>
                  <a:cubicBezTo>
                    <a:pt x="183738" y="7321"/>
                    <a:pt x="178705" y="9961"/>
                    <a:pt x="172860" y="6987"/>
                  </a:cubicBezTo>
                  <a:cubicBezTo>
                    <a:pt x="167015" y="4012"/>
                    <a:pt x="157477" y="-5280"/>
                    <a:pt x="151753" y="3042"/>
                  </a:cubicBezTo>
                  <a:cubicBezTo>
                    <a:pt x="146030" y="11365"/>
                    <a:pt x="132636" y="5248"/>
                    <a:pt x="117617" y="4580"/>
                  </a:cubicBezTo>
                  <a:cubicBezTo>
                    <a:pt x="116724" y="11265"/>
                    <a:pt x="110149" y="15510"/>
                    <a:pt x="105440" y="21292"/>
                  </a:cubicBezTo>
                  <a:cubicBezTo>
                    <a:pt x="98581" y="29781"/>
                    <a:pt x="88961" y="29514"/>
                    <a:pt x="79706" y="36433"/>
                  </a:cubicBezTo>
                  <a:cubicBezTo>
                    <a:pt x="76297" y="39006"/>
                    <a:pt x="70574" y="41312"/>
                    <a:pt x="68139" y="44287"/>
                  </a:cubicBezTo>
                  <a:cubicBezTo>
                    <a:pt x="65094" y="48031"/>
                    <a:pt x="66352" y="52643"/>
                    <a:pt x="63024" y="56253"/>
                  </a:cubicBezTo>
                  <a:cubicBezTo>
                    <a:pt x="60304" y="59228"/>
                    <a:pt x="53445" y="59595"/>
                    <a:pt x="48736" y="60899"/>
                  </a:cubicBezTo>
                  <a:cubicBezTo>
                    <a:pt x="42607" y="62537"/>
                    <a:pt x="49305" y="65478"/>
                    <a:pt x="46301" y="68519"/>
                  </a:cubicBezTo>
                  <a:cubicBezTo>
                    <a:pt x="39685" y="74866"/>
                    <a:pt x="35302" y="82554"/>
                    <a:pt x="33515" y="90779"/>
                  </a:cubicBezTo>
                  <a:cubicBezTo>
                    <a:pt x="30877" y="99737"/>
                    <a:pt x="29172" y="97464"/>
                    <a:pt x="15656" y="96996"/>
                  </a:cubicBezTo>
                  <a:cubicBezTo>
                    <a:pt x="8715" y="96695"/>
                    <a:pt x="-2447" y="104416"/>
                    <a:pt x="394" y="108527"/>
                  </a:cubicBezTo>
                  <a:cubicBezTo>
                    <a:pt x="4453" y="114443"/>
                    <a:pt x="22516" y="112338"/>
                    <a:pt x="26006" y="118922"/>
                  </a:cubicBezTo>
                  <a:cubicBezTo>
                    <a:pt x="28929" y="124537"/>
                    <a:pt x="23084" y="113474"/>
                    <a:pt x="26006" y="11898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E26B5B26-EB4A-440E-B5EC-099B02B44470}"/>
                </a:ext>
              </a:extLst>
            </p:cNvPr>
            <p:cNvSpPr/>
            <p:nvPr/>
          </p:nvSpPr>
          <p:spPr>
            <a:xfrm>
              <a:off x="6855555" y="4258324"/>
              <a:ext cx="45401" cy="29986"/>
            </a:xfrm>
            <a:custGeom>
              <a:avLst/>
              <a:gdLst>
                <a:gd name="connsiteX0" fmla="*/ 40165 w 45401"/>
                <a:gd name="connsiteY0" fmla="*/ 13800 h 29986"/>
                <a:gd name="connsiteX1" fmla="*/ 33914 w 45401"/>
                <a:gd name="connsiteY1" fmla="*/ 129 h 29986"/>
                <a:gd name="connsiteX2" fmla="*/ 22305 w 45401"/>
                <a:gd name="connsiteY2" fmla="*/ 6814 h 29986"/>
                <a:gd name="connsiteX3" fmla="*/ -60 w 45401"/>
                <a:gd name="connsiteY3" fmla="*/ 24997 h 29986"/>
                <a:gd name="connsiteX4" fmla="*/ 14147 w 45401"/>
                <a:gd name="connsiteY4" fmla="*/ 29643 h 29986"/>
                <a:gd name="connsiteX5" fmla="*/ 40165 w 45401"/>
                <a:gd name="connsiteY5" fmla="*/ 13800 h 2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01" h="29986">
                  <a:moveTo>
                    <a:pt x="40165" y="13800"/>
                  </a:moveTo>
                  <a:cubicBezTo>
                    <a:pt x="49988" y="10190"/>
                    <a:pt x="44670" y="2102"/>
                    <a:pt x="33914" y="129"/>
                  </a:cubicBezTo>
                  <a:cubicBezTo>
                    <a:pt x="23158" y="-1842"/>
                    <a:pt x="26689" y="2803"/>
                    <a:pt x="22305" y="6814"/>
                  </a:cubicBezTo>
                  <a:cubicBezTo>
                    <a:pt x="15527" y="13131"/>
                    <a:pt x="6557" y="18613"/>
                    <a:pt x="-60" y="24997"/>
                  </a:cubicBezTo>
                  <a:cubicBezTo>
                    <a:pt x="2741" y="25899"/>
                    <a:pt x="11265" y="29810"/>
                    <a:pt x="14147" y="29643"/>
                  </a:cubicBezTo>
                  <a:cubicBezTo>
                    <a:pt x="21656" y="23165"/>
                    <a:pt x="30464" y="17804"/>
                    <a:pt x="40165" y="1380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50A6DA55-2A69-4B3E-B79F-159B8CE80181}"/>
                </a:ext>
              </a:extLst>
            </p:cNvPr>
            <p:cNvSpPr/>
            <p:nvPr/>
          </p:nvSpPr>
          <p:spPr>
            <a:xfrm>
              <a:off x="6870995" y="4223293"/>
              <a:ext cx="223796" cy="82218"/>
            </a:xfrm>
            <a:custGeom>
              <a:avLst/>
              <a:gdLst>
                <a:gd name="connsiteX0" fmla="*/ 24725 w 223796"/>
                <a:gd name="connsiteY0" fmla="*/ 48831 h 82218"/>
                <a:gd name="connsiteX1" fmla="*/ 3253 w 223796"/>
                <a:gd name="connsiteY1" fmla="*/ 61264 h 82218"/>
                <a:gd name="connsiteX2" fmla="*/ 1670 w 223796"/>
                <a:gd name="connsiteY2" fmla="*/ 70422 h 82218"/>
                <a:gd name="connsiteX3" fmla="*/ 28987 w 223796"/>
                <a:gd name="connsiteY3" fmla="*/ 81853 h 82218"/>
                <a:gd name="connsiteX4" fmla="*/ 64625 w 223796"/>
                <a:gd name="connsiteY4" fmla="*/ 75168 h 82218"/>
                <a:gd name="connsiteX5" fmla="*/ 112602 w 223796"/>
                <a:gd name="connsiteY5" fmla="*/ 66980 h 82218"/>
                <a:gd name="connsiteX6" fmla="*/ 178439 w 223796"/>
                <a:gd name="connsiteY6" fmla="*/ 49399 h 82218"/>
                <a:gd name="connsiteX7" fmla="*/ 183553 w 223796"/>
                <a:gd name="connsiteY7" fmla="*/ 34258 h 82218"/>
                <a:gd name="connsiteX8" fmla="*/ 187206 w 223796"/>
                <a:gd name="connsiteY8" fmla="*/ 17546 h 82218"/>
                <a:gd name="connsiteX9" fmla="*/ 223737 w 223796"/>
                <a:gd name="connsiteY9" fmla="*/ 8789 h 82218"/>
                <a:gd name="connsiteX10" fmla="*/ 169550 w 223796"/>
                <a:gd name="connsiteY10" fmla="*/ 3909 h 82218"/>
                <a:gd name="connsiteX11" fmla="*/ 133668 w 223796"/>
                <a:gd name="connsiteY11" fmla="*/ 6917 h 82218"/>
                <a:gd name="connsiteX12" fmla="*/ 97909 w 223796"/>
                <a:gd name="connsiteY12" fmla="*/ 2806 h 82218"/>
                <a:gd name="connsiteX13" fmla="*/ 60566 w 223796"/>
                <a:gd name="connsiteY13" fmla="*/ 3675 h 82218"/>
                <a:gd name="connsiteX14" fmla="*/ 35928 w 223796"/>
                <a:gd name="connsiteY14" fmla="*/ 4845 h 82218"/>
                <a:gd name="connsiteX15" fmla="*/ 16485 w 223796"/>
                <a:gd name="connsiteY15" fmla="*/ 13468 h 82218"/>
                <a:gd name="connsiteX16" fmla="*/ 16729 w 223796"/>
                <a:gd name="connsiteY16" fmla="*/ 24766 h 82218"/>
                <a:gd name="connsiteX17" fmla="*/ 11168 w 223796"/>
                <a:gd name="connsiteY17" fmla="*/ 34358 h 82218"/>
                <a:gd name="connsiteX18" fmla="*/ 24522 w 223796"/>
                <a:gd name="connsiteY18" fmla="*/ 48831 h 82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3796" h="82218">
                  <a:moveTo>
                    <a:pt x="24725" y="48831"/>
                  </a:moveTo>
                  <a:cubicBezTo>
                    <a:pt x="16851" y="52079"/>
                    <a:pt x="9626" y="56267"/>
                    <a:pt x="3253" y="61264"/>
                  </a:cubicBezTo>
                  <a:cubicBezTo>
                    <a:pt x="-2104" y="65074"/>
                    <a:pt x="331" y="65475"/>
                    <a:pt x="1670" y="70422"/>
                  </a:cubicBezTo>
                  <a:cubicBezTo>
                    <a:pt x="2320" y="72695"/>
                    <a:pt x="24644" y="81619"/>
                    <a:pt x="28987" y="81853"/>
                  </a:cubicBezTo>
                  <a:cubicBezTo>
                    <a:pt x="37511" y="82321"/>
                    <a:pt x="55127" y="76572"/>
                    <a:pt x="64625" y="75168"/>
                  </a:cubicBezTo>
                  <a:cubicBezTo>
                    <a:pt x="80861" y="72929"/>
                    <a:pt x="96732" y="69820"/>
                    <a:pt x="112602" y="66980"/>
                  </a:cubicBezTo>
                  <a:cubicBezTo>
                    <a:pt x="132897" y="63303"/>
                    <a:pt x="170037" y="61832"/>
                    <a:pt x="178439" y="49399"/>
                  </a:cubicBezTo>
                  <a:cubicBezTo>
                    <a:pt x="181645" y="44586"/>
                    <a:pt x="175679" y="38335"/>
                    <a:pt x="183553" y="34258"/>
                  </a:cubicBezTo>
                  <a:cubicBezTo>
                    <a:pt x="191427" y="30180"/>
                    <a:pt x="176206" y="22125"/>
                    <a:pt x="187206" y="17546"/>
                  </a:cubicBezTo>
                  <a:cubicBezTo>
                    <a:pt x="196298" y="13635"/>
                    <a:pt x="213184" y="11697"/>
                    <a:pt x="223737" y="8789"/>
                  </a:cubicBezTo>
                  <a:cubicBezTo>
                    <a:pt x="209206" y="3709"/>
                    <a:pt x="185299" y="4110"/>
                    <a:pt x="169550" y="3909"/>
                  </a:cubicBezTo>
                  <a:cubicBezTo>
                    <a:pt x="156642" y="3709"/>
                    <a:pt x="147225" y="8254"/>
                    <a:pt x="133668" y="6917"/>
                  </a:cubicBezTo>
                  <a:cubicBezTo>
                    <a:pt x="125550" y="6115"/>
                    <a:pt x="103510" y="7552"/>
                    <a:pt x="97909" y="2806"/>
                  </a:cubicBezTo>
                  <a:cubicBezTo>
                    <a:pt x="91617" y="-2575"/>
                    <a:pt x="70470" y="4745"/>
                    <a:pt x="60566" y="3675"/>
                  </a:cubicBezTo>
                  <a:cubicBezTo>
                    <a:pt x="49648" y="2472"/>
                    <a:pt x="39297" y="-5383"/>
                    <a:pt x="35928" y="4845"/>
                  </a:cubicBezTo>
                  <a:cubicBezTo>
                    <a:pt x="34021" y="10661"/>
                    <a:pt x="27810" y="13602"/>
                    <a:pt x="16485" y="13468"/>
                  </a:cubicBezTo>
                  <a:cubicBezTo>
                    <a:pt x="13644" y="18448"/>
                    <a:pt x="16729" y="20153"/>
                    <a:pt x="16729" y="24766"/>
                  </a:cubicBezTo>
                  <a:cubicBezTo>
                    <a:pt x="16729" y="28108"/>
                    <a:pt x="12427" y="31149"/>
                    <a:pt x="11168" y="34358"/>
                  </a:cubicBezTo>
                  <a:cubicBezTo>
                    <a:pt x="23670" y="35127"/>
                    <a:pt x="38607" y="43650"/>
                    <a:pt x="24522" y="4883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5970E571-B992-4E6B-B40E-093FC16C5E8B}"/>
                </a:ext>
              </a:extLst>
            </p:cNvPr>
            <p:cNvSpPr/>
            <p:nvPr/>
          </p:nvSpPr>
          <p:spPr>
            <a:xfrm>
              <a:off x="9582064" y="4891177"/>
              <a:ext cx="114017" cy="81248"/>
            </a:xfrm>
            <a:custGeom>
              <a:avLst/>
              <a:gdLst>
                <a:gd name="connsiteX0" fmla="*/ 57038 w 114017"/>
                <a:gd name="connsiteY0" fmla="*/ 620 h 81248"/>
                <a:gd name="connsiteX1" fmla="*/ 36175 w 114017"/>
                <a:gd name="connsiteY1" fmla="*/ 3060 h 81248"/>
                <a:gd name="connsiteX2" fmla="*/ 43765 w 114017"/>
                <a:gd name="connsiteY2" fmla="*/ 17165 h 81248"/>
                <a:gd name="connsiteX3" fmla="*/ 29518 w 114017"/>
                <a:gd name="connsiteY3" fmla="*/ 15794 h 81248"/>
                <a:gd name="connsiteX4" fmla="*/ 23389 w 114017"/>
                <a:gd name="connsiteY4" fmla="*/ 30634 h 81248"/>
                <a:gd name="connsiteX5" fmla="*/ 2363 w 114017"/>
                <a:gd name="connsiteY5" fmla="*/ 44806 h 81248"/>
                <a:gd name="connsiteX6" fmla="*/ 1105 w 114017"/>
                <a:gd name="connsiteY6" fmla="*/ 57707 h 81248"/>
                <a:gd name="connsiteX7" fmla="*/ 22699 w 114017"/>
                <a:gd name="connsiteY7" fmla="*/ 65829 h 81248"/>
                <a:gd name="connsiteX8" fmla="*/ 78956 w 114017"/>
                <a:gd name="connsiteY8" fmla="*/ 71678 h 81248"/>
                <a:gd name="connsiteX9" fmla="*/ 97384 w 114017"/>
                <a:gd name="connsiteY9" fmla="*/ 80101 h 81248"/>
                <a:gd name="connsiteX10" fmla="*/ 106719 w 114017"/>
                <a:gd name="connsiteY10" fmla="*/ 69807 h 81248"/>
                <a:gd name="connsiteX11" fmla="*/ 111185 w 114017"/>
                <a:gd name="connsiteY11" fmla="*/ 30367 h 81248"/>
                <a:gd name="connsiteX12" fmla="*/ 105298 w 114017"/>
                <a:gd name="connsiteY12" fmla="*/ 18769 h 81248"/>
                <a:gd name="connsiteX13" fmla="*/ 90768 w 114017"/>
                <a:gd name="connsiteY13" fmla="*/ 11416 h 81248"/>
                <a:gd name="connsiteX14" fmla="*/ 57038 w 114017"/>
                <a:gd name="connsiteY14" fmla="*/ 620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81248">
                  <a:moveTo>
                    <a:pt x="57038" y="620"/>
                  </a:moveTo>
                  <a:cubicBezTo>
                    <a:pt x="48635" y="1121"/>
                    <a:pt x="36540" y="-3124"/>
                    <a:pt x="36175" y="3060"/>
                  </a:cubicBezTo>
                  <a:cubicBezTo>
                    <a:pt x="35890" y="8274"/>
                    <a:pt x="44698" y="13455"/>
                    <a:pt x="43765" y="17165"/>
                  </a:cubicBezTo>
                  <a:cubicBezTo>
                    <a:pt x="42384" y="22646"/>
                    <a:pt x="34510" y="16596"/>
                    <a:pt x="29518" y="15794"/>
                  </a:cubicBezTo>
                  <a:cubicBezTo>
                    <a:pt x="19451" y="14157"/>
                    <a:pt x="22009" y="26757"/>
                    <a:pt x="23389" y="30634"/>
                  </a:cubicBezTo>
                  <a:cubicBezTo>
                    <a:pt x="26880" y="40026"/>
                    <a:pt x="-2305" y="37887"/>
                    <a:pt x="2363" y="44806"/>
                  </a:cubicBezTo>
                  <a:cubicBezTo>
                    <a:pt x="5123" y="48884"/>
                    <a:pt x="-2954" y="54833"/>
                    <a:pt x="1105" y="57707"/>
                  </a:cubicBezTo>
                  <a:cubicBezTo>
                    <a:pt x="7721" y="61371"/>
                    <a:pt x="15027" y="64115"/>
                    <a:pt x="22699" y="65829"/>
                  </a:cubicBezTo>
                  <a:cubicBezTo>
                    <a:pt x="44373" y="71912"/>
                    <a:pt x="58864" y="67902"/>
                    <a:pt x="78956" y="71678"/>
                  </a:cubicBezTo>
                  <a:cubicBezTo>
                    <a:pt x="86506" y="73116"/>
                    <a:pt x="90280" y="78363"/>
                    <a:pt x="97384" y="80101"/>
                  </a:cubicBezTo>
                  <a:cubicBezTo>
                    <a:pt x="110697" y="83644"/>
                    <a:pt x="106435" y="74687"/>
                    <a:pt x="106719" y="69807"/>
                  </a:cubicBezTo>
                  <a:cubicBezTo>
                    <a:pt x="107531" y="54465"/>
                    <a:pt x="119140" y="48081"/>
                    <a:pt x="111185" y="30367"/>
                  </a:cubicBezTo>
                  <a:cubicBezTo>
                    <a:pt x="109439" y="26523"/>
                    <a:pt x="107490" y="22646"/>
                    <a:pt x="105298" y="18769"/>
                  </a:cubicBezTo>
                  <a:cubicBezTo>
                    <a:pt x="100104" y="9577"/>
                    <a:pt x="101443" y="14524"/>
                    <a:pt x="90768" y="11416"/>
                  </a:cubicBezTo>
                  <a:cubicBezTo>
                    <a:pt x="80092" y="8307"/>
                    <a:pt x="67793" y="-48"/>
                    <a:pt x="57038" y="6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6C9A8594-A875-4298-A7B6-57140008C0D3}"/>
                </a:ext>
              </a:extLst>
            </p:cNvPr>
            <p:cNvSpPr/>
            <p:nvPr/>
          </p:nvSpPr>
          <p:spPr>
            <a:xfrm>
              <a:off x="8413553" y="4703992"/>
              <a:ext cx="112986" cy="117151"/>
            </a:xfrm>
            <a:custGeom>
              <a:avLst/>
              <a:gdLst>
                <a:gd name="connsiteX0" fmla="*/ 98411 w 112986"/>
                <a:gd name="connsiteY0" fmla="*/ 107020 h 117151"/>
                <a:gd name="connsiteX1" fmla="*/ 101699 w 112986"/>
                <a:gd name="connsiteY1" fmla="*/ 81752 h 117151"/>
                <a:gd name="connsiteX2" fmla="*/ 95245 w 112986"/>
                <a:gd name="connsiteY2" fmla="*/ 73463 h 117151"/>
                <a:gd name="connsiteX3" fmla="*/ 77548 w 112986"/>
                <a:gd name="connsiteY3" fmla="*/ 79713 h 117151"/>
                <a:gd name="connsiteX4" fmla="*/ 72677 w 112986"/>
                <a:gd name="connsiteY4" fmla="*/ 66878 h 117151"/>
                <a:gd name="connsiteX5" fmla="*/ 87654 w 112986"/>
                <a:gd name="connsiteY5" fmla="*/ 62834 h 117151"/>
                <a:gd name="connsiteX6" fmla="*/ 111725 w 112986"/>
                <a:gd name="connsiteY6" fmla="*/ 54110 h 117151"/>
                <a:gd name="connsiteX7" fmla="*/ 60622 w 112986"/>
                <a:gd name="connsiteY7" fmla="*/ 34056 h 117151"/>
                <a:gd name="connsiteX8" fmla="*/ 49947 w 112986"/>
                <a:gd name="connsiteY8" fmla="*/ 22324 h 117151"/>
                <a:gd name="connsiteX9" fmla="*/ 28799 w 112986"/>
                <a:gd name="connsiteY9" fmla="*/ 5980 h 117151"/>
                <a:gd name="connsiteX10" fmla="*/ 7449 w 112986"/>
                <a:gd name="connsiteY10" fmla="*/ 2638 h 117151"/>
                <a:gd name="connsiteX11" fmla="*/ 18733 w 112986"/>
                <a:gd name="connsiteY11" fmla="*/ 13534 h 117151"/>
                <a:gd name="connsiteX12" fmla="*/ 19788 w 112986"/>
                <a:gd name="connsiteY12" fmla="*/ 21823 h 117151"/>
                <a:gd name="connsiteX13" fmla="*/ 2497 w 112986"/>
                <a:gd name="connsiteY13" fmla="*/ 28173 h 117151"/>
                <a:gd name="connsiteX14" fmla="*/ -60 w 112986"/>
                <a:gd name="connsiteY14" fmla="*/ 81016 h 117151"/>
                <a:gd name="connsiteX15" fmla="*/ 32412 w 112986"/>
                <a:gd name="connsiteY15" fmla="*/ 86297 h 117151"/>
                <a:gd name="connsiteX16" fmla="*/ 57943 w 112986"/>
                <a:gd name="connsiteY16" fmla="*/ 79111 h 117151"/>
                <a:gd name="connsiteX17" fmla="*/ 73367 w 112986"/>
                <a:gd name="connsiteY17" fmla="*/ 116813 h 117151"/>
                <a:gd name="connsiteX18" fmla="*/ 86356 w 112986"/>
                <a:gd name="connsiteY18" fmla="*/ 114440 h 117151"/>
                <a:gd name="connsiteX19" fmla="*/ 98533 w 112986"/>
                <a:gd name="connsiteY19" fmla="*/ 107020 h 117151"/>
                <a:gd name="connsiteX20" fmla="*/ 98411 w 112986"/>
                <a:gd name="connsiteY20" fmla="*/ 107020 h 11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2986" h="117151">
                  <a:moveTo>
                    <a:pt x="98411" y="107020"/>
                  </a:moveTo>
                  <a:cubicBezTo>
                    <a:pt x="99345" y="98564"/>
                    <a:pt x="100887" y="90308"/>
                    <a:pt x="101699" y="81752"/>
                  </a:cubicBezTo>
                  <a:cubicBezTo>
                    <a:pt x="101983" y="78777"/>
                    <a:pt x="104093" y="69986"/>
                    <a:pt x="95245" y="73463"/>
                  </a:cubicBezTo>
                  <a:cubicBezTo>
                    <a:pt x="90090" y="75501"/>
                    <a:pt x="84854" y="79880"/>
                    <a:pt x="77548" y="79713"/>
                  </a:cubicBezTo>
                  <a:cubicBezTo>
                    <a:pt x="67522" y="79713"/>
                    <a:pt x="71176" y="69218"/>
                    <a:pt x="72677" y="66878"/>
                  </a:cubicBezTo>
                  <a:cubicBezTo>
                    <a:pt x="76046" y="61664"/>
                    <a:pt x="79375" y="62633"/>
                    <a:pt x="87654" y="62834"/>
                  </a:cubicBezTo>
                  <a:cubicBezTo>
                    <a:pt x="96787" y="62740"/>
                    <a:pt x="105474" y="59588"/>
                    <a:pt x="111725" y="54110"/>
                  </a:cubicBezTo>
                  <a:cubicBezTo>
                    <a:pt x="121507" y="45086"/>
                    <a:pt x="68618" y="37733"/>
                    <a:pt x="60622" y="34056"/>
                  </a:cubicBezTo>
                  <a:cubicBezTo>
                    <a:pt x="55304" y="31483"/>
                    <a:pt x="48445" y="26034"/>
                    <a:pt x="49947" y="22324"/>
                  </a:cubicBezTo>
                  <a:cubicBezTo>
                    <a:pt x="53722" y="13400"/>
                    <a:pt x="38582" y="11061"/>
                    <a:pt x="28799" y="5980"/>
                  </a:cubicBezTo>
                  <a:cubicBezTo>
                    <a:pt x="21250" y="2070"/>
                    <a:pt x="14633" y="-4047"/>
                    <a:pt x="7449" y="2638"/>
                  </a:cubicBezTo>
                  <a:cubicBezTo>
                    <a:pt x="3878" y="5980"/>
                    <a:pt x="14755" y="11094"/>
                    <a:pt x="18733" y="13534"/>
                  </a:cubicBezTo>
                  <a:cubicBezTo>
                    <a:pt x="23401" y="16475"/>
                    <a:pt x="27582" y="20586"/>
                    <a:pt x="19788" y="21823"/>
                  </a:cubicBezTo>
                  <a:cubicBezTo>
                    <a:pt x="9236" y="23528"/>
                    <a:pt x="5055" y="19283"/>
                    <a:pt x="2497" y="28173"/>
                  </a:cubicBezTo>
                  <a:cubicBezTo>
                    <a:pt x="-2373" y="45220"/>
                    <a:pt x="6556" y="64071"/>
                    <a:pt x="-60" y="81016"/>
                  </a:cubicBezTo>
                  <a:cubicBezTo>
                    <a:pt x="10574" y="82821"/>
                    <a:pt x="21777" y="84693"/>
                    <a:pt x="32412" y="86297"/>
                  </a:cubicBezTo>
                  <a:cubicBezTo>
                    <a:pt x="46741" y="88503"/>
                    <a:pt x="45441" y="79245"/>
                    <a:pt x="57943" y="79111"/>
                  </a:cubicBezTo>
                  <a:cubicBezTo>
                    <a:pt x="80268" y="78877"/>
                    <a:pt x="71054" y="110195"/>
                    <a:pt x="73367" y="116813"/>
                  </a:cubicBezTo>
                  <a:cubicBezTo>
                    <a:pt x="76695" y="116111"/>
                    <a:pt x="84327" y="116211"/>
                    <a:pt x="86356" y="114440"/>
                  </a:cubicBezTo>
                  <a:cubicBezTo>
                    <a:pt x="89603" y="111171"/>
                    <a:pt x="93783" y="108621"/>
                    <a:pt x="98533" y="107020"/>
                  </a:cubicBezTo>
                  <a:cubicBezTo>
                    <a:pt x="100278" y="89807"/>
                    <a:pt x="92282" y="108825"/>
                    <a:pt x="98411" y="1070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3E02A9C9-D47A-4F18-80BE-6A7DE1CDDDB9}"/>
                </a:ext>
              </a:extLst>
            </p:cNvPr>
            <p:cNvSpPr/>
            <p:nvPr/>
          </p:nvSpPr>
          <p:spPr>
            <a:xfrm>
              <a:off x="7839479" y="4448072"/>
              <a:ext cx="840911" cy="486434"/>
            </a:xfrm>
            <a:custGeom>
              <a:avLst/>
              <a:gdLst>
                <a:gd name="connsiteX0" fmla="*/ 576166 w 840911"/>
                <a:gd name="connsiteY0" fmla="*/ 304550 h 486434"/>
                <a:gd name="connsiteX1" fmla="*/ 589723 w 840911"/>
                <a:gd name="connsiteY1" fmla="*/ 277811 h 486434"/>
                <a:gd name="connsiteX2" fmla="*/ 580834 w 840911"/>
                <a:gd name="connsiteY2" fmla="*/ 260230 h 486434"/>
                <a:gd name="connsiteX3" fmla="*/ 620612 w 840911"/>
                <a:gd name="connsiteY3" fmla="*/ 269388 h 486434"/>
                <a:gd name="connsiteX4" fmla="*/ 626904 w 840911"/>
                <a:gd name="connsiteY4" fmla="*/ 284428 h 486434"/>
                <a:gd name="connsiteX5" fmla="*/ 644519 w 840911"/>
                <a:gd name="connsiteY5" fmla="*/ 292350 h 486434"/>
                <a:gd name="connsiteX6" fmla="*/ 683242 w 840911"/>
                <a:gd name="connsiteY6" fmla="*/ 312036 h 486434"/>
                <a:gd name="connsiteX7" fmla="*/ 645412 w 840911"/>
                <a:gd name="connsiteY7" fmla="*/ 325606 h 486434"/>
                <a:gd name="connsiteX8" fmla="*/ 669320 w 840911"/>
                <a:gd name="connsiteY8" fmla="*/ 329450 h 486434"/>
                <a:gd name="connsiteX9" fmla="*/ 675976 w 840911"/>
                <a:gd name="connsiteY9" fmla="*/ 334163 h 486434"/>
                <a:gd name="connsiteX10" fmla="*/ 672486 w 840911"/>
                <a:gd name="connsiteY10" fmla="*/ 363007 h 486434"/>
                <a:gd name="connsiteX11" fmla="*/ 702522 w 840911"/>
                <a:gd name="connsiteY11" fmla="*/ 335767 h 486434"/>
                <a:gd name="connsiteX12" fmla="*/ 723872 w 840911"/>
                <a:gd name="connsiteY12" fmla="*/ 341516 h 486434"/>
                <a:gd name="connsiteX13" fmla="*/ 745669 w 840911"/>
                <a:gd name="connsiteY13" fmla="*/ 327512 h 486434"/>
                <a:gd name="connsiteX14" fmla="*/ 766451 w 840911"/>
                <a:gd name="connsiteY14" fmla="*/ 304416 h 486434"/>
                <a:gd name="connsiteX15" fmla="*/ 813129 w 840911"/>
                <a:gd name="connsiteY15" fmla="*/ 301073 h 486434"/>
                <a:gd name="connsiteX16" fmla="*/ 827823 w 840911"/>
                <a:gd name="connsiteY16" fmla="*/ 306755 h 486434"/>
                <a:gd name="connsiteX17" fmla="*/ 840852 w 840911"/>
                <a:gd name="connsiteY17" fmla="*/ 290044 h 486434"/>
                <a:gd name="connsiteX18" fmla="*/ 824616 w 840911"/>
                <a:gd name="connsiteY18" fmla="*/ 275972 h 486434"/>
                <a:gd name="connsiteX19" fmla="*/ 803956 w 840911"/>
                <a:gd name="connsiteY19" fmla="*/ 262035 h 486434"/>
                <a:gd name="connsiteX20" fmla="*/ 769130 w 840911"/>
                <a:gd name="connsiteY20" fmla="*/ 252008 h 486434"/>
                <a:gd name="connsiteX21" fmla="*/ 730975 w 840911"/>
                <a:gd name="connsiteY21" fmla="*/ 254147 h 486434"/>
                <a:gd name="connsiteX22" fmla="*/ 699274 w 840911"/>
                <a:gd name="connsiteY22" fmla="*/ 258057 h 486434"/>
                <a:gd name="connsiteX23" fmla="*/ 693389 w 840911"/>
                <a:gd name="connsiteY23" fmla="*/ 267516 h 486434"/>
                <a:gd name="connsiteX24" fmla="*/ 626944 w 840911"/>
                <a:gd name="connsiteY24" fmla="*/ 255383 h 486434"/>
                <a:gd name="connsiteX25" fmla="*/ 608272 w 840911"/>
                <a:gd name="connsiteY25" fmla="*/ 239474 h 486434"/>
                <a:gd name="connsiteX26" fmla="*/ 604213 w 840911"/>
                <a:gd name="connsiteY26" fmla="*/ 224701 h 486434"/>
                <a:gd name="connsiteX27" fmla="*/ 587978 w 840911"/>
                <a:gd name="connsiteY27" fmla="*/ 236766 h 486434"/>
                <a:gd name="connsiteX28" fmla="*/ 563624 w 840911"/>
                <a:gd name="connsiteY28" fmla="*/ 244053 h 486434"/>
                <a:gd name="connsiteX29" fmla="*/ 507570 w 840911"/>
                <a:gd name="connsiteY29" fmla="*/ 222896 h 486434"/>
                <a:gd name="connsiteX30" fmla="*/ 490806 w 840911"/>
                <a:gd name="connsiteY30" fmla="*/ 208022 h 486434"/>
                <a:gd name="connsiteX31" fmla="*/ 456507 w 840911"/>
                <a:gd name="connsiteY31" fmla="*/ 198697 h 486434"/>
                <a:gd name="connsiteX32" fmla="*/ 432153 w 840911"/>
                <a:gd name="connsiteY32" fmla="*/ 183356 h 486434"/>
                <a:gd name="connsiteX33" fmla="*/ 407556 w 840911"/>
                <a:gd name="connsiteY33" fmla="*/ 167546 h 486434"/>
                <a:gd name="connsiteX34" fmla="*/ 383771 w 840911"/>
                <a:gd name="connsiteY34" fmla="*/ 153675 h 486434"/>
                <a:gd name="connsiteX35" fmla="*/ 394649 w 840911"/>
                <a:gd name="connsiteY35" fmla="*/ 134256 h 486434"/>
                <a:gd name="connsiteX36" fmla="*/ 399520 w 840911"/>
                <a:gd name="connsiteY36" fmla="*/ 123394 h 486434"/>
                <a:gd name="connsiteX37" fmla="*/ 386206 w 840911"/>
                <a:gd name="connsiteY37" fmla="*/ 110024 h 486434"/>
                <a:gd name="connsiteX38" fmla="*/ 363516 w 840911"/>
                <a:gd name="connsiteY38" fmla="*/ 93981 h 486434"/>
                <a:gd name="connsiteX39" fmla="*/ 353856 w 840911"/>
                <a:gd name="connsiteY39" fmla="*/ 76534 h 486434"/>
                <a:gd name="connsiteX40" fmla="*/ 355317 w 840911"/>
                <a:gd name="connsiteY40" fmla="*/ 69642 h 486434"/>
                <a:gd name="connsiteX41" fmla="*/ 356129 w 840911"/>
                <a:gd name="connsiteY41" fmla="*/ 69247 h 486434"/>
                <a:gd name="connsiteX42" fmla="*/ 367656 w 840911"/>
                <a:gd name="connsiteY42" fmla="*/ 73592 h 486434"/>
                <a:gd name="connsiteX43" fmla="*/ 380645 w 840911"/>
                <a:gd name="connsiteY43" fmla="*/ 65337 h 486434"/>
                <a:gd name="connsiteX44" fmla="*/ 375247 w 840911"/>
                <a:gd name="connsiteY44" fmla="*/ 46954 h 486434"/>
                <a:gd name="connsiteX45" fmla="*/ 363882 w 840911"/>
                <a:gd name="connsiteY45" fmla="*/ 24226 h 486434"/>
                <a:gd name="connsiteX46" fmla="*/ 334941 w 840911"/>
                <a:gd name="connsiteY46" fmla="*/ 11792 h 486434"/>
                <a:gd name="connsiteX47" fmla="*/ 265939 w 840911"/>
                <a:gd name="connsiteY47" fmla="*/ 7046 h 486434"/>
                <a:gd name="connsiteX48" fmla="*/ 232452 w 840911"/>
                <a:gd name="connsiteY48" fmla="*/ 1063 h 486434"/>
                <a:gd name="connsiteX49" fmla="*/ 232452 w 840911"/>
                <a:gd name="connsiteY49" fmla="*/ 12929 h 486434"/>
                <a:gd name="connsiteX50" fmla="*/ 239109 w 840911"/>
                <a:gd name="connsiteY50" fmla="*/ 41539 h 486434"/>
                <a:gd name="connsiteX51" fmla="*/ 257617 w 840911"/>
                <a:gd name="connsiteY51" fmla="*/ 52536 h 486434"/>
                <a:gd name="connsiteX52" fmla="*/ 241869 w 840911"/>
                <a:gd name="connsiteY52" fmla="*/ 55109 h 486434"/>
                <a:gd name="connsiteX53" fmla="*/ 232858 w 840911"/>
                <a:gd name="connsiteY53" fmla="*/ 65604 h 486434"/>
                <a:gd name="connsiteX54" fmla="*/ 212319 w 840911"/>
                <a:gd name="connsiteY54" fmla="*/ 73091 h 486434"/>
                <a:gd name="connsiteX55" fmla="*/ 205216 w 840911"/>
                <a:gd name="connsiteY55" fmla="*/ 81146 h 486434"/>
                <a:gd name="connsiteX56" fmla="*/ 189468 w 840911"/>
                <a:gd name="connsiteY56" fmla="*/ 81815 h 486434"/>
                <a:gd name="connsiteX57" fmla="*/ 174165 w 840911"/>
                <a:gd name="connsiteY57" fmla="*/ 94148 h 486434"/>
                <a:gd name="connsiteX58" fmla="*/ 152734 w 840911"/>
                <a:gd name="connsiteY58" fmla="*/ 97056 h 486434"/>
                <a:gd name="connsiteX59" fmla="*/ 130247 w 840911"/>
                <a:gd name="connsiteY59" fmla="*/ 108353 h 486434"/>
                <a:gd name="connsiteX60" fmla="*/ 116609 w 840911"/>
                <a:gd name="connsiteY60" fmla="*/ 107183 h 486434"/>
                <a:gd name="connsiteX61" fmla="*/ 98262 w 840911"/>
                <a:gd name="connsiteY61" fmla="*/ 105880 h 486434"/>
                <a:gd name="connsiteX62" fmla="*/ 76628 w 840911"/>
                <a:gd name="connsiteY62" fmla="*/ 99964 h 486434"/>
                <a:gd name="connsiteX63" fmla="*/ 52274 w 840911"/>
                <a:gd name="connsiteY63" fmla="*/ 110191 h 486434"/>
                <a:gd name="connsiteX64" fmla="*/ 67495 w 840911"/>
                <a:gd name="connsiteY64" fmla="*/ 123327 h 486434"/>
                <a:gd name="connsiteX65" fmla="*/ 67292 w 840911"/>
                <a:gd name="connsiteY65" fmla="*/ 134256 h 486434"/>
                <a:gd name="connsiteX66" fmla="*/ 77967 w 840911"/>
                <a:gd name="connsiteY66" fmla="*/ 148829 h 486434"/>
                <a:gd name="connsiteX67" fmla="*/ 42451 w 840911"/>
                <a:gd name="connsiteY67" fmla="*/ 159324 h 486434"/>
                <a:gd name="connsiteX68" fmla="*/ 9046 w 840911"/>
                <a:gd name="connsiteY68" fmla="*/ 155982 h 486434"/>
                <a:gd name="connsiteX69" fmla="*/ 6326 w 840911"/>
                <a:gd name="connsiteY69" fmla="*/ 171523 h 486434"/>
                <a:gd name="connsiteX70" fmla="*/ 39813 w 840911"/>
                <a:gd name="connsiteY70" fmla="*/ 185294 h 486434"/>
                <a:gd name="connsiteX71" fmla="*/ 47931 w 840911"/>
                <a:gd name="connsiteY71" fmla="*/ 191444 h 486434"/>
                <a:gd name="connsiteX72" fmla="*/ 10304 w 840911"/>
                <a:gd name="connsiteY72" fmla="*/ 191812 h 486434"/>
                <a:gd name="connsiteX73" fmla="*/ 47119 w 840911"/>
                <a:gd name="connsiteY73" fmla="*/ 224701 h 486434"/>
                <a:gd name="connsiteX74" fmla="*/ 97978 w 840911"/>
                <a:gd name="connsiteY74" fmla="*/ 219754 h 486434"/>
                <a:gd name="connsiteX75" fmla="*/ 111251 w 840911"/>
                <a:gd name="connsiteY75" fmla="*/ 214874 h 486434"/>
                <a:gd name="connsiteX76" fmla="*/ 111616 w 840911"/>
                <a:gd name="connsiteY76" fmla="*/ 231853 h 486434"/>
                <a:gd name="connsiteX77" fmla="*/ 103498 w 840911"/>
                <a:gd name="connsiteY77" fmla="*/ 252877 h 486434"/>
                <a:gd name="connsiteX78" fmla="*/ 102930 w 840911"/>
                <a:gd name="connsiteY78" fmla="*/ 279615 h 486434"/>
                <a:gd name="connsiteX79" fmla="*/ 121398 w 840911"/>
                <a:gd name="connsiteY79" fmla="*/ 366216 h 486434"/>
                <a:gd name="connsiteX80" fmla="*/ 129516 w 840911"/>
                <a:gd name="connsiteY80" fmla="*/ 402715 h 486434"/>
                <a:gd name="connsiteX81" fmla="*/ 146361 w 840911"/>
                <a:gd name="connsiteY81" fmla="*/ 437141 h 486434"/>
                <a:gd name="connsiteX82" fmla="*/ 153952 w 840911"/>
                <a:gd name="connsiteY82" fmla="*/ 472236 h 486434"/>
                <a:gd name="connsiteX83" fmla="*/ 193161 w 840911"/>
                <a:gd name="connsiteY83" fmla="*/ 479622 h 486434"/>
                <a:gd name="connsiteX84" fmla="*/ 214836 w 840911"/>
                <a:gd name="connsiteY84" fmla="*/ 474408 h 486434"/>
                <a:gd name="connsiteX85" fmla="*/ 230382 w 840911"/>
                <a:gd name="connsiteY85" fmla="*/ 464013 h 486434"/>
                <a:gd name="connsiteX86" fmla="*/ 249378 w 840911"/>
                <a:gd name="connsiteY86" fmla="*/ 456827 h 486434"/>
                <a:gd name="connsiteX87" fmla="*/ 259160 w 840911"/>
                <a:gd name="connsiteY87" fmla="*/ 438912 h 486434"/>
                <a:gd name="connsiteX88" fmla="*/ 281444 w 840911"/>
                <a:gd name="connsiteY88" fmla="*/ 411338 h 486434"/>
                <a:gd name="connsiteX89" fmla="*/ 302023 w 840911"/>
                <a:gd name="connsiteY89" fmla="*/ 377513 h 486434"/>
                <a:gd name="connsiteX90" fmla="*/ 331694 w 840911"/>
                <a:gd name="connsiteY90" fmla="*/ 375708 h 486434"/>
                <a:gd name="connsiteX91" fmla="*/ 360553 w 840911"/>
                <a:gd name="connsiteY91" fmla="*/ 368756 h 486434"/>
                <a:gd name="connsiteX92" fmla="*/ 414172 w 840911"/>
                <a:gd name="connsiteY92" fmla="*/ 359899 h 486434"/>
                <a:gd name="connsiteX93" fmla="*/ 460851 w 840911"/>
                <a:gd name="connsiteY93" fmla="*/ 347566 h 486434"/>
                <a:gd name="connsiteX94" fmla="*/ 509558 w 840911"/>
                <a:gd name="connsiteY94" fmla="*/ 334731 h 486434"/>
                <a:gd name="connsiteX95" fmla="*/ 557738 w 840911"/>
                <a:gd name="connsiteY95" fmla="*/ 333327 h 486434"/>
                <a:gd name="connsiteX96" fmla="*/ 577140 w 840911"/>
                <a:gd name="connsiteY96" fmla="*/ 327044 h 486434"/>
                <a:gd name="connsiteX97" fmla="*/ 576612 w 840911"/>
                <a:gd name="connsiteY97" fmla="*/ 304850 h 486434"/>
                <a:gd name="connsiteX98" fmla="*/ 576166 w 840911"/>
                <a:gd name="connsiteY98" fmla="*/ 304550 h 486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840911" h="486434">
                  <a:moveTo>
                    <a:pt x="576166" y="304550"/>
                  </a:moveTo>
                  <a:cubicBezTo>
                    <a:pt x="573649" y="295826"/>
                    <a:pt x="570402" y="275438"/>
                    <a:pt x="589723" y="277811"/>
                  </a:cubicBezTo>
                  <a:cubicBezTo>
                    <a:pt x="613306" y="280652"/>
                    <a:pt x="581118" y="263305"/>
                    <a:pt x="580834" y="260230"/>
                  </a:cubicBezTo>
                  <a:cubicBezTo>
                    <a:pt x="579778" y="247729"/>
                    <a:pt x="616147" y="265979"/>
                    <a:pt x="620612" y="269388"/>
                  </a:cubicBezTo>
                  <a:cubicBezTo>
                    <a:pt x="627634" y="274602"/>
                    <a:pt x="621220" y="279081"/>
                    <a:pt x="626904" y="284428"/>
                  </a:cubicBezTo>
                  <a:cubicBezTo>
                    <a:pt x="632586" y="289776"/>
                    <a:pt x="636199" y="290278"/>
                    <a:pt x="644519" y="292350"/>
                  </a:cubicBezTo>
                  <a:cubicBezTo>
                    <a:pt x="656412" y="295258"/>
                    <a:pt x="697286" y="302778"/>
                    <a:pt x="683242" y="312036"/>
                  </a:cubicBezTo>
                  <a:cubicBezTo>
                    <a:pt x="671593" y="319623"/>
                    <a:pt x="649228" y="314577"/>
                    <a:pt x="645412" y="325606"/>
                  </a:cubicBezTo>
                  <a:cubicBezTo>
                    <a:pt x="640217" y="340614"/>
                    <a:pt x="660471" y="332926"/>
                    <a:pt x="669320" y="329450"/>
                  </a:cubicBezTo>
                  <a:cubicBezTo>
                    <a:pt x="675813" y="326910"/>
                    <a:pt x="676098" y="330720"/>
                    <a:pt x="675976" y="334163"/>
                  </a:cubicBezTo>
                  <a:cubicBezTo>
                    <a:pt x="675733" y="343922"/>
                    <a:pt x="673541" y="353381"/>
                    <a:pt x="672486" y="363007"/>
                  </a:cubicBezTo>
                  <a:cubicBezTo>
                    <a:pt x="688072" y="358562"/>
                    <a:pt x="695054" y="346296"/>
                    <a:pt x="702522" y="335767"/>
                  </a:cubicBezTo>
                  <a:cubicBezTo>
                    <a:pt x="705810" y="331155"/>
                    <a:pt x="717621" y="339711"/>
                    <a:pt x="723872" y="341516"/>
                  </a:cubicBezTo>
                  <a:cubicBezTo>
                    <a:pt x="729027" y="343053"/>
                    <a:pt x="743680" y="330219"/>
                    <a:pt x="745669" y="327512"/>
                  </a:cubicBezTo>
                  <a:cubicBezTo>
                    <a:pt x="751351" y="319891"/>
                    <a:pt x="756953" y="310399"/>
                    <a:pt x="766451" y="304416"/>
                  </a:cubicBezTo>
                  <a:cubicBezTo>
                    <a:pt x="772539" y="300539"/>
                    <a:pt x="802981" y="297330"/>
                    <a:pt x="813129" y="301073"/>
                  </a:cubicBezTo>
                  <a:cubicBezTo>
                    <a:pt x="812885" y="301073"/>
                    <a:pt x="833424" y="317250"/>
                    <a:pt x="827823" y="306755"/>
                  </a:cubicBezTo>
                  <a:cubicBezTo>
                    <a:pt x="820882" y="293921"/>
                    <a:pt x="834764" y="297865"/>
                    <a:pt x="840852" y="290044"/>
                  </a:cubicBezTo>
                  <a:cubicBezTo>
                    <a:pt x="833302" y="287433"/>
                    <a:pt x="827376" y="282330"/>
                    <a:pt x="824616" y="275972"/>
                  </a:cubicBezTo>
                  <a:cubicBezTo>
                    <a:pt x="819907" y="267850"/>
                    <a:pt x="820922" y="259929"/>
                    <a:pt x="803956" y="262035"/>
                  </a:cubicBezTo>
                  <a:cubicBezTo>
                    <a:pt x="794579" y="263204"/>
                    <a:pt x="781023" y="252208"/>
                    <a:pt x="769130" y="252008"/>
                  </a:cubicBezTo>
                  <a:cubicBezTo>
                    <a:pt x="761702" y="252008"/>
                    <a:pt x="735319" y="252008"/>
                    <a:pt x="730975" y="254147"/>
                  </a:cubicBezTo>
                  <a:cubicBezTo>
                    <a:pt x="721843" y="258993"/>
                    <a:pt x="711817" y="258659"/>
                    <a:pt x="699274" y="258057"/>
                  </a:cubicBezTo>
                  <a:cubicBezTo>
                    <a:pt x="688193" y="257523"/>
                    <a:pt x="694404" y="261700"/>
                    <a:pt x="693389" y="267516"/>
                  </a:cubicBezTo>
                  <a:cubicBezTo>
                    <a:pt x="691035" y="280886"/>
                    <a:pt x="640826" y="261232"/>
                    <a:pt x="626944" y="255383"/>
                  </a:cubicBezTo>
                  <a:cubicBezTo>
                    <a:pt x="617527" y="251372"/>
                    <a:pt x="607583" y="246125"/>
                    <a:pt x="608272" y="239474"/>
                  </a:cubicBezTo>
                  <a:cubicBezTo>
                    <a:pt x="608272" y="239140"/>
                    <a:pt x="615213" y="220222"/>
                    <a:pt x="604213" y="224701"/>
                  </a:cubicBezTo>
                  <a:cubicBezTo>
                    <a:pt x="593214" y="229179"/>
                    <a:pt x="589521" y="226205"/>
                    <a:pt x="587978" y="236766"/>
                  </a:cubicBezTo>
                  <a:cubicBezTo>
                    <a:pt x="586760" y="246125"/>
                    <a:pt x="578155" y="246593"/>
                    <a:pt x="563624" y="244053"/>
                  </a:cubicBezTo>
                  <a:cubicBezTo>
                    <a:pt x="540122" y="240009"/>
                    <a:pt x="527377" y="231853"/>
                    <a:pt x="507570" y="222896"/>
                  </a:cubicBezTo>
                  <a:cubicBezTo>
                    <a:pt x="495068" y="217280"/>
                    <a:pt x="497625" y="215442"/>
                    <a:pt x="490806" y="208022"/>
                  </a:cubicBezTo>
                  <a:cubicBezTo>
                    <a:pt x="482201" y="198630"/>
                    <a:pt x="469577" y="202273"/>
                    <a:pt x="456507" y="198697"/>
                  </a:cubicBezTo>
                  <a:cubicBezTo>
                    <a:pt x="447091" y="196123"/>
                    <a:pt x="441976" y="186798"/>
                    <a:pt x="432153" y="183356"/>
                  </a:cubicBezTo>
                  <a:cubicBezTo>
                    <a:pt x="419489" y="178944"/>
                    <a:pt x="417176" y="172493"/>
                    <a:pt x="407556" y="167546"/>
                  </a:cubicBezTo>
                  <a:cubicBezTo>
                    <a:pt x="398708" y="163001"/>
                    <a:pt x="392051" y="158422"/>
                    <a:pt x="383771" y="153675"/>
                  </a:cubicBezTo>
                  <a:cubicBezTo>
                    <a:pt x="373583" y="147893"/>
                    <a:pt x="385760" y="136395"/>
                    <a:pt x="394649" y="134256"/>
                  </a:cubicBezTo>
                  <a:cubicBezTo>
                    <a:pt x="405080" y="131750"/>
                    <a:pt x="408896" y="130914"/>
                    <a:pt x="399520" y="123394"/>
                  </a:cubicBezTo>
                  <a:cubicBezTo>
                    <a:pt x="394080" y="119115"/>
                    <a:pt x="392538" y="113935"/>
                    <a:pt x="386206" y="110024"/>
                  </a:cubicBezTo>
                  <a:cubicBezTo>
                    <a:pt x="377520" y="104576"/>
                    <a:pt x="371715" y="99997"/>
                    <a:pt x="363516" y="93981"/>
                  </a:cubicBezTo>
                  <a:cubicBezTo>
                    <a:pt x="353450" y="86795"/>
                    <a:pt x="359904" y="83954"/>
                    <a:pt x="353856" y="76534"/>
                  </a:cubicBezTo>
                  <a:cubicBezTo>
                    <a:pt x="351948" y="74298"/>
                    <a:pt x="352598" y="71213"/>
                    <a:pt x="355317" y="69642"/>
                  </a:cubicBezTo>
                  <a:cubicBezTo>
                    <a:pt x="355561" y="69495"/>
                    <a:pt x="355845" y="69361"/>
                    <a:pt x="356129" y="69247"/>
                  </a:cubicBezTo>
                  <a:cubicBezTo>
                    <a:pt x="360553" y="67576"/>
                    <a:pt x="364247" y="72222"/>
                    <a:pt x="367656" y="73592"/>
                  </a:cubicBezTo>
                  <a:cubicBezTo>
                    <a:pt x="382025" y="79575"/>
                    <a:pt x="385191" y="71721"/>
                    <a:pt x="380645" y="65337"/>
                  </a:cubicBezTo>
                  <a:cubicBezTo>
                    <a:pt x="375166" y="57716"/>
                    <a:pt x="369930" y="53505"/>
                    <a:pt x="375247" y="46954"/>
                  </a:cubicBezTo>
                  <a:cubicBezTo>
                    <a:pt x="383364" y="36927"/>
                    <a:pt x="369889" y="34587"/>
                    <a:pt x="363882" y="24226"/>
                  </a:cubicBezTo>
                  <a:cubicBezTo>
                    <a:pt x="357874" y="13864"/>
                    <a:pt x="349675" y="2267"/>
                    <a:pt x="334941" y="11792"/>
                  </a:cubicBezTo>
                  <a:cubicBezTo>
                    <a:pt x="320207" y="21318"/>
                    <a:pt x="286233" y="15803"/>
                    <a:pt x="265939" y="7046"/>
                  </a:cubicBezTo>
                  <a:cubicBezTo>
                    <a:pt x="255750" y="2567"/>
                    <a:pt x="242965" y="-2981"/>
                    <a:pt x="232452" y="1063"/>
                  </a:cubicBezTo>
                  <a:cubicBezTo>
                    <a:pt x="225551" y="3603"/>
                    <a:pt x="232452" y="8550"/>
                    <a:pt x="232452" y="12929"/>
                  </a:cubicBezTo>
                  <a:cubicBezTo>
                    <a:pt x="231843" y="20616"/>
                    <a:pt x="224334" y="34220"/>
                    <a:pt x="239109" y="41539"/>
                  </a:cubicBezTo>
                  <a:cubicBezTo>
                    <a:pt x="241909" y="42943"/>
                    <a:pt x="264761" y="48224"/>
                    <a:pt x="257617" y="52536"/>
                  </a:cubicBezTo>
                  <a:cubicBezTo>
                    <a:pt x="254451" y="54441"/>
                    <a:pt x="246090" y="52937"/>
                    <a:pt x="241869" y="55109"/>
                  </a:cubicBezTo>
                  <a:cubicBezTo>
                    <a:pt x="237363" y="57552"/>
                    <a:pt x="234156" y="61299"/>
                    <a:pt x="232858" y="65604"/>
                  </a:cubicBezTo>
                  <a:cubicBezTo>
                    <a:pt x="229164" y="75331"/>
                    <a:pt x="222386" y="68946"/>
                    <a:pt x="212319" y="73091"/>
                  </a:cubicBezTo>
                  <a:cubicBezTo>
                    <a:pt x="207611" y="74996"/>
                    <a:pt x="208910" y="78907"/>
                    <a:pt x="205216" y="81146"/>
                  </a:cubicBezTo>
                  <a:cubicBezTo>
                    <a:pt x="201523" y="83386"/>
                    <a:pt x="194744" y="81714"/>
                    <a:pt x="189468" y="81815"/>
                  </a:cubicBezTo>
                  <a:cubicBezTo>
                    <a:pt x="182689" y="81815"/>
                    <a:pt x="177291" y="91407"/>
                    <a:pt x="174165" y="94148"/>
                  </a:cubicBezTo>
                  <a:cubicBezTo>
                    <a:pt x="168685" y="98760"/>
                    <a:pt x="162313" y="96889"/>
                    <a:pt x="152734" y="97056"/>
                  </a:cubicBezTo>
                  <a:cubicBezTo>
                    <a:pt x="140029" y="97290"/>
                    <a:pt x="139867" y="105211"/>
                    <a:pt x="130247" y="108353"/>
                  </a:cubicBezTo>
                  <a:cubicBezTo>
                    <a:pt x="124970" y="110058"/>
                    <a:pt x="122129" y="109289"/>
                    <a:pt x="116609" y="107183"/>
                  </a:cubicBezTo>
                  <a:cubicBezTo>
                    <a:pt x="106746" y="103406"/>
                    <a:pt x="106461" y="106682"/>
                    <a:pt x="98262" y="105880"/>
                  </a:cubicBezTo>
                  <a:cubicBezTo>
                    <a:pt x="90063" y="105077"/>
                    <a:pt x="85274" y="97825"/>
                    <a:pt x="76628" y="99964"/>
                  </a:cubicBezTo>
                  <a:cubicBezTo>
                    <a:pt x="68875" y="101902"/>
                    <a:pt x="53857" y="104576"/>
                    <a:pt x="52274" y="110191"/>
                  </a:cubicBezTo>
                  <a:cubicBezTo>
                    <a:pt x="50772" y="115138"/>
                    <a:pt x="65466" y="118581"/>
                    <a:pt x="67495" y="123327"/>
                  </a:cubicBezTo>
                  <a:cubicBezTo>
                    <a:pt x="69078" y="126937"/>
                    <a:pt x="65993" y="130413"/>
                    <a:pt x="67292" y="134256"/>
                  </a:cubicBezTo>
                  <a:cubicBezTo>
                    <a:pt x="69119" y="139604"/>
                    <a:pt x="73868" y="143849"/>
                    <a:pt x="77967" y="148829"/>
                  </a:cubicBezTo>
                  <a:cubicBezTo>
                    <a:pt x="95299" y="170086"/>
                    <a:pt x="62584" y="161831"/>
                    <a:pt x="42451" y="159324"/>
                  </a:cubicBezTo>
                  <a:cubicBezTo>
                    <a:pt x="30274" y="157786"/>
                    <a:pt x="19478" y="151035"/>
                    <a:pt x="9046" y="155982"/>
                  </a:cubicBezTo>
                  <a:cubicBezTo>
                    <a:pt x="-3131" y="161797"/>
                    <a:pt x="-2116" y="162031"/>
                    <a:pt x="6326" y="171523"/>
                  </a:cubicBezTo>
                  <a:cubicBezTo>
                    <a:pt x="14201" y="180224"/>
                    <a:pt x="26621" y="185331"/>
                    <a:pt x="39813" y="185294"/>
                  </a:cubicBezTo>
                  <a:cubicBezTo>
                    <a:pt x="46104" y="185495"/>
                    <a:pt x="60108" y="189338"/>
                    <a:pt x="47931" y="191444"/>
                  </a:cubicBezTo>
                  <a:cubicBezTo>
                    <a:pt x="39813" y="192915"/>
                    <a:pt x="4744" y="184124"/>
                    <a:pt x="10304" y="191812"/>
                  </a:cubicBezTo>
                  <a:cubicBezTo>
                    <a:pt x="19721" y="204737"/>
                    <a:pt x="32222" y="215930"/>
                    <a:pt x="47119" y="224701"/>
                  </a:cubicBezTo>
                  <a:cubicBezTo>
                    <a:pt x="63355" y="234026"/>
                    <a:pt x="106746" y="225035"/>
                    <a:pt x="97978" y="219754"/>
                  </a:cubicBezTo>
                  <a:cubicBezTo>
                    <a:pt x="90916" y="215476"/>
                    <a:pt x="109262" y="209092"/>
                    <a:pt x="111251" y="214874"/>
                  </a:cubicBezTo>
                  <a:cubicBezTo>
                    <a:pt x="113037" y="219954"/>
                    <a:pt x="105406" y="226973"/>
                    <a:pt x="111616" y="231853"/>
                  </a:cubicBezTo>
                  <a:cubicBezTo>
                    <a:pt x="120708" y="239073"/>
                    <a:pt x="104959" y="246559"/>
                    <a:pt x="103498" y="252877"/>
                  </a:cubicBezTo>
                  <a:cubicBezTo>
                    <a:pt x="102159" y="261747"/>
                    <a:pt x="101956" y="270711"/>
                    <a:pt x="102930" y="279615"/>
                  </a:cubicBezTo>
                  <a:cubicBezTo>
                    <a:pt x="104310" y="308794"/>
                    <a:pt x="112428" y="336837"/>
                    <a:pt x="121398" y="366216"/>
                  </a:cubicBezTo>
                  <a:cubicBezTo>
                    <a:pt x="125132" y="378382"/>
                    <a:pt x="125457" y="390548"/>
                    <a:pt x="129516" y="402715"/>
                  </a:cubicBezTo>
                  <a:cubicBezTo>
                    <a:pt x="133575" y="414279"/>
                    <a:pt x="143601" y="425309"/>
                    <a:pt x="146361" y="437141"/>
                  </a:cubicBezTo>
                  <a:cubicBezTo>
                    <a:pt x="149324" y="449775"/>
                    <a:pt x="145225" y="459234"/>
                    <a:pt x="153952" y="472236"/>
                  </a:cubicBezTo>
                  <a:cubicBezTo>
                    <a:pt x="162070" y="484502"/>
                    <a:pt x="180010" y="492290"/>
                    <a:pt x="193161" y="479622"/>
                  </a:cubicBezTo>
                  <a:cubicBezTo>
                    <a:pt x="197220" y="475578"/>
                    <a:pt x="207570" y="475444"/>
                    <a:pt x="214836" y="474408"/>
                  </a:cubicBezTo>
                  <a:cubicBezTo>
                    <a:pt x="225146" y="472904"/>
                    <a:pt x="224090" y="468292"/>
                    <a:pt x="230382" y="464013"/>
                  </a:cubicBezTo>
                  <a:cubicBezTo>
                    <a:pt x="236673" y="459735"/>
                    <a:pt x="245846" y="464448"/>
                    <a:pt x="249378" y="456827"/>
                  </a:cubicBezTo>
                  <a:cubicBezTo>
                    <a:pt x="252260" y="450677"/>
                    <a:pt x="253762" y="444260"/>
                    <a:pt x="259160" y="438912"/>
                  </a:cubicBezTo>
                  <a:cubicBezTo>
                    <a:pt x="268820" y="429387"/>
                    <a:pt x="281687" y="424975"/>
                    <a:pt x="281444" y="411338"/>
                  </a:cubicBezTo>
                  <a:cubicBezTo>
                    <a:pt x="281444" y="401311"/>
                    <a:pt x="285908" y="381958"/>
                    <a:pt x="302023" y="377513"/>
                  </a:cubicBezTo>
                  <a:cubicBezTo>
                    <a:pt x="309735" y="375374"/>
                    <a:pt x="322642" y="378148"/>
                    <a:pt x="331694" y="375708"/>
                  </a:cubicBezTo>
                  <a:cubicBezTo>
                    <a:pt x="341070" y="372790"/>
                    <a:pt x="350731" y="370464"/>
                    <a:pt x="360553" y="368756"/>
                  </a:cubicBezTo>
                  <a:cubicBezTo>
                    <a:pt x="378900" y="366116"/>
                    <a:pt x="396759" y="363843"/>
                    <a:pt x="414172" y="359899"/>
                  </a:cubicBezTo>
                  <a:cubicBezTo>
                    <a:pt x="429596" y="356557"/>
                    <a:pt x="443843" y="348702"/>
                    <a:pt x="460851" y="347566"/>
                  </a:cubicBezTo>
                  <a:cubicBezTo>
                    <a:pt x="482201" y="346162"/>
                    <a:pt x="502617" y="348735"/>
                    <a:pt x="509558" y="334731"/>
                  </a:cubicBezTo>
                  <a:cubicBezTo>
                    <a:pt x="514957" y="323735"/>
                    <a:pt x="541706" y="329751"/>
                    <a:pt x="557738" y="333327"/>
                  </a:cubicBezTo>
                  <a:cubicBezTo>
                    <a:pt x="573771" y="336904"/>
                    <a:pt x="575394" y="337973"/>
                    <a:pt x="577140" y="327044"/>
                  </a:cubicBezTo>
                  <a:cubicBezTo>
                    <a:pt x="578560" y="319677"/>
                    <a:pt x="578398" y="312163"/>
                    <a:pt x="576612" y="304850"/>
                  </a:cubicBezTo>
                  <a:cubicBezTo>
                    <a:pt x="573812" y="296361"/>
                    <a:pt x="577871" y="310933"/>
                    <a:pt x="576166" y="3045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27980FA-7B81-4143-AA47-2C2107FBE50E}"/>
                </a:ext>
              </a:extLst>
            </p:cNvPr>
            <p:cNvSpPr/>
            <p:nvPr/>
          </p:nvSpPr>
          <p:spPr>
            <a:xfrm>
              <a:off x="8595882" y="4264621"/>
              <a:ext cx="937115" cy="380378"/>
            </a:xfrm>
            <a:custGeom>
              <a:avLst/>
              <a:gdLst>
                <a:gd name="connsiteX0" fmla="*/ 910125 w 937115"/>
                <a:gd name="connsiteY0" fmla="*/ 342541 h 380378"/>
                <a:gd name="connsiteX1" fmla="*/ 884148 w 937115"/>
                <a:gd name="connsiteY1" fmla="*/ 331712 h 380378"/>
                <a:gd name="connsiteX2" fmla="*/ 864137 w 937115"/>
                <a:gd name="connsiteY2" fmla="*/ 325628 h 380378"/>
                <a:gd name="connsiteX3" fmla="*/ 833492 w 937115"/>
                <a:gd name="connsiteY3" fmla="*/ 314064 h 380378"/>
                <a:gd name="connsiteX4" fmla="*/ 822938 w 937115"/>
                <a:gd name="connsiteY4" fmla="*/ 298956 h 380378"/>
                <a:gd name="connsiteX5" fmla="*/ 840758 w 937115"/>
                <a:gd name="connsiteY5" fmla="*/ 290968 h 380378"/>
                <a:gd name="connsiteX6" fmla="*/ 875259 w 937115"/>
                <a:gd name="connsiteY6" fmla="*/ 277599 h 380378"/>
                <a:gd name="connsiteX7" fmla="*/ 835846 w 937115"/>
                <a:gd name="connsiteY7" fmla="*/ 260887 h 380378"/>
                <a:gd name="connsiteX8" fmla="*/ 814253 w 937115"/>
                <a:gd name="connsiteY8" fmla="*/ 245880 h 380378"/>
                <a:gd name="connsiteX9" fmla="*/ 742003 w 937115"/>
                <a:gd name="connsiteY9" fmla="*/ 234683 h 380378"/>
                <a:gd name="connsiteX10" fmla="*/ 689601 w 937115"/>
                <a:gd name="connsiteY10" fmla="*/ 223586 h 380378"/>
                <a:gd name="connsiteX11" fmla="*/ 631355 w 937115"/>
                <a:gd name="connsiteY11" fmla="*/ 199454 h 380378"/>
                <a:gd name="connsiteX12" fmla="*/ 592551 w 937115"/>
                <a:gd name="connsiteY12" fmla="*/ 168136 h 380378"/>
                <a:gd name="connsiteX13" fmla="*/ 572459 w 937115"/>
                <a:gd name="connsiteY13" fmla="*/ 154466 h 380378"/>
                <a:gd name="connsiteX14" fmla="*/ 542666 w 937115"/>
                <a:gd name="connsiteY14" fmla="*/ 141398 h 380378"/>
                <a:gd name="connsiteX15" fmla="*/ 509586 w 937115"/>
                <a:gd name="connsiteY15" fmla="*/ 130368 h 380378"/>
                <a:gd name="connsiteX16" fmla="*/ 476302 w 937115"/>
                <a:gd name="connsiteY16" fmla="*/ 125555 h 380378"/>
                <a:gd name="connsiteX17" fmla="*/ 441313 w 937115"/>
                <a:gd name="connsiteY17" fmla="*/ 90661 h 380378"/>
                <a:gd name="connsiteX18" fmla="*/ 423454 w 937115"/>
                <a:gd name="connsiteY18" fmla="*/ 74918 h 380378"/>
                <a:gd name="connsiteX19" fmla="*/ 393417 w 937115"/>
                <a:gd name="connsiteY19" fmla="*/ 57972 h 380378"/>
                <a:gd name="connsiteX20" fmla="*/ 359809 w 937115"/>
                <a:gd name="connsiteY20" fmla="*/ 40024 h 380378"/>
                <a:gd name="connsiteX21" fmla="*/ 325187 w 937115"/>
                <a:gd name="connsiteY21" fmla="*/ 38018 h 380378"/>
                <a:gd name="connsiteX22" fmla="*/ 304892 w 937115"/>
                <a:gd name="connsiteY22" fmla="*/ 46107 h 380378"/>
                <a:gd name="connsiteX23" fmla="*/ 309762 w 937115"/>
                <a:gd name="connsiteY23" fmla="*/ 65158 h 380378"/>
                <a:gd name="connsiteX24" fmla="*/ 284434 w 937115"/>
                <a:gd name="connsiteY24" fmla="*/ 66963 h 380378"/>
                <a:gd name="connsiteX25" fmla="*/ 271161 w 937115"/>
                <a:gd name="connsiteY25" fmla="*/ 67431 h 380378"/>
                <a:gd name="connsiteX26" fmla="*/ 248350 w 937115"/>
                <a:gd name="connsiteY26" fmla="*/ 53560 h 380378"/>
                <a:gd name="connsiteX27" fmla="*/ 217380 w 937115"/>
                <a:gd name="connsiteY27" fmla="*/ 44703 h 380378"/>
                <a:gd name="connsiteX28" fmla="*/ 202849 w 937115"/>
                <a:gd name="connsiteY28" fmla="*/ 29295 h 380378"/>
                <a:gd name="connsiteX29" fmla="*/ 145171 w 937115"/>
                <a:gd name="connsiteY29" fmla="*/ 4194 h 380378"/>
                <a:gd name="connsiteX30" fmla="*/ 83353 w 937115"/>
                <a:gd name="connsiteY30" fmla="*/ 3625 h 380378"/>
                <a:gd name="connsiteX31" fmla="*/ 51367 w 937115"/>
                <a:gd name="connsiteY31" fmla="*/ 4829 h 380378"/>
                <a:gd name="connsiteX32" fmla="*/ 13295 w 937115"/>
                <a:gd name="connsiteY32" fmla="*/ -285 h 380378"/>
                <a:gd name="connsiteX33" fmla="*/ -60 w 937115"/>
                <a:gd name="connsiteY33" fmla="*/ -285 h 380378"/>
                <a:gd name="connsiteX34" fmla="*/ 41261 w 937115"/>
                <a:gd name="connsiteY34" fmla="*/ 38988 h 380378"/>
                <a:gd name="connsiteX35" fmla="*/ 63342 w 937115"/>
                <a:gd name="connsiteY35" fmla="*/ 57872 h 380378"/>
                <a:gd name="connsiteX36" fmla="*/ 71460 w 937115"/>
                <a:gd name="connsiteY36" fmla="*/ 83541 h 380378"/>
                <a:gd name="connsiteX37" fmla="*/ 70932 w 937115"/>
                <a:gd name="connsiteY37" fmla="*/ 112586 h 380378"/>
                <a:gd name="connsiteX38" fmla="*/ 134820 w 937115"/>
                <a:gd name="connsiteY38" fmla="*/ 141565 h 380378"/>
                <a:gd name="connsiteX39" fmla="*/ 172813 w 937115"/>
                <a:gd name="connsiteY39" fmla="*/ 178865 h 380378"/>
                <a:gd name="connsiteX40" fmla="*/ 182960 w 937115"/>
                <a:gd name="connsiteY40" fmla="*/ 200758 h 380378"/>
                <a:gd name="connsiteX41" fmla="*/ 221195 w 937115"/>
                <a:gd name="connsiteY41" fmla="*/ 215063 h 380378"/>
                <a:gd name="connsiteX42" fmla="*/ 289792 w 937115"/>
                <a:gd name="connsiteY42" fmla="*/ 237958 h 380378"/>
                <a:gd name="connsiteX43" fmla="*/ 321533 w 937115"/>
                <a:gd name="connsiteY43" fmla="*/ 250124 h 380378"/>
                <a:gd name="connsiteX44" fmla="*/ 361596 w 937115"/>
                <a:gd name="connsiteY44" fmla="*/ 272619 h 380378"/>
                <a:gd name="connsiteX45" fmla="*/ 390495 w 937115"/>
                <a:gd name="connsiteY45" fmla="*/ 288027 h 380378"/>
                <a:gd name="connsiteX46" fmla="*/ 420248 w 937115"/>
                <a:gd name="connsiteY46" fmla="*/ 304171 h 380378"/>
                <a:gd name="connsiteX47" fmla="*/ 450527 w 937115"/>
                <a:gd name="connsiteY47" fmla="*/ 309552 h 380378"/>
                <a:gd name="connsiteX48" fmla="*/ 511412 w 937115"/>
                <a:gd name="connsiteY48" fmla="*/ 316805 h 380378"/>
                <a:gd name="connsiteX49" fmla="*/ 590603 w 937115"/>
                <a:gd name="connsiteY49" fmla="*/ 342374 h 380378"/>
                <a:gd name="connsiteX50" fmla="*/ 633830 w 937115"/>
                <a:gd name="connsiteY50" fmla="*/ 341572 h 380378"/>
                <a:gd name="connsiteX51" fmla="*/ 658387 w 937115"/>
                <a:gd name="connsiteY51" fmla="*/ 333550 h 380378"/>
                <a:gd name="connsiteX52" fmla="*/ 665287 w 937115"/>
                <a:gd name="connsiteY52" fmla="*/ 317974 h 380378"/>
                <a:gd name="connsiteX53" fmla="*/ 694188 w 937115"/>
                <a:gd name="connsiteY53" fmla="*/ 328570 h 380378"/>
                <a:gd name="connsiteX54" fmla="*/ 739892 w 937115"/>
                <a:gd name="connsiteY54" fmla="*/ 342507 h 380378"/>
                <a:gd name="connsiteX55" fmla="*/ 788112 w 937115"/>
                <a:gd name="connsiteY55" fmla="*/ 352534 h 380378"/>
                <a:gd name="connsiteX56" fmla="*/ 822532 w 937115"/>
                <a:gd name="connsiteY56" fmla="*/ 350228 h 380378"/>
                <a:gd name="connsiteX57" fmla="*/ 870023 w 937115"/>
                <a:gd name="connsiteY57" fmla="*/ 358851 h 380378"/>
                <a:gd name="connsiteX58" fmla="*/ 910125 w 937115"/>
                <a:gd name="connsiteY58" fmla="*/ 371820 h 380378"/>
                <a:gd name="connsiteX59" fmla="*/ 936427 w 937115"/>
                <a:gd name="connsiteY59" fmla="*/ 375162 h 380378"/>
                <a:gd name="connsiteX60" fmla="*/ 910369 w 937115"/>
                <a:gd name="connsiteY60" fmla="*/ 342641 h 380378"/>
                <a:gd name="connsiteX61" fmla="*/ 910125 w 937115"/>
                <a:gd name="connsiteY61" fmla="*/ 342541 h 38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37115" h="380378">
                  <a:moveTo>
                    <a:pt x="910125" y="342541"/>
                  </a:moveTo>
                  <a:cubicBezTo>
                    <a:pt x="904646" y="335164"/>
                    <a:pt x="894620" y="330969"/>
                    <a:pt x="884148" y="331712"/>
                  </a:cubicBezTo>
                  <a:cubicBezTo>
                    <a:pt x="872986" y="333082"/>
                    <a:pt x="874975" y="332915"/>
                    <a:pt x="864137" y="325628"/>
                  </a:cubicBezTo>
                  <a:cubicBezTo>
                    <a:pt x="854680" y="319278"/>
                    <a:pt x="844776" y="316938"/>
                    <a:pt x="833492" y="314064"/>
                  </a:cubicBezTo>
                  <a:cubicBezTo>
                    <a:pt x="825374" y="312025"/>
                    <a:pt x="812954" y="299892"/>
                    <a:pt x="822938" y="298956"/>
                  </a:cubicBezTo>
                  <a:cubicBezTo>
                    <a:pt x="832923" y="298020"/>
                    <a:pt x="832761" y="294110"/>
                    <a:pt x="840758" y="290968"/>
                  </a:cubicBezTo>
                  <a:cubicBezTo>
                    <a:pt x="852244" y="286513"/>
                    <a:pt x="863731" y="282054"/>
                    <a:pt x="875259" y="277599"/>
                  </a:cubicBezTo>
                  <a:cubicBezTo>
                    <a:pt x="863082" y="269276"/>
                    <a:pt x="848470" y="268006"/>
                    <a:pt x="835846" y="260887"/>
                  </a:cubicBezTo>
                  <a:cubicBezTo>
                    <a:pt x="826430" y="255539"/>
                    <a:pt x="826632" y="250860"/>
                    <a:pt x="814253" y="245880"/>
                  </a:cubicBezTo>
                  <a:cubicBezTo>
                    <a:pt x="788437" y="235251"/>
                    <a:pt x="766641" y="240264"/>
                    <a:pt x="742003" y="234683"/>
                  </a:cubicBezTo>
                  <a:cubicBezTo>
                    <a:pt x="724874" y="230839"/>
                    <a:pt x="706243" y="227764"/>
                    <a:pt x="689601" y="223586"/>
                  </a:cubicBezTo>
                  <a:cubicBezTo>
                    <a:pt x="668008" y="218138"/>
                    <a:pt x="651203" y="207309"/>
                    <a:pt x="631355" y="199454"/>
                  </a:cubicBezTo>
                  <a:cubicBezTo>
                    <a:pt x="609680" y="190898"/>
                    <a:pt x="611060" y="177662"/>
                    <a:pt x="592551" y="168136"/>
                  </a:cubicBezTo>
                  <a:cubicBezTo>
                    <a:pt x="584149" y="163825"/>
                    <a:pt x="580983" y="158678"/>
                    <a:pt x="572459" y="154466"/>
                  </a:cubicBezTo>
                  <a:cubicBezTo>
                    <a:pt x="562474" y="149553"/>
                    <a:pt x="552732" y="146846"/>
                    <a:pt x="542666" y="141398"/>
                  </a:cubicBezTo>
                  <a:cubicBezTo>
                    <a:pt x="531829" y="135515"/>
                    <a:pt x="522047" y="133543"/>
                    <a:pt x="509586" y="130368"/>
                  </a:cubicBezTo>
                  <a:cubicBezTo>
                    <a:pt x="499276" y="127727"/>
                    <a:pt x="485232" y="130134"/>
                    <a:pt x="476302" y="125555"/>
                  </a:cubicBezTo>
                  <a:cubicBezTo>
                    <a:pt x="456007" y="115093"/>
                    <a:pt x="434210" y="104164"/>
                    <a:pt x="441313" y="90661"/>
                  </a:cubicBezTo>
                  <a:cubicBezTo>
                    <a:pt x="445169" y="83341"/>
                    <a:pt x="435022" y="80032"/>
                    <a:pt x="423454" y="74918"/>
                  </a:cubicBezTo>
                  <a:cubicBezTo>
                    <a:pt x="412536" y="70072"/>
                    <a:pt x="405230" y="61816"/>
                    <a:pt x="393417" y="57972"/>
                  </a:cubicBezTo>
                  <a:cubicBezTo>
                    <a:pt x="379698" y="53494"/>
                    <a:pt x="371418" y="46174"/>
                    <a:pt x="359809" y="40024"/>
                  </a:cubicBezTo>
                  <a:cubicBezTo>
                    <a:pt x="350637" y="35177"/>
                    <a:pt x="335455" y="37350"/>
                    <a:pt x="325187" y="38018"/>
                  </a:cubicBezTo>
                  <a:cubicBezTo>
                    <a:pt x="316297" y="38620"/>
                    <a:pt x="304323" y="40291"/>
                    <a:pt x="304892" y="46107"/>
                  </a:cubicBezTo>
                  <a:cubicBezTo>
                    <a:pt x="305460" y="51923"/>
                    <a:pt x="313010" y="60914"/>
                    <a:pt x="309762" y="65158"/>
                  </a:cubicBezTo>
                  <a:cubicBezTo>
                    <a:pt x="305175" y="71108"/>
                    <a:pt x="295393" y="67899"/>
                    <a:pt x="284434" y="66963"/>
                  </a:cubicBezTo>
                  <a:cubicBezTo>
                    <a:pt x="281065" y="66662"/>
                    <a:pt x="274328" y="68267"/>
                    <a:pt x="271161" y="67431"/>
                  </a:cubicBezTo>
                  <a:cubicBezTo>
                    <a:pt x="261744" y="64924"/>
                    <a:pt x="257036" y="57070"/>
                    <a:pt x="248350" y="53560"/>
                  </a:cubicBezTo>
                  <a:cubicBezTo>
                    <a:pt x="235524" y="48413"/>
                    <a:pt x="228705" y="52257"/>
                    <a:pt x="217380" y="44703"/>
                  </a:cubicBezTo>
                  <a:cubicBezTo>
                    <a:pt x="208085" y="38486"/>
                    <a:pt x="204188" y="36447"/>
                    <a:pt x="202849" y="29295"/>
                  </a:cubicBezTo>
                  <a:cubicBezTo>
                    <a:pt x="201712" y="23078"/>
                    <a:pt x="156699" y="6734"/>
                    <a:pt x="145171" y="4194"/>
                  </a:cubicBezTo>
                  <a:cubicBezTo>
                    <a:pt x="124105" y="-486"/>
                    <a:pt x="103404" y="4428"/>
                    <a:pt x="83353" y="3625"/>
                  </a:cubicBezTo>
                  <a:cubicBezTo>
                    <a:pt x="71379" y="3158"/>
                    <a:pt x="62449" y="5130"/>
                    <a:pt x="51367" y="4829"/>
                  </a:cubicBezTo>
                  <a:cubicBezTo>
                    <a:pt x="38785" y="4528"/>
                    <a:pt x="25958" y="718"/>
                    <a:pt x="13295" y="-285"/>
                  </a:cubicBezTo>
                  <a:cubicBezTo>
                    <a:pt x="7855" y="-720"/>
                    <a:pt x="5461" y="1687"/>
                    <a:pt x="-60" y="-285"/>
                  </a:cubicBezTo>
                  <a:cubicBezTo>
                    <a:pt x="1402" y="12115"/>
                    <a:pt x="17719" y="31400"/>
                    <a:pt x="41261" y="38988"/>
                  </a:cubicBezTo>
                  <a:cubicBezTo>
                    <a:pt x="51287" y="42330"/>
                    <a:pt x="64154" y="51923"/>
                    <a:pt x="63342" y="57872"/>
                  </a:cubicBezTo>
                  <a:cubicBezTo>
                    <a:pt x="61880" y="68300"/>
                    <a:pt x="80552" y="74316"/>
                    <a:pt x="71460" y="83541"/>
                  </a:cubicBezTo>
                  <a:cubicBezTo>
                    <a:pt x="60581" y="94471"/>
                    <a:pt x="41829" y="99184"/>
                    <a:pt x="70932" y="112586"/>
                  </a:cubicBezTo>
                  <a:cubicBezTo>
                    <a:pt x="90212" y="121444"/>
                    <a:pt x="123699" y="128529"/>
                    <a:pt x="134820" y="141565"/>
                  </a:cubicBezTo>
                  <a:cubicBezTo>
                    <a:pt x="146470" y="155168"/>
                    <a:pt x="173218" y="163658"/>
                    <a:pt x="172813" y="178865"/>
                  </a:cubicBezTo>
                  <a:cubicBezTo>
                    <a:pt x="172609" y="186319"/>
                    <a:pt x="182838" y="193806"/>
                    <a:pt x="182960" y="200758"/>
                  </a:cubicBezTo>
                  <a:cubicBezTo>
                    <a:pt x="182960" y="206072"/>
                    <a:pt x="214863" y="212556"/>
                    <a:pt x="221195" y="215063"/>
                  </a:cubicBezTo>
                  <a:cubicBezTo>
                    <a:pt x="243357" y="223753"/>
                    <a:pt x="267428" y="229502"/>
                    <a:pt x="289792" y="237958"/>
                  </a:cubicBezTo>
                  <a:cubicBezTo>
                    <a:pt x="300345" y="241936"/>
                    <a:pt x="311223" y="245813"/>
                    <a:pt x="321533" y="250124"/>
                  </a:cubicBezTo>
                  <a:cubicBezTo>
                    <a:pt x="336470" y="256442"/>
                    <a:pt x="346171" y="267906"/>
                    <a:pt x="361596" y="272619"/>
                  </a:cubicBezTo>
                  <a:cubicBezTo>
                    <a:pt x="374340" y="276529"/>
                    <a:pt x="379333" y="282646"/>
                    <a:pt x="390495" y="288027"/>
                  </a:cubicBezTo>
                  <a:cubicBezTo>
                    <a:pt x="404945" y="294712"/>
                    <a:pt x="409938" y="294912"/>
                    <a:pt x="420248" y="304171"/>
                  </a:cubicBezTo>
                  <a:cubicBezTo>
                    <a:pt x="427513" y="310855"/>
                    <a:pt x="441923" y="309485"/>
                    <a:pt x="450527" y="309552"/>
                  </a:cubicBezTo>
                  <a:cubicBezTo>
                    <a:pt x="470376" y="309552"/>
                    <a:pt x="490184" y="310086"/>
                    <a:pt x="511412" y="316805"/>
                  </a:cubicBezTo>
                  <a:cubicBezTo>
                    <a:pt x="540312" y="326063"/>
                    <a:pt x="559633" y="340435"/>
                    <a:pt x="590603" y="342374"/>
                  </a:cubicBezTo>
                  <a:cubicBezTo>
                    <a:pt x="605986" y="343376"/>
                    <a:pt x="618041" y="339766"/>
                    <a:pt x="633830" y="341572"/>
                  </a:cubicBezTo>
                  <a:cubicBezTo>
                    <a:pt x="647266" y="343109"/>
                    <a:pt x="661391" y="344379"/>
                    <a:pt x="658387" y="333550"/>
                  </a:cubicBezTo>
                  <a:cubicBezTo>
                    <a:pt x="656317" y="326163"/>
                    <a:pt x="651203" y="319211"/>
                    <a:pt x="665287" y="317974"/>
                  </a:cubicBezTo>
                  <a:cubicBezTo>
                    <a:pt x="676775" y="316972"/>
                    <a:pt x="685582" y="323055"/>
                    <a:pt x="694188" y="328570"/>
                  </a:cubicBezTo>
                  <a:cubicBezTo>
                    <a:pt x="707380" y="336885"/>
                    <a:pt x="723290" y="341742"/>
                    <a:pt x="739892" y="342507"/>
                  </a:cubicBezTo>
                  <a:cubicBezTo>
                    <a:pt x="757264" y="342808"/>
                    <a:pt x="770700" y="347086"/>
                    <a:pt x="788112" y="352534"/>
                  </a:cubicBezTo>
                  <a:cubicBezTo>
                    <a:pt x="803983" y="357681"/>
                    <a:pt x="810153" y="351365"/>
                    <a:pt x="822532" y="350228"/>
                  </a:cubicBezTo>
                  <a:cubicBezTo>
                    <a:pt x="839662" y="348657"/>
                    <a:pt x="852325" y="354339"/>
                    <a:pt x="870023" y="358851"/>
                  </a:cubicBezTo>
                  <a:cubicBezTo>
                    <a:pt x="885853" y="362929"/>
                    <a:pt x="895878" y="363798"/>
                    <a:pt x="910125" y="371820"/>
                  </a:cubicBezTo>
                  <a:cubicBezTo>
                    <a:pt x="916903" y="375597"/>
                    <a:pt x="941257" y="386192"/>
                    <a:pt x="936427" y="375162"/>
                  </a:cubicBezTo>
                  <a:cubicBezTo>
                    <a:pt x="931597" y="364132"/>
                    <a:pt x="917147" y="353537"/>
                    <a:pt x="910369" y="342641"/>
                  </a:cubicBezTo>
                  <a:cubicBezTo>
                    <a:pt x="903996" y="332748"/>
                    <a:pt x="916214" y="352367"/>
                    <a:pt x="910125" y="34254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5EA0291C-8A7F-4AA9-8476-85AB1E7A7F9E}"/>
                </a:ext>
              </a:extLst>
            </p:cNvPr>
            <p:cNvSpPr/>
            <p:nvPr/>
          </p:nvSpPr>
          <p:spPr>
            <a:xfrm>
              <a:off x="6822397" y="4283659"/>
              <a:ext cx="46897" cy="70523"/>
            </a:xfrm>
            <a:custGeom>
              <a:avLst/>
              <a:gdLst>
                <a:gd name="connsiteX0" fmla="*/ 16011 w 46897"/>
                <a:gd name="connsiteY0" fmla="*/ 68948 h 70523"/>
                <a:gd name="connsiteX1" fmla="*/ 19055 w 46897"/>
                <a:gd name="connsiteY1" fmla="*/ 70185 h 70523"/>
                <a:gd name="connsiteX2" fmla="*/ 31922 w 46897"/>
                <a:gd name="connsiteY2" fmla="*/ 46387 h 70523"/>
                <a:gd name="connsiteX3" fmla="*/ 27213 w 46897"/>
                <a:gd name="connsiteY3" fmla="*/ 25030 h 70523"/>
                <a:gd name="connsiteX4" fmla="*/ 32125 w 46897"/>
                <a:gd name="connsiteY4" fmla="*/ 16340 h 70523"/>
                <a:gd name="connsiteX5" fmla="*/ 45438 w 46897"/>
                <a:gd name="connsiteY5" fmla="*/ 12362 h 70523"/>
                <a:gd name="connsiteX6" fmla="*/ 32937 w 46897"/>
                <a:gd name="connsiteY6" fmla="*/ -339 h 70523"/>
                <a:gd name="connsiteX7" fmla="*/ 12642 w 46897"/>
                <a:gd name="connsiteY7" fmla="*/ 24261 h 70523"/>
                <a:gd name="connsiteX8" fmla="*/ 465 w 46897"/>
                <a:gd name="connsiteY8" fmla="*/ 38366 h 70523"/>
                <a:gd name="connsiteX9" fmla="*/ 16011 w 46897"/>
                <a:gd name="connsiteY9" fmla="*/ 68948 h 7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897" h="70523">
                  <a:moveTo>
                    <a:pt x="16011" y="68948"/>
                  </a:moveTo>
                  <a:lnTo>
                    <a:pt x="19055" y="70185"/>
                  </a:lnTo>
                  <a:cubicBezTo>
                    <a:pt x="21653" y="63500"/>
                    <a:pt x="23114" y="51568"/>
                    <a:pt x="31922" y="46387"/>
                  </a:cubicBezTo>
                  <a:cubicBezTo>
                    <a:pt x="44707" y="38733"/>
                    <a:pt x="24656" y="33018"/>
                    <a:pt x="27213" y="25030"/>
                  </a:cubicBezTo>
                  <a:cubicBezTo>
                    <a:pt x="27904" y="21835"/>
                    <a:pt x="29608" y="18840"/>
                    <a:pt x="32125" y="16340"/>
                  </a:cubicBezTo>
                  <a:cubicBezTo>
                    <a:pt x="37320" y="11794"/>
                    <a:pt x="42881" y="19314"/>
                    <a:pt x="45438" y="12362"/>
                  </a:cubicBezTo>
                  <a:cubicBezTo>
                    <a:pt x="48726" y="3539"/>
                    <a:pt x="46859" y="4207"/>
                    <a:pt x="32937" y="-339"/>
                  </a:cubicBezTo>
                  <a:cubicBezTo>
                    <a:pt x="24819" y="7482"/>
                    <a:pt x="21287" y="16373"/>
                    <a:pt x="12642" y="24261"/>
                  </a:cubicBezTo>
                  <a:cubicBezTo>
                    <a:pt x="7852" y="28639"/>
                    <a:pt x="-2499" y="32985"/>
                    <a:pt x="465" y="38366"/>
                  </a:cubicBezTo>
                  <a:cubicBezTo>
                    <a:pt x="5619" y="46354"/>
                    <a:pt x="20394" y="61328"/>
                    <a:pt x="16011" y="6894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FF281EA2-77D6-4965-9906-7E3D5E2FD446}"/>
                </a:ext>
              </a:extLst>
            </p:cNvPr>
            <p:cNvSpPr/>
            <p:nvPr/>
          </p:nvSpPr>
          <p:spPr>
            <a:xfrm>
              <a:off x="6843161" y="4288773"/>
              <a:ext cx="134529" cy="74737"/>
            </a:xfrm>
            <a:custGeom>
              <a:avLst/>
              <a:gdLst>
                <a:gd name="connsiteX0" fmla="*/ 128300 w 134529"/>
                <a:gd name="connsiteY0" fmla="*/ 3772 h 74737"/>
                <a:gd name="connsiteX1" fmla="*/ 87305 w 134529"/>
                <a:gd name="connsiteY1" fmla="*/ 10290 h 74737"/>
                <a:gd name="connsiteX2" fmla="*/ 56822 w 134529"/>
                <a:gd name="connsiteY2" fmla="*/ 16373 h 74737"/>
                <a:gd name="connsiteX3" fmla="*/ 27556 w 134529"/>
                <a:gd name="connsiteY3" fmla="*/ -339 h 74737"/>
                <a:gd name="connsiteX4" fmla="*/ 9372 w 134529"/>
                <a:gd name="connsiteY4" fmla="*/ 43112 h 74737"/>
                <a:gd name="connsiteX5" fmla="*/ 483 w 134529"/>
                <a:gd name="connsiteY5" fmla="*/ 60024 h 74737"/>
                <a:gd name="connsiteX6" fmla="*/ 19804 w 134529"/>
                <a:gd name="connsiteY6" fmla="*/ 72725 h 74737"/>
                <a:gd name="connsiteX7" fmla="*/ 56943 w 134529"/>
                <a:gd name="connsiteY7" fmla="*/ 62698 h 74737"/>
                <a:gd name="connsiteX8" fmla="*/ 91120 w 134529"/>
                <a:gd name="connsiteY8" fmla="*/ 55813 h 74737"/>
                <a:gd name="connsiteX9" fmla="*/ 68552 w 134529"/>
                <a:gd name="connsiteY9" fmla="*/ 39870 h 74737"/>
                <a:gd name="connsiteX10" fmla="*/ 100374 w 134529"/>
                <a:gd name="connsiteY10" fmla="*/ 31915 h 74737"/>
                <a:gd name="connsiteX11" fmla="*/ 134470 w 134529"/>
                <a:gd name="connsiteY11" fmla="*/ 29743 h 74737"/>
                <a:gd name="connsiteX12" fmla="*/ 128300 w 134529"/>
                <a:gd name="connsiteY12" fmla="*/ 3872 h 74737"/>
                <a:gd name="connsiteX13" fmla="*/ 128300 w 134529"/>
                <a:gd name="connsiteY13" fmla="*/ 3772 h 7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4529" h="74737">
                  <a:moveTo>
                    <a:pt x="128300" y="3772"/>
                  </a:moveTo>
                  <a:cubicBezTo>
                    <a:pt x="116123" y="5911"/>
                    <a:pt x="100577" y="10457"/>
                    <a:pt x="87305" y="10290"/>
                  </a:cubicBezTo>
                  <a:cubicBezTo>
                    <a:pt x="76670" y="10290"/>
                    <a:pt x="66157" y="16975"/>
                    <a:pt x="56822" y="16373"/>
                  </a:cubicBezTo>
                  <a:cubicBezTo>
                    <a:pt x="45497" y="15771"/>
                    <a:pt x="27191" y="5677"/>
                    <a:pt x="27556" y="-339"/>
                  </a:cubicBezTo>
                  <a:cubicBezTo>
                    <a:pt x="22726" y="14067"/>
                    <a:pt x="20088" y="30210"/>
                    <a:pt x="9372" y="43112"/>
                  </a:cubicBezTo>
                  <a:cubicBezTo>
                    <a:pt x="5516" y="48399"/>
                    <a:pt x="2513" y="54088"/>
                    <a:pt x="483" y="60024"/>
                  </a:cubicBezTo>
                  <a:cubicBezTo>
                    <a:pt x="-2602" y="67511"/>
                    <a:pt x="7952" y="69349"/>
                    <a:pt x="19804" y="72725"/>
                  </a:cubicBezTo>
                  <a:cubicBezTo>
                    <a:pt x="43062" y="79410"/>
                    <a:pt x="42696" y="64002"/>
                    <a:pt x="56943" y="62698"/>
                  </a:cubicBezTo>
                  <a:cubicBezTo>
                    <a:pt x="66644" y="61796"/>
                    <a:pt x="87670" y="63667"/>
                    <a:pt x="91120" y="55813"/>
                  </a:cubicBezTo>
                  <a:cubicBezTo>
                    <a:pt x="93149" y="51200"/>
                    <a:pt x="75290" y="41741"/>
                    <a:pt x="68552" y="39870"/>
                  </a:cubicBezTo>
                  <a:cubicBezTo>
                    <a:pt x="56903" y="36527"/>
                    <a:pt x="96681" y="31648"/>
                    <a:pt x="100374" y="31915"/>
                  </a:cubicBezTo>
                  <a:cubicBezTo>
                    <a:pt x="113201" y="32751"/>
                    <a:pt x="122496" y="28573"/>
                    <a:pt x="134470" y="29743"/>
                  </a:cubicBezTo>
                  <a:cubicBezTo>
                    <a:pt x="132359" y="21153"/>
                    <a:pt x="128584" y="12429"/>
                    <a:pt x="128300" y="3872"/>
                  </a:cubicBezTo>
                  <a:cubicBezTo>
                    <a:pt x="108167" y="7349"/>
                    <a:pt x="128422" y="6914"/>
                    <a:pt x="128300" y="377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DB33A79-A250-4097-BC9E-5D62E72D6B8E}"/>
                </a:ext>
              </a:extLst>
            </p:cNvPr>
            <p:cNvSpPr/>
            <p:nvPr/>
          </p:nvSpPr>
          <p:spPr>
            <a:xfrm>
              <a:off x="7961290" y="4271307"/>
              <a:ext cx="354072" cy="83448"/>
            </a:xfrm>
            <a:custGeom>
              <a:avLst/>
              <a:gdLst>
                <a:gd name="connsiteX0" fmla="*/ 330718 w 354072"/>
                <a:gd name="connsiteY0" fmla="*/ 63219 h 83448"/>
                <a:gd name="connsiteX1" fmla="*/ 290900 w 354072"/>
                <a:gd name="connsiteY1" fmla="*/ 47409 h 83448"/>
                <a:gd name="connsiteX2" fmla="*/ 235454 w 354072"/>
                <a:gd name="connsiteY2" fmla="*/ 31968 h 83448"/>
                <a:gd name="connsiteX3" fmla="*/ 188289 w 354072"/>
                <a:gd name="connsiteY3" fmla="*/ 16325 h 83448"/>
                <a:gd name="connsiteX4" fmla="*/ 147699 w 354072"/>
                <a:gd name="connsiteY4" fmla="*/ 16325 h 83448"/>
                <a:gd name="connsiteX5" fmla="*/ 95298 w 354072"/>
                <a:gd name="connsiteY5" fmla="*/ 817 h 83448"/>
                <a:gd name="connsiteX6" fmla="*/ 76099 w 354072"/>
                <a:gd name="connsiteY6" fmla="*/ 3725 h 83448"/>
                <a:gd name="connsiteX7" fmla="*/ 52557 w 354072"/>
                <a:gd name="connsiteY7" fmla="*/ 9273 h 83448"/>
                <a:gd name="connsiteX8" fmla="*/ 53328 w 354072"/>
                <a:gd name="connsiteY8" fmla="*/ 23411 h 83448"/>
                <a:gd name="connsiteX9" fmla="*/ 78088 w 354072"/>
                <a:gd name="connsiteY9" fmla="*/ 28057 h 83448"/>
                <a:gd name="connsiteX10" fmla="*/ 121316 w 354072"/>
                <a:gd name="connsiteY10" fmla="*/ 52323 h 83448"/>
                <a:gd name="connsiteX11" fmla="*/ 110397 w 354072"/>
                <a:gd name="connsiteY11" fmla="*/ 51721 h 83448"/>
                <a:gd name="connsiteX12" fmla="*/ 96678 w 354072"/>
                <a:gd name="connsiteY12" fmla="*/ 54729 h 83448"/>
                <a:gd name="connsiteX13" fmla="*/ 68265 w 354072"/>
                <a:gd name="connsiteY13" fmla="*/ 49816 h 83448"/>
                <a:gd name="connsiteX14" fmla="*/ 886 w 354072"/>
                <a:gd name="connsiteY14" fmla="*/ 46474 h 83448"/>
                <a:gd name="connsiteX15" fmla="*/ 21181 w 354072"/>
                <a:gd name="connsiteY15" fmla="*/ 53392 h 83448"/>
                <a:gd name="connsiteX16" fmla="*/ 55885 w 354072"/>
                <a:gd name="connsiteY16" fmla="*/ 62885 h 83448"/>
                <a:gd name="connsiteX17" fmla="*/ 85962 w 354072"/>
                <a:gd name="connsiteY17" fmla="*/ 72076 h 83448"/>
                <a:gd name="connsiteX18" fmla="*/ 118109 w 354072"/>
                <a:gd name="connsiteY18" fmla="*/ 79195 h 83448"/>
                <a:gd name="connsiteX19" fmla="*/ 141652 w 354072"/>
                <a:gd name="connsiteY19" fmla="*/ 79028 h 83448"/>
                <a:gd name="connsiteX20" fmla="*/ 172662 w 354072"/>
                <a:gd name="connsiteY20" fmla="*/ 71942 h 83448"/>
                <a:gd name="connsiteX21" fmla="*/ 206027 w 354072"/>
                <a:gd name="connsiteY21" fmla="*/ 78159 h 83448"/>
                <a:gd name="connsiteX22" fmla="*/ 236834 w 354072"/>
                <a:gd name="connsiteY22" fmla="*/ 78460 h 83448"/>
                <a:gd name="connsiteX23" fmla="*/ 274177 w 354072"/>
                <a:gd name="connsiteY23" fmla="*/ 82638 h 83448"/>
                <a:gd name="connsiteX24" fmla="*/ 313346 w 354072"/>
                <a:gd name="connsiteY24" fmla="*/ 78326 h 83448"/>
                <a:gd name="connsiteX25" fmla="*/ 350364 w 354072"/>
                <a:gd name="connsiteY25" fmla="*/ 77691 h 83448"/>
                <a:gd name="connsiteX26" fmla="*/ 330515 w 354072"/>
                <a:gd name="connsiteY26" fmla="*/ 63152 h 83448"/>
                <a:gd name="connsiteX27" fmla="*/ 330718 w 354072"/>
                <a:gd name="connsiteY27" fmla="*/ 63219 h 83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4072" h="83448">
                  <a:moveTo>
                    <a:pt x="330718" y="63219"/>
                  </a:moveTo>
                  <a:cubicBezTo>
                    <a:pt x="323372" y="55130"/>
                    <a:pt x="304132" y="51755"/>
                    <a:pt x="290900" y="47409"/>
                  </a:cubicBezTo>
                  <a:cubicBezTo>
                    <a:pt x="272837" y="41310"/>
                    <a:pt x="254329" y="36152"/>
                    <a:pt x="235454" y="31968"/>
                  </a:cubicBezTo>
                  <a:cubicBezTo>
                    <a:pt x="216174" y="27890"/>
                    <a:pt x="204890" y="25450"/>
                    <a:pt x="188289" y="16325"/>
                  </a:cubicBezTo>
                  <a:cubicBezTo>
                    <a:pt x="171688" y="7201"/>
                    <a:pt x="157644" y="9641"/>
                    <a:pt x="147699" y="16325"/>
                  </a:cubicBezTo>
                  <a:cubicBezTo>
                    <a:pt x="139581" y="22007"/>
                    <a:pt x="107110" y="3257"/>
                    <a:pt x="95298" y="817"/>
                  </a:cubicBezTo>
                  <a:cubicBezTo>
                    <a:pt x="83486" y="-1623"/>
                    <a:pt x="82309" y="15"/>
                    <a:pt x="76099" y="3725"/>
                  </a:cubicBezTo>
                  <a:cubicBezTo>
                    <a:pt x="69889" y="7435"/>
                    <a:pt x="58808" y="6198"/>
                    <a:pt x="52557" y="9273"/>
                  </a:cubicBezTo>
                  <a:cubicBezTo>
                    <a:pt x="40989" y="14922"/>
                    <a:pt x="45981" y="15590"/>
                    <a:pt x="53328" y="23411"/>
                  </a:cubicBezTo>
                  <a:cubicBezTo>
                    <a:pt x="57387" y="27623"/>
                    <a:pt x="73623" y="32269"/>
                    <a:pt x="78088" y="28057"/>
                  </a:cubicBezTo>
                  <a:cubicBezTo>
                    <a:pt x="82553" y="23846"/>
                    <a:pt x="125781" y="49716"/>
                    <a:pt x="121316" y="52323"/>
                  </a:cubicBezTo>
                  <a:cubicBezTo>
                    <a:pt x="119774" y="53225"/>
                    <a:pt x="112386" y="51788"/>
                    <a:pt x="110397" y="51721"/>
                  </a:cubicBezTo>
                  <a:cubicBezTo>
                    <a:pt x="103943" y="51487"/>
                    <a:pt x="102279" y="54361"/>
                    <a:pt x="96678" y="54729"/>
                  </a:cubicBezTo>
                  <a:cubicBezTo>
                    <a:pt x="87424" y="55364"/>
                    <a:pt x="78210" y="49716"/>
                    <a:pt x="68265" y="49816"/>
                  </a:cubicBezTo>
                  <a:cubicBezTo>
                    <a:pt x="47605" y="49816"/>
                    <a:pt x="15174" y="35945"/>
                    <a:pt x="886" y="46474"/>
                  </a:cubicBezTo>
                  <a:cubicBezTo>
                    <a:pt x="-4837" y="50685"/>
                    <a:pt x="17122" y="52690"/>
                    <a:pt x="21181" y="53392"/>
                  </a:cubicBezTo>
                  <a:cubicBezTo>
                    <a:pt x="32708" y="55364"/>
                    <a:pt x="45210" y="62283"/>
                    <a:pt x="55885" y="62885"/>
                  </a:cubicBezTo>
                  <a:cubicBezTo>
                    <a:pt x="70376" y="63687"/>
                    <a:pt x="72121" y="69569"/>
                    <a:pt x="85962" y="72076"/>
                  </a:cubicBezTo>
                  <a:cubicBezTo>
                    <a:pt x="96840" y="74048"/>
                    <a:pt x="106988" y="77357"/>
                    <a:pt x="118109" y="79195"/>
                  </a:cubicBezTo>
                  <a:cubicBezTo>
                    <a:pt x="127729" y="80833"/>
                    <a:pt x="136537" y="83975"/>
                    <a:pt x="141652" y="79028"/>
                  </a:cubicBezTo>
                  <a:cubicBezTo>
                    <a:pt x="149972" y="70940"/>
                    <a:pt x="156466" y="74616"/>
                    <a:pt x="172662" y="71942"/>
                  </a:cubicBezTo>
                  <a:cubicBezTo>
                    <a:pt x="184352" y="69790"/>
                    <a:pt x="196610" y="72073"/>
                    <a:pt x="206027" y="78159"/>
                  </a:cubicBezTo>
                  <a:cubicBezTo>
                    <a:pt x="213414" y="82738"/>
                    <a:pt x="230381" y="80599"/>
                    <a:pt x="236834" y="78460"/>
                  </a:cubicBezTo>
                  <a:cubicBezTo>
                    <a:pt x="250472" y="73948"/>
                    <a:pt x="259159" y="80198"/>
                    <a:pt x="274177" y="82638"/>
                  </a:cubicBezTo>
                  <a:cubicBezTo>
                    <a:pt x="288343" y="84978"/>
                    <a:pt x="298531" y="77825"/>
                    <a:pt x="313346" y="78326"/>
                  </a:cubicBezTo>
                  <a:cubicBezTo>
                    <a:pt x="325767" y="78761"/>
                    <a:pt x="337700" y="77424"/>
                    <a:pt x="350364" y="77691"/>
                  </a:cubicBezTo>
                  <a:cubicBezTo>
                    <a:pt x="364651" y="77958"/>
                    <a:pt x="332505" y="65324"/>
                    <a:pt x="330515" y="63152"/>
                  </a:cubicBezTo>
                  <a:cubicBezTo>
                    <a:pt x="321505" y="53192"/>
                    <a:pt x="338349" y="71842"/>
                    <a:pt x="330718" y="6321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66B0BA0-B90B-47E3-8DD0-77CD79FDFA13}"/>
                </a:ext>
              </a:extLst>
            </p:cNvPr>
            <p:cNvSpPr/>
            <p:nvPr/>
          </p:nvSpPr>
          <p:spPr>
            <a:xfrm>
              <a:off x="7033704" y="4095635"/>
              <a:ext cx="209823" cy="72781"/>
            </a:xfrm>
            <a:custGeom>
              <a:avLst/>
              <a:gdLst>
                <a:gd name="connsiteX0" fmla="*/ 81729 w 209823"/>
                <a:gd name="connsiteY0" fmla="*/ 47307 h 72781"/>
                <a:gd name="connsiteX1" fmla="*/ 112293 w 209823"/>
                <a:gd name="connsiteY1" fmla="*/ 60676 h 72781"/>
                <a:gd name="connsiteX2" fmla="*/ 164410 w 209823"/>
                <a:gd name="connsiteY2" fmla="*/ 65590 h 72781"/>
                <a:gd name="connsiteX3" fmla="*/ 193229 w 209823"/>
                <a:gd name="connsiteY3" fmla="*/ 71071 h 72781"/>
                <a:gd name="connsiteX4" fmla="*/ 209465 w 209823"/>
                <a:gd name="connsiteY4" fmla="*/ 70001 h 72781"/>
                <a:gd name="connsiteX5" fmla="*/ 206908 w 209823"/>
                <a:gd name="connsiteY5" fmla="*/ 57668 h 72781"/>
                <a:gd name="connsiteX6" fmla="*/ 185598 w 209823"/>
                <a:gd name="connsiteY6" fmla="*/ 47173 h 72781"/>
                <a:gd name="connsiteX7" fmla="*/ 174923 w 209823"/>
                <a:gd name="connsiteY7" fmla="*/ 36478 h 72781"/>
                <a:gd name="connsiteX8" fmla="*/ 146510 w 209823"/>
                <a:gd name="connsiteY8" fmla="*/ 32667 h 72781"/>
                <a:gd name="connsiteX9" fmla="*/ 121791 w 209823"/>
                <a:gd name="connsiteY9" fmla="*/ 26885 h 72781"/>
                <a:gd name="connsiteX10" fmla="*/ 63788 w 209823"/>
                <a:gd name="connsiteY10" fmla="*/ 12179 h 72781"/>
                <a:gd name="connsiteX11" fmla="*/ -60 w 209823"/>
                <a:gd name="connsiteY11" fmla="*/ 915 h 72781"/>
                <a:gd name="connsiteX12" fmla="*/ 47024 w 209823"/>
                <a:gd name="connsiteY12" fmla="*/ 20501 h 72781"/>
                <a:gd name="connsiteX13" fmla="*/ 48283 w 209823"/>
                <a:gd name="connsiteY13" fmla="*/ 44299 h 72781"/>
                <a:gd name="connsiteX14" fmla="*/ 81526 w 209823"/>
                <a:gd name="connsiteY14" fmla="*/ 47340 h 72781"/>
                <a:gd name="connsiteX15" fmla="*/ 81729 w 209823"/>
                <a:gd name="connsiteY15" fmla="*/ 47307 h 7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823" h="72781">
                  <a:moveTo>
                    <a:pt x="81729" y="47307"/>
                  </a:moveTo>
                  <a:cubicBezTo>
                    <a:pt x="98330" y="45201"/>
                    <a:pt x="95408" y="60676"/>
                    <a:pt x="112293" y="60676"/>
                  </a:cubicBezTo>
                  <a:cubicBezTo>
                    <a:pt x="129868" y="60011"/>
                    <a:pt x="147484" y="61669"/>
                    <a:pt x="164410" y="65590"/>
                  </a:cubicBezTo>
                  <a:cubicBezTo>
                    <a:pt x="155156" y="54092"/>
                    <a:pt x="189495" y="70202"/>
                    <a:pt x="193229" y="71071"/>
                  </a:cubicBezTo>
                  <a:cubicBezTo>
                    <a:pt x="195543" y="71606"/>
                    <a:pt x="212184" y="74413"/>
                    <a:pt x="209465" y="70001"/>
                  </a:cubicBezTo>
                  <a:cubicBezTo>
                    <a:pt x="205406" y="63317"/>
                    <a:pt x="192580" y="63317"/>
                    <a:pt x="206908" y="57668"/>
                  </a:cubicBezTo>
                  <a:cubicBezTo>
                    <a:pt x="201550" y="55295"/>
                    <a:pt x="186856" y="50984"/>
                    <a:pt x="185598" y="47173"/>
                  </a:cubicBezTo>
                  <a:cubicBezTo>
                    <a:pt x="183366" y="40488"/>
                    <a:pt x="183000" y="40956"/>
                    <a:pt x="174923" y="36478"/>
                  </a:cubicBezTo>
                  <a:cubicBezTo>
                    <a:pt x="168794" y="33135"/>
                    <a:pt x="153938" y="32935"/>
                    <a:pt x="146510" y="32667"/>
                  </a:cubicBezTo>
                  <a:cubicBezTo>
                    <a:pt x="131654" y="32133"/>
                    <a:pt x="133927" y="32667"/>
                    <a:pt x="121791" y="26885"/>
                  </a:cubicBezTo>
                  <a:cubicBezTo>
                    <a:pt x="100441" y="16858"/>
                    <a:pt x="90009" y="15287"/>
                    <a:pt x="63788" y="12179"/>
                  </a:cubicBezTo>
                  <a:cubicBezTo>
                    <a:pt x="40043" y="9371"/>
                    <a:pt x="25755" y="-4533"/>
                    <a:pt x="-60" y="915"/>
                  </a:cubicBezTo>
                  <a:cubicBezTo>
                    <a:pt x="13579" y="6697"/>
                    <a:pt x="44914" y="9405"/>
                    <a:pt x="47024" y="20501"/>
                  </a:cubicBezTo>
                  <a:cubicBezTo>
                    <a:pt x="48851" y="30027"/>
                    <a:pt x="68740" y="37213"/>
                    <a:pt x="48283" y="44299"/>
                  </a:cubicBezTo>
                  <a:cubicBezTo>
                    <a:pt x="57821" y="45703"/>
                    <a:pt x="71947" y="48543"/>
                    <a:pt x="81526" y="47340"/>
                  </a:cubicBezTo>
                  <a:cubicBezTo>
                    <a:pt x="92485" y="45937"/>
                    <a:pt x="76655" y="47908"/>
                    <a:pt x="81729" y="473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08C9054D-5003-4DF5-BA69-9A79195DB751}"/>
                </a:ext>
              </a:extLst>
            </p:cNvPr>
            <p:cNvSpPr/>
            <p:nvPr/>
          </p:nvSpPr>
          <p:spPr>
            <a:xfrm>
              <a:off x="6586881" y="4093371"/>
              <a:ext cx="582855" cy="150147"/>
            </a:xfrm>
            <a:custGeom>
              <a:avLst/>
              <a:gdLst>
                <a:gd name="connsiteX0" fmla="*/ 569669 w 582855"/>
                <a:gd name="connsiteY0" fmla="*/ 131994 h 150147"/>
                <a:gd name="connsiteX1" fmla="*/ 571577 w 582855"/>
                <a:gd name="connsiteY1" fmla="*/ 111939 h 150147"/>
                <a:gd name="connsiteX2" fmla="*/ 579694 w 582855"/>
                <a:gd name="connsiteY2" fmla="*/ 92854 h 150147"/>
                <a:gd name="connsiteX3" fmla="*/ 555341 w 582855"/>
                <a:gd name="connsiteY3" fmla="*/ 77045 h 150147"/>
                <a:gd name="connsiteX4" fmla="*/ 523113 w 582855"/>
                <a:gd name="connsiteY4" fmla="*/ 49704 h 150147"/>
                <a:gd name="connsiteX5" fmla="*/ 489667 w 582855"/>
                <a:gd name="connsiteY5" fmla="*/ 48201 h 150147"/>
                <a:gd name="connsiteX6" fmla="*/ 455449 w 582855"/>
                <a:gd name="connsiteY6" fmla="*/ 52445 h 150147"/>
                <a:gd name="connsiteX7" fmla="*/ 396026 w 582855"/>
                <a:gd name="connsiteY7" fmla="*/ 47499 h 150147"/>
                <a:gd name="connsiteX8" fmla="*/ 336440 w 582855"/>
                <a:gd name="connsiteY8" fmla="*/ 35733 h 150147"/>
                <a:gd name="connsiteX9" fmla="*/ 315049 w 582855"/>
                <a:gd name="connsiteY9" fmla="*/ 27344 h 150147"/>
                <a:gd name="connsiteX10" fmla="*/ 304821 w 582855"/>
                <a:gd name="connsiteY10" fmla="*/ 24838 h 150147"/>
                <a:gd name="connsiteX11" fmla="*/ 178424 w 582855"/>
                <a:gd name="connsiteY11" fmla="*/ 22464 h 150147"/>
                <a:gd name="connsiteX12" fmla="*/ 131259 w 582855"/>
                <a:gd name="connsiteY12" fmla="*/ 25439 h 150147"/>
                <a:gd name="connsiteX13" fmla="*/ 96067 w 582855"/>
                <a:gd name="connsiteY13" fmla="*/ 28347 h 150147"/>
                <a:gd name="connsiteX14" fmla="*/ 40013 w 582855"/>
                <a:gd name="connsiteY14" fmla="*/ 33962 h 150147"/>
                <a:gd name="connsiteX15" fmla="*/ 4173 w 582855"/>
                <a:gd name="connsiteY15" fmla="*/ 45527 h 150147"/>
                <a:gd name="connsiteX16" fmla="*/ 22032 w 582855"/>
                <a:gd name="connsiteY16" fmla="*/ 49905 h 150147"/>
                <a:gd name="connsiteX17" fmla="*/ 24751 w 582855"/>
                <a:gd name="connsiteY17" fmla="*/ 62339 h 150147"/>
                <a:gd name="connsiteX18" fmla="*/ 22844 w 582855"/>
                <a:gd name="connsiteY18" fmla="*/ 76343 h 150147"/>
                <a:gd name="connsiteX19" fmla="*/ 20124 w 582855"/>
                <a:gd name="connsiteY19" fmla="*/ 86136 h 150147"/>
                <a:gd name="connsiteX20" fmla="*/ 42530 w 582855"/>
                <a:gd name="connsiteY20" fmla="*/ 97835 h 150147"/>
                <a:gd name="connsiteX21" fmla="*/ 57142 w 582855"/>
                <a:gd name="connsiteY21" fmla="*/ 103283 h 150147"/>
                <a:gd name="connsiteX22" fmla="*/ 81902 w 582855"/>
                <a:gd name="connsiteY22" fmla="*/ 108998 h 150147"/>
                <a:gd name="connsiteX23" fmla="*/ 118960 w 582855"/>
                <a:gd name="connsiteY23" fmla="*/ 121699 h 150147"/>
                <a:gd name="connsiteX24" fmla="*/ 158089 w 582855"/>
                <a:gd name="connsiteY24" fmla="*/ 112708 h 150147"/>
                <a:gd name="connsiteX25" fmla="*/ 204564 w 582855"/>
                <a:gd name="connsiteY25" fmla="*/ 129988 h 150147"/>
                <a:gd name="connsiteX26" fmla="*/ 258833 w 582855"/>
                <a:gd name="connsiteY26" fmla="*/ 122134 h 150147"/>
                <a:gd name="connsiteX27" fmla="*/ 275515 w 582855"/>
                <a:gd name="connsiteY27" fmla="*/ 124841 h 150147"/>
                <a:gd name="connsiteX28" fmla="*/ 310706 w 582855"/>
                <a:gd name="connsiteY28" fmla="*/ 124841 h 150147"/>
                <a:gd name="connsiteX29" fmla="*/ 304334 w 582855"/>
                <a:gd name="connsiteY29" fmla="*/ 131526 h 150147"/>
                <a:gd name="connsiteX30" fmla="*/ 300599 w 582855"/>
                <a:gd name="connsiteY30" fmla="*/ 143558 h 150147"/>
                <a:gd name="connsiteX31" fmla="*/ 323411 w 582855"/>
                <a:gd name="connsiteY31" fmla="*/ 130489 h 150147"/>
                <a:gd name="connsiteX32" fmla="*/ 344680 w 582855"/>
                <a:gd name="connsiteY32" fmla="*/ 133832 h 150147"/>
                <a:gd name="connsiteX33" fmla="*/ 375609 w 582855"/>
                <a:gd name="connsiteY33" fmla="*/ 130824 h 150147"/>
                <a:gd name="connsiteX34" fmla="*/ 388882 w 582855"/>
                <a:gd name="connsiteY34" fmla="*/ 135269 h 150147"/>
                <a:gd name="connsiteX35" fmla="*/ 417782 w 582855"/>
                <a:gd name="connsiteY35" fmla="*/ 137074 h 150147"/>
                <a:gd name="connsiteX36" fmla="*/ 469818 w 582855"/>
                <a:gd name="connsiteY36" fmla="*/ 135603 h 150147"/>
                <a:gd name="connsiteX37" fmla="*/ 505496 w 582855"/>
                <a:gd name="connsiteY37" fmla="*/ 138277 h 150147"/>
                <a:gd name="connsiteX38" fmla="*/ 522138 w 582855"/>
                <a:gd name="connsiteY38" fmla="*/ 134567 h 150147"/>
                <a:gd name="connsiteX39" fmla="*/ 545071 w 582855"/>
                <a:gd name="connsiteY39" fmla="*/ 140550 h 150147"/>
                <a:gd name="connsiteX40" fmla="*/ 574783 w 582855"/>
                <a:gd name="connsiteY40" fmla="*/ 149407 h 150147"/>
                <a:gd name="connsiteX41" fmla="*/ 569466 w 582855"/>
                <a:gd name="connsiteY41" fmla="*/ 132227 h 150147"/>
                <a:gd name="connsiteX42" fmla="*/ 51459 w 582855"/>
                <a:gd name="connsiteY42" fmla="*/ 22264 h 150147"/>
                <a:gd name="connsiteX43" fmla="*/ 95702 w 582855"/>
                <a:gd name="connsiteY43" fmla="*/ 21228 h 150147"/>
                <a:gd name="connsiteX44" fmla="*/ 80481 w 582855"/>
                <a:gd name="connsiteY44" fmla="*/ 14376 h 150147"/>
                <a:gd name="connsiteX45" fmla="*/ 64245 w 582855"/>
                <a:gd name="connsiteY45" fmla="*/ 1474 h 150147"/>
                <a:gd name="connsiteX46" fmla="*/ 17445 w 582855"/>
                <a:gd name="connsiteY46" fmla="*/ 1675 h 150147"/>
                <a:gd name="connsiteX47" fmla="*/ 18947 w 582855"/>
                <a:gd name="connsiteY47" fmla="*/ 14242 h 150147"/>
                <a:gd name="connsiteX48" fmla="*/ 2711 w 582855"/>
                <a:gd name="connsiteY48" fmla="*/ 24604 h 150147"/>
                <a:gd name="connsiteX49" fmla="*/ 51419 w 582855"/>
                <a:gd name="connsiteY49" fmla="*/ 22264 h 15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82855" h="150147">
                  <a:moveTo>
                    <a:pt x="569669" y="131994"/>
                  </a:moveTo>
                  <a:cubicBezTo>
                    <a:pt x="565610" y="130991"/>
                    <a:pt x="573038" y="115282"/>
                    <a:pt x="571577" y="111939"/>
                  </a:cubicBezTo>
                  <a:cubicBezTo>
                    <a:pt x="568776" y="104800"/>
                    <a:pt x="572104" y="96992"/>
                    <a:pt x="579694" y="92854"/>
                  </a:cubicBezTo>
                  <a:cubicBezTo>
                    <a:pt x="593008" y="84666"/>
                    <a:pt x="559400" y="84365"/>
                    <a:pt x="555341" y="77045"/>
                  </a:cubicBezTo>
                  <a:cubicBezTo>
                    <a:pt x="549171" y="65547"/>
                    <a:pt x="551525" y="50874"/>
                    <a:pt x="523113" y="49704"/>
                  </a:cubicBezTo>
                  <a:cubicBezTo>
                    <a:pt x="511260" y="49237"/>
                    <a:pt x="499976" y="45593"/>
                    <a:pt x="489667" y="48201"/>
                  </a:cubicBezTo>
                  <a:cubicBezTo>
                    <a:pt x="478545" y="50828"/>
                    <a:pt x="467017" y="52255"/>
                    <a:pt x="455449" y="52445"/>
                  </a:cubicBezTo>
                  <a:cubicBezTo>
                    <a:pt x="436128" y="53014"/>
                    <a:pt x="415874" y="48267"/>
                    <a:pt x="396026" y="47499"/>
                  </a:cubicBezTo>
                  <a:cubicBezTo>
                    <a:pt x="374351" y="46663"/>
                    <a:pt x="356004" y="40814"/>
                    <a:pt x="336440" y="35733"/>
                  </a:cubicBezTo>
                  <a:cubicBezTo>
                    <a:pt x="327876" y="33528"/>
                    <a:pt x="325319" y="28247"/>
                    <a:pt x="315049" y="27344"/>
                  </a:cubicBezTo>
                  <a:cubicBezTo>
                    <a:pt x="311477" y="27097"/>
                    <a:pt x="307987" y="26241"/>
                    <a:pt x="304821" y="24838"/>
                  </a:cubicBezTo>
                  <a:cubicBezTo>
                    <a:pt x="269467" y="9697"/>
                    <a:pt x="212763" y="12504"/>
                    <a:pt x="178424" y="22464"/>
                  </a:cubicBezTo>
                  <a:cubicBezTo>
                    <a:pt x="162188" y="27144"/>
                    <a:pt x="150539" y="27411"/>
                    <a:pt x="131259" y="25439"/>
                  </a:cubicBezTo>
                  <a:cubicBezTo>
                    <a:pt x="114617" y="23768"/>
                    <a:pt x="101750" y="18988"/>
                    <a:pt x="96067" y="28347"/>
                  </a:cubicBezTo>
                  <a:cubicBezTo>
                    <a:pt x="89289" y="39444"/>
                    <a:pt x="56452" y="35032"/>
                    <a:pt x="40013" y="33962"/>
                  </a:cubicBezTo>
                  <a:cubicBezTo>
                    <a:pt x="33681" y="33594"/>
                    <a:pt x="-14377" y="36168"/>
                    <a:pt x="4173" y="45527"/>
                  </a:cubicBezTo>
                  <a:cubicBezTo>
                    <a:pt x="8515" y="47699"/>
                    <a:pt x="20611" y="45293"/>
                    <a:pt x="22032" y="49905"/>
                  </a:cubicBezTo>
                  <a:cubicBezTo>
                    <a:pt x="23533" y="53946"/>
                    <a:pt x="24427" y="58121"/>
                    <a:pt x="24751" y="62339"/>
                  </a:cubicBezTo>
                  <a:cubicBezTo>
                    <a:pt x="24142" y="67519"/>
                    <a:pt x="10545" y="70528"/>
                    <a:pt x="22844" y="76343"/>
                  </a:cubicBezTo>
                  <a:cubicBezTo>
                    <a:pt x="36482" y="82794"/>
                    <a:pt x="21423" y="82660"/>
                    <a:pt x="20124" y="86136"/>
                  </a:cubicBezTo>
                  <a:cubicBezTo>
                    <a:pt x="19678" y="87306"/>
                    <a:pt x="39242" y="96899"/>
                    <a:pt x="42530" y="97835"/>
                  </a:cubicBezTo>
                  <a:cubicBezTo>
                    <a:pt x="45817" y="98770"/>
                    <a:pt x="57345" y="100642"/>
                    <a:pt x="57142" y="103283"/>
                  </a:cubicBezTo>
                  <a:cubicBezTo>
                    <a:pt x="56614" y="109366"/>
                    <a:pt x="76341" y="105087"/>
                    <a:pt x="81902" y="108998"/>
                  </a:cubicBezTo>
                  <a:cubicBezTo>
                    <a:pt x="94728" y="117956"/>
                    <a:pt x="94485" y="124139"/>
                    <a:pt x="118960" y="121699"/>
                  </a:cubicBezTo>
                  <a:cubicBezTo>
                    <a:pt x="138362" y="119827"/>
                    <a:pt x="132436" y="109700"/>
                    <a:pt x="158089" y="112708"/>
                  </a:cubicBezTo>
                  <a:cubicBezTo>
                    <a:pt x="176070" y="114847"/>
                    <a:pt x="187476" y="129420"/>
                    <a:pt x="204564" y="129988"/>
                  </a:cubicBezTo>
                  <a:cubicBezTo>
                    <a:pt x="223154" y="130720"/>
                    <a:pt x="241663" y="128036"/>
                    <a:pt x="258833" y="122134"/>
                  </a:cubicBezTo>
                  <a:cubicBezTo>
                    <a:pt x="265692" y="119794"/>
                    <a:pt x="269345" y="122535"/>
                    <a:pt x="275515" y="124841"/>
                  </a:cubicBezTo>
                  <a:cubicBezTo>
                    <a:pt x="287692" y="129353"/>
                    <a:pt x="299463" y="120128"/>
                    <a:pt x="310706" y="124841"/>
                  </a:cubicBezTo>
                  <a:cubicBezTo>
                    <a:pt x="314440" y="126412"/>
                    <a:pt x="305552" y="130623"/>
                    <a:pt x="304334" y="131526"/>
                  </a:cubicBezTo>
                  <a:cubicBezTo>
                    <a:pt x="297961" y="135770"/>
                    <a:pt x="303319" y="138778"/>
                    <a:pt x="300599" y="143558"/>
                  </a:cubicBezTo>
                  <a:cubicBezTo>
                    <a:pt x="320894" y="143792"/>
                    <a:pt x="314319" y="136238"/>
                    <a:pt x="323411" y="130489"/>
                  </a:cubicBezTo>
                  <a:cubicBezTo>
                    <a:pt x="329458" y="126679"/>
                    <a:pt x="337739" y="132996"/>
                    <a:pt x="344680" y="133832"/>
                  </a:cubicBezTo>
                  <a:cubicBezTo>
                    <a:pt x="356167" y="135068"/>
                    <a:pt x="364975" y="131826"/>
                    <a:pt x="375609" y="130824"/>
                  </a:cubicBezTo>
                  <a:cubicBezTo>
                    <a:pt x="380683" y="130356"/>
                    <a:pt x="383727" y="134600"/>
                    <a:pt x="388882" y="135269"/>
                  </a:cubicBezTo>
                  <a:cubicBezTo>
                    <a:pt x="398380" y="136472"/>
                    <a:pt x="408203" y="136138"/>
                    <a:pt x="417782" y="137074"/>
                  </a:cubicBezTo>
                  <a:cubicBezTo>
                    <a:pt x="435358" y="138812"/>
                    <a:pt x="451268" y="134166"/>
                    <a:pt x="469818" y="135603"/>
                  </a:cubicBezTo>
                  <a:cubicBezTo>
                    <a:pt x="483700" y="136673"/>
                    <a:pt x="492751" y="134734"/>
                    <a:pt x="505496" y="138277"/>
                  </a:cubicBezTo>
                  <a:cubicBezTo>
                    <a:pt x="508825" y="139213"/>
                    <a:pt x="516415" y="134333"/>
                    <a:pt x="522138" y="134567"/>
                  </a:cubicBezTo>
                  <a:cubicBezTo>
                    <a:pt x="531920" y="135002"/>
                    <a:pt x="536548" y="138845"/>
                    <a:pt x="545071" y="140550"/>
                  </a:cubicBezTo>
                  <a:cubicBezTo>
                    <a:pt x="555868" y="142722"/>
                    <a:pt x="564027" y="146967"/>
                    <a:pt x="574783" y="149407"/>
                  </a:cubicBezTo>
                  <a:cubicBezTo>
                    <a:pt x="588868" y="152749"/>
                    <a:pt x="577137" y="134199"/>
                    <a:pt x="569466" y="132227"/>
                  </a:cubicBezTo>
                  <a:close/>
                  <a:moveTo>
                    <a:pt x="51459" y="22264"/>
                  </a:moveTo>
                  <a:cubicBezTo>
                    <a:pt x="56695" y="21495"/>
                    <a:pt x="96717" y="25606"/>
                    <a:pt x="95702" y="21228"/>
                  </a:cubicBezTo>
                  <a:cubicBezTo>
                    <a:pt x="94972" y="18353"/>
                    <a:pt x="84297" y="15713"/>
                    <a:pt x="80481" y="14376"/>
                  </a:cubicBezTo>
                  <a:cubicBezTo>
                    <a:pt x="70455" y="10833"/>
                    <a:pt x="66965" y="7691"/>
                    <a:pt x="64245" y="1474"/>
                  </a:cubicBezTo>
                  <a:cubicBezTo>
                    <a:pt x="58441" y="3145"/>
                    <a:pt x="17161" y="-3506"/>
                    <a:pt x="17445" y="1675"/>
                  </a:cubicBezTo>
                  <a:cubicBezTo>
                    <a:pt x="17648" y="5586"/>
                    <a:pt x="23696" y="10699"/>
                    <a:pt x="18947" y="14242"/>
                  </a:cubicBezTo>
                  <a:cubicBezTo>
                    <a:pt x="13914" y="18072"/>
                    <a:pt x="8475" y="21539"/>
                    <a:pt x="2711" y="24604"/>
                  </a:cubicBezTo>
                  <a:cubicBezTo>
                    <a:pt x="26497" y="35667"/>
                    <a:pt x="29663" y="25339"/>
                    <a:pt x="51419" y="2226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13237F09-DE10-4338-B203-D09EF09D5841}"/>
                </a:ext>
              </a:extLst>
            </p:cNvPr>
            <p:cNvSpPr/>
            <p:nvPr/>
          </p:nvSpPr>
          <p:spPr>
            <a:xfrm>
              <a:off x="8199897" y="4458334"/>
              <a:ext cx="65768" cy="37521"/>
            </a:xfrm>
            <a:custGeom>
              <a:avLst/>
              <a:gdLst>
                <a:gd name="connsiteX0" fmla="*/ 36503 w 65768"/>
                <a:gd name="connsiteY0" fmla="*/ 1664 h 37521"/>
                <a:gd name="connsiteX1" fmla="*/ 581 w 65768"/>
                <a:gd name="connsiteY1" fmla="*/ 6778 h 37521"/>
                <a:gd name="connsiteX2" fmla="*/ 15274 w 65768"/>
                <a:gd name="connsiteY2" fmla="*/ 35522 h 37521"/>
                <a:gd name="connsiteX3" fmla="*/ 63617 w 65768"/>
                <a:gd name="connsiteY3" fmla="*/ 27199 h 37521"/>
                <a:gd name="connsiteX4" fmla="*/ 36503 w 65768"/>
                <a:gd name="connsiteY4" fmla="*/ 1664 h 3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68" h="37521">
                  <a:moveTo>
                    <a:pt x="36503" y="1664"/>
                  </a:moveTo>
                  <a:cubicBezTo>
                    <a:pt x="25828" y="-1344"/>
                    <a:pt x="-4858" y="-1913"/>
                    <a:pt x="581" y="6778"/>
                  </a:cubicBezTo>
                  <a:cubicBezTo>
                    <a:pt x="6507" y="16236"/>
                    <a:pt x="21769" y="27300"/>
                    <a:pt x="15274" y="35522"/>
                  </a:cubicBezTo>
                  <a:cubicBezTo>
                    <a:pt x="36138" y="40168"/>
                    <a:pt x="50790" y="34319"/>
                    <a:pt x="63617" y="27199"/>
                  </a:cubicBezTo>
                  <a:cubicBezTo>
                    <a:pt x="73196" y="21885"/>
                    <a:pt x="47381" y="4672"/>
                    <a:pt x="36503" y="166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A91A5C0C-26E3-423C-B12D-AFD0FE9347E5}"/>
                </a:ext>
              </a:extLst>
            </p:cNvPr>
            <p:cNvSpPr/>
            <p:nvPr/>
          </p:nvSpPr>
          <p:spPr>
            <a:xfrm>
              <a:off x="9573297" y="4823195"/>
              <a:ext cx="236299" cy="81508"/>
            </a:xfrm>
            <a:custGeom>
              <a:avLst/>
              <a:gdLst>
                <a:gd name="connsiteX0" fmla="*/ 228812 w 236299"/>
                <a:gd name="connsiteY0" fmla="*/ 35112 h 81508"/>
                <a:gd name="connsiteX1" fmla="*/ 204093 w 236299"/>
                <a:gd name="connsiteY1" fmla="*/ 18400 h 81508"/>
                <a:gd name="connsiteX2" fmla="*/ 183433 w 236299"/>
                <a:gd name="connsiteY2" fmla="*/ 23213 h 81508"/>
                <a:gd name="connsiteX3" fmla="*/ 157861 w 236299"/>
                <a:gd name="connsiteY3" fmla="*/ 21642 h 81508"/>
                <a:gd name="connsiteX4" fmla="*/ 143209 w 236299"/>
                <a:gd name="connsiteY4" fmla="*/ 17564 h 81508"/>
                <a:gd name="connsiteX5" fmla="*/ 139880 w 236299"/>
                <a:gd name="connsiteY5" fmla="*/ 25118 h 81508"/>
                <a:gd name="connsiteX6" fmla="*/ 110412 w 236299"/>
                <a:gd name="connsiteY6" fmla="*/ 7437 h 81508"/>
                <a:gd name="connsiteX7" fmla="*/ 77940 w 236299"/>
                <a:gd name="connsiteY7" fmla="*/ 7437 h 81508"/>
                <a:gd name="connsiteX8" fmla="*/ 4351 w 236299"/>
                <a:gd name="connsiteY8" fmla="*/ 2390 h 81508"/>
                <a:gd name="connsiteX9" fmla="*/ 17380 w 236299"/>
                <a:gd name="connsiteY9" fmla="*/ 33040 h 81508"/>
                <a:gd name="connsiteX10" fmla="*/ 130 w 236299"/>
                <a:gd name="connsiteY10" fmla="*/ 37552 h 81508"/>
                <a:gd name="connsiteX11" fmla="*/ 6583 w 236299"/>
                <a:gd name="connsiteY11" fmla="*/ 52759 h 81508"/>
                <a:gd name="connsiteX12" fmla="*/ 25173 w 236299"/>
                <a:gd name="connsiteY12" fmla="*/ 56536 h 81508"/>
                <a:gd name="connsiteX13" fmla="*/ 52937 w 236299"/>
                <a:gd name="connsiteY13" fmla="*/ 68201 h 81508"/>
                <a:gd name="connsiteX14" fmla="*/ 78021 w 236299"/>
                <a:gd name="connsiteY14" fmla="*/ 71142 h 81508"/>
                <a:gd name="connsiteX15" fmla="*/ 110493 w 236299"/>
                <a:gd name="connsiteY15" fmla="*/ 81169 h 81508"/>
                <a:gd name="connsiteX16" fmla="*/ 94257 w 236299"/>
                <a:gd name="connsiteY16" fmla="*/ 48281 h 81508"/>
                <a:gd name="connsiteX17" fmla="*/ 144832 w 236299"/>
                <a:gd name="connsiteY17" fmla="*/ 52091 h 81508"/>
                <a:gd name="connsiteX18" fmla="*/ 181728 w 236299"/>
                <a:gd name="connsiteY18" fmla="*/ 49451 h 81508"/>
                <a:gd name="connsiteX19" fmla="*/ 236240 w 236299"/>
                <a:gd name="connsiteY19" fmla="*/ 39423 h 81508"/>
                <a:gd name="connsiteX20" fmla="*/ 228771 w 236299"/>
                <a:gd name="connsiteY20" fmla="*/ 35179 h 81508"/>
                <a:gd name="connsiteX21" fmla="*/ 228812 w 236299"/>
                <a:gd name="connsiteY21" fmla="*/ 35112 h 8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6299" h="81508">
                  <a:moveTo>
                    <a:pt x="228812" y="35112"/>
                  </a:moveTo>
                  <a:cubicBezTo>
                    <a:pt x="217934" y="32304"/>
                    <a:pt x="214200" y="18400"/>
                    <a:pt x="204093" y="18400"/>
                  </a:cubicBezTo>
                  <a:cubicBezTo>
                    <a:pt x="197153" y="18400"/>
                    <a:pt x="192159" y="27191"/>
                    <a:pt x="183433" y="23213"/>
                  </a:cubicBezTo>
                  <a:cubicBezTo>
                    <a:pt x="174706" y="19236"/>
                    <a:pt x="168049" y="25319"/>
                    <a:pt x="157861" y="21642"/>
                  </a:cubicBezTo>
                  <a:cubicBezTo>
                    <a:pt x="155223" y="20673"/>
                    <a:pt x="146050" y="16595"/>
                    <a:pt x="143209" y="17564"/>
                  </a:cubicBezTo>
                  <a:cubicBezTo>
                    <a:pt x="140368" y="18534"/>
                    <a:pt x="146780" y="27090"/>
                    <a:pt x="139880" y="25118"/>
                  </a:cubicBezTo>
                  <a:cubicBezTo>
                    <a:pt x="128433" y="21348"/>
                    <a:pt x="118286" y="15268"/>
                    <a:pt x="110412" y="7437"/>
                  </a:cubicBezTo>
                  <a:cubicBezTo>
                    <a:pt x="100793" y="-1420"/>
                    <a:pt x="86342" y="7437"/>
                    <a:pt x="77940" y="7437"/>
                  </a:cubicBezTo>
                  <a:cubicBezTo>
                    <a:pt x="55616" y="7437"/>
                    <a:pt x="20222" y="-5932"/>
                    <a:pt x="4351" y="2390"/>
                  </a:cubicBezTo>
                  <a:cubicBezTo>
                    <a:pt x="25580" y="12751"/>
                    <a:pt x="44007" y="31134"/>
                    <a:pt x="17380" y="33040"/>
                  </a:cubicBezTo>
                  <a:cubicBezTo>
                    <a:pt x="12956" y="33340"/>
                    <a:pt x="-1900" y="32638"/>
                    <a:pt x="130" y="37552"/>
                  </a:cubicBezTo>
                  <a:cubicBezTo>
                    <a:pt x="1753" y="41529"/>
                    <a:pt x="2686" y="49283"/>
                    <a:pt x="6583" y="52759"/>
                  </a:cubicBezTo>
                  <a:cubicBezTo>
                    <a:pt x="12469" y="58040"/>
                    <a:pt x="18192" y="53762"/>
                    <a:pt x="25173" y="56536"/>
                  </a:cubicBezTo>
                  <a:cubicBezTo>
                    <a:pt x="37675" y="61516"/>
                    <a:pt x="42018" y="67666"/>
                    <a:pt x="52937" y="68201"/>
                  </a:cubicBezTo>
                  <a:cubicBezTo>
                    <a:pt x="61338" y="68636"/>
                    <a:pt x="69173" y="68201"/>
                    <a:pt x="78021" y="71142"/>
                  </a:cubicBezTo>
                  <a:cubicBezTo>
                    <a:pt x="89509" y="74919"/>
                    <a:pt x="98843" y="80802"/>
                    <a:pt x="110493" y="81169"/>
                  </a:cubicBezTo>
                  <a:cubicBezTo>
                    <a:pt x="105744" y="73248"/>
                    <a:pt x="85003" y="53361"/>
                    <a:pt x="94257" y="48281"/>
                  </a:cubicBezTo>
                  <a:cubicBezTo>
                    <a:pt x="102781" y="43501"/>
                    <a:pt x="131640" y="51021"/>
                    <a:pt x="144832" y="52091"/>
                  </a:cubicBezTo>
                  <a:cubicBezTo>
                    <a:pt x="159323" y="53261"/>
                    <a:pt x="175030" y="56904"/>
                    <a:pt x="181728" y="49451"/>
                  </a:cubicBezTo>
                  <a:cubicBezTo>
                    <a:pt x="192281" y="37652"/>
                    <a:pt x="212535" y="38421"/>
                    <a:pt x="236240" y="39423"/>
                  </a:cubicBezTo>
                  <a:lnTo>
                    <a:pt x="228771" y="35179"/>
                  </a:lnTo>
                  <a:cubicBezTo>
                    <a:pt x="216352" y="31903"/>
                    <a:pt x="231166" y="35680"/>
                    <a:pt x="228812" y="3511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FBA3BFD4-CF93-488D-BB02-86EFCE93C22B}"/>
                </a:ext>
              </a:extLst>
            </p:cNvPr>
            <p:cNvSpPr/>
            <p:nvPr/>
          </p:nvSpPr>
          <p:spPr>
            <a:xfrm>
              <a:off x="8220183" y="4580534"/>
              <a:ext cx="212447" cy="113527"/>
            </a:xfrm>
            <a:custGeom>
              <a:avLst/>
              <a:gdLst>
                <a:gd name="connsiteX0" fmla="*/ 212266 w 212447"/>
                <a:gd name="connsiteY0" fmla="*/ 93374 h 113527"/>
                <a:gd name="connsiteX1" fmla="*/ 143020 w 212447"/>
                <a:gd name="connsiteY1" fmla="*/ 65599 h 113527"/>
                <a:gd name="connsiteX2" fmla="*/ 83069 w 212447"/>
                <a:gd name="connsiteY2" fmla="*/ 22850 h 113527"/>
                <a:gd name="connsiteX3" fmla="*/ 61191 w 212447"/>
                <a:gd name="connsiteY3" fmla="*/ 5169 h 113527"/>
                <a:gd name="connsiteX4" fmla="*/ 31154 w 212447"/>
                <a:gd name="connsiteY4" fmla="*/ 356 h 113527"/>
                <a:gd name="connsiteX5" fmla="*/ 4324 w 212447"/>
                <a:gd name="connsiteY5" fmla="*/ 8812 h 113527"/>
                <a:gd name="connsiteX6" fmla="*/ 13092 w 212447"/>
                <a:gd name="connsiteY6" fmla="*/ 28165 h 113527"/>
                <a:gd name="connsiteX7" fmla="*/ 65859 w 212447"/>
                <a:gd name="connsiteY7" fmla="*/ 59215 h 113527"/>
                <a:gd name="connsiteX8" fmla="*/ 92445 w 212447"/>
                <a:gd name="connsiteY8" fmla="*/ 68240 h 113527"/>
                <a:gd name="connsiteX9" fmla="*/ 115297 w 212447"/>
                <a:gd name="connsiteY9" fmla="*/ 84116 h 113527"/>
                <a:gd name="connsiteX10" fmla="*/ 170905 w 212447"/>
                <a:gd name="connsiteY10" fmla="*/ 108916 h 113527"/>
                <a:gd name="connsiteX11" fmla="*/ 200860 w 212447"/>
                <a:gd name="connsiteY11" fmla="*/ 112726 h 113527"/>
                <a:gd name="connsiteX12" fmla="*/ 212388 w 212447"/>
                <a:gd name="connsiteY12" fmla="*/ 93374 h 113527"/>
                <a:gd name="connsiteX13" fmla="*/ 212266 w 212447"/>
                <a:gd name="connsiteY13" fmla="*/ 93374 h 11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447" h="113527">
                  <a:moveTo>
                    <a:pt x="212266" y="93374"/>
                  </a:moveTo>
                  <a:cubicBezTo>
                    <a:pt x="188196" y="85907"/>
                    <a:pt x="165020" y="76609"/>
                    <a:pt x="143020" y="65599"/>
                  </a:cubicBezTo>
                  <a:cubicBezTo>
                    <a:pt x="119883" y="53233"/>
                    <a:pt x="102105" y="37289"/>
                    <a:pt x="83069" y="22850"/>
                  </a:cubicBezTo>
                  <a:cubicBezTo>
                    <a:pt x="75722" y="17269"/>
                    <a:pt x="69309" y="10350"/>
                    <a:pt x="61191" y="5169"/>
                  </a:cubicBezTo>
                  <a:cubicBezTo>
                    <a:pt x="49014" y="-2652"/>
                    <a:pt x="43778" y="2696"/>
                    <a:pt x="31154" y="356"/>
                  </a:cubicBezTo>
                  <a:cubicBezTo>
                    <a:pt x="16867" y="-2251"/>
                    <a:pt x="10007" y="2896"/>
                    <a:pt x="4324" y="8812"/>
                  </a:cubicBezTo>
                  <a:cubicBezTo>
                    <a:pt x="-3793" y="17068"/>
                    <a:pt x="-505" y="19876"/>
                    <a:pt x="13092" y="28165"/>
                  </a:cubicBezTo>
                  <a:cubicBezTo>
                    <a:pt x="30140" y="38526"/>
                    <a:pt x="50556" y="47818"/>
                    <a:pt x="65859" y="59215"/>
                  </a:cubicBezTo>
                  <a:cubicBezTo>
                    <a:pt x="75032" y="66101"/>
                    <a:pt x="78807" y="66970"/>
                    <a:pt x="92445" y="68240"/>
                  </a:cubicBezTo>
                  <a:cubicBezTo>
                    <a:pt x="110873" y="69944"/>
                    <a:pt x="106489" y="76796"/>
                    <a:pt x="115297" y="84116"/>
                  </a:cubicBezTo>
                  <a:cubicBezTo>
                    <a:pt x="125810" y="92839"/>
                    <a:pt x="154913" y="105139"/>
                    <a:pt x="170905" y="108916"/>
                  </a:cubicBezTo>
                  <a:cubicBezTo>
                    <a:pt x="179023" y="110888"/>
                    <a:pt x="193148" y="114464"/>
                    <a:pt x="200860" y="112726"/>
                  </a:cubicBezTo>
                  <a:cubicBezTo>
                    <a:pt x="213037" y="109952"/>
                    <a:pt x="201510" y="96015"/>
                    <a:pt x="212388" y="93374"/>
                  </a:cubicBezTo>
                  <a:cubicBezTo>
                    <a:pt x="210318" y="92706"/>
                    <a:pt x="210764" y="93742"/>
                    <a:pt x="212266" y="933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CA3F0A8D-7CAB-4616-BA54-9AD31D9EA74E}"/>
                </a:ext>
              </a:extLst>
            </p:cNvPr>
            <p:cNvSpPr/>
            <p:nvPr/>
          </p:nvSpPr>
          <p:spPr>
            <a:xfrm>
              <a:off x="8488924" y="4737662"/>
              <a:ext cx="245491" cy="308176"/>
            </a:xfrm>
            <a:custGeom>
              <a:avLst/>
              <a:gdLst>
                <a:gd name="connsiteX0" fmla="*/ 125571 w 245491"/>
                <a:gd name="connsiteY0" fmla="*/ 288130 h 308176"/>
                <a:gd name="connsiteX1" fmla="*/ 122242 w 245491"/>
                <a:gd name="connsiteY1" fmla="*/ 276298 h 308176"/>
                <a:gd name="connsiteX2" fmla="*/ 125449 w 245491"/>
                <a:gd name="connsiteY2" fmla="*/ 259385 h 308176"/>
                <a:gd name="connsiteX3" fmla="*/ 113718 w 245491"/>
                <a:gd name="connsiteY3" fmla="*/ 237393 h 308176"/>
                <a:gd name="connsiteX4" fmla="*/ 124961 w 245491"/>
                <a:gd name="connsiteY4" fmla="*/ 225962 h 308176"/>
                <a:gd name="connsiteX5" fmla="*/ 131415 w 245491"/>
                <a:gd name="connsiteY5" fmla="*/ 220614 h 308176"/>
                <a:gd name="connsiteX6" fmla="*/ 132024 w 245491"/>
                <a:gd name="connsiteY6" fmla="*/ 208047 h 308176"/>
                <a:gd name="connsiteX7" fmla="*/ 118467 w 245491"/>
                <a:gd name="connsiteY7" fmla="*/ 179770 h 308176"/>
                <a:gd name="connsiteX8" fmla="*/ 134703 w 245491"/>
                <a:gd name="connsiteY8" fmla="*/ 157911 h 308176"/>
                <a:gd name="connsiteX9" fmla="*/ 176754 w 245491"/>
                <a:gd name="connsiteY9" fmla="*/ 159215 h 308176"/>
                <a:gd name="connsiteX10" fmla="*/ 218075 w 245491"/>
                <a:gd name="connsiteY10" fmla="*/ 158847 h 308176"/>
                <a:gd name="connsiteX11" fmla="*/ 245432 w 245491"/>
                <a:gd name="connsiteY11" fmla="*/ 148987 h 308176"/>
                <a:gd name="connsiteX12" fmla="*/ 217019 w 245491"/>
                <a:gd name="connsiteY12" fmla="*/ 140464 h 308176"/>
                <a:gd name="connsiteX13" fmla="*/ 203462 w 245491"/>
                <a:gd name="connsiteY13" fmla="*/ 125992 h 308176"/>
                <a:gd name="connsiteX14" fmla="*/ 209510 w 245491"/>
                <a:gd name="connsiteY14" fmla="*/ 110015 h 308176"/>
                <a:gd name="connsiteX15" fmla="*/ 196481 w 245491"/>
                <a:gd name="connsiteY15" fmla="*/ 90663 h 308176"/>
                <a:gd name="connsiteX16" fmla="*/ 183816 w 245491"/>
                <a:gd name="connsiteY16" fmla="*/ 80034 h 308176"/>
                <a:gd name="connsiteX17" fmla="*/ 171639 w 245491"/>
                <a:gd name="connsiteY17" fmla="*/ 71244 h 308176"/>
                <a:gd name="connsiteX18" fmla="*/ 221119 w 245491"/>
                <a:gd name="connsiteY18" fmla="*/ 41163 h 308176"/>
                <a:gd name="connsiteX19" fmla="*/ 219535 w 245491"/>
                <a:gd name="connsiteY19" fmla="*/ 22613 h 308176"/>
                <a:gd name="connsiteX20" fmla="*/ 211093 w 245491"/>
                <a:gd name="connsiteY20" fmla="*/ 4831 h 308176"/>
                <a:gd name="connsiteX21" fmla="*/ 178621 w 245491"/>
                <a:gd name="connsiteY21" fmla="*/ 17031 h 308176"/>
                <a:gd name="connsiteX22" fmla="*/ 166079 w 245491"/>
                <a:gd name="connsiteY22" fmla="*/ 13120 h 308176"/>
                <a:gd name="connsiteX23" fmla="*/ 133607 w 245491"/>
                <a:gd name="connsiteY23" fmla="*/ 11917 h 308176"/>
                <a:gd name="connsiteX24" fmla="*/ 86279 w 245491"/>
                <a:gd name="connsiteY24" fmla="*/ 45775 h 308176"/>
                <a:gd name="connsiteX25" fmla="*/ 70937 w 245491"/>
                <a:gd name="connsiteY25" fmla="*/ 50588 h 308176"/>
                <a:gd name="connsiteX26" fmla="*/ 53483 w 245491"/>
                <a:gd name="connsiteY26" fmla="*/ 46210 h 308176"/>
                <a:gd name="connsiteX27" fmla="*/ 28318 w 245491"/>
                <a:gd name="connsiteY27" fmla="*/ 73149 h 308176"/>
                <a:gd name="connsiteX28" fmla="*/ 11269 w 245491"/>
                <a:gd name="connsiteY28" fmla="*/ 80970 h 308176"/>
                <a:gd name="connsiteX29" fmla="*/ 3679 w 245491"/>
                <a:gd name="connsiteY29" fmla="*/ 93337 h 308176"/>
                <a:gd name="connsiteX30" fmla="*/ 27708 w 245491"/>
                <a:gd name="connsiteY30" fmla="*/ 116733 h 308176"/>
                <a:gd name="connsiteX31" fmla="*/ 35826 w 245491"/>
                <a:gd name="connsiteY31" fmla="*/ 145912 h 308176"/>
                <a:gd name="connsiteX32" fmla="*/ 24461 w 245491"/>
                <a:gd name="connsiteY32" fmla="*/ 171448 h 308176"/>
                <a:gd name="connsiteX33" fmla="*/ 28033 w 245491"/>
                <a:gd name="connsiteY33" fmla="*/ 186087 h 308176"/>
                <a:gd name="connsiteX34" fmla="*/ 61520 w 245491"/>
                <a:gd name="connsiteY34" fmla="*/ 191068 h 308176"/>
                <a:gd name="connsiteX35" fmla="*/ 91434 w 245491"/>
                <a:gd name="connsiteY35" fmla="*/ 182912 h 308176"/>
                <a:gd name="connsiteX36" fmla="*/ 98862 w 245491"/>
                <a:gd name="connsiteY36" fmla="*/ 224926 h 308176"/>
                <a:gd name="connsiteX37" fmla="*/ 96751 w 245491"/>
                <a:gd name="connsiteY37" fmla="*/ 248322 h 308176"/>
                <a:gd name="connsiteX38" fmla="*/ 104585 w 245491"/>
                <a:gd name="connsiteY38" fmla="*/ 273089 h 308176"/>
                <a:gd name="connsiteX39" fmla="*/ 96914 w 245491"/>
                <a:gd name="connsiteY39" fmla="*/ 285790 h 308176"/>
                <a:gd name="connsiteX40" fmla="*/ 90055 w 245491"/>
                <a:gd name="connsiteY40" fmla="*/ 307081 h 308176"/>
                <a:gd name="connsiteX41" fmla="*/ 125571 w 245491"/>
                <a:gd name="connsiteY41" fmla="*/ 288130 h 30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45491" h="308176">
                  <a:moveTo>
                    <a:pt x="125571" y="288130"/>
                  </a:moveTo>
                  <a:cubicBezTo>
                    <a:pt x="127600" y="283918"/>
                    <a:pt x="123216" y="280609"/>
                    <a:pt x="122242" y="276298"/>
                  </a:cubicBezTo>
                  <a:cubicBezTo>
                    <a:pt x="120902" y="270482"/>
                    <a:pt x="126585" y="265468"/>
                    <a:pt x="125449" y="259385"/>
                  </a:cubicBezTo>
                  <a:cubicBezTo>
                    <a:pt x="124068" y="251832"/>
                    <a:pt x="114651" y="245047"/>
                    <a:pt x="113718" y="237393"/>
                  </a:cubicBezTo>
                  <a:cubicBezTo>
                    <a:pt x="112906" y="230507"/>
                    <a:pt x="122161" y="231243"/>
                    <a:pt x="124961" y="225962"/>
                  </a:cubicBezTo>
                  <a:cubicBezTo>
                    <a:pt x="127234" y="221583"/>
                    <a:pt x="126260" y="222051"/>
                    <a:pt x="131415" y="220614"/>
                  </a:cubicBezTo>
                  <a:cubicBezTo>
                    <a:pt x="140142" y="218208"/>
                    <a:pt x="130116" y="212325"/>
                    <a:pt x="132024" y="208047"/>
                  </a:cubicBezTo>
                  <a:cubicBezTo>
                    <a:pt x="136083" y="198655"/>
                    <a:pt x="114205" y="188962"/>
                    <a:pt x="118467" y="179770"/>
                  </a:cubicBezTo>
                  <a:cubicBezTo>
                    <a:pt x="122079" y="172016"/>
                    <a:pt x="129020" y="164964"/>
                    <a:pt x="134703" y="157911"/>
                  </a:cubicBezTo>
                  <a:cubicBezTo>
                    <a:pt x="143064" y="147116"/>
                    <a:pt x="164577" y="164596"/>
                    <a:pt x="176754" y="159215"/>
                  </a:cubicBezTo>
                  <a:cubicBezTo>
                    <a:pt x="183005" y="156374"/>
                    <a:pt x="208576" y="158580"/>
                    <a:pt x="218075" y="158847"/>
                  </a:cubicBezTo>
                  <a:cubicBezTo>
                    <a:pt x="226193" y="159048"/>
                    <a:pt x="235812" y="145812"/>
                    <a:pt x="245432" y="148987"/>
                  </a:cubicBezTo>
                  <a:cubicBezTo>
                    <a:pt x="243808" y="144843"/>
                    <a:pt x="221890" y="147550"/>
                    <a:pt x="217019" y="140464"/>
                  </a:cubicBezTo>
                  <a:cubicBezTo>
                    <a:pt x="211296" y="132509"/>
                    <a:pt x="221402" y="131774"/>
                    <a:pt x="203462" y="125992"/>
                  </a:cubicBezTo>
                  <a:cubicBezTo>
                    <a:pt x="194329" y="123084"/>
                    <a:pt x="212960" y="114561"/>
                    <a:pt x="209510" y="110015"/>
                  </a:cubicBezTo>
                  <a:cubicBezTo>
                    <a:pt x="203421" y="102127"/>
                    <a:pt x="189581" y="100423"/>
                    <a:pt x="196481" y="90663"/>
                  </a:cubicBezTo>
                  <a:cubicBezTo>
                    <a:pt x="199930" y="85750"/>
                    <a:pt x="193274" y="83009"/>
                    <a:pt x="183816" y="80034"/>
                  </a:cubicBezTo>
                  <a:cubicBezTo>
                    <a:pt x="171639" y="76224"/>
                    <a:pt x="167946" y="79266"/>
                    <a:pt x="171639" y="71244"/>
                  </a:cubicBezTo>
                  <a:cubicBezTo>
                    <a:pt x="179352" y="55100"/>
                    <a:pt x="215233" y="58042"/>
                    <a:pt x="221119" y="41163"/>
                  </a:cubicBezTo>
                  <a:cubicBezTo>
                    <a:pt x="222661" y="36751"/>
                    <a:pt x="230616" y="26858"/>
                    <a:pt x="219535" y="22613"/>
                  </a:cubicBezTo>
                  <a:cubicBezTo>
                    <a:pt x="204802" y="16964"/>
                    <a:pt x="219535" y="11817"/>
                    <a:pt x="211093" y="4831"/>
                  </a:cubicBezTo>
                  <a:cubicBezTo>
                    <a:pt x="194857" y="-8538"/>
                    <a:pt x="173182" y="7104"/>
                    <a:pt x="178621" y="17031"/>
                  </a:cubicBezTo>
                  <a:cubicBezTo>
                    <a:pt x="182680" y="24184"/>
                    <a:pt x="166931" y="17031"/>
                    <a:pt x="166079" y="13120"/>
                  </a:cubicBezTo>
                  <a:cubicBezTo>
                    <a:pt x="164821" y="7505"/>
                    <a:pt x="137138" y="11683"/>
                    <a:pt x="133607" y="11917"/>
                  </a:cubicBezTo>
                  <a:cubicBezTo>
                    <a:pt x="105194" y="13689"/>
                    <a:pt x="103327" y="35314"/>
                    <a:pt x="86279" y="45775"/>
                  </a:cubicBezTo>
                  <a:cubicBezTo>
                    <a:pt x="81084" y="49118"/>
                    <a:pt x="80272" y="54298"/>
                    <a:pt x="70937" y="50588"/>
                  </a:cubicBezTo>
                  <a:cubicBezTo>
                    <a:pt x="65498" y="48449"/>
                    <a:pt x="56568" y="41931"/>
                    <a:pt x="53483" y="46210"/>
                  </a:cubicBezTo>
                  <a:cubicBezTo>
                    <a:pt x="51129" y="49552"/>
                    <a:pt x="34081" y="74887"/>
                    <a:pt x="28318" y="73149"/>
                  </a:cubicBezTo>
                  <a:cubicBezTo>
                    <a:pt x="21335" y="71077"/>
                    <a:pt x="13949" y="78597"/>
                    <a:pt x="11269" y="80970"/>
                  </a:cubicBezTo>
                  <a:cubicBezTo>
                    <a:pt x="4532" y="86987"/>
                    <a:pt x="-5616" y="80068"/>
                    <a:pt x="3679" y="93337"/>
                  </a:cubicBezTo>
                  <a:cubicBezTo>
                    <a:pt x="9687" y="101994"/>
                    <a:pt x="22309" y="107976"/>
                    <a:pt x="27708" y="116733"/>
                  </a:cubicBezTo>
                  <a:cubicBezTo>
                    <a:pt x="32863" y="125881"/>
                    <a:pt x="35623" y="135825"/>
                    <a:pt x="35826" y="145912"/>
                  </a:cubicBezTo>
                  <a:cubicBezTo>
                    <a:pt x="36557" y="155639"/>
                    <a:pt x="33837" y="164830"/>
                    <a:pt x="24461" y="171448"/>
                  </a:cubicBezTo>
                  <a:cubicBezTo>
                    <a:pt x="15085" y="178066"/>
                    <a:pt x="16546" y="178133"/>
                    <a:pt x="28033" y="186087"/>
                  </a:cubicBezTo>
                  <a:cubicBezTo>
                    <a:pt x="40616" y="194811"/>
                    <a:pt x="48693" y="193842"/>
                    <a:pt x="61520" y="191068"/>
                  </a:cubicBezTo>
                  <a:cubicBezTo>
                    <a:pt x="65010" y="190265"/>
                    <a:pt x="92855" y="184115"/>
                    <a:pt x="91434" y="182912"/>
                  </a:cubicBezTo>
                  <a:cubicBezTo>
                    <a:pt x="107143" y="196282"/>
                    <a:pt x="102394" y="212994"/>
                    <a:pt x="98862" y="224926"/>
                  </a:cubicBezTo>
                  <a:cubicBezTo>
                    <a:pt x="96021" y="232493"/>
                    <a:pt x="95291" y="240491"/>
                    <a:pt x="96751" y="248322"/>
                  </a:cubicBezTo>
                  <a:cubicBezTo>
                    <a:pt x="99106" y="257246"/>
                    <a:pt x="106494" y="264031"/>
                    <a:pt x="104585" y="273089"/>
                  </a:cubicBezTo>
                  <a:cubicBezTo>
                    <a:pt x="103530" y="278170"/>
                    <a:pt x="98822" y="281211"/>
                    <a:pt x="96914" y="285790"/>
                  </a:cubicBezTo>
                  <a:cubicBezTo>
                    <a:pt x="93707" y="293477"/>
                    <a:pt x="96386" y="300129"/>
                    <a:pt x="90055" y="307081"/>
                  </a:cubicBezTo>
                  <a:cubicBezTo>
                    <a:pt x="100932" y="311927"/>
                    <a:pt x="121024" y="292074"/>
                    <a:pt x="125571" y="28813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112631C2-66F2-4878-A175-2E1DA010CF8A}"/>
                </a:ext>
              </a:extLst>
            </p:cNvPr>
            <p:cNvSpPr/>
            <p:nvPr/>
          </p:nvSpPr>
          <p:spPr>
            <a:xfrm>
              <a:off x="8451389" y="4681739"/>
              <a:ext cx="85719" cy="39555"/>
            </a:xfrm>
            <a:custGeom>
              <a:avLst/>
              <a:gdLst>
                <a:gd name="connsiteX0" fmla="*/ 85660 w 85719"/>
                <a:gd name="connsiteY0" fmla="*/ 24122 h 39555"/>
                <a:gd name="connsiteX1" fmla="*/ 62483 w 85719"/>
                <a:gd name="connsiteY1" fmla="*/ 12691 h 39555"/>
                <a:gd name="connsiteX2" fmla="*/ 36100 w 85719"/>
                <a:gd name="connsiteY2" fmla="*/ 258 h 39555"/>
                <a:gd name="connsiteX3" fmla="*/ 6306 w 85719"/>
                <a:gd name="connsiteY3" fmla="*/ 16502 h 39555"/>
                <a:gd name="connsiteX4" fmla="*/ 62564 w 85719"/>
                <a:gd name="connsiteY4" fmla="*/ 36389 h 39555"/>
                <a:gd name="connsiteX5" fmla="*/ 85660 w 85719"/>
                <a:gd name="connsiteY5" fmla="*/ 24122 h 39555"/>
                <a:gd name="connsiteX6" fmla="*/ 85660 w 85719"/>
                <a:gd name="connsiteY6" fmla="*/ 24122 h 3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19" h="39555">
                  <a:moveTo>
                    <a:pt x="85660" y="24122"/>
                  </a:moveTo>
                  <a:cubicBezTo>
                    <a:pt x="79124" y="17437"/>
                    <a:pt x="73239" y="15232"/>
                    <a:pt x="62483" y="12691"/>
                  </a:cubicBezTo>
                  <a:cubicBezTo>
                    <a:pt x="51726" y="10151"/>
                    <a:pt x="46937" y="1929"/>
                    <a:pt x="36100" y="258"/>
                  </a:cubicBezTo>
                  <a:cubicBezTo>
                    <a:pt x="17428" y="-2617"/>
                    <a:pt x="-13460" y="5238"/>
                    <a:pt x="6306" y="16502"/>
                  </a:cubicBezTo>
                  <a:cubicBezTo>
                    <a:pt x="23313" y="26228"/>
                    <a:pt x="43487" y="29303"/>
                    <a:pt x="62564" y="36389"/>
                  </a:cubicBezTo>
                  <a:cubicBezTo>
                    <a:pt x="91707" y="47184"/>
                    <a:pt x="71534" y="23554"/>
                    <a:pt x="85660" y="24122"/>
                  </a:cubicBezTo>
                  <a:cubicBezTo>
                    <a:pt x="72102" y="10419"/>
                    <a:pt x="82737" y="23989"/>
                    <a:pt x="85660" y="2412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593035A0-1D98-4073-9282-D5FBC08F678D}"/>
                </a:ext>
              </a:extLst>
            </p:cNvPr>
            <p:cNvSpPr/>
            <p:nvPr/>
          </p:nvSpPr>
          <p:spPr>
            <a:xfrm>
              <a:off x="8734044" y="4882602"/>
              <a:ext cx="188707" cy="252818"/>
            </a:xfrm>
            <a:custGeom>
              <a:avLst/>
              <a:gdLst>
                <a:gd name="connsiteX0" fmla="*/ 183940 w 188707"/>
                <a:gd name="connsiteY0" fmla="*/ 66917 h 252818"/>
                <a:gd name="connsiteX1" fmla="*/ 166161 w 188707"/>
                <a:gd name="connsiteY1" fmla="*/ 42552 h 252818"/>
                <a:gd name="connsiteX2" fmla="*/ 152198 w 188707"/>
                <a:gd name="connsiteY2" fmla="*/ 29851 h 252818"/>
                <a:gd name="connsiteX3" fmla="*/ 137262 w 188707"/>
                <a:gd name="connsiteY3" fmla="*/ 17150 h 252818"/>
                <a:gd name="connsiteX4" fmla="*/ 113191 w 188707"/>
                <a:gd name="connsiteY4" fmla="*/ 18754 h 252818"/>
                <a:gd name="connsiteX5" fmla="*/ 86930 w 188707"/>
                <a:gd name="connsiteY5" fmla="*/ 12872 h 252818"/>
                <a:gd name="connsiteX6" fmla="*/ 76945 w 188707"/>
                <a:gd name="connsiteY6" fmla="*/ 7423 h 252818"/>
                <a:gd name="connsiteX7" fmla="*/ 64768 w 188707"/>
                <a:gd name="connsiteY7" fmla="*/ 6120 h 252818"/>
                <a:gd name="connsiteX8" fmla="*/ 51495 w 188707"/>
                <a:gd name="connsiteY8" fmla="*/ 104 h 252818"/>
                <a:gd name="connsiteX9" fmla="*/ 37654 w 188707"/>
                <a:gd name="connsiteY9" fmla="*/ 705 h 252818"/>
                <a:gd name="connsiteX10" fmla="*/ 67893 w 188707"/>
                <a:gd name="connsiteY10" fmla="*/ 43387 h 252818"/>
                <a:gd name="connsiteX11" fmla="*/ 89771 w 188707"/>
                <a:gd name="connsiteY11" fmla="*/ 53748 h 252818"/>
                <a:gd name="connsiteX12" fmla="*/ 86362 w 188707"/>
                <a:gd name="connsiteY12" fmla="*/ 70059 h 252818"/>
                <a:gd name="connsiteX13" fmla="*/ 90055 w 188707"/>
                <a:gd name="connsiteY13" fmla="*/ 92319 h 252818"/>
                <a:gd name="connsiteX14" fmla="*/ 114897 w 188707"/>
                <a:gd name="connsiteY14" fmla="*/ 144728 h 252818"/>
                <a:gd name="connsiteX15" fmla="*/ 127682 w 188707"/>
                <a:gd name="connsiteY15" fmla="*/ 170731 h 252818"/>
                <a:gd name="connsiteX16" fmla="*/ 117982 w 188707"/>
                <a:gd name="connsiteY16" fmla="*/ 198673 h 252818"/>
                <a:gd name="connsiteX17" fmla="*/ 104221 w 188707"/>
                <a:gd name="connsiteY17" fmla="*/ 213848 h 252818"/>
                <a:gd name="connsiteX18" fmla="*/ 80598 w 188707"/>
                <a:gd name="connsiteY18" fmla="*/ 220064 h 252818"/>
                <a:gd name="connsiteX19" fmla="*/ 53646 w 188707"/>
                <a:gd name="connsiteY19" fmla="*/ 213380 h 252818"/>
                <a:gd name="connsiteX20" fmla="*/ 55432 w 188707"/>
                <a:gd name="connsiteY20" fmla="*/ 229323 h 252818"/>
                <a:gd name="connsiteX21" fmla="*/ 31078 w 188707"/>
                <a:gd name="connsiteY21" fmla="*/ 219630 h 252818"/>
                <a:gd name="connsiteX22" fmla="*/ 3924 w 188707"/>
                <a:gd name="connsiteY22" fmla="*/ 220398 h 252818"/>
                <a:gd name="connsiteX23" fmla="*/ 5142 w 188707"/>
                <a:gd name="connsiteY23" fmla="*/ 235673 h 252818"/>
                <a:gd name="connsiteX24" fmla="*/ 9201 w 188707"/>
                <a:gd name="connsiteY24" fmla="*/ 251850 h 252818"/>
                <a:gd name="connsiteX25" fmla="*/ 42565 w 188707"/>
                <a:gd name="connsiteY25" fmla="*/ 248875 h 252818"/>
                <a:gd name="connsiteX26" fmla="*/ 48695 w 188707"/>
                <a:gd name="connsiteY26" fmla="*/ 245533 h 252818"/>
                <a:gd name="connsiteX27" fmla="*/ 60222 w 188707"/>
                <a:gd name="connsiteY27" fmla="*/ 239684 h 252818"/>
                <a:gd name="connsiteX28" fmla="*/ 89406 w 188707"/>
                <a:gd name="connsiteY28" fmla="*/ 246369 h 252818"/>
                <a:gd name="connsiteX29" fmla="*/ 132796 w 188707"/>
                <a:gd name="connsiteY29" fmla="*/ 246369 h 252818"/>
                <a:gd name="connsiteX30" fmla="*/ 164497 w 188707"/>
                <a:gd name="connsiteY30" fmla="*/ 199910 h 252818"/>
                <a:gd name="connsiteX31" fmla="*/ 155689 w 188707"/>
                <a:gd name="connsiteY31" fmla="*/ 164180 h 252818"/>
                <a:gd name="connsiteX32" fmla="*/ 140630 w 188707"/>
                <a:gd name="connsiteY32" fmla="*/ 150811 h 252818"/>
                <a:gd name="connsiteX33" fmla="*/ 121919 w 188707"/>
                <a:gd name="connsiteY33" fmla="*/ 127815 h 252818"/>
                <a:gd name="connsiteX34" fmla="*/ 124557 w 188707"/>
                <a:gd name="connsiteY34" fmla="*/ 80822 h 252818"/>
                <a:gd name="connsiteX35" fmla="*/ 138722 w 188707"/>
                <a:gd name="connsiteY35" fmla="*/ 79752 h 252818"/>
                <a:gd name="connsiteX36" fmla="*/ 149073 w 188707"/>
                <a:gd name="connsiteY36" fmla="*/ 71630 h 252818"/>
                <a:gd name="connsiteX37" fmla="*/ 166649 w 188707"/>
                <a:gd name="connsiteY37" fmla="*/ 73402 h 252818"/>
                <a:gd name="connsiteX38" fmla="*/ 188648 w 188707"/>
                <a:gd name="connsiteY38" fmla="*/ 71262 h 252818"/>
                <a:gd name="connsiteX39" fmla="*/ 184223 w 188707"/>
                <a:gd name="connsiteY39" fmla="*/ 66616 h 252818"/>
                <a:gd name="connsiteX40" fmla="*/ 183940 w 188707"/>
                <a:gd name="connsiteY40" fmla="*/ 66917 h 2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88707" h="252818">
                  <a:moveTo>
                    <a:pt x="183940" y="66917"/>
                  </a:moveTo>
                  <a:cubicBezTo>
                    <a:pt x="172696" y="61803"/>
                    <a:pt x="157759" y="48000"/>
                    <a:pt x="166161" y="42552"/>
                  </a:cubicBezTo>
                  <a:cubicBezTo>
                    <a:pt x="173305" y="37939"/>
                    <a:pt x="158327" y="33160"/>
                    <a:pt x="152198" y="29851"/>
                  </a:cubicBezTo>
                  <a:cubicBezTo>
                    <a:pt x="147531" y="27344"/>
                    <a:pt x="141443" y="18320"/>
                    <a:pt x="137262" y="17150"/>
                  </a:cubicBezTo>
                  <a:cubicBezTo>
                    <a:pt x="129266" y="15388"/>
                    <a:pt x="120741" y="15956"/>
                    <a:pt x="113191" y="18754"/>
                  </a:cubicBezTo>
                  <a:cubicBezTo>
                    <a:pt x="110391" y="19924"/>
                    <a:pt x="90745" y="14242"/>
                    <a:pt x="86930" y="12872"/>
                  </a:cubicBezTo>
                  <a:cubicBezTo>
                    <a:pt x="83399" y="11331"/>
                    <a:pt x="80030" y="9506"/>
                    <a:pt x="76945" y="7423"/>
                  </a:cubicBezTo>
                  <a:cubicBezTo>
                    <a:pt x="70613" y="3747"/>
                    <a:pt x="70531" y="7423"/>
                    <a:pt x="64768" y="6120"/>
                  </a:cubicBezTo>
                  <a:cubicBezTo>
                    <a:pt x="59694" y="5050"/>
                    <a:pt x="56406" y="1440"/>
                    <a:pt x="51495" y="104"/>
                  </a:cubicBezTo>
                  <a:cubicBezTo>
                    <a:pt x="46584" y="-1233"/>
                    <a:pt x="41916" y="906"/>
                    <a:pt x="37654" y="705"/>
                  </a:cubicBezTo>
                  <a:cubicBezTo>
                    <a:pt x="46096" y="12370"/>
                    <a:pt x="46503" y="36535"/>
                    <a:pt x="67893" y="43387"/>
                  </a:cubicBezTo>
                  <a:cubicBezTo>
                    <a:pt x="76011" y="45994"/>
                    <a:pt x="92003" y="44290"/>
                    <a:pt x="89771" y="53748"/>
                  </a:cubicBezTo>
                  <a:cubicBezTo>
                    <a:pt x="88837" y="57793"/>
                    <a:pt x="99147" y="72065"/>
                    <a:pt x="86362" y="70059"/>
                  </a:cubicBezTo>
                  <a:cubicBezTo>
                    <a:pt x="47517" y="64076"/>
                    <a:pt x="83723" y="80354"/>
                    <a:pt x="90055" y="92319"/>
                  </a:cubicBezTo>
                  <a:cubicBezTo>
                    <a:pt x="98783" y="108864"/>
                    <a:pt x="101055" y="128350"/>
                    <a:pt x="114897" y="144728"/>
                  </a:cubicBezTo>
                  <a:cubicBezTo>
                    <a:pt x="123582" y="154988"/>
                    <a:pt x="133284" y="160102"/>
                    <a:pt x="127682" y="170731"/>
                  </a:cubicBezTo>
                  <a:cubicBezTo>
                    <a:pt x="122730" y="180123"/>
                    <a:pt x="115505" y="187042"/>
                    <a:pt x="117982" y="198673"/>
                  </a:cubicBezTo>
                  <a:cubicBezTo>
                    <a:pt x="120254" y="208968"/>
                    <a:pt x="120904" y="213012"/>
                    <a:pt x="104221" y="213848"/>
                  </a:cubicBezTo>
                  <a:cubicBezTo>
                    <a:pt x="93140" y="214416"/>
                    <a:pt x="89447" y="217457"/>
                    <a:pt x="80598" y="220064"/>
                  </a:cubicBezTo>
                  <a:cubicBezTo>
                    <a:pt x="73819" y="222070"/>
                    <a:pt x="55351" y="210639"/>
                    <a:pt x="53646" y="213380"/>
                  </a:cubicBezTo>
                  <a:cubicBezTo>
                    <a:pt x="51292" y="217324"/>
                    <a:pt x="60912" y="226548"/>
                    <a:pt x="55432" y="229323"/>
                  </a:cubicBezTo>
                  <a:cubicBezTo>
                    <a:pt x="50683" y="231696"/>
                    <a:pt x="35340" y="221602"/>
                    <a:pt x="31078" y="219630"/>
                  </a:cubicBezTo>
                  <a:cubicBezTo>
                    <a:pt x="24300" y="216555"/>
                    <a:pt x="12164" y="220833"/>
                    <a:pt x="3924" y="220398"/>
                  </a:cubicBezTo>
                  <a:cubicBezTo>
                    <a:pt x="9972" y="231127"/>
                    <a:pt x="18739" y="229991"/>
                    <a:pt x="5142" y="235673"/>
                  </a:cubicBezTo>
                  <a:cubicBezTo>
                    <a:pt x="-2124" y="238715"/>
                    <a:pt x="-2651" y="255961"/>
                    <a:pt x="9201" y="251850"/>
                  </a:cubicBezTo>
                  <a:cubicBezTo>
                    <a:pt x="16831" y="249210"/>
                    <a:pt x="37614" y="252318"/>
                    <a:pt x="42565" y="248875"/>
                  </a:cubicBezTo>
                  <a:cubicBezTo>
                    <a:pt x="44229" y="247706"/>
                    <a:pt x="44027" y="243795"/>
                    <a:pt x="48695" y="245533"/>
                  </a:cubicBezTo>
                  <a:cubicBezTo>
                    <a:pt x="55067" y="248006"/>
                    <a:pt x="57137" y="241121"/>
                    <a:pt x="60222" y="239684"/>
                  </a:cubicBezTo>
                  <a:cubicBezTo>
                    <a:pt x="66230" y="236910"/>
                    <a:pt x="81369" y="245600"/>
                    <a:pt x="89406" y="246369"/>
                  </a:cubicBezTo>
                  <a:cubicBezTo>
                    <a:pt x="103775" y="248077"/>
                    <a:pt x="118427" y="248077"/>
                    <a:pt x="132796" y="246369"/>
                  </a:cubicBezTo>
                  <a:cubicBezTo>
                    <a:pt x="159261" y="242157"/>
                    <a:pt x="162792" y="215786"/>
                    <a:pt x="164497" y="199910"/>
                  </a:cubicBezTo>
                  <a:cubicBezTo>
                    <a:pt x="165715" y="188913"/>
                    <a:pt x="165106" y="175878"/>
                    <a:pt x="155689" y="164180"/>
                  </a:cubicBezTo>
                  <a:cubicBezTo>
                    <a:pt x="152158" y="159801"/>
                    <a:pt x="144770" y="155657"/>
                    <a:pt x="140630" y="150811"/>
                  </a:cubicBezTo>
                  <a:cubicBezTo>
                    <a:pt x="133933" y="143223"/>
                    <a:pt x="127926" y="135503"/>
                    <a:pt x="121919" y="127815"/>
                  </a:cubicBezTo>
                  <a:cubicBezTo>
                    <a:pt x="111812" y="114880"/>
                    <a:pt x="100528" y="84799"/>
                    <a:pt x="124557" y="80822"/>
                  </a:cubicBezTo>
                  <a:cubicBezTo>
                    <a:pt x="129062" y="80086"/>
                    <a:pt x="134136" y="80320"/>
                    <a:pt x="138722" y="79752"/>
                  </a:cubicBezTo>
                  <a:cubicBezTo>
                    <a:pt x="145622" y="78917"/>
                    <a:pt x="144080" y="73870"/>
                    <a:pt x="149073" y="71630"/>
                  </a:cubicBezTo>
                  <a:cubicBezTo>
                    <a:pt x="154065" y="69391"/>
                    <a:pt x="160560" y="72700"/>
                    <a:pt x="166649" y="73402"/>
                  </a:cubicBezTo>
                  <a:cubicBezTo>
                    <a:pt x="175538" y="74438"/>
                    <a:pt x="180814" y="70627"/>
                    <a:pt x="188648" y="71262"/>
                  </a:cubicBezTo>
                  <a:cubicBezTo>
                    <a:pt x="187674" y="69424"/>
                    <a:pt x="186172" y="67826"/>
                    <a:pt x="184223" y="66616"/>
                  </a:cubicBezTo>
                  <a:cubicBezTo>
                    <a:pt x="176552" y="63575"/>
                    <a:pt x="185319" y="67519"/>
                    <a:pt x="183940" y="6691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83010FCE-A778-4D9E-806B-20DB0AE8CFEB}"/>
                </a:ext>
              </a:extLst>
            </p:cNvPr>
            <p:cNvSpPr/>
            <p:nvPr/>
          </p:nvSpPr>
          <p:spPr>
            <a:xfrm>
              <a:off x="8702424" y="5027948"/>
              <a:ext cx="151933" cy="84654"/>
            </a:xfrm>
            <a:custGeom>
              <a:avLst/>
              <a:gdLst>
                <a:gd name="connsiteX0" fmla="*/ 55879 w 151933"/>
                <a:gd name="connsiteY0" fmla="*/ 73282 h 84654"/>
                <a:gd name="connsiteX1" fmla="*/ 86849 w 151933"/>
                <a:gd name="connsiteY1" fmla="*/ 84044 h 84654"/>
                <a:gd name="connsiteX2" fmla="*/ 100365 w 151933"/>
                <a:gd name="connsiteY2" fmla="*/ 73148 h 84654"/>
                <a:gd name="connsiteX3" fmla="*/ 135638 w 151933"/>
                <a:gd name="connsiteY3" fmla="*/ 68469 h 84654"/>
                <a:gd name="connsiteX4" fmla="*/ 151873 w 151933"/>
                <a:gd name="connsiteY4" fmla="*/ 35714 h 84654"/>
                <a:gd name="connsiteX5" fmla="*/ 110838 w 151933"/>
                <a:gd name="connsiteY5" fmla="*/ 27825 h 84654"/>
                <a:gd name="connsiteX6" fmla="*/ 88432 w 151933"/>
                <a:gd name="connsiteY6" fmla="*/ 17798 h 84654"/>
                <a:gd name="connsiteX7" fmla="*/ 46584 w 151933"/>
                <a:gd name="connsiteY7" fmla="*/ 2156 h 84654"/>
                <a:gd name="connsiteX8" fmla="*/ 1245 w 151933"/>
                <a:gd name="connsiteY8" fmla="*/ 8540 h 84654"/>
                <a:gd name="connsiteX9" fmla="*/ -54 w 151933"/>
                <a:gd name="connsiteY9" fmla="*/ 30199 h 84654"/>
                <a:gd name="connsiteX10" fmla="*/ 2665 w 151933"/>
                <a:gd name="connsiteY10" fmla="*/ 41195 h 84654"/>
                <a:gd name="connsiteX11" fmla="*/ 5304 w 151933"/>
                <a:gd name="connsiteY11" fmla="*/ 52158 h 84654"/>
                <a:gd name="connsiteX12" fmla="*/ 15371 w 151933"/>
                <a:gd name="connsiteY12" fmla="*/ 57840 h 84654"/>
                <a:gd name="connsiteX13" fmla="*/ 19633 w 151933"/>
                <a:gd name="connsiteY13" fmla="*/ 66731 h 84654"/>
                <a:gd name="connsiteX14" fmla="*/ 34042 w 151933"/>
                <a:gd name="connsiteY14" fmla="*/ 72011 h 84654"/>
                <a:gd name="connsiteX15" fmla="*/ 55879 w 151933"/>
                <a:gd name="connsiteY15" fmla="*/ 73282 h 8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933" h="84654">
                  <a:moveTo>
                    <a:pt x="55879" y="73282"/>
                  </a:moveTo>
                  <a:cubicBezTo>
                    <a:pt x="57787" y="69572"/>
                    <a:pt x="81451" y="86651"/>
                    <a:pt x="86849" y="84044"/>
                  </a:cubicBezTo>
                  <a:cubicBezTo>
                    <a:pt x="99026" y="77994"/>
                    <a:pt x="68705" y="60347"/>
                    <a:pt x="100365" y="73148"/>
                  </a:cubicBezTo>
                  <a:cubicBezTo>
                    <a:pt x="112542" y="77994"/>
                    <a:pt x="124192" y="69070"/>
                    <a:pt x="135638" y="68469"/>
                  </a:cubicBezTo>
                  <a:cubicBezTo>
                    <a:pt x="162265" y="67165"/>
                    <a:pt x="145298" y="48414"/>
                    <a:pt x="151873" y="35714"/>
                  </a:cubicBezTo>
                  <a:cubicBezTo>
                    <a:pt x="142092" y="36482"/>
                    <a:pt x="114572" y="20573"/>
                    <a:pt x="110838" y="27825"/>
                  </a:cubicBezTo>
                  <a:cubicBezTo>
                    <a:pt x="106008" y="37151"/>
                    <a:pt x="91842" y="23046"/>
                    <a:pt x="88432" y="17798"/>
                  </a:cubicBezTo>
                  <a:cubicBezTo>
                    <a:pt x="85022" y="12551"/>
                    <a:pt x="54824" y="4964"/>
                    <a:pt x="46584" y="2156"/>
                  </a:cubicBezTo>
                  <a:cubicBezTo>
                    <a:pt x="35422" y="-1687"/>
                    <a:pt x="-2124" y="-2155"/>
                    <a:pt x="1245" y="8540"/>
                  </a:cubicBezTo>
                  <a:cubicBezTo>
                    <a:pt x="3031" y="14122"/>
                    <a:pt x="5304" y="26455"/>
                    <a:pt x="-54" y="30199"/>
                  </a:cubicBezTo>
                  <a:cubicBezTo>
                    <a:pt x="1124" y="29530"/>
                    <a:pt x="3356" y="39758"/>
                    <a:pt x="2665" y="41195"/>
                  </a:cubicBezTo>
                  <a:cubicBezTo>
                    <a:pt x="1083" y="44537"/>
                    <a:pt x="-3788" y="49451"/>
                    <a:pt x="5304" y="52158"/>
                  </a:cubicBezTo>
                  <a:cubicBezTo>
                    <a:pt x="10175" y="53595"/>
                    <a:pt x="20647" y="53963"/>
                    <a:pt x="15371" y="57840"/>
                  </a:cubicBezTo>
                  <a:cubicBezTo>
                    <a:pt x="11312" y="60881"/>
                    <a:pt x="11555" y="64825"/>
                    <a:pt x="19633" y="66731"/>
                  </a:cubicBezTo>
                  <a:cubicBezTo>
                    <a:pt x="23245" y="67600"/>
                    <a:pt x="33433" y="68335"/>
                    <a:pt x="34042" y="72011"/>
                  </a:cubicBezTo>
                  <a:cubicBezTo>
                    <a:pt x="35137" y="77460"/>
                    <a:pt x="54093" y="76958"/>
                    <a:pt x="55879" y="732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694F7DC1-E65D-41D1-AD20-7B6AE3B27CEC}"/>
                </a:ext>
              </a:extLst>
            </p:cNvPr>
            <p:cNvSpPr/>
            <p:nvPr/>
          </p:nvSpPr>
          <p:spPr>
            <a:xfrm>
              <a:off x="8695328" y="4879335"/>
              <a:ext cx="168389" cy="184697"/>
            </a:xfrm>
            <a:custGeom>
              <a:avLst/>
              <a:gdLst>
                <a:gd name="connsiteX0" fmla="*/ 128852 w 168389"/>
                <a:gd name="connsiteY0" fmla="*/ 96923 h 184697"/>
                <a:gd name="connsiteX1" fmla="*/ 108233 w 168389"/>
                <a:gd name="connsiteY1" fmla="*/ 77270 h 184697"/>
                <a:gd name="connsiteX2" fmla="*/ 131207 w 168389"/>
                <a:gd name="connsiteY2" fmla="*/ 71956 h 184697"/>
                <a:gd name="connsiteX3" fmla="*/ 118259 w 168389"/>
                <a:gd name="connsiteY3" fmla="*/ 48025 h 184697"/>
                <a:gd name="connsiteX4" fmla="*/ 90617 w 168389"/>
                <a:gd name="connsiteY4" fmla="*/ 29174 h 184697"/>
                <a:gd name="connsiteX5" fmla="*/ 82499 w 168389"/>
                <a:gd name="connsiteY5" fmla="*/ 15804 h 184697"/>
                <a:gd name="connsiteX6" fmla="*/ 79779 w 168389"/>
                <a:gd name="connsiteY6" fmla="*/ 8685 h 184697"/>
                <a:gd name="connsiteX7" fmla="*/ 64964 w 168389"/>
                <a:gd name="connsiteY7" fmla="*/ 730 h 184697"/>
                <a:gd name="connsiteX8" fmla="*/ 56399 w 168389"/>
                <a:gd name="connsiteY8" fmla="*/ 17442 h 184697"/>
                <a:gd name="connsiteX9" fmla="*/ 37404 w 168389"/>
                <a:gd name="connsiteY9" fmla="*/ 7415 h 184697"/>
                <a:gd name="connsiteX10" fmla="*/ 5541 w 168389"/>
                <a:gd name="connsiteY10" fmla="*/ 16941 h 184697"/>
                <a:gd name="connsiteX11" fmla="*/ 11101 w 168389"/>
                <a:gd name="connsiteY11" fmla="*/ 38299 h 184697"/>
                <a:gd name="connsiteX12" fmla="*/ 12765 w 168389"/>
                <a:gd name="connsiteY12" fmla="*/ 61227 h 184697"/>
                <a:gd name="connsiteX13" fmla="*/ 8991 w 168389"/>
                <a:gd name="connsiteY13" fmla="*/ 75365 h 184697"/>
                <a:gd name="connsiteX14" fmla="*/ 35130 w 168389"/>
                <a:gd name="connsiteY14" fmla="*/ 73895 h 184697"/>
                <a:gd name="connsiteX15" fmla="*/ 51366 w 168389"/>
                <a:gd name="connsiteY15" fmla="*/ 82484 h 184697"/>
                <a:gd name="connsiteX16" fmla="*/ 90658 w 168389"/>
                <a:gd name="connsiteY16" fmla="*/ 88534 h 184697"/>
                <a:gd name="connsiteX17" fmla="*/ 107624 w 168389"/>
                <a:gd name="connsiteY17" fmla="*/ 116376 h 184697"/>
                <a:gd name="connsiteX18" fmla="*/ 99506 w 168389"/>
                <a:gd name="connsiteY18" fmla="*/ 125868 h 184697"/>
                <a:gd name="connsiteX19" fmla="*/ 108071 w 168389"/>
                <a:gd name="connsiteY19" fmla="*/ 135595 h 184697"/>
                <a:gd name="connsiteX20" fmla="*/ 98451 w 168389"/>
                <a:gd name="connsiteY20" fmla="*/ 169286 h 184697"/>
                <a:gd name="connsiteX21" fmla="*/ 108112 w 168389"/>
                <a:gd name="connsiteY21" fmla="*/ 179313 h 184697"/>
                <a:gd name="connsiteX22" fmla="*/ 125159 w 168389"/>
                <a:gd name="connsiteY22" fmla="*/ 174433 h 184697"/>
                <a:gd name="connsiteX23" fmla="*/ 151177 w 168389"/>
                <a:gd name="connsiteY23" fmla="*/ 184159 h 184697"/>
                <a:gd name="connsiteX24" fmla="*/ 168184 w 168389"/>
                <a:gd name="connsiteY24" fmla="*/ 169453 h 184697"/>
                <a:gd name="connsiteX25" fmla="*/ 148904 w 168389"/>
                <a:gd name="connsiteY25" fmla="*/ 136931 h 184697"/>
                <a:gd name="connsiteX26" fmla="*/ 129015 w 168389"/>
                <a:gd name="connsiteY26" fmla="*/ 97124 h 184697"/>
                <a:gd name="connsiteX27" fmla="*/ 128852 w 168389"/>
                <a:gd name="connsiteY27" fmla="*/ 96923 h 18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389" h="184697">
                  <a:moveTo>
                    <a:pt x="128852" y="96923"/>
                  </a:moveTo>
                  <a:cubicBezTo>
                    <a:pt x="131004" y="92812"/>
                    <a:pt x="112008" y="81214"/>
                    <a:pt x="108233" y="77270"/>
                  </a:cubicBezTo>
                  <a:cubicBezTo>
                    <a:pt x="96056" y="64402"/>
                    <a:pt x="128527" y="76869"/>
                    <a:pt x="131207" y="71956"/>
                  </a:cubicBezTo>
                  <a:cubicBezTo>
                    <a:pt x="133886" y="67043"/>
                    <a:pt x="129705" y="50364"/>
                    <a:pt x="118259" y="48025"/>
                  </a:cubicBezTo>
                  <a:cubicBezTo>
                    <a:pt x="98207" y="43914"/>
                    <a:pt x="95772" y="41674"/>
                    <a:pt x="90617" y="29174"/>
                  </a:cubicBezTo>
                  <a:cubicBezTo>
                    <a:pt x="88952" y="25196"/>
                    <a:pt x="80470" y="19414"/>
                    <a:pt x="82499" y="15804"/>
                  </a:cubicBezTo>
                  <a:cubicBezTo>
                    <a:pt x="82702" y="13237"/>
                    <a:pt x="81728" y="10701"/>
                    <a:pt x="79779" y="8685"/>
                  </a:cubicBezTo>
                  <a:cubicBezTo>
                    <a:pt x="74625" y="1265"/>
                    <a:pt x="69389" y="6178"/>
                    <a:pt x="64964" y="730"/>
                  </a:cubicBezTo>
                  <a:cubicBezTo>
                    <a:pt x="59931" y="-5486"/>
                    <a:pt x="56440" y="17442"/>
                    <a:pt x="56399" y="17442"/>
                  </a:cubicBezTo>
                  <a:cubicBezTo>
                    <a:pt x="50798" y="28405"/>
                    <a:pt x="41300" y="6513"/>
                    <a:pt x="37404" y="7415"/>
                  </a:cubicBezTo>
                  <a:cubicBezTo>
                    <a:pt x="25917" y="10390"/>
                    <a:pt x="18935" y="17442"/>
                    <a:pt x="5541" y="16941"/>
                  </a:cubicBezTo>
                  <a:cubicBezTo>
                    <a:pt x="11101" y="22957"/>
                    <a:pt x="1157" y="35758"/>
                    <a:pt x="11101" y="38299"/>
                  </a:cubicBezTo>
                  <a:cubicBezTo>
                    <a:pt x="34359" y="44315"/>
                    <a:pt x="16703" y="53072"/>
                    <a:pt x="12765" y="61227"/>
                  </a:cubicBezTo>
                  <a:cubicBezTo>
                    <a:pt x="11630" y="63533"/>
                    <a:pt x="-12887" y="75532"/>
                    <a:pt x="8991" y="75365"/>
                  </a:cubicBezTo>
                  <a:cubicBezTo>
                    <a:pt x="17839" y="75365"/>
                    <a:pt x="25877" y="73025"/>
                    <a:pt x="35130" y="73895"/>
                  </a:cubicBezTo>
                  <a:cubicBezTo>
                    <a:pt x="45684" y="74931"/>
                    <a:pt x="43939" y="79276"/>
                    <a:pt x="51366" y="82484"/>
                  </a:cubicBezTo>
                  <a:cubicBezTo>
                    <a:pt x="65452" y="88601"/>
                    <a:pt x="75112" y="77939"/>
                    <a:pt x="90658" y="88534"/>
                  </a:cubicBezTo>
                  <a:cubicBezTo>
                    <a:pt x="98207" y="93681"/>
                    <a:pt x="111683" y="111195"/>
                    <a:pt x="107624" y="116376"/>
                  </a:cubicBezTo>
                  <a:cubicBezTo>
                    <a:pt x="105148" y="119718"/>
                    <a:pt x="101048" y="122259"/>
                    <a:pt x="99506" y="125868"/>
                  </a:cubicBezTo>
                  <a:cubicBezTo>
                    <a:pt x="97964" y="129478"/>
                    <a:pt x="105513" y="132553"/>
                    <a:pt x="108071" y="135595"/>
                  </a:cubicBezTo>
                  <a:cubicBezTo>
                    <a:pt x="116189" y="145622"/>
                    <a:pt x="113104" y="166043"/>
                    <a:pt x="98451" y="169286"/>
                  </a:cubicBezTo>
                  <a:cubicBezTo>
                    <a:pt x="100399" y="170990"/>
                    <a:pt x="106975" y="178410"/>
                    <a:pt x="108112" y="179313"/>
                  </a:cubicBezTo>
                  <a:cubicBezTo>
                    <a:pt x="114443" y="183491"/>
                    <a:pt x="118989" y="173597"/>
                    <a:pt x="125159" y="174433"/>
                  </a:cubicBezTo>
                  <a:cubicBezTo>
                    <a:pt x="135022" y="175836"/>
                    <a:pt x="141111" y="182655"/>
                    <a:pt x="151177" y="184159"/>
                  </a:cubicBezTo>
                  <a:cubicBezTo>
                    <a:pt x="162786" y="185930"/>
                    <a:pt x="166967" y="175536"/>
                    <a:pt x="168184" y="169453"/>
                  </a:cubicBezTo>
                  <a:cubicBezTo>
                    <a:pt x="170051" y="160061"/>
                    <a:pt x="153531" y="146992"/>
                    <a:pt x="148904" y="136931"/>
                  </a:cubicBezTo>
                  <a:cubicBezTo>
                    <a:pt x="144277" y="126871"/>
                    <a:pt x="124144" y="106850"/>
                    <a:pt x="129015" y="97124"/>
                  </a:cubicBezTo>
                  <a:cubicBezTo>
                    <a:pt x="130923" y="92979"/>
                    <a:pt x="126864" y="100934"/>
                    <a:pt x="128852" y="9692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83EBCEB9-EA76-4607-8506-8070884120E7}"/>
                </a:ext>
              </a:extLst>
            </p:cNvPr>
            <p:cNvSpPr/>
            <p:nvPr/>
          </p:nvSpPr>
          <p:spPr>
            <a:xfrm>
              <a:off x="8552051" y="4892623"/>
              <a:ext cx="255915" cy="257455"/>
            </a:xfrm>
            <a:custGeom>
              <a:avLst/>
              <a:gdLst>
                <a:gd name="connsiteX0" fmla="*/ 152958 w 255915"/>
                <a:gd name="connsiteY0" fmla="*/ 152087 h 257455"/>
                <a:gd name="connsiteX1" fmla="*/ 153648 w 255915"/>
                <a:gd name="connsiteY1" fmla="*/ 139486 h 257455"/>
                <a:gd name="connsiteX2" fmla="*/ 185308 w 255915"/>
                <a:gd name="connsiteY2" fmla="*/ 135108 h 257455"/>
                <a:gd name="connsiteX3" fmla="*/ 212625 w 255915"/>
                <a:gd name="connsiteY3" fmla="*/ 143497 h 257455"/>
                <a:gd name="connsiteX4" fmla="*/ 241565 w 255915"/>
                <a:gd name="connsiteY4" fmla="*/ 155931 h 257455"/>
                <a:gd name="connsiteX5" fmla="*/ 243960 w 255915"/>
                <a:gd name="connsiteY5" fmla="*/ 116056 h 257455"/>
                <a:gd name="connsiteX6" fmla="*/ 248506 w 255915"/>
                <a:gd name="connsiteY6" fmla="*/ 105494 h 257455"/>
                <a:gd name="connsiteX7" fmla="*/ 242824 w 255915"/>
                <a:gd name="connsiteY7" fmla="*/ 87446 h 257455"/>
                <a:gd name="connsiteX8" fmla="*/ 223544 w 255915"/>
                <a:gd name="connsiteY8" fmla="*/ 70734 h 257455"/>
                <a:gd name="connsiteX9" fmla="*/ 194400 w 255915"/>
                <a:gd name="connsiteY9" fmla="*/ 69096 h 257455"/>
                <a:gd name="connsiteX10" fmla="*/ 184253 w 255915"/>
                <a:gd name="connsiteY10" fmla="*/ 61743 h 257455"/>
                <a:gd name="connsiteX11" fmla="*/ 164363 w 255915"/>
                <a:gd name="connsiteY11" fmla="*/ 61074 h 257455"/>
                <a:gd name="connsiteX12" fmla="*/ 144068 w 255915"/>
                <a:gd name="connsiteY12" fmla="*/ 54657 h 257455"/>
                <a:gd name="connsiteX13" fmla="*/ 158234 w 255915"/>
                <a:gd name="connsiteY13" fmla="*/ 25779 h 257455"/>
                <a:gd name="connsiteX14" fmla="*/ 151050 w 255915"/>
                <a:gd name="connsiteY14" fmla="*/ 13747 h 257455"/>
                <a:gd name="connsiteX15" fmla="*/ 151050 w 255915"/>
                <a:gd name="connsiteY15" fmla="*/ 6460 h 257455"/>
                <a:gd name="connsiteX16" fmla="*/ 139726 w 255915"/>
                <a:gd name="connsiteY16" fmla="*/ 4956 h 257455"/>
                <a:gd name="connsiteX17" fmla="*/ 86553 w 255915"/>
                <a:gd name="connsiteY17" fmla="*/ 243 h 257455"/>
                <a:gd name="connsiteX18" fmla="*/ 55908 w 255915"/>
                <a:gd name="connsiteY18" fmla="*/ 23640 h 257455"/>
                <a:gd name="connsiteX19" fmla="*/ 68694 w 255915"/>
                <a:gd name="connsiteY19" fmla="*/ 53220 h 257455"/>
                <a:gd name="connsiteX20" fmla="*/ 68085 w 255915"/>
                <a:gd name="connsiteY20" fmla="*/ 65787 h 257455"/>
                <a:gd name="connsiteX21" fmla="*/ 55583 w 255915"/>
                <a:gd name="connsiteY21" fmla="*/ 75547 h 257455"/>
                <a:gd name="connsiteX22" fmla="*/ 53878 w 255915"/>
                <a:gd name="connsiteY22" fmla="*/ 91089 h 257455"/>
                <a:gd name="connsiteX23" fmla="*/ 60495 w 255915"/>
                <a:gd name="connsiteY23" fmla="*/ 115789 h 257455"/>
                <a:gd name="connsiteX24" fmla="*/ 62240 w 255915"/>
                <a:gd name="connsiteY24" fmla="*/ 133303 h 257455"/>
                <a:gd name="connsiteX25" fmla="*/ 52458 w 255915"/>
                <a:gd name="connsiteY25" fmla="*/ 141191 h 257455"/>
                <a:gd name="connsiteX26" fmla="*/ 20229 w 255915"/>
                <a:gd name="connsiteY26" fmla="*/ 159039 h 257455"/>
                <a:gd name="connsiteX27" fmla="*/ 949 w 255915"/>
                <a:gd name="connsiteY27" fmla="*/ 180029 h 257455"/>
                <a:gd name="connsiteX28" fmla="*/ 13126 w 255915"/>
                <a:gd name="connsiteY28" fmla="*/ 196741 h 257455"/>
                <a:gd name="connsiteX29" fmla="*/ 31513 w 255915"/>
                <a:gd name="connsiteY29" fmla="*/ 224917 h 257455"/>
                <a:gd name="connsiteX30" fmla="*/ 57734 w 255915"/>
                <a:gd name="connsiteY30" fmla="*/ 244637 h 257455"/>
                <a:gd name="connsiteX31" fmla="*/ 70520 w 255915"/>
                <a:gd name="connsiteY31" fmla="*/ 256168 h 257455"/>
                <a:gd name="connsiteX32" fmla="*/ 89110 w 255915"/>
                <a:gd name="connsiteY32" fmla="*/ 254397 h 257455"/>
                <a:gd name="connsiteX33" fmla="*/ 55583 w 255915"/>
                <a:gd name="connsiteY33" fmla="*/ 228259 h 257455"/>
                <a:gd name="connsiteX34" fmla="*/ 51524 w 255915"/>
                <a:gd name="connsiteY34" fmla="*/ 198178 h 257455"/>
                <a:gd name="connsiteX35" fmla="*/ 47465 w 255915"/>
                <a:gd name="connsiteY35" fmla="*/ 185043 h 257455"/>
                <a:gd name="connsiteX36" fmla="*/ 34882 w 255915"/>
                <a:gd name="connsiteY36" fmla="*/ 173578 h 257455"/>
                <a:gd name="connsiteX37" fmla="*/ 55989 w 255915"/>
                <a:gd name="connsiteY37" fmla="*/ 150182 h 257455"/>
                <a:gd name="connsiteX38" fmla="*/ 81479 w 255915"/>
                <a:gd name="connsiteY38" fmla="*/ 130696 h 257455"/>
                <a:gd name="connsiteX39" fmla="*/ 104129 w 255915"/>
                <a:gd name="connsiteY39" fmla="*/ 125381 h 257455"/>
                <a:gd name="connsiteX40" fmla="*/ 117604 w 255915"/>
                <a:gd name="connsiteY40" fmla="*/ 144299 h 257455"/>
                <a:gd name="connsiteX41" fmla="*/ 150076 w 255915"/>
                <a:gd name="connsiteY41" fmla="*/ 166091 h 257455"/>
                <a:gd name="connsiteX42" fmla="*/ 152958 w 255915"/>
                <a:gd name="connsiteY42" fmla="*/ 152087 h 25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5915" h="257455">
                  <a:moveTo>
                    <a:pt x="152958" y="152087"/>
                  </a:moveTo>
                  <a:cubicBezTo>
                    <a:pt x="154947" y="148109"/>
                    <a:pt x="148899" y="142428"/>
                    <a:pt x="153648" y="139486"/>
                  </a:cubicBezTo>
                  <a:cubicBezTo>
                    <a:pt x="160711" y="135308"/>
                    <a:pt x="174592" y="134239"/>
                    <a:pt x="185308" y="135108"/>
                  </a:cubicBezTo>
                  <a:cubicBezTo>
                    <a:pt x="196024" y="135977"/>
                    <a:pt x="202681" y="140756"/>
                    <a:pt x="212625" y="143497"/>
                  </a:cubicBezTo>
                  <a:cubicBezTo>
                    <a:pt x="225776" y="147140"/>
                    <a:pt x="232920" y="148143"/>
                    <a:pt x="241565" y="155931"/>
                  </a:cubicBezTo>
                  <a:cubicBezTo>
                    <a:pt x="258329" y="152221"/>
                    <a:pt x="261860" y="125849"/>
                    <a:pt x="243960" y="116056"/>
                  </a:cubicBezTo>
                  <a:cubicBezTo>
                    <a:pt x="238643" y="113115"/>
                    <a:pt x="246842" y="107232"/>
                    <a:pt x="248506" y="105494"/>
                  </a:cubicBezTo>
                  <a:cubicBezTo>
                    <a:pt x="255366" y="98275"/>
                    <a:pt x="249034" y="96136"/>
                    <a:pt x="242824" y="87446"/>
                  </a:cubicBezTo>
                  <a:cubicBezTo>
                    <a:pt x="237750" y="80393"/>
                    <a:pt x="236127" y="74343"/>
                    <a:pt x="223544" y="70734"/>
                  </a:cubicBezTo>
                  <a:cubicBezTo>
                    <a:pt x="212341" y="67392"/>
                    <a:pt x="205116" y="73742"/>
                    <a:pt x="194400" y="69096"/>
                  </a:cubicBezTo>
                  <a:cubicBezTo>
                    <a:pt x="189529" y="66957"/>
                    <a:pt x="189976" y="63648"/>
                    <a:pt x="184253" y="61743"/>
                  </a:cubicBezTo>
                  <a:cubicBezTo>
                    <a:pt x="177799" y="60098"/>
                    <a:pt x="170939" y="59868"/>
                    <a:pt x="164363" y="61074"/>
                  </a:cubicBezTo>
                  <a:cubicBezTo>
                    <a:pt x="158722" y="61643"/>
                    <a:pt x="135423" y="63347"/>
                    <a:pt x="144068" y="54657"/>
                  </a:cubicBezTo>
                  <a:cubicBezTo>
                    <a:pt x="148127" y="50680"/>
                    <a:pt x="183319" y="31027"/>
                    <a:pt x="158234" y="25779"/>
                  </a:cubicBezTo>
                  <a:cubicBezTo>
                    <a:pt x="147194" y="23506"/>
                    <a:pt x="148087" y="19094"/>
                    <a:pt x="151050" y="13747"/>
                  </a:cubicBezTo>
                  <a:cubicBezTo>
                    <a:pt x="152471" y="11206"/>
                    <a:pt x="153770" y="9468"/>
                    <a:pt x="151050" y="6460"/>
                  </a:cubicBezTo>
                  <a:cubicBezTo>
                    <a:pt x="146626" y="1146"/>
                    <a:pt x="145815" y="4789"/>
                    <a:pt x="139726" y="4956"/>
                  </a:cubicBezTo>
                  <a:cubicBezTo>
                    <a:pt x="121825" y="5698"/>
                    <a:pt x="103885" y="4107"/>
                    <a:pt x="86553" y="243"/>
                  </a:cubicBezTo>
                  <a:cubicBezTo>
                    <a:pt x="67759" y="-3968"/>
                    <a:pt x="60778" y="15786"/>
                    <a:pt x="55908" y="23640"/>
                  </a:cubicBezTo>
                  <a:cubicBezTo>
                    <a:pt x="50022" y="32999"/>
                    <a:pt x="72996" y="43694"/>
                    <a:pt x="68694" y="53220"/>
                  </a:cubicBezTo>
                  <a:cubicBezTo>
                    <a:pt x="66785" y="57498"/>
                    <a:pt x="76812" y="63247"/>
                    <a:pt x="68085" y="65787"/>
                  </a:cubicBezTo>
                  <a:cubicBezTo>
                    <a:pt x="61915" y="67492"/>
                    <a:pt x="63214" y="74577"/>
                    <a:pt x="55583" y="75547"/>
                  </a:cubicBezTo>
                  <a:cubicBezTo>
                    <a:pt x="46410" y="76750"/>
                    <a:pt x="50996" y="86644"/>
                    <a:pt x="53878" y="91089"/>
                  </a:cubicBezTo>
                  <a:cubicBezTo>
                    <a:pt x="60170" y="100615"/>
                    <a:pt x="64229" y="106764"/>
                    <a:pt x="60495" y="115789"/>
                  </a:cubicBezTo>
                  <a:cubicBezTo>
                    <a:pt x="57978" y="121772"/>
                    <a:pt x="64918" y="127755"/>
                    <a:pt x="62240" y="133303"/>
                  </a:cubicBezTo>
                  <a:cubicBezTo>
                    <a:pt x="61103" y="136177"/>
                    <a:pt x="55259" y="139118"/>
                    <a:pt x="52458" y="141191"/>
                  </a:cubicBezTo>
                  <a:cubicBezTo>
                    <a:pt x="42189" y="148778"/>
                    <a:pt x="27008" y="151218"/>
                    <a:pt x="20229" y="159039"/>
                  </a:cubicBezTo>
                  <a:cubicBezTo>
                    <a:pt x="14181" y="166091"/>
                    <a:pt x="6226" y="172642"/>
                    <a:pt x="949" y="180029"/>
                  </a:cubicBezTo>
                  <a:cubicBezTo>
                    <a:pt x="-3475" y="186246"/>
                    <a:pt x="7769" y="190357"/>
                    <a:pt x="13126" y="196741"/>
                  </a:cubicBezTo>
                  <a:cubicBezTo>
                    <a:pt x="20757" y="205421"/>
                    <a:pt x="26927" y="214896"/>
                    <a:pt x="31513" y="224917"/>
                  </a:cubicBezTo>
                  <a:cubicBezTo>
                    <a:pt x="35369" y="234309"/>
                    <a:pt x="55137" y="234075"/>
                    <a:pt x="57734" y="244637"/>
                  </a:cubicBezTo>
                  <a:cubicBezTo>
                    <a:pt x="59439" y="251589"/>
                    <a:pt x="57734" y="252458"/>
                    <a:pt x="70520" y="256168"/>
                  </a:cubicBezTo>
                  <a:cubicBezTo>
                    <a:pt x="82007" y="259510"/>
                    <a:pt x="78354" y="252826"/>
                    <a:pt x="89110" y="254397"/>
                  </a:cubicBezTo>
                  <a:cubicBezTo>
                    <a:pt x="82900" y="242130"/>
                    <a:pt x="64310" y="238186"/>
                    <a:pt x="55583" y="228259"/>
                  </a:cubicBezTo>
                  <a:cubicBezTo>
                    <a:pt x="46207" y="217631"/>
                    <a:pt x="56070" y="208706"/>
                    <a:pt x="51524" y="198178"/>
                  </a:cubicBezTo>
                  <a:cubicBezTo>
                    <a:pt x="49535" y="193766"/>
                    <a:pt x="52701" y="188987"/>
                    <a:pt x="47465" y="185043"/>
                  </a:cubicBezTo>
                  <a:cubicBezTo>
                    <a:pt x="42229" y="181098"/>
                    <a:pt x="33746" y="178358"/>
                    <a:pt x="34882" y="173578"/>
                  </a:cubicBezTo>
                  <a:cubicBezTo>
                    <a:pt x="36790" y="165356"/>
                    <a:pt x="48155" y="156031"/>
                    <a:pt x="55989" y="150182"/>
                  </a:cubicBezTo>
                  <a:cubicBezTo>
                    <a:pt x="63822" y="144332"/>
                    <a:pt x="76284" y="138651"/>
                    <a:pt x="81479" y="130696"/>
                  </a:cubicBezTo>
                  <a:cubicBezTo>
                    <a:pt x="85091" y="125281"/>
                    <a:pt x="88176" y="115956"/>
                    <a:pt x="104129" y="125381"/>
                  </a:cubicBezTo>
                  <a:cubicBezTo>
                    <a:pt x="113951" y="131231"/>
                    <a:pt x="102667" y="138550"/>
                    <a:pt x="117604" y="144299"/>
                  </a:cubicBezTo>
                  <a:cubicBezTo>
                    <a:pt x="134612" y="150984"/>
                    <a:pt x="137046" y="157234"/>
                    <a:pt x="150076" y="166091"/>
                  </a:cubicBezTo>
                  <a:cubicBezTo>
                    <a:pt x="154947" y="161613"/>
                    <a:pt x="150523" y="157167"/>
                    <a:pt x="152958" y="1520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4D064D66-0B52-4A57-A629-676A52261529}"/>
                </a:ext>
              </a:extLst>
            </p:cNvPr>
            <p:cNvSpPr/>
            <p:nvPr/>
          </p:nvSpPr>
          <p:spPr>
            <a:xfrm>
              <a:off x="6228729" y="3797783"/>
              <a:ext cx="311866" cy="137635"/>
            </a:xfrm>
            <a:custGeom>
              <a:avLst/>
              <a:gdLst>
                <a:gd name="connsiteX0" fmla="*/ 3593 w 311866"/>
                <a:gd name="connsiteY0" fmla="*/ 24726 h 137635"/>
                <a:gd name="connsiteX1" fmla="*/ 710 w 311866"/>
                <a:gd name="connsiteY1" fmla="*/ 47755 h 137635"/>
                <a:gd name="connsiteX2" fmla="*/ 16946 w 311866"/>
                <a:gd name="connsiteY2" fmla="*/ 71352 h 137635"/>
                <a:gd name="connsiteX3" fmla="*/ 43695 w 311866"/>
                <a:gd name="connsiteY3" fmla="*/ 94214 h 137635"/>
                <a:gd name="connsiteX4" fmla="*/ 63990 w 311866"/>
                <a:gd name="connsiteY4" fmla="*/ 100899 h 137635"/>
                <a:gd name="connsiteX5" fmla="*/ 79455 w 311866"/>
                <a:gd name="connsiteY5" fmla="*/ 108152 h 137635"/>
                <a:gd name="connsiteX6" fmla="*/ 87329 w 311866"/>
                <a:gd name="connsiteY6" fmla="*/ 104809 h 137635"/>
                <a:gd name="connsiteX7" fmla="*/ 101008 w 311866"/>
                <a:gd name="connsiteY7" fmla="*/ 105578 h 137635"/>
                <a:gd name="connsiteX8" fmla="*/ 112576 w 311866"/>
                <a:gd name="connsiteY8" fmla="*/ 113199 h 137635"/>
                <a:gd name="connsiteX9" fmla="*/ 134697 w 311866"/>
                <a:gd name="connsiteY9" fmla="*/ 117377 h 137635"/>
                <a:gd name="connsiteX10" fmla="*/ 156575 w 311866"/>
                <a:gd name="connsiteY10" fmla="*/ 125766 h 137635"/>
                <a:gd name="connsiteX11" fmla="*/ 178331 w 311866"/>
                <a:gd name="connsiteY11" fmla="*/ 127738 h 137635"/>
                <a:gd name="connsiteX12" fmla="*/ 205323 w 311866"/>
                <a:gd name="connsiteY12" fmla="*/ 128306 h 137635"/>
                <a:gd name="connsiteX13" fmla="*/ 235441 w 311866"/>
                <a:gd name="connsiteY13" fmla="*/ 131180 h 137635"/>
                <a:gd name="connsiteX14" fmla="*/ 265640 w 311866"/>
                <a:gd name="connsiteY14" fmla="*/ 137297 h 137635"/>
                <a:gd name="connsiteX15" fmla="*/ 268684 w 311866"/>
                <a:gd name="connsiteY15" fmla="*/ 123694 h 137635"/>
                <a:gd name="connsiteX16" fmla="*/ 296529 w 311866"/>
                <a:gd name="connsiteY16" fmla="*/ 111060 h 137635"/>
                <a:gd name="connsiteX17" fmla="*/ 309274 w 311866"/>
                <a:gd name="connsiteY17" fmla="*/ 98292 h 137635"/>
                <a:gd name="connsiteX18" fmla="*/ 296772 w 311866"/>
                <a:gd name="connsiteY18" fmla="*/ 79541 h 137635"/>
                <a:gd name="connsiteX19" fmla="*/ 297543 w 311866"/>
                <a:gd name="connsiteY19" fmla="*/ 70650 h 137635"/>
                <a:gd name="connsiteX20" fmla="*/ 287680 w 311866"/>
                <a:gd name="connsiteY20" fmla="*/ 63966 h 137635"/>
                <a:gd name="connsiteX21" fmla="*/ 311790 w 311866"/>
                <a:gd name="connsiteY21" fmla="*/ 49326 h 137635"/>
                <a:gd name="connsiteX22" fmla="*/ 306879 w 311866"/>
                <a:gd name="connsiteY22" fmla="*/ 41305 h 137635"/>
                <a:gd name="connsiteX23" fmla="*/ 302536 w 311866"/>
                <a:gd name="connsiteY23" fmla="*/ 26030 h 137635"/>
                <a:gd name="connsiteX24" fmla="*/ 275990 w 311866"/>
                <a:gd name="connsiteY24" fmla="*/ 16905 h 137635"/>
                <a:gd name="connsiteX25" fmla="*/ 193674 w 311866"/>
                <a:gd name="connsiteY25" fmla="*/ 12560 h 137635"/>
                <a:gd name="connsiteX26" fmla="*/ 182106 w 311866"/>
                <a:gd name="connsiteY26" fmla="*/ 10388 h 137635"/>
                <a:gd name="connsiteX27" fmla="*/ 162136 w 311866"/>
                <a:gd name="connsiteY27" fmla="*/ 12126 h 137635"/>
                <a:gd name="connsiteX28" fmla="*/ 137782 w 311866"/>
                <a:gd name="connsiteY28" fmla="*/ 1029 h 137635"/>
                <a:gd name="connsiteX29" fmla="*/ 68779 w 311866"/>
                <a:gd name="connsiteY29" fmla="*/ 9118 h 137635"/>
                <a:gd name="connsiteX30" fmla="*/ 27419 w 311866"/>
                <a:gd name="connsiteY30" fmla="*/ 16270 h 137635"/>
                <a:gd name="connsiteX31" fmla="*/ 3511 w 311866"/>
                <a:gd name="connsiteY31" fmla="*/ 22621 h 137635"/>
                <a:gd name="connsiteX32" fmla="*/ 3511 w 311866"/>
                <a:gd name="connsiteY32" fmla="*/ 24693 h 137635"/>
                <a:gd name="connsiteX33" fmla="*/ 3593 w 311866"/>
                <a:gd name="connsiteY33" fmla="*/ 24726 h 13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11866" h="137635">
                  <a:moveTo>
                    <a:pt x="3593" y="24726"/>
                  </a:moveTo>
                  <a:cubicBezTo>
                    <a:pt x="7367" y="30041"/>
                    <a:pt x="-2862" y="45549"/>
                    <a:pt x="710" y="47755"/>
                  </a:cubicBezTo>
                  <a:cubicBezTo>
                    <a:pt x="12644" y="55209"/>
                    <a:pt x="14024" y="61659"/>
                    <a:pt x="16946" y="71352"/>
                  </a:cubicBezTo>
                  <a:cubicBezTo>
                    <a:pt x="19869" y="81045"/>
                    <a:pt x="25430" y="90571"/>
                    <a:pt x="43695" y="94214"/>
                  </a:cubicBezTo>
                  <a:cubicBezTo>
                    <a:pt x="50352" y="95584"/>
                    <a:pt x="60256" y="97323"/>
                    <a:pt x="63990" y="100899"/>
                  </a:cubicBezTo>
                  <a:cubicBezTo>
                    <a:pt x="67074" y="103706"/>
                    <a:pt x="70809" y="109054"/>
                    <a:pt x="79455" y="108152"/>
                  </a:cubicBezTo>
                  <a:lnTo>
                    <a:pt x="87329" y="104809"/>
                  </a:lnTo>
                  <a:cubicBezTo>
                    <a:pt x="91915" y="104813"/>
                    <a:pt x="96462" y="105070"/>
                    <a:pt x="101008" y="105578"/>
                  </a:cubicBezTo>
                  <a:cubicBezTo>
                    <a:pt x="110708" y="105812"/>
                    <a:pt x="105473" y="112029"/>
                    <a:pt x="112576" y="113199"/>
                  </a:cubicBezTo>
                  <a:cubicBezTo>
                    <a:pt x="119679" y="114368"/>
                    <a:pt x="129786" y="113199"/>
                    <a:pt x="134697" y="117377"/>
                  </a:cubicBezTo>
                  <a:cubicBezTo>
                    <a:pt x="139608" y="121555"/>
                    <a:pt x="143992" y="128406"/>
                    <a:pt x="156575" y="125766"/>
                  </a:cubicBezTo>
                  <a:cubicBezTo>
                    <a:pt x="164937" y="124028"/>
                    <a:pt x="169929" y="126835"/>
                    <a:pt x="178331" y="127738"/>
                  </a:cubicBezTo>
                  <a:cubicBezTo>
                    <a:pt x="187667" y="128774"/>
                    <a:pt x="196272" y="126668"/>
                    <a:pt x="205323" y="128306"/>
                  </a:cubicBezTo>
                  <a:cubicBezTo>
                    <a:pt x="215227" y="130144"/>
                    <a:pt x="225618" y="129476"/>
                    <a:pt x="235441" y="131180"/>
                  </a:cubicBezTo>
                  <a:cubicBezTo>
                    <a:pt x="246197" y="133019"/>
                    <a:pt x="254194" y="135960"/>
                    <a:pt x="265640" y="137297"/>
                  </a:cubicBezTo>
                  <a:cubicBezTo>
                    <a:pt x="270348" y="132718"/>
                    <a:pt x="260729" y="127738"/>
                    <a:pt x="268684" y="123694"/>
                  </a:cubicBezTo>
                  <a:cubicBezTo>
                    <a:pt x="277533" y="119248"/>
                    <a:pt x="288005" y="115672"/>
                    <a:pt x="296529" y="111060"/>
                  </a:cubicBezTo>
                  <a:cubicBezTo>
                    <a:pt x="305946" y="105979"/>
                    <a:pt x="316255" y="107082"/>
                    <a:pt x="309274" y="98292"/>
                  </a:cubicBezTo>
                  <a:cubicBezTo>
                    <a:pt x="303835" y="91607"/>
                    <a:pt x="296772" y="87128"/>
                    <a:pt x="296772" y="79541"/>
                  </a:cubicBezTo>
                  <a:cubicBezTo>
                    <a:pt x="296772" y="77268"/>
                    <a:pt x="299898" y="72856"/>
                    <a:pt x="297543" y="70650"/>
                  </a:cubicBezTo>
                  <a:cubicBezTo>
                    <a:pt x="295189" y="68444"/>
                    <a:pt x="287558" y="66573"/>
                    <a:pt x="287680" y="63966"/>
                  </a:cubicBezTo>
                  <a:cubicBezTo>
                    <a:pt x="288167" y="56412"/>
                    <a:pt x="312521" y="58651"/>
                    <a:pt x="311790" y="49326"/>
                  </a:cubicBezTo>
                  <a:cubicBezTo>
                    <a:pt x="311831" y="46154"/>
                    <a:pt x="310005" y="43163"/>
                    <a:pt x="306879" y="41305"/>
                  </a:cubicBezTo>
                  <a:cubicBezTo>
                    <a:pt x="296001" y="35823"/>
                    <a:pt x="306270" y="31578"/>
                    <a:pt x="302536" y="26030"/>
                  </a:cubicBezTo>
                  <a:cubicBezTo>
                    <a:pt x="298802" y="20482"/>
                    <a:pt x="277695" y="20248"/>
                    <a:pt x="275990" y="16905"/>
                  </a:cubicBezTo>
                  <a:cubicBezTo>
                    <a:pt x="249728" y="18309"/>
                    <a:pt x="219652" y="15401"/>
                    <a:pt x="193674" y="12560"/>
                  </a:cubicBezTo>
                  <a:cubicBezTo>
                    <a:pt x="189778" y="12045"/>
                    <a:pt x="185881" y="11320"/>
                    <a:pt x="182106" y="10388"/>
                  </a:cubicBezTo>
                  <a:cubicBezTo>
                    <a:pt x="166398" y="7045"/>
                    <a:pt x="174962" y="10154"/>
                    <a:pt x="162136" y="12126"/>
                  </a:cubicBezTo>
                  <a:cubicBezTo>
                    <a:pt x="137295" y="15936"/>
                    <a:pt x="147889" y="4071"/>
                    <a:pt x="137782" y="1029"/>
                  </a:cubicBezTo>
                  <a:cubicBezTo>
                    <a:pt x="122277" y="-3617"/>
                    <a:pt x="81362" y="4706"/>
                    <a:pt x="68779" y="9118"/>
                  </a:cubicBezTo>
                  <a:cubicBezTo>
                    <a:pt x="55628" y="13570"/>
                    <a:pt x="41625" y="15996"/>
                    <a:pt x="27419" y="16270"/>
                  </a:cubicBezTo>
                  <a:cubicBezTo>
                    <a:pt x="20356" y="16638"/>
                    <a:pt x="6230" y="23323"/>
                    <a:pt x="3511" y="22621"/>
                  </a:cubicBezTo>
                  <a:cubicBezTo>
                    <a:pt x="3511" y="23323"/>
                    <a:pt x="3511" y="23991"/>
                    <a:pt x="3511" y="24693"/>
                  </a:cubicBezTo>
                  <a:cubicBezTo>
                    <a:pt x="5784" y="27768"/>
                    <a:pt x="3186" y="24125"/>
                    <a:pt x="3593" y="2472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B00C525-F1E6-476D-8D00-A9BE2E7A972E}"/>
                </a:ext>
              </a:extLst>
            </p:cNvPr>
            <p:cNvSpPr/>
            <p:nvPr/>
          </p:nvSpPr>
          <p:spPr>
            <a:xfrm>
              <a:off x="6270368" y="4014879"/>
              <a:ext cx="113999" cy="58813"/>
            </a:xfrm>
            <a:custGeom>
              <a:avLst/>
              <a:gdLst>
                <a:gd name="connsiteX0" fmla="*/ 83642 w 113999"/>
                <a:gd name="connsiteY0" fmla="*/ 53194 h 58813"/>
                <a:gd name="connsiteX1" fmla="*/ 100771 w 113999"/>
                <a:gd name="connsiteY1" fmla="*/ 38120 h 58813"/>
                <a:gd name="connsiteX2" fmla="*/ 113841 w 113999"/>
                <a:gd name="connsiteY2" fmla="*/ 22879 h 58813"/>
                <a:gd name="connsiteX3" fmla="*/ 84778 w 113999"/>
                <a:gd name="connsiteY3" fmla="*/ 3694 h 58813"/>
                <a:gd name="connsiteX4" fmla="*/ 47030 w 113999"/>
                <a:gd name="connsiteY4" fmla="*/ 1321 h 58813"/>
                <a:gd name="connsiteX5" fmla="*/ 34853 w 113999"/>
                <a:gd name="connsiteY5" fmla="*/ -50 h 58813"/>
                <a:gd name="connsiteX6" fmla="*/ 14071 w 113999"/>
                <a:gd name="connsiteY6" fmla="*/ 1822 h 58813"/>
                <a:gd name="connsiteX7" fmla="*/ 1894 w 113999"/>
                <a:gd name="connsiteY7" fmla="*/ 8239 h 58813"/>
                <a:gd name="connsiteX8" fmla="*/ 14518 w 113999"/>
                <a:gd name="connsiteY8" fmla="*/ 17999 h 58813"/>
                <a:gd name="connsiteX9" fmla="*/ 40373 w 113999"/>
                <a:gd name="connsiteY9" fmla="*/ 35446 h 58813"/>
                <a:gd name="connsiteX10" fmla="*/ 82262 w 113999"/>
                <a:gd name="connsiteY10" fmla="*/ 58475 h 58813"/>
                <a:gd name="connsiteX11" fmla="*/ 83804 w 113999"/>
                <a:gd name="connsiteY11" fmla="*/ 53194 h 58813"/>
                <a:gd name="connsiteX12" fmla="*/ 83642 w 113999"/>
                <a:gd name="connsiteY12" fmla="*/ 53194 h 5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99" h="58813">
                  <a:moveTo>
                    <a:pt x="83642" y="53194"/>
                  </a:moveTo>
                  <a:cubicBezTo>
                    <a:pt x="82100" y="48548"/>
                    <a:pt x="95575" y="41128"/>
                    <a:pt x="100771" y="38120"/>
                  </a:cubicBezTo>
                  <a:cubicBezTo>
                    <a:pt x="110228" y="32605"/>
                    <a:pt x="112948" y="31603"/>
                    <a:pt x="113841" y="22879"/>
                  </a:cubicBezTo>
                  <a:cubicBezTo>
                    <a:pt x="115018" y="11782"/>
                    <a:pt x="105723" y="6869"/>
                    <a:pt x="84778" y="3694"/>
                  </a:cubicBezTo>
                  <a:cubicBezTo>
                    <a:pt x="73008" y="1922"/>
                    <a:pt x="59126" y="2290"/>
                    <a:pt x="47030" y="1321"/>
                  </a:cubicBezTo>
                  <a:cubicBezTo>
                    <a:pt x="42931" y="1120"/>
                    <a:pt x="38872" y="662"/>
                    <a:pt x="34853" y="-50"/>
                  </a:cubicBezTo>
                  <a:cubicBezTo>
                    <a:pt x="27506" y="-1754"/>
                    <a:pt x="20931" y="4763"/>
                    <a:pt x="14071" y="1822"/>
                  </a:cubicBezTo>
                  <a:cubicBezTo>
                    <a:pt x="5953" y="-1721"/>
                    <a:pt x="-4438" y="4162"/>
                    <a:pt x="1894" y="8239"/>
                  </a:cubicBezTo>
                  <a:cubicBezTo>
                    <a:pt x="6522" y="11314"/>
                    <a:pt x="14640" y="13520"/>
                    <a:pt x="14518" y="17999"/>
                  </a:cubicBezTo>
                  <a:cubicBezTo>
                    <a:pt x="14518" y="25152"/>
                    <a:pt x="42038" y="29463"/>
                    <a:pt x="40373" y="35446"/>
                  </a:cubicBezTo>
                  <a:cubicBezTo>
                    <a:pt x="38994" y="40861"/>
                    <a:pt x="75606" y="55500"/>
                    <a:pt x="82262" y="58475"/>
                  </a:cubicBezTo>
                  <a:cubicBezTo>
                    <a:pt x="83277" y="56841"/>
                    <a:pt x="83804" y="55029"/>
                    <a:pt x="83804" y="53194"/>
                  </a:cubicBezTo>
                  <a:cubicBezTo>
                    <a:pt x="82506" y="49785"/>
                    <a:pt x="83926" y="54097"/>
                    <a:pt x="83642" y="5319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D1F8D5AE-C52D-4D57-B5AF-80C701E8B4C8}"/>
                </a:ext>
              </a:extLst>
            </p:cNvPr>
            <p:cNvSpPr/>
            <p:nvPr/>
          </p:nvSpPr>
          <p:spPr>
            <a:xfrm>
              <a:off x="6211771" y="3988098"/>
              <a:ext cx="172294" cy="78776"/>
            </a:xfrm>
            <a:custGeom>
              <a:avLst/>
              <a:gdLst>
                <a:gd name="connsiteX0" fmla="*/ 98970 w 172294"/>
                <a:gd name="connsiteY0" fmla="*/ 62327 h 78776"/>
                <a:gd name="connsiteX1" fmla="*/ 86306 w 172294"/>
                <a:gd name="connsiteY1" fmla="*/ 54606 h 78776"/>
                <a:gd name="connsiteX2" fmla="*/ 71775 w 172294"/>
                <a:gd name="connsiteY2" fmla="*/ 41839 h 78776"/>
                <a:gd name="connsiteX3" fmla="*/ 58421 w 172294"/>
                <a:gd name="connsiteY3" fmla="*/ 32981 h 78776"/>
                <a:gd name="connsiteX4" fmla="*/ 82775 w 172294"/>
                <a:gd name="connsiteY4" fmla="*/ 28169 h 78776"/>
                <a:gd name="connsiteX5" fmla="*/ 130183 w 172294"/>
                <a:gd name="connsiteY5" fmla="*/ 29840 h 78776"/>
                <a:gd name="connsiteX6" fmla="*/ 172235 w 172294"/>
                <a:gd name="connsiteY6" fmla="*/ 39131 h 78776"/>
                <a:gd name="connsiteX7" fmla="*/ 166430 w 172294"/>
                <a:gd name="connsiteY7" fmla="*/ 25194 h 78776"/>
                <a:gd name="connsiteX8" fmla="*/ 153035 w 172294"/>
                <a:gd name="connsiteY8" fmla="*/ 12426 h 78776"/>
                <a:gd name="connsiteX9" fmla="*/ 112730 w 172294"/>
                <a:gd name="connsiteY9" fmla="*/ 11156 h 78776"/>
                <a:gd name="connsiteX10" fmla="*/ 72911 w 172294"/>
                <a:gd name="connsiteY10" fmla="*/ 1697 h 78776"/>
                <a:gd name="connsiteX11" fmla="*/ 49004 w 172294"/>
                <a:gd name="connsiteY11" fmla="*/ 14097 h 78776"/>
                <a:gd name="connsiteX12" fmla="*/ 34148 w 172294"/>
                <a:gd name="connsiteY12" fmla="*/ 20247 h 78776"/>
                <a:gd name="connsiteX13" fmla="*/ 11986 w 172294"/>
                <a:gd name="connsiteY13" fmla="*/ 20648 h 78776"/>
                <a:gd name="connsiteX14" fmla="*/ 17668 w 172294"/>
                <a:gd name="connsiteY14" fmla="*/ 29205 h 78776"/>
                <a:gd name="connsiteX15" fmla="*/ 43524 w 172294"/>
                <a:gd name="connsiteY15" fmla="*/ 48991 h 78776"/>
                <a:gd name="connsiteX16" fmla="*/ 58177 w 172294"/>
                <a:gd name="connsiteY16" fmla="*/ 59018 h 78776"/>
                <a:gd name="connsiteX17" fmla="*/ 81435 w 172294"/>
                <a:gd name="connsiteY17" fmla="*/ 64968 h 78776"/>
                <a:gd name="connsiteX18" fmla="*/ 95520 w 172294"/>
                <a:gd name="connsiteY18" fmla="*/ 72956 h 78776"/>
                <a:gd name="connsiteX19" fmla="*/ 124460 w 172294"/>
                <a:gd name="connsiteY19" fmla="*/ 78438 h 78776"/>
                <a:gd name="connsiteX20" fmla="*/ 98807 w 172294"/>
                <a:gd name="connsiteY20" fmla="*/ 62294 h 78776"/>
                <a:gd name="connsiteX21" fmla="*/ 98970 w 172294"/>
                <a:gd name="connsiteY21" fmla="*/ 62327 h 7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294" h="78776">
                  <a:moveTo>
                    <a:pt x="98970" y="62327"/>
                  </a:moveTo>
                  <a:cubicBezTo>
                    <a:pt x="99660" y="59854"/>
                    <a:pt x="89026" y="55943"/>
                    <a:pt x="86306" y="54606"/>
                  </a:cubicBezTo>
                  <a:cubicBezTo>
                    <a:pt x="77376" y="50161"/>
                    <a:pt x="76727" y="47120"/>
                    <a:pt x="71775" y="41839"/>
                  </a:cubicBezTo>
                  <a:cubicBezTo>
                    <a:pt x="68731" y="38496"/>
                    <a:pt x="59598" y="36658"/>
                    <a:pt x="58421" y="32981"/>
                  </a:cubicBezTo>
                  <a:cubicBezTo>
                    <a:pt x="55580" y="24960"/>
                    <a:pt x="76524" y="30040"/>
                    <a:pt x="82775" y="28169"/>
                  </a:cubicBezTo>
                  <a:cubicBezTo>
                    <a:pt x="94627" y="24826"/>
                    <a:pt x="116951" y="29071"/>
                    <a:pt x="130183" y="29840"/>
                  </a:cubicBezTo>
                  <a:cubicBezTo>
                    <a:pt x="144837" y="30481"/>
                    <a:pt x="159164" y="33647"/>
                    <a:pt x="172235" y="39131"/>
                  </a:cubicBezTo>
                  <a:cubicBezTo>
                    <a:pt x="171585" y="35488"/>
                    <a:pt x="170286" y="28336"/>
                    <a:pt x="166430" y="25194"/>
                  </a:cubicBezTo>
                  <a:cubicBezTo>
                    <a:pt x="159895" y="19913"/>
                    <a:pt x="154253" y="19813"/>
                    <a:pt x="153035" y="12426"/>
                  </a:cubicBezTo>
                  <a:cubicBezTo>
                    <a:pt x="140006" y="14164"/>
                    <a:pt x="125029" y="15568"/>
                    <a:pt x="112730" y="11156"/>
                  </a:cubicBezTo>
                  <a:cubicBezTo>
                    <a:pt x="97590" y="5708"/>
                    <a:pt x="90527" y="-4754"/>
                    <a:pt x="72911" y="1697"/>
                  </a:cubicBezTo>
                  <a:cubicBezTo>
                    <a:pt x="61424" y="5908"/>
                    <a:pt x="58015" y="9251"/>
                    <a:pt x="49004" y="14097"/>
                  </a:cubicBezTo>
                  <a:cubicBezTo>
                    <a:pt x="42550" y="17439"/>
                    <a:pt x="45229" y="21784"/>
                    <a:pt x="34148" y="20247"/>
                  </a:cubicBezTo>
                  <a:cubicBezTo>
                    <a:pt x="26761" y="19442"/>
                    <a:pt x="19292" y="19579"/>
                    <a:pt x="11986" y="20648"/>
                  </a:cubicBezTo>
                  <a:cubicBezTo>
                    <a:pt x="-10460" y="22520"/>
                    <a:pt x="2610" y="28035"/>
                    <a:pt x="17668" y="29205"/>
                  </a:cubicBezTo>
                  <a:cubicBezTo>
                    <a:pt x="31834" y="30341"/>
                    <a:pt x="35772" y="43109"/>
                    <a:pt x="43524" y="48991"/>
                  </a:cubicBezTo>
                  <a:cubicBezTo>
                    <a:pt x="48192" y="52534"/>
                    <a:pt x="53103" y="55880"/>
                    <a:pt x="58177" y="59018"/>
                  </a:cubicBezTo>
                  <a:cubicBezTo>
                    <a:pt x="64347" y="62862"/>
                    <a:pt x="74413" y="62361"/>
                    <a:pt x="81435" y="64968"/>
                  </a:cubicBezTo>
                  <a:cubicBezTo>
                    <a:pt x="87564" y="67307"/>
                    <a:pt x="86996" y="70884"/>
                    <a:pt x="95520" y="72956"/>
                  </a:cubicBezTo>
                  <a:cubicBezTo>
                    <a:pt x="105342" y="75329"/>
                    <a:pt x="115165" y="75095"/>
                    <a:pt x="124460" y="78438"/>
                  </a:cubicBezTo>
                  <a:cubicBezTo>
                    <a:pt x="120726" y="75363"/>
                    <a:pt x="97915" y="65837"/>
                    <a:pt x="98807" y="62294"/>
                  </a:cubicBezTo>
                  <a:cubicBezTo>
                    <a:pt x="99619" y="59252"/>
                    <a:pt x="98280" y="64333"/>
                    <a:pt x="98970" y="6232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0CAE6208-D69C-42FD-9F91-7EB285D546B7}"/>
                </a:ext>
              </a:extLst>
            </p:cNvPr>
            <p:cNvSpPr/>
            <p:nvPr/>
          </p:nvSpPr>
          <p:spPr>
            <a:xfrm>
              <a:off x="6377195" y="4071988"/>
              <a:ext cx="54753" cy="62869"/>
            </a:xfrm>
            <a:custGeom>
              <a:avLst/>
              <a:gdLst>
                <a:gd name="connsiteX0" fmla="*/ 35629 w 54753"/>
                <a:gd name="connsiteY0" fmla="*/ 53640 h 62869"/>
                <a:gd name="connsiteX1" fmla="*/ 53164 w 54753"/>
                <a:gd name="connsiteY1" fmla="*/ 40739 h 62869"/>
                <a:gd name="connsiteX2" fmla="*/ 40541 w 54753"/>
                <a:gd name="connsiteY2" fmla="*/ 29241 h 62869"/>
                <a:gd name="connsiteX3" fmla="*/ 42529 w 54753"/>
                <a:gd name="connsiteY3" fmla="*/ 8820 h 62869"/>
                <a:gd name="connsiteX4" fmla="*/ 15131 w 54753"/>
                <a:gd name="connsiteY4" fmla="*/ -339 h 62869"/>
                <a:gd name="connsiteX5" fmla="*/ 6080 w 54753"/>
                <a:gd name="connsiteY5" fmla="*/ 3238 h 62869"/>
                <a:gd name="connsiteX6" fmla="*/ 6973 w 54753"/>
                <a:gd name="connsiteY6" fmla="*/ 14134 h 62869"/>
                <a:gd name="connsiteX7" fmla="*/ 763 w 54753"/>
                <a:gd name="connsiteY7" fmla="*/ 29776 h 62869"/>
                <a:gd name="connsiteX8" fmla="*/ 26050 w 54753"/>
                <a:gd name="connsiteY8" fmla="*/ 62531 h 62869"/>
                <a:gd name="connsiteX9" fmla="*/ 35629 w 54753"/>
                <a:gd name="connsiteY9" fmla="*/ 53640 h 6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53" h="62869">
                  <a:moveTo>
                    <a:pt x="35629" y="53640"/>
                  </a:moveTo>
                  <a:cubicBezTo>
                    <a:pt x="40459" y="53273"/>
                    <a:pt x="50810" y="42978"/>
                    <a:pt x="53164" y="40739"/>
                  </a:cubicBezTo>
                  <a:cubicBezTo>
                    <a:pt x="59130" y="35090"/>
                    <a:pt x="46101" y="34054"/>
                    <a:pt x="40541" y="29241"/>
                  </a:cubicBezTo>
                  <a:cubicBezTo>
                    <a:pt x="33843" y="23392"/>
                    <a:pt x="38795" y="14568"/>
                    <a:pt x="42529" y="8820"/>
                  </a:cubicBezTo>
                  <a:cubicBezTo>
                    <a:pt x="35629" y="5911"/>
                    <a:pt x="24305" y="-105"/>
                    <a:pt x="15131" y="-339"/>
                  </a:cubicBezTo>
                  <a:cubicBezTo>
                    <a:pt x="11681" y="-88"/>
                    <a:pt x="8474" y="1182"/>
                    <a:pt x="6080" y="3238"/>
                  </a:cubicBezTo>
                  <a:cubicBezTo>
                    <a:pt x="-1348" y="8686"/>
                    <a:pt x="-2688" y="9922"/>
                    <a:pt x="6973" y="14134"/>
                  </a:cubicBezTo>
                  <a:cubicBezTo>
                    <a:pt x="18135" y="18880"/>
                    <a:pt x="2914" y="24395"/>
                    <a:pt x="763" y="29776"/>
                  </a:cubicBezTo>
                  <a:cubicBezTo>
                    <a:pt x="-3296" y="39803"/>
                    <a:pt x="8069" y="57350"/>
                    <a:pt x="26050" y="62531"/>
                  </a:cubicBezTo>
                  <a:cubicBezTo>
                    <a:pt x="27552" y="60325"/>
                    <a:pt x="29663" y="54075"/>
                    <a:pt x="35629" y="5364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81AF816D-248E-40C7-89AF-25691C7E3A53}"/>
                </a:ext>
              </a:extLst>
            </p:cNvPr>
            <p:cNvSpPr/>
            <p:nvPr/>
          </p:nvSpPr>
          <p:spPr>
            <a:xfrm>
              <a:off x="6080322" y="3930777"/>
              <a:ext cx="237694" cy="57088"/>
            </a:xfrm>
            <a:custGeom>
              <a:avLst/>
              <a:gdLst>
                <a:gd name="connsiteX0" fmla="*/ 203062 w 237694"/>
                <a:gd name="connsiteY0" fmla="*/ 5372 h 57088"/>
                <a:gd name="connsiteX1" fmla="*/ 172173 w 237694"/>
                <a:gd name="connsiteY1" fmla="*/ 1228 h 57088"/>
                <a:gd name="connsiteX2" fmla="*/ 138768 w 237694"/>
                <a:gd name="connsiteY2" fmla="*/ 8213 h 57088"/>
                <a:gd name="connsiteX3" fmla="*/ 111613 w 237694"/>
                <a:gd name="connsiteY3" fmla="*/ 17438 h 57088"/>
                <a:gd name="connsiteX4" fmla="*/ 101425 w 237694"/>
                <a:gd name="connsiteY4" fmla="*/ 30808 h 57088"/>
                <a:gd name="connsiteX5" fmla="*/ 65462 w 237694"/>
                <a:gd name="connsiteY5" fmla="*/ 31443 h 57088"/>
                <a:gd name="connsiteX6" fmla="*/ 48374 w 237694"/>
                <a:gd name="connsiteY6" fmla="*/ 34785 h 57088"/>
                <a:gd name="connsiteX7" fmla="*/ 27146 w 237694"/>
                <a:gd name="connsiteY7" fmla="*/ 33114 h 57088"/>
                <a:gd name="connsiteX8" fmla="*/ 14401 w 237694"/>
                <a:gd name="connsiteY8" fmla="*/ 35153 h 57088"/>
                <a:gd name="connsiteX9" fmla="*/ -50 w 237694"/>
                <a:gd name="connsiteY9" fmla="*/ 36724 h 57088"/>
                <a:gd name="connsiteX10" fmla="*/ 31083 w 237694"/>
                <a:gd name="connsiteY10" fmla="*/ 46751 h 57088"/>
                <a:gd name="connsiteX11" fmla="*/ 87909 w 237694"/>
                <a:gd name="connsiteY11" fmla="*/ 48890 h 57088"/>
                <a:gd name="connsiteX12" fmla="*/ 136007 w 237694"/>
                <a:gd name="connsiteY12" fmla="*/ 54472 h 57088"/>
                <a:gd name="connsiteX13" fmla="*/ 159590 w 237694"/>
                <a:gd name="connsiteY13" fmla="*/ 56243 h 57088"/>
                <a:gd name="connsiteX14" fmla="*/ 183944 w 237694"/>
                <a:gd name="connsiteY14" fmla="*/ 51831 h 57088"/>
                <a:gd name="connsiteX15" fmla="*/ 203833 w 237694"/>
                <a:gd name="connsiteY15" fmla="*/ 48790 h 57088"/>
                <a:gd name="connsiteX16" fmla="*/ 211951 w 237694"/>
                <a:gd name="connsiteY16" fmla="*/ 44545 h 57088"/>
                <a:gd name="connsiteX17" fmla="*/ 226523 w 237694"/>
                <a:gd name="connsiteY17" fmla="*/ 30841 h 57088"/>
                <a:gd name="connsiteX18" fmla="*/ 232854 w 237694"/>
                <a:gd name="connsiteY18" fmla="*/ 14530 h 57088"/>
                <a:gd name="connsiteX19" fmla="*/ 226198 w 237694"/>
                <a:gd name="connsiteY19" fmla="*/ 7846 h 57088"/>
                <a:gd name="connsiteX20" fmla="*/ 203102 w 237694"/>
                <a:gd name="connsiteY20" fmla="*/ 5439 h 5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694" h="57088">
                  <a:moveTo>
                    <a:pt x="203062" y="5372"/>
                  </a:moveTo>
                  <a:cubicBezTo>
                    <a:pt x="199003" y="2866"/>
                    <a:pt x="174649" y="-3184"/>
                    <a:pt x="172173" y="1228"/>
                  </a:cubicBezTo>
                  <a:cubicBezTo>
                    <a:pt x="167261" y="10286"/>
                    <a:pt x="155369" y="10720"/>
                    <a:pt x="138768" y="8213"/>
                  </a:cubicBezTo>
                  <a:cubicBezTo>
                    <a:pt x="133694" y="11556"/>
                    <a:pt x="119122" y="15232"/>
                    <a:pt x="111613" y="17438"/>
                  </a:cubicBezTo>
                  <a:cubicBezTo>
                    <a:pt x="101790" y="20313"/>
                    <a:pt x="115672" y="32646"/>
                    <a:pt x="101425" y="30808"/>
                  </a:cubicBezTo>
                  <a:cubicBezTo>
                    <a:pt x="88842" y="29337"/>
                    <a:pt x="78167" y="28435"/>
                    <a:pt x="65462" y="31443"/>
                  </a:cubicBezTo>
                  <a:cubicBezTo>
                    <a:pt x="59211" y="32913"/>
                    <a:pt x="56127" y="35520"/>
                    <a:pt x="48374" y="34785"/>
                  </a:cubicBezTo>
                  <a:cubicBezTo>
                    <a:pt x="40621" y="34050"/>
                    <a:pt x="35061" y="31008"/>
                    <a:pt x="27146" y="33114"/>
                  </a:cubicBezTo>
                  <a:cubicBezTo>
                    <a:pt x="21301" y="34685"/>
                    <a:pt x="21706" y="37693"/>
                    <a:pt x="14401" y="35153"/>
                  </a:cubicBezTo>
                  <a:cubicBezTo>
                    <a:pt x="8312" y="33014"/>
                    <a:pt x="154" y="30741"/>
                    <a:pt x="-50" y="36724"/>
                  </a:cubicBezTo>
                  <a:cubicBezTo>
                    <a:pt x="-537" y="48856"/>
                    <a:pt x="16958" y="43408"/>
                    <a:pt x="31083" y="46751"/>
                  </a:cubicBezTo>
                  <a:cubicBezTo>
                    <a:pt x="51378" y="51230"/>
                    <a:pt x="76746" y="35420"/>
                    <a:pt x="87909" y="48890"/>
                  </a:cubicBezTo>
                  <a:cubicBezTo>
                    <a:pt x="92536" y="54472"/>
                    <a:pt x="125901" y="53201"/>
                    <a:pt x="136007" y="54472"/>
                  </a:cubicBezTo>
                  <a:cubicBezTo>
                    <a:pt x="142705" y="55307"/>
                    <a:pt x="152730" y="57814"/>
                    <a:pt x="159590" y="56243"/>
                  </a:cubicBezTo>
                  <a:cubicBezTo>
                    <a:pt x="167708" y="54438"/>
                    <a:pt x="174568" y="51697"/>
                    <a:pt x="183944" y="51831"/>
                  </a:cubicBezTo>
                  <a:cubicBezTo>
                    <a:pt x="190722" y="51778"/>
                    <a:pt x="197460" y="50748"/>
                    <a:pt x="203833" y="48790"/>
                  </a:cubicBezTo>
                  <a:cubicBezTo>
                    <a:pt x="207445" y="47854"/>
                    <a:pt x="207648" y="44779"/>
                    <a:pt x="211951" y="44545"/>
                  </a:cubicBezTo>
                  <a:cubicBezTo>
                    <a:pt x="223803" y="43910"/>
                    <a:pt x="209718" y="30373"/>
                    <a:pt x="226523" y="30841"/>
                  </a:cubicBezTo>
                  <a:cubicBezTo>
                    <a:pt x="244382" y="31343"/>
                    <a:pt x="236142" y="18541"/>
                    <a:pt x="232854" y="14530"/>
                  </a:cubicBezTo>
                  <a:cubicBezTo>
                    <a:pt x="231678" y="13060"/>
                    <a:pt x="229851" y="7344"/>
                    <a:pt x="226198" y="7846"/>
                  </a:cubicBezTo>
                  <a:cubicBezTo>
                    <a:pt x="218567" y="8915"/>
                    <a:pt x="208826" y="8949"/>
                    <a:pt x="203102" y="54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1E3BCDC-89DE-4746-B2C1-6F1908D7D113}"/>
                </a:ext>
              </a:extLst>
            </p:cNvPr>
            <p:cNvSpPr/>
            <p:nvPr/>
          </p:nvSpPr>
          <p:spPr>
            <a:xfrm>
              <a:off x="6289492" y="3943352"/>
              <a:ext cx="206623" cy="58577"/>
            </a:xfrm>
            <a:custGeom>
              <a:avLst/>
              <a:gdLst>
                <a:gd name="connsiteX0" fmla="*/ 203172 w 206623"/>
                <a:gd name="connsiteY0" fmla="*/ 12885 h 58577"/>
                <a:gd name="connsiteX1" fmla="*/ 148255 w 206623"/>
                <a:gd name="connsiteY1" fmla="*/ -117 h 58577"/>
                <a:gd name="connsiteX2" fmla="*/ 114524 w 206623"/>
                <a:gd name="connsiteY2" fmla="*/ 8574 h 58577"/>
                <a:gd name="connsiteX3" fmla="*/ 31194 w 206623"/>
                <a:gd name="connsiteY3" fmla="*/ 9409 h 58577"/>
                <a:gd name="connsiteX4" fmla="*/ 21939 w 206623"/>
                <a:gd name="connsiteY4" fmla="*/ 17966 h 58577"/>
                <a:gd name="connsiteX5" fmla="*/ 9478 w 206623"/>
                <a:gd name="connsiteY5" fmla="*/ 21676 h 58577"/>
                <a:gd name="connsiteX6" fmla="*/ 2050 w 206623"/>
                <a:gd name="connsiteY6" fmla="*/ 39323 h 58577"/>
                <a:gd name="connsiteX7" fmla="*/ 72068 w 206623"/>
                <a:gd name="connsiteY7" fmla="*/ 57505 h 58577"/>
                <a:gd name="connsiteX8" fmla="*/ 109369 w 206623"/>
                <a:gd name="connsiteY8" fmla="*/ 52392 h 58577"/>
                <a:gd name="connsiteX9" fmla="*/ 145535 w 206623"/>
                <a:gd name="connsiteY9" fmla="*/ 52392 h 58577"/>
                <a:gd name="connsiteX10" fmla="*/ 176221 w 206623"/>
                <a:gd name="connsiteY10" fmla="*/ 30132 h 58577"/>
                <a:gd name="connsiteX11" fmla="*/ 203172 w 206623"/>
                <a:gd name="connsiteY11" fmla="*/ 13052 h 5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623" h="58577">
                  <a:moveTo>
                    <a:pt x="203172" y="12885"/>
                  </a:moveTo>
                  <a:cubicBezTo>
                    <a:pt x="184339" y="8874"/>
                    <a:pt x="168225" y="2858"/>
                    <a:pt x="148255" y="-117"/>
                  </a:cubicBezTo>
                  <a:cubicBezTo>
                    <a:pt x="135225" y="-2022"/>
                    <a:pt x="127351" y="8975"/>
                    <a:pt x="114524" y="8574"/>
                  </a:cubicBezTo>
                  <a:cubicBezTo>
                    <a:pt x="88750" y="7805"/>
                    <a:pt x="52422" y="25586"/>
                    <a:pt x="31194" y="9409"/>
                  </a:cubicBezTo>
                  <a:cubicBezTo>
                    <a:pt x="26364" y="11648"/>
                    <a:pt x="28271" y="16963"/>
                    <a:pt x="21939" y="17966"/>
                  </a:cubicBezTo>
                  <a:cubicBezTo>
                    <a:pt x="14471" y="19169"/>
                    <a:pt x="8545" y="15860"/>
                    <a:pt x="9478" y="21676"/>
                  </a:cubicBezTo>
                  <a:cubicBezTo>
                    <a:pt x="10818" y="30265"/>
                    <a:pt x="-5784" y="31703"/>
                    <a:pt x="2050" y="39323"/>
                  </a:cubicBezTo>
                  <a:cubicBezTo>
                    <a:pt x="14552" y="51222"/>
                    <a:pt x="44954" y="61048"/>
                    <a:pt x="72068" y="57505"/>
                  </a:cubicBezTo>
                  <a:cubicBezTo>
                    <a:pt x="82621" y="56102"/>
                    <a:pt x="98451" y="51924"/>
                    <a:pt x="109369" y="52392"/>
                  </a:cubicBezTo>
                  <a:cubicBezTo>
                    <a:pt x="126377" y="53127"/>
                    <a:pt x="129299" y="57840"/>
                    <a:pt x="145535" y="52392"/>
                  </a:cubicBezTo>
                  <a:cubicBezTo>
                    <a:pt x="160188" y="47311"/>
                    <a:pt x="167535" y="37819"/>
                    <a:pt x="176221" y="30132"/>
                  </a:cubicBezTo>
                  <a:cubicBezTo>
                    <a:pt x="181132" y="25686"/>
                    <a:pt x="217704" y="16161"/>
                    <a:pt x="203172" y="1305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4C07BCDF-5623-4D0F-8741-73FDAF95E3B8}"/>
                </a:ext>
              </a:extLst>
            </p:cNvPr>
            <p:cNvSpPr/>
            <p:nvPr/>
          </p:nvSpPr>
          <p:spPr>
            <a:xfrm>
              <a:off x="6170692" y="3886353"/>
              <a:ext cx="199978" cy="55817"/>
            </a:xfrm>
            <a:custGeom>
              <a:avLst/>
              <a:gdLst>
                <a:gd name="connsiteX0" fmla="*/ 189406 w 199978"/>
                <a:gd name="connsiteY0" fmla="*/ 26601 h 55817"/>
                <a:gd name="connsiteX1" fmla="*/ 166554 w 199978"/>
                <a:gd name="connsiteY1" fmla="*/ 20651 h 55817"/>
                <a:gd name="connsiteX2" fmla="*/ 137695 w 199978"/>
                <a:gd name="connsiteY2" fmla="*/ 19515 h 55817"/>
                <a:gd name="connsiteX3" fmla="*/ 119754 w 199978"/>
                <a:gd name="connsiteY3" fmla="*/ 10658 h 55817"/>
                <a:gd name="connsiteX4" fmla="*/ 82858 w 199978"/>
                <a:gd name="connsiteY4" fmla="*/ -339 h 55817"/>
                <a:gd name="connsiteX5" fmla="*/ 59722 w 199978"/>
                <a:gd name="connsiteY5" fmla="*/ 2736 h 55817"/>
                <a:gd name="connsiteX6" fmla="*/ 15763 w 199978"/>
                <a:gd name="connsiteY6" fmla="*/ 12596 h 55817"/>
                <a:gd name="connsiteX7" fmla="*/ 5778 w 199978"/>
                <a:gd name="connsiteY7" fmla="*/ 25966 h 55817"/>
                <a:gd name="connsiteX8" fmla="*/ 27981 w 199978"/>
                <a:gd name="connsiteY8" fmla="*/ 42677 h 55817"/>
                <a:gd name="connsiteX9" fmla="*/ 48276 w 199978"/>
                <a:gd name="connsiteY9" fmla="*/ 52705 h 55817"/>
                <a:gd name="connsiteX10" fmla="*/ 81681 w 199978"/>
                <a:gd name="connsiteY10" fmla="*/ 45719 h 55817"/>
                <a:gd name="connsiteX11" fmla="*/ 112570 w 199978"/>
                <a:gd name="connsiteY11" fmla="*/ 49864 h 55817"/>
                <a:gd name="connsiteX12" fmla="*/ 139684 w 199978"/>
                <a:gd name="connsiteY12" fmla="*/ 55479 h 55817"/>
                <a:gd name="connsiteX13" fmla="*/ 168097 w 199978"/>
                <a:gd name="connsiteY13" fmla="*/ 48025 h 55817"/>
                <a:gd name="connsiteX14" fmla="*/ 199919 w 199978"/>
                <a:gd name="connsiteY14" fmla="*/ 35090 h 55817"/>
                <a:gd name="connsiteX15" fmla="*/ 189366 w 199978"/>
                <a:gd name="connsiteY15" fmla="*/ 26668 h 55817"/>
                <a:gd name="connsiteX16" fmla="*/ 189406 w 199978"/>
                <a:gd name="connsiteY16" fmla="*/ 26601 h 5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9978" h="55817">
                  <a:moveTo>
                    <a:pt x="189406" y="26601"/>
                  </a:moveTo>
                  <a:cubicBezTo>
                    <a:pt x="180030" y="23459"/>
                    <a:pt x="170288" y="27169"/>
                    <a:pt x="166554" y="20651"/>
                  </a:cubicBezTo>
                  <a:cubicBezTo>
                    <a:pt x="161521" y="11828"/>
                    <a:pt x="145245" y="18713"/>
                    <a:pt x="137695" y="19515"/>
                  </a:cubicBezTo>
                  <a:cubicBezTo>
                    <a:pt x="126979" y="20651"/>
                    <a:pt x="125072" y="13298"/>
                    <a:pt x="119754" y="10658"/>
                  </a:cubicBezTo>
                  <a:cubicBezTo>
                    <a:pt x="109647" y="5711"/>
                    <a:pt x="94061" y="3973"/>
                    <a:pt x="82858" y="-339"/>
                  </a:cubicBezTo>
                  <a:cubicBezTo>
                    <a:pt x="79976" y="3405"/>
                    <a:pt x="66622" y="1266"/>
                    <a:pt x="59722" y="2736"/>
                  </a:cubicBezTo>
                  <a:cubicBezTo>
                    <a:pt x="45110" y="5778"/>
                    <a:pt x="30863" y="10424"/>
                    <a:pt x="15763" y="12596"/>
                  </a:cubicBezTo>
                  <a:cubicBezTo>
                    <a:pt x="-7860" y="15939"/>
                    <a:pt x="542" y="15939"/>
                    <a:pt x="5778" y="25966"/>
                  </a:cubicBezTo>
                  <a:cubicBezTo>
                    <a:pt x="10365" y="34723"/>
                    <a:pt x="13896" y="37463"/>
                    <a:pt x="27981" y="42677"/>
                  </a:cubicBezTo>
                  <a:cubicBezTo>
                    <a:pt x="30741" y="43680"/>
                    <a:pt x="52091" y="50331"/>
                    <a:pt x="48276" y="52705"/>
                  </a:cubicBezTo>
                  <a:cubicBezTo>
                    <a:pt x="64877" y="55211"/>
                    <a:pt x="76689" y="54777"/>
                    <a:pt x="81681" y="45719"/>
                  </a:cubicBezTo>
                  <a:cubicBezTo>
                    <a:pt x="84076" y="41307"/>
                    <a:pt x="108511" y="47357"/>
                    <a:pt x="112570" y="49864"/>
                  </a:cubicBezTo>
                  <a:cubicBezTo>
                    <a:pt x="122839" y="56114"/>
                    <a:pt x="134894" y="48560"/>
                    <a:pt x="139684" y="55479"/>
                  </a:cubicBezTo>
                  <a:cubicBezTo>
                    <a:pt x="145854" y="48527"/>
                    <a:pt x="156448" y="50766"/>
                    <a:pt x="168097" y="48025"/>
                  </a:cubicBezTo>
                  <a:cubicBezTo>
                    <a:pt x="180274" y="45117"/>
                    <a:pt x="187377" y="38332"/>
                    <a:pt x="199919" y="35090"/>
                  </a:cubicBezTo>
                  <a:cubicBezTo>
                    <a:pt x="196307" y="32617"/>
                    <a:pt x="194602" y="28405"/>
                    <a:pt x="189366" y="26668"/>
                  </a:cubicBezTo>
                  <a:cubicBezTo>
                    <a:pt x="184130" y="24930"/>
                    <a:pt x="193587" y="28038"/>
                    <a:pt x="189406" y="266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793D860D-7875-46EE-86A8-5EF9492AB358}"/>
                </a:ext>
              </a:extLst>
            </p:cNvPr>
            <p:cNvSpPr/>
            <p:nvPr/>
          </p:nvSpPr>
          <p:spPr>
            <a:xfrm>
              <a:off x="6311144" y="3922767"/>
              <a:ext cx="183284" cy="36936"/>
            </a:xfrm>
            <a:custGeom>
              <a:avLst/>
              <a:gdLst>
                <a:gd name="connsiteX0" fmla="*/ 136343 w 183284"/>
                <a:gd name="connsiteY0" fmla="*/ 4659 h 36936"/>
                <a:gd name="connsiteX1" fmla="*/ 117510 w 183284"/>
                <a:gd name="connsiteY1" fmla="*/ 2420 h 36936"/>
                <a:gd name="connsiteX2" fmla="*/ 88772 w 183284"/>
                <a:gd name="connsiteY2" fmla="*/ 1518 h 36936"/>
                <a:gd name="connsiteX3" fmla="*/ 45910 w 183284"/>
                <a:gd name="connsiteY3" fmla="*/ 3155 h 36936"/>
                <a:gd name="connsiteX4" fmla="*/ 27685 w 183284"/>
                <a:gd name="connsiteY4" fmla="*/ 11545 h 36936"/>
                <a:gd name="connsiteX5" fmla="*/ 3331 w 183284"/>
                <a:gd name="connsiteY5" fmla="*/ 15388 h 36936"/>
                <a:gd name="connsiteX6" fmla="*/ 29389 w 183284"/>
                <a:gd name="connsiteY6" fmla="*/ 36011 h 36936"/>
                <a:gd name="connsiteX7" fmla="*/ 59223 w 183284"/>
                <a:gd name="connsiteY7" fmla="*/ 32468 h 36936"/>
                <a:gd name="connsiteX8" fmla="*/ 95753 w 183284"/>
                <a:gd name="connsiteY8" fmla="*/ 28791 h 36936"/>
                <a:gd name="connsiteX9" fmla="*/ 126399 w 183284"/>
                <a:gd name="connsiteY9" fmla="*/ 20469 h 36936"/>
                <a:gd name="connsiteX10" fmla="*/ 173767 w 183284"/>
                <a:gd name="connsiteY10" fmla="*/ 30730 h 36936"/>
                <a:gd name="connsiteX11" fmla="*/ 183225 w 183284"/>
                <a:gd name="connsiteY11" fmla="*/ 12180 h 36936"/>
                <a:gd name="connsiteX12" fmla="*/ 136141 w 183284"/>
                <a:gd name="connsiteY12" fmla="*/ 4659 h 36936"/>
                <a:gd name="connsiteX13" fmla="*/ 136343 w 183284"/>
                <a:gd name="connsiteY13" fmla="*/ 4659 h 3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284" h="36936">
                  <a:moveTo>
                    <a:pt x="136343" y="4659"/>
                  </a:moveTo>
                  <a:cubicBezTo>
                    <a:pt x="129443" y="4659"/>
                    <a:pt x="124166" y="2888"/>
                    <a:pt x="117510" y="2420"/>
                  </a:cubicBezTo>
                  <a:cubicBezTo>
                    <a:pt x="107281" y="1718"/>
                    <a:pt x="99366" y="3623"/>
                    <a:pt x="88772" y="1518"/>
                  </a:cubicBezTo>
                  <a:cubicBezTo>
                    <a:pt x="75418" y="-1123"/>
                    <a:pt x="55854" y="-1257"/>
                    <a:pt x="45910" y="3155"/>
                  </a:cubicBezTo>
                  <a:cubicBezTo>
                    <a:pt x="39455" y="5996"/>
                    <a:pt x="35681" y="9840"/>
                    <a:pt x="27685" y="11545"/>
                  </a:cubicBezTo>
                  <a:cubicBezTo>
                    <a:pt x="20703" y="13216"/>
                    <a:pt x="8607" y="12246"/>
                    <a:pt x="3331" y="15388"/>
                  </a:cubicBezTo>
                  <a:cubicBezTo>
                    <a:pt x="-8846" y="23042"/>
                    <a:pt x="14574" y="34640"/>
                    <a:pt x="29389" y="36011"/>
                  </a:cubicBezTo>
                  <a:cubicBezTo>
                    <a:pt x="42743" y="37214"/>
                    <a:pt x="50618" y="36813"/>
                    <a:pt x="59223" y="32468"/>
                  </a:cubicBezTo>
                  <a:cubicBezTo>
                    <a:pt x="68762" y="27655"/>
                    <a:pt x="84876" y="31097"/>
                    <a:pt x="95753" y="28791"/>
                  </a:cubicBezTo>
                  <a:cubicBezTo>
                    <a:pt x="105049" y="26819"/>
                    <a:pt x="116048" y="18931"/>
                    <a:pt x="126399" y="20469"/>
                  </a:cubicBezTo>
                  <a:cubicBezTo>
                    <a:pt x="143406" y="22942"/>
                    <a:pt x="157085" y="28123"/>
                    <a:pt x="173767" y="30730"/>
                  </a:cubicBezTo>
                  <a:cubicBezTo>
                    <a:pt x="158871" y="23142"/>
                    <a:pt x="176162" y="18263"/>
                    <a:pt x="183225" y="12180"/>
                  </a:cubicBezTo>
                  <a:cubicBezTo>
                    <a:pt x="166989" y="10308"/>
                    <a:pt x="152904" y="4325"/>
                    <a:pt x="136141" y="4659"/>
                  </a:cubicBezTo>
                  <a:cubicBezTo>
                    <a:pt x="125425" y="4826"/>
                    <a:pt x="147181" y="4459"/>
                    <a:pt x="136343" y="465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39FC882F-6375-40BE-81DC-3C917DF23987}"/>
                </a:ext>
              </a:extLst>
            </p:cNvPr>
            <p:cNvSpPr/>
            <p:nvPr/>
          </p:nvSpPr>
          <p:spPr>
            <a:xfrm>
              <a:off x="5471653" y="4099795"/>
              <a:ext cx="98768" cy="104363"/>
            </a:xfrm>
            <a:custGeom>
              <a:avLst/>
              <a:gdLst>
                <a:gd name="connsiteX0" fmla="*/ 79369 w 98768"/>
                <a:gd name="connsiteY0" fmla="*/ 81951 h 104363"/>
                <a:gd name="connsiteX1" fmla="*/ 71738 w 98768"/>
                <a:gd name="connsiteY1" fmla="*/ 73829 h 104363"/>
                <a:gd name="connsiteX2" fmla="*/ 79856 w 98768"/>
                <a:gd name="connsiteY2" fmla="*/ 61295 h 104363"/>
                <a:gd name="connsiteX3" fmla="*/ 76041 w 98768"/>
                <a:gd name="connsiteY3" fmla="*/ 48294 h 104363"/>
                <a:gd name="connsiteX4" fmla="*/ 83225 w 98768"/>
                <a:gd name="connsiteY4" fmla="*/ 33186 h 104363"/>
                <a:gd name="connsiteX5" fmla="*/ 78598 w 98768"/>
                <a:gd name="connsiteY5" fmla="*/ 18045 h 104363"/>
                <a:gd name="connsiteX6" fmla="*/ 95727 w 98768"/>
                <a:gd name="connsiteY6" fmla="*/ 5712 h 104363"/>
                <a:gd name="connsiteX7" fmla="*/ 74580 w 98768"/>
                <a:gd name="connsiteY7" fmla="*/ 732 h 104363"/>
                <a:gd name="connsiteX8" fmla="*/ 43285 w 98768"/>
                <a:gd name="connsiteY8" fmla="*/ 4442 h 104363"/>
                <a:gd name="connsiteX9" fmla="*/ 24330 w 98768"/>
                <a:gd name="connsiteY9" fmla="*/ 2470 h 104363"/>
                <a:gd name="connsiteX10" fmla="*/ 15765 w 98768"/>
                <a:gd name="connsiteY10" fmla="*/ 9656 h 104363"/>
                <a:gd name="connsiteX11" fmla="*/ 19215 w 98768"/>
                <a:gd name="connsiteY11" fmla="*/ 17845 h 104363"/>
                <a:gd name="connsiteX12" fmla="*/ 5009 w 98768"/>
                <a:gd name="connsiteY12" fmla="*/ 56449 h 104363"/>
                <a:gd name="connsiteX13" fmla="*/ 16293 w 98768"/>
                <a:gd name="connsiteY13" fmla="*/ 72492 h 104363"/>
                <a:gd name="connsiteX14" fmla="*/ 24411 w 98768"/>
                <a:gd name="connsiteY14" fmla="*/ 90341 h 104363"/>
                <a:gd name="connsiteX15" fmla="*/ 28470 w 98768"/>
                <a:gd name="connsiteY15" fmla="*/ 103877 h 104363"/>
                <a:gd name="connsiteX16" fmla="*/ 72712 w 98768"/>
                <a:gd name="connsiteY16" fmla="*/ 98396 h 104363"/>
                <a:gd name="connsiteX17" fmla="*/ 79085 w 98768"/>
                <a:gd name="connsiteY17" fmla="*/ 81951 h 10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768" h="104363">
                  <a:moveTo>
                    <a:pt x="79369" y="81951"/>
                  </a:moveTo>
                  <a:cubicBezTo>
                    <a:pt x="91546" y="79979"/>
                    <a:pt x="74904" y="75266"/>
                    <a:pt x="71738" y="73829"/>
                  </a:cubicBezTo>
                  <a:cubicBezTo>
                    <a:pt x="61550" y="69250"/>
                    <a:pt x="84281" y="64404"/>
                    <a:pt x="79856" y="61295"/>
                  </a:cubicBezTo>
                  <a:cubicBezTo>
                    <a:pt x="74215" y="57218"/>
                    <a:pt x="53189" y="49764"/>
                    <a:pt x="76041" y="48294"/>
                  </a:cubicBezTo>
                  <a:cubicBezTo>
                    <a:pt x="79004" y="43451"/>
                    <a:pt x="81399" y="38394"/>
                    <a:pt x="83225" y="33186"/>
                  </a:cubicBezTo>
                  <a:cubicBezTo>
                    <a:pt x="84321" y="28607"/>
                    <a:pt x="72550" y="22157"/>
                    <a:pt x="78598" y="18045"/>
                  </a:cubicBezTo>
                  <a:cubicBezTo>
                    <a:pt x="81318" y="16174"/>
                    <a:pt x="107376" y="7250"/>
                    <a:pt x="95727" y="5712"/>
                  </a:cubicBezTo>
                  <a:cubicBezTo>
                    <a:pt x="86472" y="4509"/>
                    <a:pt x="86310" y="-1407"/>
                    <a:pt x="74580" y="732"/>
                  </a:cubicBezTo>
                  <a:cubicBezTo>
                    <a:pt x="64351" y="2968"/>
                    <a:pt x="53839" y="4211"/>
                    <a:pt x="43285" y="4442"/>
                  </a:cubicBezTo>
                  <a:cubicBezTo>
                    <a:pt x="33706" y="4709"/>
                    <a:pt x="34193" y="-4950"/>
                    <a:pt x="24330" y="2470"/>
                  </a:cubicBezTo>
                  <a:cubicBezTo>
                    <a:pt x="17876" y="7417"/>
                    <a:pt x="15847" y="1267"/>
                    <a:pt x="15765" y="9656"/>
                  </a:cubicBezTo>
                  <a:cubicBezTo>
                    <a:pt x="16090" y="12574"/>
                    <a:pt x="17267" y="15385"/>
                    <a:pt x="19215" y="17845"/>
                  </a:cubicBezTo>
                  <a:cubicBezTo>
                    <a:pt x="24857" y="28540"/>
                    <a:pt x="15156" y="46556"/>
                    <a:pt x="5009" y="56449"/>
                  </a:cubicBezTo>
                  <a:cubicBezTo>
                    <a:pt x="-5139" y="66342"/>
                    <a:pt x="625" y="67278"/>
                    <a:pt x="16293" y="72492"/>
                  </a:cubicBezTo>
                  <a:cubicBezTo>
                    <a:pt x="25953" y="75835"/>
                    <a:pt x="24939" y="84892"/>
                    <a:pt x="24411" y="90341"/>
                  </a:cubicBezTo>
                  <a:cubicBezTo>
                    <a:pt x="24167" y="93683"/>
                    <a:pt x="19418" y="103275"/>
                    <a:pt x="28470" y="103877"/>
                  </a:cubicBezTo>
                  <a:cubicBezTo>
                    <a:pt x="43245" y="104880"/>
                    <a:pt x="58668" y="100535"/>
                    <a:pt x="72712" y="98396"/>
                  </a:cubicBezTo>
                  <a:cubicBezTo>
                    <a:pt x="65609" y="93382"/>
                    <a:pt x="64310" y="84358"/>
                    <a:pt x="79085" y="8195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CB58BE1A-4C75-49BF-A03E-29E07787FA58}"/>
                </a:ext>
              </a:extLst>
            </p:cNvPr>
            <p:cNvSpPr/>
            <p:nvPr/>
          </p:nvSpPr>
          <p:spPr>
            <a:xfrm>
              <a:off x="5865003" y="3830870"/>
              <a:ext cx="134281" cy="60630"/>
            </a:xfrm>
            <a:custGeom>
              <a:avLst/>
              <a:gdLst>
                <a:gd name="connsiteX0" fmla="*/ 43006 w 134281"/>
                <a:gd name="connsiteY0" fmla="*/ 48125 h 60630"/>
                <a:gd name="connsiteX1" fmla="*/ 96909 w 134281"/>
                <a:gd name="connsiteY1" fmla="*/ 60292 h 60630"/>
                <a:gd name="connsiteX2" fmla="*/ 100116 w 134281"/>
                <a:gd name="connsiteY2" fmla="*/ 40237 h 60630"/>
                <a:gd name="connsiteX3" fmla="*/ 110750 w 134281"/>
                <a:gd name="connsiteY3" fmla="*/ 38466 h 60630"/>
                <a:gd name="connsiteX4" fmla="*/ 121669 w 134281"/>
                <a:gd name="connsiteY4" fmla="*/ 31180 h 60630"/>
                <a:gd name="connsiteX5" fmla="*/ 116392 w 134281"/>
                <a:gd name="connsiteY5" fmla="*/ 19515 h 60630"/>
                <a:gd name="connsiteX6" fmla="*/ 126783 w 134281"/>
                <a:gd name="connsiteY6" fmla="*/ 14902 h 60630"/>
                <a:gd name="connsiteX7" fmla="*/ 131735 w 134281"/>
                <a:gd name="connsiteY7" fmla="*/ -339 h 60630"/>
                <a:gd name="connsiteX8" fmla="*/ 75600 w 134281"/>
                <a:gd name="connsiteY8" fmla="*/ 8184 h 60630"/>
                <a:gd name="connsiteX9" fmla="*/ 77264 w 134281"/>
                <a:gd name="connsiteY9" fmla="*/ 16005 h 60630"/>
                <a:gd name="connsiteX10" fmla="*/ 60744 w 134281"/>
                <a:gd name="connsiteY10" fmla="*/ 15471 h 60630"/>
                <a:gd name="connsiteX11" fmla="*/ 34442 w 134281"/>
                <a:gd name="connsiteY11" fmla="*/ 28606 h 60630"/>
                <a:gd name="connsiteX12" fmla="*/ 27095 w 134281"/>
                <a:gd name="connsiteY12" fmla="*/ 40438 h 60630"/>
                <a:gd name="connsiteX13" fmla="*/ -60 w 134281"/>
                <a:gd name="connsiteY13" fmla="*/ 52270 h 60630"/>
                <a:gd name="connsiteX14" fmla="*/ 43006 w 134281"/>
                <a:gd name="connsiteY14" fmla="*/ 47958 h 60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4281" h="60630">
                  <a:moveTo>
                    <a:pt x="43006" y="48125"/>
                  </a:moveTo>
                  <a:cubicBezTo>
                    <a:pt x="55913" y="41040"/>
                    <a:pt x="87370" y="56715"/>
                    <a:pt x="96909" y="60292"/>
                  </a:cubicBezTo>
                  <a:cubicBezTo>
                    <a:pt x="98979" y="53741"/>
                    <a:pt x="100034" y="47006"/>
                    <a:pt x="100116" y="40237"/>
                  </a:cubicBezTo>
                  <a:cubicBezTo>
                    <a:pt x="100116" y="38165"/>
                    <a:pt x="108843" y="38667"/>
                    <a:pt x="110750" y="38466"/>
                  </a:cubicBezTo>
                  <a:cubicBezTo>
                    <a:pt x="121588" y="37363"/>
                    <a:pt x="117204" y="34823"/>
                    <a:pt x="121669" y="31180"/>
                  </a:cubicBezTo>
                  <a:cubicBezTo>
                    <a:pt x="129381" y="24896"/>
                    <a:pt x="124591" y="25598"/>
                    <a:pt x="116392" y="19515"/>
                  </a:cubicBezTo>
                  <a:cubicBezTo>
                    <a:pt x="115053" y="18512"/>
                    <a:pt x="126662" y="14936"/>
                    <a:pt x="126783" y="14902"/>
                  </a:cubicBezTo>
                  <a:cubicBezTo>
                    <a:pt x="136646" y="10390"/>
                    <a:pt x="134901" y="5611"/>
                    <a:pt x="131735" y="-339"/>
                  </a:cubicBezTo>
                  <a:cubicBezTo>
                    <a:pt x="127960" y="5009"/>
                    <a:pt x="85260" y="-2511"/>
                    <a:pt x="75600" y="8184"/>
                  </a:cubicBezTo>
                  <a:cubicBezTo>
                    <a:pt x="72596" y="11527"/>
                    <a:pt x="78806" y="13799"/>
                    <a:pt x="77264" y="16005"/>
                  </a:cubicBezTo>
                  <a:cubicBezTo>
                    <a:pt x="75356" y="18779"/>
                    <a:pt x="61880" y="18345"/>
                    <a:pt x="60744" y="15471"/>
                  </a:cubicBezTo>
                  <a:cubicBezTo>
                    <a:pt x="57659" y="7817"/>
                    <a:pt x="36999" y="26901"/>
                    <a:pt x="34442" y="28606"/>
                  </a:cubicBezTo>
                  <a:cubicBezTo>
                    <a:pt x="29002" y="32182"/>
                    <a:pt x="32006" y="36628"/>
                    <a:pt x="27095" y="40438"/>
                  </a:cubicBezTo>
                  <a:cubicBezTo>
                    <a:pt x="20479" y="45552"/>
                    <a:pt x="9803" y="49061"/>
                    <a:pt x="-60" y="52270"/>
                  </a:cubicBezTo>
                  <a:cubicBezTo>
                    <a:pt x="13213" y="55044"/>
                    <a:pt x="32412" y="53807"/>
                    <a:pt x="43006" y="4795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517B11-B6A9-4934-8D0F-E90281A49120}"/>
                </a:ext>
              </a:extLst>
            </p:cNvPr>
            <p:cNvSpPr/>
            <p:nvPr/>
          </p:nvSpPr>
          <p:spPr>
            <a:xfrm>
              <a:off x="5953073" y="3907544"/>
              <a:ext cx="21928" cy="15575"/>
            </a:xfrm>
            <a:custGeom>
              <a:avLst/>
              <a:gdLst>
                <a:gd name="connsiteX0" fmla="*/ 11275 w 21928"/>
                <a:gd name="connsiteY0" fmla="*/ -339 h 15575"/>
                <a:gd name="connsiteX1" fmla="*/ 154 w 21928"/>
                <a:gd name="connsiteY1" fmla="*/ 14334 h 15575"/>
                <a:gd name="connsiteX2" fmla="*/ 21869 w 21928"/>
                <a:gd name="connsiteY2" fmla="*/ 15237 h 15575"/>
                <a:gd name="connsiteX3" fmla="*/ 11275 w 21928"/>
                <a:gd name="connsiteY3" fmla="*/ -339 h 15575"/>
                <a:gd name="connsiteX4" fmla="*/ 11275 w 21928"/>
                <a:gd name="connsiteY4" fmla="*/ -339 h 1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8" h="15575">
                  <a:moveTo>
                    <a:pt x="11275" y="-339"/>
                  </a:moveTo>
                  <a:cubicBezTo>
                    <a:pt x="3604" y="1543"/>
                    <a:pt x="-1145" y="7833"/>
                    <a:pt x="154" y="14334"/>
                  </a:cubicBezTo>
                  <a:cubicBezTo>
                    <a:pt x="7419" y="14047"/>
                    <a:pt x="14685" y="14348"/>
                    <a:pt x="21869" y="15237"/>
                  </a:cubicBezTo>
                  <a:cubicBezTo>
                    <a:pt x="21301" y="12396"/>
                    <a:pt x="9286" y="1867"/>
                    <a:pt x="11275" y="-339"/>
                  </a:cubicBezTo>
                  <a:cubicBezTo>
                    <a:pt x="4821" y="1633"/>
                    <a:pt x="10707" y="229"/>
                    <a:pt x="1127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07601887-3063-4C52-8C00-2E55AA246096}"/>
                </a:ext>
              </a:extLst>
            </p:cNvPr>
            <p:cNvSpPr/>
            <p:nvPr/>
          </p:nvSpPr>
          <p:spPr>
            <a:xfrm>
              <a:off x="5843409" y="3877581"/>
              <a:ext cx="125644" cy="44646"/>
            </a:xfrm>
            <a:custGeom>
              <a:avLst/>
              <a:gdLst>
                <a:gd name="connsiteX0" fmla="*/ 4040 w 125644"/>
                <a:gd name="connsiteY0" fmla="*/ 13380 h 44646"/>
                <a:gd name="connsiteX1" fmla="*/ 16217 w 125644"/>
                <a:gd name="connsiteY1" fmla="*/ 19463 h 44646"/>
                <a:gd name="connsiteX2" fmla="*/ 39191 w 125644"/>
                <a:gd name="connsiteY2" fmla="*/ 25647 h 44646"/>
                <a:gd name="connsiteX3" fmla="*/ 55427 w 125644"/>
                <a:gd name="connsiteY3" fmla="*/ 33000 h 44646"/>
                <a:gd name="connsiteX4" fmla="*/ 76777 w 125644"/>
                <a:gd name="connsiteY4" fmla="*/ 30693 h 44646"/>
                <a:gd name="connsiteX5" fmla="*/ 87899 w 125644"/>
                <a:gd name="connsiteY5" fmla="*/ 39317 h 44646"/>
                <a:gd name="connsiteX6" fmla="*/ 110060 w 125644"/>
                <a:gd name="connsiteY6" fmla="*/ 44297 h 44646"/>
                <a:gd name="connsiteX7" fmla="*/ 121182 w 125644"/>
                <a:gd name="connsiteY7" fmla="*/ 29624 h 44646"/>
                <a:gd name="connsiteX8" fmla="*/ 119802 w 125644"/>
                <a:gd name="connsiteY8" fmla="*/ 16689 h 44646"/>
                <a:gd name="connsiteX9" fmla="*/ 69958 w 125644"/>
                <a:gd name="connsiteY9" fmla="*/ -23 h 44646"/>
                <a:gd name="connsiteX10" fmla="*/ 39759 w 125644"/>
                <a:gd name="connsiteY10" fmla="*/ 7297 h 44646"/>
                <a:gd name="connsiteX11" fmla="*/ 21778 w 125644"/>
                <a:gd name="connsiteY11" fmla="*/ 5893 h 44646"/>
                <a:gd name="connsiteX12" fmla="*/ -60 w 125644"/>
                <a:gd name="connsiteY12" fmla="*/ 11408 h 44646"/>
                <a:gd name="connsiteX13" fmla="*/ 4284 w 125644"/>
                <a:gd name="connsiteY13" fmla="*/ 13547 h 44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5644" h="44646">
                  <a:moveTo>
                    <a:pt x="4040" y="13380"/>
                  </a:moveTo>
                  <a:cubicBezTo>
                    <a:pt x="4405" y="14483"/>
                    <a:pt x="12726" y="22672"/>
                    <a:pt x="16217" y="19463"/>
                  </a:cubicBezTo>
                  <a:cubicBezTo>
                    <a:pt x="18206" y="17558"/>
                    <a:pt x="35862" y="24945"/>
                    <a:pt x="39191" y="25647"/>
                  </a:cubicBezTo>
                  <a:cubicBezTo>
                    <a:pt x="48445" y="27552"/>
                    <a:pt x="52017" y="28287"/>
                    <a:pt x="55427" y="33000"/>
                  </a:cubicBezTo>
                  <a:cubicBezTo>
                    <a:pt x="60663" y="40286"/>
                    <a:pt x="69796" y="31596"/>
                    <a:pt x="76777" y="30693"/>
                  </a:cubicBezTo>
                  <a:cubicBezTo>
                    <a:pt x="78888" y="30393"/>
                    <a:pt x="78279" y="40487"/>
                    <a:pt x="87899" y="39317"/>
                  </a:cubicBezTo>
                  <a:cubicBezTo>
                    <a:pt x="94637" y="38448"/>
                    <a:pt x="100684" y="44598"/>
                    <a:pt x="110060" y="44297"/>
                  </a:cubicBezTo>
                  <a:cubicBezTo>
                    <a:pt x="108762" y="37796"/>
                    <a:pt x="113510" y="31506"/>
                    <a:pt x="121182" y="29624"/>
                  </a:cubicBezTo>
                  <a:cubicBezTo>
                    <a:pt x="127920" y="22605"/>
                    <a:pt x="126500" y="23775"/>
                    <a:pt x="119802" y="16689"/>
                  </a:cubicBezTo>
                  <a:cubicBezTo>
                    <a:pt x="114282" y="10873"/>
                    <a:pt x="85950" y="-2563"/>
                    <a:pt x="69958" y="-23"/>
                  </a:cubicBezTo>
                  <a:cubicBezTo>
                    <a:pt x="59364" y="1548"/>
                    <a:pt x="51652" y="6094"/>
                    <a:pt x="39759" y="7297"/>
                  </a:cubicBezTo>
                  <a:cubicBezTo>
                    <a:pt x="33711" y="7915"/>
                    <a:pt x="27582" y="7437"/>
                    <a:pt x="21778" y="5893"/>
                  </a:cubicBezTo>
                  <a:cubicBezTo>
                    <a:pt x="14756" y="8377"/>
                    <a:pt x="7449" y="10228"/>
                    <a:pt x="-60" y="11408"/>
                  </a:cubicBezTo>
                  <a:cubicBezTo>
                    <a:pt x="1645" y="11645"/>
                    <a:pt x="3228" y="12411"/>
                    <a:pt x="4284" y="1354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45AE5B8A-3284-40D6-9261-45E997240176}"/>
                </a:ext>
              </a:extLst>
            </p:cNvPr>
            <p:cNvSpPr/>
            <p:nvPr/>
          </p:nvSpPr>
          <p:spPr>
            <a:xfrm>
              <a:off x="6423857" y="3958679"/>
              <a:ext cx="287585" cy="102513"/>
            </a:xfrm>
            <a:custGeom>
              <a:avLst/>
              <a:gdLst>
                <a:gd name="connsiteX0" fmla="*/ 257834 w 287585"/>
                <a:gd name="connsiteY0" fmla="*/ 69486 h 102513"/>
                <a:gd name="connsiteX1" fmla="*/ 240908 w 287585"/>
                <a:gd name="connsiteY1" fmla="*/ 34793 h 102513"/>
                <a:gd name="connsiteX2" fmla="*/ 213469 w 287585"/>
                <a:gd name="connsiteY2" fmla="*/ 9457 h 102513"/>
                <a:gd name="connsiteX3" fmla="*/ 191226 w 287585"/>
                <a:gd name="connsiteY3" fmla="*/ 1335 h 102513"/>
                <a:gd name="connsiteX4" fmla="*/ 169429 w 287585"/>
                <a:gd name="connsiteY4" fmla="*/ 6483 h 102513"/>
                <a:gd name="connsiteX5" fmla="*/ 142275 w 287585"/>
                <a:gd name="connsiteY5" fmla="*/ 8889 h 102513"/>
                <a:gd name="connsiteX6" fmla="*/ 119220 w 287585"/>
                <a:gd name="connsiteY6" fmla="*/ 4110 h 102513"/>
                <a:gd name="connsiteX7" fmla="*/ 74003 w 287585"/>
                <a:gd name="connsiteY7" fmla="*/ -302 h 102513"/>
                <a:gd name="connsiteX8" fmla="*/ 44616 w 287585"/>
                <a:gd name="connsiteY8" fmla="*/ 12265 h 102513"/>
                <a:gd name="connsiteX9" fmla="*/ 17542 w 287585"/>
                <a:gd name="connsiteY9" fmla="*/ 34291 h 102513"/>
                <a:gd name="connsiteX10" fmla="*/ 6259 w 287585"/>
                <a:gd name="connsiteY10" fmla="*/ 49131 h 102513"/>
                <a:gd name="connsiteX11" fmla="*/ 18436 w 287585"/>
                <a:gd name="connsiteY11" fmla="*/ 58156 h 102513"/>
                <a:gd name="connsiteX12" fmla="*/ 20749 w 287585"/>
                <a:gd name="connsiteY12" fmla="*/ 65743 h 102513"/>
                <a:gd name="connsiteX13" fmla="*/ 49690 w 287585"/>
                <a:gd name="connsiteY13" fmla="*/ 72427 h 102513"/>
                <a:gd name="connsiteX14" fmla="*/ 58944 w 287585"/>
                <a:gd name="connsiteY14" fmla="*/ 79814 h 102513"/>
                <a:gd name="connsiteX15" fmla="*/ 74084 w 287585"/>
                <a:gd name="connsiteY15" fmla="*/ 89641 h 102513"/>
                <a:gd name="connsiteX16" fmla="*/ 161271 w 287585"/>
                <a:gd name="connsiteY16" fmla="*/ 94788 h 102513"/>
                <a:gd name="connsiteX17" fmla="*/ 207056 w 287585"/>
                <a:gd name="connsiteY17" fmla="*/ 90643 h 102513"/>
                <a:gd name="connsiteX18" fmla="*/ 251502 w 287585"/>
                <a:gd name="connsiteY18" fmla="*/ 102174 h 102513"/>
                <a:gd name="connsiteX19" fmla="*/ 255886 w 287585"/>
                <a:gd name="connsiteY19" fmla="*/ 86432 h 102513"/>
                <a:gd name="connsiteX20" fmla="*/ 280240 w 287585"/>
                <a:gd name="connsiteY20" fmla="*/ 80115 h 102513"/>
                <a:gd name="connsiteX21" fmla="*/ 280240 w 287585"/>
                <a:gd name="connsiteY21" fmla="*/ 67949 h 102513"/>
                <a:gd name="connsiteX22" fmla="*/ 257469 w 287585"/>
                <a:gd name="connsiteY22" fmla="*/ 69319 h 102513"/>
                <a:gd name="connsiteX23" fmla="*/ 257834 w 287585"/>
                <a:gd name="connsiteY23" fmla="*/ 69486 h 10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7585" h="102513">
                  <a:moveTo>
                    <a:pt x="257834" y="69486"/>
                  </a:moveTo>
                  <a:cubicBezTo>
                    <a:pt x="227067" y="65342"/>
                    <a:pt x="249229" y="45120"/>
                    <a:pt x="240908" y="34793"/>
                  </a:cubicBezTo>
                  <a:cubicBezTo>
                    <a:pt x="233643" y="25868"/>
                    <a:pt x="221709" y="18081"/>
                    <a:pt x="213469" y="9457"/>
                  </a:cubicBezTo>
                  <a:cubicBezTo>
                    <a:pt x="206610" y="2171"/>
                    <a:pt x="207137" y="-2408"/>
                    <a:pt x="191226" y="1335"/>
                  </a:cubicBezTo>
                  <a:cubicBezTo>
                    <a:pt x="183514" y="3140"/>
                    <a:pt x="179496" y="6984"/>
                    <a:pt x="169429" y="6483"/>
                  </a:cubicBezTo>
                  <a:cubicBezTo>
                    <a:pt x="158632" y="5948"/>
                    <a:pt x="151732" y="9223"/>
                    <a:pt x="142275" y="8889"/>
                  </a:cubicBezTo>
                  <a:cubicBezTo>
                    <a:pt x="134847" y="8655"/>
                    <a:pt x="127703" y="4477"/>
                    <a:pt x="119220" y="4110"/>
                  </a:cubicBezTo>
                  <a:cubicBezTo>
                    <a:pt x="103430" y="3408"/>
                    <a:pt x="90198" y="-770"/>
                    <a:pt x="74003" y="-302"/>
                  </a:cubicBezTo>
                  <a:cubicBezTo>
                    <a:pt x="77778" y="3876"/>
                    <a:pt x="48797" y="8789"/>
                    <a:pt x="44616" y="12265"/>
                  </a:cubicBezTo>
                  <a:cubicBezTo>
                    <a:pt x="35930" y="19384"/>
                    <a:pt x="29638" y="28509"/>
                    <a:pt x="17542" y="34291"/>
                  </a:cubicBezTo>
                  <a:cubicBezTo>
                    <a:pt x="1306" y="42045"/>
                    <a:pt x="-6405" y="38068"/>
                    <a:pt x="6259" y="49131"/>
                  </a:cubicBezTo>
                  <a:cubicBezTo>
                    <a:pt x="10318" y="52808"/>
                    <a:pt x="6989" y="57755"/>
                    <a:pt x="18436" y="58156"/>
                  </a:cubicBezTo>
                  <a:cubicBezTo>
                    <a:pt x="24402" y="58356"/>
                    <a:pt x="21074" y="64205"/>
                    <a:pt x="20749" y="65743"/>
                  </a:cubicBezTo>
                  <a:cubicBezTo>
                    <a:pt x="19653" y="71191"/>
                    <a:pt x="42384" y="71124"/>
                    <a:pt x="49690" y="72427"/>
                  </a:cubicBezTo>
                  <a:cubicBezTo>
                    <a:pt x="58295" y="74132"/>
                    <a:pt x="56874" y="75369"/>
                    <a:pt x="58944" y="79814"/>
                  </a:cubicBezTo>
                  <a:cubicBezTo>
                    <a:pt x="61014" y="84259"/>
                    <a:pt x="66738" y="85997"/>
                    <a:pt x="74084" y="89641"/>
                  </a:cubicBezTo>
                  <a:cubicBezTo>
                    <a:pt x="85936" y="95423"/>
                    <a:pt x="148891" y="97930"/>
                    <a:pt x="161271" y="94788"/>
                  </a:cubicBezTo>
                  <a:cubicBezTo>
                    <a:pt x="176654" y="90777"/>
                    <a:pt x="188547" y="88437"/>
                    <a:pt x="207056" y="90643"/>
                  </a:cubicBezTo>
                  <a:cubicBezTo>
                    <a:pt x="224916" y="92849"/>
                    <a:pt x="235104" y="98230"/>
                    <a:pt x="251502" y="102174"/>
                  </a:cubicBezTo>
                  <a:cubicBezTo>
                    <a:pt x="254343" y="96893"/>
                    <a:pt x="251218" y="91613"/>
                    <a:pt x="255886" y="86432"/>
                  </a:cubicBezTo>
                  <a:cubicBezTo>
                    <a:pt x="261974" y="79747"/>
                    <a:pt x="269239" y="81820"/>
                    <a:pt x="280240" y="80115"/>
                  </a:cubicBezTo>
                  <a:cubicBezTo>
                    <a:pt x="292416" y="78276"/>
                    <a:pt x="287140" y="71057"/>
                    <a:pt x="280240" y="67949"/>
                  </a:cubicBezTo>
                  <a:cubicBezTo>
                    <a:pt x="271513" y="63904"/>
                    <a:pt x="266155" y="70522"/>
                    <a:pt x="257469" y="69319"/>
                  </a:cubicBezTo>
                  <a:cubicBezTo>
                    <a:pt x="251218" y="68584"/>
                    <a:pt x="260675" y="69854"/>
                    <a:pt x="257834" y="6948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AC400B85-B3FF-46A9-927F-928E96CE5AA2}"/>
                </a:ext>
              </a:extLst>
            </p:cNvPr>
            <p:cNvSpPr/>
            <p:nvPr/>
          </p:nvSpPr>
          <p:spPr>
            <a:xfrm>
              <a:off x="6628172" y="3957177"/>
              <a:ext cx="95700" cy="66045"/>
            </a:xfrm>
            <a:custGeom>
              <a:avLst/>
              <a:gdLst>
                <a:gd name="connsiteX0" fmla="*/ 71785 w 95700"/>
                <a:gd name="connsiteY0" fmla="*/ 18513 h 66045"/>
                <a:gd name="connsiteX1" fmla="*/ 44955 w 95700"/>
                <a:gd name="connsiteY1" fmla="*/ 6948 h 66045"/>
                <a:gd name="connsiteX2" fmla="*/ -60 w 95700"/>
                <a:gd name="connsiteY2" fmla="*/ 832 h 66045"/>
                <a:gd name="connsiteX3" fmla="*/ 36471 w 95700"/>
                <a:gd name="connsiteY3" fmla="*/ 36294 h 66045"/>
                <a:gd name="connsiteX4" fmla="*/ 42235 w 95700"/>
                <a:gd name="connsiteY4" fmla="*/ 65707 h 66045"/>
                <a:gd name="connsiteX5" fmla="*/ 61880 w 95700"/>
                <a:gd name="connsiteY5" fmla="*/ 51770 h 66045"/>
                <a:gd name="connsiteX6" fmla="*/ 83190 w 95700"/>
                <a:gd name="connsiteY6" fmla="*/ 46756 h 66045"/>
                <a:gd name="connsiteX7" fmla="*/ 71663 w 95700"/>
                <a:gd name="connsiteY7" fmla="*/ 18513 h 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00" h="66045">
                  <a:moveTo>
                    <a:pt x="71785" y="18513"/>
                  </a:moveTo>
                  <a:cubicBezTo>
                    <a:pt x="67726" y="10057"/>
                    <a:pt x="55549" y="10959"/>
                    <a:pt x="44955" y="6948"/>
                  </a:cubicBezTo>
                  <a:cubicBezTo>
                    <a:pt x="26202" y="-70"/>
                    <a:pt x="23320" y="-1809"/>
                    <a:pt x="-60" y="832"/>
                  </a:cubicBezTo>
                  <a:cubicBezTo>
                    <a:pt x="10778" y="12998"/>
                    <a:pt x="26649" y="24061"/>
                    <a:pt x="36471" y="36294"/>
                  </a:cubicBezTo>
                  <a:cubicBezTo>
                    <a:pt x="44224" y="45887"/>
                    <a:pt x="24660" y="56850"/>
                    <a:pt x="42235" y="65707"/>
                  </a:cubicBezTo>
                  <a:cubicBezTo>
                    <a:pt x="47958" y="62365"/>
                    <a:pt x="61434" y="56750"/>
                    <a:pt x="61880" y="51770"/>
                  </a:cubicBezTo>
                  <a:cubicBezTo>
                    <a:pt x="62571" y="44015"/>
                    <a:pt x="70729" y="43948"/>
                    <a:pt x="83190" y="46756"/>
                  </a:cubicBezTo>
                  <a:cubicBezTo>
                    <a:pt x="115662" y="54176"/>
                    <a:pt x="74707" y="24663"/>
                    <a:pt x="71663" y="1851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BF0541A6-B82E-4DD5-B98A-3C33494ED669}"/>
                </a:ext>
              </a:extLst>
            </p:cNvPr>
            <p:cNvSpPr/>
            <p:nvPr/>
          </p:nvSpPr>
          <p:spPr>
            <a:xfrm>
              <a:off x="6475048" y="4042872"/>
              <a:ext cx="200289" cy="62244"/>
            </a:xfrm>
            <a:custGeom>
              <a:avLst/>
              <a:gdLst>
                <a:gd name="connsiteX0" fmla="*/ 155946 w 200289"/>
                <a:gd name="connsiteY0" fmla="*/ 6617 h 62244"/>
                <a:gd name="connsiteX1" fmla="*/ 110161 w 200289"/>
                <a:gd name="connsiteY1" fmla="*/ 10762 h 62244"/>
                <a:gd name="connsiteX2" fmla="*/ 56947 w 200289"/>
                <a:gd name="connsiteY2" fmla="*/ 9826 h 62244"/>
                <a:gd name="connsiteX3" fmla="*/ 14004 w 200289"/>
                <a:gd name="connsiteY3" fmla="*/ 835 h 62244"/>
                <a:gd name="connsiteX4" fmla="*/ 1258 w 200289"/>
                <a:gd name="connsiteY4" fmla="*/ 3222 h 62244"/>
                <a:gd name="connsiteX5" fmla="*/ -41 w 200289"/>
                <a:gd name="connsiteY5" fmla="*/ 5949 h 62244"/>
                <a:gd name="connsiteX6" fmla="*/ 15505 w 200289"/>
                <a:gd name="connsiteY6" fmla="*/ 20956 h 62244"/>
                <a:gd name="connsiteX7" fmla="*/ 4424 w 200289"/>
                <a:gd name="connsiteY7" fmla="*/ 39607 h 62244"/>
                <a:gd name="connsiteX8" fmla="*/ 38276 w 200289"/>
                <a:gd name="connsiteY8" fmla="*/ 55249 h 62244"/>
                <a:gd name="connsiteX9" fmla="*/ 91043 w 200289"/>
                <a:gd name="connsiteY9" fmla="*/ 60831 h 62244"/>
                <a:gd name="connsiteX10" fmla="*/ 108983 w 200289"/>
                <a:gd name="connsiteY10" fmla="*/ 61800 h 62244"/>
                <a:gd name="connsiteX11" fmla="*/ 130212 w 200289"/>
                <a:gd name="connsiteY11" fmla="*/ 55416 h 62244"/>
                <a:gd name="connsiteX12" fmla="*/ 169219 w 200289"/>
                <a:gd name="connsiteY12" fmla="*/ 46492 h 62244"/>
                <a:gd name="connsiteX13" fmla="*/ 172750 w 200289"/>
                <a:gd name="connsiteY13" fmla="*/ 31952 h 62244"/>
                <a:gd name="connsiteX14" fmla="*/ 200230 w 200289"/>
                <a:gd name="connsiteY14" fmla="*/ 18149 h 62244"/>
                <a:gd name="connsiteX15" fmla="*/ 155783 w 200289"/>
                <a:gd name="connsiteY15" fmla="*/ 6617 h 62244"/>
                <a:gd name="connsiteX16" fmla="*/ 155946 w 200289"/>
                <a:gd name="connsiteY16" fmla="*/ 6617 h 6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289" h="62244">
                  <a:moveTo>
                    <a:pt x="155946" y="6617"/>
                  </a:moveTo>
                  <a:cubicBezTo>
                    <a:pt x="137437" y="4411"/>
                    <a:pt x="125544" y="6617"/>
                    <a:pt x="110161" y="10762"/>
                  </a:cubicBezTo>
                  <a:cubicBezTo>
                    <a:pt x="97131" y="14104"/>
                    <a:pt x="71519" y="10996"/>
                    <a:pt x="56947" y="9826"/>
                  </a:cubicBezTo>
                  <a:cubicBezTo>
                    <a:pt x="38560" y="8355"/>
                    <a:pt x="28048" y="6684"/>
                    <a:pt x="14004" y="835"/>
                  </a:cubicBezTo>
                  <a:cubicBezTo>
                    <a:pt x="9660" y="-1408"/>
                    <a:pt x="3978" y="-341"/>
                    <a:pt x="1258" y="3222"/>
                  </a:cubicBezTo>
                  <a:cubicBezTo>
                    <a:pt x="609" y="4054"/>
                    <a:pt x="162" y="4980"/>
                    <a:pt x="-41" y="5949"/>
                  </a:cubicBezTo>
                  <a:cubicBezTo>
                    <a:pt x="-609" y="11798"/>
                    <a:pt x="11812" y="15709"/>
                    <a:pt x="15505" y="20956"/>
                  </a:cubicBezTo>
                  <a:cubicBezTo>
                    <a:pt x="18103" y="24666"/>
                    <a:pt x="-9620" y="31485"/>
                    <a:pt x="4424" y="39607"/>
                  </a:cubicBezTo>
                  <a:cubicBezTo>
                    <a:pt x="16601" y="46759"/>
                    <a:pt x="20052" y="54981"/>
                    <a:pt x="38276" y="55249"/>
                  </a:cubicBezTo>
                  <a:cubicBezTo>
                    <a:pt x="57394" y="55583"/>
                    <a:pt x="72696" y="58825"/>
                    <a:pt x="91043" y="60831"/>
                  </a:cubicBezTo>
                  <a:cubicBezTo>
                    <a:pt x="96969" y="61770"/>
                    <a:pt x="102976" y="62097"/>
                    <a:pt x="108983" y="61800"/>
                  </a:cubicBezTo>
                  <a:cubicBezTo>
                    <a:pt x="118644" y="60797"/>
                    <a:pt x="115640" y="55416"/>
                    <a:pt x="130212" y="55416"/>
                  </a:cubicBezTo>
                  <a:cubicBezTo>
                    <a:pt x="123677" y="40576"/>
                    <a:pt x="191299" y="62535"/>
                    <a:pt x="169219" y="46492"/>
                  </a:cubicBezTo>
                  <a:cubicBezTo>
                    <a:pt x="159193" y="39205"/>
                    <a:pt x="165160" y="36665"/>
                    <a:pt x="172750" y="31952"/>
                  </a:cubicBezTo>
                  <a:cubicBezTo>
                    <a:pt x="178392" y="28610"/>
                    <a:pt x="198159" y="21925"/>
                    <a:pt x="200230" y="18149"/>
                  </a:cubicBezTo>
                  <a:cubicBezTo>
                    <a:pt x="183994" y="14205"/>
                    <a:pt x="173643" y="8823"/>
                    <a:pt x="155783" y="6617"/>
                  </a:cubicBezTo>
                  <a:cubicBezTo>
                    <a:pt x="148234" y="5715"/>
                    <a:pt x="163496" y="7553"/>
                    <a:pt x="155946" y="661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6C492210-D1A5-48D2-8992-7F5842E4E6A7}"/>
                </a:ext>
              </a:extLst>
            </p:cNvPr>
            <p:cNvSpPr/>
            <p:nvPr/>
          </p:nvSpPr>
          <p:spPr>
            <a:xfrm>
              <a:off x="6415335" y="4078606"/>
              <a:ext cx="83118" cy="31284"/>
            </a:xfrm>
            <a:custGeom>
              <a:avLst/>
              <a:gdLst>
                <a:gd name="connsiteX0" fmla="*/ 18027 w 83118"/>
                <a:gd name="connsiteY0" fmla="*/ 30946 h 31284"/>
                <a:gd name="connsiteX1" fmla="*/ 36090 w 83118"/>
                <a:gd name="connsiteY1" fmla="*/ 30946 h 31284"/>
                <a:gd name="connsiteX2" fmla="*/ 51514 w 83118"/>
                <a:gd name="connsiteY2" fmla="*/ 26400 h 31284"/>
                <a:gd name="connsiteX3" fmla="*/ 67141 w 83118"/>
                <a:gd name="connsiteY3" fmla="*/ 25197 h 31284"/>
                <a:gd name="connsiteX4" fmla="*/ 61743 w 83118"/>
                <a:gd name="connsiteY4" fmla="*/ -339 h 31284"/>
                <a:gd name="connsiteX5" fmla="*/ 4389 w 83118"/>
                <a:gd name="connsiteY5" fmla="*/ 2302 h 31284"/>
                <a:gd name="connsiteX6" fmla="*/ 18027 w 83118"/>
                <a:gd name="connsiteY6" fmla="*/ 30946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18" h="31284">
                  <a:moveTo>
                    <a:pt x="18027" y="30946"/>
                  </a:moveTo>
                  <a:cubicBezTo>
                    <a:pt x="24035" y="30612"/>
                    <a:pt x="30083" y="30612"/>
                    <a:pt x="36090" y="30946"/>
                  </a:cubicBezTo>
                  <a:cubicBezTo>
                    <a:pt x="43477" y="30712"/>
                    <a:pt x="45832" y="28105"/>
                    <a:pt x="51514" y="26400"/>
                  </a:cubicBezTo>
                  <a:cubicBezTo>
                    <a:pt x="54721" y="25464"/>
                    <a:pt x="63082" y="25966"/>
                    <a:pt x="67141" y="25197"/>
                  </a:cubicBezTo>
                  <a:cubicBezTo>
                    <a:pt x="107041" y="17509"/>
                    <a:pt x="59023" y="11827"/>
                    <a:pt x="61743" y="-339"/>
                  </a:cubicBezTo>
                  <a:cubicBezTo>
                    <a:pt x="50540" y="62"/>
                    <a:pt x="13360" y="5911"/>
                    <a:pt x="4389" y="2302"/>
                  </a:cubicBezTo>
                  <a:cubicBezTo>
                    <a:pt x="-3810" y="14836"/>
                    <a:pt x="-1455" y="22289"/>
                    <a:pt x="18027" y="3094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2A06A728-3360-4D85-AD9C-9D8A87705C5E}"/>
                </a:ext>
              </a:extLst>
            </p:cNvPr>
            <p:cNvSpPr/>
            <p:nvPr/>
          </p:nvSpPr>
          <p:spPr>
            <a:xfrm>
              <a:off x="6479265" y="3873979"/>
              <a:ext cx="581597" cy="183001"/>
            </a:xfrm>
            <a:custGeom>
              <a:avLst/>
              <a:gdLst>
                <a:gd name="connsiteX0" fmla="*/ 514155 w 581597"/>
                <a:gd name="connsiteY0" fmla="*/ 129954 h 183001"/>
                <a:gd name="connsiteX1" fmla="*/ 549752 w 581597"/>
                <a:gd name="connsiteY1" fmla="*/ 124706 h 183001"/>
                <a:gd name="connsiteX2" fmla="*/ 567246 w 581597"/>
                <a:gd name="connsiteY2" fmla="*/ 126310 h 183001"/>
                <a:gd name="connsiteX3" fmla="*/ 571995 w 581597"/>
                <a:gd name="connsiteY3" fmla="*/ 114378 h 183001"/>
                <a:gd name="connsiteX4" fmla="*/ 577475 w 581597"/>
                <a:gd name="connsiteY4" fmla="*/ 108061 h 183001"/>
                <a:gd name="connsiteX5" fmla="*/ 576054 w 581597"/>
                <a:gd name="connsiteY5" fmla="*/ 99405 h 183001"/>
                <a:gd name="connsiteX6" fmla="*/ 532664 w 581597"/>
                <a:gd name="connsiteY6" fmla="*/ 78949 h 183001"/>
                <a:gd name="connsiteX7" fmla="*/ 498812 w 581597"/>
                <a:gd name="connsiteY7" fmla="*/ 65346 h 183001"/>
                <a:gd name="connsiteX8" fmla="*/ 471942 w 581597"/>
                <a:gd name="connsiteY8" fmla="*/ 65346 h 183001"/>
                <a:gd name="connsiteX9" fmla="*/ 458384 w 581597"/>
                <a:gd name="connsiteY9" fmla="*/ 61034 h 183001"/>
                <a:gd name="connsiteX10" fmla="*/ 442148 w 581597"/>
                <a:gd name="connsiteY10" fmla="*/ 58394 h 183001"/>
                <a:gd name="connsiteX11" fmla="*/ 413735 w 581597"/>
                <a:gd name="connsiteY11" fmla="*/ 38340 h 183001"/>
                <a:gd name="connsiteX12" fmla="*/ 392792 w 581597"/>
                <a:gd name="connsiteY12" fmla="*/ 14609 h 183001"/>
                <a:gd name="connsiteX13" fmla="*/ 352526 w 581597"/>
                <a:gd name="connsiteY13" fmla="*/ 7089 h 183001"/>
                <a:gd name="connsiteX14" fmla="*/ 331785 w 581597"/>
                <a:gd name="connsiteY14" fmla="*/ 9328 h 183001"/>
                <a:gd name="connsiteX15" fmla="*/ 320420 w 581597"/>
                <a:gd name="connsiteY15" fmla="*/ 8927 h 183001"/>
                <a:gd name="connsiteX16" fmla="*/ 302966 w 581597"/>
                <a:gd name="connsiteY16" fmla="*/ 7891 h 183001"/>
                <a:gd name="connsiteX17" fmla="*/ 274554 w 581597"/>
                <a:gd name="connsiteY17" fmla="*/ 17483 h 183001"/>
                <a:gd name="connsiteX18" fmla="*/ 238023 w 581597"/>
                <a:gd name="connsiteY18" fmla="*/ 19689 h 183001"/>
                <a:gd name="connsiteX19" fmla="*/ 222030 w 581597"/>
                <a:gd name="connsiteY19" fmla="*/ 14709 h 183001"/>
                <a:gd name="connsiteX20" fmla="*/ 197270 w 581597"/>
                <a:gd name="connsiteY20" fmla="*/ 12035 h 183001"/>
                <a:gd name="connsiteX21" fmla="*/ 180060 w 581597"/>
                <a:gd name="connsiteY21" fmla="*/ 11601 h 183001"/>
                <a:gd name="connsiteX22" fmla="*/ 147589 w 581597"/>
                <a:gd name="connsiteY22" fmla="*/ 7256 h 183001"/>
                <a:gd name="connsiteX23" fmla="*/ 96851 w 581597"/>
                <a:gd name="connsiteY23" fmla="*/ -231 h 183001"/>
                <a:gd name="connsiteX24" fmla="*/ 46845 w 581597"/>
                <a:gd name="connsiteY24" fmla="*/ 6086 h 183001"/>
                <a:gd name="connsiteX25" fmla="*/ 59022 w 581597"/>
                <a:gd name="connsiteY25" fmla="*/ 21795 h 183001"/>
                <a:gd name="connsiteX26" fmla="*/ 44003 w 581597"/>
                <a:gd name="connsiteY26" fmla="*/ 35666 h 183001"/>
                <a:gd name="connsiteX27" fmla="*/ 18432 w 581597"/>
                <a:gd name="connsiteY27" fmla="*/ 47197 h 183001"/>
                <a:gd name="connsiteX28" fmla="*/ 14698 w 581597"/>
                <a:gd name="connsiteY28" fmla="*/ 61302 h 183001"/>
                <a:gd name="connsiteX29" fmla="*/ 1587 w 581597"/>
                <a:gd name="connsiteY29" fmla="*/ 76543 h 183001"/>
                <a:gd name="connsiteX30" fmla="*/ 40391 w 581597"/>
                <a:gd name="connsiteY30" fmla="*/ 85367 h 183001"/>
                <a:gd name="connsiteX31" fmla="*/ 83010 w 581597"/>
                <a:gd name="connsiteY31" fmla="*/ 92553 h 183001"/>
                <a:gd name="connsiteX32" fmla="*/ 127903 w 581597"/>
                <a:gd name="connsiteY32" fmla="*/ 89210 h 183001"/>
                <a:gd name="connsiteX33" fmla="*/ 157695 w 581597"/>
                <a:gd name="connsiteY33" fmla="*/ 83060 h 183001"/>
                <a:gd name="connsiteX34" fmla="*/ 193942 w 581597"/>
                <a:gd name="connsiteY34" fmla="*/ 90079 h 183001"/>
                <a:gd name="connsiteX35" fmla="*/ 220772 w 581597"/>
                <a:gd name="connsiteY35" fmla="*/ 101644 h 183001"/>
                <a:gd name="connsiteX36" fmla="*/ 244476 w 581597"/>
                <a:gd name="connsiteY36" fmla="*/ 126076 h 183001"/>
                <a:gd name="connsiteX37" fmla="*/ 224182 w 581597"/>
                <a:gd name="connsiteY37" fmla="*/ 128149 h 183001"/>
                <a:gd name="connsiteX38" fmla="*/ 207377 w 581597"/>
                <a:gd name="connsiteY38" fmla="*/ 138777 h 183001"/>
                <a:gd name="connsiteX39" fmla="*/ 195850 w 581597"/>
                <a:gd name="connsiteY39" fmla="*/ 152882 h 183001"/>
                <a:gd name="connsiteX40" fmla="*/ 232096 w 581597"/>
                <a:gd name="connsiteY40" fmla="*/ 156225 h 183001"/>
                <a:gd name="connsiteX41" fmla="*/ 254218 w 581597"/>
                <a:gd name="connsiteY41" fmla="*/ 142187 h 183001"/>
                <a:gd name="connsiteX42" fmla="*/ 285066 w 581597"/>
                <a:gd name="connsiteY42" fmla="*/ 128817 h 183001"/>
                <a:gd name="connsiteX43" fmla="*/ 319892 w 581597"/>
                <a:gd name="connsiteY43" fmla="*/ 132694 h 183001"/>
                <a:gd name="connsiteX44" fmla="*/ 325453 w 581597"/>
                <a:gd name="connsiteY44" fmla="*/ 142220 h 183001"/>
                <a:gd name="connsiteX45" fmla="*/ 352486 w 581597"/>
                <a:gd name="connsiteY45" fmla="*/ 153183 h 183001"/>
                <a:gd name="connsiteX46" fmla="*/ 324397 w 581597"/>
                <a:gd name="connsiteY46" fmla="*/ 157595 h 183001"/>
                <a:gd name="connsiteX47" fmla="*/ 355976 w 581597"/>
                <a:gd name="connsiteY47" fmla="*/ 167823 h 183001"/>
                <a:gd name="connsiteX48" fmla="*/ 366611 w 581597"/>
                <a:gd name="connsiteY48" fmla="*/ 182562 h 183001"/>
                <a:gd name="connsiteX49" fmla="*/ 419865 w 581597"/>
                <a:gd name="connsiteY49" fmla="*/ 174407 h 183001"/>
                <a:gd name="connsiteX50" fmla="*/ 457573 w 581597"/>
                <a:gd name="connsiteY50" fmla="*/ 175711 h 183001"/>
                <a:gd name="connsiteX51" fmla="*/ 425750 w 581597"/>
                <a:gd name="connsiteY51" fmla="*/ 168391 h 183001"/>
                <a:gd name="connsiteX52" fmla="*/ 401397 w 581597"/>
                <a:gd name="connsiteY52" fmla="*/ 155322 h 183001"/>
                <a:gd name="connsiteX53" fmla="*/ 419946 w 581597"/>
                <a:gd name="connsiteY53" fmla="*/ 145462 h 183001"/>
                <a:gd name="connsiteX54" fmla="*/ 468654 w 581597"/>
                <a:gd name="connsiteY54" fmla="*/ 141518 h 183001"/>
                <a:gd name="connsiteX55" fmla="*/ 502099 w 581597"/>
                <a:gd name="connsiteY55" fmla="*/ 138176 h 183001"/>
                <a:gd name="connsiteX56" fmla="*/ 514276 w 581597"/>
                <a:gd name="connsiteY56" fmla="*/ 130020 h 18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1597" h="183001">
                  <a:moveTo>
                    <a:pt x="514155" y="129954"/>
                  </a:moveTo>
                  <a:cubicBezTo>
                    <a:pt x="528929" y="130254"/>
                    <a:pt x="532704" y="121899"/>
                    <a:pt x="549752" y="124706"/>
                  </a:cubicBezTo>
                  <a:cubicBezTo>
                    <a:pt x="551051" y="124940"/>
                    <a:pt x="567002" y="128049"/>
                    <a:pt x="567246" y="126310"/>
                  </a:cubicBezTo>
                  <a:cubicBezTo>
                    <a:pt x="567936" y="121698"/>
                    <a:pt x="578571" y="119425"/>
                    <a:pt x="571995" y="114378"/>
                  </a:cubicBezTo>
                  <a:cubicBezTo>
                    <a:pt x="565419" y="109331"/>
                    <a:pt x="569194" y="109331"/>
                    <a:pt x="577475" y="108061"/>
                  </a:cubicBezTo>
                  <a:cubicBezTo>
                    <a:pt x="587297" y="106557"/>
                    <a:pt x="568180" y="102279"/>
                    <a:pt x="576054" y="99405"/>
                  </a:cubicBezTo>
                  <a:cubicBezTo>
                    <a:pt x="598419" y="91249"/>
                    <a:pt x="546018" y="81389"/>
                    <a:pt x="532664" y="78949"/>
                  </a:cubicBezTo>
                  <a:cubicBezTo>
                    <a:pt x="515332" y="75607"/>
                    <a:pt x="507701" y="75440"/>
                    <a:pt x="498812" y="65346"/>
                  </a:cubicBezTo>
                  <a:cubicBezTo>
                    <a:pt x="494266" y="60199"/>
                    <a:pt x="477624" y="65613"/>
                    <a:pt x="471942" y="65346"/>
                  </a:cubicBezTo>
                  <a:cubicBezTo>
                    <a:pt x="467030" y="64928"/>
                    <a:pt x="462362" y="63441"/>
                    <a:pt x="458384" y="61034"/>
                  </a:cubicBezTo>
                  <a:cubicBezTo>
                    <a:pt x="451768" y="57692"/>
                    <a:pt x="449698" y="59330"/>
                    <a:pt x="442148" y="58394"/>
                  </a:cubicBezTo>
                  <a:cubicBezTo>
                    <a:pt x="429971" y="56856"/>
                    <a:pt x="436466" y="40479"/>
                    <a:pt x="413735" y="38340"/>
                  </a:cubicBezTo>
                  <a:cubicBezTo>
                    <a:pt x="387352" y="35933"/>
                    <a:pt x="397865" y="23600"/>
                    <a:pt x="392792" y="14609"/>
                  </a:cubicBezTo>
                  <a:cubicBezTo>
                    <a:pt x="387718" y="5618"/>
                    <a:pt x="365880" y="8860"/>
                    <a:pt x="352526" y="7089"/>
                  </a:cubicBezTo>
                  <a:cubicBezTo>
                    <a:pt x="342460" y="5785"/>
                    <a:pt x="340349" y="7790"/>
                    <a:pt x="331785" y="9328"/>
                  </a:cubicBezTo>
                  <a:cubicBezTo>
                    <a:pt x="328010" y="9896"/>
                    <a:pt x="324113" y="9759"/>
                    <a:pt x="320420" y="8927"/>
                  </a:cubicBezTo>
                  <a:cubicBezTo>
                    <a:pt x="313316" y="7022"/>
                    <a:pt x="311653" y="7857"/>
                    <a:pt x="302966" y="7891"/>
                  </a:cubicBezTo>
                  <a:cubicBezTo>
                    <a:pt x="294280" y="7924"/>
                    <a:pt x="275162" y="11835"/>
                    <a:pt x="274554" y="17483"/>
                  </a:cubicBezTo>
                  <a:cubicBezTo>
                    <a:pt x="273458" y="28747"/>
                    <a:pt x="253122" y="16046"/>
                    <a:pt x="238023" y="19689"/>
                  </a:cubicBezTo>
                  <a:cubicBezTo>
                    <a:pt x="233720" y="20725"/>
                    <a:pt x="226211" y="15344"/>
                    <a:pt x="222030" y="14709"/>
                  </a:cubicBezTo>
                  <a:cubicBezTo>
                    <a:pt x="215171" y="13673"/>
                    <a:pt x="204617" y="12804"/>
                    <a:pt x="197270" y="12035"/>
                  </a:cubicBezTo>
                  <a:cubicBezTo>
                    <a:pt x="191588" y="11434"/>
                    <a:pt x="188503" y="13606"/>
                    <a:pt x="180060" y="11601"/>
                  </a:cubicBezTo>
                  <a:cubicBezTo>
                    <a:pt x="169020" y="8994"/>
                    <a:pt x="158183" y="9495"/>
                    <a:pt x="147589" y="7256"/>
                  </a:cubicBezTo>
                  <a:cubicBezTo>
                    <a:pt x="131028" y="3395"/>
                    <a:pt x="114021" y="885"/>
                    <a:pt x="96851" y="-231"/>
                  </a:cubicBezTo>
                  <a:cubicBezTo>
                    <a:pt x="75379" y="-1401"/>
                    <a:pt x="66612" y="7389"/>
                    <a:pt x="46845" y="6086"/>
                  </a:cubicBezTo>
                  <a:cubicBezTo>
                    <a:pt x="47738" y="12035"/>
                    <a:pt x="54963" y="16347"/>
                    <a:pt x="59022" y="21795"/>
                  </a:cubicBezTo>
                  <a:cubicBezTo>
                    <a:pt x="66044" y="30585"/>
                    <a:pt x="54557" y="30786"/>
                    <a:pt x="44003" y="35666"/>
                  </a:cubicBezTo>
                  <a:cubicBezTo>
                    <a:pt x="35602" y="39576"/>
                    <a:pt x="26550" y="43119"/>
                    <a:pt x="18432" y="47197"/>
                  </a:cubicBezTo>
                  <a:cubicBezTo>
                    <a:pt x="11167" y="50873"/>
                    <a:pt x="21476" y="58828"/>
                    <a:pt x="14698" y="61302"/>
                  </a:cubicBezTo>
                  <a:cubicBezTo>
                    <a:pt x="7229" y="64042"/>
                    <a:pt x="-4380" y="71329"/>
                    <a:pt x="1587" y="76543"/>
                  </a:cubicBezTo>
                  <a:cubicBezTo>
                    <a:pt x="11532" y="85032"/>
                    <a:pt x="25292" y="83227"/>
                    <a:pt x="40391" y="85367"/>
                  </a:cubicBezTo>
                  <a:cubicBezTo>
                    <a:pt x="51431" y="87038"/>
                    <a:pt x="75095" y="87840"/>
                    <a:pt x="83010" y="92553"/>
                  </a:cubicBezTo>
                  <a:cubicBezTo>
                    <a:pt x="86054" y="94291"/>
                    <a:pt x="123113" y="90514"/>
                    <a:pt x="127903" y="89210"/>
                  </a:cubicBezTo>
                  <a:cubicBezTo>
                    <a:pt x="137441" y="86025"/>
                    <a:pt x="147467" y="83953"/>
                    <a:pt x="157695" y="83060"/>
                  </a:cubicBezTo>
                  <a:cubicBezTo>
                    <a:pt x="176164" y="81456"/>
                    <a:pt x="178883" y="84431"/>
                    <a:pt x="193942" y="90079"/>
                  </a:cubicBezTo>
                  <a:cubicBezTo>
                    <a:pt x="204617" y="94090"/>
                    <a:pt x="216672" y="93188"/>
                    <a:pt x="220772" y="101644"/>
                  </a:cubicBezTo>
                  <a:cubicBezTo>
                    <a:pt x="225156" y="110768"/>
                    <a:pt x="240214" y="117286"/>
                    <a:pt x="244476" y="126076"/>
                  </a:cubicBezTo>
                  <a:cubicBezTo>
                    <a:pt x="249266" y="136104"/>
                    <a:pt x="235790" y="130422"/>
                    <a:pt x="224182" y="128149"/>
                  </a:cubicBezTo>
                  <a:cubicBezTo>
                    <a:pt x="210462" y="125441"/>
                    <a:pt x="212329" y="135067"/>
                    <a:pt x="207377" y="138777"/>
                  </a:cubicBezTo>
                  <a:cubicBezTo>
                    <a:pt x="202425" y="142488"/>
                    <a:pt x="182618" y="149807"/>
                    <a:pt x="195850" y="152882"/>
                  </a:cubicBezTo>
                  <a:cubicBezTo>
                    <a:pt x="212492" y="156826"/>
                    <a:pt x="216145" y="147668"/>
                    <a:pt x="232096" y="156225"/>
                  </a:cubicBezTo>
                  <a:cubicBezTo>
                    <a:pt x="231691" y="147133"/>
                    <a:pt x="243867" y="147501"/>
                    <a:pt x="254218" y="142187"/>
                  </a:cubicBezTo>
                  <a:cubicBezTo>
                    <a:pt x="266111" y="136070"/>
                    <a:pt x="267247" y="130422"/>
                    <a:pt x="285066" y="128817"/>
                  </a:cubicBezTo>
                  <a:cubicBezTo>
                    <a:pt x="289612" y="128383"/>
                    <a:pt x="326752" y="126979"/>
                    <a:pt x="319892" y="132694"/>
                  </a:cubicBezTo>
                  <a:cubicBezTo>
                    <a:pt x="314129" y="137474"/>
                    <a:pt x="310557" y="140215"/>
                    <a:pt x="325453" y="142220"/>
                  </a:cubicBezTo>
                  <a:cubicBezTo>
                    <a:pt x="338766" y="143958"/>
                    <a:pt x="393441" y="147768"/>
                    <a:pt x="352486" y="153183"/>
                  </a:cubicBezTo>
                  <a:cubicBezTo>
                    <a:pt x="349563" y="153551"/>
                    <a:pt x="323830" y="155456"/>
                    <a:pt x="324397" y="157595"/>
                  </a:cubicBezTo>
                  <a:cubicBezTo>
                    <a:pt x="325453" y="161606"/>
                    <a:pt x="350334" y="165349"/>
                    <a:pt x="355976" y="167823"/>
                  </a:cubicBezTo>
                  <a:cubicBezTo>
                    <a:pt x="365962" y="172168"/>
                    <a:pt x="343799" y="183866"/>
                    <a:pt x="366611" y="182562"/>
                  </a:cubicBezTo>
                  <a:cubicBezTo>
                    <a:pt x="384714" y="181493"/>
                    <a:pt x="401762" y="175878"/>
                    <a:pt x="419865" y="174407"/>
                  </a:cubicBezTo>
                  <a:cubicBezTo>
                    <a:pt x="427171" y="173805"/>
                    <a:pt x="453189" y="178618"/>
                    <a:pt x="457573" y="175711"/>
                  </a:cubicBezTo>
                  <a:cubicBezTo>
                    <a:pt x="464595" y="170998"/>
                    <a:pt x="427983" y="168491"/>
                    <a:pt x="425750" y="168391"/>
                  </a:cubicBezTo>
                  <a:cubicBezTo>
                    <a:pt x="411747" y="167789"/>
                    <a:pt x="402573" y="162575"/>
                    <a:pt x="401397" y="155322"/>
                  </a:cubicBezTo>
                  <a:cubicBezTo>
                    <a:pt x="400382" y="149607"/>
                    <a:pt x="411585" y="147468"/>
                    <a:pt x="419946" y="145462"/>
                  </a:cubicBezTo>
                  <a:cubicBezTo>
                    <a:pt x="435776" y="141652"/>
                    <a:pt x="451809" y="143123"/>
                    <a:pt x="468654" y="141518"/>
                  </a:cubicBezTo>
                  <a:cubicBezTo>
                    <a:pt x="479978" y="140449"/>
                    <a:pt x="490450" y="138577"/>
                    <a:pt x="502099" y="138176"/>
                  </a:cubicBezTo>
                  <a:cubicBezTo>
                    <a:pt x="518335" y="137608"/>
                    <a:pt x="506564" y="129887"/>
                    <a:pt x="514276" y="1300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4F63534F-8CD2-4A67-ADCA-C14EAF8A412E}"/>
                </a:ext>
              </a:extLst>
            </p:cNvPr>
            <p:cNvSpPr/>
            <p:nvPr/>
          </p:nvSpPr>
          <p:spPr>
            <a:xfrm>
              <a:off x="6516987" y="3780341"/>
              <a:ext cx="310360" cy="117538"/>
            </a:xfrm>
            <a:custGeom>
              <a:avLst/>
              <a:gdLst>
                <a:gd name="connsiteX0" fmla="*/ 295038 w 310360"/>
                <a:gd name="connsiteY0" fmla="*/ 64095 h 117538"/>
                <a:gd name="connsiteX1" fmla="*/ 266625 w 310360"/>
                <a:gd name="connsiteY1" fmla="*/ 44509 h 117538"/>
                <a:gd name="connsiteX2" fmla="*/ 259278 w 310360"/>
                <a:gd name="connsiteY2" fmla="*/ 32610 h 117538"/>
                <a:gd name="connsiteX3" fmla="*/ 258101 w 310360"/>
                <a:gd name="connsiteY3" fmla="*/ 17469 h 117538"/>
                <a:gd name="connsiteX4" fmla="*/ 238049 w 310360"/>
                <a:gd name="connsiteY4" fmla="*/ 11687 h 117538"/>
                <a:gd name="connsiteX5" fmla="*/ 209637 w 310360"/>
                <a:gd name="connsiteY5" fmla="*/ 9748 h 117538"/>
                <a:gd name="connsiteX6" fmla="*/ 185608 w 310360"/>
                <a:gd name="connsiteY6" fmla="*/ 4333 h 117538"/>
                <a:gd name="connsiteX7" fmla="*/ 163040 w 310360"/>
                <a:gd name="connsiteY7" fmla="*/ 991 h 117538"/>
                <a:gd name="connsiteX8" fmla="*/ 142380 w 310360"/>
                <a:gd name="connsiteY8" fmla="*/ 5604 h 117538"/>
                <a:gd name="connsiteX9" fmla="*/ 117011 w 310360"/>
                <a:gd name="connsiteY9" fmla="*/ 15129 h 117538"/>
                <a:gd name="connsiteX10" fmla="*/ 86244 w 310360"/>
                <a:gd name="connsiteY10" fmla="*/ 30571 h 117538"/>
                <a:gd name="connsiteX11" fmla="*/ 78126 w 310360"/>
                <a:gd name="connsiteY11" fmla="*/ 40431 h 117538"/>
                <a:gd name="connsiteX12" fmla="*/ 51662 w 310360"/>
                <a:gd name="connsiteY12" fmla="*/ 45110 h 117538"/>
                <a:gd name="connsiteX13" fmla="*/ 24425 w 310360"/>
                <a:gd name="connsiteY13" fmla="*/ 44776 h 117538"/>
                <a:gd name="connsiteX14" fmla="*/ 18824 w 310360"/>
                <a:gd name="connsiteY14" fmla="*/ 58781 h 117538"/>
                <a:gd name="connsiteX15" fmla="*/ 1817 w 310360"/>
                <a:gd name="connsiteY15" fmla="*/ 79269 h 117538"/>
                <a:gd name="connsiteX16" fmla="*/ 9489 w 310360"/>
                <a:gd name="connsiteY16" fmla="*/ 87959 h 117538"/>
                <a:gd name="connsiteX17" fmla="*/ 21097 w 310360"/>
                <a:gd name="connsiteY17" fmla="*/ 100159 h 117538"/>
                <a:gd name="connsiteX18" fmla="*/ 40824 w 310360"/>
                <a:gd name="connsiteY18" fmla="*/ 93474 h 117538"/>
                <a:gd name="connsiteX19" fmla="*/ 72525 w 310360"/>
                <a:gd name="connsiteY19" fmla="*/ 94611 h 117538"/>
                <a:gd name="connsiteX20" fmla="*/ 122653 w 310360"/>
                <a:gd name="connsiteY20" fmla="*/ 102298 h 117538"/>
                <a:gd name="connsiteX21" fmla="*/ 149320 w 310360"/>
                <a:gd name="connsiteY21" fmla="*/ 107011 h 117538"/>
                <a:gd name="connsiteX22" fmla="*/ 168032 w 310360"/>
                <a:gd name="connsiteY22" fmla="*/ 108147 h 117538"/>
                <a:gd name="connsiteX23" fmla="*/ 189017 w 310360"/>
                <a:gd name="connsiteY23" fmla="*/ 110019 h 117538"/>
                <a:gd name="connsiteX24" fmla="*/ 209312 w 310360"/>
                <a:gd name="connsiteY24" fmla="*/ 113361 h 117538"/>
                <a:gd name="connsiteX25" fmla="*/ 230418 w 310360"/>
                <a:gd name="connsiteY25" fmla="*/ 116704 h 117538"/>
                <a:gd name="connsiteX26" fmla="*/ 241053 w 310360"/>
                <a:gd name="connsiteY26" fmla="*/ 108314 h 117538"/>
                <a:gd name="connsiteX27" fmla="*/ 279005 w 310360"/>
                <a:gd name="connsiteY27" fmla="*/ 101128 h 117538"/>
                <a:gd name="connsiteX28" fmla="*/ 284890 w 310360"/>
                <a:gd name="connsiteY28" fmla="*/ 79570 h 117538"/>
                <a:gd name="connsiteX29" fmla="*/ 295038 w 310360"/>
                <a:gd name="connsiteY29" fmla="*/ 64362 h 117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10360" h="117538">
                  <a:moveTo>
                    <a:pt x="295038" y="64095"/>
                  </a:moveTo>
                  <a:cubicBezTo>
                    <a:pt x="284931" y="62056"/>
                    <a:pt x="270968" y="49088"/>
                    <a:pt x="266625" y="44509"/>
                  </a:cubicBezTo>
                  <a:cubicBezTo>
                    <a:pt x="261551" y="39161"/>
                    <a:pt x="257208" y="38894"/>
                    <a:pt x="259278" y="32610"/>
                  </a:cubicBezTo>
                  <a:cubicBezTo>
                    <a:pt x="260171" y="30003"/>
                    <a:pt x="263784" y="19240"/>
                    <a:pt x="258101" y="17469"/>
                  </a:cubicBezTo>
                  <a:cubicBezTo>
                    <a:pt x="251607" y="15163"/>
                    <a:pt x="244869" y="13231"/>
                    <a:pt x="238049" y="11687"/>
                  </a:cubicBezTo>
                  <a:cubicBezTo>
                    <a:pt x="229485" y="9949"/>
                    <a:pt x="214183" y="14795"/>
                    <a:pt x="209637" y="9748"/>
                  </a:cubicBezTo>
                  <a:cubicBezTo>
                    <a:pt x="203548" y="3264"/>
                    <a:pt x="196161" y="5871"/>
                    <a:pt x="185608" y="4333"/>
                  </a:cubicBezTo>
                  <a:cubicBezTo>
                    <a:pt x="175054" y="2796"/>
                    <a:pt x="174648" y="-2886"/>
                    <a:pt x="163040" y="991"/>
                  </a:cubicBezTo>
                  <a:cubicBezTo>
                    <a:pt x="153907" y="4099"/>
                    <a:pt x="155612" y="6941"/>
                    <a:pt x="142380" y="5604"/>
                  </a:cubicBezTo>
                  <a:cubicBezTo>
                    <a:pt x="130933" y="4467"/>
                    <a:pt x="114819" y="8043"/>
                    <a:pt x="117011" y="15129"/>
                  </a:cubicBezTo>
                  <a:cubicBezTo>
                    <a:pt x="119649" y="23819"/>
                    <a:pt x="95579" y="24923"/>
                    <a:pt x="86244" y="30571"/>
                  </a:cubicBezTo>
                  <a:cubicBezTo>
                    <a:pt x="83606" y="32142"/>
                    <a:pt x="83200" y="40598"/>
                    <a:pt x="78126" y="40431"/>
                  </a:cubicBezTo>
                  <a:cubicBezTo>
                    <a:pt x="68953" y="39866"/>
                    <a:pt x="59739" y="41490"/>
                    <a:pt x="51662" y="45110"/>
                  </a:cubicBezTo>
                  <a:cubicBezTo>
                    <a:pt x="44233" y="47951"/>
                    <a:pt x="32950" y="45344"/>
                    <a:pt x="24425" y="44776"/>
                  </a:cubicBezTo>
                  <a:cubicBezTo>
                    <a:pt x="8961" y="43773"/>
                    <a:pt x="8190" y="53333"/>
                    <a:pt x="18824" y="58781"/>
                  </a:cubicBezTo>
                  <a:cubicBezTo>
                    <a:pt x="38794" y="68808"/>
                    <a:pt x="10706" y="74222"/>
                    <a:pt x="1817" y="79269"/>
                  </a:cubicBezTo>
                  <a:cubicBezTo>
                    <a:pt x="-4353" y="82845"/>
                    <a:pt x="6404" y="85085"/>
                    <a:pt x="9489" y="87959"/>
                  </a:cubicBezTo>
                  <a:cubicBezTo>
                    <a:pt x="15049" y="93173"/>
                    <a:pt x="-537" y="102766"/>
                    <a:pt x="21097" y="100159"/>
                  </a:cubicBezTo>
                  <a:cubicBezTo>
                    <a:pt x="29215" y="99190"/>
                    <a:pt x="32422" y="94377"/>
                    <a:pt x="40824" y="93474"/>
                  </a:cubicBezTo>
                  <a:cubicBezTo>
                    <a:pt x="50160" y="92271"/>
                    <a:pt x="63026" y="93909"/>
                    <a:pt x="72525" y="94611"/>
                  </a:cubicBezTo>
                  <a:cubicBezTo>
                    <a:pt x="90424" y="95914"/>
                    <a:pt x="105808" y="101596"/>
                    <a:pt x="122653" y="102298"/>
                  </a:cubicBezTo>
                  <a:cubicBezTo>
                    <a:pt x="132719" y="102699"/>
                    <a:pt x="139822" y="105640"/>
                    <a:pt x="149320" y="107011"/>
                  </a:cubicBezTo>
                  <a:cubicBezTo>
                    <a:pt x="158006" y="108381"/>
                    <a:pt x="158494" y="105874"/>
                    <a:pt x="168032" y="108147"/>
                  </a:cubicBezTo>
                  <a:cubicBezTo>
                    <a:pt x="175501" y="109952"/>
                    <a:pt x="182238" y="107312"/>
                    <a:pt x="189017" y="110019"/>
                  </a:cubicBezTo>
                  <a:cubicBezTo>
                    <a:pt x="198312" y="113662"/>
                    <a:pt x="198596" y="112927"/>
                    <a:pt x="209312" y="113361"/>
                  </a:cubicBezTo>
                  <a:cubicBezTo>
                    <a:pt x="215319" y="113528"/>
                    <a:pt x="225954" y="113963"/>
                    <a:pt x="230418" y="116704"/>
                  </a:cubicBezTo>
                  <a:cubicBezTo>
                    <a:pt x="234884" y="119444"/>
                    <a:pt x="238049" y="110019"/>
                    <a:pt x="241053" y="108314"/>
                  </a:cubicBezTo>
                  <a:cubicBezTo>
                    <a:pt x="255097" y="101228"/>
                    <a:pt x="261348" y="103869"/>
                    <a:pt x="279005" y="101128"/>
                  </a:cubicBezTo>
                  <a:cubicBezTo>
                    <a:pt x="271698" y="94711"/>
                    <a:pt x="258994" y="72083"/>
                    <a:pt x="284890" y="79570"/>
                  </a:cubicBezTo>
                  <a:cubicBezTo>
                    <a:pt x="307580" y="86255"/>
                    <a:pt x="323450" y="70111"/>
                    <a:pt x="295038" y="6436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D22D1291-A861-45EA-9E0E-383DE60DFD44}"/>
                </a:ext>
              </a:extLst>
            </p:cNvPr>
            <p:cNvSpPr/>
            <p:nvPr/>
          </p:nvSpPr>
          <p:spPr>
            <a:xfrm>
              <a:off x="6446448" y="3728458"/>
              <a:ext cx="244029" cy="62102"/>
            </a:xfrm>
            <a:custGeom>
              <a:avLst/>
              <a:gdLst>
                <a:gd name="connsiteX0" fmla="*/ 80271 w 244029"/>
                <a:gd name="connsiteY0" fmla="*/ 38601 h 62102"/>
                <a:gd name="connsiteX1" fmla="*/ 154145 w 244029"/>
                <a:gd name="connsiteY1" fmla="*/ 47359 h 62102"/>
                <a:gd name="connsiteX2" fmla="*/ 173628 w 244029"/>
                <a:gd name="connsiteY2" fmla="*/ 55313 h 62102"/>
                <a:gd name="connsiteX3" fmla="*/ 190189 w 244029"/>
                <a:gd name="connsiteY3" fmla="*/ 61764 h 62102"/>
                <a:gd name="connsiteX4" fmla="*/ 205044 w 244029"/>
                <a:gd name="connsiteY4" fmla="*/ 57152 h 62102"/>
                <a:gd name="connsiteX5" fmla="*/ 225339 w 244029"/>
                <a:gd name="connsiteY5" fmla="*/ 57386 h 62102"/>
                <a:gd name="connsiteX6" fmla="*/ 243970 w 244029"/>
                <a:gd name="connsiteY6" fmla="*/ 51369 h 62102"/>
                <a:gd name="connsiteX7" fmla="*/ 232402 w 244029"/>
                <a:gd name="connsiteY7" fmla="*/ 37064 h 62102"/>
                <a:gd name="connsiteX8" fmla="*/ 225055 w 244029"/>
                <a:gd name="connsiteY8" fmla="*/ 20352 h 62102"/>
                <a:gd name="connsiteX9" fmla="*/ 197008 w 244029"/>
                <a:gd name="connsiteY9" fmla="*/ 13233 h 62102"/>
                <a:gd name="connsiteX10" fmla="*/ 175414 w 244029"/>
                <a:gd name="connsiteY10" fmla="*/ 9891 h 62102"/>
                <a:gd name="connsiteX11" fmla="*/ 127559 w 244029"/>
                <a:gd name="connsiteY11" fmla="*/ -337 h 62102"/>
                <a:gd name="connsiteX12" fmla="*/ 96954 w 244029"/>
                <a:gd name="connsiteY12" fmla="*/ 22257 h 62102"/>
                <a:gd name="connsiteX13" fmla="*/ 59084 w 244029"/>
                <a:gd name="connsiteY13" fmla="*/ 4643 h 62102"/>
                <a:gd name="connsiteX14" fmla="*/ 14881 w 244029"/>
                <a:gd name="connsiteY14" fmla="*/ 17277 h 62102"/>
                <a:gd name="connsiteX15" fmla="*/ 14881 w 244029"/>
                <a:gd name="connsiteY15" fmla="*/ 38936 h 62102"/>
                <a:gd name="connsiteX16" fmla="*/ 49504 w 244029"/>
                <a:gd name="connsiteY16" fmla="*/ 35593 h 62102"/>
                <a:gd name="connsiteX17" fmla="*/ 80271 w 244029"/>
                <a:gd name="connsiteY17" fmla="*/ 38601 h 6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4029" h="62102">
                  <a:moveTo>
                    <a:pt x="80271" y="38601"/>
                  </a:moveTo>
                  <a:cubicBezTo>
                    <a:pt x="107426" y="39738"/>
                    <a:pt x="131252" y="40273"/>
                    <a:pt x="154145" y="47359"/>
                  </a:cubicBezTo>
                  <a:cubicBezTo>
                    <a:pt x="160923" y="49531"/>
                    <a:pt x="167418" y="52192"/>
                    <a:pt x="173628" y="55313"/>
                  </a:cubicBezTo>
                  <a:cubicBezTo>
                    <a:pt x="178986" y="57736"/>
                    <a:pt x="184506" y="59889"/>
                    <a:pt x="190189" y="61764"/>
                  </a:cubicBezTo>
                  <a:cubicBezTo>
                    <a:pt x="194329" y="58850"/>
                    <a:pt x="199605" y="57218"/>
                    <a:pt x="205044" y="57152"/>
                  </a:cubicBezTo>
                  <a:cubicBezTo>
                    <a:pt x="211052" y="56951"/>
                    <a:pt x="220185" y="59558"/>
                    <a:pt x="225339" y="57386"/>
                  </a:cubicBezTo>
                  <a:cubicBezTo>
                    <a:pt x="232240" y="54478"/>
                    <a:pt x="233904" y="51837"/>
                    <a:pt x="243970" y="51369"/>
                  </a:cubicBezTo>
                  <a:cubicBezTo>
                    <a:pt x="239465" y="45888"/>
                    <a:pt x="239302" y="42211"/>
                    <a:pt x="232402" y="37064"/>
                  </a:cubicBezTo>
                  <a:cubicBezTo>
                    <a:pt x="224284" y="31148"/>
                    <a:pt x="234350" y="25867"/>
                    <a:pt x="225055" y="20352"/>
                  </a:cubicBezTo>
                  <a:cubicBezTo>
                    <a:pt x="215760" y="14837"/>
                    <a:pt x="211985" y="14503"/>
                    <a:pt x="197008" y="13233"/>
                  </a:cubicBezTo>
                  <a:cubicBezTo>
                    <a:pt x="187997" y="12498"/>
                    <a:pt x="183410" y="12798"/>
                    <a:pt x="175414" y="9891"/>
                  </a:cubicBezTo>
                  <a:cubicBezTo>
                    <a:pt x="156134" y="2905"/>
                    <a:pt x="152116" y="-136"/>
                    <a:pt x="127559" y="-337"/>
                  </a:cubicBezTo>
                  <a:cubicBezTo>
                    <a:pt x="96020" y="-571"/>
                    <a:pt x="130440" y="23060"/>
                    <a:pt x="96954" y="22257"/>
                  </a:cubicBezTo>
                  <a:cubicBezTo>
                    <a:pt x="75725" y="21756"/>
                    <a:pt x="69190" y="13200"/>
                    <a:pt x="59084" y="4643"/>
                  </a:cubicBezTo>
                  <a:cubicBezTo>
                    <a:pt x="48977" y="-3913"/>
                    <a:pt x="17357" y="11328"/>
                    <a:pt x="14881" y="17277"/>
                  </a:cubicBezTo>
                  <a:cubicBezTo>
                    <a:pt x="12649" y="22458"/>
                    <a:pt x="-17591" y="40674"/>
                    <a:pt x="14881" y="38936"/>
                  </a:cubicBezTo>
                  <a:cubicBezTo>
                    <a:pt x="27464" y="38301"/>
                    <a:pt x="36435" y="34858"/>
                    <a:pt x="49504" y="35593"/>
                  </a:cubicBezTo>
                  <a:cubicBezTo>
                    <a:pt x="59733" y="36228"/>
                    <a:pt x="69921" y="38167"/>
                    <a:pt x="80271" y="386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B0D25AB7-53F3-4D14-B9B4-A1EA94E8E6C7}"/>
                </a:ext>
              </a:extLst>
            </p:cNvPr>
            <p:cNvSpPr/>
            <p:nvPr/>
          </p:nvSpPr>
          <p:spPr>
            <a:xfrm>
              <a:off x="6444001" y="3764324"/>
              <a:ext cx="191040" cy="62949"/>
            </a:xfrm>
            <a:custGeom>
              <a:avLst/>
              <a:gdLst>
                <a:gd name="connsiteX0" fmla="*/ 24715 w 191040"/>
                <a:gd name="connsiteY0" fmla="*/ 28205 h 62949"/>
                <a:gd name="connsiteX1" fmla="*/ 62301 w 191040"/>
                <a:gd name="connsiteY1" fmla="*/ 41575 h 62949"/>
                <a:gd name="connsiteX2" fmla="*/ 85681 w 191040"/>
                <a:gd name="connsiteY2" fmla="*/ 58019 h 62949"/>
                <a:gd name="connsiteX3" fmla="*/ 140234 w 191040"/>
                <a:gd name="connsiteY3" fmla="*/ 56816 h 62949"/>
                <a:gd name="connsiteX4" fmla="*/ 174085 w 191040"/>
                <a:gd name="connsiteY4" fmla="*/ 41508 h 62949"/>
                <a:gd name="connsiteX5" fmla="*/ 183786 w 191040"/>
                <a:gd name="connsiteY5" fmla="*/ 22757 h 62949"/>
                <a:gd name="connsiteX6" fmla="*/ 156591 w 191040"/>
                <a:gd name="connsiteY6" fmla="*/ 11560 h 62949"/>
                <a:gd name="connsiteX7" fmla="*/ 135322 w 191040"/>
                <a:gd name="connsiteY7" fmla="*/ 5711 h 62949"/>
                <a:gd name="connsiteX8" fmla="*/ 110969 w 191040"/>
                <a:gd name="connsiteY8" fmla="*/ 5042 h 62949"/>
                <a:gd name="connsiteX9" fmla="*/ 78497 w 191040"/>
                <a:gd name="connsiteY9" fmla="*/ 2436 h 62949"/>
                <a:gd name="connsiteX10" fmla="*/ 44970 w 191040"/>
                <a:gd name="connsiteY10" fmla="*/ -339 h 62949"/>
                <a:gd name="connsiteX11" fmla="*/ 7221 w 191040"/>
                <a:gd name="connsiteY11" fmla="*/ 3472 h 62949"/>
                <a:gd name="connsiteX12" fmla="*/ 36 w 191040"/>
                <a:gd name="connsiteY12" fmla="*/ 24094 h 62949"/>
                <a:gd name="connsiteX13" fmla="*/ 24756 w 191040"/>
                <a:gd name="connsiteY13" fmla="*/ 28272 h 62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1040" h="62949">
                  <a:moveTo>
                    <a:pt x="24715" y="28205"/>
                  </a:moveTo>
                  <a:cubicBezTo>
                    <a:pt x="33604" y="35124"/>
                    <a:pt x="65305" y="30210"/>
                    <a:pt x="62301" y="41575"/>
                  </a:cubicBezTo>
                  <a:cubicBezTo>
                    <a:pt x="58243" y="55512"/>
                    <a:pt x="71028" y="48527"/>
                    <a:pt x="85681" y="58019"/>
                  </a:cubicBezTo>
                  <a:cubicBezTo>
                    <a:pt x="101673" y="68447"/>
                    <a:pt x="123633" y="58019"/>
                    <a:pt x="140234" y="56816"/>
                  </a:cubicBezTo>
                  <a:cubicBezTo>
                    <a:pt x="161178" y="55178"/>
                    <a:pt x="152411" y="44048"/>
                    <a:pt x="174085" y="41508"/>
                  </a:cubicBezTo>
                  <a:cubicBezTo>
                    <a:pt x="191295" y="39536"/>
                    <a:pt x="196816" y="27704"/>
                    <a:pt x="183786" y="22757"/>
                  </a:cubicBezTo>
                  <a:cubicBezTo>
                    <a:pt x="174370" y="19214"/>
                    <a:pt x="166658" y="14702"/>
                    <a:pt x="156591" y="11560"/>
                  </a:cubicBezTo>
                  <a:cubicBezTo>
                    <a:pt x="147824" y="8853"/>
                    <a:pt x="142750" y="9354"/>
                    <a:pt x="135322" y="5711"/>
                  </a:cubicBezTo>
                  <a:cubicBezTo>
                    <a:pt x="129640" y="2970"/>
                    <a:pt x="117665" y="5343"/>
                    <a:pt x="110969" y="5042"/>
                  </a:cubicBezTo>
                  <a:cubicBezTo>
                    <a:pt x="100293" y="4541"/>
                    <a:pt x="89172" y="3505"/>
                    <a:pt x="78497" y="2436"/>
                  </a:cubicBezTo>
                  <a:cubicBezTo>
                    <a:pt x="67415" y="938"/>
                    <a:pt x="56213" y="12"/>
                    <a:pt x="44970" y="-339"/>
                  </a:cubicBezTo>
                  <a:cubicBezTo>
                    <a:pt x="31981" y="-339"/>
                    <a:pt x="20900" y="3371"/>
                    <a:pt x="7221" y="3472"/>
                  </a:cubicBezTo>
                  <a:cubicBezTo>
                    <a:pt x="16272" y="13499"/>
                    <a:pt x="3162" y="15872"/>
                    <a:pt x="36" y="24094"/>
                  </a:cubicBezTo>
                  <a:cubicBezTo>
                    <a:pt x="-1709" y="28506"/>
                    <a:pt x="20859" y="25264"/>
                    <a:pt x="24756" y="2827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C5FE6B97-B923-4847-8DE1-CE7BBDEADEF6}"/>
                </a:ext>
              </a:extLst>
            </p:cNvPr>
            <p:cNvSpPr/>
            <p:nvPr/>
          </p:nvSpPr>
          <p:spPr>
            <a:xfrm>
              <a:off x="5968715" y="3960557"/>
              <a:ext cx="145062" cy="40840"/>
            </a:xfrm>
            <a:custGeom>
              <a:avLst/>
              <a:gdLst>
                <a:gd name="connsiteX0" fmla="*/ 128848 w 145062"/>
                <a:gd name="connsiteY0" fmla="*/ 16336 h 40840"/>
                <a:gd name="connsiteX1" fmla="*/ 112206 w 145062"/>
                <a:gd name="connsiteY1" fmla="*/ 11857 h 40840"/>
                <a:gd name="connsiteX2" fmla="*/ 93291 w 145062"/>
                <a:gd name="connsiteY2" fmla="*/ 493 h 40840"/>
                <a:gd name="connsiteX3" fmla="*/ 32407 w 145062"/>
                <a:gd name="connsiteY3" fmla="*/ 5641 h 40840"/>
                <a:gd name="connsiteX4" fmla="*/ 463 w 145062"/>
                <a:gd name="connsiteY4" fmla="*/ 32814 h 40840"/>
                <a:gd name="connsiteX5" fmla="*/ 21042 w 145062"/>
                <a:gd name="connsiteY5" fmla="*/ 31978 h 40840"/>
                <a:gd name="connsiteX6" fmla="*/ 26887 w 145062"/>
                <a:gd name="connsiteY6" fmla="*/ 40501 h 40840"/>
                <a:gd name="connsiteX7" fmla="*/ 66746 w 145062"/>
                <a:gd name="connsiteY7" fmla="*/ 30474 h 40840"/>
                <a:gd name="connsiteX8" fmla="*/ 96295 w 145062"/>
                <a:gd name="connsiteY8" fmla="*/ 37694 h 40840"/>
                <a:gd name="connsiteX9" fmla="*/ 104048 w 145062"/>
                <a:gd name="connsiteY9" fmla="*/ 28636 h 40840"/>
                <a:gd name="connsiteX10" fmla="*/ 124343 w 145062"/>
                <a:gd name="connsiteY10" fmla="*/ 26497 h 40840"/>
                <a:gd name="connsiteX11" fmla="*/ 136885 w 145062"/>
                <a:gd name="connsiteY11" fmla="*/ 23422 h 40840"/>
                <a:gd name="connsiteX12" fmla="*/ 145003 w 145062"/>
                <a:gd name="connsiteY12" fmla="*/ 17339 h 40840"/>
                <a:gd name="connsiteX13" fmla="*/ 128767 w 145062"/>
                <a:gd name="connsiteY13" fmla="*/ 16303 h 40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062" h="40840">
                  <a:moveTo>
                    <a:pt x="128848" y="16336"/>
                  </a:moveTo>
                  <a:cubicBezTo>
                    <a:pt x="124383" y="17372"/>
                    <a:pt x="112247" y="14866"/>
                    <a:pt x="112206" y="11857"/>
                  </a:cubicBezTo>
                  <a:cubicBezTo>
                    <a:pt x="112206" y="3869"/>
                    <a:pt x="108147" y="2699"/>
                    <a:pt x="93291" y="493"/>
                  </a:cubicBezTo>
                  <a:cubicBezTo>
                    <a:pt x="76690" y="-2013"/>
                    <a:pt x="45883" y="1563"/>
                    <a:pt x="32407" y="5641"/>
                  </a:cubicBezTo>
                  <a:cubicBezTo>
                    <a:pt x="22746" y="8448"/>
                    <a:pt x="-4124" y="26764"/>
                    <a:pt x="463" y="32814"/>
                  </a:cubicBezTo>
                  <a:cubicBezTo>
                    <a:pt x="1883" y="34686"/>
                    <a:pt x="20758" y="23389"/>
                    <a:pt x="21042" y="31978"/>
                  </a:cubicBezTo>
                  <a:cubicBezTo>
                    <a:pt x="21042" y="35789"/>
                    <a:pt x="28510" y="36056"/>
                    <a:pt x="26887" y="40501"/>
                  </a:cubicBezTo>
                  <a:cubicBezTo>
                    <a:pt x="47182" y="39298"/>
                    <a:pt x="57329" y="40869"/>
                    <a:pt x="66746" y="30474"/>
                  </a:cubicBezTo>
                  <a:cubicBezTo>
                    <a:pt x="76163" y="20080"/>
                    <a:pt x="90410" y="45515"/>
                    <a:pt x="96295" y="37694"/>
                  </a:cubicBezTo>
                  <a:cubicBezTo>
                    <a:pt x="98731" y="34352"/>
                    <a:pt x="95199" y="29639"/>
                    <a:pt x="104048" y="28636"/>
                  </a:cubicBezTo>
                  <a:cubicBezTo>
                    <a:pt x="108553" y="28101"/>
                    <a:pt x="124586" y="31143"/>
                    <a:pt x="124343" y="26497"/>
                  </a:cubicBezTo>
                  <a:cubicBezTo>
                    <a:pt x="124099" y="21851"/>
                    <a:pt x="133638" y="26163"/>
                    <a:pt x="136885" y="23422"/>
                  </a:cubicBezTo>
                  <a:cubicBezTo>
                    <a:pt x="140132" y="20681"/>
                    <a:pt x="139645" y="19211"/>
                    <a:pt x="145003" y="17339"/>
                  </a:cubicBezTo>
                  <a:cubicBezTo>
                    <a:pt x="139808" y="15731"/>
                    <a:pt x="134206" y="15370"/>
                    <a:pt x="128767" y="1630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CB2118C3-4082-406B-A932-2C87F64A2F8A}"/>
                </a:ext>
              </a:extLst>
            </p:cNvPr>
            <p:cNvSpPr/>
            <p:nvPr/>
          </p:nvSpPr>
          <p:spPr>
            <a:xfrm>
              <a:off x="5962009" y="3797513"/>
              <a:ext cx="292952" cy="169520"/>
            </a:xfrm>
            <a:custGeom>
              <a:avLst/>
              <a:gdLst>
                <a:gd name="connsiteX0" fmla="*/ 35907 w 292952"/>
                <a:gd name="connsiteY0" fmla="*/ 44750 h 169520"/>
                <a:gd name="connsiteX1" fmla="*/ 26693 w 292952"/>
                <a:gd name="connsiteY1" fmla="*/ 57083 h 169520"/>
                <a:gd name="connsiteX2" fmla="*/ 18575 w 292952"/>
                <a:gd name="connsiteY2" fmla="*/ 71255 h 169520"/>
                <a:gd name="connsiteX3" fmla="*/ 5139 w 292952"/>
                <a:gd name="connsiteY3" fmla="*/ 72425 h 169520"/>
                <a:gd name="connsiteX4" fmla="*/ 3394 w 292952"/>
                <a:gd name="connsiteY4" fmla="*/ 80513 h 169520"/>
                <a:gd name="connsiteX5" fmla="*/ 7697 w 292952"/>
                <a:gd name="connsiteY5" fmla="*/ 102372 h 169520"/>
                <a:gd name="connsiteX6" fmla="*/ 6276 w 292952"/>
                <a:gd name="connsiteY6" fmla="*/ 114371 h 169520"/>
                <a:gd name="connsiteX7" fmla="*/ 12973 w 292952"/>
                <a:gd name="connsiteY7" fmla="*/ 125267 h 169520"/>
                <a:gd name="connsiteX8" fmla="*/ 41386 w 292952"/>
                <a:gd name="connsiteY8" fmla="*/ 132152 h 169520"/>
                <a:gd name="connsiteX9" fmla="*/ 65740 w 292952"/>
                <a:gd name="connsiteY9" fmla="*/ 140575 h 169520"/>
                <a:gd name="connsiteX10" fmla="*/ 50235 w 292952"/>
                <a:gd name="connsiteY10" fmla="*/ 165075 h 169520"/>
                <a:gd name="connsiteX11" fmla="*/ 112946 w 292952"/>
                <a:gd name="connsiteY11" fmla="*/ 166278 h 169520"/>
                <a:gd name="connsiteX12" fmla="*/ 132794 w 292952"/>
                <a:gd name="connsiteY12" fmla="*/ 168450 h 169520"/>
                <a:gd name="connsiteX13" fmla="*/ 156336 w 292952"/>
                <a:gd name="connsiteY13" fmla="*/ 166011 h 169520"/>
                <a:gd name="connsiteX14" fmla="*/ 179716 w 292952"/>
                <a:gd name="connsiteY14" fmla="*/ 166211 h 169520"/>
                <a:gd name="connsiteX15" fmla="*/ 209225 w 292952"/>
                <a:gd name="connsiteY15" fmla="*/ 162568 h 169520"/>
                <a:gd name="connsiteX16" fmla="*/ 223350 w 292952"/>
                <a:gd name="connsiteY16" fmla="*/ 164373 h 169520"/>
                <a:gd name="connsiteX17" fmla="*/ 226841 w 292952"/>
                <a:gd name="connsiteY17" fmla="*/ 152073 h 169520"/>
                <a:gd name="connsiteX18" fmla="*/ 257364 w 292952"/>
                <a:gd name="connsiteY18" fmla="*/ 141444 h 169520"/>
                <a:gd name="connsiteX19" fmla="*/ 223553 w 292952"/>
                <a:gd name="connsiteY19" fmla="*/ 126704 h 169520"/>
                <a:gd name="connsiteX20" fmla="*/ 210605 w 292952"/>
                <a:gd name="connsiteY20" fmla="*/ 103308 h 169520"/>
                <a:gd name="connsiteX21" fmla="*/ 245065 w 292952"/>
                <a:gd name="connsiteY21" fmla="*/ 96623 h 169520"/>
                <a:gd name="connsiteX22" fmla="*/ 272220 w 292952"/>
                <a:gd name="connsiteY22" fmla="*/ 90473 h 169520"/>
                <a:gd name="connsiteX23" fmla="*/ 289836 w 292952"/>
                <a:gd name="connsiteY23" fmla="*/ 90473 h 169520"/>
                <a:gd name="connsiteX24" fmla="*/ 285452 w 292952"/>
                <a:gd name="connsiteY24" fmla="*/ 75600 h 169520"/>
                <a:gd name="connsiteX25" fmla="*/ 271489 w 292952"/>
                <a:gd name="connsiteY25" fmla="*/ 49797 h 169520"/>
                <a:gd name="connsiteX26" fmla="*/ 270393 w 292952"/>
                <a:gd name="connsiteY26" fmla="*/ 25197 h 169520"/>
                <a:gd name="connsiteX27" fmla="*/ 256146 w 292952"/>
                <a:gd name="connsiteY27" fmla="*/ 15638 h 169520"/>
                <a:gd name="connsiteX28" fmla="*/ 247744 w 292952"/>
                <a:gd name="connsiteY28" fmla="*/ 10658 h 169520"/>
                <a:gd name="connsiteX29" fmla="*/ 221239 w 292952"/>
                <a:gd name="connsiteY29" fmla="*/ 9254 h 169520"/>
                <a:gd name="connsiteX30" fmla="*/ 166037 w 292952"/>
                <a:gd name="connsiteY30" fmla="*/ 19582 h 169520"/>
                <a:gd name="connsiteX31" fmla="*/ 169000 w 292952"/>
                <a:gd name="connsiteY31" fmla="*/ 9555 h 169520"/>
                <a:gd name="connsiteX32" fmla="*/ 140222 w 292952"/>
                <a:gd name="connsiteY32" fmla="*/ 11226 h 169520"/>
                <a:gd name="connsiteX33" fmla="*/ 120171 w 292952"/>
                <a:gd name="connsiteY33" fmla="*/ 1199 h 169520"/>
                <a:gd name="connsiteX34" fmla="*/ 84776 w 292952"/>
                <a:gd name="connsiteY34" fmla="*/ -339 h 169520"/>
                <a:gd name="connsiteX35" fmla="*/ 99714 w 292952"/>
                <a:gd name="connsiteY35" fmla="*/ 22256 h 169520"/>
                <a:gd name="connsiteX36" fmla="*/ 83478 w 292952"/>
                <a:gd name="connsiteY36" fmla="*/ 30712 h 169520"/>
                <a:gd name="connsiteX37" fmla="*/ 45973 w 292952"/>
                <a:gd name="connsiteY37" fmla="*/ 27370 h 169520"/>
                <a:gd name="connsiteX38" fmla="*/ 36150 w 292952"/>
                <a:gd name="connsiteY38" fmla="*/ 45151 h 169520"/>
                <a:gd name="connsiteX39" fmla="*/ 35907 w 292952"/>
                <a:gd name="connsiteY39" fmla="*/ 44750 h 16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92952" h="169520">
                  <a:moveTo>
                    <a:pt x="35907" y="44750"/>
                  </a:moveTo>
                  <a:cubicBezTo>
                    <a:pt x="26693" y="52069"/>
                    <a:pt x="14394" y="49697"/>
                    <a:pt x="26693" y="57083"/>
                  </a:cubicBezTo>
                  <a:cubicBezTo>
                    <a:pt x="31807" y="60158"/>
                    <a:pt x="26206" y="69416"/>
                    <a:pt x="18575" y="71255"/>
                  </a:cubicBezTo>
                  <a:cubicBezTo>
                    <a:pt x="14191" y="72100"/>
                    <a:pt x="9645" y="72495"/>
                    <a:pt x="5139" y="72425"/>
                  </a:cubicBezTo>
                  <a:cubicBezTo>
                    <a:pt x="1649" y="72425"/>
                    <a:pt x="4206" y="79510"/>
                    <a:pt x="3394" y="80513"/>
                  </a:cubicBezTo>
                  <a:cubicBezTo>
                    <a:pt x="-3222" y="88835"/>
                    <a:pt x="471" y="95253"/>
                    <a:pt x="7697" y="102372"/>
                  </a:cubicBezTo>
                  <a:cubicBezTo>
                    <a:pt x="12527" y="107118"/>
                    <a:pt x="-705" y="108756"/>
                    <a:pt x="6276" y="114371"/>
                  </a:cubicBezTo>
                  <a:cubicBezTo>
                    <a:pt x="9889" y="117296"/>
                    <a:pt x="12243" y="121126"/>
                    <a:pt x="12973" y="125267"/>
                  </a:cubicBezTo>
                  <a:cubicBezTo>
                    <a:pt x="24460" y="126838"/>
                    <a:pt x="28032" y="132320"/>
                    <a:pt x="41386" y="132152"/>
                  </a:cubicBezTo>
                  <a:cubicBezTo>
                    <a:pt x="47718" y="132152"/>
                    <a:pt x="76902" y="135495"/>
                    <a:pt x="65740" y="140575"/>
                  </a:cubicBezTo>
                  <a:cubicBezTo>
                    <a:pt x="51290" y="147260"/>
                    <a:pt x="54781" y="156552"/>
                    <a:pt x="50235" y="165075"/>
                  </a:cubicBezTo>
                  <a:cubicBezTo>
                    <a:pt x="73452" y="165877"/>
                    <a:pt x="90824" y="160897"/>
                    <a:pt x="112946" y="166278"/>
                  </a:cubicBezTo>
                  <a:cubicBezTo>
                    <a:pt x="122119" y="168517"/>
                    <a:pt x="122688" y="164941"/>
                    <a:pt x="132794" y="168450"/>
                  </a:cubicBezTo>
                  <a:cubicBezTo>
                    <a:pt x="140912" y="171325"/>
                    <a:pt x="146067" y="164707"/>
                    <a:pt x="156336" y="166011"/>
                  </a:cubicBezTo>
                  <a:cubicBezTo>
                    <a:pt x="164454" y="167080"/>
                    <a:pt x="171923" y="170289"/>
                    <a:pt x="179716" y="166211"/>
                  </a:cubicBezTo>
                  <a:cubicBezTo>
                    <a:pt x="186210" y="162869"/>
                    <a:pt x="200660" y="162267"/>
                    <a:pt x="209225" y="162568"/>
                  </a:cubicBezTo>
                  <a:cubicBezTo>
                    <a:pt x="214136" y="162568"/>
                    <a:pt x="218357" y="164707"/>
                    <a:pt x="223350" y="164373"/>
                  </a:cubicBezTo>
                  <a:cubicBezTo>
                    <a:pt x="232199" y="163771"/>
                    <a:pt x="222741" y="154914"/>
                    <a:pt x="226841" y="152073"/>
                  </a:cubicBezTo>
                  <a:cubicBezTo>
                    <a:pt x="233741" y="147293"/>
                    <a:pt x="250667" y="146090"/>
                    <a:pt x="257364" y="141444"/>
                  </a:cubicBezTo>
                  <a:cubicBezTo>
                    <a:pt x="261423" y="138737"/>
                    <a:pt x="227774" y="128075"/>
                    <a:pt x="223553" y="126704"/>
                  </a:cubicBezTo>
                  <a:cubicBezTo>
                    <a:pt x="217627" y="124465"/>
                    <a:pt x="203501" y="103976"/>
                    <a:pt x="210605" y="103308"/>
                  </a:cubicBezTo>
                  <a:cubicBezTo>
                    <a:pt x="222051" y="101971"/>
                    <a:pt x="236014" y="100868"/>
                    <a:pt x="245065" y="96623"/>
                  </a:cubicBezTo>
                  <a:cubicBezTo>
                    <a:pt x="252696" y="93114"/>
                    <a:pt x="265360" y="93983"/>
                    <a:pt x="272220" y="90473"/>
                  </a:cubicBezTo>
                  <a:cubicBezTo>
                    <a:pt x="276969" y="88100"/>
                    <a:pt x="286264" y="93013"/>
                    <a:pt x="289836" y="90473"/>
                  </a:cubicBezTo>
                  <a:cubicBezTo>
                    <a:pt x="297548" y="84724"/>
                    <a:pt x="288618" y="80981"/>
                    <a:pt x="285452" y="75600"/>
                  </a:cubicBezTo>
                  <a:cubicBezTo>
                    <a:pt x="282286" y="70219"/>
                    <a:pt x="283504" y="53473"/>
                    <a:pt x="271489" y="49797"/>
                  </a:cubicBezTo>
                  <a:cubicBezTo>
                    <a:pt x="262762" y="47123"/>
                    <a:pt x="274980" y="31648"/>
                    <a:pt x="270393" y="25197"/>
                  </a:cubicBezTo>
                  <a:cubicBezTo>
                    <a:pt x="267512" y="21052"/>
                    <a:pt x="266741" y="16674"/>
                    <a:pt x="256146" y="15638"/>
                  </a:cubicBezTo>
                  <a:cubicBezTo>
                    <a:pt x="246486" y="14702"/>
                    <a:pt x="240276" y="15638"/>
                    <a:pt x="247744" y="10658"/>
                  </a:cubicBezTo>
                  <a:cubicBezTo>
                    <a:pt x="263615" y="-71"/>
                    <a:pt x="227450" y="10323"/>
                    <a:pt x="221239" y="9254"/>
                  </a:cubicBezTo>
                  <a:cubicBezTo>
                    <a:pt x="203258" y="6079"/>
                    <a:pt x="180893" y="29007"/>
                    <a:pt x="166037" y="19582"/>
                  </a:cubicBezTo>
                  <a:cubicBezTo>
                    <a:pt x="160395" y="16039"/>
                    <a:pt x="172897" y="11426"/>
                    <a:pt x="169000" y="9555"/>
                  </a:cubicBezTo>
                  <a:cubicBezTo>
                    <a:pt x="165104" y="7683"/>
                    <a:pt x="146757" y="12028"/>
                    <a:pt x="140222" y="11226"/>
                  </a:cubicBezTo>
                  <a:cubicBezTo>
                    <a:pt x="124351" y="9221"/>
                    <a:pt x="136163" y="931"/>
                    <a:pt x="120171" y="1199"/>
                  </a:cubicBezTo>
                  <a:cubicBezTo>
                    <a:pt x="108684" y="1399"/>
                    <a:pt x="96507" y="-305"/>
                    <a:pt x="84776" y="-339"/>
                  </a:cubicBezTo>
                  <a:cubicBezTo>
                    <a:pt x="93625" y="6145"/>
                    <a:pt x="91839" y="14635"/>
                    <a:pt x="99714" y="22256"/>
                  </a:cubicBezTo>
                  <a:cubicBezTo>
                    <a:pt x="102595" y="25063"/>
                    <a:pt x="87821" y="29843"/>
                    <a:pt x="83478" y="30712"/>
                  </a:cubicBezTo>
                  <a:cubicBezTo>
                    <a:pt x="72721" y="32751"/>
                    <a:pt x="58393" y="26300"/>
                    <a:pt x="45973" y="27370"/>
                  </a:cubicBezTo>
                  <a:cubicBezTo>
                    <a:pt x="24582" y="29074"/>
                    <a:pt x="44105" y="38767"/>
                    <a:pt x="36150" y="45151"/>
                  </a:cubicBezTo>
                  <a:cubicBezTo>
                    <a:pt x="28195" y="51535"/>
                    <a:pt x="38707" y="42510"/>
                    <a:pt x="35907" y="447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A04644D7-38B9-4EE6-9920-EE0F4B9084C6}"/>
                </a:ext>
              </a:extLst>
            </p:cNvPr>
            <p:cNvSpPr/>
            <p:nvPr/>
          </p:nvSpPr>
          <p:spPr>
            <a:xfrm>
              <a:off x="6460765" y="3401638"/>
              <a:ext cx="358021" cy="275616"/>
            </a:xfrm>
            <a:custGeom>
              <a:avLst/>
              <a:gdLst>
                <a:gd name="connsiteX0" fmla="*/ 302349 w 358021"/>
                <a:gd name="connsiteY0" fmla="*/ 241220 h 275616"/>
                <a:gd name="connsiteX1" fmla="*/ 357957 w 358021"/>
                <a:gd name="connsiteY1" fmla="*/ 216319 h 275616"/>
                <a:gd name="connsiteX2" fmla="*/ 309818 w 358021"/>
                <a:gd name="connsiteY2" fmla="*/ 184299 h 275616"/>
                <a:gd name="connsiteX3" fmla="*/ 325688 w 358021"/>
                <a:gd name="connsiteY3" fmla="*/ 175542 h 275616"/>
                <a:gd name="connsiteX4" fmla="*/ 315135 w 358021"/>
                <a:gd name="connsiteY4" fmla="*/ 161738 h 275616"/>
                <a:gd name="connsiteX5" fmla="*/ 300726 w 358021"/>
                <a:gd name="connsiteY5" fmla="*/ 152179 h 275616"/>
                <a:gd name="connsiteX6" fmla="*/ 304257 w 358021"/>
                <a:gd name="connsiteY6" fmla="*/ 135634 h 275616"/>
                <a:gd name="connsiteX7" fmla="*/ 319559 w 358021"/>
                <a:gd name="connsiteY7" fmla="*/ 130019 h 275616"/>
                <a:gd name="connsiteX8" fmla="*/ 294556 w 358021"/>
                <a:gd name="connsiteY8" fmla="*/ 105954 h 275616"/>
                <a:gd name="connsiteX9" fmla="*/ 320209 w 358021"/>
                <a:gd name="connsiteY9" fmla="*/ 77979 h 275616"/>
                <a:gd name="connsiteX10" fmla="*/ 299386 w 358021"/>
                <a:gd name="connsiteY10" fmla="*/ 65044 h 275616"/>
                <a:gd name="connsiteX11" fmla="*/ 270608 w 358021"/>
                <a:gd name="connsiteY11" fmla="*/ 52109 h 275616"/>
                <a:gd name="connsiteX12" fmla="*/ 298452 w 358021"/>
                <a:gd name="connsiteY12" fmla="*/ 16680 h 275616"/>
                <a:gd name="connsiteX13" fmla="*/ 267361 w 358021"/>
                <a:gd name="connsiteY13" fmla="*/ 6218 h 275616"/>
                <a:gd name="connsiteX14" fmla="*/ 235376 w 358021"/>
                <a:gd name="connsiteY14" fmla="*/ 2408 h 275616"/>
                <a:gd name="connsiteX15" fmla="*/ 204609 w 358021"/>
                <a:gd name="connsiteY15" fmla="*/ 2575 h 275616"/>
                <a:gd name="connsiteX16" fmla="*/ 178631 w 358021"/>
                <a:gd name="connsiteY16" fmla="*/ 12335 h 275616"/>
                <a:gd name="connsiteX17" fmla="*/ 177779 w 358021"/>
                <a:gd name="connsiteY17" fmla="*/ 27843 h 275616"/>
                <a:gd name="connsiteX18" fmla="*/ 158215 w 358021"/>
                <a:gd name="connsiteY18" fmla="*/ 32556 h 275616"/>
                <a:gd name="connsiteX19" fmla="*/ 106301 w 358021"/>
                <a:gd name="connsiteY19" fmla="*/ 32556 h 275616"/>
                <a:gd name="connsiteX20" fmla="*/ 61043 w 358021"/>
                <a:gd name="connsiteY20" fmla="*/ 28645 h 275616"/>
                <a:gd name="connsiteX21" fmla="*/ 29748 w 358021"/>
                <a:gd name="connsiteY21" fmla="*/ 14908 h 275616"/>
                <a:gd name="connsiteX22" fmla="*/ 10509 w 358021"/>
                <a:gd name="connsiteY22" fmla="*/ 18886 h 275616"/>
                <a:gd name="connsiteX23" fmla="*/ 19844 w 358021"/>
                <a:gd name="connsiteY23" fmla="*/ 28345 h 275616"/>
                <a:gd name="connsiteX24" fmla="*/ 72611 w 358021"/>
                <a:gd name="connsiteY24" fmla="*/ 44321 h 275616"/>
                <a:gd name="connsiteX25" fmla="*/ 91769 w 358021"/>
                <a:gd name="connsiteY25" fmla="*/ 57457 h 275616"/>
                <a:gd name="connsiteX26" fmla="*/ 97249 w 358021"/>
                <a:gd name="connsiteY26" fmla="*/ 74837 h 275616"/>
                <a:gd name="connsiteX27" fmla="*/ 97858 w 358021"/>
                <a:gd name="connsiteY27" fmla="*/ 83928 h 275616"/>
                <a:gd name="connsiteX28" fmla="*/ 106503 w 358021"/>
                <a:gd name="connsiteY28" fmla="*/ 90078 h 275616"/>
                <a:gd name="connsiteX29" fmla="*/ 96762 w 358021"/>
                <a:gd name="connsiteY29" fmla="*/ 103849 h 275616"/>
                <a:gd name="connsiteX30" fmla="*/ 106747 w 358021"/>
                <a:gd name="connsiteY30" fmla="*/ 111436 h 275616"/>
                <a:gd name="connsiteX31" fmla="*/ 128016 w 358021"/>
                <a:gd name="connsiteY31" fmla="*/ 122633 h 275616"/>
                <a:gd name="connsiteX32" fmla="*/ 148311 w 358021"/>
                <a:gd name="connsiteY32" fmla="*/ 142286 h 275616"/>
                <a:gd name="connsiteX33" fmla="*/ 125256 w 358021"/>
                <a:gd name="connsiteY33" fmla="*/ 147399 h 275616"/>
                <a:gd name="connsiteX34" fmla="*/ 91080 w 358021"/>
                <a:gd name="connsiteY34" fmla="*/ 166250 h 275616"/>
                <a:gd name="connsiteX35" fmla="*/ 57471 w 358021"/>
                <a:gd name="connsiteY35" fmla="*/ 174640 h 275616"/>
                <a:gd name="connsiteX36" fmla="*/ 27516 w 358021"/>
                <a:gd name="connsiteY36" fmla="*/ 187274 h 275616"/>
                <a:gd name="connsiteX37" fmla="*/ 483 w 358021"/>
                <a:gd name="connsiteY37" fmla="*/ 199808 h 275616"/>
                <a:gd name="connsiteX38" fmla="*/ 8601 w 358021"/>
                <a:gd name="connsiteY38" fmla="*/ 215717 h 275616"/>
                <a:gd name="connsiteX39" fmla="*/ 16394 w 358021"/>
                <a:gd name="connsiteY39" fmla="*/ 229287 h 275616"/>
                <a:gd name="connsiteX40" fmla="*/ 1823 w 358021"/>
                <a:gd name="connsiteY40" fmla="*/ 255491 h 275616"/>
                <a:gd name="connsiteX41" fmla="*/ 35471 w 358021"/>
                <a:gd name="connsiteY41" fmla="*/ 263379 h 275616"/>
                <a:gd name="connsiteX42" fmla="*/ 47446 w 358021"/>
                <a:gd name="connsiteY42" fmla="*/ 267958 h 275616"/>
                <a:gd name="connsiteX43" fmla="*/ 61855 w 358021"/>
                <a:gd name="connsiteY43" fmla="*/ 270031 h 275616"/>
                <a:gd name="connsiteX44" fmla="*/ 105489 w 358021"/>
                <a:gd name="connsiteY44" fmla="*/ 275178 h 275616"/>
                <a:gd name="connsiteX45" fmla="*/ 208871 w 358021"/>
                <a:gd name="connsiteY45" fmla="*/ 268861 h 275616"/>
                <a:gd name="connsiteX46" fmla="*/ 253520 w 358021"/>
                <a:gd name="connsiteY46" fmla="*/ 257163 h 275616"/>
                <a:gd name="connsiteX47" fmla="*/ 302674 w 358021"/>
                <a:gd name="connsiteY47" fmla="*/ 241286 h 275616"/>
                <a:gd name="connsiteX48" fmla="*/ 302349 w 358021"/>
                <a:gd name="connsiteY48" fmla="*/ 241220 h 27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58021" h="275616">
                  <a:moveTo>
                    <a:pt x="302349" y="241220"/>
                  </a:moveTo>
                  <a:cubicBezTo>
                    <a:pt x="312983" y="231192"/>
                    <a:pt x="358485" y="229588"/>
                    <a:pt x="357957" y="216319"/>
                  </a:cubicBezTo>
                  <a:cubicBezTo>
                    <a:pt x="357673" y="208164"/>
                    <a:pt x="298169" y="186873"/>
                    <a:pt x="309818" y="184299"/>
                  </a:cubicBezTo>
                  <a:cubicBezTo>
                    <a:pt x="316475" y="182795"/>
                    <a:pt x="334943" y="181659"/>
                    <a:pt x="325688" y="175542"/>
                  </a:cubicBezTo>
                  <a:cubicBezTo>
                    <a:pt x="316434" y="169426"/>
                    <a:pt x="303323" y="168857"/>
                    <a:pt x="315135" y="161738"/>
                  </a:cubicBezTo>
                  <a:cubicBezTo>
                    <a:pt x="321345" y="158095"/>
                    <a:pt x="292486" y="154820"/>
                    <a:pt x="300726" y="152179"/>
                  </a:cubicBezTo>
                  <a:cubicBezTo>
                    <a:pt x="316109" y="147266"/>
                    <a:pt x="292608" y="141951"/>
                    <a:pt x="304257" y="135634"/>
                  </a:cubicBezTo>
                  <a:cubicBezTo>
                    <a:pt x="309087" y="133094"/>
                    <a:pt x="322482" y="135133"/>
                    <a:pt x="319559" y="130019"/>
                  </a:cubicBezTo>
                  <a:cubicBezTo>
                    <a:pt x="314892" y="121764"/>
                    <a:pt x="303323" y="113307"/>
                    <a:pt x="294556" y="105954"/>
                  </a:cubicBezTo>
                  <a:cubicBezTo>
                    <a:pt x="271826" y="86335"/>
                    <a:pt x="318910" y="93186"/>
                    <a:pt x="320209" y="77979"/>
                  </a:cubicBezTo>
                  <a:cubicBezTo>
                    <a:pt x="320614" y="73801"/>
                    <a:pt x="305231" y="67617"/>
                    <a:pt x="299386" y="65044"/>
                  </a:cubicBezTo>
                  <a:cubicBezTo>
                    <a:pt x="287209" y="59663"/>
                    <a:pt x="279091" y="60064"/>
                    <a:pt x="270608" y="52109"/>
                  </a:cubicBezTo>
                  <a:cubicBezTo>
                    <a:pt x="255509" y="38171"/>
                    <a:pt x="320899" y="30952"/>
                    <a:pt x="298452" y="16680"/>
                  </a:cubicBezTo>
                  <a:cubicBezTo>
                    <a:pt x="290822" y="11833"/>
                    <a:pt x="276169" y="10563"/>
                    <a:pt x="267361" y="6218"/>
                  </a:cubicBezTo>
                  <a:cubicBezTo>
                    <a:pt x="258553" y="1873"/>
                    <a:pt x="246822" y="-3809"/>
                    <a:pt x="235376" y="2408"/>
                  </a:cubicBezTo>
                  <a:cubicBezTo>
                    <a:pt x="229937" y="5416"/>
                    <a:pt x="212077" y="2074"/>
                    <a:pt x="204609" y="2575"/>
                  </a:cubicBezTo>
                  <a:cubicBezTo>
                    <a:pt x="195598" y="5132"/>
                    <a:pt x="186871" y="8401"/>
                    <a:pt x="178631" y="12335"/>
                  </a:cubicBezTo>
                  <a:cubicBezTo>
                    <a:pt x="171813" y="16580"/>
                    <a:pt x="183421" y="23365"/>
                    <a:pt x="177779" y="27843"/>
                  </a:cubicBezTo>
                  <a:cubicBezTo>
                    <a:pt x="172137" y="32322"/>
                    <a:pt x="160529" y="25370"/>
                    <a:pt x="158215" y="32556"/>
                  </a:cubicBezTo>
                  <a:cubicBezTo>
                    <a:pt x="152370" y="50906"/>
                    <a:pt x="119614" y="22930"/>
                    <a:pt x="106301" y="32556"/>
                  </a:cubicBezTo>
                  <a:cubicBezTo>
                    <a:pt x="99766" y="37269"/>
                    <a:pt x="68511" y="30985"/>
                    <a:pt x="61043" y="28645"/>
                  </a:cubicBezTo>
                  <a:cubicBezTo>
                    <a:pt x="49962" y="25303"/>
                    <a:pt x="43265" y="16212"/>
                    <a:pt x="29748" y="14908"/>
                  </a:cubicBezTo>
                  <a:cubicBezTo>
                    <a:pt x="22970" y="14334"/>
                    <a:pt x="16150" y="15744"/>
                    <a:pt x="10509" y="18886"/>
                  </a:cubicBezTo>
                  <a:cubicBezTo>
                    <a:pt x="1660" y="23899"/>
                    <a:pt x="11970" y="24668"/>
                    <a:pt x="19844" y="28345"/>
                  </a:cubicBezTo>
                  <a:cubicBezTo>
                    <a:pt x="35756" y="35698"/>
                    <a:pt x="53534" y="39375"/>
                    <a:pt x="72611" y="44321"/>
                  </a:cubicBezTo>
                  <a:cubicBezTo>
                    <a:pt x="85519" y="47664"/>
                    <a:pt x="94976" y="50204"/>
                    <a:pt x="91769" y="57457"/>
                  </a:cubicBezTo>
                  <a:cubicBezTo>
                    <a:pt x="88238" y="65378"/>
                    <a:pt x="97290" y="68186"/>
                    <a:pt x="97249" y="74837"/>
                  </a:cubicBezTo>
                  <a:cubicBezTo>
                    <a:pt x="97249" y="77711"/>
                    <a:pt x="95463" y="81054"/>
                    <a:pt x="97858" y="83928"/>
                  </a:cubicBezTo>
                  <a:cubicBezTo>
                    <a:pt x="100253" y="86803"/>
                    <a:pt x="105205" y="86970"/>
                    <a:pt x="106503" y="90078"/>
                  </a:cubicBezTo>
                  <a:cubicBezTo>
                    <a:pt x="109061" y="96195"/>
                    <a:pt x="93799" y="100774"/>
                    <a:pt x="96762" y="103849"/>
                  </a:cubicBezTo>
                  <a:cubicBezTo>
                    <a:pt x="99725" y="106924"/>
                    <a:pt x="104880" y="108595"/>
                    <a:pt x="106747" y="111436"/>
                  </a:cubicBezTo>
                  <a:cubicBezTo>
                    <a:pt x="112227" y="119257"/>
                    <a:pt x="112145" y="118120"/>
                    <a:pt x="128016" y="122633"/>
                  </a:cubicBezTo>
                  <a:cubicBezTo>
                    <a:pt x="147418" y="128114"/>
                    <a:pt x="148920" y="132058"/>
                    <a:pt x="148311" y="142286"/>
                  </a:cubicBezTo>
                  <a:cubicBezTo>
                    <a:pt x="147946" y="147901"/>
                    <a:pt x="132400" y="140949"/>
                    <a:pt x="125256" y="147399"/>
                  </a:cubicBezTo>
                  <a:cubicBezTo>
                    <a:pt x="116570" y="155254"/>
                    <a:pt x="110319" y="163209"/>
                    <a:pt x="91080" y="166250"/>
                  </a:cubicBezTo>
                  <a:cubicBezTo>
                    <a:pt x="77807" y="168356"/>
                    <a:pt x="70460" y="172133"/>
                    <a:pt x="57471" y="174640"/>
                  </a:cubicBezTo>
                  <a:cubicBezTo>
                    <a:pt x="40302" y="177982"/>
                    <a:pt x="50003" y="187374"/>
                    <a:pt x="27516" y="187274"/>
                  </a:cubicBezTo>
                  <a:cubicBezTo>
                    <a:pt x="16678" y="187936"/>
                    <a:pt x="6775" y="192531"/>
                    <a:pt x="483" y="199808"/>
                  </a:cubicBezTo>
                  <a:cubicBezTo>
                    <a:pt x="-2805" y="204253"/>
                    <a:pt x="9981" y="210269"/>
                    <a:pt x="8601" y="215717"/>
                  </a:cubicBezTo>
                  <a:cubicBezTo>
                    <a:pt x="7343" y="220463"/>
                    <a:pt x="14689" y="224675"/>
                    <a:pt x="16394" y="229287"/>
                  </a:cubicBezTo>
                  <a:cubicBezTo>
                    <a:pt x="19520" y="237911"/>
                    <a:pt x="-4185" y="247971"/>
                    <a:pt x="1823" y="255491"/>
                  </a:cubicBezTo>
                  <a:cubicBezTo>
                    <a:pt x="2878" y="256795"/>
                    <a:pt x="31656" y="263413"/>
                    <a:pt x="35471" y="263379"/>
                  </a:cubicBezTo>
                  <a:cubicBezTo>
                    <a:pt x="41398" y="263379"/>
                    <a:pt x="44158" y="265986"/>
                    <a:pt x="47446" y="267958"/>
                  </a:cubicBezTo>
                  <a:cubicBezTo>
                    <a:pt x="52113" y="270766"/>
                    <a:pt x="56456" y="268761"/>
                    <a:pt x="61855" y="270031"/>
                  </a:cubicBezTo>
                  <a:cubicBezTo>
                    <a:pt x="75899" y="273985"/>
                    <a:pt x="90674" y="275729"/>
                    <a:pt x="105489" y="275178"/>
                  </a:cubicBezTo>
                  <a:cubicBezTo>
                    <a:pt x="140518" y="273640"/>
                    <a:pt x="173193" y="267958"/>
                    <a:pt x="208871" y="268861"/>
                  </a:cubicBezTo>
                  <a:cubicBezTo>
                    <a:pt x="233671" y="269529"/>
                    <a:pt x="234808" y="263045"/>
                    <a:pt x="253520" y="257163"/>
                  </a:cubicBezTo>
                  <a:cubicBezTo>
                    <a:pt x="269066" y="252249"/>
                    <a:pt x="293501" y="249976"/>
                    <a:pt x="302674" y="241286"/>
                  </a:cubicBezTo>
                  <a:cubicBezTo>
                    <a:pt x="311847" y="232596"/>
                    <a:pt x="293379" y="249742"/>
                    <a:pt x="302349" y="2412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29154B11-3F7A-45F3-A771-1CF070B0E581}"/>
                </a:ext>
              </a:extLst>
            </p:cNvPr>
            <p:cNvSpPr/>
            <p:nvPr/>
          </p:nvSpPr>
          <p:spPr>
            <a:xfrm>
              <a:off x="6832069" y="4319272"/>
              <a:ext cx="611059" cy="299682"/>
            </a:xfrm>
            <a:custGeom>
              <a:avLst/>
              <a:gdLst>
                <a:gd name="connsiteX0" fmla="*/ 384432 w 611059"/>
                <a:gd name="connsiteY0" fmla="*/ 86178 h 299682"/>
                <a:gd name="connsiteX1" fmla="*/ 333289 w 611059"/>
                <a:gd name="connsiteY1" fmla="*/ 76552 h 299682"/>
                <a:gd name="connsiteX2" fmla="*/ 280523 w 611059"/>
                <a:gd name="connsiteY2" fmla="*/ 55863 h 299682"/>
                <a:gd name="connsiteX3" fmla="*/ 179819 w 611059"/>
                <a:gd name="connsiteY3" fmla="*/ 4792 h 299682"/>
                <a:gd name="connsiteX4" fmla="*/ 126443 w 611059"/>
                <a:gd name="connsiteY4" fmla="*/ 1449 h 299682"/>
                <a:gd name="connsiteX5" fmla="*/ 86259 w 611059"/>
                <a:gd name="connsiteY5" fmla="*/ 12145 h 299682"/>
                <a:gd name="connsiteX6" fmla="*/ 74529 w 611059"/>
                <a:gd name="connsiteY6" fmla="*/ 32199 h 299682"/>
                <a:gd name="connsiteX7" fmla="*/ 49689 w 611059"/>
                <a:gd name="connsiteY7" fmla="*/ 42627 h 299682"/>
                <a:gd name="connsiteX8" fmla="*/ 6704 w 611059"/>
                <a:gd name="connsiteY8" fmla="*/ 33536 h 299682"/>
                <a:gd name="connsiteX9" fmla="*/ 26674 w 611059"/>
                <a:gd name="connsiteY9" fmla="*/ 81265 h 299682"/>
                <a:gd name="connsiteX10" fmla="*/ 60404 w 611059"/>
                <a:gd name="connsiteY10" fmla="*/ 114087 h 299682"/>
                <a:gd name="connsiteX11" fmla="*/ 86259 w 611059"/>
                <a:gd name="connsiteY11" fmla="*/ 144168 h 299682"/>
                <a:gd name="connsiteX12" fmla="*/ 116783 w 611059"/>
                <a:gd name="connsiteY12" fmla="*/ 173547 h 299682"/>
                <a:gd name="connsiteX13" fmla="*/ 130462 w 611059"/>
                <a:gd name="connsiteY13" fmla="*/ 213221 h 299682"/>
                <a:gd name="connsiteX14" fmla="*/ 156642 w 611059"/>
                <a:gd name="connsiteY14" fmla="*/ 229164 h 299682"/>
                <a:gd name="connsiteX15" fmla="*/ 172878 w 611059"/>
                <a:gd name="connsiteY15" fmla="*/ 252928 h 299682"/>
                <a:gd name="connsiteX16" fmla="*/ 205350 w 611059"/>
                <a:gd name="connsiteY16" fmla="*/ 295410 h 299682"/>
                <a:gd name="connsiteX17" fmla="*/ 219232 w 611059"/>
                <a:gd name="connsiteY17" fmla="*/ 286118 h 299682"/>
                <a:gd name="connsiteX18" fmla="*/ 242409 w 611059"/>
                <a:gd name="connsiteY18" fmla="*/ 280436 h 299682"/>
                <a:gd name="connsiteX19" fmla="*/ 273379 w 611059"/>
                <a:gd name="connsiteY19" fmla="*/ 284881 h 299682"/>
                <a:gd name="connsiteX20" fmla="*/ 296352 w 611059"/>
                <a:gd name="connsiteY20" fmla="*/ 290363 h 299682"/>
                <a:gd name="connsiteX21" fmla="*/ 352407 w 611059"/>
                <a:gd name="connsiteY21" fmla="*/ 296112 h 299682"/>
                <a:gd name="connsiteX22" fmla="*/ 397502 w 611059"/>
                <a:gd name="connsiteY22" fmla="*/ 280302 h 299682"/>
                <a:gd name="connsiteX23" fmla="*/ 450269 w 611059"/>
                <a:gd name="connsiteY23" fmla="*/ 284614 h 299682"/>
                <a:gd name="connsiteX24" fmla="*/ 493132 w 611059"/>
                <a:gd name="connsiteY24" fmla="*/ 284614 h 299682"/>
                <a:gd name="connsiteX25" fmla="*/ 553245 w 611059"/>
                <a:gd name="connsiteY25" fmla="*/ 282408 h 299682"/>
                <a:gd name="connsiteX26" fmla="*/ 586407 w 611059"/>
                <a:gd name="connsiteY26" fmla="*/ 279066 h 299682"/>
                <a:gd name="connsiteX27" fmla="*/ 591805 w 611059"/>
                <a:gd name="connsiteY27" fmla="*/ 233208 h 299682"/>
                <a:gd name="connsiteX28" fmla="*/ 535994 w 611059"/>
                <a:gd name="connsiteY28" fmla="*/ 221243 h 299682"/>
                <a:gd name="connsiteX29" fmla="*/ 502954 w 611059"/>
                <a:gd name="connsiteY29" fmla="*/ 193668 h 299682"/>
                <a:gd name="connsiteX30" fmla="*/ 497271 w 611059"/>
                <a:gd name="connsiteY30" fmla="*/ 184744 h 299682"/>
                <a:gd name="connsiteX31" fmla="*/ 484648 w 611059"/>
                <a:gd name="connsiteY31" fmla="*/ 181770 h 299682"/>
                <a:gd name="connsiteX32" fmla="*/ 466342 w 611059"/>
                <a:gd name="connsiteY32" fmla="*/ 164490 h 299682"/>
                <a:gd name="connsiteX33" fmla="*/ 452136 w 611059"/>
                <a:gd name="connsiteY33" fmla="*/ 131267 h 299682"/>
                <a:gd name="connsiteX34" fmla="*/ 431313 w 611059"/>
                <a:gd name="connsiteY34" fmla="*/ 115758 h 299682"/>
                <a:gd name="connsiteX35" fmla="*/ 421450 w 611059"/>
                <a:gd name="connsiteY35" fmla="*/ 99380 h 299682"/>
                <a:gd name="connsiteX36" fmla="*/ 384432 w 611059"/>
                <a:gd name="connsiteY36" fmla="*/ 86178 h 29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11059" h="299682">
                  <a:moveTo>
                    <a:pt x="384432" y="86178"/>
                  </a:moveTo>
                  <a:cubicBezTo>
                    <a:pt x="367465" y="82836"/>
                    <a:pt x="350459" y="79259"/>
                    <a:pt x="333289" y="76552"/>
                  </a:cubicBezTo>
                  <a:cubicBezTo>
                    <a:pt x="309706" y="72875"/>
                    <a:pt x="297083" y="65623"/>
                    <a:pt x="280523" y="55863"/>
                  </a:cubicBezTo>
                  <a:cubicBezTo>
                    <a:pt x="248659" y="36674"/>
                    <a:pt x="214970" y="19598"/>
                    <a:pt x="179819" y="4792"/>
                  </a:cubicBezTo>
                  <a:cubicBezTo>
                    <a:pt x="162081" y="-2361"/>
                    <a:pt x="144303" y="-556"/>
                    <a:pt x="126443" y="1449"/>
                  </a:cubicBezTo>
                  <a:cubicBezTo>
                    <a:pt x="114916" y="2619"/>
                    <a:pt x="62271" y="-322"/>
                    <a:pt x="86259" y="12145"/>
                  </a:cubicBezTo>
                  <a:cubicBezTo>
                    <a:pt x="106230" y="22540"/>
                    <a:pt x="103998" y="33102"/>
                    <a:pt x="74529" y="32199"/>
                  </a:cubicBezTo>
                  <a:cubicBezTo>
                    <a:pt x="59917" y="31698"/>
                    <a:pt x="61500" y="39652"/>
                    <a:pt x="49689" y="42627"/>
                  </a:cubicBezTo>
                  <a:cubicBezTo>
                    <a:pt x="34548" y="46437"/>
                    <a:pt x="19043" y="38516"/>
                    <a:pt x="6704" y="33536"/>
                  </a:cubicBezTo>
                  <a:cubicBezTo>
                    <a:pt x="-10181" y="50248"/>
                    <a:pt x="7597" y="66959"/>
                    <a:pt x="26674" y="81265"/>
                  </a:cubicBezTo>
                  <a:cubicBezTo>
                    <a:pt x="39541" y="91008"/>
                    <a:pt x="50865" y="102034"/>
                    <a:pt x="60404" y="114087"/>
                  </a:cubicBezTo>
                  <a:cubicBezTo>
                    <a:pt x="69618" y="125685"/>
                    <a:pt x="67020" y="134509"/>
                    <a:pt x="86259" y="144168"/>
                  </a:cubicBezTo>
                  <a:cubicBezTo>
                    <a:pt x="96123" y="149048"/>
                    <a:pt x="116175" y="166161"/>
                    <a:pt x="116783" y="173547"/>
                  </a:cubicBezTo>
                  <a:cubicBezTo>
                    <a:pt x="117920" y="187485"/>
                    <a:pt x="111953" y="200821"/>
                    <a:pt x="130462" y="213221"/>
                  </a:cubicBezTo>
                  <a:cubicBezTo>
                    <a:pt x="138864" y="218870"/>
                    <a:pt x="149458" y="222747"/>
                    <a:pt x="156642" y="229164"/>
                  </a:cubicBezTo>
                  <a:cubicBezTo>
                    <a:pt x="164760" y="236517"/>
                    <a:pt x="167520" y="244973"/>
                    <a:pt x="172878" y="252928"/>
                  </a:cubicBezTo>
                  <a:cubicBezTo>
                    <a:pt x="183107" y="267702"/>
                    <a:pt x="197679" y="280135"/>
                    <a:pt x="205350" y="295410"/>
                  </a:cubicBezTo>
                  <a:cubicBezTo>
                    <a:pt x="217892" y="293404"/>
                    <a:pt x="220044" y="293906"/>
                    <a:pt x="219232" y="286118"/>
                  </a:cubicBezTo>
                  <a:cubicBezTo>
                    <a:pt x="218542" y="279433"/>
                    <a:pt x="234209" y="277729"/>
                    <a:pt x="242409" y="280436"/>
                  </a:cubicBezTo>
                  <a:cubicBezTo>
                    <a:pt x="251866" y="283778"/>
                    <a:pt x="263231" y="283244"/>
                    <a:pt x="273379" y="284881"/>
                  </a:cubicBezTo>
                  <a:cubicBezTo>
                    <a:pt x="281497" y="286218"/>
                    <a:pt x="288519" y="288992"/>
                    <a:pt x="296352" y="290363"/>
                  </a:cubicBezTo>
                  <a:cubicBezTo>
                    <a:pt x="312263" y="293204"/>
                    <a:pt x="343315" y="304935"/>
                    <a:pt x="352407" y="296112"/>
                  </a:cubicBezTo>
                  <a:cubicBezTo>
                    <a:pt x="360525" y="288157"/>
                    <a:pt x="383255" y="283611"/>
                    <a:pt x="397502" y="280302"/>
                  </a:cubicBezTo>
                  <a:cubicBezTo>
                    <a:pt x="411749" y="276993"/>
                    <a:pt x="434642" y="283143"/>
                    <a:pt x="450269" y="284614"/>
                  </a:cubicBezTo>
                  <a:cubicBezTo>
                    <a:pt x="464516" y="285533"/>
                    <a:pt x="478885" y="285533"/>
                    <a:pt x="493132" y="284614"/>
                  </a:cubicBezTo>
                  <a:cubicBezTo>
                    <a:pt x="513183" y="283945"/>
                    <a:pt x="533234" y="283210"/>
                    <a:pt x="553245" y="282408"/>
                  </a:cubicBezTo>
                  <a:cubicBezTo>
                    <a:pt x="561850" y="282074"/>
                    <a:pt x="581049" y="283478"/>
                    <a:pt x="586407" y="279066"/>
                  </a:cubicBezTo>
                  <a:cubicBezTo>
                    <a:pt x="599233" y="268571"/>
                    <a:pt x="631583" y="240762"/>
                    <a:pt x="591805" y="233208"/>
                  </a:cubicBezTo>
                  <a:cubicBezTo>
                    <a:pt x="573093" y="229666"/>
                    <a:pt x="554382" y="225621"/>
                    <a:pt x="535994" y="221243"/>
                  </a:cubicBezTo>
                  <a:cubicBezTo>
                    <a:pt x="513832" y="215962"/>
                    <a:pt x="513467" y="204030"/>
                    <a:pt x="502954" y="193668"/>
                  </a:cubicBezTo>
                  <a:cubicBezTo>
                    <a:pt x="500194" y="191118"/>
                    <a:pt x="498246" y="188056"/>
                    <a:pt x="497271" y="184744"/>
                  </a:cubicBezTo>
                  <a:cubicBezTo>
                    <a:pt x="492847" y="184497"/>
                    <a:pt x="488545" y="183484"/>
                    <a:pt x="484648" y="181770"/>
                  </a:cubicBezTo>
                  <a:cubicBezTo>
                    <a:pt x="476530" y="178126"/>
                    <a:pt x="470888" y="169704"/>
                    <a:pt x="466342" y="164490"/>
                  </a:cubicBezTo>
                  <a:cubicBezTo>
                    <a:pt x="455099" y="151722"/>
                    <a:pt x="470401" y="144168"/>
                    <a:pt x="452136" y="131267"/>
                  </a:cubicBezTo>
                  <a:cubicBezTo>
                    <a:pt x="444870" y="126410"/>
                    <a:pt x="437889" y="121233"/>
                    <a:pt x="431313" y="115758"/>
                  </a:cubicBezTo>
                  <a:cubicBezTo>
                    <a:pt x="428635" y="113351"/>
                    <a:pt x="422992" y="99648"/>
                    <a:pt x="421450" y="99380"/>
                  </a:cubicBezTo>
                  <a:cubicBezTo>
                    <a:pt x="402048" y="96005"/>
                    <a:pt x="397908" y="94968"/>
                    <a:pt x="384432" y="8617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07CBB08F-A873-4493-9B3E-807978F00F52}"/>
                </a:ext>
              </a:extLst>
            </p:cNvPr>
            <p:cNvSpPr/>
            <p:nvPr/>
          </p:nvSpPr>
          <p:spPr>
            <a:xfrm>
              <a:off x="7321932" y="4517090"/>
              <a:ext cx="248503" cy="135687"/>
            </a:xfrm>
            <a:custGeom>
              <a:avLst/>
              <a:gdLst>
                <a:gd name="connsiteX0" fmla="*/ 141761 w 248503"/>
                <a:gd name="connsiteY0" fmla="*/ -339 h 135687"/>
                <a:gd name="connsiteX1" fmla="*/ 126012 w 248503"/>
                <a:gd name="connsiteY1" fmla="*/ 18445 h 135687"/>
                <a:gd name="connsiteX2" fmla="*/ 103647 w 248503"/>
                <a:gd name="connsiteY2" fmla="*/ 35391 h 135687"/>
                <a:gd name="connsiteX3" fmla="*/ 98168 w 248503"/>
                <a:gd name="connsiteY3" fmla="*/ 79376 h 135687"/>
                <a:gd name="connsiteX4" fmla="*/ 72150 w 248503"/>
                <a:gd name="connsiteY4" fmla="*/ 83822 h 135687"/>
                <a:gd name="connsiteX5" fmla="*/ -60 w 248503"/>
                <a:gd name="connsiteY5" fmla="*/ 86496 h 135687"/>
                <a:gd name="connsiteX6" fmla="*/ 26730 w 248503"/>
                <a:gd name="connsiteY6" fmla="*/ 134124 h 135687"/>
                <a:gd name="connsiteX7" fmla="*/ 68618 w 248503"/>
                <a:gd name="connsiteY7" fmla="*/ 134325 h 135687"/>
                <a:gd name="connsiteX8" fmla="*/ 92445 w 248503"/>
                <a:gd name="connsiteY8" fmla="*/ 126771 h 135687"/>
                <a:gd name="connsiteX9" fmla="*/ 121466 w 248503"/>
                <a:gd name="connsiteY9" fmla="*/ 125334 h 135687"/>
                <a:gd name="connsiteX10" fmla="*/ 141355 w 248503"/>
                <a:gd name="connsiteY10" fmla="*/ 118850 h 135687"/>
                <a:gd name="connsiteX11" fmla="*/ 166399 w 248503"/>
                <a:gd name="connsiteY11" fmla="*/ 114371 h 135687"/>
                <a:gd name="connsiteX12" fmla="*/ 175856 w 248503"/>
                <a:gd name="connsiteY12" fmla="*/ 100701 h 135687"/>
                <a:gd name="connsiteX13" fmla="*/ 215594 w 248503"/>
                <a:gd name="connsiteY13" fmla="*/ 83989 h 135687"/>
                <a:gd name="connsiteX14" fmla="*/ 243723 w 248503"/>
                <a:gd name="connsiteY14" fmla="*/ 60592 h 135687"/>
                <a:gd name="connsiteX15" fmla="*/ 213889 w 248503"/>
                <a:gd name="connsiteY15" fmla="*/ 34856 h 135687"/>
                <a:gd name="connsiteX16" fmla="*/ 164207 w 248503"/>
                <a:gd name="connsiteY16" fmla="*/ -138 h 135687"/>
                <a:gd name="connsiteX17" fmla="*/ 141761 w 248503"/>
                <a:gd name="connsiteY17" fmla="*/ -339 h 135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503" h="135687">
                  <a:moveTo>
                    <a:pt x="141761" y="-339"/>
                  </a:moveTo>
                  <a:cubicBezTo>
                    <a:pt x="139366" y="9889"/>
                    <a:pt x="139001" y="12229"/>
                    <a:pt x="126012" y="18445"/>
                  </a:cubicBezTo>
                  <a:cubicBezTo>
                    <a:pt x="117367" y="22917"/>
                    <a:pt x="109777" y="28663"/>
                    <a:pt x="103647" y="35391"/>
                  </a:cubicBezTo>
                  <a:cubicBezTo>
                    <a:pt x="141477" y="42510"/>
                    <a:pt x="108599" y="69717"/>
                    <a:pt x="98168" y="79376"/>
                  </a:cubicBezTo>
                  <a:cubicBezTo>
                    <a:pt x="92729" y="84390"/>
                    <a:pt x="82216" y="83387"/>
                    <a:pt x="72150" y="83822"/>
                  </a:cubicBezTo>
                  <a:cubicBezTo>
                    <a:pt x="48120" y="84858"/>
                    <a:pt x="24051" y="85694"/>
                    <a:pt x="-60" y="86496"/>
                  </a:cubicBezTo>
                  <a:cubicBezTo>
                    <a:pt x="8911" y="102382"/>
                    <a:pt x="17841" y="118258"/>
                    <a:pt x="26730" y="134124"/>
                  </a:cubicBezTo>
                  <a:cubicBezTo>
                    <a:pt x="40652" y="132537"/>
                    <a:pt x="54737" y="132607"/>
                    <a:pt x="68618" y="134325"/>
                  </a:cubicBezTo>
                  <a:cubicBezTo>
                    <a:pt x="88913" y="137032"/>
                    <a:pt x="84854" y="134325"/>
                    <a:pt x="92445" y="126771"/>
                  </a:cubicBezTo>
                  <a:cubicBezTo>
                    <a:pt x="98168" y="121022"/>
                    <a:pt x="112009" y="123429"/>
                    <a:pt x="121466" y="125334"/>
                  </a:cubicBezTo>
                  <a:cubicBezTo>
                    <a:pt x="132994" y="127640"/>
                    <a:pt x="135388" y="123295"/>
                    <a:pt x="141355" y="118850"/>
                  </a:cubicBezTo>
                  <a:cubicBezTo>
                    <a:pt x="148458" y="113636"/>
                    <a:pt x="154831" y="114070"/>
                    <a:pt x="166399" y="114371"/>
                  </a:cubicBezTo>
                  <a:cubicBezTo>
                    <a:pt x="175085" y="114605"/>
                    <a:pt x="173949" y="104344"/>
                    <a:pt x="175856" y="100701"/>
                  </a:cubicBezTo>
                  <a:cubicBezTo>
                    <a:pt x="182676" y="87331"/>
                    <a:pt x="202605" y="93347"/>
                    <a:pt x="215594" y="83989"/>
                  </a:cubicBezTo>
                  <a:cubicBezTo>
                    <a:pt x="220140" y="80647"/>
                    <a:pt x="262353" y="65405"/>
                    <a:pt x="243723" y="60592"/>
                  </a:cubicBezTo>
                  <a:cubicBezTo>
                    <a:pt x="226391" y="55980"/>
                    <a:pt x="231546" y="39736"/>
                    <a:pt x="213889" y="34856"/>
                  </a:cubicBezTo>
                  <a:cubicBezTo>
                    <a:pt x="185192" y="26901"/>
                    <a:pt x="167454" y="18445"/>
                    <a:pt x="164207" y="-138"/>
                  </a:cubicBezTo>
                  <a:cubicBezTo>
                    <a:pt x="156861" y="1653"/>
                    <a:pt x="149067" y="1583"/>
                    <a:pt x="141761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97E2BBED-87DD-403E-A759-7E89F6070F47}"/>
                </a:ext>
              </a:extLst>
            </p:cNvPr>
            <p:cNvSpPr/>
            <p:nvPr/>
          </p:nvSpPr>
          <p:spPr>
            <a:xfrm>
              <a:off x="7308785" y="4476867"/>
              <a:ext cx="30062" cy="27154"/>
            </a:xfrm>
            <a:custGeom>
              <a:avLst/>
              <a:gdLst>
                <a:gd name="connsiteX0" fmla="*/ 20435 w 30062"/>
                <a:gd name="connsiteY0" fmla="*/ 26816 h 27154"/>
                <a:gd name="connsiteX1" fmla="*/ 29973 w 30062"/>
                <a:gd name="connsiteY1" fmla="*/ 7530 h 27154"/>
                <a:gd name="connsiteX2" fmla="*/ 10328 w 30062"/>
                <a:gd name="connsiteY2" fmla="*/ 1681 h 27154"/>
                <a:gd name="connsiteX3" fmla="*/ 20435 w 30062"/>
                <a:gd name="connsiteY3" fmla="*/ 26816 h 27154"/>
                <a:gd name="connsiteX4" fmla="*/ 20435 w 30062"/>
                <a:gd name="connsiteY4" fmla="*/ 26816 h 2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62" h="27154">
                  <a:moveTo>
                    <a:pt x="20435" y="26816"/>
                  </a:moveTo>
                  <a:cubicBezTo>
                    <a:pt x="19095" y="20131"/>
                    <a:pt x="30663" y="14783"/>
                    <a:pt x="29973" y="7530"/>
                  </a:cubicBezTo>
                  <a:cubicBezTo>
                    <a:pt x="29324" y="846"/>
                    <a:pt x="18608" y="-2898"/>
                    <a:pt x="10328" y="1681"/>
                  </a:cubicBezTo>
                  <a:cubicBezTo>
                    <a:pt x="-3026" y="9068"/>
                    <a:pt x="-7167" y="25078"/>
                    <a:pt x="20435" y="26816"/>
                  </a:cubicBezTo>
                  <a:cubicBezTo>
                    <a:pt x="20069" y="24944"/>
                    <a:pt x="13006" y="26314"/>
                    <a:pt x="20435" y="2681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E197709E-F274-41F2-97D3-7D6AC139A50F}"/>
                </a:ext>
              </a:extLst>
            </p:cNvPr>
            <p:cNvSpPr/>
            <p:nvPr/>
          </p:nvSpPr>
          <p:spPr>
            <a:xfrm>
              <a:off x="7339426" y="4495402"/>
              <a:ext cx="146026" cy="56038"/>
            </a:xfrm>
            <a:custGeom>
              <a:avLst/>
              <a:gdLst>
                <a:gd name="connsiteX0" fmla="*/ 18530 w 146026"/>
                <a:gd name="connsiteY0" fmla="*/ 42038 h 56038"/>
                <a:gd name="connsiteX1" fmla="*/ 59445 w 146026"/>
                <a:gd name="connsiteY1" fmla="*/ 51664 h 56038"/>
                <a:gd name="connsiteX2" fmla="*/ 95204 w 146026"/>
                <a:gd name="connsiteY2" fmla="*/ 48322 h 56038"/>
                <a:gd name="connsiteX3" fmla="*/ 118503 w 146026"/>
                <a:gd name="connsiteY3" fmla="*/ 35219 h 56038"/>
                <a:gd name="connsiteX4" fmla="*/ 126012 w 146026"/>
                <a:gd name="connsiteY4" fmla="*/ 21482 h 56038"/>
                <a:gd name="connsiteX5" fmla="*/ 145536 w 146026"/>
                <a:gd name="connsiteY5" fmla="*/ 6375 h 56038"/>
                <a:gd name="connsiteX6" fmla="*/ 111359 w 146026"/>
                <a:gd name="connsiteY6" fmla="*/ 10486 h 56038"/>
                <a:gd name="connsiteX7" fmla="*/ 49825 w 146026"/>
                <a:gd name="connsiteY7" fmla="*/ 23856 h 56038"/>
                <a:gd name="connsiteX8" fmla="*/ 16176 w 146026"/>
                <a:gd name="connsiteY8" fmla="*/ 20112 h 56038"/>
                <a:gd name="connsiteX9" fmla="*/ -60 w 146026"/>
                <a:gd name="connsiteY9" fmla="*/ 20580 h 56038"/>
                <a:gd name="connsiteX10" fmla="*/ 18571 w 146026"/>
                <a:gd name="connsiteY10" fmla="*/ 41837 h 5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26" h="56038">
                  <a:moveTo>
                    <a:pt x="18530" y="42038"/>
                  </a:moveTo>
                  <a:cubicBezTo>
                    <a:pt x="27988" y="46985"/>
                    <a:pt x="48120" y="49257"/>
                    <a:pt x="59445" y="51664"/>
                  </a:cubicBezTo>
                  <a:cubicBezTo>
                    <a:pt x="81485" y="56343"/>
                    <a:pt x="84245" y="58850"/>
                    <a:pt x="95204" y="48322"/>
                  </a:cubicBezTo>
                  <a:cubicBezTo>
                    <a:pt x="101049" y="42773"/>
                    <a:pt x="109857" y="39331"/>
                    <a:pt x="118503" y="35219"/>
                  </a:cubicBezTo>
                  <a:cubicBezTo>
                    <a:pt x="123049" y="33047"/>
                    <a:pt x="122156" y="20881"/>
                    <a:pt x="126012" y="21482"/>
                  </a:cubicBezTo>
                  <a:cubicBezTo>
                    <a:pt x="149189" y="25159"/>
                    <a:pt x="146064" y="18140"/>
                    <a:pt x="145536" y="6375"/>
                  </a:cubicBezTo>
                  <a:cubicBezTo>
                    <a:pt x="144805" y="-8766"/>
                    <a:pt x="120127" y="5773"/>
                    <a:pt x="111359" y="10486"/>
                  </a:cubicBezTo>
                  <a:cubicBezTo>
                    <a:pt x="93825" y="19912"/>
                    <a:pt x="78887" y="28468"/>
                    <a:pt x="49825" y="23856"/>
                  </a:cubicBezTo>
                  <a:cubicBezTo>
                    <a:pt x="38216" y="22051"/>
                    <a:pt x="27866" y="18408"/>
                    <a:pt x="16176" y="20112"/>
                  </a:cubicBezTo>
                  <a:cubicBezTo>
                    <a:pt x="10331" y="20948"/>
                    <a:pt x="5663" y="24190"/>
                    <a:pt x="-60" y="20580"/>
                  </a:cubicBezTo>
                  <a:cubicBezTo>
                    <a:pt x="-60" y="28000"/>
                    <a:pt x="8464" y="36557"/>
                    <a:pt x="18571" y="4183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517608DC-1F91-406D-9784-E7112F93D3B3}"/>
                </a:ext>
              </a:extLst>
            </p:cNvPr>
            <p:cNvSpPr/>
            <p:nvPr/>
          </p:nvSpPr>
          <p:spPr>
            <a:xfrm>
              <a:off x="8580468" y="5122758"/>
              <a:ext cx="506390" cy="218774"/>
            </a:xfrm>
            <a:custGeom>
              <a:avLst/>
              <a:gdLst>
                <a:gd name="connsiteX0" fmla="*/ 83343 w 506390"/>
                <a:gd name="connsiteY0" fmla="*/ 62498 h 218774"/>
                <a:gd name="connsiteX1" fmla="*/ 71855 w 506390"/>
                <a:gd name="connsiteY1" fmla="*/ 42076 h 218774"/>
                <a:gd name="connsiteX2" fmla="*/ 60734 w 506390"/>
                <a:gd name="connsiteY2" fmla="*/ 23994 h 218774"/>
                <a:gd name="connsiteX3" fmla="*/ 49329 w 506390"/>
                <a:gd name="connsiteY3" fmla="*/ 27604 h 218774"/>
                <a:gd name="connsiteX4" fmla="*/ 32727 w 506390"/>
                <a:gd name="connsiteY4" fmla="*/ 22490 h 218774"/>
                <a:gd name="connsiteX5" fmla="*/ 29358 w 506390"/>
                <a:gd name="connsiteY5" fmla="*/ 14234 h 218774"/>
                <a:gd name="connsiteX6" fmla="*/ 4802 w 506390"/>
                <a:gd name="connsiteY6" fmla="*/ -339 h 218774"/>
                <a:gd name="connsiteX7" fmla="*/ -29 w 506390"/>
                <a:gd name="connsiteY7" fmla="*/ 29275 h 218774"/>
                <a:gd name="connsiteX8" fmla="*/ 10037 w 506390"/>
                <a:gd name="connsiteY8" fmla="*/ 56983 h 218774"/>
                <a:gd name="connsiteX9" fmla="*/ 18155 w 506390"/>
                <a:gd name="connsiteY9" fmla="*/ 75633 h 218774"/>
                <a:gd name="connsiteX10" fmla="*/ 48395 w 506390"/>
                <a:gd name="connsiteY10" fmla="*/ 103609 h 218774"/>
                <a:gd name="connsiteX11" fmla="*/ 75347 w 506390"/>
                <a:gd name="connsiteY11" fmla="*/ 106650 h 218774"/>
                <a:gd name="connsiteX12" fmla="*/ 67229 w 506390"/>
                <a:gd name="connsiteY12" fmla="*/ 86964 h 218774"/>
                <a:gd name="connsiteX13" fmla="*/ 83180 w 506390"/>
                <a:gd name="connsiteY13" fmla="*/ 62498 h 218774"/>
                <a:gd name="connsiteX14" fmla="*/ 83343 w 506390"/>
                <a:gd name="connsiteY14" fmla="*/ 62498 h 218774"/>
                <a:gd name="connsiteX15" fmla="*/ 493299 w 506390"/>
                <a:gd name="connsiteY15" fmla="*/ 193217 h 218774"/>
                <a:gd name="connsiteX16" fmla="*/ 469392 w 506390"/>
                <a:gd name="connsiteY16" fmla="*/ 171291 h 218774"/>
                <a:gd name="connsiteX17" fmla="*/ 427260 w 506390"/>
                <a:gd name="connsiteY17" fmla="*/ 164105 h 218774"/>
                <a:gd name="connsiteX18" fmla="*/ 396168 w 506390"/>
                <a:gd name="connsiteY18" fmla="*/ 177475 h 218774"/>
                <a:gd name="connsiteX19" fmla="*/ 383707 w 506390"/>
                <a:gd name="connsiteY19" fmla="*/ 180817 h 218774"/>
                <a:gd name="connsiteX20" fmla="*/ 366497 w 506390"/>
                <a:gd name="connsiteY20" fmla="*/ 168751 h 218774"/>
                <a:gd name="connsiteX21" fmla="*/ 335811 w 506390"/>
                <a:gd name="connsiteY21" fmla="*/ 170289 h 218774"/>
                <a:gd name="connsiteX22" fmla="*/ 293882 w 506390"/>
                <a:gd name="connsiteY22" fmla="*/ 170088 h 218774"/>
                <a:gd name="connsiteX23" fmla="*/ 261410 w 506390"/>
                <a:gd name="connsiteY23" fmla="*/ 179581 h 218774"/>
                <a:gd name="connsiteX24" fmla="*/ 223580 w 506390"/>
                <a:gd name="connsiteY24" fmla="*/ 161064 h 218774"/>
                <a:gd name="connsiteX25" fmla="*/ 247934 w 506390"/>
                <a:gd name="connsiteY25" fmla="*/ 188672 h 218774"/>
                <a:gd name="connsiteX26" fmla="*/ 274318 w 506390"/>
                <a:gd name="connsiteY26" fmla="*/ 197964 h 218774"/>
                <a:gd name="connsiteX27" fmla="*/ 302041 w 506390"/>
                <a:gd name="connsiteY27" fmla="*/ 200404 h 218774"/>
                <a:gd name="connsiteX28" fmla="*/ 319900 w 506390"/>
                <a:gd name="connsiteY28" fmla="*/ 211132 h 218774"/>
                <a:gd name="connsiteX29" fmla="*/ 349368 w 506390"/>
                <a:gd name="connsiteY29" fmla="*/ 217817 h 218774"/>
                <a:gd name="connsiteX30" fmla="*/ 362113 w 506390"/>
                <a:gd name="connsiteY30" fmla="*/ 210899 h 218774"/>
                <a:gd name="connsiteX31" fmla="*/ 377213 w 506390"/>
                <a:gd name="connsiteY31" fmla="*/ 200872 h 218774"/>
                <a:gd name="connsiteX32" fmla="*/ 391420 w 506390"/>
                <a:gd name="connsiteY32" fmla="*/ 200872 h 218774"/>
                <a:gd name="connsiteX33" fmla="*/ 403596 w 506390"/>
                <a:gd name="connsiteY33" fmla="*/ 190844 h 218774"/>
                <a:gd name="connsiteX34" fmla="*/ 450193 w 506390"/>
                <a:gd name="connsiteY34" fmla="*/ 203746 h 218774"/>
                <a:gd name="connsiteX35" fmla="*/ 478200 w 506390"/>
                <a:gd name="connsiteY35" fmla="*/ 208091 h 218774"/>
                <a:gd name="connsiteX36" fmla="*/ 487414 w 506390"/>
                <a:gd name="connsiteY36" fmla="*/ 206620 h 218774"/>
                <a:gd name="connsiteX37" fmla="*/ 492934 w 506390"/>
                <a:gd name="connsiteY37" fmla="*/ 193251 h 21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90" h="218774">
                  <a:moveTo>
                    <a:pt x="83343" y="62498"/>
                  </a:moveTo>
                  <a:cubicBezTo>
                    <a:pt x="87808" y="54376"/>
                    <a:pt x="75914" y="49797"/>
                    <a:pt x="71855" y="42076"/>
                  </a:cubicBezTo>
                  <a:cubicBezTo>
                    <a:pt x="68284" y="35391"/>
                    <a:pt x="64063" y="30578"/>
                    <a:pt x="60734" y="23994"/>
                  </a:cubicBezTo>
                  <a:cubicBezTo>
                    <a:pt x="55377" y="23258"/>
                    <a:pt x="51804" y="28105"/>
                    <a:pt x="49329" y="27604"/>
                  </a:cubicBezTo>
                  <a:cubicBezTo>
                    <a:pt x="43565" y="26477"/>
                    <a:pt x="37964" y="24759"/>
                    <a:pt x="32727" y="22490"/>
                  </a:cubicBezTo>
                  <a:cubicBezTo>
                    <a:pt x="26720" y="19782"/>
                    <a:pt x="30210" y="17677"/>
                    <a:pt x="29358" y="14234"/>
                  </a:cubicBezTo>
                  <a:cubicBezTo>
                    <a:pt x="27532" y="6881"/>
                    <a:pt x="14299" y="2402"/>
                    <a:pt x="4802" y="-339"/>
                  </a:cubicBezTo>
                  <a:cubicBezTo>
                    <a:pt x="7359" y="10825"/>
                    <a:pt x="743" y="18947"/>
                    <a:pt x="-29" y="29275"/>
                  </a:cubicBezTo>
                  <a:cubicBezTo>
                    <a:pt x="-556" y="38132"/>
                    <a:pt x="5817" y="48025"/>
                    <a:pt x="10037" y="56983"/>
                  </a:cubicBezTo>
                  <a:cubicBezTo>
                    <a:pt x="12960" y="63200"/>
                    <a:pt x="12798" y="69650"/>
                    <a:pt x="18155" y="75633"/>
                  </a:cubicBezTo>
                  <a:cubicBezTo>
                    <a:pt x="27451" y="85526"/>
                    <a:pt x="37557" y="94885"/>
                    <a:pt x="48395" y="103609"/>
                  </a:cubicBezTo>
                  <a:cubicBezTo>
                    <a:pt x="63576" y="116243"/>
                    <a:pt x="83627" y="130348"/>
                    <a:pt x="75347" y="106650"/>
                  </a:cubicBezTo>
                  <a:cubicBezTo>
                    <a:pt x="73155" y="100534"/>
                    <a:pt x="66214" y="92813"/>
                    <a:pt x="67229" y="86964"/>
                  </a:cubicBezTo>
                  <a:cubicBezTo>
                    <a:pt x="69014" y="77739"/>
                    <a:pt x="78635" y="70820"/>
                    <a:pt x="83180" y="62498"/>
                  </a:cubicBezTo>
                  <a:cubicBezTo>
                    <a:pt x="88985" y="52170"/>
                    <a:pt x="77701" y="72859"/>
                    <a:pt x="83343" y="62498"/>
                  </a:cubicBezTo>
                  <a:close/>
                  <a:moveTo>
                    <a:pt x="493299" y="193217"/>
                  </a:moveTo>
                  <a:cubicBezTo>
                    <a:pt x="471827" y="187769"/>
                    <a:pt x="476617" y="181820"/>
                    <a:pt x="469392" y="171291"/>
                  </a:cubicBezTo>
                  <a:cubicBezTo>
                    <a:pt x="458676" y="155582"/>
                    <a:pt x="440329" y="155215"/>
                    <a:pt x="427260" y="164105"/>
                  </a:cubicBezTo>
                  <a:cubicBezTo>
                    <a:pt x="418086" y="170289"/>
                    <a:pt x="398116" y="167448"/>
                    <a:pt x="396168" y="177475"/>
                  </a:cubicBezTo>
                  <a:cubicBezTo>
                    <a:pt x="394747" y="184928"/>
                    <a:pt x="392109" y="180416"/>
                    <a:pt x="383707" y="180817"/>
                  </a:cubicBezTo>
                  <a:cubicBezTo>
                    <a:pt x="371530" y="181352"/>
                    <a:pt x="368851" y="175904"/>
                    <a:pt x="366497" y="168751"/>
                  </a:cubicBezTo>
                  <a:cubicBezTo>
                    <a:pt x="362072" y="155382"/>
                    <a:pt x="344132" y="165609"/>
                    <a:pt x="335811" y="170289"/>
                  </a:cubicBezTo>
                  <a:cubicBezTo>
                    <a:pt x="320062" y="179213"/>
                    <a:pt x="317343" y="178477"/>
                    <a:pt x="293882" y="170088"/>
                  </a:cubicBezTo>
                  <a:cubicBezTo>
                    <a:pt x="270421" y="161699"/>
                    <a:pt x="270503" y="170489"/>
                    <a:pt x="261410" y="179581"/>
                  </a:cubicBezTo>
                  <a:cubicBezTo>
                    <a:pt x="253292" y="187669"/>
                    <a:pt x="231455" y="165108"/>
                    <a:pt x="223580" y="161064"/>
                  </a:cubicBezTo>
                  <a:cubicBezTo>
                    <a:pt x="223012" y="173798"/>
                    <a:pt x="233079" y="185162"/>
                    <a:pt x="247934" y="188672"/>
                  </a:cubicBezTo>
                  <a:cubicBezTo>
                    <a:pt x="257067" y="190543"/>
                    <a:pt x="265429" y="195357"/>
                    <a:pt x="274318" y="197964"/>
                  </a:cubicBezTo>
                  <a:cubicBezTo>
                    <a:pt x="284059" y="200905"/>
                    <a:pt x="292299" y="197964"/>
                    <a:pt x="302041" y="200404"/>
                  </a:cubicBezTo>
                  <a:cubicBezTo>
                    <a:pt x="309427" y="202008"/>
                    <a:pt x="315800" y="205852"/>
                    <a:pt x="319900" y="211132"/>
                  </a:cubicBezTo>
                  <a:cubicBezTo>
                    <a:pt x="324243" y="215812"/>
                    <a:pt x="342387" y="216179"/>
                    <a:pt x="349368" y="217817"/>
                  </a:cubicBezTo>
                  <a:cubicBezTo>
                    <a:pt x="359759" y="220290"/>
                    <a:pt x="358095" y="214809"/>
                    <a:pt x="362113" y="210899"/>
                  </a:cubicBezTo>
                  <a:cubicBezTo>
                    <a:pt x="366822" y="207255"/>
                    <a:pt x="371896" y="203913"/>
                    <a:pt x="377213" y="200872"/>
                  </a:cubicBezTo>
                  <a:cubicBezTo>
                    <a:pt x="380135" y="198832"/>
                    <a:pt x="387361" y="201306"/>
                    <a:pt x="391420" y="200872"/>
                  </a:cubicBezTo>
                  <a:cubicBezTo>
                    <a:pt x="399538" y="199969"/>
                    <a:pt x="397751" y="193084"/>
                    <a:pt x="403596" y="190844"/>
                  </a:cubicBezTo>
                  <a:cubicBezTo>
                    <a:pt x="414027" y="186633"/>
                    <a:pt x="440654" y="197195"/>
                    <a:pt x="450193" y="203746"/>
                  </a:cubicBezTo>
                  <a:cubicBezTo>
                    <a:pt x="455591" y="207456"/>
                    <a:pt x="473208" y="213773"/>
                    <a:pt x="478200" y="208091"/>
                  </a:cubicBezTo>
                  <a:cubicBezTo>
                    <a:pt x="481447" y="204481"/>
                    <a:pt x="475440" y="202543"/>
                    <a:pt x="487414" y="206620"/>
                  </a:cubicBezTo>
                  <a:cubicBezTo>
                    <a:pt x="510997" y="214709"/>
                    <a:pt x="512174" y="198030"/>
                    <a:pt x="492934" y="19325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E6D123E2-96A5-42AC-A53F-FCBCE79BA6B0}"/>
                </a:ext>
              </a:extLst>
            </p:cNvPr>
            <p:cNvSpPr/>
            <p:nvPr/>
          </p:nvSpPr>
          <p:spPr>
            <a:xfrm>
              <a:off x="8945157" y="5285899"/>
              <a:ext cx="32065" cy="19491"/>
            </a:xfrm>
            <a:custGeom>
              <a:avLst/>
              <a:gdLst>
                <a:gd name="connsiteX0" fmla="*/ 7977 w 32065"/>
                <a:gd name="connsiteY0" fmla="*/ 16039 h 19491"/>
                <a:gd name="connsiteX1" fmla="*/ 32006 w 32065"/>
                <a:gd name="connsiteY1" fmla="*/ 9922 h 19491"/>
                <a:gd name="connsiteX2" fmla="*/ 20235 w 32065"/>
                <a:gd name="connsiteY2" fmla="*/ 7449 h 19491"/>
                <a:gd name="connsiteX3" fmla="*/ 14999 w 32065"/>
                <a:gd name="connsiteY3" fmla="*/ 9288 h 19491"/>
                <a:gd name="connsiteX4" fmla="*/ -60 w 32065"/>
                <a:gd name="connsiteY4" fmla="*/ -339 h 19491"/>
                <a:gd name="connsiteX5" fmla="*/ 7977 w 32065"/>
                <a:gd name="connsiteY5" fmla="*/ 16039 h 1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65" h="19491">
                  <a:moveTo>
                    <a:pt x="7977" y="16039"/>
                  </a:moveTo>
                  <a:cubicBezTo>
                    <a:pt x="23807" y="22156"/>
                    <a:pt x="30951" y="18813"/>
                    <a:pt x="32006" y="9922"/>
                  </a:cubicBezTo>
                  <a:cubicBezTo>
                    <a:pt x="28150" y="8920"/>
                    <a:pt x="24213" y="8084"/>
                    <a:pt x="20235" y="7449"/>
                  </a:cubicBezTo>
                  <a:cubicBezTo>
                    <a:pt x="18409" y="7884"/>
                    <a:pt x="16622" y="8485"/>
                    <a:pt x="14999" y="9288"/>
                  </a:cubicBezTo>
                  <a:cubicBezTo>
                    <a:pt x="9479" y="8352"/>
                    <a:pt x="4892" y="1801"/>
                    <a:pt x="-60" y="-339"/>
                  </a:cubicBezTo>
                  <a:cubicBezTo>
                    <a:pt x="793" y="2636"/>
                    <a:pt x="2132" y="13733"/>
                    <a:pt x="7977" y="160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727701E7-E2C4-43BE-B725-DC106D2FD5FF}"/>
                </a:ext>
              </a:extLst>
            </p:cNvPr>
            <p:cNvSpPr/>
            <p:nvPr/>
          </p:nvSpPr>
          <p:spPr>
            <a:xfrm>
              <a:off x="6971843" y="4228429"/>
              <a:ext cx="289813" cy="173037"/>
            </a:xfrm>
            <a:custGeom>
              <a:avLst/>
              <a:gdLst>
                <a:gd name="connsiteX0" fmla="*/ 241493 w 289813"/>
                <a:gd name="connsiteY0" fmla="*/ 160109 h 173037"/>
                <a:gd name="connsiteX1" fmla="*/ 261788 w 289813"/>
                <a:gd name="connsiteY1" fmla="*/ 156466 h 173037"/>
                <a:gd name="connsiteX2" fmla="*/ 270677 w 289813"/>
                <a:gd name="connsiteY2" fmla="*/ 160978 h 173037"/>
                <a:gd name="connsiteX3" fmla="*/ 289754 w 289813"/>
                <a:gd name="connsiteY3" fmla="*/ 162315 h 173037"/>
                <a:gd name="connsiteX4" fmla="*/ 268282 w 289813"/>
                <a:gd name="connsiteY4" fmla="*/ 136847 h 173037"/>
                <a:gd name="connsiteX5" fmla="*/ 270028 w 289813"/>
                <a:gd name="connsiteY5" fmla="*/ 128524 h 173037"/>
                <a:gd name="connsiteX6" fmla="*/ 265969 w 289813"/>
                <a:gd name="connsiteY6" fmla="*/ 116625 h 173037"/>
                <a:gd name="connsiteX7" fmla="*/ 236013 w 289813"/>
                <a:gd name="connsiteY7" fmla="*/ 102721 h 173037"/>
                <a:gd name="connsiteX8" fmla="*/ 213445 w 289813"/>
                <a:gd name="connsiteY8" fmla="*/ 83336 h 173037"/>
                <a:gd name="connsiteX9" fmla="*/ 212512 w 289813"/>
                <a:gd name="connsiteY9" fmla="*/ 67559 h 173037"/>
                <a:gd name="connsiteX10" fmla="*/ 219493 w 289813"/>
                <a:gd name="connsiteY10" fmla="*/ 60875 h 173037"/>
                <a:gd name="connsiteX11" fmla="*/ 230615 w 289813"/>
                <a:gd name="connsiteY11" fmla="*/ 55159 h 173037"/>
                <a:gd name="connsiteX12" fmla="*/ 216287 w 289813"/>
                <a:gd name="connsiteY12" fmla="*/ 37178 h 173037"/>
                <a:gd name="connsiteX13" fmla="*/ 197169 w 289813"/>
                <a:gd name="connsiteY13" fmla="*/ 12043 h 173037"/>
                <a:gd name="connsiteX14" fmla="*/ 145214 w 289813"/>
                <a:gd name="connsiteY14" fmla="*/ 311 h 173037"/>
                <a:gd name="connsiteX15" fmla="*/ 97277 w 289813"/>
                <a:gd name="connsiteY15" fmla="*/ 9670 h 173037"/>
                <a:gd name="connsiteX16" fmla="*/ 82381 w 289813"/>
                <a:gd name="connsiteY16" fmla="*/ 14951 h 173037"/>
                <a:gd name="connsiteX17" fmla="*/ 82665 w 289813"/>
                <a:gd name="connsiteY17" fmla="*/ 29256 h 173037"/>
                <a:gd name="connsiteX18" fmla="*/ 72599 w 289813"/>
                <a:gd name="connsiteY18" fmla="*/ 49310 h 173037"/>
                <a:gd name="connsiteX19" fmla="*/ -16 w 289813"/>
                <a:gd name="connsiteY19" fmla="*/ 68897 h 173037"/>
                <a:gd name="connsiteX20" fmla="*/ 3312 w 289813"/>
                <a:gd name="connsiteY20" fmla="*/ 80695 h 173037"/>
                <a:gd name="connsiteX21" fmla="*/ 18208 w 289813"/>
                <a:gd name="connsiteY21" fmla="*/ 91123 h 173037"/>
                <a:gd name="connsiteX22" fmla="*/ 49057 w 289813"/>
                <a:gd name="connsiteY22" fmla="*/ 99847 h 173037"/>
                <a:gd name="connsiteX23" fmla="*/ 102797 w 289813"/>
                <a:gd name="connsiteY23" fmla="*/ 125850 h 173037"/>
                <a:gd name="connsiteX24" fmla="*/ 161734 w 289813"/>
                <a:gd name="connsiteY24" fmla="*/ 159274 h 173037"/>
                <a:gd name="connsiteX25" fmla="*/ 201268 w 289813"/>
                <a:gd name="connsiteY25" fmla="*/ 168800 h 173037"/>
                <a:gd name="connsiteX26" fmla="*/ 229438 w 289813"/>
                <a:gd name="connsiteY26" fmla="*/ 170203 h 173037"/>
                <a:gd name="connsiteX27" fmla="*/ 241615 w 289813"/>
                <a:gd name="connsiteY27" fmla="*/ 160176 h 1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9813" h="173037">
                  <a:moveTo>
                    <a:pt x="241493" y="160109"/>
                  </a:moveTo>
                  <a:cubicBezTo>
                    <a:pt x="247622" y="157569"/>
                    <a:pt x="252087" y="153759"/>
                    <a:pt x="261788" y="156466"/>
                  </a:cubicBezTo>
                  <a:cubicBezTo>
                    <a:pt x="265076" y="157496"/>
                    <a:pt x="268079" y="159027"/>
                    <a:pt x="270677" y="160978"/>
                  </a:cubicBezTo>
                  <a:cubicBezTo>
                    <a:pt x="278795" y="166627"/>
                    <a:pt x="278795" y="162616"/>
                    <a:pt x="289754" y="162315"/>
                  </a:cubicBezTo>
                  <a:cubicBezTo>
                    <a:pt x="278511" y="153425"/>
                    <a:pt x="277577" y="145604"/>
                    <a:pt x="268282" y="136847"/>
                  </a:cubicBezTo>
                  <a:cubicBezTo>
                    <a:pt x="264669" y="133504"/>
                    <a:pt x="267470" y="131298"/>
                    <a:pt x="270028" y="128524"/>
                  </a:cubicBezTo>
                  <a:cubicBezTo>
                    <a:pt x="273761" y="124513"/>
                    <a:pt x="268972" y="120870"/>
                    <a:pt x="265969" y="116625"/>
                  </a:cubicBezTo>
                  <a:cubicBezTo>
                    <a:pt x="261910" y="110475"/>
                    <a:pt x="244618" y="107133"/>
                    <a:pt x="236013" y="102721"/>
                  </a:cubicBezTo>
                  <a:cubicBezTo>
                    <a:pt x="223836" y="96438"/>
                    <a:pt x="227490" y="89118"/>
                    <a:pt x="213445" y="83336"/>
                  </a:cubicBezTo>
                  <a:cubicBezTo>
                    <a:pt x="207722" y="80962"/>
                    <a:pt x="205612" y="68897"/>
                    <a:pt x="212512" y="67559"/>
                  </a:cubicBezTo>
                  <a:cubicBezTo>
                    <a:pt x="216571" y="66724"/>
                    <a:pt x="218154" y="62813"/>
                    <a:pt x="219493" y="60875"/>
                  </a:cubicBezTo>
                  <a:cubicBezTo>
                    <a:pt x="222172" y="56797"/>
                    <a:pt x="227936" y="57532"/>
                    <a:pt x="230615" y="55159"/>
                  </a:cubicBezTo>
                  <a:cubicBezTo>
                    <a:pt x="240600" y="45935"/>
                    <a:pt x="227368" y="42124"/>
                    <a:pt x="216287" y="37178"/>
                  </a:cubicBezTo>
                  <a:cubicBezTo>
                    <a:pt x="210929" y="34804"/>
                    <a:pt x="194328" y="15385"/>
                    <a:pt x="197169" y="12043"/>
                  </a:cubicBezTo>
                  <a:cubicBezTo>
                    <a:pt x="194896" y="17357"/>
                    <a:pt x="153819" y="2016"/>
                    <a:pt x="145214" y="311"/>
                  </a:cubicBezTo>
                  <a:cubicBezTo>
                    <a:pt x="130195" y="-3031"/>
                    <a:pt x="112215" y="7497"/>
                    <a:pt x="97277" y="9670"/>
                  </a:cubicBezTo>
                  <a:cubicBezTo>
                    <a:pt x="91635" y="10506"/>
                    <a:pt x="85100" y="11943"/>
                    <a:pt x="82381" y="14951"/>
                  </a:cubicBezTo>
                  <a:cubicBezTo>
                    <a:pt x="78647" y="19062"/>
                    <a:pt x="88672" y="26148"/>
                    <a:pt x="82665" y="29256"/>
                  </a:cubicBezTo>
                  <a:cubicBezTo>
                    <a:pt x="73532" y="33969"/>
                    <a:pt x="80067" y="43327"/>
                    <a:pt x="72599" y="49310"/>
                  </a:cubicBezTo>
                  <a:cubicBezTo>
                    <a:pt x="59772" y="59337"/>
                    <a:pt x="-1924" y="55995"/>
                    <a:pt x="-16" y="68897"/>
                  </a:cubicBezTo>
                  <a:cubicBezTo>
                    <a:pt x="836" y="72874"/>
                    <a:pt x="1973" y="76811"/>
                    <a:pt x="3312" y="80695"/>
                  </a:cubicBezTo>
                  <a:cubicBezTo>
                    <a:pt x="5544" y="88850"/>
                    <a:pt x="3312" y="89987"/>
                    <a:pt x="18208" y="91123"/>
                  </a:cubicBezTo>
                  <a:cubicBezTo>
                    <a:pt x="29168" y="92069"/>
                    <a:pt x="39721" y="95054"/>
                    <a:pt x="49057" y="99847"/>
                  </a:cubicBezTo>
                  <a:cubicBezTo>
                    <a:pt x="67281" y="108136"/>
                    <a:pt x="85587" y="116759"/>
                    <a:pt x="102797" y="125850"/>
                  </a:cubicBezTo>
                  <a:cubicBezTo>
                    <a:pt x="122686" y="136446"/>
                    <a:pt x="140668" y="149681"/>
                    <a:pt x="161734" y="159274"/>
                  </a:cubicBezTo>
                  <a:cubicBezTo>
                    <a:pt x="173667" y="164755"/>
                    <a:pt x="187468" y="166360"/>
                    <a:pt x="201268" y="168800"/>
                  </a:cubicBezTo>
                  <a:cubicBezTo>
                    <a:pt x="211862" y="170705"/>
                    <a:pt x="223674" y="175685"/>
                    <a:pt x="229438" y="170203"/>
                  </a:cubicBezTo>
                  <a:cubicBezTo>
                    <a:pt x="232725" y="167062"/>
                    <a:pt x="236176" y="162382"/>
                    <a:pt x="241615" y="16017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E586A902-EB6A-4D06-B2D0-2C571E24BEAD}"/>
                </a:ext>
              </a:extLst>
            </p:cNvPr>
            <p:cNvSpPr/>
            <p:nvPr/>
          </p:nvSpPr>
          <p:spPr>
            <a:xfrm>
              <a:off x="7198011" y="4384301"/>
              <a:ext cx="56785" cy="34590"/>
            </a:xfrm>
            <a:custGeom>
              <a:avLst/>
              <a:gdLst>
                <a:gd name="connsiteX0" fmla="*/ 18490 w 56785"/>
                <a:gd name="connsiteY0" fmla="*/ 21150 h 34590"/>
                <a:gd name="connsiteX1" fmla="*/ 56725 w 56785"/>
                <a:gd name="connsiteY1" fmla="*/ 34252 h 34590"/>
                <a:gd name="connsiteX2" fmla="*/ 40002 w 56785"/>
                <a:gd name="connsiteY2" fmla="*/ 2399 h 34590"/>
                <a:gd name="connsiteX3" fmla="*/ -60 w 56785"/>
                <a:gd name="connsiteY3" fmla="*/ 17540 h 34590"/>
                <a:gd name="connsiteX4" fmla="*/ 18490 w 56785"/>
                <a:gd name="connsiteY4" fmla="*/ 21150 h 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" h="34590">
                  <a:moveTo>
                    <a:pt x="18490" y="21150"/>
                  </a:moveTo>
                  <a:cubicBezTo>
                    <a:pt x="32250" y="30141"/>
                    <a:pt x="36999" y="31177"/>
                    <a:pt x="56725" y="34252"/>
                  </a:cubicBezTo>
                  <a:cubicBezTo>
                    <a:pt x="52666" y="25060"/>
                    <a:pt x="50434" y="7847"/>
                    <a:pt x="40002" y="2399"/>
                  </a:cubicBezTo>
                  <a:cubicBezTo>
                    <a:pt x="21534" y="-7294"/>
                    <a:pt x="6151" y="11390"/>
                    <a:pt x="-60" y="17540"/>
                  </a:cubicBezTo>
                  <a:cubicBezTo>
                    <a:pt x="6151" y="18710"/>
                    <a:pt x="12320" y="19913"/>
                    <a:pt x="18490" y="211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5E3B7D87-A38D-475D-9C4A-9AC741C9DB7E}"/>
                </a:ext>
              </a:extLst>
            </p:cNvPr>
            <p:cNvSpPr/>
            <p:nvPr/>
          </p:nvSpPr>
          <p:spPr>
            <a:xfrm>
              <a:off x="5605759" y="3889151"/>
              <a:ext cx="473110" cy="203488"/>
            </a:xfrm>
            <a:custGeom>
              <a:avLst/>
              <a:gdLst>
                <a:gd name="connsiteX0" fmla="*/ 415252 w 473110"/>
                <a:gd name="connsiteY0" fmla="*/ 43322 h 203488"/>
                <a:gd name="connsiteX1" fmla="*/ 381887 w 473110"/>
                <a:gd name="connsiteY1" fmla="*/ 38141 h 203488"/>
                <a:gd name="connsiteX2" fmla="*/ 353475 w 473110"/>
                <a:gd name="connsiteY2" fmla="*/ 32660 h 203488"/>
                <a:gd name="connsiteX3" fmla="*/ 330095 w 473110"/>
                <a:gd name="connsiteY3" fmla="*/ 28315 h 203488"/>
                <a:gd name="connsiteX4" fmla="*/ 317918 w 473110"/>
                <a:gd name="connsiteY4" fmla="*/ 25340 h 203488"/>
                <a:gd name="connsiteX5" fmla="*/ 314387 w 473110"/>
                <a:gd name="connsiteY5" fmla="*/ 19123 h 203488"/>
                <a:gd name="connsiteX6" fmla="*/ 296081 w 473110"/>
                <a:gd name="connsiteY6" fmla="*/ 23903 h 203488"/>
                <a:gd name="connsiteX7" fmla="*/ 283457 w 473110"/>
                <a:gd name="connsiteY7" fmla="*/ 15480 h 203488"/>
                <a:gd name="connsiteX8" fmla="*/ 260970 w 473110"/>
                <a:gd name="connsiteY8" fmla="*/ 8795 h 203488"/>
                <a:gd name="connsiteX9" fmla="*/ 247170 w 473110"/>
                <a:gd name="connsiteY9" fmla="*/ 7024 h 203488"/>
                <a:gd name="connsiteX10" fmla="*/ 215144 w 473110"/>
                <a:gd name="connsiteY10" fmla="*/ 4316 h 203488"/>
                <a:gd name="connsiteX11" fmla="*/ 193104 w 473110"/>
                <a:gd name="connsiteY11" fmla="*/ 27212 h 203488"/>
                <a:gd name="connsiteX12" fmla="*/ 159293 w 473110"/>
                <a:gd name="connsiteY12" fmla="*/ 39812 h 203488"/>
                <a:gd name="connsiteX13" fmla="*/ 117648 w 473110"/>
                <a:gd name="connsiteY13" fmla="*/ 37874 h 203488"/>
                <a:gd name="connsiteX14" fmla="*/ 93741 w 473110"/>
                <a:gd name="connsiteY14" fmla="*/ 41216 h 203488"/>
                <a:gd name="connsiteX15" fmla="*/ 91752 w 473110"/>
                <a:gd name="connsiteY15" fmla="*/ 61738 h 203488"/>
                <a:gd name="connsiteX16" fmla="*/ 69103 w 473110"/>
                <a:gd name="connsiteY16" fmla="*/ 63109 h 203488"/>
                <a:gd name="connsiteX17" fmla="*/ 53232 w 473110"/>
                <a:gd name="connsiteY17" fmla="*/ 57895 h 203488"/>
                <a:gd name="connsiteX18" fmla="*/ 953 w 473110"/>
                <a:gd name="connsiteY18" fmla="*/ 65782 h 203488"/>
                <a:gd name="connsiteX19" fmla="*/ 4484 w 473110"/>
                <a:gd name="connsiteY19" fmla="*/ 77548 h 203488"/>
                <a:gd name="connsiteX20" fmla="*/ 20720 w 473110"/>
                <a:gd name="connsiteY20" fmla="*/ 82862 h 203488"/>
                <a:gd name="connsiteX21" fmla="*/ 74582 w 473110"/>
                <a:gd name="connsiteY21" fmla="*/ 87441 h 203488"/>
                <a:gd name="connsiteX22" fmla="*/ 97881 w 473110"/>
                <a:gd name="connsiteY22" fmla="*/ 104153 h 203488"/>
                <a:gd name="connsiteX23" fmla="*/ 123371 w 473110"/>
                <a:gd name="connsiteY23" fmla="*/ 110570 h 203488"/>
                <a:gd name="connsiteX24" fmla="*/ 126213 w 473110"/>
                <a:gd name="connsiteY24" fmla="*/ 122101 h 203488"/>
                <a:gd name="connsiteX25" fmla="*/ 122478 w 473110"/>
                <a:gd name="connsiteY25" fmla="*/ 138512 h 203488"/>
                <a:gd name="connsiteX26" fmla="*/ 122722 w 473110"/>
                <a:gd name="connsiteY26" fmla="*/ 150946 h 203488"/>
                <a:gd name="connsiteX27" fmla="*/ 107582 w 473110"/>
                <a:gd name="connsiteY27" fmla="*/ 174342 h 203488"/>
                <a:gd name="connsiteX28" fmla="*/ 183119 w 473110"/>
                <a:gd name="connsiteY28" fmla="*/ 182832 h 203488"/>
                <a:gd name="connsiteX29" fmla="*/ 215591 w 473110"/>
                <a:gd name="connsiteY29" fmla="*/ 186709 h 203488"/>
                <a:gd name="connsiteX30" fmla="*/ 269373 w 473110"/>
                <a:gd name="connsiteY30" fmla="*/ 187378 h 203488"/>
                <a:gd name="connsiteX31" fmla="*/ 304482 w 473110"/>
                <a:gd name="connsiteY31" fmla="*/ 165117 h 203488"/>
                <a:gd name="connsiteX32" fmla="*/ 362567 w 473110"/>
                <a:gd name="connsiteY32" fmla="*/ 172437 h 203488"/>
                <a:gd name="connsiteX33" fmla="*/ 396703 w 473110"/>
                <a:gd name="connsiteY33" fmla="*/ 160171 h 203488"/>
                <a:gd name="connsiteX34" fmla="*/ 411477 w 473110"/>
                <a:gd name="connsiteY34" fmla="*/ 148907 h 203488"/>
                <a:gd name="connsiteX35" fmla="*/ 390452 w 473110"/>
                <a:gd name="connsiteY35" fmla="*/ 140150 h 203488"/>
                <a:gd name="connsiteX36" fmla="*/ 379412 w 473110"/>
                <a:gd name="connsiteY36" fmla="*/ 128920 h 203488"/>
                <a:gd name="connsiteX37" fmla="*/ 393659 w 473110"/>
                <a:gd name="connsiteY37" fmla="*/ 120430 h 203488"/>
                <a:gd name="connsiteX38" fmla="*/ 388017 w 473110"/>
                <a:gd name="connsiteY38" fmla="*/ 107595 h 203488"/>
                <a:gd name="connsiteX39" fmla="*/ 369548 w 473110"/>
                <a:gd name="connsiteY39" fmla="*/ 103384 h 203488"/>
                <a:gd name="connsiteX40" fmla="*/ 367965 w 473110"/>
                <a:gd name="connsiteY40" fmla="*/ 94627 h 203488"/>
                <a:gd name="connsiteX41" fmla="*/ 385703 w 473110"/>
                <a:gd name="connsiteY41" fmla="*/ 83865 h 203488"/>
                <a:gd name="connsiteX42" fmla="*/ 406891 w 473110"/>
                <a:gd name="connsiteY42" fmla="*/ 73303 h 203488"/>
                <a:gd name="connsiteX43" fmla="*/ 412898 w 473110"/>
                <a:gd name="connsiteY43" fmla="*/ 56190 h 203488"/>
                <a:gd name="connsiteX44" fmla="*/ 415415 w 473110"/>
                <a:gd name="connsiteY44" fmla="*/ 43756 h 203488"/>
                <a:gd name="connsiteX45" fmla="*/ 415252 w 473110"/>
                <a:gd name="connsiteY45" fmla="*/ 43322 h 203488"/>
                <a:gd name="connsiteX46" fmla="*/ 468019 w 473110"/>
                <a:gd name="connsiteY46" fmla="*/ 171267 h 203488"/>
                <a:gd name="connsiteX47" fmla="*/ 443218 w 473110"/>
                <a:gd name="connsiteY47" fmla="*/ 184637 h 203488"/>
                <a:gd name="connsiteX48" fmla="*/ 461646 w 473110"/>
                <a:gd name="connsiteY48" fmla="*/ 203087 h 203488"/>
                <a:gd name="connsiteX49" fmla="*/ 468019 w 473110"/>
                <a:gd name="connsiteY49" fmla="*/ 171301 h 20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73110" h="203488">
                  <a:moveTo>
                    <a:pt x="415252" y="43322"/>
                  </a:moveTo>
                  <a:cubicBezTo>
                    <a:pt x="409569" y="43890"/>
                    <a:pt x="386515" y="39812"/>
                    <a:pt x="381887" y="38141"/>
                  </a:cubicBezTo>
                  <a:cubicBezTo>
                    <a:pt x="373120" y="34358"/>
                    <a:pt x="363338" y="32473"/>
                    <a:pt x="353475" y="32660"/>
                  </a:cubicBezTo>
                  <a:cubicBezTo>
                    <a:pt x="339958" y="32660"/>
                    <a:pt x="340486" y="32325"/>
                    <a:pt x="330095" y="28315"/>
                  </a:cubicBezTo>
                  <a:cubicBezTo>
                    <a:pt x="325264" y="26443"/>
                    <a:pt x="321043" y="28883"/>
                    <a:pt x="317918" y="25340"/>
                  </a:cubicBezTo>
                  <a:cubicBezTo>
                    <a:pt x="317512" y="24872"/>
                    <a:pt x="315767" y="18923"/>
                    <a:pt x="314387" y="19123"/>
                  </a:cubicBezTo>
                  <a:cubicBezTo>
                    <a:pt x="309313" y="19792"/>
                    <a:pt x="302210" y="26476"/>
                    <a:pt x="296081" y="23903"/>
                  </a:cubicBezTo>
                  <a:cubicBezTo>
                    <a:pt x="289181" y="21062"/>
                    <a:pt x="292955" y="17686"/>
                    <a:pt x="283457" y="15480"/>
                  </a:cubicBezTo>
                  <a:cubicBezTo>
                    <a:pt x="275664" y="13976"/>
                    <a:pt x="268114" y="11733"/>
                    <a:pt x="260970" y="8795"/>
                  </a:cubicBezTo>
                  <a:cubicBezTo>
                    <a:pt x="254679" y="6088"/>
                    <a:pt x="252609" y="10333"/>
                    <a:pt x="247170" y="7024"/>
                  </a:cubicBezTo>
                  <a:cubicBezTo>
                    <a:pt x="238849" y="1977"/>
                    <a:pt x="228823" y="-5176"/>
                    <a:pt x="215144" y="4316"/>
                  </a:cubicBezTo>
                  <a:cubicBezTo>
                    <a:pt x="202684" y="13040"/>
                    <a:pt x="220015" y="23635"/>
                    <a:pt x="193104" y="27212"/>
                  </a:cubicBezTo>
                  <a:cubicBezTo>
                    <a:pt x="170293" y="30253"/>
                    <a:pt x="169400" y="29652"/>
                    <a:pt x="159293" y="39812"/>
                  </a:cubicBezTo>
                  <a:cubicBezTo>
                    <a:pt x="152271" y="46865"/>
                    <a:pt x="125117" y="41584"/>
                    <a:pt x="117648" y="37874"/>
                  </a:cubicBezTo>
                  <a:cubicBezTo>
                    <a:pt x="111884" y="34999"/>
                    <a:pt x="89235" y="32158"/>
                    <a:pt x="93741" y="41216"/>
                  </a:cubicBezTo>
                  <a:cubicBezTo>
                    <a:pt x="95648" y="44793"/>
                    <a:pt x="120814" y="65314"/>
                    <a:pt x="91752" y="61738"/>
                  </a:cubicBezTo>
                  <a:cubicBezTo>
                    <a:pt x="81401" y="60501"/>
                    <a:pt x="78235" y="62674"/>
                    <a:pt x="69103" y="63109"/>
                  </a:cubicBezTo>
                  <a:cubicBezTo>
                    <a:pt x="63542" y="63376"/>
                    <a:pt x="58631" y="58663"/>
                    <a:pt x="53232" y="57895"/>
                  </a:cubicBezTo>
                  <a:cubicBezTo>
                    <a:pt x="43775" y="56558"/>
                    <a:pt x="6067" y="61538"/>
                    <a:pt x="953" y="65782"/>
                  </a:cubicBezTo>
                  <a:cubicBezTo>
                    <a:pt x="-2660" y="68724"/>
                    <a:pt x="4565" y="74138"/>
                    <a:pt x="4484" y="77548"/>
                  </a:cubicBezTo>
                  <a:cubicBezTo>
                    <a:pt x="4484" y="82394"/>
                    <a:pt x="13860" y="82494"/>
                    <a:pt x="20720" y="82862"/>
                  </a:cubicBezTo>
                  <a:cubicBezTo>
                    <a:pt x="38701" y="83831"/>
                    <a:pt x="57251" y="85670"/>
                    <a:pt x="74582" y="87441"/>
                  </a:cubicBezTo>
                  <a:cubicBezTo>
                    <a:pt x="93862" y="89446"/>
                    <a:pt x="86759" y="98070"/>
                    <a:pt x="97881" y="104153"/>
                  </a:cubicBezTo>
                  <a:cubicBezTo>
                    <a:pt x="105106" y="107996"/>
                    <a:pt x="116390" y="107295"/>
                    <a:pt x="123371" y="110570"/>
                  </a:cubicBezTo>
                  <a:cubicBezTo>
                    <a:pt x="128932" y="113211"/>
                    <a:pt x="122965" y="118726"/>
                    <a:pt x="126213" y="122101"/>
                  </a:cubicBezTo>
                  <a:cubicBezTo>
                    <a:pt x="130840" y="126948"/>
                    <a:pt x="123615" y="133532"/>
                    <a:pt x="122478" y="138512"/>
                  </a:cubicBezTo>
                  <a:cubicBezTo>
                    <a:pt x="121545" y="142623"/>
                    <a:pt x="123534" y="146768"/>
                    <a:pt x="122722" y="150946"/>
                  </a:cubicBezTo>
                  <a:cubicBezTo>
                    <a:pt x="121707" y="155926"/>
                    <a:pt x="119393" y="172604"/>
                    <a:pt x="107582" y="174342"/>
                  </a:cubicBezTo>
                  <a:cubicBezTo>
                    <a:pt x="115699" y="175980"/>
                    <a:pt x="183687" y="192692"/>
                    <a:pt x="183119" y="182832"/>
                  </a:cubicBezTo>
                  <a:cubicBezTo>
                    <a:pt x="183119" y="179724"/>
                    <a:pt x="210111" y="186375"/>
                    <a:pt x="215591" y="186709"/>
                  </a:cubicBezTo>
                  <a:cubicBezTo>
                    <a:pt x="233857" y="187779"/>
                    <a:pt x="250945" y="187645"/>
                    <a:pt x="269373" y="187378"/>
                  </a:cubicBezTo>
                  <a:cubicBezTo>
                    <a:pt x="264339" y="173674"/>
                    <a:pt x="275501" y="164549"/>
                    <a:pt x="304482" y="165117"/>
                  </a:cubicBezTo>
                  <a:cubicBezTo>
                    <a:pt x="324006" y="165519"/>
                    <a:pt x="344342" y="172704"/>
                    <a:pt x="362567" y="172437"/>
                  </a:cubicBezTo>
                  <a:cubicBezTo>
                    <a:pt x="377585" y="172237"/>
                    <a:pt x="386028" y="164583"/>
                    <a:pt x="396703" y="160171"/>
                  </a:cubicBezTo>
                  <a:cubicBezTo>
                    <a:pt x="398042" y="159603"/>
                    <a:pt x="422802" y="151548"/>
                    <a:pt x="411477" y="148907"/>
                  </a:cubicBezTo>
                  <a:cubicBezTo>
                    <a:pt x="404374" y="147236"/>
                    <a:pt x="379817" y="149308"/>
                    <a:pt x="390452" y="140150"/>
                  </a:cubicBezTo>
                  <a:cubicBezTo>
                    <a:pt x="396784" y="134735"/>
                    <a:pt x="375109" y="133465"/>
                    <a:pt x="379412" y="128920"/>
                  </a:cubicBezTo>
                  <a:cubicBezTo>
                    <a:pt x="379777" y="128519"/>
                    <a:pt x="403400" y="123338"/>
                    <a:pt x="393659" y="120430"/>
                  </a:cubicBezTo>
                  <a:cubicBezTo>
                    <a:pt x="383917" y="117522"/>
                    <a:pt x="394430" y="111339"/>
                    <a:pt x="388017" y="107595"/>
                  </a:cubicBezTo>
                  <a:cubicBezTo>
                    <a:pt x="382699" y="104521"/>
                    <a:pt x="380101" y="96365"/>
                    <a:pt x="369548" y="103384"/>
                  </a:cubicBezTo>
                  <a:cubicBezTo>
                    <a:pt x="359766" y="110069"/>
                    <a:pt x="365164" y="96900"/>
                    <a:pt x="367965" y="94627"/>
                  </a:cubicBezTo>
                  <a:cubicBezTo>
                    <a:pt x="372268" y="91285"/>
                    <a:pt x="384201" y="87942"/>
                    <a:pt x="385703" y="83865"/>
                  </a:cubicBezTo>
                  <a:cubicBezTo>
                    <a:pt x="388219" y="76846"/>
                    <a:pt x="404536" y="78918"/>
                    <a:pt x="406891" y="73303"/>
                  </a:cubicBezTo>
                  <a:cubicBezTo>
                    <a:pt x="409245" y="67688"/>
                    <a:pt x="408717" y="61805"/>
                    <a:pt x="412898" y="56190"/>
                  </a:cubicBezTo>
                  <a:cubicBezTo>
                    <a:pt x="414928" y="53483"/>
                    <a:pt x="436075" y="41784"/>
                    <a:pt x="415415" y="43756"/>
                  </a:cubicBezTo>
                  <a:cubicBezTo>
                    <a:pt x="410909" y="43790"/>
                    <a:pt x="419595" y="42921"/>
                    <a:pt x="415252" y="43322"/>
                  </a:cubicBezTo>
                  <a:close/>
                  <a:moveTo>
                    <a:pt x="468019" y="171267"/>
                  </a:moveTo>
                  <a:cubicBezTo>
                    <a:pt x="462458" y="171000"/>
                    <a:pt x="444274" y="181896"/>
                    <a:pt x="443218" y="184637"/>
                  </a:cubicBezTo>
                  <a:cubicBezTo>
                    <a:pt x="441189" y="189751"/>
                    <a:pt x="447602" y="204223"/>
                    <a:pt x="461646" y="203087"/>
                  </a:cubicBezTo>
                  <a:cubicBezTo>
                    <a:pt x="475690" y="201950"/>
                    <a:pt x="475447" y="171602"/>
                    <a:pt x="468019" y="1713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D36D9E7-9329-4A97-B29D-11BF270468E7}"/>
                </a:ext>
              </a:extLst>
            </p:cNvPr>
            <p:cNvSpPr/>
            <p:nvPr/>
          </p:nvSpPr>
          <p:spPr>
            <a:xfrm>
              <a:off x="3215913" y="5115569"/>
              <a:ext cx="67604" cy="25759"/>
            </a:xfrm>
            <a:custGeom>
              <a:avLst/>
              <a:gdLst>
                <a:gd name="connsiteX0" fmla="*/ 60541 w 67604"/>
                <a:gd name="connsiteY0" fmla="*/ -68 h 25759"/>
                <a:gd name="connsiteX1" fmla="*/ 44549 w 67604"/>
                <a:gd name="connsiteY1" fmla="*/ 3876 h 25759"/>
                <a:gd name="connsiteX2" fmla="*/ 21940 w 67604"/>
                <a:gd name="connsiteY2" fmla="*/ 7219 h 25759"/>
                <a:gd name="connsiteX3" fmla="*/ -60 w 67604"/>
                <a:gd name="connsiteY3" fmla="*/ 25334 h 25759"/>
                <a:gd name="connsiteX4" fmla="*/ 45441 w 67604"/>
                <a:gd name="connsiteY4" fmla="*/ 18984 h 25759"/>
                <a:gd name="connsiteX5" fmla="*/ 60541 w 67604"/>
                <a:gd name="connsiteY5" fmla="*/ 66 h 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04" h="25759">
                  <a:moveTo>
                    <a:pt x="60541" y="-68"/>
                  </a:moveTo>
                  <a:cubicBezTo>
                    <a:pt x="56035" y="-1371"/>
                    <a:pt x="48932" y="2372"/>
                    <a:pt x="44549" y="3876"/>
                  </a:cubicBezTo>
                  <a:cubicBezTo>
                    <a:pt x="36431" y="6650"/>
                    <a:pt x="29896" y="6350"/>
                    <a:pt x="21940" y="7219"/>
                  </a:cubicBezTo>
                  <a:cubicBezTo>
                    <a:pt x="9114" y="8388"/>
                    <a:pt x="5379" y="18048"/>
                    <a:pt x="-60" y="25334"/>
                  </a:cubicBezTo>
                  <a:cubicBezTo>
                    <a:pt x="13538" y="26069"/>
                    <a:pt x="31276" y="21992"/>
                    <a:pt x="45441" y="18984"/>
                  </a:cubicBezTo>
                  <a:cubicBezTo>
                    <a:pt x="57618" y="16343"/>
                    <a:pt x="78522" y="5213"/>
                    <a:pt x="60541" y="6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93D312F6-6EE5-4B99-8BCA-4F90E18F550B}"/>
                </a:ext>
              </a:extLst>
            </p:cNvPr>
            <p:cNvSpPr/>
            <p:nvPr/>
          </p:nvSpPr>
          <p:spPr>
            <a:xfrm>
              <a:off x="3230809" y="5049559"/>
              <a:ext cx="161831" cy="78480"/>
            </a:xfrm>
            <a:custGeom>
              <a:avLst/>
              <a:gdLst>
                <a:gd name="connsiteX0" fmla="*/ 79821 w 161831"/>
                <a:gd name="connsiteY0" fmla="*/ 65642 h 78480"/>
                <a:gd name="connsiteX1" fmla="*/ 78238 w 161831"/>
                <a:gd name="connsiteY1" fmla="*/ 55414 h 78480"/>
                <a:gd name="connsiteX2" fmla="*/ 109086 w 161831"/>
                <a:gd name="connsiteY2" fmla="*/ 34491 h 78480"/>
                <a:gd name="connsiteX3" fmla="*/ 130639 w 161831"/>
                <a:gd name="connsiteY3" fmla="*/ 22692 h 78480"/>
                <a:gd name="connsiteX4" fmla="*/ 161772 w 161831"/>
                <a:gd name="connsiteY4" fmla="*/ 2839 h 78480"/>
                <a:gd name="connsiteX5" fmla="*/ 119274 w 161831"/>
                <a:gd name="connsiteY5" fmla="*/ 1067 h 78480"/>
                <a:gd name="connsiteX6" fmla="*/ 70567 w 161831"/>
                <a:gd name="connsiteY6" fmla="*/ 19116 h 78480"/>
                <a:gd name="connsiteX7" fmla="*/ 16014 w 161831"/>
                <a:gd name="connsiteY7" fmla="*/ 42713 h 78480"/>
                <a:gd name="connsiteX8" fmla="*/ 5623 w 161831"/>
                <a:gd name="connsiteY8" fmla="*/ 57319 h 78480"/>
                <a:gd name="connsiteX9" fmla="*/ -60 w 161831"/>
                <a:gd name="connsiteY9" fmla="*/ 74031 h 78480"/>
                <a:gd name="connsiteX10" fmla="*/ 35944 w 161831"/>
                <a:gd name="connsiteY10" fmla="*/ 67614 h 78480"/>
                <a:gd name="connsiteX11" fmla="*/ 51002 w 161831"/>
                <a:gd name="connsiteY11" fmla="*/ 76237 h 78480"/>
                <a:gd name="connsiteX12" fmla="*/ 61154 w 161831"/>
                <a:gd name="connsiteY12" fmla="*/ 74011 h 78480"/>
                <a:gd name="connsiteX13" fmla="*/ 64722 w 161831"/>
                <a:gd name="connsiteY13" fmla="*/ 78142 h 78480"/>
                <a:gd name="connsiteX14" fmla="*/ 79821 w 161831"/>
                <a:gd name="connsiteY14" fmla="*/ 65709 h 78480"/>
                <a:gd name="connsiteX15" fmla="*/ 79821 w 161831"/>
                <a:gd name="connsiteY15" fmla="*/ 65642 h 7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1831" h="78480">
                  <a:moveTo>
                    <a:pt x="79821" y="65642"/>
                  </a:moveTo>
                  <a:cubicBezTo>
                    <a:pt x="80755" y="61698"/>
                    <a:pt x="70810" y="60762"/>
                    <a:pt x="78238" y="55414"/>
                  </a:cubicBezTo>
                  <a:cubicBezTo>
                    <a:pt x="87208" y="48963"/>
                    <a:pt x="110142" y="44585"/>
                    <a:pt x="109086" y="34491"/>
                  </a:cubicBezTo>
                  <a:cubicBezTo>
                    <a:pt x="108437" y="28475"/>
                    <a:pt x="124023" y="24798"/>
                    <a:pt x="130639" y="22692"/>
                  </a:cubicBezTo>
                  <a:cubicBezTo>
                    <a:pt x="143060" y="18715"/>
                    <a:pt x="148134" y="7351"/>
                    <a:pt x="161772" y="2839"/>
                  </a:cubicBezTo>
                  <a:cubicBezTo>
                    <a:pt x="158930" y="-2944"/>
                    <a:pt x="128366" y="900"/>
                    <a:pt x="119274" y="1067"/>
                  </a:cubicBezTo>
                  <a:cubicBezTo>
                    <a:pt x="102511" y="1401"/>
                    <a:pt x="83758" y="11094"/>
                    <a:pt x="70567" y="19116"/>
                  </a:cubicBezTo>
                  <a:cubicBezTo>
                    <a:pt x="54331" y="29143"/>
                    <a:pt x="29652" y="31048"/>
                    <a:pt x="16014" y="42713"/>
                  </a:cubicBezTo>
                  <a:cubicBezTo>
                    <a:pt x="11590" y="46056"/>
                    <a:pt x="9195" y="53275"/>
                    <a:pt x="5623" y="57319"/>
                  </a:cubicBezTo>
                  <a:cubicBezTo>
                    <a:pt x="915" y="62634"/>
                    <a:pt x="4446" y="69753"/>
                    <a:pt x="-60" y="74031"/>
                  </a:cubicBezTo>
                  <a:cubicBezTo>
                    <a:pt x="13132" y="72059"/>
                    <a:pt x="22792" y="72494"/>
                    <a:pt x="35944" y="67614"/>
                  </a:cubicBezTo>
                  <a:cubicBezTo>
                    <a:pt x="49095" y="62734"/>
                    <a:pt x="49501" y="70321"/>
                    <a:pt x="51002" y="76237"/>
                  </a:cubicBezTo>
                  <a:cubicBezTo>
                    <a:pt x="53060" y="73316"/>
                    <a:pt x="57602" y="72320"/>
                    <a:pt x="61154" y="74011"/>
                  </a:cubicBezTo>
                  <a:cubicBezTo>
                    <a:pt x="63013" y="74900"/>
                    <a:pt x="64312" y="76404"/>
                    <a:pt x="64722" y="78142"/>
                  </a:cubicBezTo>
                  <a:cubicBezTo>
                    <a:pt x="71094" y="75301"/>
                    <a:pt x="78603" y="70588"/>
                    <a:pt x="79821" y="65709"/>
                  </a:cubicBezTo>
                  <a:cubicBezTo>
                    <a:pt x="80349" y="63737"/>
                    <a:pt x="79375" y="67413"/>
                    <a:pt x="79821" y="6564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B278AFDF-7533-4D1A-BB25-DBB98BC987F3}"/>
                </a:ext>
              </a:extLst>
            </p:cNvPr>
            <p:cNvSpPr/>
            <p:nvPr/>
          </p:nvSpPr>
          <p:spPr>
            <a:xfrm>
              <a:off x="2284175" y="4984141"/>
              <a:ext cx="958112" cy="244731"/>
            </a:xfrm>
            <a:custGeom>
              <a:avLst/>
              <a:gdLst>
                <a:gd name="connsiteX0" fmla="*/ 865152 w 958112"/>
                <a:gd name="connsiteY0" fmla="*/ 139348 h 244731"/>
                <a:gd name="connsiteX1" fmla="*/ 899207 w 958112"/>
                <a:gd name="connsiteY1" fmla="*/ 121533 h 244731"/>
                <a:gd name="connsiteX2" fmla="*/ 876801 w 958112"/>
                <a:gd name="connsiteY2" fmla="*/ 117289 h 244731"/>
                <a:gd name="connsiteX3" fmla="*/ 871809 w 958112"/>
                <a:gd name="connsiteY3" fmla="*/ 108231 h 244731"/>
                <a:gd name="connsiteX4" fmla="*/ 912398 w 958112"/>
                <a:gd name="connsiteY4" fmla="*/ 86338 h 244731"/>
                <a:gd name="connsiteX5" fmla="*/ 951243 w 958112"/>
                <a:gd name="connsiteY5" fmla="*/ 65114 h 244731"/>
                <a:gd name="connsiteX6" fmla="*/ 947184 w 958112"/>
                <a:gd name="connsiteY6" fmla="*/ 20026 h 244731"/>
                <a:gd name="connsiteX7" fmla="*/ 952217 w 958112"/>
                <a:gd name="connsiteY7" fmla="*/ -262 h 244731"/>
                <a:gd name="connsiteX8" fmla="*/ 940040 w 958112"/>
                <a:gd name="connsiteY8" fmla="*/ 4116 h 244731"/>
                <a:gd name="connsiteX9" fmla="*/ 921206 w 958112"/>
                <a:gd name="connsiteY9" fmla="*/ 8261 h 244731"/>
                <a:gd name="connsiteX10" fmla="*/ 859916 w 958112"/>
                <a:gd name="connsiteY10" fmla="*/ 44291 h 244731"/>
                <a:gd name="connsiteX11" fmla="*/ 861052 w 958112"/>
                <a:gd name="connsiteY11" fmla="*/ 79353 h 244731"/>
                <a:gd name="connsiteX12" fmla="*/ 850702 w 958112"/>
                <a:gd name="connsiteY12" fmla="*/ 94327 h 244731"/>
                <a:gd name="connsiteX13" fmla="*/ 829027 w 958112"/>
                <a:gd name="connsiteY13" fmla="*/ 100710 h 244731"/>
                <a:gd name="connsiteX14" fmla="*/ 779873 w 958112"/>
                <a:gd name="connsiteY14" fmla="*/ 127984 h 244731"/>
                <a:gd name="connsiteX15" fmla="*/ 761161 w 958112"/>
                <a:gd name="connsiteY15" fmla="*/ 135805 h 244731"/>
                <a:gd name="connsiteX16" fmla="*/ 728689 w 958112"/>
                <a:gd name="connsiteY16" fmla="*/ 139916 h 244731"/>
                <a:gd name="connsiteX17" fmla="*/ 705147 w 958112"/>
                <a:gd name="connsiteY17" fmla="*/ 127048 h 244731"/>
                <a:gd name="connsiteX18" fmla="*/ 663218 w 958112"/>
                <a:gd name="connsiteY18" fmla="*/ 120364 h 244731"/>
                <a:gd name="connsiteX19" fmla="*/ 630746 w 958112"/>
                <a:gd name="connsiteY19" fmla="*/ 84233 h 244731"/>
                <a:gd name="connsiteX20" fmla="*/ 621897 w 958112"/>
                <a:gd name="connsiteY20" fmla="*/ 55990 h 244731"/>
                <a:gd name="connsiteX21" fmla="*/ 620355 w 958112"/>
                <a:gd name="connsiteY21" fmla="*/ 42620 h 244731"/>
                <a:gd name="connsiteX22" fmla="*/ 598234 w 958112"/>
                <a:gd name="connsiteY22" fmla="*/ 47868 h 244731"/>
                <a:gd name="connsiteX23" fmla="*/ 546400 w 958112"/>
                <a:gd name="connsiteY23" fmla="*/ 45862 h 244731"/>
                <a:gd name="connsiteX24" fmla="*/ 524076 w 958112"/>
                <a:gd name="connsiteY24" fmla="*/ 38409 h 244731"/>
                <a:gd name="connsiteX25" fmla="*/ 489453 w 958112"/>
                <a:gd name="connsiteY25" fmla="*/ 27546 h 244731"/>
                <a:gd name="connsiteX26" fmla="*/ 431491 w 958112"/>
                <a:gd name="connsiteY26" fmla="*/ 40916 h 244731"/>
                <a:gd name="connsiteX27" fmla="*/ 425768 w 958112"/>
                <a:gd name="connsiteY27" fmla="*/ 58496 h 244731"/>
                <a:gd name="connsiteX28" fmla="*/ 395772 w 958112"/>
                <a:gd name="connsiteY28" fmla="*/ 64145 h 244731"/>
                <a:gd name="connsiteX29" fmla="*/ 370728 w 958112"/>
                <a:gd name="connsiteY29" fmla="*/ 60067 h 244731"/>
                <a:gd name="connsiteX30" fmla="*/ 345197 w 958112"/>
                <a:gd name="connsiteY30" fmla="*/ 56391 h 244731"/>
                <a:gd name="connsiteX31" fmla="*/ 302618 w 958112"/>
                <a:gd name="connsiteY31" fmla="*/ 55956 h 244731"/>
                <a:gd name="connsiteX32" fmla="*/ 260649 w 958112"/>
                <a:gd name="connsiteY32" fmla="*/ 75375 h 244731"/>
                <a:gd name="connsiteX33" fmla="*/ 255616 w 958112"/>
                <a:gd name="connsiteY33" fmla="*/ 85402 h 244731"/>
                <a:gd name="connsiteX34" fmla="*/ 246320 w 958112"/>
                <a:gd name="connsiteY34" fmla="*/ 90683 h 244731"/>
                <a:gd name="connsiteX35" fmla="*/ 172691 w 958112"/>
                <a:gd name="connsiteY35" fmla="*/ 125177 h 244731"/>
                <a:gd name="connsiteX36" fmla="*/ 68050 w 958112"/>
                <a:gd name="connsiteY36" fmla="*/ 151113 h 244731"/>
                <a:gd name="connsiteX37" fmla="*/ -60 w 958112"/>
                <a:gd name="connsiteY37" fmla="*/ 188314 h 244731"/>
                <a:gd name="connsiteX38" fmla="*/ 62814 w 958112"/>
                <a:gd name="connsiteY38" fmla="*/ 206463 h 244731"/>
                <a:gd name="connsiteX39" fmla="*/ 132628 w 958112"/>
                <a:gd name="connsiteY39" fmla="*/ 211576 h 244731"/>
                <a:gd name="connsiteX40" fmla="*/ 135226 w 958112"/>
                <a:gd name="connsiteY40" fmla="*/ 223643 h 244731"/>
                <a:gd name="connsiteX41" fmla="*/ 119761 w 958112"/>
                <a:gd name="connsiteY41" fmla="*/ 232901 h 244731"/>
                <a:gd name="connsiteX42" fmla="*/ 178495 w 958112"/>
                <a:gd name="connsiteY42" fmla="*/ 224478 h 244731"/>
                <a:gd name="connsiteX43" fmla="*/ 216365 w 958112"/>
                <a:gd name="connsiteY43" fmla="*/ 228155 h 244731"/>
                <a:gd name="connsiteX44" fmla="*/ 221561 w 958112"/>
                <a:gd name="connsiteY44" fmla="*/ 241524 h 244731"/>
                <a:gd name="connsiteX45" fmla="*/ 303024 w 958112"/>
                <a:gd name="connsiteY45" fmla="*/ 243931 h 244731"/>
                <a:gd name="connsiteX46" fmla="*/ 308869 w 958112"/>
                <a:gd name="connsiteY46" fmla="*/ 228823 h 244731"/>
                <a:gd name="connsiteX47" fmla="*/ 286910 w 958112"/>
                <a:gd name="connsiteY47" fmla="*/ 223810 h 244731"/>
                <a:gd name="connsiteX48" fmla="*/ 265276 w 958112"/>
                <a:gd name="connsiteY48" fmla="*/ 226015 h 244731"/>
                <a:gd name="connsiteX49" fmla="*/ 234265 w 958112"/>
                <a:gd name="connsiteY49" fmla="*/ 212880 h 244731"/>
                <a:gd name="connsiteX50" fmla="*/ 165263 w 958112"/>
                <a:gd name="connsiteY50" fmla="*/ 196469 h 244731"/>
                <a:gd name="connsiteX51" fmla="*/ 143222 w 958112"/>
                <a:gd name="connsiteY51" fmla="*/ 191690 h 244731"/>
                <a:gd name="connsiteX52" fmla="*/ 117813 w 958112"/>
                <a:gd name="connsiteY52" fmla="*/ 190787 h 244731"/>
                <a:gd name="connsiteX53" fmla="*/ 72069 w 958112"/>
                <a:gd name="connsiteY53" fmla="*/ 171134 h 244731"/>
                <a:gd name="connsiteX54" fmla="*/ 84245 w 958112"/>
                <a:gd name="connsiteY54" fmla="*/ 163681 h 244731"/>
                <a:gd name="connsiteX55" fmla="*/ 100481 w 958112"/>
                <a:gd name="connsiteY55" fmla="*/ 156494 h 244731"/>
                <a:gd name="connsiteX56" fmla="*/ 121466 w 958112"/>
                <a:gd name="connsiteY56" fmla="*/ 151815 h 244731"/>
                <a:gd name="connsiteX57" fmla="*/ 127677 w 958112"/>
                <a:gd name="connsiteY57" fmla="*/ 155158 h 244731"/>
                <a:gd name="connsiteX58" fmla="*/ 151259 w 958112"/>
                <a:gd name="connsiteY58" fmla="*/ 168093 h 244731"/>
                <a:gd name="connsiteX59" fmla="*/ 159377 w 958112"/>
                <a:gd name="connsiteY59" fmla="*/ 174276 h 244731"/>
                <a:gd name="connsiteX60" fmla="*/ 172122 w 958112"/>
                <a:gd name="connsiteY60" fmla="*/ 183534 h 244731"/>
                <a:gd name="connsiteX61" fmla="*/ 193513 w 958112"/>
                <a:gd name="connsiteY61" fmla="*/ 176348 h 244731"/>
                <a:gd name="connsiteX62" fmla="*/ 228989 w 958112"/>
                <a:gd name="connsiteY62" fmla="*/ 173942 h 244731"/>
                <a:gd name="connsiteX63" fmla="*/ 251272 w 958112"/>
                <a:gd name="connsiteY63" fmla="*/ 178120 h 244731"/>
                <a:gd name="connsiteX64" fmla="*/ 283744 w 958112"/>
                <a:gd name="connsiteY64" fmla="*/ 177351 h 244731"/>
                <a:gd name="connsiteX65" fmla="*/ 295678 w 958112"/>
                <a:gd name="connsiteY65" fmla="*/ 189818 h 244731"/>
                <a:gd name="connsiteX66" fmla="*/ 330422 w 958112"/>
                <a:gd name="connsiteY66" fmla="*/ 187044 h 244731"/>
                <a:gd name="connsiteX67" fmla="*/ 398816 w 958112"/>
                <a:gd name="connsiteY67" fmla="*/ 193461 h 244731"/>
                <a:gd name="connsiteX68" fmla="*/ 449919 w 958112"/>
                <a:gd name="connsiteY68" fmla="*/ 213515 h 244731"/>
                <a:gd name="connsiteX69" fmla="*/ 455601 w 958112"/>
                <a:gd name="connsiteY69" fmla="*/ 220200 h 244731"/>
                <a:gd name="connsiteX70" fmla="*/ 448701 w 958112"/>
                <a:gd name="connsiteY70" fmla="*/ 227921 h 244731"/>
                <a:gd name="connsiteX71" fmla="*/ 469767 w 958112"/>
                <a:gd name="connsiteY71" fmla="*/ 237647 h 244731"/>
                <a:gd name="connsiteX72" fmla="*/ 502848 w 958112"/>
                <a:gd name="connsiteY72" fmla="*/ 233402 h 244731"/>
                <a:gd name="connsiteX73" fmla="*/ 553057 w 958112"/>
                <a:gd name="connsiteY73" fmla="*/ 229726 h 244731"/>
                <a:gd name="connsiteX74" fmla="*/ 660295 w 958112"/>
                <a:gd name="connsiteY74" fmla="*/ 210373 h 244731"/>
                <a:gd name="connsiteX75" fmla="*/ 757711 w 958112"/>
                <a:gd name="connsiteY75" fmla="*/ 184370 h 244731"/>
                <a:gd name="connsiteX76" fmla="*/ 852731 w 958112"/>
                <a:gd name="connsiteY76" fmla="*/ 164984 h 244731"/>
                <a:gd name="connsiteX77" fmla="*/ 865233 w 958112"/>
                <a:gd name="connsiteY77" fmla="*/ 139616 h 244731"/>
                <a:gd name="connsiteX78" fmla="*/ 865152 w 958112"/>
                <a:gd name="connsiteY78" fmla="*/ 139348 h 2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58112" h="244731">
                  <a:moveTo>
                    <a:pt x="865152" y="139348"/>
                  </a:moveTo>
                  <a:cubicBezTo>
                    <a:pt x="870144" y="136641"/>
                    <a:pt x="905742" y="127015"/>
                    <a:pt x="899207" y="121533"/>
                  </a:cubicBezTo>
                  <a:cubicBezTo>
                    <a:pt x="895148" y="117957"/>
                    <a:pt x="883742" y="118191"/>
                    <a:pt x="876801" y="117289"/>
                  </a:cubicBezTo>
                  <a:cubicBezTo>
                    <a:pt x="869860" y="116386"/>
                    <a:pt x="872296" y="113044"/>
                    <a:pt x="871809" y="108231"/>
                  </a:cubicBezTo>
                  <a:cubicBezTo>
                    <a:pt x="870631" y="97201"/>
                    <a:pt x="898395" y="91719"/>
                    <a:pt x="912398" y="86338"/>
                  </a:cubicBezTo>
                  <a:cubicBezTo>
                    <a:pt x="931800" y="78918"/>
                    <a:pt x="926767" y="62073"/>
                    <a:pt x="951243" y="65114"/>
                  </a:cubicBezTo>
                  <a:cubicBezTo>
                    <a:pt x="965287" y="47400"/>
                    <a:pt x="936549" y="35401"/>
                    <a:pt x="947184" y="20026"/>
                  </a:cubicBezTo>
                  <a:cubicBezTo>
                    <a:pt x="951040" y="14411"/>
                    <a:pt x="966261" y="2111"/>
                    <a:pt x="952217" y="-262"/>
                  </a:cubicBezTo>
                  <a:cubicBezTo>
                    <a:pt x="948158" y="-897"/>
                    <a:pt x="943287" y="2579"/>
                    <a:pt x="940040" y="4116"/>
                  </a:cubicBezTo>
                  <a:cubicBezTo>
                    <a:pt x="933424" y="7459"/>
                    <a:pt x="927863" y="6423"/>
                    <a:pt x="921206" y="8261"/>
                  </a:cubicBezTo>
                  <a:cubicBezTo>
                    <a:pt x="902413" y="13375"/>
                    <a:pt x="866654" y="31357"/>
                    <a:pt x="859916" y="44291"/>
                  </a:cubicBezTo>
                  <a:cubicBezTo>
                    <a:pt x="853706" y="56157"/>
                    <a:pt x="867263" y="67287"/>
                    <a:pt x="861052" y="79353"/>
                  </a:cubicBezTo>
                  <a:cubicBezTo>
                    <a:pt x="858942" y="83431"/>
                    <a:pt x="847414" y="90650"/>
                    <a:pt x="850702" y="94327"/>
                  </a:cubicBezTo>
                  <a:cubicBezTo>
                    <a:pt x="855045" y="99173"/>
                    <a:pt x="832315" y="100577"/>
                    <a:pt x="829027" y="100710"/>
                  </a:cubicBezTo>
                  <a:cubicBezTo>
                    <a:pt x="817297" y="101112"/>
                    <a:pt x="789087" y="122369"/>
                    <a:pt x="779873" y="127984"/>
                  </a:cubicBezTo>
                  <a:cubicBezTo>
                    <a:pt x="773622" y="131761"/>
                    <a:pt x="769035" y="135371"/>
                    <a:pt x="761161" y="135805"/>
                  </a:cubicBezTo>
                  <a:cubicBezTo>
                    <a:pt x="749877" y="136440"/>
                    <a:pt x="739527" y="138813"/>
                    <a:pt x="728689" y="139916"/>
                  </a:cubicBezTo>
                  <a:cubicBezTo>
                    <a:pt x="715091" y="141320"/>
                    <a:pt x="713022" y="130625"/>
                    <a:pt x="705147" y="127048"/>
                  </a:cubicBezTo>
                  <a:cubicBezTo>
                    <a:pt x="693701" y="121868"/>
                    <a:pt x="674826" y="125143"/>
                    <a:pt x="663218" y="120364"/>
                  </a:cubicBezTo>
                  <a:cubicBezTo>
                    <a:pt x="646292" y="113144"/>
                    <a:pt x="637849" y="96800"/>
                    <a:pt x="630746" y="84233"/>
                  </a:cubicBezTo>
                  <a:cubicBezTo>
                    <a:pt x="625567" y="75389"/>
                    <a:pt x="622563" y="65793"/>
                    <a:pt x="621897" y="55990"/>
                  </a:cubicBezTo>
                  <a:cubicBezTo>
                    <a:pt x="622234" y="51494"/>
                    <a:pt x="621715" y="46982"/>
                    <a:pt x="620355" y="42620"/>
                  </a:cubicBezTo>
                  <a:cubicBezTo>
                    <a:pt x="612237" y="43155"/>
                    <a:pt x="606230" y="45963"/>
                    <a:pt x="598234" y="47868"/>
                  </a:cubicBezTo>
                  <a:cubicBezTo>
                    <a:pt x="575138" y="53082"/>
                    <a:pt x="558659" y="56224"/>
                    <a:pt x="546400" y="45862"/>
                  </a:cubicBezTo>
                  <a:cubicBezTo>
                    <a:pt x="539500" y="40013"/>
                    <a:pt x="535644" y="39846"/>
                    <a:pt x="524076" y="38409"/>
                  </a:cubicBezTo>
                  <a:cubicBezTo>
                    <a:pt x="510032" y="36671"/>
                    <a:pt x="502482" y="29485"/>
                    <a:pt x="489453" y="27546"/>
                  </a:cubicBezTo>
                  <a:cubicBezTo>
                    <a:pt x="477885" y="25775"/>
                    <a:pt x="440096" y="29786"/>
                    <a:pt x="431491" y="40916"/>
                  </a:cubicBezTo>
                  <a:cubicBezTo>
                    <a:pt x="426864" y="46965"/>
                    <a:pt x="428041" y="52581"/>
                    <a:pt x="425768" y="58496"/>
                  </a:cubicBezTo>
                  <a:cubicBezTo>
                    <a:pt x="424103" y="62741"/>
                    <a:pt x="400074" y="63644"/>
                    <a:pt x="395772" y="64145"/>
                  </a:cubicBezTo>
                  <a:cubicBezTo>
                    <a:pt x="384610" y="65348"/>
                    <a:pt x="375112" y="66618"/>
                    <a:pt x="370728" y="60067"/>
                  </a:cubicBezTo>
                  <a:cubicBezTo>
                    <a:pt x="368009" y="55923"/>
                    <a:pt x="353112" y="54452"/>
                    <a:pt x="345197" y="56391"/>
                  </a:cubicBezTo>
                  <a:cubicBezTo>
                    <a:pt x="333223" y="59332"/>
                    <a:pt x="312725" y="51277"/>
                    <a:pt x="302618" y="55956"/>
                  </a:cubicBezTo>
                  <a:cubicBezTo>
                    <a:pt x="288627" y="62374"/>
                    <a:pt x="274640" y="68848"/>
                    <a:pt x="260649" y="75375"/>
                  </a:cubicBezTo>
                  <a:cubicBezTo>
                    <a:pt x="257970" y="76645"/>
                    <a:pt x="256590" y="83330"/>
                    <a:pt x="255616" y="85402"/>
                  </a:cubicBezTo>
                  <a:cubicBezTo>
                    <a:pt x="254641" y="87475"/>
                    <a:pt x="249202" y="89313"/>
                    <a:pt x="246320" y="90683"/>
                  </a:cubicBezTo>
                  <a:cubicBezTo>
                    <a:pt x="224767" y="100911"/>
                    <a:pt x="195827" y="119361"/>
                    <a:pt x="172691" y="125177"/>
                  </a:cubicBezTo>
                  <a:cubicBezTo>
                    <a:pt x="138676" y="133700"/>
                    <a:pt x="101537" y="146735"/>
                    <a:pt x="68050" y="151113"/>
                  </a:cubicBezTo>
                  <a:cubicBezTo>
                    <a:pt x="46741" y="153854"/>
                    <a:pt x="18409" y="176983"/>
                    <a:pt x="-60" y="188314"/>
                  </a:cubicBezTo>
                  <a:cubicBezTo>
                    <a:pt x="20763" y="195333"/>
                    <a:pt x="45320" y="195901"/>
                    <a:pt x="62814" y="206463"/>
                  </a:cubicBezTo>
                  <a:cubicBezTo>
                    <a:pt x="80308" y="217024"/>
                    <a:pt x="115581" y="199979"/>
                    <a:pt x="132628" y="211576"/>
                  </a:cubicBezTo>
                  <a:cubicBezTo>
                    <a:pt x="135835" y="213749"/>
                    <a:pt x="144075" y="219632"/>
                    <a:pt x="135226" y="223643"/>
                  </a:cubicBezTo>
                  <a:cubicBezTo>
                    <a:pt x="132791" y="224745"/>
                    <a:pt x="113917" y="230762"/>
                    <a:pt x="119761" y="232901"/>
                  </a:cubicBezTo>
                  <a:cubicBezTo>
                    <a:pt x="137946" y="239585"/>
                    <a:pt x="159377" y="225481"/>
                    <a:pt x="178495" y="224478"/>
                  </a:cubicBezTo>
                  <a:cubicBezTo>
                    <a:pt x="191524" y="223810"/>
                    <a:pt x="208166" y="222740"/>
                    <a:pt x="216365" y="228155"/>
                  </a:cubicBezTo>
                  <a:cubicBezTo>
                    <a:pt x="220789" y="231096"/>
                    <a:pt x="216812" y="240822"/>
                    <a:pt x="221561" y="241524"/>
                  </a:cubicBezTo>
                  <a:cubicBezTo>
                    <a:pt x="247132" y="245334"/>
                    <a:pt x="283014" y="231196"/>
                    <a:pt x="303024" y="243931"/>
                  </a:cubicBezTo>
                  <a:cubicBezTo>
                    <a:pt x="308382" y="247273"/>
                    <a:pt x="317028" y="231464"/>
                    <a:pt x="308869" y="228823"/>
                  </a:cubicBezTo>
                  <a:cubicBezTo>
                    <a:pt x="301725" y="226584"/>
                    <a:pt x="297585" y="220200"/>
                    <a:pt x="286910" y="223810"/>
                  </a:cubicBezTo>
                  <a:cubicBezTo>
                    <a:pt x="276235" y="227419"/>
                    <a:pt x="269781" y="233168"/>
                    <a:pt x="265276" y="226015"/>
                  </a:cubicBezTo>
                  <a:cubicBezTo>
                    <a:pt x="260243" y="218094"/>
                    <a:pt x="244169" y="217726"/>
                    <a:pt x="234265" y="212880"/>
                  </a:cubicBezTo>
                  <a:cubicBezTo>
                    <a:pt x="214660" y="203221"/>
                    <a:pt x="189617" y="201516"/>
                    <a:pt x="165263" y="196469"/>
                  </a:cubicBezTo>
                  <a:cubicBezTo>
                    <a:pt x="160757" y="195533"/>
                    <a:pt x="141477" y="196035"/>
                    <a:pt x="143222" y="191690"/>
                  </a:cubicBezTo>
                  <a:cubicBezTo>
                    <a:pt x="148174" y="179523"/>
                    <a:pt x="128691" y="188347"/>
                    <a:pt x="117813" y="190787"/>
                  </a:cubicBezTo>
                  <a:cubicBezTo>
                    <a:pt x="94149" y="195734"/>
                    <a:pt x="85341" y="178019"/>
                    <a:pt x="72069" y="171134"/>
                  </a:cubicBezTo>
                  <a:cubicBezTo>
                    <a:pt x="60785" y="165285"/>
                    <a:pt x="76371" y="164449"/>
                    <a:pt x="84245" y="163681"/>
                  </a:cubicBezTo>
                  <a:cubicBezTo>
                    <a:pt x="90090" y="163112"/>
                    <a:pt x="93337" y="157196"/>
                    <a:pt x="100481" y="156494"/>
                  </a:cubicBezTo>
                  <a:cubicBezTo>
                    <a:pt x="111684" y="155391"/>
                    <a:pt x="109858" y="157698"/>
                    <a:pt x="121466" y="151815"/>
                  </a:cubicBezTo>
                  <a:cubicBezTo>
                    <a:pt x="129990" y="147470"/>
                    <a:pt x="127230" y="152183"/>
                    <a:pt x="127677" y="155158"/>
                  </a:cubicBezTo>
                  <a:cubicBezTo>
                    <a:pt x="128894" y="163146"/>
                    <a:pt x="142208" y="165452"/>
                    <a:pt x="151259" y="168093"/>
                  </a:cubicBezTo>
                  <a:cubicBezTo>
                    <a:pt x="155927" y="169463"/>
                    <a:pt x="160676" y="169997"/>
                    <a:pt x="159377" y="174276"/>
                  </a:cubicBezTo>
                  <a:cubicBezTo>
                    <a:pt x="158362" y="177919"/>
                    <a:pt x="164410" y="189149"/>
                    <a:pt x="172122" y="183534"/>
                  </a:cubicBezTo>
                  <a:cubicBezTo>
                    <a:pt x="181296" y="176849"/>
                    <a:pt x="179144" y="175178"/>
                    <a:pt x="193513" y="176348"/>
                  </a:cubicBezTo>
                  <a:cubicBezTo>
                    <a:pt x="205690" y="177317"/>
                    <a:pt x="217380" y="173607"/>
                    <a:pt x="228989" y="173942"/>
                  </a:cubicBezTo>
                  <a:cubicBezTo>
                    <a:pt x="238081" y="174175"/>
                    <a:pt x="236741" y="183334"/>
                    <a:pt x="251272" y="178120"/>
                  </a:cubicBezTo>
                  <a:cubicBezTo>
                    <a:pt x="256224" y="176348"/>
                    <a:pt x="280862" y="175379"/>
                    <a:pt x="283744" y="177351"/>
                  </a:cubicBezTo>
                  <a:cubicBezTo>
                    <a:pt x="289873" y="181729"/>
                    <a:pt x="281958" y="190353"/>
                    <a:pt x="295678" y="189818"/>
                  </a:cubicBezTo>
                  <a:cubicBezTo>
                    <a:pt x="308342" y="189350"/>
                    <a:pt x="319341" y="184503"/>
                    <a:pt x="330422" y="187044"/>
                  </a:cubicBezTo>
                  <a:cubicBezTo>
                    <a:pt x="350352" y="191623"/>
                    <a:pt x="377141" y="190887"/>
                    <a:pt x="398816" y="193461"/>
                  </a:cubicBezTo>
                  <a:cubicBezTo>
                    <a:pt x="416148" y="195500"/>
                    <a:pt x="451055" y="198742"/>
                    <a:pt x="449919" y="213515"/>
                  </a:cubicBezTo>
                  <a:cubicBezTo>
                    <a:pt x="449675" y="217325"/>
                    <a:pt x="455479" y="217325"/>
                    <a:pt x="455601" y="220200"/>
                  </a:cubicBezTo>
                  <a:cubicBezTo>
                    <a:pt x="455723" y="223074"/>
                    <a:pt x="446347" y="225447"/>
                    <a:pt x="448701" y="227921"/>
                  </a:cubicBezTo>
                  <a:cubicBezTo>
                    <a:pt x="454245" y="232968"/>
                    <a:pt x="461645" y="236377"/>
                    <a:pt x="469767" y="237647"/>
                  </a:cubicBezTo>
                  <a:cubicBezTo>
                    <a:pt x="479590" y="239351"/>
                    <a:pt x="491848" y="233736"/>
                    <a:pt x="502848" y="233402"/>
                  </a:cubicBezTo>
                  <a:cubicBezTo>
                    <a:pt x="520545" y="232867"/>
                    <a:pt x="534021" y="235675"/>
                    <a:pt x="553057" y="229726"/>
                  </a:cubicBezTo>
                  <a:cubicBezTo>
                    <a:pt x="588614" y="218662"/>
                    <a:pt x="624333" y="217492"/>
                    <a:pt x="660295" y="210373"/>
                  </a:cubicBezTo>
                  <a:cubicBezTo>
                    <a:pt x="697435" y="203053"/>
                    <a:pt x="725888" y="206530"/>
                    <a:pt x="757711" y="184370"/>
                  </a:cubicBezTo>
                  <a:cubicBezTo>
                    <a:pt x="788600" y="162979"/>
                    <a:pt x="818961" y="162076"/>
                    <a:pt x="852731" y="164984"/>
                  </a:cubicBezTo>
                  <a:cubicBezTo>
                    <a:pt x="854720" y="160405"/>
                    <a:pt x="858576" y="143326"/>
                    <a:pt x="865233" y="139616"/>
                  </a:cubicBezTo>
                  <a:cubicBezTo>
                    <a:pt x="867871" y="137911"/>
                    <a:pt x="863894" y="140050"/>
                    <a:pt x="865152" y="13934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5825B16E-1F62-4E98-89CE-924F354B5029}"/>
                </a:ext>
              </a:extLst>
            </p:cNvPr>
            <p:cNvSpPr/>
            <p:nvPr/>
          </p:nvSpPr>
          <p:spPr>
            <a:xfrm>
              <a:off x="3138911" y="5067877"/>
              <a:ext cx="107484" cy="84215"/>
            </a:xfrm>
            <a:custGeom>
              <a:avLst/>
              <a:gdLst>
                <a:gd name="connsiteX0" fmla="*/ 97521 w 107484"/>
                <a:gd name="connsiteY0" fmla="*/ 39001 h 84215"/>
                <a:gd name="connsiteX1" fmla="*/ 107425 w 107484"/>
                <a:gd name="connsiteY1" fmla="*/ 24796 h 84215"/>
                <a:gd name="connsiteX2" fmla="*/ 94355 w 107484"/>
                <a:gd name="connsiteY2" fmla="*/ 25264 h 84215"/>
                <a:gd name="connsiteX3" fmla="*/ 81285 w 107484"/>
                <a:gd name="connsiteY3" fmla="*/ 31481 h 84215"/>
                <a:gd name="connsiteX4" fmla="*/ 65049 w 107484"/>
                <a:gd name="connsiteY4" fmla="*/ -339 h 84215"/>
                <a:gd name="connsiteX5" fmla="*/ 24175 w 107484"/>
                <a:gd name="connsiteY5" fmla="*/ 15136 h 84215"/>
                <a:gd name="connsiteX6" fmla="*/ 16788 w 107484"/>
                <a:gd name="connsiteY6" fmla="*/ 32082 h 84215"/>
                <a:gd name="connsiteX7" fmla="*/ 23647 w 107484"/>
                <a:gd name="connsiteY7" fmla="*/ 50799 h 84215"/>
                <a:gd name="connsiteX8" fmla="*/ 3352 w 107484"/>
                <a:gd name="connsiteY8" fmla="*/ 68848 h 84215"/>
                <a:gd name="connsiteX9" fmla="*/ 15976 w 107484"/>
                <a:gd name="connsiteY9" fmla="*/ 82552 h 84215"/>
                <a:gd name="connsiteX10" fmla="*/ 41953 w 107484"/>
                <a:gd name="connsiteY10" fmla="*/ 82986 h 84215"/>
                <a:gd name="connsiteX11" fmla="*/ 81163 w 107484"/>
                <a:gd name="connsiteY11" fmla="*/ 67344 h 84215"/>
                <a:gd name="connsiteX12" fmla="*/ 92853 w 107484"/>
                <a:gd name="connsiteY12" fmla="*/ 54309 h 84215"/>
                <a:gd name="connsiteX13" fmla="*/ 97521 w 107484"/>
                <a:gd name="connsiteY13" fmla="*/ 39001 h 8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484" h="84215">
                  <a:moveTo>
                    <a:pt x="97521" y="39001"/>
                  </a:moveTo>
                  <a:cubicBezTo>
                    <a:pt x="101393" y="34552"/>
                    <a:pt x="104709" y="29793"/>
                    <a:pt x="107425" y="24796"/>
                  </a:cubicBezTo>
                  <a:cubicBezTo>
                    <a:pt x="101904" y="29341"/>
                    <a:pt x="95248" y="30712"/>
                    <a:pt x="94355" y="25264"/>
                  </a:cubicBezTo>
                  <a:lnTo>
                    <a:pt x="81285" y="31481"/>
                  </a:lnTo>
                  <a:cubicBezTo>
                    <a:pt x="75874" y="20875"/>
                    <a:pt x="70459" y="10267"/>
                    <a:pt x="65049" y="-339"/>
                  </a:cubicBezTo>
                  <a:cubicBezTo>
                    <a:pt x="51654" y="5176"/>
                    <a:pt x="37813" y="10056"/>
                    <a:pt x="24175" y="15136"/>
                  </a:cubicBezTo>
                  <a:cubicBezTo>
                    <a:pt x="9562" y="20618"/>
                    <a:pt x="23891" y="25665"/>
                    <a:pt x="16788" y="32082"/>
                  </a:cubicBezTo>
                  <a:cubicBezTo>
                    <a:pt x="13256" y="35425"/>
                    <a:pt x="73613" y="32583"/>
                    <a:pt x="23647" y="50799"/>
                  </a:cubicBezTo>
                  <a:cubicBezTo>
                    <a:pt x="8304" y="56414"/>
                    <a:pt x="8426" y="57785"/>
                    <a:pt x="3352" y="68848"/>
                  </a:cubicBezTo>
                  <a:cubicBezTo>
                    <a:pt x="-2695" y="81817"/>
                    <a:pt x="-1965" y="81014"/>
                    <a:pt x="15976" y="82552"/>
                  </a:cubicBezTo>
                  <a:cubicBezTo>
                    <a:pt x="23769" y="83254"/>
                    <a:pt x="33104" y="84891"/>
                    <a:pt x="41953" y="82986"/>
                  </a:cubicBezTo>
                  <a:cubicBezTo>
                    <a:pt x="53887" y="80346"/>
                    <a:pt x="76170" y="73795"/>
                    <a:pt x="81163" y="67344"/>
                  </a:cubicBezTo>
                  <a:cubicBezTo>
                    <a:pt x="83720" y="64002"/>
                    <a:pt x="91716" y="57685"/>
                    <a:pt x="92853" y="54309"/>
                  </a:cubicBezTo>
                  <a:cubicBezTo>
                    <a:pt x="94760" y="48527"/>
                    <a:pt x="92000" y="45218"/>
                    <a:pt x="97521" y="390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0F7208E3-B8ED-45B2-845F-BE3A5A6628FB}"/>
                </a:ext>
              </a:extLst>
            </p:cNvPr>
            <p:cNvSpPr/>
            <p:nvPr/>
          </p:nvSpPr>
          <p:spPr>
            <a:xfrm>
              <a:off x="3205679" y="5048970"/>
              <a:ext cx="33572" cy="50659"/>
            </a:xfrm>
            <a:custGeom>
              <a:avLst/>
              <a:gdLst>
                <a:gd name="connsiteX0" fmla="*/ 2137 w 33572"/>
                <a:gd name="connsiteY0" fmla="*/ 16897 h 50659"/>
                <a:gd name="connsiteX1" fmla="*/ 14517 w 33572"/>
                <a:gd name="connsiteY1" fmla="*/ 50321 h 50659"/>
                <a:gd name="connsiteX2" fmla="*/ 33350 w 33572"/>
                <a:gd name="connsiteY2" fmla="*/ 28261 h 50659"/>
                <a:gd name="connsiteX3" fmla="*/ 24908 w 33572"/>
                <a:gd name="connsiteY3" fmla="*/ 15293 h 50659"/>
                <a:gd name="connsiteX4" fmla="*/ 29738 w 33572"/>
                <a:gd name="connsiteY4" fmla="*/ 185 h 50659"/>
                <a:gd name="connsiteX5" fmla="*/ 2137 w 33572"/>
                <a:gd name="connsiteY5" fmla="*/ 16897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72" h="50659">
                  <a:moveTo>
                    <a:pt x="2137" y="16897"/>
                  </a:moveTo>
                  <a:cubicBezTo>
                    <a:pt x="-5981" y="23582"/>
                    <a:pt x="10742" y="42901"/>
                    <a:pt x="14517" y="50321"/>
                  </a:cubicBezTo>
                  <a:cubicBezTo>
                    <a:pt x="26247" y="44739"/>
                    <a:pt x="34812" y="37252"/>
                    <a:pt x="33350" y="28261"/>
                  </a:cubicBezTo>
                  <a:cubicBezTo>
                    <a:pt x="32620" y="23314"/>
                    <a:pt x="27992" y="19370"/>
                    <a:pt x="24908" y="15293"/>
                  </a:cubicBezTo>
                  <a:cubicBezTo>
                    <a:pt x="19428" y="8140"/>
                    <a:pt x="23771" y="7772"/>
                    <a:pt x="29738" y="185"/>
                  </a:cubicBezTo>
                  <a:cubicBezTo>
                    <a:pt x="5384" y="-2823"/>
                    <a:pt x="13827" y="7706"/>
                    <a:pt x="2137" y="1689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7102E2B0-06A0-4F0D-8DA7-12C99FE36470}"/>
                </a:ext>
              </a:extLst>
            </p:cNvPr>
            <p:cNvSpPr/>
            <p:nvPr/>
          </p:nvSpPr>
          <p:spPr>
            <a:xfrm>
              <a:off x="3608683" y="4867436"/>
              <a:ext cx="78557" cy="50779"/>
            </a:xfrm>
            <a:custGeom>
              <a:avLst/>
              <a:gdLst>
                <a:gd name="connsiteX0" fmla="*/ 23133 w 78557"/>
                <a:gd name="connsiteY0" fmla="*/ 9087 h 50779"/>
                <a:gd name="connsiteX1" fmla="*/ 50450 w 78557"/>
                <a:gd name="connsiteY1" fmla="*/ 23559 h 50779"/>
                <a:gd name="connsiteX2" fmla="*/ 22565 w 78557"/>
                <a:gd name="connsiteY2" fmla="*/ 37263 h 50779"/>
                <a:gd name="connsiteX3" fmla="*/ 9130 w 78557"/>
                <a:gd name="connsiteY3" fmla="*/ 50264 h 50779"/>
                <a:gd name="connsiteX4" fmla="*/ 78498 w 78557"/>
                <a:gd name="connsiteY4" fmla="*/ 32416 h 50779"/>
                <a:gd name="connsiteX5" fmla="*/ 69974 w 78557"/>
                <a:gd name="connsiteY5" fmla="*/ -339 h 50779"/>
                <a:gd name="connsiteX6" fmla="*/ 23133 w 78557"/>
                <a:gd name="connsiteY6" fmla="*/ 9087 h 50779"/>
                <a:gd name="connsiteX7" fmla="*/ 23133 w 78557"/>
                <a:gd name="connsiteY7" fmla="*/ 9087 h 5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57" h="50779">
                  <a:moveTo>
                    <a:pt x="23133" y="9087"/>
                  </a:moveTo>
                  <a:cubicBezTo>
                    <a:pt x="13757" y="17175"/>
                    <a:pt x="45498" y="20250"/>
                    <a:pt x="50450" y="23559"/>
                  </a:cubicBezTo>
                  <a:cubicBezTo>
                    <a:pt x="58568" y="28840"/>
                    <a:pt x="27964" y="35658"/>
                    <a:pt x="22565" y="37263"/>
                  </a:cubicBezTo>
                  <a:cubicBezTo>
                    <a:pt x="15340" y="39435"/>
                    <a:pt x="-15061" y="52069"/>
                    <a:pt x="9130" y="50264"/>
                  </a:cubicBezTo>
                  <a:cubicBezTo>
                    <a:pt x="34296" y="48460"/>
                    <a:pt x="51587" y="32884"/>
                    <a:pt x="78498" y="32416"/>
                  </a:cubicBezTo>
                  <a:cubicBezTo>
                    <a:pt x="75170" y="21620"/>
                    <a:pt x="72166" y="10724"/>
                    <a:pt x="69974" y="-339"/>
                  </a:cubicBezTo>
                  <a:cubicBezTo>
                    <a:pt x="57797" y="1466"/>
                    <a:pt x="32428" y="965"/>
                    <a:pt x="23133" y="9087"/>
                  </a:cubicBezTo>
                  <a:cubicBezTo>
                    <a:pt x="12905" y="17944"/>
                    <a:pt x="30602" y="2602"/>
                    <a:pt x="23133" y="90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5EB9B787-3EF7-4696-BB50-D66EC142C3A8}"/>
                </a:ext>
              </a:extLst>
            </p:cNvPr>
            <p:cNvSpPr/>
            <p:nvPr/>
          </p:nvSpPr>
          <p:spPr>
            <a:xfrm>
              <a:off x="3678758" y="4853531"/>
              <a:ext cx="99196" cy="46626"/>
            </a:xfrm>
            <a:custGeom>
              <a:avLst/>
              <a:gdLst>
                <a:gd name="connsiteX0" fmla="*/ 42722 w 99196"/>
                <a:gd name="connsiteY0" fmla="*/ 28540 h 46626"/>
                <a:gd name="connsiteX1" fmla="*/ 89116 w 99196"/>
                <a:gd name="connsiteY1" fmla="*/ 397 h 46626"/>
                <a:gd name="connsiteX2" fmla="*/ 46172 w 99196"/>
                <a:gd name="connsiteY2" fmla="*/ 1968 h 46626"/>
                <a:gd name="connsiteX3" fmla="*/ -60 w 99196"/>
                <a:gd name="connsiteY3" fmla="*/ 13566 h 46626"/>
                <a:gd name="connsiteX4" fmla="*/ 10900 w 99196"/>
                <a:gd name="connsiteY4" fmla="*/ 46287 h 46626"/>
                <a:gd name="connsiteX5" fmla="*/ 42722 w 99196"/>
                <a:gd name="connsiteY5" fmla="*/ 2854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196" h="46626">
                  <a:moveTo>
                    <a:pt x="42722" y="28540"/>
                  </a:moveTo>
                  <a:cubicBezTo>
                    <a:pt x="50840" y="24161"/>
                    <a:pt x="125728" y="5611"/>
                    <a:pt x="89116" y="397"/>
                  </a:cubicBezTo>
                  <a:cubicBezTo>
                    <a:pt x="74792" y="-964"/>
                    <a:pt x="60293" y="-435"/>
                    <a:pt x="46172" y="1968"/>
                  </a:cubicBezTo>
                  <a:cubicBezTo>
                    <a:pt x="29936" y="4241"/>
                    <a:pt x="15527" y="11226"/>
                    <a:pt x="-60" y="13566"/>
                  </a:cubicBezTo>
                  <a:cubicBezTo>
                    <a:pt x="955" y="18780"/>
                    <a:pt x="3431" y="46455"/>
                    <a:pt x="10900" y="46287"/>
                  </a:cubicBezTo>
                  <a:cubicBezTo>
                    <a:pt x="22265" y="46053"/>
                    <a:pt x="34198" y="32918"/>
                    <a:pt x="42722" y="2854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100DC56B-2D0C-40DF-91F5-BA70F6AE48D9}"/>
                </a:ext>
              </a:extLst>
            </p:cNvPr>
            <p:cNvSpPr/>
            <p:nvPr/>
          </p:nvSpPr>
          <p:spPr>
            <a:xfrm>
              <a:off x="3294820" y="5052736"/>
              <a:ext cx="120956" cy="87056"/>
            </a:xfrm>
            <a:custGeom>
              <a:avLst/>
              <a:gdLst>
                <a:gd name="connsiteX0" fmla="*/ 78928 w 120956"/>
                <a:gd name="connsiteY0" fmla="*/ 83320 h 87056"/>
                <a:gd name="connsiteX1" fmla="*/ 120897 w 120956"/>
                <a:gd name="connsiteY1" fmla="*/ 72291 h 87056"/>
                <a:gd name="connsiteX2" fmla="*/ 105676 w 120956"/>
                <a:gd name="connsiteY2" fmla="*/ 34990 h 87056"/>
                <a:gd name="connsiteX3" fmla="*/ 97558 w 120956"/>
                <a:gd name="connsiteY3" fmla="*/ -339 h 87056"/>
                <a:gd name="connsiteX4" fmla="*/ 71987 w 120956"/>
                <a:gd name="connsiteY4" fmla="*/ 16741 h 87056"/>
                <a:gd name="connsiteX5" fmla="*/ 48526 w 120956"/>
                <a:gd name="connsiteY5" fmla="*/ 26300 h 87056"/>
                <a:gd name="connsiteX6" fmla="*/ 32736 w 120956"/>
                <a:gd name="connsiteY6" fmla="*/ 43413 h 87056"/>
                <a:gd name="connsiteX7" fmla="*/ 12441 w 120956"/>
                <a:gd name="connsiteY7" fmla="*/ 58687 h 87056"/>
                <a:gd name="connsiteX8" fmla="*/ 9966 w 120956"/>
                <a:gd name="connsiteY8" fmla="*/ 69784 h 87056"/>
                <a:gd name="connsiteX9" fmla="*/ 8098 w 120956"/>
                <a:gd name="connsiteY9" fmla="*/ 79209 h 87056"/>
                <a:gd name="connsiteX10" fmla="*/ 40936 w 120956"/>
                <a:gd name="connsiteY10" fmla="*/ 84557 h 87056"/>
                <a:gd name="connsiteX11" fmla="*/ 58552 w 120956"/>
                <a:gd name="connsiteY11" fmla="*/ 85928 h 87056"/>
                <a:gd name="connsiteX12" fmla="*/ 78846 w 120956"/>
                <a:gd name="connsiteY12" fmla="*/ 83320 h 87056"/>
                <a:gd name="connsiteX13" fmla="*/ 78928 w 120956"/>
                <a:gd name="connsiteY13" fmla="*/ 83320 h 8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956" h="87056">
                  <a:moveTo>
                    <a:pt x="78928" y="83320"/>
                  </a:moveTo>
                  <a:cubicBezTo>
                    <a:pt x="93422" y="81104"/>
                    <a:pt x="107523" y="77401"/>
                    <a:pt x="120897" y="72291"/>
                  </a:cubicBezTo>
                  <a:cubicBezTo>
                    <a:pt x="103931" y="66642"/>
                    <a:pt x="112779" y="46220"/>
                    <a:pt x="105676" y="34990"/>
                  </a:cubicBezTo>
                  <a:cubicBezTo>
                    <a:pt x="98573" y="23760"/>
                    <a:pt x="103809" y="11593"/>
                    <a:pt x="97558" y="-339"/>
                  </a:cubicBezTo>
                  <a:cubicBezTo>
                    <a:pt x="86396" y="3371"/>
                    <a:pt x="79658" y="10658"/>
                    <a:pt x="71987" y="16741"/>
                  </a:cubicBezTo>
                  <a:cubicBezTo>
                    <a:pt x="66101" y="21420"/>
                    <a:pt x="55385" y="22021"/>
                    <a:pt x="48526" y="26300"/>
                  </a:cubicBezTo>
                  <a:cubicBezTo>
                    <a:pt x="40408" y="31480"/>
                    <a:pt x="44467" y="37497"/>
                    <a:pt x="32736" y="43413"/>
                  </a:cubicBezTo>
                  <a:cubicBezTo>
                    <a:pt x="25471" y="47089"/>
                    <a:pt x="7287" y="52103"/>
                    <a:pt x="12441" y="58687"/>
                  </a:cubicBezTo>
                  <a:cubicBezTo>
                    <a:pt x="16013" y="63333"/>
                    <a:pt x="14796" y="63701"/>
                    <a:pt x="9966" y="69784"/>
                  </a:cubicBezTo>
                  <a:cubicBezTo>
                    <a:pt x="7936" y="72358"/>
                    <a:pt x="-10329" y="79811"/>
                    <a:pt x="8098" y="79209"/>
                  </a:cubicBezTo>
                  <a:cubicBezTo>
                    <a:pt x="19991" y="78708"/>
                    <a:pt x="30342" y="82886"/>
                    <a:pt x="40936" y="84557"/>
                  </a:cubicBezTo>
                  <a:cubicBezTo>
                    <a:pt x="46375" y="85393"/>
                    <a:pt x="53478" y="84557"/>
                    <a:pt x="58552" y="85928"/>
                  </a:cubicBezTo>
                  <a:cubicBezTo>
                    <a:pt x="68699" y="88501"/>
                    <a:pt x="67725" y="84022"/>
                    <a:pt x="78846" y="83320"/>
                  </a:cubicBezTo>
                  <a:cubicBezTo>
                    <a:pt x="85787" y="82886"/>
                    <a:pt x="75396" y="83521"/>
                    <a:pt x="78928" y="833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A148F53D-50EF-4362-8C7A-28F3EA3A5C90}"/>
                </a:ext>
              </a:extLst>
            </p:cNvPr>
            <p:cNvSpPr/>
            <p:nvPr/>
          </p:nvSpPr>
          <p:spPr>
            <a:xfrm>
              <a:off x="3820094" y="4975597"/>
              <a:ext cx="1047054" cy="663923"/>
            </a:xfrm>
            <a:custGeom>
              <a:avLst/>
              <a:gdLst>
                <a:gd name="connsiteX0" fmla="*/ 707701 w 1047054"/>
                <a:gd name="connsiteY0" fmla="*/ 652956 h 663923"/>
                <a:gd name="connsiteX1" fmla="*/ 720243 w 1047054"/>
                <a:gd name="connsiteY1" fmla="*/ 623778 h 663923"/>
                <a:gd name="connsiteX2" fmla="*/ 721785 w 1047054"/>
                <a:gd name="connsiteY2" fmla="*/ 609940 h 663923"/>
                <a:gd name="connsiteX3" fmla="*/ 727671 w 1047054"/>
                <a:gd name="connsiteY3" fmla="*/ 595534 h 663923"/>
                <a:gd name="connsiteX4" fmla="*/ 743663 w 1047054"/>
                <a:gd name="connsiteY4" fmla="*/ 584237 h 663923"/>
                <a:gd name="connsiteX5" fmla="*/ 731202 w 1047054"/>
                <a:gd name="connsiteY5" fmla="*/ 611678 h 663923"/>
                <a:gd name="connsiteX6" fmla="*/ 748899 w 1047054"/>
                <a:gd name="connsiteY6" fmla="*/ 596905 h 663923"/>
                <a:gd name="connsiteX7" fmla="*/ 760711 w 1047054"/>
                <a:gd name="connsiteY7" fmla="*/ 570534 h 663923"/>
                <a:gd name="connsiteX8" fmla="*/ 773131 w 1047054"/>
                <a:gd name="connsiteY8" fmla="*/ 547137 h 663923"/>
                <a:gd name="connsiteX9" fmla="*/ 785633 w 1047054"/>
                <a:gd name="connsiteY9" fmla="*/ 532565 h 663923"/>
                <a:gd name="connsiteX10" fmla="*/ 776216 w 1047054"/>
                <a:gd name="connsiteY10" fmla="*/ 508533 h 663923"/>
                <a:gd name="connsiteX11" fmla="*/ 774511 w 1047054"/>
                <a:gd name="connsiteY11" fmla="*/ 485136 h 663923"/>
                <a:gd name="connsiteX12" fmla="*/ 790179 w 1047054"/>
                <a:gd name="connsiteY12" fmla="*/ 471132 h 663923"/>
                <a:gd name="connsiteX13" fmla="*/ 823178 w 1047054"/>
                <a:gd name="connsiteY13" fmla="*/ 443524 h 663923"/>
                <a:gd name="connsiteX14" fmla="*/ 843758 w 1047054"/>
                <a:gd name="connsiteY14" fmla="*/ 433898 h 663923"/>
                <a:gd name="connsiteX15" fmla="*/ 866204 w 1047054"/>
                <a:gd name="connsiteY15" fmla="*/ 416785 h 663923"/>
                <a:gd name="connsiteX16" fmla="*/ 927089 w 1047054"/>
                <a:gd name="connsiteY16" fmla="*/ 401277 h 663923"/>
                <a:gd name="connsiteX17" fmla="*/ 945557 w 1047054"/>
                <a:gd name="connsiteY17" fmla="*/ 386269 h 663923"/>
                <a:gd name="connsiteX18" fmla="*/ 948114 w 1047054"/>
                <a:gd name="connsiteY18" fmla="*/ 366483 h 663923"/>
                <a:gd name="connsiteX19" fmla="*/ 958992 w 1047054"/>
                <a:gd name="connsiteY19" fmla="*/ 346629 h 663923"/>
                <a:gd name="connsiteX20" fmla="*/ 966014 w 1047054"/>
                <a:gd name="connsiteY20" fmla="*/ 328280 h 663923"/>
                <a:gd name="connsiteX21" fmla="*/ 967597 w 1047054"/>
                <a:gd name="connsiteY21" fmla="*/ 306621 h 663923"/>
                <a:gd name="connsiteX22" fmla="*/ 975309 w 1047054"/>
                <a:gd name="connsiteY22" fmla="*/ 293954 h 663923"/>
                <a:gd name="connsiteX23" fmla="*/ 973726 w 1047054"/>
                <a:gd name="connsiteY23" fmla="*/ 268986 h 663923"/>
                <a:gd name="connsiteX24" fmla="*/ 962401 w 1047054"/>
                <a:gd name="connsiteY24" fmla="*/ 236398 h 663923"/>
                <a:gd name="connsiteX25" fmla="*/ 965040 w 1047054"/>
                <a:gd name="connsiteY25" fmla="*/ 215809 h 663923"/>
                <a:gd name="connsiteX26" fmla="*/ 971859 w 1047054"/>
                <a:gd name="connsiteY26" fmla="*/ 211030 h 663923"/>
                <a:gd name="connsiteX27" fmla="*/ 1007415 w 1047054"/>
                <a:gd name="connsiteY27" fmla="*/ 167913 h 663923"/>
                <a:gd name="connsiteX28" fmla="*/ 1027345 w 1047054"/>
                <a:gd name="connsiteY28" fmla="*/ 72856 h 663923"/>
                <a:gd name="connsiteX29" fmla="*/ 987242 w 1047054"/>
                <a:gd name="connsiteY29" fmla="*/ 72522 h 663923"/>
                <a:gd name="connsiteX30" fmla="*/ 905089 w 1047054"/>
                <a:gd name="connsiteY30" fmla="*/ 52836 h 663923"/>
                <a:gd name="connsiteX31" fmla="*/ 835315 w 1047054"/>
                <a:gd name="connsiteY31" fmla="*/ 63230 h 663923"/>
                <a:gd name="connsiteX32" fmla="*/ 794238 w 1047054"/>
                <a:gd name="connsiteY32" fmla="*/ 62495 h 663923"/>
                <a:gd name="connsiteX33" fmla="*/ 761767 w 1047054"/>
                <a:gd name="connsiteY33" fmla="*/ 80176 h 663923"/>
                <a:gd name="connsiteX34" fmla="*/ 761767 w 1047054"/>
                <a:gd name="connsiteY34" fmla="*/ 69481 h 663923"/>
                <a:gd name="connsiteX35" fmla="*/ 751741 w 1047054"/>
                <a:gd name="connsiteY35" fmla="*/ 57916 h 663923"/>
                <a:gd name="connsiteX36" fmla="*/ 664311 w 1047054"/>
                <a:gd name="connsiteY36" fmla="*/ 54941 h 663923"/>
                <a:gd name="connsiteX37" fmla="*/ 653838 w 1047054"/>
                <a:gd name="connsiteY37" fmla="*/ 68545 h 663923"/>
                <a:gd name="connsiteX38" fmla="*/ 642189 w 1047054"/>
                <a:gd name="connsiteY38" fmla="*/ 74762 h 663923"/>
                <a:gd name="connsiteX39" fmla="*/ 625019 w 1047054"/>
                <a:gd name="connsiteY39" fmla="*/ 89535 h 663923"/>
                <a:gd name="connsiteX40" fmla="*/ 634924 w 1047054"/>
                <a:gd name="connsiteY40" fmla="*/ 72823 h 663923"/>
                <a:gd name="connsiteX41" fmla="*/ 606511 w 1047054"/>
                <a:gd name="connsiteY41" fmla="*/ 57348 h 663923"/>
                <a:gd name="connsiteX42" fmla="*/ 579478 w 1047054"/>
                <a:gd name="connsiteY42" fmla="*/ 65804 h 663923"/>
                <a:gd name="connsiteX43" fmla="*/ 573389 w 1047054"/>
                <a:gd name="connsiteY43" fmla="*/ 80043 h 663923"/>
                <a:gd name="connsiteX44" fmla="*/ 565474 w 1047054"/>
                <a:gd name="connsiteY44" fmla="*/ 68445 h 663923"/>
                <a:gd name="connsiteX45" fmla="*/ 586581 w 1047054"/>
                <a:gd name="connsiteY45" fmla="*/ 52568 h 663923"/>
                <a:gd name="connsiteX46" fmla="*/ 589463 w 1047054"/>
                <a:gd name="connsiteY46" fmla="*/ 31211 h 663923"/>
                <a:gd name="connsiteX47" fmla="*/ 558980 w 1047054"/>
                <a:gd name="connsiteY47" fmla="*/ 22220 h 663923"/>
                <a:gd name="connsiteX48" fmla="*/ 545058 w 1047054"/>
                <a:gd name="connsiteY48" fmla="*/ 5040 h 663923"/>
                <a:gd name="connsiteX49" fmla="*/ 527198 w 1047054"/>
                <a:gd name="connsiteY49" fmla="*/ 6778 h 663923"/>
                <a:gd name="connsiteX50" fmla="*/ 510962 w 1047054"/>
                <a:gd name="connsiteY50" fmla="*/ 32280 h 663923"/>
                <a:gd name="connsiteX51" fmla="*/ 489937 w 1047054"/>
                <a:gd name="connsiteY51" fmla="*/ 44346 h 663923"/>
                <a:gd name="connsiteX52" fmla="*/ 458885 w 1047054"/>
                <a:gd name="connsiteY52" fmla="*/ 49226 h 663923"/>
                <a:gd name="connsiteX53" fmla="*/ 430960 w 1047054"/>
                <a:gd name="connsiteY53" fmla="*/ 53237 h 663923"/>
                <a:gd name="connsiteX54" fmla="*/ 419635 w 1047054"/>
                <a:gd name="connsiteY54" fmla="*/ 65470 h 663923"/>
                <a:gd name="connsiteX55" fmla="*/ 387691 w 1047054"/>
                <a:gd name="connsiteY55" fmla="*/ 73224 h 663923"/>
                <a:gd name="connsiteX56" fmla="*/ 348076 w 1047054"/>
                <a:gd name="connsiteY56" fmla="*/ 95050 h 663923"/>
                <a:gd name="connsiteX57" fmla="*/ 306065 w 1047054"/>
                <a:gd name="connsiteY57" fmla="*/ 67141 h 663923"/>
                <a:gd name="connsiteX58" fmla="*/ 304157 w 1047054"/>
                <a:gd name="connsiteY58" fmla="*/ 53070 h 663923"/>
                <a:gd name="connsiteX59" fmla="*/ 289748 w 1047054"/>
                <a:gd name="connsiteY59" fmla="*/ 43043 h 663923"/>
                <a:gd name="connsiteX60" fmla="*/ 273228 w 1047054"/>
                <a:gd name="connsiteY60" fmla="*/ 50964 h 663923"/>
                <a:gd name="connsiteX61" fmla="*/ 247332 w 1047054"/>
                <a:gd name="connsiteY61" fmla="*/ 69046 h 663923"/>
                <a:gd name="connsiteX62" fmla="*/ 222450 w 1047054"/>
                <a:gd name="connsiteY62" fmla="*/ 80577 h 663923"/>
                <a:gd name="connsiteX63" fmla="*/ 208934 w 1047054"/>
                <a:gd name="connsiteY63" fmla="*/ 84956 h 663923"/>
                <a:gd name="connsiteX64" fmla="*/ 182997 w 1047054"/>
                <a:gd name="connsiteY64" fmla="*/ 87529 h 663923"/>
                <a:gd name="connsiteX65" fmla="*/ 168750 w 1047054"/>
                <a:gd name="connsiteY65" fmla="*/ 94615 h 663923"/>
                <a:gd name="connsiteX66" fmla="*/ 203535 w 1047054"/>
                <a:gd name="connsiteY66" fmla="*/ 113266 h 663923"/>
                <a:gd name="connsiteX67" fmla="*/ 213805 w 1047054"/>
                <a:gd name="connsiteY67" fmla="*/ 115572 h 663923"/>
                <a:gd name="connsiteX68" fmla="*/ 200938 w 1047054"/>
                <a:gd name="connsiteY68" fmla="*/ 123527 h 663923"/>
                <a:gd name="connsiteX69" fmla="*/ 192211 w 1047054"/>
                <a:gd name="connsiteY69" fmla="*/ 135793 h 663923"/>
                <a:gd name="connsiteX70" fmla="*/ 176949 w 1047054"/>
                <a:gd name="connsiteY70" fmla="*/ 146689 h 663923"/>
                <a:gd name="connsiteX71" fmla="*/ 158968 w 1047054"/>
                <a:gd name="connsiteY71" fmla="*/ 153374 h 663923"/>
                <a:gd name="connsiteX72" fmla="*/ 130190 w 1047054"/>
                <a:gd name="connsiteY72" fmla="*/ 157184 h 663923"/>
                <a:gd name="connsiteX73" fmla="*/ 114400 w 1047054"/>
                <a:gd name="connsiteY73" fmla="*/ 150299 h 663923"/>
                <a:gd name="connsiteX74" fmla="*/ 98164 w 1047054"/>
                <a:gd name="connsiteY74" fmla="*/ 153374 h 663923"/>
                <a:gd name="connsiteX75" fmla="*/ 64840 w 1047054"/>
                <a:gd name="connsiteY75" fmla="*/ 165340 h 663923"/>
                <a:gd name="connsiteX76" fmla="*/ 43043 w 1047054"/>
                <a:gd name="connsiteY76" fmla="*/ 174097 h 663923"/>
                <a:gd name="connsiteX77" fmla="*/ 62851 w 1047054"/>
                <a:gd name="connsiteY77" fmla="*/ 180380 h 663923"/>
                <a:gd name="connsiteX78" fmla="*/ 47792 w 1047054"/>
                <a:gd name="connsiteY78" fmla="*/ 193315 h 663923"/>
                <a:gd name="connsiteX79" fmla="*/ 66017 w 1047054"/>
                <a:gd name="connsiteY79" fmla="*/ 210996 h 663923"/>
                <a:gd name="connsiteX80" fmla="*/ 81239 w 1047054"/>
                <a:gd name="connsiteY80" fmla="*/ 246291 h 663923"/>
                <a:gd name="connsiteX81" fmla="*/ 82943 w 1047054"/>
                <a:gd name="connsiteY81" fmla="*/ 265309 h 663923"/>
                <a:gd name="connsiteX82" fmla="*/ 74825 w 1047054"/>
                <a:gd name="connsiteY82" fmla="*/ 270557 h 663923"/>
                <a:gd name="connsiteX83" fmla="*/ 52988 w 1047054"/>
                <a:gd name="connsiteY83" fmla="*/ 280584 h 663923"/>
                <a:gd name="connsiteX84" fmla="*/ 34844 w 1047054"/>
                <a:gd name="connsiteY84" fmla="*/ 289274 h 663923"/>
                <a:gd name="connsiteX85" fmla="*/ 18608 w 1047054"/>
                <a:gd name="connsiteY85" fmla="*/ 301273 h 663923"/>
                <a:gd name="connsiteX86" fmla="*/ 8096 w 1047054"/>
                <a:gd name="connsiteY86" fmla="*/ 321327 h 663923"/>
                <a:gd name="connsiteX87" fmla="*/ 10653 w 1047054"/>
                <a:gd name="connsiteY87" fmla="*/ 330953 h 663923"/>
                <a:gd name="connsiteX88" fmla="*/ 1480 w 1047054"/>
                <a:gd name="connsiteY88" fmla="*/ 339978 h 663923"/>
                <a:gd name="connsiteX89" fmla="*/ 9922 w 1047054"/>
                <a:gd name="connsiteY89" fmla="*/ 360433 h 663923"/>
                <a:gd name="connsiteX90" fmla="*/ 26605 w 1047054"/>
                <a:gd name="connsiteY90" fmla="*/ 367653 h 663923"/>
                <a:gd name="connsiteX91" fmla="*/ 34723 w 1047054"/>
                <a:gd name="connsiteY91" fmla="*/ 376175 h 663923"/>
                <a:gd name="connsiteX92" fmla="*/ 54774 w 1047054"/>
                <a:gd name="connsiteY92" fmla="*/ 377312 h 663923"/>
                <a:gd name="connsiteX93" fmla="*/ 80548 w 1047054"/>
                <a:gd name="connsiteY93" fmla="*/ 376242 h 663923"/>
                <a:gd name="connsiteX94" fmla="*/ 92725 w 1047054"/>
                <a:gd name="connsiteY94" fmla="*/ 369558 h 663923"/>
                <a:gd name="connsiteX95" fmla="*/ 101493 w 1047054"/>
                <a:gd name="connsiteY95" fmla="*/ 362338 h 663923"/>
                <a:gd name="connsiteX96" fmla="*/ 118946 w 1047054"/>
                <a:gd name="connsiteY96" fmla="*/ 383696 h 663923"/>
                <a:gd name="connsiteX97" fmla="*/ 147359 w 1047054"/>
                <a:gd name="connsiteY97" fmla="*/ 374738 h 663923"/>
                <a:gd name="connsiteX98" fmla="*/ 176543 w 1047054"/>
                <a:gd name="connsiteY98" fmla="*/ 361101 h 663923"/>
                <a:gd name="connsiteX99" fmla="*/ 235642 w 1047054"/>
                <a:gd name="connsiteY99" fmla="*/ 327310 h 663923"/>
                <a:gd name="connsiteX100" fmla="*/ 244815 w 1047054"/>
                <a:gd name="connsiteY100" fmla="*/ 331956 h 663923"/>
                <a:gd name="connsiteX101" fmla="*/ 257317 w 1047054"/>
                <a:gd name="connsiteY101" fmla="*/ 352010 h 663923"/>
                <a:gd name="connsiteX102" fmla="*/ 282807 w 1047054"/>
                <a:gd name="connsiteY102" fmla="*/ 361536 h 663923"/>
                <a:gd name="connsiteX103" fmla="*/ 310165 w 1047054"/>
                <a:gd name="connsiteY103" fmla="*/ 357826 h 663923"/>
                <a:gd name="connsiteX104" fmla="*/ 326157 w 1047054"/>
                <a:gd name="connsiteY104" fmla="*/ 357492 h 663923"/>
                <a:gd name="connsiteX105" fmla="*/ 347182 w 1047054"/>
                <a:gd name="connsiteY105" fmla="*/ 357492 h 663923"/>
                <a:gd name="connsiteX106" fmla="*/ 361632 w 1047054"/>
                <a:gd name="connsiteY106" fmla="*/ 361937 h 663923"/>
                <a:gd name="connsiteX107" fmla="*/ 386757 w 1047054"/>
                <a:gd name="connsiteY107" fmla="*/ 356857 h 663923"/>
                <a:gd name="connsiteX108" fmla="*/ 402263 w 1047054"/>
                <a:gd name="connsiteY108" fmla="*/ 367987 h 663923"/>
                <a:gd name="connsiteX109" fmla="*/ 410381 w 1047054"/>
                <a:gd name="connsiteY109" fmla="*/ 373268 h 663923"/>
                <a:gd name="connsiteX110" fmla="*/ 407499 w 1047054"/>
                <a:gd name="connsiteY110" fmla="*/ 379251 h 663923"/>
                <a:gd name="connsiteX111" fmla="*/ 419676 w 1047054"/>
                <a:gd name="connsiteY111" fmla="*/ 391684 h 663923"/>
                <a:gd name="connsiteX112" fmla="*/ 442203 w 1047054"/>
                <a:gd name="connsiteY112" fmla="*/ 392185 h 663923"/>
                <a:gd name="connsiteX113" fmla="*/ 467653 w 1047054"/>
                <a:gd name="connsiteY113" fmla="*/ 387406 h 663923"/>
                <a:gd name="connsiteX114" fmla="*/ 482387 w 1047054"/>
                <a:gd name="connsiteY114" fmla="*/ 399840 h 663923"/>
                <a:gd name="connsiteX115" fmla="*/ 497689 w 1047054"/>
                <a:gd name="connsiteY115" fmla="*/ 414245 h 663923"/>
                <a:gd name="connsiteX116" fmla="*/ 495497 w 1047054"/>
                <a:gd name="connsiteY116" fmla="*/ 440382 h 663923"/>
                <a:gd name="connsiteX117" fmla="*/ 498623 w 1047054"/>
                <a:gd name="connsiteY117" fmla="*/ 450410 h 663923"/>
                <a:gd name="connsiteX118" fmla="*/ 510800 w 1047054"/>
                <a:gd name="connsiteY118" fmla="*/ 463779 h 663923"/>
                <a:gd name="connsiteX119" fmla="*/ 514006 w 1047054"/>
                <a:gd name="connsiteY119" fmla="*/ 478652 h 663923"/>
                <a:gd name="connsiteX120" fmla="*/ 541851 w 1047054"/>
                <a:gd name="connsiteY120" fmla="*/ 475978 h 663923"/>
                <a:gd name="connsiteX121" fmla="*/ 554434 w 1047054"/>
                <a:gd name="connsiteY121" fmla="*/ 472904 h 663923"/>
                <a:gd name="connsiteX122" fmla="*/ 574120 w 1047054"/>
                <a:gd name="connsiteY122" fmla="*/ 483399 h 663923"/>
                <a:gd name="connsiteX123" fmla="*/ 588407 w 1047054"/>
                <a:gd name="connsiteY123" fmla="*/ 496768 h 663923"/>
                <a:gd name="connsiteX124" fmla="*/ 606998 w 1047054"/>
                <a:gd name="connsiteY124" fmla="*/ 491086 h 663923"/>
                <a:gd name="connsiteX125" fmla="*/ 620636 w 1047054"/>
                <a:gd name="connsiteY125" fmla="*/ 520532 h 663923"/>
                <a:gd name="connsiteX126" fmla="*/ 646816 w 1047054"/>
                <a:gd name="connsiteY126" fmla="*/ 529389 h 663923"/>
                <a:gd name="connsiteX127" fmla="*/ 637643 w 1047054"/>
                <a:gd name="connsiteY127" fmla="*/ 551014 h 663923"/>
                <a:gd name="connsiteX128" fmla="*/ 577205 w 1047054"/>
                <a:gd name="connsiteY128" fmla="*/ 622140 h 663923"/>
                <a:gd name="connsiteX129" fmla="*/ 591208 w 1047054"/>
                <a:gd name="connsiteY129" fmla="*/ 617527 h 663923"/>
                <a:gd name="connsiteX130" fmla="*/ 616049 w 1047054"/>
                <a:gd name="connsiteY130" fmla="*/ 625415 h 663923"/>
                <a:gd name="connsiteX131" fmla="*/ 623842 w 1047054"/>
                <a:gd name="connsiteY131" fmla="*/ 627220 h 663923"/>
                <a:gd name="connsiteX132" fmla="*/ 639226 w 1047054"/>
                <a:gd name="connsiteY132" fmla="*/ 624613 h 663923"/>
                <a:gd name="connsiteX133" fmla="*/ 678476 w 1047054"/>
                <a:gd name="connsiteY133" fmla="*/ 632635 h 663923"/>
                <a:gd name="connsiteX134" fmla="*/ 699258 w 1047054"/>
                <a:gd name="connsiteY134" fmla="*/ 663585 h 663923"/>
                <a:gd name="connsiteX135" fmla="*/ 707904 w 1047054"/>
                <a:gd name="connsiteY135" fmla="*/ 653357 h 663923"/>
                <a:gd name="connsiteX136" fmla="*/ 707701 w 1047054"/>
                <a:gd name="connsiteY136" fmla="*/ 652956 h 66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047054" h="663923">
                  <a:moveTo>
                    <a:pt x="707701" y="652956"/>
                  </a:moveTo>
                  <a:cubicBezTo>
                    <a:pt x="717158" y="644834"/>
                    <a:pt x="718944" y="633504"/>
                    <a:pt x="720243" y="623778"/>
                  </a:cubicBezTo>
                  <a:cubicBezTo>
                    <a:pt x="720892" y="619031"/>
                    <a:pt x="719147" y="614653"/>
                    <a:pt x="721785" y="609940"/>
                  </a:cubicBezTo>
                  <a:cubicBezTo>
                    <a:pt x="724789" y="604659"/>
                    <a:pt x="729903" y="601150"/>
                    <a:pt x="727671" y="595534"/>
                  </a:cubicBezTo>
                  <a:cubicBezTo>
                    <a:pt x="725114" y="588850"/>
                    <a:pt x="741796" y="577118"/>
                    <a:pt x="743663" y="584237"/>
                  </a:cubicBezTo>
                  <a:cubicBezTo>
                    <a:pt x="746058" y="593630"/>
                    <a:pt x="729010" y="603389"/>
                    <a:pt x="731202" y="611678"/>
                  </a:cubicBezTo>
                  <a:cubicBezTo>
                    <a:pt x="737534" y="607099"/>
                    <a:pt x="743461" y="602186"/>
                    <a:pt x="748899" y="596905"/>
                  </a:cubicBezTo>
                  <a:cubicBezTo>
                    <a:pt x="754460" y="588649"/>
                    <a:pt x="758438" y="579759"/>
                    <a:pt x="760711" y="570534"/>
                  </a:cubicBezTo>
                  <a:cubicBezTo>
                    <a:pt x="763228" y="562880"/>
                    <a:pt x="765501" y="553822"/>
                    <a:pt x="773131" y="547137"/>
                  </a:cubicBezTo>
                  <a:cubicBezTo>
                    <a:pt x="780762" y="540452"/>
                    <a:pt x="786729" y="541622"/>
                    <a:pt x="785633" y="532565"/>
                  </a:cubicBezTo>
                  <a:cubicBezTo>
                    <a:pt x="784091" y="524175"/>
                    <a:pt x="780925" y="516053"/>
                    <a:pt x="776216" y="508533"/>
                  </a:cubicBezTo>
                  <a:cubicBezTo>
                    <a:pt x="771548" y="500010"/>
                    <a:pt x="776216" y="493559"/>
                    <a:pt x="774511" y="485136"/>
                  </a:cubicBezTo>
                  <a:cubicBezTo>
                    <a:pt x="773091" y="478452"/>
                    <a:pt x="784091" y="476647"/>
                    <a:pt x="790179" y="471132"/>
                  </a:cubicBezTo>
                  <a:cubicBezTo>
                    <a:pt x="800529" y="461773"/>
                    <a:pt x="807308" y="449407"/>
                    <a:pt x="823178" y="443524"/>
                  </a:cubicBezTo>
                  <a:cubicBezTo>
                    <a:pt x="832636" y="440182"/>
                    <a:pt x="837588" y="439313"/>
                    <a:pt x="843758" y="433898"/>
                  </a:cubicBezTo>
                  <a:cubicBezTo>
                    <a:pt x="848060" y="430121"/>
                    <a:pt x="860521" y="419058"/>
                    <a:pt x="866204" y="416785"/>
                  </a:cubicBezTo>
                  <a:cubicBezTo>
                    <a:pt x="875539" y="412975"/>
                    <a:pt x="930133" y="411805"/>
                    <a:pt x="927089" y="401277"/>
                  </a:cubicBezTo>
                  <a:cubicBezTo>
                    <a:pt x="924044" y="390748"/>
                    <a:pt x="937804" y="391617"/>
                    <a:pt x="945557" y="386269"/>
                  </a:cubicBezTo>
                  <a:cubicBezTo>
                    <a:pt x="952132" y="381757"/>
                    <a:pt x="945029" y="372232"/>
                    <a:pt x="948114" y="366483"/>
                  </a:cubicBezTo>
                  <a:cubicBezTo>
                    <a:pt x="952173" y="358929"/>
                    <a:pt x="958139" y="355119"/>
                    <a:pt x="958992" y="346629"/>
                  </a:cubicBezTo>
                  <a:cubicBezTo>
                    <a:pt x="959763" y="338808"/>
                    <a:pt x="966745" y="336936"/>
                    <a:pt x="966014" y="328280"/>
                  </a:cubicBezTo>
                  <a:cubicBezTo>
                    <a:pt x="965568" y="323500"/>
                    <a:pt x="961955" y="310665"/>
                    <a:pt x="967597" y="306621"/>
                  </a:cubicBezTo>
                  <a:cubicBezTo>
                    <a:pt x="974091" y="301908"/>
                    <a:pt x="978272" y="300137"/>
                    <a:pt x="975309" y="293954"/>
                  </a:cubicBezTo>
                  <a:cubicBezTo>
                    <a:pt x="971250" y="285698"/>
                    <a:pt x="975309" y="277476"/>
                    <a:pt x="973726" y="268986"/>
                  </a:cubicBezTo>
                  <a:cubicBezTo>
                    <a:pt x="971494" y="257823"/>
                    <a:pt x="964634" y="247662"/>
                    <a:pt x="962401" y="236398"/>
                  </a:cubicBezTo>
                  <a:cubicBezTo>
                    <a:pt x="961833" y="233457"/>
                    <a:pt x="966460" y="216344"/>
                    <a:pt x="965040" y="215809"/>
                  </a:cubicBezTo>
                  <a:cubicBezTo>
                    <a:pt x="954405" y="211297"/>
                    <a:pt x="961874" y="208857"/>
                    <a:pt x="971859" y="211030"/>
                  </a:cubicBezTo>
                  <a:cubicBezTo>
                    <a:pt x="991423" y="215341"/>
                    <a:pt x="993940" y="174264"/>
                    <a:pt x="1007415" y="167913"/>
                  </a:cubicBezTo>
                  <a:cubicBezTo>
                    <a:pt x="1059046" y="143614"/>
                    <a:pt x="1053972" y="101868"/>
                    <a:pt x="1027345" y="72856"/>
                  </a:cubicBezTo>
                  <a:cubicBezTo>
                    <a:pt x="1019227" y="64066"/>
                    <a:pt x="1000921" y="72489"/>
                    <a:pt x="987242" y="72522"/>
                  </a:cubicBezTo>
                  <a:cubicBezTo>
                    <a:pt x="954771" y="72522"/>
                    <a:pt x="934922" y="56680"/>
                    <a:pt x="905089" y="52836"/>
                  </a:cubicBezTo>
                  <a:cubicBezTo>
                    <a:pt x="877691" y="49493"/>
                    <a:pt x="860927" y="60657"/>
                    <a:pt x="835315" y="63230"/>
                  </a:cubicBezTo>
                  <a:cubicBezTo>
                    <a:pt x="821149" y="64634"/>
                    <a:pt x="808201" y="61727"/>
                    <a:pt x="794238" y="62495"/>
                  </a:cubicBezTo>
                  <a:cubicBezTo>
                    <a:pt x="779260" y="63297"/>
                    <a:pt x="772847" y="75096"/>
                    <a:pt x="761767" y="80176"/>
                  </a:cubicBezTo>
                  <a:cubicBezTo>
                    <a:pt x="754663" y="83519"/>
                    <a:pt x="761320" y="70851"/>
                    <a:pt x="761767" y="69481"/>
                  </a:cubicBezTo>
                  <a:cubicBezTo>
                    <a:pt x="763877" y="62796"/>
                    <a:pt x="761158" y="60022"/>
                    <a:pt x="751741" y="57916"/>
                  </a:cubicBezTo>
                  <a:cubicBezTo>
                    <a:pt x="730025" y="53036"/>
                    <a:pt x="688380" y="48324"/>
                    <a:pt x="664311" y="54941"/>
                  </a:cubicBezTo>
                  <a:cubicBezTo>
                    <a:pt x="654772" y="57549"/>
                    <a:pt x="652134" y="63030"/>
                    <a:pt x="653838" y="68545"/>
                  </a:cubicBezTo>
                  <a:cubicBezTo>
                    <a:pt x="656111" y="75764"/>
                    <a:pt x="648521" y="71887"/>
                    <a:pt x="642189" y="74762"/>
                  </a:cubicBezTo>
                  <a:cubicBezTo>
                    <a:pt x="634842" y="78104"/>
                    <a:pt x="637237" y="89769"/>
                    <a:pt x="625019" y="89535"/>
                  </a:cubicBezTo>
                  <a:cubicBezTo>
                    <a:pt x="613735" y="89368"/>
                    <a:pt x="633137" y="75497"/>
                    <a:pt x="634924" y="72823"/>
                  </a:cubicBezTo>
                  <a:cubicBezTo>
                    <a:pt x="647628" y="54875"/>
                    <a:pt x="630865" y="53838"/>
                    <a:pt x="606511" y="57348"/>
                  </a:cubicBezTo>
                  <a:cubicBezTo>
                    <a:pt x="597905" y="58585"/>
                    <a:pt x="585201" y="60523"/>
                    <a:pt x="579478" y="65804"/>
                  </a:cubicBezTo>
                  <a:cubicBezTo>
                    <a:pt x="576474" y="68545"/>
                    <a:pt x="578179" y="79174"/>
                    <a:pt x="573389" y="80043"/>
                  </a:cubicBezTo>
                  <a:cubicBezTo>
                    <a:pt x="562065" y="81747"/>
                    <a:pt x="560035" y="73358"/>
                    <a:pt x="565474" y="68445"/>
                  </a:cubicBezTo>
                  <a:cubicBezTo>
                    <a:pt x="572659" y="61760"/>
                    <a:pt x="581264" y="61459"/>
                    <a:pt x="586581" y="52568"/>
                  </a:cubicBezTo>
                  <a:cubicBezTo>
                    <a:pt x="589909" y="46953"/>
                    <a:pt x="598961" y="34854"/>
                    <a:pt x="589463" y="31211"/>
                  </a:cubicBezTo>
                  <a:cubicBezTo>
                    <a:pt x="579965" y="27567"/>
                    <a:pt x="566327" y="28570"/>
                    <a:pt x="558980" y="22220"/>
                  </a:cubicBezTo>
                  <a:cubicBezTo>
                    <a:pt x="552973" y="17072"/>
                    <a:pt x="549928" y="10655"/>
                    <a:pt x="545058" y="5040"/>
                  </a:cubicBezTo>
                  <a:cubicBezTo>
                    <a:pt x="538238" y="-2881"/>
                    <a:pt x="534748" y="-1845"/>
                    <a:pt x="527198" y="6778"/>
                  </a:cubicBezTo>
                  <a:cubicBezTo>
                    <a:pt x="520257" y="14666"/>
                    <a:pt x="512667" y="23490"/>
                    <a:pt x="510962" y="32280"/>
                  </a:cubicBezTo>
                  <a:cubicBezTo>
                    <a:pt x="509257" y="41071"/>
                    <a:pt x="500734" y="40837"/>
                    <a:pt x="489937" y="44346"/>
                  </a:cubicBezTo>
                  <a:cubicBezTo>
                    <a:pt x="479140" y="47856"/>
                    <a:pt x="469642" y="53237"/>
                    <a:pt x="458885" y="49226"/>
                  </a:cubicBezTo>
                  <a:cubicBezTo>
                    <a:pt x="449104" y="45616"/>
                    <a:pt x="441838" y="49961"/>
                    <a:pt x="430960" y="53237"/>
                  </a:cubicBezTo>
                  <a:cubicBezTo>
                    <a:pt x="416875" y="57482"/>
                    <a:pt x="422842" y="57716"/>
                    <a:pt x="419635" y="65470"/>
                  </a:cubicBezTo>
                  <a:cubicBezTo>
                    <a:pt x="416510" y="72623"/>
                    <a:pt x="395281" y="69882"/>
                    <a:pt x="387691" y="73224"/>
                  </a:cubicBezTo>
                  <a:cubicBezTo>
                    <a:pt x="374256" y="79006"/>
                    <a:pt x="363905" y="91540"/>
                    <a:pt x="348076" y="95050"/>
                  </a:cubicBezTo>
                  <a:cubicBezTo>
                    <a:pt x="324371" y="100331"/>
                    <a:pt x="298394" y="81981"/>
                    <a:pt x="306065" y="67141"/>
                  </a:cubicBezTo>
                  <a:cubicBezTo>
                    <a:pt x="308866" y="61827"/>
                    <a:pt x="313452" y="56145"/>
                    <a:pt x="304157" y="53070"/>
                  </a:cubicBezTo>
                  <a:cubicBezTo>
                    <a:pt x="294862" y="49995"/>
                    <a:pt x="296039" y="48190"/>
                    <a:pt x="289748" y="43043"/>
                  </a:cubicBezTo>
                  <a:cubicBezTo>
                    <a:pt x="282645" y="36926"/>
                    <a:pt x="274770" y="46987"/>
                    <a:pt x="273228" y="50964"/>
                  </a:cubicBezTo>
                  <a:cubicBezTo>
                    <a:pt x="270833" y="57081"/>
                    <a:pt x="255003" y="65035"/>
                    <a:pt x="247332" y="69046"/>
                  </a:cubicBezTo>
                  <a:cubicBezTo>
                    <a:pt x="239660" y="73057"/>
                    <a:pt x="225494" y="73425"/>
                    <a:pt x="222450" y="80577"/>
                  </a:cubicBezTo>
                  <a:cubicBezTo>
                    <a:pt x="217904" y="91306"/>
                    <a:pt x="221922" y="86426"/>
                    <a:pt x="208934" y="84956"/>
                  </a:cubicBezTo>
                  <a:cubicBezTo>
                    <a:pt x="202196" y="84187"/>
                    <a:pt x="190425" y="87095"/>
                    <a:pt x="182997" y="87529"/>
                  </a:cubicBezTo>
                  <a:cubicBezTo>
                    <a:pt x="179385" y="87529"/>
                    <a:pt x="158643" y="94014"/>
                    <a:pt x="168750" y="94615"/>
                  </a:cubicBezTo>
                  <a:cubicBezTo>
                    <a:pt x="179993" y="95284"/>
                    <a:pt x="194809" y="117577"/>
                    <a:pt x="203535" y="113266"/>
                  </a:cubicBezTo>
                  <a:cubicBezTo>
                    <a:pt x="208771" y="110692"/>
                    <a:pt x="221679" y="108586"/>
                    <a:pt x="213805" y="115572"/>
                  </a:cubicBezTo>
                  <a:cubicBezTo>
                    <a:pt x="210151" y="118914"/>
                    <a:pt x="204144" y="119850"/>
                    <a:pt x="200938" y="123527"/>
                  </a:cubicBezTo>
                  <a:cubicBezTo>
                    <a:pt x="196879" y="127972"/>
                    <a:pt x="200288" y="132852"/>
                    <a:pt x="192211" y="135793"/>
                  </a:cubicBezTo>
                  <a:cubicBezTo>
                    <a:pt x="184133" y="138734"/>
                    <a:pt x="182023" y="141843"/>
                    <a:pt x="176949" y="146689"/>
                  </a:cubicBezTo>
                  <a:cubicBezTo>
                    <a:pt x="169683" y="153675"/>
                    <a:pt x="167613" y="149296"/>
                    <a:pt x="158968" y="153374"/>
                  </a:cubicBezTo>
                  <a:cubicBezTo>
                    <a:pt x="146791" y="159089"/>
                    <a:pt x="143584" y="162265"/>
                    <a:pt x="130190" y="157184"/>
                  </a:cubicBezTo>
                  <a:cubicBezTo>
                    <a:pt x="124669" y="155112"/>
                    <a:pt x="120002" y="152338"/>
                    <a:pt x="114400" y="150299"/>
                  </a:cubicBezTo>
                  <a:cubicBezTo>
                    <a:pt x="105024" y="146957"/>
                    <a:pt x="106282" y="148895"/>
                    <a:pt x="98164" y="153374"/>
                  </a:cubicBezTo>
                  <a:cubicBezTo>
                    <a:pt x="87733" y="158535"/>
                    <a:pt x="76530" y="162559"/>
                    <a:pt x="64840" y="165340"/>
                  </a:cubicBezTo>
                  <a:cubicBezTo>
                    <a:pt x="61147" y="166376"/>
                    <a:pt x="43287" y="170520"/>
                    <a:pt x="43043" y="174097"/>
                  </a:cubicBezTo>
                  <a:cubicBezTo>
                    <a:pt x="42394" y="182920"/>
                    <a:pt x="55220" y="178943"/>
                    <a:pt x="62851" y="180380"/>
                  </a:cubicBezTo>
                  <a:cubicBezTo>
                    <a:pt x="73567" y="182486"/>
                    <a:pt x="49335" y="191677"/>
                    <a:pt x="47792" y="193315"/>
                  </a:cubicBezTo>
                  <a:cubicBezTo>
                    <a:pt x="39674" y="201571"/>
                    <a:pt x="59401" y="208222"/>
                    <a:pt x="66017" y="210996"/>
                  </a:cubicBezTo>
                  <a:cubicBezTo>
                    <a:pt x="81482" y="217480"/>
                    <a:pt x="77423" y="234794"/>
                    <a:pt x="81239" y="246291"/>
                  </a:cubicBezTo>
                  <a:cubicBezTo>
                    <a:pt x="83759" y="252408"/>
                    <a:pt x="84348" y="258959"/>
                    <a:pt x="82943" y="265309"/>
                  </a:cubicBezTo>
                  <a:cubicBezTo>
                    <a:pt x="81969" y="268418"/>
                    <a:pt x="79737" y="269788"/>
                    <a:pt x="74825" y="270557"/>
                  </a:cubicBezTo>
                  <a:cubicBezTo>
                    <a:pt x="63095" y="272362"/>
                    <a:pt x="61918" y="275403"/>
                    <a:pt x="52988" y="280584"/>
                  </a:cubicBezTo>
                  <a:cubicBezTo>
                    <a:pt x="47346" y="283926"/>
                    <a:pt x="40446" y="285865"/>
                    <a:pt x="34844" y="289274"/>
                  </a:cubicBezTo>
                  <a:cubicBezTo>
                    <a:pt x="29243" y="292683"/>
                    <a:pt x="24819" y="297663"/>
                    <a:pt x="18608" y="301273"/>
                  </a:cubicBezTo>
                  <a:cubicBezTo>
                    <a:pt x="8258" y="307122"/>
                    <a:pt x="10490" y="313774"/>
                    <a:pt x="8096" y="321327"/>
                  </a:cubicBezTo>
                  <a:cubicBezTo>
                    <a:pt x="6675" y="325572"/>
                    <a:pt x="11099" y="327243"/>
                    <a:pt x="10653" y="330953"/>
                  </a:cubicBezTo>
                  <a:cubicBezTo>
                    <a:pt x="10369" y="333761"/>
                    <a:pt x="3428" y="337438"/>
                    <a:pt x="1480" y="339978"/>
                  </a:cubicBezTo>
                  <a:cubicBezTo>
                    <a:pt x="-3188" y="346027"/>
                    <a:pt x="3671" y="357492"/>
                    <a:pt x="9922" y="360433"/>
                  </a:cubicBezTo>
                  <a:cubicBezTo>
                    <a:pt x="15321" y="362973"/>
                    <a:pt x="21287" y="365046"/>
                    <a:pt x="26605" y="367653"/>
                  </a:cubicBezTo>
                  <a:cubicBezTo>
                    <a:pt x="31922" y="370259"/>
                    <a:pt x="30948" y="373635"/>
                    <a:pt x="34723" y="376175"/>
                  </a:cubicBezTo>
                  <a:cubicBezTo>
                    <a:pt x="41055" y="380420"/>
                    <a:pt x="49700" y="371998"/>
                    <a:pt x="54774" y="377312"/>
                  </a:cubicBezTo>
                  <a:cubicBezTo>
                    <a:pt x="60822" y="383595"/>
                    <a:pt x="70360" y="379117"/>
                    <a:pt x="80548" y="376242"/>
                  </a:cubicBezTo>
                  <a:cubicBezTo>
                    <a:pt x="84851" y="375039"/>
                    <a:pt x="91873" y="373134"/>
                    <a:pt x="92725" y="369558"/>
                  </a:cubicBezTo>
                  <a:cubicBezTo>
                    <a:pt x="93091" y="367953"/>
                    <a:pt x="96784" y="360232"/>
                    <a:pt x="101493" y="362338"/>
                  </a:cubicBezTo>
                  <a:cubicBezTo>
                    <a:pt x="105227" y="364076"/>
                    <a:pt x="110098" y="388877"/>
                    <a:pt x="118946" y="383696"/>
                  </a:cubicBezTo>
                  <a:cubicBezTo>
                    <a:pt x="127592" y="379184"/>
                    <a:pt x="137256" y="376142"/>
                    <a:pt x="147359" y="374738"/>
                  </a:cubicBezTo>
                  <a:cubicBezTo>
                    <a:pt x="163595" y="372232"/>
                    <a:pt x="165706" y="369357"/>
                    <a:pt x="176543" y="361101"/>
                  </a:cubicBezTo>
                  <a:cubicBezTo>
                    <a:pt x="194565" y="347398"/>
                    <a:pt x="211897" y="335867"/>
                    <a:pt x="235642" y="327310"/>
                  </a:cubicBezTo>
                  <a:cubicBezTo>
                    <a:pt x="244977" y="323968"/>
                    <a:pt x="243760" y="327310"/>
                    <a:pt x="244815" y="331956"/>
                  </a:cubicBezTo>
                  <a:cubicBezTo>
                    <a:pt x="246414" y="339543"/>
                    <a:pt x="250774" y="346529"/>
                    <a:pt x="257317" y="352010"/>
                  </a:cubicBezTo>
                  <a:cubicBezTo>
                    <a:pt x="264619" y="357024"/>
                    <a:pt x="273423" y="360299"/>
                    <a:pt x="282807" y="361536"/>
                  </a:cubicBezTo>
                  <a:cubicBezTo>
                    <a:pt x="293239" y="363207"/>
                    <a:pt x="300383" y="357592"/>
                    <a:pt x="310165" y="357826"/>
                  </a:cubicBezTo>
                  <a:cubicBezTo>
                    <a:pt x="314224" y="357826"/>
                    <a:pt x="323843" y="355553"/>
                    <a:pt x="326157" y="357492"/>
                  </a:cubicBezTo>
                  <a:cubicBezTo>
                    <a:pt x="331799" y="362271"/>
                    <a:pt x="338334" y="357960"/>
                    <a:pt x="347182" y="357492"/>
                  </a:cubicBezTo>
                  <a:cubicBezTo>
                    <a:pt x="354935" y="357024"/>
                    <a:pt x="355300" y="362472"/>
                    <a:pt x="361632" y="361937"/>
                  </a:cubicBezTo>
                  <a:cubicBezTo>
                    <a:pt x="369020" y="361269"/>
                    <a:pt x="379776" y="355252"/>
                    <a:pt x="386757" y="356857"/>
                  </a:cubicBezTo>
                  <a:cubicBezTo>
                    <a:pt x="397961" y="359430"/>
                    <a:pt x="396743" y="362071"/>
                    <a:pt x="402263" y="367987"/>
                  </a:cubicBezTo>
                  <a:cubicBezTo>
                    <a:pt x="404374" y="370226"/>
                    <a:pt x="408067" y="371329"/>
                    <a:pt x="410381" y="373268"/>
                  </a:cubicBezTo>
                  <a:cubicBezTo>
                    <a:pt x="412695" y="375206"/>
                    <a:pt x="407742" y="376811"/>
                    <a:pt x="407499" y="379251"/>
                  </a:cubicBezTo>
                  <a:cubicBezTo>
                    <a:pt x="407174" y="382225"/>
                    <a:pt x="416834" y="389578"/>
                    <a:pt x="419676" y="391684"/>
                  </a:cubicBezTo>
                  <a:cubicBezTo>
                    <a:pt x="424709" y="395628"/>
                    <a:pt x="435100" y="393823"/>
                    <a:pt x="442203" y="392185"/>
                  </a:cubicBezTo>
                  <a:cubicBezTo>
                    <a:pt x="449306" y="390548"/>
                    <a:pt x="460428" y="385501"/>
                    <a:pt x="467653" y="387406"/>
                  </a:cubicBezTo>
                  <a:cubicBezTo>
                    <a:pt x="474878" y="389311"/>
                    <a:pt x="474106" y="397232"/>
                    <a:pt x="482387" y="399840"/>
                  </a:cubicBezTo>
                  <a:cubicBezTo>
                    <a:pt x="491966" y="402814"/>
                    <a:pt x="497324" y="406524"/>
                    <a:pt x="497689" y="414245"/>
                  </a:cubicBezTo>
                  <a:cubicBezTo>
                    <a:pt x="498055" y="421966"/>
                    <a:pt x="504143" y="433530"/>
                    <a:pt x="495497" y="440382"/>
                  </a:cubicBezTo>
                  <a:cubicBezTo>
                    <a:pt x="505401" y="444694"/>
                    <a:pt x="499556" y="444627"/>
                    <a:pt x="498623" y="450410"/>
                  </a:cubicBezTo>
                  <a:cubicBezTo>
                    <a:pt x="497973" y="454654"/>
                    <a:pt x="509298" y="459568"/>
                    <a:pt x="510800" y="463779"/>
                  </a:cubicBezTo>
                  <a:cubicBezTo>
                    <a:pt x="512302" y="467990"/>
                    <a:pt x="509339" y="475444"/>
                    <a:pt x="514006" y="478652"/>
                  </a:cubicBezTo>
                  <a:cubicBezTo>
                    <a:pt x="518674" y="481861"/>
                    <a:pt x="535276" y="476313"/>
                    <a:pt x="541851" y="475978"/>
                  </a:cubicBezTo>
                  <a:cubicBezTo>
                    <a:pt x="547290" y="475678"/>
                    <a:pt x="549969" y="473338"/>
                    <a:pt x="554434" y="472904"/>
                  </a:cubicBezTo>
                  <a:cubicBezTo>
                    <a:pt x="562552" y="472135"/>
                    <a:pt x="570670" y="479588"/>
                    <a:pt x="574120" y="483399"/>
                  </a:cubicBezTo>
                  <a:cubicBezTo>
                    <a:pt x="578219" y="488312"/>
                    <a:pt x="583009" y="492790"/>
                    <a:pt x="588407" y="496768"/>
                  </a:cubicBezTo>
                  <a:cubicBezTo>
                    <a:pt x="594740" y="501213"/>
                    <a:pt x="599651" y="492857"/>
                    <a:pt x="606998" y="491086"/>
                  </a:cubicBezTo>
                  <a:cubicBezTo>
                    <a:pt x="624898" y="486841"/>
                    <a:pt x="618647" y="514282"/>
                    <a:pt x="620636" y="520532"/>
                  </a:cubicBezTo>
                  <a:cubicBezTo>
                    <a:pt x="638739" y="515752"/>
                    <a:pt x="641458" y="518326"/>
                    <a:pt x="646816" y="529389"/>
                  </a:cubicBezTo>
                  <a:cubicBezTo>
                    <a:pt x="651809" y="539650"/>
                    <a:pt x="651159" y="543093"/>
                    <a:pt x="637643" y="551014"/>
                  </a:cubicBezTo>
                  <a:cubicBezTo>
                    <a:pt x="605739" y="569798"/>
                    <a:pt x="594577" y="597506"/>
                    <a:pt x="577205" y="622140"/>
                  </a:cubicBezTo>
                  <a:cubicBezTo>
                    <a:pt x="582563" y="621337"/>
                    <a:pt x="586013" y="618396"/>
                    <a:pt x="591208" y="617527"/>
                  </a:cubicBezTo>
                  <a:cubicBezTo>
                    <a:pt x="601153" y="615889"/>
                    <a:pt x="610448" y="620870"/>
                    <a:pt x="616049" y="625415"/>
                  </a:cubicBezTo>
                  <a:cubicBezTo>
                    <a:pt x="617876" y="626852"/>
                    <a:pt x="621082" y="630963"/>
                    <a:pt x="623842" y="627220"/>
                  </a:cubicBezTo>
                  <a:cubicBezTo>
                    <a:pt x="628956" y="620268"/>
                    <a:pt x="630702" y="621805"/>
                    <a:pt x="639226" y="624613"/>
                  </a:cubicBezTo>
                  <a:cubicBezTo>
                    <a:pt x="651403" y="628557"/>
                    <a:pt x="665812" y="629593"/>
                    <a:pt x="678476" y="632635"/>
                  </a:cubicBezTo>
                  <a:cubicBezTo>
                    <a:pt x="694712" y="636612"/>
                    <a:pt x="688542" y="655229"/>
                    <a:pt x="699258" y="663585"/>
                  </a:cubicBezTo>
                  <a:cubicBezTo>
                    <a:pt x="701531" y="659841"/>
                    <a:pt x="704453" y="656399"/>
                    <a:pt x="707904" y="653357"/>
                  </a:cubicBezTo>
                  <a:cubicBezTo>
                    <a:pt x="720243" y="642194"/>
                    <a:pt x="703764" y="656366"/>
                    <a:pt x="707701" y="65295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114C37C7-2CFE-4797-92FD-AD85B63D9C8E}"/>
                </a:ext>
              </a:extLst>
            </p:cNvPr>
            <p:cNvSpPr/>
            <p:nvPr/>
          </p:nvSpPr>
          <p:spPr>
            <a:xfrm>
              <a:off x="4392187" y="5593834"/>
              <a:ext cx="127184" cy="84766"/>
            </a:xfrm>
            <a:custGeom>
              <a:avLst/>
              <a:gdLst>
                <a:gd name="connsiteX0" fmla="*/ 115800 w 127184"/>
                <a:gd name="connsiteY0" fmla="*/ 20815 h 84766"/>
                <a:gd name="connsiteX1" fmla="*/ 77483 w 127184"/>
                <a:gd name="connsiteY1" fmla="*/ 8615 h 84766"/>
                <a:gd name="connsiteX2" fmla="*/ 55240 w 127184"/>
                <a:gd name="connsiteY2" fmla="*/ 4070 h 84766"/>
                <a:gd name="connsiteX3" fmla="*/ 43753 w 127184"/>
                <a:gd name="connsiteY3" fmla="*/ 6944 h 84766"/>
                <a:gd name="connsiteX4" fmla="*/ 728 w 127184"/>
                <a:gd name="connsiteY4" fmla="*/ 11623 h 84766"/>
                <a:gd name="connsiteX5" fmla="*/ 4787 w 127184"/>
                <a:gd name="connsiteY5" fmla="*/ 53236 h 84766"/>
                <a:gd name="connsiteX6" fmla="*/ 13839 w 127184"/>
                <a:gd name="connsiteY6" fmla="*/ 75496 h 84766"/>
                <a:gd name="connsiteX7" fmla="*/ 22484 w 127184"/>
                <a:gd name="connsiteY7" fmla="*/ 84420 h 84766"/>
                <a:gd name="connsiteX8" fmla="*/ 59583 w 127184"/>
                <a:gd name="connsiteY8" fmla="*/ 81479 h 84766"/>
                <a:gd name="connsiteX9" fmla="*/ 78214 w 127184"/>
                <a:gd name="connsiteY9" fmla="*/ 76933 h 84766"/>
                <a:gd name="connsiteX10" fmla="*/ 113243 w 127184"/>
                <a:gd name="connsiteY10" fmla="*/ 64967 h 84766"/>
                <a:gd name="connsiteX11" fmla="*/ 127125 w 127184"/>
                <a:gd name="connsiteY11" fmla="*/ 45114 h 84766"/>
                <a:gd name="connsiteX12" fmla="*/ 115963 w 127184"/>
                <a:gd name="connsiteY12" fmla="*/ 20815 h 84766"/>
                <a:gd name="connsiteX13" fmla="*/ 115800 w 127184"/>
                <a:gd name="connsiteY13" fmla="*/ 20815 h 8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184" h="84766">
                  <a:moveTo>
                    <a:pt x="115800" y="20815"/>
                  </a:moveTo>
                  <a:cubicBezTo>
                    <a:pt x="112756" y="12024"/>
                    <a:pt x="88361" y="10487"/>
                    <a:pt x="77483" y="8615"/>
                  </a:cubicBezTo>
                  <a:cubicBezTo>
                    <a:pt x="73425" y="7847"/>
                    <a:pt x="58852" y="1396"/>
                    <a:pt x="55240" y="4070"/>
                  </a:cubicBezTo>
                  <a:cubicBezTo>
                    <a:pt x="49192" y="8548"/>
                    <a:pt x="51181" y="12793"/>
                    <a:pt x="43753" y="6944"/>
                  </a:cubicBezTo>
                  <a:cubicBezTo>
                    <a:pt x="32835" y="-1980"/>
                    <a:pt x="4503" y="-5088"/>
                    <a:pt x="728" y="11623"/>
                  </a:cubicBezTo>
                  <a:cubicBezTo>
                    <a:pt x="-2397" y="25528"/>
                    <a:pt x="4787" y="39699"/>
                    <a:pt x="4787" y="53236"/>
                  </a:cubicBezTo>
                  <a:cubicBezTo>
                    <a:pt x="4787" y="59920"/>
                    <a:pt x="-3" y="75296"/>
                    <a:pt x="13839" y="75496"/>
                  </a:cubicBezTo>
                  <a:cubicBezTo>
                    <a:pt x="20090" y="75496"/>
                    <a:pt x="12296" y="84253"/>
                    <a:pt x="22484" y="84420"/>
                  </a:cubicBezTo>
                  <a:cubicBezTo>
                    <a:pt x="34337" y="84620"/>
                    <a:pt x="46838" y="80744"/>
                    <a:pt x="59583" y="81479"/>
                  </a:cubicBezTo>
                  <a:cubicBezTo>
                    <a:pt x="68270" y="81980"/>
                    <a:pt x="70218" y="78136"/>
                    <a:pt x="78214" y="76933"/>
                  </a:cubicBezTo>
                  <a:cubicBezTo>
                    <a:pt x="91040" y="75128"/>
                    <a:pt x="103745" y="72220"/>
                    <a:pt x="113243" y="64967"/>
                  </a:cubicBezTo>
                  <a:cubicBezTo>
                    <a:pt x="120590" y="59352"/>
                    <a:pt x="122944" y="51799"/>
                    <a:pt x="127125" y="45114"/>
                  </a:cubicBezTo>
                  <a:cubicBezTo>
                    <a:pt x="118520" y="38429"/>
                    <a:pt x="119007" y="29305"/>
                    <a:pt x="115963" y="20815"/>
                  </a:cubicBezTo>
                  <a:cubicBezTo>
                    <a:pt x="113121" y="12927"/>
                    <a:pt x="117708" y="26196"/>
                    <a:pt x="115800" y="2081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3121CDAD-7042-49E0-996F-58B8F4182719}"/>
                </a:ext>
              </a:extLst>
            </p:cNvPr>
            <p:cNvSpPr/>
            <p:nvPr/>
          </p:nvSpPr>
          <p:spPr>
            <a:xfrm>
              <a:off x="4084186" y="5488078"/>
              <a:ext cx="385303" cy="674234"/>
            </a:xfrm>
            <a:custGeom>
              <a:avLst/>
              <a:gdLst>
                <a:gd name="connsiteX0" fmla="*/ 305767 w 385303"/>
                <a:gd name="connsiteY0" fmla="*/ 647979 h 674234"/>
                <a:gd name="connsiteX1" fmla="*/ 254056 w 385303"/>
                <a:gd name="connsiteY1" fmla="*/ 639222 h 674234"/>
                <a:gd name="connsiteX2" fmla="*/ 244598 w 385303"/>
                <a:gd name="connsiteY2" fmla="*/ 633673 h 674234"/>
                <a:gd name="connsiteX3" fmla="*/ 235181 w 385303"/>
                <a:gd name="connsiteY3" fmla="*/ 634709 h 674234"/>
                <a:gd name="connsiteX4" fmla="*/ 227834 w 385303"/>
                <a:gd name="connsiteY4" fmla="*/ 621039 h 674234"/>
                <a:gd name="connsiteX5" fmla="*/ 251011 w 385303"/>
                <a:gd name="connsiteY5" fmla="*/ 673882 h 674234"/>
                <a:gd name="connsiteX6" fmla="*/ 272037 w 385303"/>
                <a:gd name="connsiteY6" fmla="*/ 667197 h 674234"/>
                <a:gd name="connsiteX7" fmla="*/ 294970 w 385303"/>
                <a:gd name="connsiteY7" fmla="*/ 664122 h 674234"/>
                <a:gd name="connsiteX8" fmla="*/ 304062 w 385303"/>
                <a:gd name="connsiteY8" fmla="*/ 657437 h 674234"/>
                <a:gd name="connsiteX9" fmla="*/ 318472 w 385303"/>
                <a:gd name="connsiteY9" fmla="*/ 651488 h 674234"/>
                <a:gd name="connsiteX10" fmla="*/ 305767 w 385303"/>
                <a:gd name="connsiteY10" fmla="*/ 647979 h 674234"/>
                <a:gd name="connsiteX11" fmla="*/ 372943 w 385303"/>
                <a:gd name="connsiteY11" fmla="*/ 4508 h 674234"/>
                <a:gd name="connsiteX12" fmla="*/ 356342 w 385303"/>
                <a:gd name="connsiteY12" fmla="*/ 7850 h 674234"/>
                <a:gd name="connsiteX13" fmla="*/ 348833 w 385303"/>
                <a:gd name="connsiteY13" fmla="*/ 38199 h 674234"/>
                <a:gd name="connsiteX14" fmla="*/ 339335 w 385303"/>
                <a:gd name="connsiteY14" fmla="*/ 46454 h 674234"/>
                <a:gd name="connsiteX15" fmla="*/ 328416 w 385303"/>
                <a:gd name="connsiteY15" fmla="*/ 51067 h 674234"/>
                <a:gd name="connsiteX16" fmla="*/ 291235 w 385303"/>
                <a:gd name="connsiteY16" fmla="*/ 60258 h 674234"/>
                <a:gd name="connsiteX17" fmla="*/ 266882 w 385303"/>
                <a:gd name="connsiteY17" fmla="*/ 62631 h 674234"/>
                <a:gd name="connsiteX18" fmla="*/ 270941 w 385303"/>
                <a:gd name="connsiteY18" fmla="*/ 49797 h 674234"/>
                <a:gd name="connsiteX19" fmla="*/ 270941 w 385303"/>
                <a:gd name="connsiteY19" fmla="*/ 21553 h 674234"/>
                <a:gd name="connsiteX20" fmla="*/ 222233 w 385303"/>
                <a:gd name="connsiteY20" fmla="*/ 16908 h 674234"/>
                <a:gd name="connsiteX21" fmla="*/ 187164 w 385303"/>
                <a:gd name="connsiteY21" fmla="*/ 18011 h 674234"/>
                <a:gd name="connsiteX22" fmla="*/ 151566 w 385303"/>
                <a:gd name="connsiteY22" fmla="*/ 10290 h 674234"/>
                <a:gd name="connsiteX23" fmla="*/ 123153 w 385303"/>
                <a:gd name="connsiteY23" fmla="*/ -339 h 674234"/>
                <a:gd name="connsiteX24" fmla="*/ 97663 w 385303"/>
                <a:gd name="connsiteY24" fmla="*/ 8452 h 674234"/>
                <a:gd name="connsiteX25" fmla="*/ 90316 w 385303"/>
                <a:gd name="connsiteY25" fmla="*/ 21253 h 674234"/>
                <a:gd name="connsiteX26" fmla="*/ 78464 w 385303"/>
                <a:gd name="connsiteY26" fmla="*/ 17442 h 674234"/>
                <a:gd name="connsiteX27" fmla="*/ 55815 w 385303"/>
                <a:gd name="connsiteY27" fmla="*/ 20551 h 674234"/>
                <a:gd name="connsiteX28" fmla="*/ 33937 w 385303"/>
                <a:gd name="connsiteY28" fmla="*/ 27236 h 674234"/>
                <a:gd name="connsiteX29" fmla="*/ 19893 w 385303"/>
                <a:gd name="connsiteY29" fmla="*/ 42209 h 674234"/>
                <a:gd name="connsiteX30" fmla="*/ 23019 w 385303"/>
                <a:gd name="connsiteY30" fmla="*/ 56281 h 674234"/>
                <a:gd name="connsiteX31" fmla="*/ 4388 w 385303"/>
                <a:gd name="connsiteY31" fmla="*/ 91275 h 674234"/>
                <a:gd name="connsiteX32" fmla="*/ 10720 w 385303"/>
                <a:gd name="connsiteY32" fmla="*/ 104912 h 674234"/>
                <a:gd name="connsiteX33" fmla="*/ 13521 w 385303"/>
                <a:gd name="connsiteY33" fmla="*/ 117914 h 674234"/>
                <a:gd name="connsiteX34" fmla="*/ 11978 w 385303"/>
                <a:gd name="connsiteY34" fmla="*/ 130648 h 674234"/>
                <a:gd name="connsiteX35" fmla="*/ 6986 w 385303"/>
                <a:gd name="connsiteY35" fmla="*/ 151939 h 674234"/>
                <a:gd name="connsiteX36" fmla="*/ 2439 w 385303"/>
                <a:gd name="connsiteY36" fmla="*/ 172194 h 674234"/>
                <a:gd name="connsiteX37" fmla="*/ 6174 w 385303"/>
                <a:gd name="connsiteY37" fmla="*/ 186131 h 674234"/>
                <a:gd name="connsiteX38" fmla="*/ 532 w 385303"/>
                <a:gd name="connsiteY38" fmla="*/ 215444 h 674234"/>
                <a:gd name="connsiteX39" fmla="*/ 15997 w 385303"/>
                <a:gd name="connsiteY39" fmla="*/ 232390 h 674234"/>
                <a:gd name="connsiteX40" fmla="*/ 33653 w 385303"/>
                <a:gd name="connsiteY40" fmla="*/ 249503 h 674234"/>
                <a:gd name="connsiteX41" fmla="*/ 36576 w 385303"/>
                <a:gd name="connsiteY41" fmla="*/ 270559 h 674234"/>
                <a:gd name="connsiteX42" fmla="*/ 33978 w 385303"/>
                <a:gd name="connsiteY42" fmla="*/ 287839 h 674234"/>
                <a:gd name="connsiteX43" fmla="*/ 37468 w 385303"/>
                <a:gd name="connsiteY43" fmla="*/ 310266 h 674234"/>
                <a:gd name="connsiteX44" fmla="*/ 43395 w 385303"/>
                <a:gd name="connsiteY44" fmla="*/ 346498 h 674234"/>
                <a:gd name="connsiteX45" fmla="*/ 53055 w 385303"/>
                <a:gd name="connsiteY45" fmla="*/ 353951 h 674234"/>
                <a:gd name="connsiteX46" fmla="*/ 43151 w 385303"/>
                <a:gd name="connsiteY46" fmla="*/ 362508 h 674234"/>
                <a:gd name="connsiteX47" fmla="*/ 47900 w 385303"/>
                <a:gd name="connsiteY47" fmla="*/ 375041 h 674234"/>
                <a:gd name="connsiteX48" fmla="*/ 43232 w 385303"/>
                <a:gd name="connsiteY48" fmla="*/ 380757 h 674234"/>
                <a:gd name="connsiteX49" fmla="*/ 46033 w 385303"/>
                <a:gd name="connsiteY49" fmla="*/ 392956 h 674234"/>
                <a:gd name="connsiteX50" fmla="*/ 50539 w 385303"/>
                <a:gd name="connsiteY50" fmla="*/ 407730 h 674234"/>
                <a:gd name="connsiteX51" fmla="*/ 60077 w 385303"/>
                <a:gd name="connsiteY51" fmla="*/ 422202 h 674234"/>
                <a:gd name="connsiteX52" fmla="*/ 64380 w 385303"/>
                <a:gd name="connsiteY52" fmla="*/ 446635 h 674234"/>
                <a:gd name="connsiteX53" fmla="*/ 74040 w 385303"/>
                <a:gd name="connsiteY53" fmla="*/ 457531 h 674234"/>
                <a:gd name="connsiteX54" fmla="*/ 80818 w 385303"/>
                <a:gd name="connsiteY54" fmla="*/ 471168 h 674234"/>
                <a:gd name="connsiteX55" fmla="*/ 97257 w 385303"/>
                <a:gd name="connsiteY55" fmla="*/ 470633 h 674234"/>
                <a:gd name="connsiteX56" fmla="*/ 85080 w 385303"/>
                <a:gd name="connsiteY56" fmla="*/ 480660 h 674234"/>
                <a:gd name="connsiteX57" fmla="*/ 96364 w 385303"/>
                <a:gd name="connsiteY57" fmla="*/ 491423 h 674234"/>
                <a:gd name="connsiteX58" fmla="*/ 99977 w 385303"/>
                <a:gd name="connsiteY58" fmla="*/ 508368 h 674234"/>
                <a:gd name="connsiteX59" fmla="*/ 105497 w 385303"/>
                <a:gd name="connsiteY59" fmla="*/ 515554 h 674234"/>
                <a:gd name="connsiteX60" fmla="*/ 102493 w 385303"/>
                <a:gd name="connsiteY60" fmla="*/ 521704 h 674234"/>
                <a:gd name="connsiteX61" fmla="*/ 98434 w 385303"/>
                <a:gd name="connsiteY61" fmla="*/ 538416 h 674234"/>
                <a:gd name="connsiteX62" fmla="*/ 103752 w 385303"/>
                <a:gd name="connsiteY62" fmla="*/ 552053 h 674234"/>
                <a:gd name="connsiteX63" fmla="*/ 102290 w 385303"/>
                <a:gd name="connsiteY63" fmla="*/ 568765 h 674234"/>
                <a:gd name="connsiteX64" fmla="*/ 92549 w 385303"/>
                <a:gd name="connsiteY64" fmla="*/ 584808 h 674234"/>
                <a:gd name="connsiteX65" fmla="*/ 94172 w 385303"/>
                <a:gd name="connsiteY65" fmla="*/ 594033 h 674234"/>
                <a:gd name="connsiteX66" fmla="*/ 105253 w 385303"/>
                <a:gd name="connsiteY66" fmla="*/ 605063 h 674234"/>
                <a:gd name="connsiteX67" fmla="*/ 122504 w 385303"/>
                <a:gd name="connsiteY67" fmla="*/ 605564 h 674234"/>
                <a:gd name="connsiteX68" fmla="*/ 132814 w 385303"/>
                <a:gd name="connsiteY68" fmla="*/ 613753 h 674234"/>
                <a:gd name="connsiteX69" fmla="*/ 164433 w 385303"/>
                <a:gd name="connsiteY69" fmla="*/ 624582 h 674234"/>
                <a:gd name="connsiteX70" fmla="*/ 218864 w 385303"/>
                <a:gd name="connsiteY70" fmla="*/ 615457 h 674234"/>
                <a:gd name="connsiteX71" fmla="*/ 224060 w 385303"/>
                <a:gd name="connsiteY71" fmla="*/ 609341 h 674234"/>
                <a:gd name="connsiteX72" fmla="*/ 205185 w 385303"/>
                <a:gd name="connsiteY72" fmla="*/ 594534 h 674234"/>
                <a:gd name="connsiteX73" fmla="*/ 200517 w 385303"/>
                <a:gd name="connsiteY73" fmla="*/ 574480 h 674234"/>
                <a:gd name="connsiteX74" fmla="*/ 206809 w 385303"/>
                <a:gd name="connsiteY74" fmla="*/ 565623 h 674234"/>
                <a:gd name="connsiteX75" fmla="*/ 214562 w 385303"/>
                <a:gd name="connsiteY75" fmla="*/ 562280 h 674234"/>
                <a:gd name="connsiteX76" fmla="*/ 217322 w 385303"/>
                <a:gd name="connsiteY76" fmla="*/ 541491 h 674234"/>
                <a:gd name="connsiteX77" fmla="*/ 237048 w 385303"/>
                <a:gd name="connsiteY77" fmla="*/ 515722 h 674234"/>
                <a:gd name="connsiteX78" fmla="*/ 244598 w 385303"/>
                <a:gd name="connsiteY78" fmla="*/ 501784 h 674234"/>
                <a:gd name="connsiteX79" fmla="*/ 241879 w 385303"/>
                <a:gd name="connsiteY79" fmla="*/ 485673 h 674234"/>
                <a:gd name="connsiteX80" fmla="*/ 219148 w 385303"/>
                <a:gd name="connsiteY80" fmla="*/ 488782 h 674234"/>
                <a:gd name="connsiteX81" fmla="*/ 195728 w 385303"/>
                <a:gd name="connsiteY81" fmla="*/ 480092 h 674234"/>
                <a:gd name="connsiteX82" fmla="*/ 219473 w 385303"/>
                <a:gd name="connsiteY82" fmla="*/ 444663 h 674234"/>
                <a:gd name="connsiteX83" fmla="*/ 225927 w 385303"/>
                <a:gd name="connsiteY83" fmla="*/ 432831 h 674234"/>
                <a:gd name="connsiteX84" fmla="*/ 224262 w 385303"/>
                <a:gd name="connsiteY84" fmla="*/ 409434 h 674234"/>
                <a:gd name="connsiteX85" fmla="*/ 236724 w 385303"/>
                <a:gd name="connsiteY85" fmla="*/ 394327 h 674234"/>
                <a:gd name="connsiteX86" fmla="*/ 231934 w 385303"/>
                <a:gd name="connsiteY86" fmla="*/ 387174 h 674234"/>
                <a:gd name="connsiteX87" fmla="*/ 250199 w 385303"/>
                <a:gd name="connsiteY87" fmla="*/ 387408 h 674234"/>
                <a:gd name="connsiteX88" fmla="*/ 242447 w 385303"/>
                <a:gd name="connsiteY88" fmla="*/ 374908 h 674234"/>
                <a:gd name="connsiteX89" fmla="*/ 225358 w 385303"/>
                <a:gd name="connsiteY89" fmla="*/ 380256 h 674234"/>
                <a:gd name="connsiteX90" fmla="*/ 213181 w 385303"/>
                <a:gd name="connsiteY90" fmla="*/ 369226 h 674234"/>
                <a:gd name="connsiteX91" fmla="*/ 207418 w 385303"/>
                <a:gd name="connsiteY91" fmla="*/ 353149 h 674234"/>
                <a:gd name="connsiteX92" fmla="*/ 240255 w 385303"/>
                <a:gd name="connsiteY92" fmla="*/ 351913 h 674234"/>
                <a:gd name="connsiteX93" fmla="*/ 267572 w 385303"/>
                <a:gd name="connsiteY93" fmla="*/ 338877 h 674234"/>
                <a:gd name="connsiteX94" fmla="*/ 264609 w 385303"/>
                <a:gd name="connsiteY94" fmla="*/ 318422 h 674234"/>
                <a:gd name="connsiteX95" fmla="*/ 257100 w 385303"/>
                <a:gd name="connsiteY95" fmla="*/ 303482 h 674234"/>
                <a:gd name="connsiteX96" fmla="*/ 278815 w 385303"/>
                <a:gd name="connsiteY96" fmla="*/ 296329 h 674234"/>
                <a:gd name="connsiteX97" fmla="*/ 356626 w 385303"/>
                <a:gd name="connsiteY97" fmla="*/ 262337 h 674234"/>
                <a:gd name="connsiteX98" fmla="*/ 364744 w 385303"/>
                <a:gd name="connsiteY98" fmla="*/ 248567 h 674234"/>
                <a:gd name="connsiteX99" fmla="*/ 376921 w 385303"/>
                <a:gd name="connsiteY99" fmla="*/ 226808 h 674234"/>
                <a:gd name="connsiteX100" fmla="*/ 358168 w 385303"/>
                <a:gd name="connsiteY100" fmla="*/ 218419 h 674234"/>
                <a:gd name="connsiteX101" fmla="*/ 352323 w 385303"/>
                <a:gd name="connsiteY101" fmla="*/ 199935 h 674234"/>
                <a:gd name="connsiteX102" fmla="*/ 321800 w 385303"/>
                <a:gd name="connsiteY102" fmla="*/ 199501 h 674234"/>
                <a:gd name="connsiteX103" fmla="*/ 315062 w 385303"/>
                <a:gd name="connsiteY103" fmla="*/ 194153 h 674234"/>
                <a:gd name="connsiteX104" fmla="*/ 321516 w 385303"/>
                <a:gd name="connsiteY104" fmla="*/ 188605 h 674234"/>
                <a:gd name="connsiteX105" fmla="*/ 323707 w 385303"/>
                <a:gd name="connsiteY105" fmla="*/ 188872 h 674234"/>
                <a:gd name="connsiteX106" fmla="*/ 313966 w 385303"/>
                <a:gd name="connsiteY106" fmla="*/ 177608 h 674234"/>
                <a:gd name="connsiteX107" fmla="*/ 310800 w 385303"/>
                <a:gd name="connsiteY107" fmla="*/ 150569 h 674234"/>
                <a:gd name="connsiteX108" fmla="*/ 309217 w 385303"/>
                <a:gd name="connsiteY108" fmla="*/ 123395 h 674234"/>
                <a:gd name="connsiteX109" fmla="*/ 322652 w 385303"/>
                <a:gd name="connsiteY109" fmla="*/ 96122 h 674234"/>
                <a:gd name="connsiteX110" fmla="*/ 368315 w 385303"/>
                <a:gd name="connsiteY110" fmla="*/ 41273 h 674234"/>
                <a:gd name="connsiteX111" fmla="*/ 384551 w 385303"/>
                <a:gd name="connsiteY111" fmla="*/ 22623 h 674234"/>
                <a:gd name="connsiteX112" fmla="*/ 372374 w 385303"/>
                <a:gd name="connsiteY112" fmla="*/ 4775 h 674234"/>
                <a:gd name="connsiteX113" fmla="*/ 372943 w 385303"/>
                <a:gd name="connsiteY113" fmla="*/ 4474 h 67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85303" h="674234">
                  <a:moveTo>
                    <a:pt x="305767" y="647979"/>
                  </a:moveTo>
                  <a:cubicBezTo>
                    <a:pt x="289531" y="651989"/>
                    <a:pt x="268587" y="642664"/>
                    <a:pt x="254056" y="639222"/>
                  </a:cubicBezTo>
                  <a:cubicBezTo>
                    <a:pt x="250605" y="638386"/>
                    <a:pt x="247805" y="633907"/>
                    <a:pt x="244598" y="633673"/>
                  </a:cubicBezTo>
                  <a:cubicBezTo>
                    <a:pt x="242853" y="633673"/>
                    <a:pt x="235952" y="637584"/>
                    <a:pt x="235181" y="634709"/>
                  </a:cubicBezTo>
                  <a:cubicBezTo>
                    <a:pt x="233761" y="629529"/>
                    <a:pt x="247034" y="618733"/>
                    <a:pt x="227834" y="621039"/>
                  </a:cubicBezTo>
                  <a:cubicBezTo>
                    <a:pt x="229783" y="626520"/>
                    <a:pt x="244923" y="674851"/>
                    <a:pt x="251011" y="673882"/>
                  </a:cubicBezTo>
                  <a:cubicBezTo>
                    <a:pt x="258074" y="672746"/>
                    <a:pt x="265218" y="669069"/>
                    <a:pt x="272037" y="667197"/>
                  </a:cubicBezTo>
                  <a:cubicBezTo>
                    <a:pt x="278856" y="665325"/>
                    <a:pt x="288557" y="666495"/>
                    <a:pt x="294970" y="664122"/>
                  </a:cubicBezTo>
                  <a:cubicBezTo>
                    <a:pt x="298420" y="662852"/>
                    <a:pt x="300368" y="659108"/>
                    <a:pt x="304062" y="657437"/>
                  </a:cubicBezTo>
                  <a:cubicBezTo>
                    <a:pt x="308811" y="655365"/>
                    <a:pt x="313966" y="654095"/>
                    <a:pt x="318472" y="651488"/>
                  </a:cubicBezTo>
                  <a:cubicBezTo>
                    <a:pt x="334139" y="643032"/>
                    <a:pt x="311490" y="646475"/>
                    <a:pt x="305767" y="647979"/>
                  </a:cubicBezTo>
                  <a:close/>
                  <a:moveTo>
                    <a:pt x="372943" y="4508"/>
                  </a:moveTo>
                  <a:cubicBezTo>
                    <a:pt x="368031" y="4073"/>
                    <a:pt x="360969" y="6446"/>
                    <a:pt x="356342" y="7850"/>
                  </a:cubicBezTo>
                  <a:cubicBezTo>
                    <a:pt x="359995" y="19381"/>
                    <a:pt x="362958" y="29341"/>
                    <a:pt x="348833" y="38199"/>
                  </a:cubicBezTo>
                  <a:cubicBezTo>
                    <a:pt x="344774" y="40605"/>
                    <a:pt x="343150" y="44048"/>
                    <a:pt x="339335" y="46454"/>
                  </a:cubicBezTo>
                  <a:cubicBezTo>
                    <a:pt x="335519" y="48861"/>
                    <a:pt x="331907" y="48727"/>
                    <a:pt x="328416" y="51067"/>
                  </a:cubicBezTo>
                  <a:cubicBezTo>
                    <a:pt x="322165" y="55245"/>
                    <a:pt x="299232" y="61395"/>
                    <a:pt x="291235" y="60258"/>
                  </a:cubicBezTo>
                  <a:cubicBezTo>
                    <a:pt x="287542" y="59723"/>
                    <a:pt x="268059" y="65372"/>
                    <a:pt x="266882" y="62631"/>
                  </a:cubicBezTo>
                  <a:cubicBezTo>
                    <a:pt x="265583" y="59289"/>
                    <a:pt x="272849" y="54810"/>
                    <a:pt x="270941" y="49797"/>
                  </a:cubicBezTo>
                  <a:cubicBezTo>
                    <a:pt x="266882" y="38700"/>
                    <a:pt x="296472" y="22523"/>
                    <a:pt x="270941" y="21553"/>
                  </a:cubicBezTo>
                  <a:cubicBezTo>
                    <a:pt x="252878" y="20885"/>
                    <a:pt x="238469" y="20518"/>
                    <a:pt x="222233" y="16908"/>
                  </a:cubicBezTo>
                  <a:cubicBezTo>
                    <a:pt x="210503" y="14334"/>
                    <a:pt x="198691" y="19481"/>
                    <a:pt x="187164" y="18011"/>
                  </a:cubicBezTo>
                  <a:cubicBezTo>
                    <a:pt x="175068" y="16206"/>
                    <a:pt x="163175" y="13599"/>
                    <a:pt x="151566" y="10290"/>
                  </a:cubicBezTo>
                  <a:cubicBezTo>
                    <a:pt x="141500" y="7917"/>
                    <a:pt x="131961" y="4307"/>
                    <a:pt x="123153" y="-339"/>
                  </a:cubicBezTo>
                  <a:cubicBezTo>
                    <a:pt x="116050" y="1065"/>
                    <a:pt x="99814" y="2268"/>
                    <a:pt x="97663" y="8452"/>
                  </a:cubicBezTo>
                  <a:cubicBezTo>
                    <a:pt x="96973" y="10424"/>
                    <a:pt x="95674" y="21821"/>
                    <a:pt x="90316" y="21253"/>
                  </a:cubicBezTo>
                  <a:cubicBezTo>
                    <a:pt x="85811" y="20751"/>
                    <a:pt x="83660" y="17910"/>
                    <a:pt x="78464" y="17442"/>
                  </a:cubicBezTo>
                  <a:cubicBezTo>
                    <a:pt x="70793" y="17610"/>
                    <a:pt x="63162" y="18646"/>
                    <a:pt x="55815" y="20551"/>
                  </a:cubicBezTo>
                  <a:cubicBezTo>
                    <a:pt x="44572" y="22690"/>
                    <a:pt x="40959" y="17710"/>
                    <a:pt x="33937" y="27236"/>
                  </a:cubicBezTo>
                  <a:cubicBezTo>
                    <a:pt x="29919" y="32617"/>
                    <a:pt x="25223" y="37664"/>
                    <a:pt x="19893" y="42209"/>
                  </a:cubicBezTo>
                  <a:cubicBezTo>
                    <a:pt x="21428" y="46822"/>
                    <a:pt x="22471" y="51535"/>
                    <a:pt x="23019" y="56281"/>
                  </a:cubicBezTo>
                  <a:cubicBezTo>
                    <a:pt x="24602" y="70787"/>
                    <a:pt x="-3974" y="77070"/>
                    <a:pt x="4388" y="91275"/>
                  </a:cubicBezTo>
                  <a:cubicBezTo>
                    <a:pt x="7797" y="97058"/>
                    <a:pt x="4104" y="99498"/>
                    <a:pt x="10720" y="104912"/>
                  </a:cubicBezTo>
                  <a:cubicBezTo>
                    <a:pt x="16321" y="109525"/>
                    <a:pt x="10355" y="115206"/>
                    <a:pt x="13521" y="117914"/>
                  </a:cubicBezTo>
                  <a:cubicBezTo>
                    <a:pt x="20299" y="123763"/>
                    <a:pt x="21639" y="122994"/>
                    <a:pt x="11978" y="130648"/>
                  </a:cubicBezTo>
                  <a:cubicBezTo>
                    <a:pt x="3657" y="137333"/>
                    <a:pt x="16565" y="145422"/>
                    <a:pt x="6986" y="151939"/>
                  </a:cubicBezTo>
                  <a:cubicBezTo>
                    <a:pt x="-2594" y="158457"/>
                    <a:pt x="6133" y="165576"/>
                    <a:pt x="2439" y="172194"/>
                  </a:cubicBezTo>
                  <a:cubicBezTo>
                    <a:pt x="-1863" y="179848"/>
                    <a:pt x="-605" y="178879"/>
                    <a:pt x="6174" y="186131"/>
                  </a:cubicBezTo>
                  <a:cubicBezTo>
                    <a:pt x="13602" y="194020"/>
                    <a:pt x="897" y="206185"/>
                    <a:pt x="532" y="215444"/>
                  </a:cubicBezTo>
                  <a:cubicBezTo>
                    <a:pt x="166" y="224702"/>
                    <a:pt x="8284" y="227543"/>
                    <a:pt x="15997" y="232390"/>
                  </a:cubicBezTo>
                  <a:cubicBezTo>
                    <a:pt x="23708" y="237236"/>
                    <a:pt x="26144" y="244422"/>
                    <a:pt x="33653" y="249503"/>
                  </a:cubicBezTo>
                  <a:cubicBezTo>
                    <a:pt x="38280" y="252845"/>
                    <a:pt x="41081" y="266214"/>
                    <a:pt x="36576" y="270559"/>
                  </a:cubicBezTo>
                  <a:cubicBezTo>
                    <a:pt x="34708" y="276175"/>
                    <a:pt x="33816" y="281990"/>
                    <a:pt x="33978" y="287839"/>
                  </a:cubicBezTo>
                  <a:cubicBezTo>
                    <a:pt x="38280" y="298100"/>
                    <a:pt x="48306" y="299538"/>
                    <a:pt x="37468" y="310266"/>
                  </a:cubicBezTo>
                  <a:cubicBezTo>
                    <a:pt x="23749" y="323870"/>
                    <a:pt x="42421" y="333663"/>
                    <a:pt x="43395" y="346498"/>
                  </a:cubicBezTo>
                  <a:cubicBezTo>
                    <a:pt x="43679" y="350341"/>
                    <a:pt x="52081" y="349272"/>
                    <a:pt x="53055" y="353951"/>
                  </a:cubicBezTo>
                  <a:cubicBezTo>
                    <a:pt x="54232" y="359366"/>
                    <a:pt x="46480" y="359098"/>
                    <a:pt x="43151" y="362508"/>
                  </a:cubicBezTo>
                  <a:cubicBezTo>
                    <a:pt x="39823" y="365917"/>
                    <a:pt x="48184" y="371566"/>
                    <a:pt x="47900" y="375041"/>
                  </a:cubicBezTo>
                  <a:cubicBezTo>
                    <a:pt x="47900" y="377281"/>
                    <a:pt x="43841" y="378117"/>
                    <a:pt x="43232" y="380757"/>
                  </a:cubicBezTo>
                  <a:cubicBezTo>
                    <a:pt x="42542" y="385135"/>
                    <a:pt x="46114" y="388678"/>
                    <a:pt x="46033" y="392956"/>
                  </a:cubicBezTo>
                  <a:cubicBezTo>
                    <a:pt x="45789" y="400644"/>
                    <a:pt x="42421" y="401647"/>
                    <a:pt x="50539" y="407730"/>
                  </a:cubicBezTo>
                  <a:cubicBezTo>
                    <a:pt x="55166" y="411072"/>
                    <a:pt x="57926" y="417757"/>
                    <a:pt x="60077" y="422202"/>
                  </a:cubicBezTo>
                  <a:cubicBezTo>
                    <a:pt x="62228" y="426648"/>
                    <a:pt x="51959" y="444997"/>
                    <a:pt x="64380" y="446635"/>
                  </a:cubicBezTo>
                  <a:cubicBezTo>
                    <a:pt x="73066" y="447738"/>
                    <a:pt x="67505" y="455125"/>
                    <a:pt x="74040" y="457531"/>
                  </a:cubicBezTo>
                  <a:cubicBezTo>
                    <a:pt x="83091" y="460873"/>
                    <a:pt x="72173" y="468929"/>
                    <a:pt x="80818" y="471168"/>
                  </a:cubicBezTo>
                  <a:cubicBezTo>
                    <a:pt x="86826" y="472738"/>
                    <a:pt x="92183" y="465887"/>
                    <a:pt x="97257" y="470633"/>
                  </a:cubicBezTo>
                  <a:cubicBezTo>
                    <a:pt x="103995" y="476916"/>
                    <a:pt x="83132" y="477317"/>
                    <a:pt x="85080" y="480660"/>
                  </a:cubicBezTo>
                  <a:cubicBezTo>
                    <a:pt x="87029" y="484002"/>
                    <a:pt x="107729" y="484002"/>
                    <a:pt x="96364" y="491423"/>
                  </a:cubicBezTo>
                  <a:cubicBezTo>
                    <a:pt x="90682" y="495199"/>
                    <a:pt x="97379" y="504558"/>
                    <a:pt x="99977" y="508368"/>
                  </a:cubicBezTo>
                  <a:cubicBezTo>
                    <a:pt x="101316" y="510307"/>
                    <a:pt x="105903" y="513014"/>
                    <a:pt x="105497" y="515554"/>
                  </a:cubicBezTo>
                  <a:cubicBezTo>
                    <a:pt x="105091" y="518095"/>
                    <a:pt x="100789" y="518261"/>
                    <a:pt x="102493" y="521704"/>
                  </a:cubicBezTo>
                  <a:cubicBezTo>
                    <a:pt x="106552" y="530194"/>
                    <a:pt x="96324" y="530528"/>
                    <a:pt x="98434" y="538416"/>
                  </a:cubicBezTo>
                  <a:cubicBezTo>
                    <a:pt x="100545" y="546304"/>
                    <a:pt x="96324" y="545636"/>
                    <a:pt x="103752" y="552053"/>
                  </a:cubicBezTo>
                  <a:cubicBezTo>
                    <a:pt x="104929" y="553055"/>
                    <a:pt x="103386" y="566793"/>
                    <a:pt x="102290" y="568765"/>
                  </a:cubicBezTo>
                  <a:cubicBezTo>
                    <a:pt x="98637" y="575148"/>
                    <a:pt x="90114" y="575784"/>
                    <a:pt x="92549" y="584808"/>
                  </a:cubicBezTo>
                  <a:cubicBezTo>
                    <a:pt x="92833" y="587916"/>
                    <a:pt x="93401" y="590991"/>
                    <a:pt x="94172" y="594033"/>
                  </a:cubicBezTo>
                  <a:cubicBezTo>
                    <a:pt x="96324" y="599046"/>
                    <a:pt x="104076" y="599715"/>
                    <a:pt x="105253" y="605063"/>
                  </a:cubicBezTo>
                  <a:cubicBezTo>
                    <a:pt x="106715" y="611747"/>
                    <a:pt x="116781" y="607035"/>
                    <a:pt x="122504" y="605564"/>
                  </a:cubicBezTo>
                  <a:cubicBezTo>
                    <a:pt x="132855" y="602957"/>
                    <a:pt x="130825" y="608004"/>
                    <a:pt x="132814" y="613753"/>
                  </a:cubicBezTo>
                  <a:cubicBezTo>
                    <a:pt x="137279" y="626520"/>
                    <a:pt x="148522" y="630465"/>
                    <a:pt x="164433" y="624582"/>
                  </a:cubicBezTo>
                  <a:cubicBezTo>
                    <a:pt x="183592" y="617362"/>
                    <a:pt x="199421" y="616427"/>
                    <a:pt x="218864" y="615457"/>
                  </a:cubicBezTo>
                  <a:cubicBezTo>
                    <a:pt x="226130" y="615090"/>
                    <a:pt x="232583" y="613452"/>
                    <a:pt x="224060" y="609341"/>
                  </a:cubicBezTo>
                  <a:cubicBezTo>
                    <a:pt x="216104" y="606065"/>
                    <a:pt x="209528" y="600918"/>
                    <a:pt x="205185" y="594534"/>
                  </a:cubicBezTo>
                  <a:cubicBezTo>
                    <a:pt x="201126" y="589588"/>
                    <a:pt x="194957" y="580363"/>
                    <a:pt x="200517" y="574480"/>
                  </a:cubicBezTo>
                  <a:cubicBezTo>
                    <a:pt x="202953" y="571906"/>
                    <a:pt x="203927" y="567795"/>
                    <a:pt x="206809" y="565623"/>
                  </a:cubicBezTo>
                  <a:cubicBezTo>
                    <a:pt x="208879" y="563985"/>
                    <a:pt x="212289" y="564119"/>
                    <a:pt x="214562" y="562280"/>
                  </a:cubicBezTo>
                  <a:cubicBezTo>
                    <a:pt x="222680" y="555596"/>
                    <a:pt x="216104" y="548677"/>
                    <a:pt x="217322" y="541491"/>
                  </a:cubicBezTo>
                  <a:cubicBezTo>
                    <a:pt x="218905" y="532266"/>
                    <a:pt x="229499" y="523008"/>
                    <a:pt x="237048" y="515722"/>
                  </a:cubicBezTo>
                  <a:cubicBezTo>
                    <a:pt x="242528" y="510407"/>
                    <a:pt x="246952" y="507599"/>
                    <a:pt x="244598" y="501784"/>
                  </a:cubicBezTo>
                  <a:cubicBezTo>
                    <a:pt x="243380" y="498709"/>
                    <a:pt x="246546" y="486777"/>
                    <a:pt x="241879" y="485673"/>
                  </a:cubicBezTo>
                  <a:cubicBezTo>
                    <a:pt x="235019" y="484002"/>
                    <a:pt x="226211" y="488615"/>
                    <a:pt x="219148" y="488782"/>
                  </a:cubicBezTo>
                  <a:cubicBezTo>
                    <a:pt x="210178" y="488916"/>
                    <a:pt x="201573" y="485707"/>
                    <a:pt x="195728" y="480092"/>
                  </a:cubicBezTo>
                  <a:cubicBezTo>
                    <a:pt x="184322" y="467391"/>
                    <a:pt x="203846" y="451013"/>
                    <a:pt x="219473" y="444663"/>
                  </a:cubicBezTo>
                  <a:cubicBezTo>
                    <a:pt x="229904" y="440452"/>
                    <a:pt x="220163" y="437778"/>
                    <a:pt x="225927" y="432831"/>
                  </a:cubicBezTo>
                  <a:cubicBezTo>
                    <a:pt x="233842" y="426146"/>
                    <a:pt x="224669" y="416554"/>
                    <a:pt x="224262" y="409434"/>
                  </a:cubicBezTo>
                  <a:cubicBezTo>
                    <a:pt x="223978" y="404855"/>
                    <a:pt x="238672" y="395530"/>
                    <a:pt x="236724" y="394327"/>
                  </a:cubicBezTo>
                  <a:cubicBezTo>
                    <a:pt x="234775" y="393124"/>
                    <a:pt x="218540" y="392121"/>
                    <a:pt x="231934" y="387174"/>
                  </a:cubicBezTo>
                  <a:cubicBezTo>
                    <a:pt x="239809" y="384266"/>
                    <a:pt x="242772" y="392388"/>
                    <a:pt x="250199" y="387408"/>
                  </a:cubicBezTo>
                  <a:cubicBezTo>
                    <a:pt x="259657" y="381058"/>
                    <a:pt x="252756" y="367621"/>
                    <a:pt x="242447" y="374908"/>
                  </a:cubicBezTo>
                  <a:cubicBezTo>
                    <a:pt x="234329" y="380657"/>
                    <a:pt x="237130" y="381860"/>
                    <a:pt x="225358" y="380256"/>
                  </a:cubicBezTo>
                  <a:cubicBezTo>
                    <a:pt x="214846" y="378852"/>
                    <a:pt x="219676" y="374373"/>
                    <a:pt x="213181" y="369226"/>
                  </a:cubicBezTo>
                  <a:cubicBezTo>
                    <a:pt x="210056" y="366786"/>
                    <a:pt x="200234" y="356558"/>
                    <a:pt x="207418" y="353149"/>
                  </a:cubicBezTo>
                  <a:cubicBezTo>
                    <a:pt x="215536" y="349339"/>
                    <a:pt x="231366" y="352882"/>
                    <a:pt x="240255" y="351913"/>
                  </a:cubicBezTo>
                  <a:cubicBezTo>
                    <a:pt x="250605" y="350809"/>
                    <a:pt x="262620" y="346130"/>
                    <a:pt x="267572" y="338877"/>
                  </a:cubicBezTo>
                  <a:cubicBezTo>
                    <a:pt x="272889" y="331056"/>
                    <a:pt x="255395" y="326711"/>
                    <a:pt x="264609" y="318422"/>
                  </a:cubicBezTo>
                  <a:cubicBezTo>
                    <a:pt x="273011" y="310902"/>
                    <a:pt x="257708" y="310333"/>
                    <a:pt x="257100" y="303482"/>
                  </a:cubicBezTo>
                  <a:cubicBezTo>
                    <a:pt x="256491" y="296630"/>
                    <a:pt x="272564" y="298034"/>
                    <a:pt x="278815" y="296329"/>
                  </a:cubicBezTo>
                  <a:cubicBezTo>
                    <a:pt x="305321" y="289076"/>
                    <a:pt x="336980" y="277946"/>
                    <a:pt x="356626" y="262337"/>
                  </a:cubicBezTo>
                  <a:cubicBezTo>
                    <a:pt x="362674" y="257524"/>
                    <a:pt x="362268" y="254115"/>
                    <a:pt x="364744" y="248567"/>
                  </a:cubicBezTo>
                  <a:cubicBezTo>
                    <a:pt x="368031" y="241180"/>
                    <a:pt x="374120" y="234261"/>
                    <a:pt x="376921" y="226808"/>
                  </a:cubicBezTo>
                  <a:cubicBezTo>
                    <a:pt x="380980" y="216781"/>
                    <a:pt x="365596" y="219756"/>
                    <a:pt x="358168" y="218419"/>
                  </a:cubicBezTo>
                  <a:cubicBezTo>
                    <a:pt x="344043" y="215945"/>
                    <a:pt x="359467" y="203913"/>
                    <a:pt x="352323" y="199935"/>
                  </a:cubicBezTo>
                  <a:cubicBezTo>
                    <a:pt x="345179" y="195958"/>
                    <a:pt x="331136" y="200537"/>
                    <a:pt x="321800" y="199501"/>
                  </a:cubicBezTo>
                  <a:cubicBezTo>
                    <a:pt x="318147" y="199568"/>
                    <a:pt x="315143" y="197161"/>
                    <a:pt x="315062" y="194153"/>
                  </a:cubicBezTo>
                  <a:cubicBezTo>
                    <a:pt x="314981" y="191145"/>
                    <a:pt x="317863" y="188671"/>
                    <a:pt x="321516" y="188605"/>
                  </a:cubicBezTo>
                  <a:cubicBezTo>
                    <a:pt x="322287" y="188605"/>
                    <a:pt x="323018" y="188671"/>
                    <a:pt x="323707" y="188872"/>
                  </a:cubicBezTo>
                  <a:cubicBezTo>
                    <a:pt x="325331" y="178578"/>
                    <a:pt x="317944" y="184460"/>
                    <a:pt x="313966" y="177608"/>
                  </a:cubicBezTo>
                  <a:cubicBezTo>
                    <a:pt x="308973" y="169018"/>
                    <a:pt x="313722" y="159560"/>
                    <a:pt x="310800" y="150569"/>
                  </a:cubicBezTo>
                  <a:cubicBezTo>
                    <a:pt x="307878" y="141578"/>
                    <a:pt x="310435" y="132520"/>
                    <a:pt x="309217" y="123395"/>
                  </a:cubicBezTo>
                  <a:cubicBezTo>
                    <a:pt x="307878" y="113134"/>
                    <a:pt x="316036" y="105681"/>
                    <a:pt x="322652" y="96122"/>
                  </a:cubicBezTo>
                  <a:cubicBezTo>
                    <a:pt x="335763" y="77103"/>
                    <a:pt x="343678" y="56013"/>
                    <a:pt x="368315" y="41273"/>
                  </a:cubicBezTo>
                  <a:cubicBezTo>
                    <a:pt x="378423" y="35224"/>
                    <a:pt x="387921" y="31647"/>
                    <a:pt x="384551" y="22623"/>
                  </a:cubicBezTo>
                  <a:cubicBezTo>
                    <a:pt x="383293" y="18947"/>
                    <a:pt x="379518" y="5343"/>
                    <a:pt x="372374" y="4775"/>
                  </a:cubicBezTo>
                  <a:cubicBezTo>
                    <a:pt x="370142" y="4207"/>
                    <a:pt x="377976" y="4875"/>
                    <a:pt x="372943" y="44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1C894CD2-0F05-4987-BEAA-407AAF7B891E}"/>
                </a:ext>
              </a:extLst>
            </p:cNvPr>
            <p:cNvSpPr/>
            <p:nvPr/>
          </p:nvSpPr>
          <p:spPr>
            <a:xfrm>
              <a:off x="3996530" y="5460303"/>
              <a:ext cx="375785" cy="720392"/>
            </a:xfrm>
            <a:custGeom>
              <a:avLst/>
              <a:gdLst>
                <a:gd name="connsiteX0" fmla="*/ 242469 w 375785"/>
                <a:gd name="connsiteY0" fmla="*/ 655867 h 720392"/>
                <a:gd name="connsiteX1" fmla="*/ 222174 w 375785"/>
                <a:gd name="connsiteY1" fmla="*/ 644670 h 720392"/>
                <a:gd name="connsiteX2" fmla="*/ 202975 w 375785"/>
                <a:gd name="connsiteY2" fmla="*/ 635077 h 720392"/>
                <a:gd name="connsiteX3" fmla="*/ 193193 w 375785"/>
                <a:gd name="connsiteY3" fmla="*/ 632470 h 720392"/>
                <a:gd name="connsiteX4" fmla="*/ 181016 w 375785"/>
                <a:gd name="connsiteY4" fmla="*/ 618065 h 720392"/>
                <a:gd name="connsiteX5" fmla="*/ 180326 w 375785"/>
                <a:gd name="connsiteY5" fmla="*/ 606333 h 720392"/>
                <a:gd name="connsiteX6" fmla="*/ 190352 w 375785"/>
                <a:gd name="connsiteY6" fmla="*/ 593699 h 720392"/>
                <a:gd name="connsiteX7" fmla="*/ 192828 w 375785"/>
                <a:gd name="connsiteY7" fmla="*/ 581566 h 720392"/>
                <a:gd name="connsiteX8" fmla="*/ 185238 w 375785"/>
                <a:gd name="connsiteY8" fmla="*/ 571806 h 720392"/>
                <a:gd name="connsiteX9" fmla="*/ 186293 w 375785"/>
                <a:gd name="connsiteY9" fmla="*/ 560743 h 720392"/>
                <a:gd name="connsiteX10" fmla="*/ 190352 w 375785"/>
                <a:gd name="connsiteY10" fmla="*/ 549379 h 720392"/>
                <a:gd name="connsiteX11" fmla="*/ 192544 w 375785"/>
                <a:gd name="connsiteY11" fmla="*/ 541157 h 720392"/>
                <a:gd name="connsiteX12" fmla="*/ 183249 w 375785"/>
                <a:gd name="connsiteY12" fmla="*/ 526551 h 720392"/>
                <a:gd name="connsiteX13" fmla="*/ 187064 w 375785"/>
                <a:gd name="connsiteY13" fmla="*/ 516290 h 720392"/>
                <a:gd name="connsiteX14" fmla="*/ 172939 w 375785"/>
                <a:gd name="connsiteY14" fmla="*/ 508335 h 720392"/>
                <a:gd name="connsiteX15" fmla="*/ 186293 w 375785"/>
                <a:gd name="connsiteY15" fmla="*/ 500146 h 720392"/>
                <a:gd name="connsiteX16" fmla="*/ 168677 w 375785"/>
                <a:gd name="connsiteY16" fmla="*/ 498809 h 720392"/>
                <a:gd name="connsiteX17" fmla="*/ 164983 w 375785"/>
                <a:gd name="connsiteY17" fmla="*/ 486442 h 720392"/>
                <a:gd name="connsiteX18" fmla="*/ 152238 w 375785"/>
                <a:gd name="connsiteY18" fmla="*/ 474276 h 720392"/>
                <a:gd name="connsiteX19" fmla="*/ 147936 w 375785"/>
                <a:gd name="connsiteY19" fmla="*/ 449844 h 720392"/>
                <a:gd name="connsiteX20" fmla="*/ 138397 w 375785"/>
                <a:gd name="connsiteY20" fmla="*/ 435371 h 720392"/>
                <a:gd name="connsiteX21" fmla="*/ 132877 w 375785"/>
                <a:gd name="connsiteY21" fmla="*/ 416253 h 720392"/>
                <a:gd name="connsiteX22" fmla="*/ 135759 w 375785"/>
                <a:gd name="connsiteY22" fmla="*/ 402683 h 720392"/>
                <a:gd name="connsiteX23" fmla="*/ 133080 w 375785"/>
                <a:gd name="connsiteY23" fmla="*/ 388846 h 720392"/>
                <a:gd name="connsiteX24" fmla="*/ 139412 w 375785"/>
                <a:gd name="connsiteY24" fmla="*/ 378651 h 720392"/>
                <a:gd name="connsiteX25" fmla="*/ 129467 w 375785"/>
                <a:gd name="connsiteY25" fmla="*/ 368825 h 720392"/>
                <a:gd name="connsiteX26" fmla="*/ 129792 w 375785"/>
                <a:gd name="connsiteY26" fmla="*/ 333797 h 720392"/>
                <a:gd name="connsiteX27" fmla="*/ 127438 w 375785"/>
                <a:gd name="connsiteY27" fmla="*/ 323101 h 720392"/>
                <a:gd name="connsiteX28" fmla="*/ 124434 w 375785"/>
                <a:gd name="connsiteY28" fmla="*/ 309331 h 720392"/>
                <a:gd name="connsiteX29" fmla="*/ 126139 w 375785"/>
                <a:gd name="connsiteY29" fmla="*/ 295092 h 720392"/>
                <a:gd name="connsiteX30" fmla="*/ 118264 w 375785"/>
                <a:gd name="connsiteY30" fmla="*/ 275239 h 720392"/>
                <a:gd name="connsiteX31" fmla="*/ 103855 w 375785"/>
                <a:gd name="connsiteY31" fmla="*/ 260031 h 720392"/>
                <a:gd name="connsiteX32" fmla="*/ 88390 w 375785"/>
                <a:gd name="connsiteY32" fmla="*/ 243086 h 720392"/>
                <a:gd name="connsiteX33" fmla="*/ 91638 w 375785"/>
                <a:gd name="connsiteY33" fmla="*/ 234295 h 720392"/>
                <a:gd name="connsiteX34" fmla="*/ 97685 w 375785"/>
                <a:gd name="connsiteY34" fmla="*/ 219555 h 720392"/>
                <a:gd name="connsiteX35" fmla="*/ 85508 w 375785"/>
                <a:gd name="connsiteY35" fmla="*/ 205083 h 720392"/>
                <a:gd name="connsiteX36" fmla="*/ 90217 w 375785"/>
                <a:gd name="connsiteY36" fmla="*/ 199835 h 720392"/>
                <a:gd name="connsiteX37" fmla="*/ 89162 w 375785"/>
                <a:gd name="connsiteY37" fmla="*/ 189808 h 720392"/>
                <a:gd name="connsiteX38" fmla="*/ 98132 w 375785"/>
                <a:gd name="connsiteY38" fmla="*/ 173297 h 720392"/>
                <a:gd name="connsiteX39" fmla="*/ 103814 w 375785"/>
                <a:gd name="connsiteY39" fmla="*/ 155081 h 720392"/>
                <a:gd name="connsiteX40" fmla="*/ 101298 w 375785"/>
                <a:gd name="connsiteY40" fmla="*/ 145488 h 720392"/>
                <a:gd name="connsiteX41" fmla="*/ 98497 w 375785"/>
                <a:gd name="connsiteY41" fmla="*/ 132487 h 720392"/>
                <a:gd name="connsiteX42" fmla="*/ 93667 w 375785"/>
                <a:gd name="connsiteY42" fmla="*/ 105982 h 720392"/>
                <a:gd name="connsiteX43" fmla="*/ 107671 w 375785"/>
                <a:gd name="connsiteY43" fmla="*/ 69784 h 720392"/>
                <a:gd name="connsiteX44" fmla="*/ 83682 w 375785"/>
                <a:gd name="connsiteY44" fmla="*/ 63300 h 720392"/>
                <a:gd name="connsiteX45" fmla="*/ 70937 w 375785"/>
                <a:gd name="connsiteY45" fmla="*/ 52939 h 720392"/>
                <a:gd name="connsiteX46" fmla="*/ 52956 w 375785"/>
                <a:gd name="connsiteY46" fmla="*/ 45753 h 720392"/>
                <a:gd name="connsiteX47" fmla="*/ 48450 w 375785"/>
                <a:gd name="connsiteY47" fmla="*/ 22356 h 720392"/>
                <a:gd name="connsiteX48" fmla="*/ 9606 w 375785"/>
                <a:gd name="connsiteY48" fmla="*/ -339 h 720392"/>
                <a:gd name="connsiteX49" fmla="*/ 3639 w 375785"/>
                <a:gd name="connsiteY49" fmla="*/ 16373 h 720392"/>
                <a:gd name="connsiteX50" fmla="*/ 7292 w 375785"/>
                <a:gd name="connsiteY50" fmla="*/ 36093 h 720392"/>
                <a:gd name="connsiteX51" fmla="*/ 25923 w 375785"/>
                <a:gd name="connsiteY51" fmla="*/ 75567 h 720392"/>
                <a:gd name="connsiteX52" fmla="*/ 26816 w 375785"/>
                <a:gd name="connsiteY52" fmla="*/ 102706 h 720392"/>
                <a:gd name="connsiteX53" fmla="*/ 33351 w 375785"/>
                <a:gd name="connsiteY53" fmla="*/ 112734 h 720392"/>
                <a:gd name="connsiteX54" fmla="*/ 40982 w 375785"/>
                <a:gd name="connsiteY54" fmla="*/ 132788 h 720392"/>
                <a:gd name="connsiteX55" fmla="*/ 45041 w 375785"/>
                <a:gd name="connsiteY55" fmla="*/ 160763 h 720392"/>
                <a:gd name="connsiteX56" fmla="*/ 46542 w 375785"/>
                <a:gd name="connsiteY56" fmla="*/ 180015 h 720392"/>
                <a:gd name="connsiteX57" fmla="*/ 47638 w 375785"/>
                <a:gd name="connsiteY57" fmla="*/ 202008 h 720392"/>
                <a:gd name="connsiteX58" fmla="*/ 49424 w 375785"/>
                <a:gd name="connsiteY58" fmla="*/ 216213 h 720392"/>
                <a:gd name="connsiteX59" fmla="*/ 58922 w 375785"/>
                <a:gd name="connsiteY59" fmla="*/ 232457 h 720392"/>
                <a:gd name="connsiteX60" fmla="*/ 73129 w 375785"/>
                <a:gd name="connsiteY60" fmla="*/ 273534 h 720392"/>
                <a:gd name="connsiteX61" fmla="*/ 75117 w 375785"/>
                <a:gd name="connsiteY61" fmla="*/ 306958 h 720392"/>
                <a:gd name="connsiteX62" fmla="*/ 76335 w 375785"/>
                <a:gd name="connsiteY62" fmla="*/ 332995 h 720392"/>
                <a:gd name="connsiteX63" fmla="*/ 72926 w 375785"/>
                <a:gd name="connsiteY63" fmla="*/ 359734 h 720392"/>
                <a:gd name="connsiteX64" fmla="*/ 71018 w 375785"/>
                <a:gd name="connsiteY64" fmla="*/ 369159 h 720392"/>
                <a:gd name="connsiteX65" fmla="*/ 64077 w 375785"/>
                <a:gd name="connsiteY65" fmla="*/ 374340 h 720392"/>
                <a:gd name="connsiteX66" fmla="*/ 70571 w 375785"/>
                <a:gd name="connsiteY66" fmla="*/ 383297 h 720392"/>
                <a:gd name="connsiteX67" fmla="*/ 78689 w 375785"/>
                <a:gd name="connsiteY67" fmla="*/ 399040 h 720392"/>
                <a:gd name="connsiteX68" fmla="*/ 91435 w 375785"/>
                <a:gd name="connsiteY68" fmla="*/ 418392 h 720392"/>
                <a:gd name="connsiteX69" fmla="*/ 91678 w 375785"/>
                <a:gd name="connsiteY69" fmla="*/ 442089 h 720392"/>
                <a:gd name="connsiteX70" fmla="*/ 102069 w 375785"/>
                <a:gd name="connsiteY70" fmla="*/ 461341 h 720392"/>
                <a:gd name="connsiteX71" fmla="*/ 96793 w 375785"/>
                <a:gd name="connsiteY71" fmla="*/ 464918 h 720392"/>
                <a:gd name="connsiteX72" fmla="*/ 95047 w 375785"/>
                <a:gd name="connsiteY72" fmla="*/ 475145 h 720392"/>
                <a:gd name="connsiteX73" fmla="*/ 101826 w 375785"/>
                <a:gd name="connsiteY73" fmla="*/ 494197 h 720392"/>
                <a:gd name="connsiteX74" fmla="*/ 115586 w 375785"/>
                <a:gd name="connsiteY74" fmla="*/ 488949 h 720392"/>
                <a:gd name="connsiteX75" fmla="*/ 108360 w 375785"/>
                <a:gd name="connsiteY75" fmla="*/ 460405 h 720392"/>
                <a:gd name="connsiteX76" fmla="*/ 118305 w 375785"/>
                <a:gd name="connsiteY76" fmla="*/ 450044 h 720392"/>
                <a:gd name="connsiteX77" fmla="*/ 121715 w 375785"/>
                <a:gd name="connsiteY77" fmla="*/ 454523 h 720392"/>
                <a:gd name="connsiteX78" fmla="*/ 130685 w 375785"/>
                <a:gd name="connsiteY78" fmla="*/ 456227 h 720392"/>
                <a:gd name="connsiteX79" fmla="*/ 127316 w 375785"/>
                <a:gd name="connsiteY79" fmla="*/ 464784 h 720392"/>
                <a:gd name="connsiteX80" fmla="*/ 132714 w 375785"/>
                <a:gd name="connsiteY80" fmla="*/ 472939 h 720392"/>
                <a:gd name="connsiteX81" fmla="*/ 130644 w 375785"/>
                <a:gd name="connsiteY81" fmla="*/ 483535 h 720392"/>
                <a:gd name="connsiteX82" fmla="*/ 134703 w 375785"/>
                <a:gd name="connsiteY82" fmla="*/ 495066 h 720392"/>
                <a:gd name="connsiteX83" fmla="*/ 140548 w 375785"/>
                <a:gd name="connsiteY83" fmla="*/ 512747 h 720392"/>
                <a:gd name="connsiteX84" fmla="*/ 141969 w 375785"/>
                <a:gd name="connsiteY84" fmla="*/ 521972 h 720392"/>
                <a:gd name="connsiteX85" fmla="*/ 140142 w 375785"/>
                <a:gd name="connsiteY85" fmla="*/ 531297 h 720392"/>
                <a:gd name="connsiteX86" fmla="*/ 139209 w 375785"/>
                <a:gd name="connsiteY86" fmla="*/ 545970 h 720392"/>
                <a:gd name="connsiteX87" fmla="*/ 131091 w 375785"/>
                <a:gd name="connsiteY87" fmla="*/ 524512 h 720392"/>
                <a:gd name="connsiteX88" fmla="*/ 120822 w 375785"/>
                <a:gd name="connsiteY88" fmla="*/ 527854 h 720392"/>
                <a:gd name="connsiteX89" fmla="*/ 118914 w 375785"/>
                <a:gd name="connsiteY89" fmla="*/ 540121 h 720392"/>
                <a:gd name="connsiteX90" fmla="*/ 113353 w 375785"/>
                <a:gd name="connsiteY90" fmla="*/ 556031 h 720392"/>
                <a:gd name="connsiteX91" fmla="*/ 108320 w 375785"/>
                <a:gd name="connsiteY91" fmla="*/ 563384 h 720392"/>
                <a:gd name="connsiteX92" fmla="*/ 109862 w 375785"/>
                <a:gd name="connsiteY92" fmla="*/ 573946 h 720392"/>
                <a:gd name="connsiteX93" fmla="*/ 116884 w 375785"/>
                <a:gd name="connsiteY93" fmla="*/ 566392 h 720392"/>
                <a:gd name="connsiteX94" fmla="*/ 129467 w 375785"/>
                <a:gd name="connsiteY94" fmla="*/ 566392 h 720392"/>
                <a:gd name="connsiteX95" fmla="*/ 135840 w 375785"/>
                <a:gd name="connsiteY95" fmla="*/ 580630 h 720392"/>
                <a:gd name="connsiteX96" fmla="*/ 162183 w 375785"/>
                <a:gd name="connsiteY96" fmla="*/ 579962 h 720392"/>
                <a:gd name="connsiteX97" fmla="*/ 162183 w 375785"/>
                <a:gd name="connsiteY97" fmla="*/ 585543 h 720392"/>
                <a:gd name="connsiteX98" fmla="*/ 143430 w 375785"/>
                <a:gd name="connsiteY98" fmla="*/ 591393 h 720392"/>
                <a:gd name="connsiteX99" fmla="*/ 120984 w 375785"/>
                <a:gd name="connsiteY99" fmla="*/ 603626 h 720392"/>
                <a:gd name="connsiteX100" fmla="*/ 142984 w 375785"/>
                <a:gd name="connsiteY100" fmla="*/ 602188 h 720392"/>
                <a:gd name="connsiteX101" fmla="*/ 150330 w 375785"/>
                <a:gd name="connsiteY101" fmla="*/ 597442 h 720392"/>
                <a:gd name="connsiteX102" fmla="*/ 145784 w 375785"/>
                <a:gd name="connsiteY102" fmla="*/ 608138 h 720392"/>
                <a:gd name="connsiteX103" fmla="*/ 137301 w 375785"/>
                <a:gd name="connsiteY103" fmla="*/ 623479 h 720392"/>
                <a:gd name="connsiteX104" fmla="*/ 147002 w 375785"/>
                <a:gd name="connsiteY104" fmla="*/ 627824 h 720392"/>
                <a:gd name="connsiteX105" fmla="*/ 149884 w 375785"/>
                <a:gd name="connsiteY105" fmla="*/ 631735 h 720392"/>
                <a:gd name="connsiteX106" fmla="*/ 156825 w 375785"/>
                <a:gd name="connsiteY106" fmla="*/ 623312 h 720392"/>
                <a:gd name="connsiteX107" fmla="*/ 166079 w 375785"/>
                <a:gd name="connsiteY107" fmla="*/ 618499 h 720392"/>
                <a:gd name="connsiteX108" fmla="*/ 165470 w 375785"/>
                <a:gd name="connsiteY108" fmla="*/ 642096 h 720392"/>
                <a:gd name="connsiteX109" fmla="*/ 156906 w 375785"/>
                <a:gd name="connsiteY109" fmla="*/ 652123 h 720392"/>
                <a:gd name="connsiteX110" fmla="*/ 161858 w 375785"/>
                <a:gd name="connsiteY110" fmla="*/ 653761 h 720392"/>
                <a:gd name="connsiteX111" fmla="*/ 161493 w 375785"/>
                <a:gd name="connsiteY111" fmla="*/ 660680 h 720392"/>
                <a:gd name="connsiteX112" fmla="*/ 173426 w 375785"/>
                <a:gd name="connsiteY112" fmla="*/ 656101 h 720392"/>
                <a:gd name="connsiteX113" fmla="*/ 193193 w 375785"/>
                <a:gd name="connsiteY113" fmla="*/ 652758 h 720392"/>
                <a:gd name="connsiteX114" fmla="*/ 185075 w 375785"/>
                <a:gd name="connsiteY114" fmla="*/ 667465 h 720392"/>
                <a:gd name="connsiteX115" fmla="*/ 191488 w 375785"/>
                <a:gd name="connsiteY115" fmla="*/ 664356 h 720392"/>
                <a:gd name="connsiteX116" fmla="*/ 201514 w 375785"/>
                <a:gd name="connsiteY116" fmla="*/ 666161 h 720392"/>
                <a:gd name="connsiteX117" fmla="*/ 207359 w 375785"/>
                <a:gd name="connsiteY117" fmla="*/ 657070 h 720392"/>
                <a:gd name="connsiteX118" fmla="*/ 221241 w 375785"/>
                <a:gd name="connsiteY118" fmla="*/ 661582 h 720392"/>
                <a:gd name="connsiteX119" fmla="*/ 200134 w 375785"/>
                <a:gd name="connsiteY119" fmla="*/ 672579 h 720392"/>
                <a:gd name="connsiteX120" fmla="*/ 206791 w 375785"/>
                <a:gd name="connsiteY120" fmla="*/ 683408 h 720392"/>
                <a:gd name="connsiteX121" fmla="*/ 223229 w 375785"/>
                <a:gd name="connsiteY121" fmla="*/ 669236 h 720392"/>
                <a:gd name="connsiteX122" fmla="*/ 242753 w 375785"/>
                <a:gd name="connsiteY122" fmla="*/ 664122 h 720392"/>
                <a:gd name="connsiteX123" fmla="*/ 245594 w 375785"/>
                <a:gd name="connsiteY123" fmla="*/ 668935 h 720392"/>
                <a:gd name="connsiteX124" fmla="*/ 234230 w 375785"/>
                <a:gd name="connsiteY124" fmla="*/ 676356 h 720392"/>
                <a:gd name="connsiteX125" fmla="*/ 217994 w 375785"/>
                <a:gd name="connsiteY125" fmla="*/ 681636 h 720392"/>
                <a:gd name="connsiteX126" fmla="*/ 227045 w 375785"/>
                <a:gd name="connsiteY126" fmla="*/ 687686 h 720392"/>
                <a:gd name="connsiteX127" fmla="*/ 259517 w 375785"/>
                <a:gd name="connsiteY127" fmla="*/ 670673 h 720392"/>
                <a:gd name="connsiteX128" fmla="*/ 252982 w 375785"/>
                <a:gd name="connsiteY128" fmla="*/ 681703 h 720392"/>
                <a:gd name="connsiteX129" fmla="*/ 238776 w 375785"/>
                <a:gd name="connsiteY129" fmla="*/ 693602 h 720392"/>
                <a:gd name="connsiteX130" fmla="*/ 217141 w 375785"/>
                <a:gd name="connsiteY130" fmla="*/ 706437 h 720392"/>
                <a:gd name="connsiteX131" fmla="*/ 237193 w 375785"/>
                <a:gd name="connsiteY131" fmla="*/ 705935 h 720392"/>
                <a:gd name="connsiteX132" fmla="*/ 259354 w 375785"/>
                <a:gd name="connsiteY132" fmla="*/ 702894 h 720392"/>
                <a:gd name="connsiteX133" fmla="*/ 249004 w 375785"/>
                <a:gd name="connsiteY133" fmla="*/ 698783 h 720392"/>
                <a:gd name="connsiteX134" fmla="*/ 270557 w 375785"/>
                <a:gd name="connsiteY134" fmla="*/ 689224 h 720392"/>
                <a:gd name="connsiteX135" fmla="*/ 267716 w 375785"/>
                <a:gd name="connsiteY135" fmla="*/ 671542 h 720392"/>
                <a:gd name="connsiteX136" fmla="*/ 286265 w 375785"/>
                <a:gd name="connsiteY136" fmla="*/ 655031 h 720392"/>
                <a:gd name="connsiteX137" fmla="*/ 282897 w 375785"/>
                <a:gd name="connsiteY137" fmla="*/ 665559 h 720392"/>
                <a:gd name="connsiteX138" fmla="*/ 287605 w 375785"/>
                <a:gd name="connsiteY138" fmla="*/ 676356 h 720392"/>
                <a:gd name="connsiteX139" fmla="*/ 303841 w 375785"/>
                <a:gd name="connsiteY139" fmla="*/ 670606 h 720392"/>
                <a:gd name="connsiteX140" fmla="*/ 296048 w 375785"/>
                <a:gd name="connsiteY140" fmla="*/ 679397 h 720392"/>
                <a:gd name="connsiteX141" fmla="*/ 302948 w 375785"/>
                <a:gd name="connsiteY141" fmla="*/ 689658 h 720392"/>
                <a:gd name="connsiteX142" fmla="*/ 292232 w 375785"/>
                <a:gd name="connsiteY142" fmla="*/ 688054 h 720392"/>
                <a:gd name="connsiteX143" fmla="*/ 288173 w 375785"/>
                <a:gd name="connsiteY143" fmla="*/ 696877 h 720392"/>
                <a:gd name="connsiteX144" fmla="*/ 269948 w 375785"/>
                <a:gd name="connsiteY144" fmla="*/ 693535 h 720392"/>
                <a:gd name="connsiteX145" fmla="*/ 271247 w 375785"/>
                <a:gd name="connsiteY145" fmla="*/ 703897 h 720392"/>
                <a:gd name="connsiteX146" fmla="*/ 265199 w 375785"/>
                <a:gd name="connsiteY146" fmla="*/ 713689 h 720392"/>
                <a:gd name="connsiteX147" fmla="*/ 286874 w 375785"/>
                <a:gd name="connsiteY147" fmla="*/ 710815 h 720392"/>
                <a:gd name="connsiteX148" fmla="*/ 299985 w 375785"/>
                <a:gd name="connsiteY148" fmla="*/ 718937 h 720392"/>
                <a:gd name="connsiteX149" fmla="*/ 297955 w 375785"/>
                <a:gd name="connsiteY149" fmla="*/ 706403 h 720392"/>
                <a:gd name="connsiteX150" fmla="*/ 328520 w 375785"/>
                <a:gd name="connsiteY150" fmla="*/ 714392 h 720392"/>
                <a:gd name="connsiteX151" fmla="*/ 326368 w 375785"/>
                <a:gd name="connsiteY151" fmla="*/ 707406 h 720392"/>
                <a:gd name="connsiteX152" fmla="*/ 340980 w 375785"/>
                <a:gd name="connsiteY152" fmla="*/ 709077 h 720392"/>
                <a:gd name="connsiteX153" fmla="*/ 356851 w 375785"/>
                <a:gd name="connsiteY153" fmla="*/ 711918 h 720392"/>
                <a:gd name="connsiteX154" fmla="*/ 344309 w 375785"/>
                <a:gd name="connsiteY154" fmla="*/ 701690 h 720392"/>
                <a:gd name="connsiteX155" fmla="*/ 364401 w 375785"/>
                <a:gd name="connsiteY155" fmla="*/ 699050 h 720392"/>
                <a:gd name="connsiteX156" fmla="*/ 375725 w 375785"/>
                <a:gd name="connsiteY156" fmla="*/ 691797 h 720392"/>
                <a:gd name="connsiteX157" fmla="*/ 336759 w 375785"/>
                <a:gd name="connsiteY157" fmla="*/ 698916 h 720392"/>
                <a:gd name="connsiteX158" fmla="*/ 320889 w 375785"/>
                <a:gd name="connsiteY158" fmla="*/ 662150 h 720392"/>
                <a:gd name="connsiteX159" fmla="*/ 315693 w 375785"/>
                <a:gd name="connsiteY159" fmla="*/ 648112 h 720392"/>
                <a:gd name="connsiteX160" fmla="*/ 294546 w 375785"/>
                <a:gd name="connsiteY160" fmla="*/ 650218 h 720392"/>
                <a:gd name="connsiteX161" fmla="*/ 290933 w 375785"/>
                <a:gd name="connsiteY161" fmla="*/ 643533 h 720392"/>
                <a:gd name="connsiteX162" fmla="*/ 272465 w 375785"/>
                <a:gd name="connsiteY162" fmla="*/ 644737 h 720392"/>
                <a:gd name="connsiteX163" fmla="*/ 242672 w 375785"/>
                <a:gd name="connsiteY163" fmla="*/ 655232 h 7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375785" h="720392">
                  <a:moveTo>
                    <a:pt x="242469" y="655867"/>
                  </a:moveTo>
                  <a:cubicBezTo>
                    <a:pt x="234717" y="659209"/>
                    <a:pt x="223920" y="648614"/>
                    <a:pt x="222174" y="644670"/>
                  </a:cubicBezTo>
                  <a:cubicBezTo>
                    <a:pt x="216979" y="633540"/>
                    <a:pt x="220713" y="630298"/>
                    <a:pt x="202975" y="635077"/>
                  </a:cubicBezTo>
                  <a:cubicBezTo>
                    <a:pt x="198104" y="636381"/>
                    <a:pt x="194127" y="636882"/>
                    <a:pt x="193193" y="632470"/>
                  </a:cubicBezTo>
                  <a:cubicBezTo>
                    <a:pt x="191813" y="626187"/>
                    <a:pt x="182315" y="625117"/>
                    <a:pt x="181016" y="618065"/>
                  </a:cubicBezTo>
                  <a:cubicBezTo>
                    <a:pt x="180123" y="614187"/>
                    <a:pt x="179880" y="610244"/>
                    <a:pt x="180326" y="606333"/>
                  </a:cubicBezTo>
                  <a:cubicBezTo>
                    <a:pt x="181422" y="600918"/>
                    <a:pt x="191001" y="598111"/>
                    <a:pt x="190352" y="593699"/>
                  </a:cubicBezTo>
                  <a:cubicBezTo>
                    <a:pt x="189703" y="589287"/>
                    <a:pt x="193234" y="585309"/>
                    <a:pt x="192828" y="581566"/>
                  </a:cubicBezTo>
                  <a:cubicBezTo>
                    <a:pt x="192422" y="577822"/>
                    <a:pt x="181381" y="576319"/>
                    <a:pt x="185238" y="571806"/>
                  </a:cubicBezTo>
                  <a:cubicBezTo>
                    <a:pt x="188566" y="567929"/>
                    <a:pt x="183533" y="564420"/>
                    <a:pt x="186293" y="560743"/>
                  </a:cubicBezTo>
                  <a:cubicBezTo>
                    <a:pt x="191001" y="554493"/>
                    <a:pt x="193924" y="556699"/>
                    <a:pt x="190352" y="549379"/>
                  </a:cubicBezTo>
                  <a:cubicBezTo>
                    <a:pt x="188566" y="545769"/>
                    <a:pt x="195223" y="544466"/>
                    <a:pt x="192544" y="541157"/>
                  </a:cubicBezTo>
                  <a:cubicBezTo>
                    <a:pt x="188728" y="536444"/>
                    <a:pt x="187105" y="531130"/>
                    <a:pt x="183249" y="526551"/>
                  </a:cubicBezTo>
                  <a:cubicBezTo>
                    <a:pt x="178784" y="521337"/>
                    <a:pt x="184791" y="521103"/>
                    <a:pt x="187064" y="516290"/>
                  </a:cubicBezTo>
                  <a:cubicBezTo>
                    <a:pt x="189986" y="510006"/>
                    <a:pt x="174887" y="511577"/>
                    <a:pt x="172939" y="508335"/>
                  </a:cubicBezTo>
                  <a:cubicBezTo>
                    <a:pt x="170990" y="505093"/>
                    <a:pt x="187348" y="504725"/>
                    <a:pt x="186293" y="500146"/>
                  </a:cubicBezTo>
                  <a:cubicBezTo>
                    <a:pt x="184507" y="492425"/>
                    <a:pt x="174116" y="500146"/>
                    <a:pt x="168677" y="498809"/>
                  </a:cubicBezTo>
                  <a:cubicBezTo>
                    <a:pt x="160194" y="496603"/>
                    <a:pt x="170625" y="489518"/>
                    <a:pt x="164983" y="486442"/>
                  </a:cubicBezTo>
                  <a:cubicBezTo>
                    <a:pt x="159341" y="483367"/>
                    <a:pt x="158448" y="475078"/>
                    <a:pt x="152238" y="474276"/>
                  </a:cubicBezTo>
                  <a:cubicBezTo>
                    <a:pt x="139777" y="472639"/>
                    <a:pt x="150249" y="454824"/>
                    <a:pt x="147936" y="449844"/>
                  </a:cubicBezTo>
                  <a:cubicBezTo>
                    <a:pt x="145622" y="444864"/>
                    <a:pt x="143024" y="438814"/>
                    <a:pt x="138397" y="435371"/>
                  </a:cubicBezTo>
                  <a:cubicBezTo>
                    <a:pt x="128574" y="428018"/>
                    <a:pt x="136773" y="424843"/>
                    <a:pt x="132877" y="416253"/>
                  </a:cubicBezTo>
                  <a:cubicBezTo>
                    <a:pt x="129589" y="408967"/>
                    <a:pt x="135353" y="408131"/>
                    <a:pt x="135759" y="402683"/>
                  </a:cubicBezTo>
                  <a:cubicBezTo>
                    <a:pt x="136043" y="398739"/>
                    <a:pt x="126098" y="392088"/>
                    <a:pt x="133080" y="388846"/>
                  </a:cubicBezTo>
                  <a:cubicBezTo>
                    <a:pt x="138438" y="386406"/>
                    <a:pt x="144242" y="383297"/>
                    <a:pt x="139412" y="378651"/>
                  </a:cubicBezTo>
                  <a:cubicBezTo>
                    <a:pt x="134582" y="374005"/>
                    <a:pt x="132633" y="374941"/>
                    <a:pt x="129467" y="368825"/>
                  </a:cubicBezTo>
                  <a:cubicBezTo>
                    <a:pt x="122567" y="355288"/>
                    <a:pt x="115180" y="347434"/>
                    <a:pt x="129792" y="333797"/>
                  </a:cubicBezTo>
                  <a:cubicBezTo>
                    <a:pt x="133851" y="329853"/>
                    <a:pt x="130198" y="326377"/>
                    <a:pt x="127438" y="323101"/>
                  </a:cubicBezTo>
                  <a:cubicBezTo>
                    <a:pt x="122202" y="316885"/>
                    <a:pt x="122526" y="315949"/>
                    <a:pt x="124434" y="309331"/>
                  </a:cubicBezTo>
                  <a:cubicBezTo>
                    <a:pt x="125652" y="305086"/>
                    <a:pt x="125327" y="299471"/>
                    <a:pt x="126139" y="295092"/>
                  </a:cubicBezTo>
                  <a:cubicBezTo>
                    <a:pt x="127397" y="287973"/>
                    <a:pt x="125692" y="279450"/>
                    <a:pt x="118264" y="275239"/>
                  </a:cubicBezTo>
                  <a:cubicBezTo>
                    <a:pt x="110836" y="271028"/>
                    <a:pt x="110674" y="264309"/>
                    <a:pt x="103855" y="260031"/>
                  </a:cubicBezTo>
                  <a:cubicBezTo>
                    <a:pt x="96143" y="255185"/>
                    <a:pt x="88066" y="251809"/>
                    <a:pt x="88390" y="243086"/>
                  </a:cubicBezTo>
                  <a:cubicBezTo>
                    <a:pt x="88390" y="239743"/>
                    <a:pt x="92125" y="238373"/>
                    <a:pt x="91638" y="234295"/>
                  </a:cubicBezTo>
                  <a:cubicBezTo>
                    <a:pt x="90988" y="228546"/>
                    <a:pt x="98538" y="223867"/>
                    <a:pt x="97685" y="219555"/>
                  </a:cubicBezTo>
                  <a:cubicBezTo>
                    <a:pt x="96549" y="213572"/>
                    <a:pt x="86483" y="210698"/>
                    <a:pt x="85508" y="205083"/>
                  </a:cubicBezTo>
                  <a:cubicBezTo>
                    <a:pt x="85143" y="202843"/>
                    <a:pt x="89121" y="201741"/>
                    <a:pt x="90217" y="199835"/>
                  </a:cubicBezTo>
                  <a:cubicBezTo>
                    <a:pt x="91759" y="197095"/>
                    <a:pt x="88877" y="192683"/>
                    <a:pt x="89162" y="189808"/>
                  </a:cubicBezTo>
                  <a:cubicBezTo>
                    <a:pt x="89770" y="183391"/>
                    <a:pt x="97685" y="179246"/>
                    <a:pt x="98132" y="173297"/>
                  </a:cubicBezTo>
                  <a:cubicBezTo>
                    <a:pt x="98822" y="164507"/>
                    <a:pt x="93789" y="163002"/>
                    <a:pt x="103814" y="155081"/>
                  </a:cubicBezTo>
                  <a:cubicBezTo>
                    <a:pt x="111161" y="149265"/>
                    <a:pt x="105763" y="149366"/>
                    <a:pt x="101298" y="145488"/>
                  </a:cubicBezTo>
                  <a:cubicBezTo>
                    <a:pt x="98132" y="142781"/>
                    <a:pt x="104099" y="137099"/>
                    <a:pt x="98497" y="132487"/>
                  </a:cubicBezTo>
                  <a:cubicBezTo>
                    <a:pt x="91313" y="126571"/>
                    <a:pt x="85427" y="113736"/>
                    <a:pt x="93667" y="105982"/>
                  </a:cubicBezTo>
                  <a:cubicBezTo>
                    <a:pt x="109456" y="91142"/>
                    <a:pt x="113272" y="87098"/>
                    <a:pt x="107671" y="69784"/>
                  </a:cubicBezTo>
                  <a:cubicBezTo>
                    <a:pt x="89933" y="85126"/>
                    <a:pt x="93626" y="70720"/>
                    <a:pt x="83682" y="63300"/>
                  </a:cubicBezTo>
                  <a:cubicBezTo>
                    <a:pt x="78568" y="59523"/>
                    <a:pt x="74468" y="57852"/>
                    <a:pt x="70937" y="52939"/>
                  </a:cubicBezTo>
                  <a:cubicBezTo>
                    <a:pt x="67406" y="48025"/>
                    <a:pt x="58395" y="49229"/>
                    <a:pt x="52956" y="45753"/>
                  </a:cubicBezTo>
                  <a:cubicBezTo>
                    <a:pt x="46299" y="41508"/>
                    <a:pt x="55959" y="23793"/>
                    <a:pt x="48450" y="22356"/>
                  </a:cubicBezTo>
                  <a:cubicBezTo>
                    <a:pt x="27303" y="18613"/>
                    <a:pt x="31483" y="3137"/>
                    <a:pt x="9606" y="-339"/>
                  </a:cubicBezTo>
                  <a:cubicBezTo>
                    <a:pt x="10296" y="-339"/>
                    <a:pt x="6156" y="14668"/>
                    <a:pt x="3639" y="16373"/>
                  </a:cubicBezTo>
                  <a:cubicBezTo>
                    <a:pt x="-4479" y="22356"/>
                    <a:pt x="2624" y="31080"/>
                    <a:pt x="7292" y="36093"/>
                  </a:cubicBezTo>
                  <a:cubicBezTo>
                    <a:pt x="17646" y="47658"/>
                    <a:pt x="24080" y="61295"/>
                    <a:pt x="25923" y="75567"/>
                  </a:cubicBezTo>
                  <a:cubicBezTo>
                    <a:pt x="27075" y="84591"/>
                    <a:pt x="27372" y="93648"/>
                    <a:pt x="26816" y="102706"/>
                  </a:cubicBezTo>
                  <a:cubicBezTo>
                    <a:pt x="26329" y="108756"/>
                    <a:pt x="34568" y="106784"/>
                    <a:pt x="33351" y="112734"/>
                  </a:cubicBezTo>
                  <a:cubicBezTo>
                    <a:pt x="31971" y="119418"/>
                    <a:pt x="38343" y="127005"/>
                    <a:pt x="40982" y="132788"/>
                  </a:cubicBezTo>
                  <a:cubicBezTo>
                    <a:pt x="45041" y="141478"/>
                    <a:pt x="44675" y="151438"/>
                    <a:pt x="45041" y="160763"/>
                  </a:cubicBezTo>
                  <a:cubicBezTo>
                    <a:pt x="45406" y="167080"/>
                    <a:pt x="47638" y="173598"/>
                    <a:pt x="46542" y="180015"/>
                  </a:cubicBezTo>
                  <a:cubicBezTo>
                    <a:pt x="45203" y="187636"/>
                    <a:pt x="51616" y="194521"/>
                    <a:pt x="47638" y="202008"/>
                  </a:cubicBezTo>
                  <a:cubicBezTo>
                    <a:pt x="43660" y="209495"/>
                    <a:pt x="40251" y="210899"/>
                    <a:pt x="49424" y="216213"/>
                  </a:cubicBezTo>
                  <a:cubicBezTo>
                    <a:pt x="57542" y="220992"/>
                    <a:pt x="62981" y="223900"/>
                    <a:pt x="58922" y="232457"/>
                  </a:cubicBezTo>
                  <a:cubicBezTo>
                    <a:pt x="53077" y="244857"/>
                    <a:pt x="69151" y="261836"/>
                    <a:pt x="73129" y="273534"/>
                  </a:cubicBezTo>
                  <a:cubicBezTo>
                    <a:pt x="76295" y="284464"/>
                    <a:pt x="76968" y="295828"/>
                    <a:pt x="75117" y="306958"/>
                  </a:cubicBezTo>
                  <a:cubicBezTo>
                    <a:pt x="74022" y="315681"/>
                    <a:pt x="77350" y="324104"/>
                    <a:pt x="76335" y="332995"/>
                  </a:cubicBezTo>
                  <a:cubicBezTo>
                    <a:pt x="75320" y="341885"/>
                    <a:pt x="73088" y="350943"/>
                    <a:pt x="72926" y="359734"/>
                  </a:cubicBezTo>
                  <a:cubicBezTo>
                    <a:pt x="72926" y="362307"/>
                    <a:pt x="73697" y="366686"/>
                    <a:pt x="71018" y="369159"/>
                  </a:cubicBezTo>
                  <a:cubicBezTo>
                    <a:pt x="68339" y="371633"/>
                    <a:pt x="64605" y="371165"/>
                    <a:pt x="64077" y="374340"/>
                  </a:cubicBezTo>
                  <a:cubicBezTo>
                    <a:pt x="63549" y="377515"/>
                    <a:pt x="67568" y="381024"/>
                    <a:pt x="70571" y="383297"/>
                  </a:cubicBezTo>
                  <a:cubicBezTo>
                    <a:pt x="76498" y="387509"/>
                    <a:pt x="74955" y="394060"/>
                    <a:pt x="78689" y="399040"/>
                  </a:cubicBezTo>
                  <a:cubicBezTo>
                    <a:pt x="85062" y="407296"/>
                    <a:pt x="91353" y="407663"/>
                    <a:pt x="91435" y="418392"/>
                  </a:cubicBezTo>
                  <a:cubicBezTo>
                    <a:pt x="91435" y="426380"/>
                    <a:pt x="91678" y="434101"/>
                    <a:pt x="91678" y="442089"/>
                  </a:cubicBezTo>
                  <a:cubicBezTo>
                    <a:pt x="91678" y="449376"/>
                    <a:pt x="103327" y="455459"/>
                    <a:pt x="102069" y="461341"/>
                  </a:cubicBezTo>
                  <a:cubicBezTo>
                    <a:pt x="101623" y="463480"/>
                    <a:pt x="98457" y="463547"/>
                    <a:pt x="96793" y="464918"/>
                  </a:cubicBezTo>
                  <a:cubicBezTo>
                    <a:pt x="93626" y="467558"/>
                    <a:pt x="94601" y="472304"/>
                    <a:pt x="95047" y="475145"/>
                  </a:cubicBezTo>
                  <a:cubicBezTo>
                    <a:pt x="95697" y="479424"/>
                    <a:pt x="96103" y="491857"/>
                    <a:pt x="101826" y="494197"/>
                  </a:cubicBezTo>
                  <a:cubicBezTo>
                    <a:pt x="105235" y="495634"/>
                    <a:pt x="114327" y="491590"/>
                    <a:pt x="115586" y="488949"/>
                  </a:cubicBezTo>
                  <a:cubicBezTo>
                    <a:pt x="119645" y="480025"/>
                    <a:pt x="102150" y="468093"/>
                    <a:pt x="108360" y="460405"/>
                  </a:cubicBezTo>
                  <a:cubicBezTo>
                    <a:pt x="109781" y="458601"/>
                    <a:pt x="114571" y="449777"/>
                    <a:pt x="118305" y="450044"/>
                  </a:cubicBezTo>
                  <a:cubicBezTo>
                    <a:pt x="120619" y="450044"/>
                    <a:pt x="120537" y="453386"/>
                    <a:pt x="121715" y="454523"/>
                  </a:cubicBezTo>
                  <a:cubicBezTo>
                    <a:pt x="123866" y="456328"/>
                    <a:pt x="128331" y="454189"/>
                    <a:pt x="130685" y="456227"/>
                  </a:cubicBezTo>
                  <a:cubicBezTo>
                    <a:pt x="133648" y="458801"/>
                    <a:pt x="127316" y="462010"/>
                    <a:pt x="127316" y="464784"/>
                  </a:cubicBezTo>
                  <a:cubicBezTo>
                    <a:pt x="127316" y="467558"/>
                    <a:pt x="131375" y="470165"/>
                    <a:pt x="132714" y="472939"/>
                  </a:cubicBezTo>
                  <a:cubicBezTo>
                    <a:pt x="134054" y="475714"/>
                    <a:pt x="131050" y="480192"/>
                    <a:pt x="130644" y="483535"/>
                  </a:cubicBezTo>
                  <a:cubicBezTo>
                    <a:pt x="129995" y="488214"/>
                    <a:pt x="136773" y="490721"/>
                    <a:pt x="134703" y="495066"/>
                  </a:cubicBezTo>
                  <a:cubicBezTo>
                    <a:pt x="132633" y="499411"/>
                    <a:pt x="136814" y="510106"/>
                    <a:pt x="140548" y="512747"/>
                  </a:cubicBezTo>
                  <a:cubicBezTo>
                    <a:pt x="144973" y="515855"/>
                    <a:pt x="136855" y="517660"/>
                    <a:pt x="141969" y="521972"/>
                  </a:cubicBezTo>
                  <a:cubicBezTo>
                    <a:pt x="149072" y="527988"/>
                    <a:pt x="148504" y="526618"/>
                    <a:pt x="140142" y="531297"/>
                  </a:cubicBezTo>
                  <a:cubicBezTo>
                    <a:pt x="131781" y="535976"/>
                    <a:pt x="150939" y="546170"/>
                    <a:pt x="139209" y="545970"/>
                  </a:cubicBezTo>
                  <a:cubicBezTo>
                    <a:pt x="114124" y="545569"/>
                    <a:pt x="139980" y="532601"/>
                    <a:pt x="131091" y="524512"/>
                  </a:cubicBezTo>
                  <a:cubicBezTo>
                    <a:pt x="123825" y="518028"/>
                    <a:pt x="106494" y="522841"/>
                    <a:pt x="120822" y="527854"/>
                  </a:cubicBezTo>
                  <a:cubicBezTo>
                    <a:pt x="140427" y="534907"/>
                    <a:pt x="115788" y="534773"/>
                    <a:pt x="118914" y="540121"/>
                  </a:cubicBezTo>
                  <a:cubicBezTo>
                    <a:pt x="122770" y="546605"/>
                    <a:pt x="100121" y="549981"/>
                    <a:pt x="113353" y="556031"/>
                  </a:cubicBezTo>
                  <a:cubicBezTo>
                    <a:pt x="116966" y="557702"/>
                    <a:pt x="109862" y="561512"/>
                    <a:pt x="108320" y="563384"/>
                  </a:cubicBezTo>
                  <a:cubicBezTo>
                    <a:pt x="106777" y="565255"/>
                    <a:pt x="103125" y="579226"/>
                    <a:pt x="109862" y="573946"/>
                  </a:cubicBezTo>
                  <a:cubicBezTo>
                    <a:pt x="112826" y="571606"/>
                    <a:pt x="108036" y="565456"/>
                    <a:pt x="116884" y="566392"/>
                  </a:cubicBezTo>
                  <a:cubicBezTo>
                    <a:pt x="124637" y="567227"/>
                    <a:pt x="121593" y="570469"/>
                    <a:pt x="129467" y="566392"/>
                  </a:cubicBezTo>
                  <a:cubicBezTo>
                    <a:pt x="148625" y="556565"/>
                    <a:pt x="135353" y="578357"/>
                    <a:pt x="135840" y="580630"/>
                  </a:cubicBezTo>
                  <a:cubicBezTo>
                    <a:pt x="138722" y="594267"/>
                    <a:pt x="153537" y="575650"/>
                    <a:pt x="162183" y="579962"/>
                  </a:cubicBezTo>
                  <a:cubicBezTo>
                    <a:pt x="163725" y="580730"/>
                    <a:pt x="166972" y="586947"/>
                    <a:pt x="162183" y="585543"/>
                  </a:cubicBezTo>
                  <a:cubicBezTo>
                    <a:pt x="149397" y="581700"/>
                    <a:pt x="151670" y="586914"/>
                    <a:pt x="143430" y="591393"/>
                  </a:cubicBezTo>
                  <a:cubicBezTo>
                    <a:pt x="135190" y="595871"/>
                    <a:pt x="123338" y="592161"/>
                    <a:pt x="120984" y="603626"/>
                  </a:cubicBezTo>
                  <a:cubicBezTo>
                    <a:pt x="119645" y="610310"/>
                    <a:pt x="140832" y="613887"/>
                    <a:pt x="142984" y="602188"/>
                  </a:cubicBezTo>
                  <a:cubicBezTo>
                    <a:pt x="143349" y="600083"/>
                    <a:pt x="146677" y="595504"/>
                    <a:pt x="150330" y="597442"/>
                  </a:cubicBezTo>
                  <a:cubicBezTo>
                    <a:pt x="158042" y="601720"/>
                    <a:pt x="149681" y="605063"/>
                    <a:pt x="145784" y="608138"/>
                  </a:cubicBezTo>
                  <a:cubicBezTo>
                    <a:pt x="141888" y="611213"/>
                    <a:pt x="140751" y="619469"/>
                    <a:pt x="137301" y="623479"/>
                  </a:cubicBezTo>
                  <a:cubicBezTo>
                    <a:pt x="129792" y="632270"/>
                    <a:pt x="145419" y="627523"/>
                    <a:pt x="147002" y="627824"/>
                  </a:cubicBezTo>
                  <a:cubicBezTo>
                    <a:pt x="148585" y="628125"/>
                    <a:pt x="148179" y="631167"/>
                    <a:pt x="149884" y="631735"/>
                  </a:cubicBezTo>
                  <a:cubicBezTo>
                    <a:pt x="156622" y="634543"/>
                    <a:pt x="160234" y="626655"/>
                    <a:pt x="156825" y="623312"/>
                  </a:cubicBezTo>
                  <a:cubicBezTo>
                    <a:pt x="148057" y="614722"/>
                    <a:pt x="168555" y="608238"/>
                    <a:pt x="166079" y="618499"/>
                  </a:cubicBezTo>
                  <a:cubicBezTo>
                    <a:pt x="164658" y="624382"/>
                    <a:pt x="170788" y="638119"/>
                    <a:pt x="165470" y="642096"/>
                  </a:cubicBezTo>
                  <a:cubicBezTo>
                    <a:pt x="166079" y="641662"/>
                    <a:pt x="159707" y="655131"/>
                    <a:pt x="156906" y="652123"/>
                  </a:cubicBezTo>
                  <a:cubicBezTo>
                    <a:pt x="158651" y="652424"/>
                    <a:pt x="160356" y="652959"/>
                    <a:pt x="161858" y="653761"/>
                  </a:cubicBezTo>
                  <a:cubicBezTo>
                    <a:pt x="163522" y="655733"/>
                    <a:pt x="161087" y="658507"/>
                    <a:pt x="161493" y="660680"/>
                  </a:cubicBezTo>
                  <a:cubicBezTo>
                    <a:pt x="162629" y="666462"/>
                    <a:pt x="170869" y="656201"/>
                    <a:pt x="173426" y="656101"/>
                  </a:cubicBezTo>
                  <a:cubicBezTo>
                    <a:pt x="178662" y="655833"/>
                    <a:pt x="190230" y="648748"/>
                    <a:pt x="193193" y="652758"/>
                  </a:cubicBezTo>
                  <a:cubicBezTo>
                    <a:pt x="194330" y="654296"/>
                    <a:pt x="180691" y="667732"/>
                    <a:pt x="185075" y="667465"/>
                  </a:cubicBezTo>
                  <a:cubicBezTo>
                    <a:pt x="187389" y="666696"/>
                    <a:pt x="189540" y="665660"/>
                    <a:pt x="191488" y="664356"/>
                  </a:cubicBezTo>
                  <a:cubicBezTo>
                    <a:pt x="197130" y="661515"/>
                    <a:pt x="197130" y="665192"/>
                    <a:pt x="201514" y="666161"/>
                  </a:cubicBezTo>
                  <a:cubicBezTo>
                    <a:pt x="207684" y="667532"/>
                    <a:pt x="202772" y="658374"/>
                    <a:pt x="207359" y="657070"/>
                  </a:cubicBezTo>
                  <a:cubicBezTo>
                    <a:pt x="211174" y="656000"/>
                    <a:pt x="222337" y="657070"/>
                    <a:pt x="221241" y="661582"/>
                  </a:cubicBezTo>
                  <a:cubicBezTo>
                    <a:pt x="219414" y="669036"/>
                    <a:pt x="205979" y="668835"/>
                    <a:pt x="200134" y="672579"/>
                  </a:cubicBezTo>
                  <a:cubicBezTo>
                    <a:pt x="194289" y="676322"/>
                    <a:pt x="199403" y="684778"/>
                    <a:pt x="206791" y="683408"/>
                  </a:cubicBezTo>
                  <a:cubicBezTo>
                    <a:pt x="214178" y="682037"/>
                    <a:pt x="216004" y="672378"/>
                    <a:pt x="223229" y="669236"/>
                  </a:cubicBezTo>
                  <a:cubicBezTo>
                    <a:pt x="229318" y="666596"/>
                    <a:pt x="235934" y="664858"/>
                    <a:pt x="242753" y="664122"/>
                  </a:cubicBezTo>
                  <a:cubicBezTo>
                    <a:pt x="249126" y="663487"/>
                    <a:pt x="253956" y="666462"/>
                    <a:pt x="245594" y="668935"/>
                  </a:cubicBezTo>
                  <a:cubicBezTo>
                    <a:pt x="238694" y="670941"/>
                    <a:pt x="239384" y="673080"/>
                    <a:pt x="234230" y="676356"/>
                  </a:cubicBezTo>
                  <a:cubicBezTo>
                    <a:pt x="227816" y="680433"/>
                    <a:pt x="222580" y="675720"/>
                    <a:pt x="217994" y="681636"/>
                  </a:cubicBezTo>
                  <a:cubicBezTo>
                    <a:pt x="210200" y="691229"/>
                    <a:pt x="219576" y="699852"/>
                    <a:pt x="227045" y="687686"/>
                  </a:cubicBezTo>
                  <a:cubicBezTo>
                    <a:pt x="228953" y="684544"/>
                    <a:pt x="256432" y="668568"/>
                    <a:pt x="259517" y="670673"/>
                  </a:cubicBezTo>
                  <a:cubicBezTo>
                    <a:pt x="264631" y="674283"/>
                    <a:pt x="257609" y="679932"/>
                    <a:pt x="252982" y="681703"/>
                  </a:cubicBezTo>
                  <a:cubicBezTo>
                    <a:pt x="245432" y="684578"/>
                    <a:pt x="232403" y="682305"/>
                    <a:pt x="238776" y="693602"/>
                  </a:cubicBezTo>
                  <a:cubicBezTo>
                    <a:pt x="242226" y="699652"/>
                    <a:pt x="194817" y="695440"/>
                    <a:pt x="217141" y="706437"/>
                  </a:cubicBezTo>
                  <a:cubicBezTo>
                    <a:pt x="226355" y="710982"/>
                    <a:pt x="228101" y="707640"/>
                    <a:pt x="237193" y="705935"/>
                  </a:cubicBezTo>
                  <a:cubicBezTo>
                    <a:pt x="242753" y="704899"/>
                    <a:pt x="260004" y="713322"/>
                    <a:pt x="259354" y="702894"/>
                  </a:cubicBezTo>
                  <a:cubicBezTo>
                    <a:pt x="259354" y="699752"/>
                    <a:pt x="248557" y="704097"/>
                    <a:pt x="249004" y="698783"/>
                  </a:cubicBezTo>
                  <a:cubicBezTo>
                    <a:pt x="249532" y="692666"/>
                    <a:pt x="266052" y="695140"/>
                    <a:pt x="270557" y="689224"/>
                  </a:cubicBezTo>
                  <a:cubicBezTo>
                    <a:pt x="275956" y="682104"/>
                    <a:pt x="266498" y="678160"/>
                    <a:pt x="267716" y="671542"/>
                  </a:cubicBezTo>
                  <a:cubicBezTo>
                    <a:pt x="268609" y="665794"/>
                    <a:pt x="278838" y="656769"/>
                    <a:pt x="286265" y="655031"/>
                  </a:cubicBezTo>
                  <a:cubicBezTo>
                    <a:pt x="293693" y="653293"/>
                    <a:pt x="284236" y="664624"/>
                    <a:pt x="282897" y="665559"/>
                  </a:cubicBezTo>
                  <a:cubicBezTo>
                    <a:pt x="276686" y="669905"/>
                    <a:pt x="276199" y="677525"/>
                    <a:pt x="287605" y="676356"/>
                  </a:cubicBezTo>
                  <a:cubicBezTo>
                    <a:pt x="293247" y="675754"/>
                    <a:pt x="297631" y="668601"/>
                    <a:pt x="303841" y="670606"/>
                  </a:cubicBezTo>
                  <a:cubicBezTo>
                    <a:pt x="310051" y="672612"/>
                    <a:pt x="297671" y="677626"/>
                    <a:pt x="296048" y="679397"/>
                  </a:cubicBezTo>
                  <a:cubicBezTo>
                    <a:pt x="291258" y="684544"/>
                    <a:pt x="303029" y="685480"/>
                    <a:pt x="302948" y="689658"/>
                  </a:cubicBezTo>
                  <a:cubicBezTo>
                    <a:pt x="302745" y="697980"/>
                    <a:pt x="293572" y="690126"/>
                    <a:pt x="292232" y="688054"/>
                  </a:cubicBezTo>
                  <a:cubicBezTo>
                    <a:pt x="280055" y="669270"/>
                    <a:pt x="281476" y="699016"/>
                    <a:pt x="288173" y="696877"/>
                  </a:cubicBezTo>
                  <a:cubicBezTo>
                    <a:pt x="282125" y="698783"/>
                    <a:pt x="275996" y="691329"/>
                    <a:pt x="269948" y="693535"/>
                  </a:cubicBezTo>
                  <a:cubicBezTo>
                    <a:pt x="259720" y="697145"/>
                    <a:pt x="276930" y="701590"/>
                    <a:pt x="271247" y="703897"/>
                  </a:cubicBezTo>
                  <a:cubicBezTo>
                    <a:pt x="267188" y="705434"/>
                    <a:pt x="257487" y="710147"/>
                    <a:pt x="265199" y="713689"/>
                  </a:cubicBezTo>
                  <a:cubicBezTo>
                    <a:pt x="271044" y="716363"/>
                    <a:pt x="279122" y="704331"/>
                    <a:pt x="286874" y="710815"/>
                  </a:cubicBezTo>
                  <a:cubicBezTo>
                    <a:pt x="287524" y="711316"/>
                    <a:pt x="299051" y="723783"/>
                    <a:pt x="299985" y="718937"/>
                  </a:cubicBezTo>
                  <a:cubicBezTo>
                    <a:pt x="301000" y="714726"/>
                    <a:pt x="295682" y="710715"/>
                    <a:pt x="297955" y="706403"/>
                  </a:cubicBezTo>
                  <a:cubicBezTo>
                    <a:pt x="300228" y="702092"/>
                    <a:pt x="317641" y="722346"/>
                    <a:pt x="328520" y="714392"/>
                  </a:cubicBezTo>
                  <a:cubicBezTo>
                    <a:pt x="329209" y="713890"/>
                    <a:pt x="324095" y="709879"/>
                    <a:pt x="326368" y="707406"/>
                  </a:cubicBezTo>
                  <a:cubicBezTo>
                    <a:pt x="329818" y="703662"/>
                    <a:pt x="337734" y="707707"/>
                    <a:pt x="340980" y="709077"/>
                  </a:cubicBezTo>
                  <a:cubicBezTo>
                    <a:pt x="343416" y="710113"/>
                    <a:pt x="353969" y="715595"/>
                    <a:pt x="356851" y="711918"/>
                  </a:cubicBezTo>
                  <a:cubicBezTo>
                    <a:pt x="360585" y="707272"/>
                    <a:pt x="345039" y="704365"/>
                    <a:pt x="344309" y="701690"/>
                  </a:cubicBezTo>
                  <a:cubicBezTo>
                    <a:pt x="343741" y="699585"/>
                    <a:pt x="362858" y="699217"/>
                    <a:pt x="364401" y="699050"/>
                  </a:cubicBezTo>
                  <a:cubicBezTo>
                    <a:pt x="371869" y="698181"/>
                    <a:pt x="370895" y="692031"/>
                    <a:pt x="375725" y="691797"/>
                  </a:cubicBezTo>
                  <a:cubicBezTo>
                    <a:pt x="366877" y="690326"/>
                    <a:pt x="340209" y="704231"/>
                    <a:pt x="336759" y="698916"/>
                  </a:cubicBezTo>
                  <a:cubicBezTo>
                    <a:pt x="329331" y="687619"/>
                    <a:pt x="325475" y="674350"/>
                    <a:pt x="320889" y="662150"/>
                  </a:cubicBezTo>
                  <a:cubicBezTo>
                    <a:pt x="319102" y="657471"/>
                    <a:pt x="317357" y="652792"/>
                    <a:pt x="315693" y="648112"/>
                  </a:cubicBezTo>
                  <a:cubicBezTo>
                    <a:pt x="310254" y="648781"/>
                    <a:pt x="298848" y="654998"/>
                    <a:pt x="294546" y="650218"/>
                  </a:cubicBezTo>
                  <a:cubicBezTo>
                    <a:pt x="290812" y="646040"/>
                    <a:pt x="299213" y="645038"/>
                    <a:pt x="290933" y="643533"/>
                  </a:cubicBezTo>
                  <a:cubicBezTo>
                    <a:pt x="284764" y="642531"/>
                    <a:pt x="278351" y="642932"/>
                    <a:pt x="272465" y="644737"/>
                  </a:cubicBezTo>
                  <a:cubicBezTo>
                    <a:pt x="262196" y="647577"/>
                    <a:pt x="252251" y="651087"/>
                    <a:pt x="242672" y="65523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0CC8DEBF-F884-43C5-A214-85613CB583F6}"/>
                </a:ext>
              </a:extLst>
            </p:cNvPr>
            <p:cNvSpPr/>
            <p:nvPr/>
          </p:nvSpPr>
          <p:spPr>
            <a:xfrm>
              <a:off x="4207318" y="5415883"/>
              <a:ext cx="236848" cy="135565"/>
            </a:xfrm>
            <a:custGeom>
              <a:avLst/>
              <a:gdLst>
                <a:gd name="connsiteX0" fmla="*/ 225254 w 236848"/>
                <a:gd name="connsiteY0" fmla="*/ 49930 h 135565"/>
                <a:gd name="connsiteX1" fmla="*/ 205243 w 236848"/>
                <a:gd name="connsiteY1" fmla="*/ 57952 h 135565"/>
                <a:gd name="connsiteX2" fmla="*/ 191686 w 236848"/>
                <a:gd name="connsiteY2" fmla="*/ 47925 h 135565"/>
                <a:gd name="connsiteX3" fmla="*/ 162137 w 236848"/>
                <a:gd name="connsiteY3" fmla="*/ 34555 h 135565"/>
                <a:gd name="connsiteX4" fmla="*/ 125322 w 236848"/>
                <a:gd name="connsiteY4" fmla="*/ 36427 h 135565"/>
                <a:gd name="connsiteX5" fmla="*/ 121263 w 236848"/>
                <a:gd name="connsiteY5" fmla="*/ 19715 h 135565"/>
                <a:gd name="connsiteX6" fmla="*/ 110831 w 236848"/>
                <a:gd name="connsiteY6" fmla="*/ 9688 h 135565"/>
                <a:gd name="connsiteX7" fmla="*/ 107706 w 236848"/>
                <a:gd name="connsiteY7" fmla="*/ -339 h 135565"/>
                <a:gd name="connsiteX8" fmla="*/ 83352 w 236848"/>
                <a:gd name="connsiteY8" fmla="*/ 229 h 135565"/>
                <a:gd name="connsiteX9" fmla="*/ 48689 w 236848"/>
                <a:gd name="connsiteY9" fmla="*/ 10524 h 135565"/>
                <a:gd name="connsiteX10" fmla="*/ 23645 w 236848"/>
                <a:gd name="connsiteY10" fmla="*/ 19247 h 135565"/>
                <a:gd name="connsiteX11" fmla="*/ 8058 w 236848"/>
                <a:gd name="connsiteY11" fmla="*/ 48393 h 135565"/>
                <a:gd name="connsiteX12" fmla="*/ -60 w 236848"/>
                <a:gd name="connsiteY12" fmla="*/ 71555 h 135565"/>
                <a:gd name="connsiteX13" fmla="*/ 55548 w 236848"/>
                <a:gd name="connsiteY13" fmla="*/ 87766 h 135565"/>
                <a:gd name="connsiteX14" fmla="*/ 89116 w 236848"/>
                <a:gd name="connsiteY14" fmla="*/ 87766 h 135565"/>
                <a:gd name="connsiteX15" fmla="*/ 111765 w 236848"/>
                <a:gd name="connsiteY15" fmla="*/ 92311 h 135565"/>
                <a:gd name="connsiteX16" fmla="*/ 157428 w 236848"/>
                <a:gd name="connsiteY16" fmla="*/ 94283 h 135565"/>
                <a:gd name="connsiteX17" fmla="*/ 152395 w 236848"/>
                <a:gd name="connsiteY17" fmla="*/ 107653 h 135565"/>
                <a:gd name="connsiteX18" fmla="*/ 147890 w 236848"/>
                <a:gd name="connsiteY18" fmla="*/ 128208 h 135565"/>
                <a:gd name="connsiteX19" fmla="*/ 145333 w 236848"/>
                <a:gd name="connsiteY19" fmla="*/ 135227 h 135565"/>
                <a:gd name="connsiteX20" fmla="*/ 173299 w 236848"/>
                <a:gd name="connsiteY20" fmla="*/ 131651 h 135565"/>
                <a:gd name="connsiteX21" fmla="*/ 205000 w 236848"/>
                <a:gd name="connsiteY21" fmla="*/ 122894 h 135565"/>
                <a:gd name="connsiteX22" fmla="*/ 215918 w 236848"/>
                <a:gd name="connsiteY22" fmla="*/ 118282 h 135565"/>
                <a:gd name="connsiteX23" fmla="*/ 225416 w 236848"/>
                <a:gd name="connsiteY23" fmla="*/ 110026 h 135565"/>
                <a:gd name="connsiteX24" fmla="*/ 233534 w 236848"/>
                <a:gd name="connsiteY24" fmla="*/ 81315 h 135565"/>
                <a:gd name="connsiteX25" fmla="*/ 224889 w 236848"/>
                <a:gd name="connsiteY25" fmla="*/ 49763 h 135565"/>
                <a:gd name="connsiteX26" fmla="*/ 225254 w 236848"/>
                <a:gd name="connsiteY26" fmla="*/ 49930 h 13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6848" h="135565">
                  <a:moveTo>
                    <a:pt x="225254" y="49930"/>
                  </a:moveTo>
                  <a:cubicBezTo>
                    <a:pt x="215107" y="49128"/>
                    <a:pt x="213077" y="56047"/>
                    <a:pt x="205243" y="57952"/>
                  </a:cubicBezTo>
                  <a:cubicBezTo>
                    <a:pt x="201184" y="58921"/>
                    <a:pt x="193269" y="49529"/>
                    <a:pt x="191686" y="47925"/>
                  </a:cubicBezTo>
                  <a:cubicBezTo>
                    <a:pt x="185354" y="41641"/>
                    <a:pt x="176100" y="28272"/>
                    <a:pt x="162137" y="34555"/>
                  </a:cubicBezTo>
                  <a:cubicBezTo>
                    <a:pt x="156617" y="36995"/>
                    <a:pt x="127717" y="41240"/>
                    <a:pt x="125322" y="36427"/>
                  </a:cubicBezTo>
                  <a:cubicBezTo>
                    <a:pt x="122603" y="31046"/>
                    <a:pt x="125322" y="24929"/>
                    <a:pt x="121263" y="19715"/>
                  </a:cubicBezTo>
                  <a:cubicBezTo>
                    <a:pt x="119112" y="17041"/>
                    <a:pt x="110304" y="13031"/>
                    <a:pt x="110831" y="9688"/>
                  </a:cubicBezTo>
                  <a:cubicBezTo>
                    <a:pt x="111765" y="3973"/>
                    <a:pt x="117610" y="4040"/>
                    <a:pt x="107706" y="-339"/>
                  </a:cubicBezTo>
                  <a:cubicBezTo>
                    <a:pt x="101334" y="4675"/>
                    <a:pt x="90780" y="62"/>
                    <a:pt x="83352" y="229"/>
                  </a:cubicBezTo>
                  <a:cubicBezTo>
                    <a:pt x="70891" y="1132"/>
                    <a:pt x="58958" y="4675"/>
                    <a:pt x="48689" y="10524"/>
                  </a:cubicBezTo>
                  <a:cubicBezTo>
                    <a:pt x="41869" y="15036"/>
                    <a:pt x="31235" y="15537"/>
                    <a:pt x="23645" y="19247"/>
                  </a:cubicBezTo>
                  <a:cubicBezTo>
                    <a:pt x="11021" y="24929"/>
                    <a:pt x="4608" y="36895"/>
                    <a:pt x="8058" y="48393"/>
                  </a:cubicBezTo>
                  <a:cubicBezTo>
                    <a:pt x="10128" y="56816"/>
                    <a:pt x="16176" y="68447"/>
                    <a:pt x="-60" y="71555"/>
                  </a:cubicBezTo>
                  <a:cubicBezTo>
                    <a:pt x="15892" y="80914"/>
                    <a:pt x="36796" y="82150"/>
                    <a:pt x="55548" y="87766"/>
                  </a:cubicBezTo>
                  <a:cubicBezTo>
                    <a:pt x="67360" y="91309"/>
                    <a:pt x="76330" y="87766"/>
                    <a:pt x="89116" y="87766"/>
                  </a:cubicBezTo>
                  <a:cubicBezTo>
                    <a:pt x="98167" y="87766"/>
                    <a:pt x="103607" y="91409"/>
                    <a:pt x="111765" y="92311"/>
                  </a:cubicBezTo>
                  <a:cubicBezTo>
                    <a:pt x="126337" y="93949"/>
                    <a:pt x="143628" y="91142"/>
                    <a:pt x="157428" y="94283"/>
                  </a:cubicBezTo>
                  <a:cubicBezTo>
                    <a:pt x="163477" y="95654"/>
                    <a:pt x="154019" y="105313"/>
                    <a:pt x="152395" y="107653"/>
                  </a:cubicBezTo>
                  <a:cubicBezTo>
                    <a:pt x="147200" y="115374"/>
                    <a:pt x="151178" y="121022"/>
                    <a:pt x="147890" y="128208"/>
                  </a:cubicBezTo>
                  <a:cubicBezTo>
                    <a:pt x="147281" y="129478"/>
                    <a:pt x="140462" y="134893"/>
                    <a:pt x="145333" y="135227"/>
                  </a:cubicBezTo>
                  <a:cubicBezTo>
                    <a:pt x="154790" y="134893"/>
                    <a:pt x="164166" y="133690"/>
                    <a:pt x="173299" y="131651"/>
                  </a:cubicBezTo>
                  <a:cubicBezTo>
                    <a:pt x="183934" y="129144"/>
                    <a:pt x="196679" y="128309"/>
                    <a:pt x="205000" y="122894"/>
                  </a:cubicBezTo>
                  <a:cubicBezTo>
                    <a:pt x="208491" y="120554"/>
                    <a:pt x="212631" y="120320"/>
                    <a:pt x="215918" y="118282"/>
                  </a:cubicBezTo>
                  <a:cubicBezTo>
                    <a:pt x="219206" y="116243"/>
                    <a:pt x="221560" y="112432"/>
                    <a:pt x="225416" y="110026"/>
                  </a:cubicBezTo>
                  <a:cubicBezTo>
                    <a:pt x="236538" y="103508"/>
                    <a:pt x="240029" y="91208"/>
                    <a:pt x="233534" y="81315"/>
                  </a:cubicBezTo>
                  <a:cubicBezTo>
                    <a:pt x="230003" y="75466"/>
                    <a:pt x="237025" y="50766"/>
                    <a:pt x="224889" y="49763"/>
                  </a:cubicBezTo>
                  <a:cubicBezTo>
                    <a:pt x="215188" y="49161"/>
                    <a:pt x="235280" y="50766"/>
                    <a:pt x="225254" y="4993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9378FCEA-DB4B-4F56-B266-93C1E69D1701}"/>
                </a:ext>
              </a:extLst>
            </p:cNvPr>
            <p:cNvSpPr/>
            <p:nvPr/>
          </p:nvSpPr>
          <p:spPr>
            <a:xfrm>
              <a:off x="3358626" y="5125365"/>
              <a:ext cx="97531" cy="35821"/>
            </a:xfrm>
            <a:custGeom>
              <a:avLst/>
              <a:gdLst>
                <a:gd name="connsiteX0" fmla="*/ 95042 w 97531"/>
                <a:gd name="connsiteY0" fmla="*/ 20885 h 35821"/>
                <a:gd name="connsiteX1" fmla="*/ 87330 w 97531"/>
                <a:gd name="connsiteY1" fmla="*/ 8017 h 35821"/>
                <a:gd name="connsiteX2" fmla="*/ 57091 w 97531"/>
                <a:gd name="connsiteY2" fmla="*/ -339 h 35821"/>
                <a:gd name="connsiteX3" fmla="*/ -60 w 97531"/>
                <a:gd name="connsiteY3" fmla="*/ 15604 h 35821"/>
                <a:gd name="connsiteX4" fmla="*/ 15649 w 97531"/>
                <a:gd name="connsiteY4" fmla="*/ 33352 h 35821"/>
                <a:gd name="connsiteX5" fmla="*/ 41383 w 97531"/>
                <a:gd name="connsiteY5" fmla="*/ 27871 h 35821"/>
                <a:gd name="connsiteX6" fmla="*/ 58836 w 97531"/>
                <a:gd name="connsiteY6" fmla="*/ 25999 h 35821"/>
                <a:gd name="connsiteX7" fmla="*/ 71500 w 97531"/>
                <a:gd name="connsiteY7" fmla="*/ 33218 h 35821"/>
                <a:gd name="connsiteX8" fmla="*/ 95042 w 97531"/>
                <a:gd name="connsiteY8" fmla="*/ 20885 h 3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1" h="35821">
                  <a:moveTo>
                    <a:pt x="95042" y="20885"/>
                  </a:moveTo>
                  <a:cubicBezTo>
                    <a:pt x="88426" y="15537"/>
                    <a:pt x="98777" y="10691"/>
                    <a:pt x="87330" y="8017"/>
                  </a:cubicBezTo>
                  <a:cubicBezTo>
                    <a:pt x="77073" y="5684"/>
                    <a:pt x="66978" y="2897"/>
                    <a:pt x="57091" y="-339"/>
                  </a:cubicBezTo>
                  <a:cubicBezTo>
                    <a:pt x="40287" y="7249"/>
                    <a:pt x="17841" y="8051"/>
                    <a:pt x="-60" y="15604"/>
                  </a:cubicBezTo>
                  <a:cubicBezTo>
                    <a:pt x="7612" y="21253"/>
                    <a:pt x="-8746" y="36126"/>
                    <a:pt x="15649" y="33352"/>
                  </a:cubicBezTo>
                  <a:cubicBezTo>
                    <a:pt x="31276" y="31581"/>
                    <a:pt x="25025" y="24662"/>
                    <a:pt x="41383" y="27871"/>
                  </a:cubicBezTo>
                  <a:cubicBezTo>
                    <a:pt x="45442" y="28673"/>
                    <a:pt x="53803" y="25732"/>
                    <a:pt x="58836" y="25999"/>
                  </a:cubicBezTo>
                  <a:cubicBezTo>
                    <a:pt x="67401" y="26434"/>
                    <a:pt x="67482" y="29542"/>
                    <a:pt x="71500" y="33218"/>
                  </a:cubicBezTo>
                  <a:cubicBezTo>
                    <a:pt x="79212" y="40238"/>
                    <a:pt x="105514" y="29475"/>
                    <a:pt x="95042" y="2088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55EFD1FB-65C5-4B19-80B2-F9B810B620EE}"/>
                </a:ext>
              </a:extLst>
            </p:cNvPr>
            <p:cNvSpPr/>
            <p:nvPr/>
          </p:nvSpPr>
          <p:spPr>
            <a:xfrm>
              <a:off x="3451569" y="5097422"/>
              <a:ext cx="161743" cy="59093"/>
            </a:xfrm>
            <a:custGeom>
              <a:avLst/>
              <a:gdLst>
                <a:gd name="connsiteX0" fmla="*/ 139658 w 161743"/>
                <a:gd name="connsiteY0" fmla="*/ 1801 h 59093"/>
                <a:gd name="connsiteX1" fmla="*/ 72928 w 161743"/>
                <a:gd name="connsiteY1" fmla="*/ 14736 h 59093"/>
                <a:gd name="connsiteX2" fmla="*/ 38589 w 161743"/>
                <a:gd name="connsiteY2" fmla="*/ 37799 h 59093"/>
                <a:gd name="connsiteX3" fmla="*/ 1166 w 161743"/>
                <a:gd name="connsiteY3" fmla="*/ 37431 h 59093"/>
                <a:gd name="connsiteX4" fmla="*/ 3114 w 161743"/>
                <a:gd name="connsiteY4" fmla="*/ 58755 h 59093"/>
                <a:gd name="connsiteX5" fmla="*/ 42527 w 161743"/>
                <a:gd name="connsiteY5" fmla="*/ 55714 h 59093"/>
                <a:gd name="connsiteX6" fmla="*/ 76095 w 161743"/>
                <a:gd name="connsiteY6" fmla="*/ 55714 h 59093"/>
                <a:gd name="connsiteX7" fmla="*/ 76622 w 161743"/>
                <a:gd name="connsiteY7" fmla="*/ 41809 h 59093"/>
                <a:gd name="connsiteX8" fmla="*/ 84740 w 161743"/>
                <a:gd name="connsiteY8" fmla="*/ 24697 h 59093"/>
                <a:gd name="connsiteX9" fmla="*/ 111042 w 161743"/>
                <a:gd name="connsiteY9" fmla="*/ 11661 h 59093"/>
                <a:gd name="connsiteX10" fmla="*/ 130079 w 161743"/>
                <a:gd name="connsiteY10" fmla="*/ 26836 h 59093"/>
                <a:gd name="connsiteX11" fmla="*/ 148263 w 161743"/>
                <a:gd name="connsiteY11" fmla="*/ 31047 h 59093"/>
                <a:gd name="connsiteX12" fmla="*/ 158938 w 161743"/>
                <a:gd name="connsiteY12" fmla="*/ 17377 h 59093"/>
                <a:gd name="connsiteX13" fmla="*/ 139739 w 161743"/>
                <a:gd name="connsiteY13" fmla="*/ 1668 h 59093"/>
                <a:gd name="connsiteX14" fmla="*/ 139658 w 161743"/>
                <a:gd name="connsiteY14" fmla="*/ 1801 h 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743" h="59093">
                  <a:moveTo>
                    <a:pt x="139658" y="1801"/>
                  </a:moveTo>
                  <a:cubicBezTo>
                    <a:pt x="123787" y="-4248"/>
                    <a:pt x="86648" y="3305"/>
                    <a:pt x="72928" y="14736"/>
                  </a:cubicBezTo>
                  <a:cubicBezTo>
                    <a:pt x="61645" y="24128"/>
                    <a:pt x="57342" y="33988"/>
                    <a:pt x="38589" y="37799"/>
                  </a:cubicBezTo>
                  <a:cubicBezTo>
                    <a:pt x="26279" y="40299"/>
                    <a:pt x="13399" y="40172"/>
                    <a:pt x="1166" y="37431"/>
                  </a:cubicBezTo>
                  <a:cubicBezTo>
                    <a:pt x="-2406" y="44116"/>
                    <a:pt x="2952" y="52137"/>
                    <a:pt x="3114" y="58755"/>
                  </a:cubicBezTo>
                  <a:cubicBezTo>
                    <a:pt x="15697" y="55413"/>
                    <a:pt x="31527" y="52839"/>
                    <a:pt x="42527" y="55714"/>
                  </a:cubicBezTo>
                  <a:cubicBezTo>
                    <a:pt x="46910" y="56850"/>
                    <a:pt x="72360" y="57719"/>
                    <a:pt x="76095" y="55714"/>
                  </a:cubicBezTo>
                  <a:cubicBezTo>
                    <a:pt x="88799" y="49330"/>
                    <a:pt x="85958" y="44316"/>
                    <a:pt x="76622" y="41809"/>
                  </a:cubicBezTo>
                  <a:cubicBezTo>
                    <a:pt x="69235" y="39771"/>
                    <a:pt x="81615" y="29242"/>
                    <a:pt x="84740" y="24697"/>
                  </a:cubicBezTo>
                  <a:cubicBezTo>
                    <a:pt x="88799" y="18747"/>
                    <a:pt x="101828" y="12397"/>
                    <a:pt x="111042" y="11661"/>
                  </a:cubicBezTo>
                  <a:cubicBezTo>
                    <a:pt x="133204" y="9957"/>
                    <a:pt x="117212" y="22223"/>
                    <a:pt x="130079" y="26836"/>
                  </a:cubicBezTo>
                  <a:cubicBezTo>
                    <a:pt x="135952" y="28737"/>
                    <a:pt x="142045" y="30148"/>
                    <a:pt x="148263" y="31047"/>
                  </a:cubicBezTo>
                  <a:cubicBezTo>
                    <a:pt x="151713" y="26468"/>
                    <a:pt x="155123" y="21855"/>
                    <a:pt x="158938" y="17377"/>
                  </a:cubicBezTo>
                  <a:cubicBezTo>
                    <a:pt x="168436" y="6247"/>
                    <a:pt x="151145" y="6013"/>
                    <a:pt x="139739" y="1668"/>
                  </a:cubicBezTo>
                  <a:cubicBezTo>
                    <a:pt x="125776" y="-3413"/>
                    <a:pt x="149075" y="5445"/>
                    <a:pt x="139658" y="18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D00017C7-F9EC-4E95-A06D-44FCCB022267}"/>
                </a:ext>
              </a:extLst>
            </p:cNvPr>
            <p:cNvSpPr/>
            <p:nvPr/>
          </p:nvSpPr>
          <p:spPr>
            <a:xfrm>
              <a:off x="3599527" y="4986948"/>
              <a:ext cx="330749" cy="257633"/>
            </a:xfrm>
            <a:custGeom>
              <a:avLst/>
              <a:gdLst>
                <a:gd name="connsiteX0" fmla="*/ 75275 w 330749"/>
                <a:gd name="connsiteY0" fmla="*/ 244366 h 257633"/>
                <a:gd name="connsiteX1" fmla="*/ 100562 w 330749"/>
                <a:gd name="connsiteY1" fmla="*/ 236544 h 257633"/>
                <a:gd name="connsiteX2" fmla="*/ 118665 w 330749"/>
                <a:gd name="connsiteY2" fmla="*/ 240388 h 257633"/>
                <a:gd name="connsiteX3" fmla="*/ 132588 w 330749"/>
                <a:gd name="connsiteY3" fmla="*/ 235442 h 257633"/>
                <a:gd name="connsiteX4" fmla="*/ 154465 w 330749"/>
                <a:gd name="connsiteY4" fmla="*/ 239352 h 257633"/>
                <a:gd name="connsiteX5" fmla="*/ 184461 w 330749"/>
                <a:gd name="connsiteY5" fmla="*/ 243998 h 257633"/>
                <a:gd name="connsiteX6" fmla="*/ 222859 w 330749"/>
                <a:gd name="connsiteY6" fmla="*/ 250014 h 257633"/>
                <a:gd name="connsiteX7" fmla="*/ 276357 w 330749"/>
                <a:gd name="connsiteY7" fmla="*/ 233703 h 257633"/>
                <a:gd name="connsiteX8" fmla="*/ 288818 w 330749"/>
                <a:gd name="connsiteY8" fmla="*/ 256532 h 257633"/>
                <a:gd name="connsiteX9" fmla="*/ 303876 w 330749"/>
                <a:gd name="connsiteY9" fmla="*/ 250850 h 257633"/>
                <a:gd name="connsiteX10" fmla="*/ 299817 w 330749"/>
                <a:gd name="connsiteY10" fmla="*/ 230261 h 257633"/>
                <a:gd name="connsiteX11" fmla="*/ 296530 w 330749"/>
                <a:gd name="connsiteY11" fmla="*/ 209271 h 257633"/>
                <a:gd name="connsiteX12" fmla="*/ 277493 w 330749"/>
                <a:gd name="connsiteY12" fmla="*/ 195901 h 257633"/>
                <a:gd name="connsiteX13" fmla="*/ 270593 w 330749"/>
                <a:gd name="connsiteY13" fmla="*/ 180192 h 257633"/>
                <a:gd name="connsiteX14" fmla="*/ 274124 w 330749"/>
                <a:gd name="connsiteY14" fmla="*/ 169330 h 257633"/>
                <a:gd name="connsiteX15" fmla="*/ 266615 w 330749"/>
                <a:gd name="connsiteY15" fmla="*/ 160038 h 257633"/>
                <a:gd name="connsiteX16" fmla="*/ 295312 w 330749"/>
                <a:gd name="connsiteY16" fmla="*/ 150947 h 257633"/>
                <a:gd name="connsiteX17" fmla="*/ 322264 w 330749"/>
                <a:gd name="connsiteY17" fmla="*/ 127316 h 257633"/>
                <a:gd name="connsiteX18" fmla="*/ 315201 w 330749"/>
                <a:gd name="connsiteY18" fmla="*/ 109167 h 257633"/>
                <a:gd name="connsiteX19" fmla="*/ 294906 w 330749"/>
                <a:gd name="connsiteY19" fmla="*/ 96399 h 257633"/>
                <a:gd name="connsiteX20" fmla="*/ 296246 w 330749"/>
                <a:gd name="connsiteY20" fmla="*/ 74273 h 257633"/>
                <a:gd name="connsiteX21" fmla="*/ 273028 w 330749"/>
                <a:gd name="connsiteY21" fmla="*/ 74607 h 257633"/>
                <a:gd name="connsiteX22" fmla="*/ 233332 w 330749"/>
                <a:gd name="connsiteY22" fmla="*/ 82930 h 257633"/>
                <a:gd name="connsiteX23" fmla="*/ 202199 w 330749"/>
                <a:gd name="connsiteY23" fmla="*/ 80724 h 257633"/>
                <a:gd name="connsiteX24" fmla="*/ 146754 w 330749"/>
                <a:gd name="connsiteY24" fmla="*/ 82997 h 257633"/>
                <a:gd name="connsiteX25" fmla="*/ 134211 w 330749"/>
                <a:gd name="connsiteY25" fmla="*/ 71666 h 257633"/>
                <a:gd name="connsiteX26" fmla="*/ 124754 w 330749"/>
                <a:gd name="connsiteY26" fmla="*/ 67354 h 257633"/>
                <a:gd name="connsiteX27" fmla="*/ 110507 w 330749"/>
                <a:gd name="connsiteY27" fmla="*/ 69627 h 257633"/>
                <a:gd name="connsiteX28" fmla="*/ 115540 w 330749"/>
                <a:gd name="connsiteY28" fmla="*/ 58330 h 257633"/>
                <a:gd name="connsiteX29" fmla="*/ 112902 w 330749"/>
                <a:gd name="connsiteY29" fmla="*/ 48303 h 257633"/>
                <a:gd name="connsiteX30" fmla="*/ 131613 w 330749"/>
                <a:gd name="connsiteY30" fmla="*/ 19726 h 257633"/>
                <a:gd name="connsiteX31" fmla="*/ 149392 w 330749"/>
                <a:gd name="connsiteY31" fmla="*/ 774 h 257633"/>
                <a:gd name="connsiteX32" fmla="*/ 123577 w 330749"/>
                <a:gd name="connsiteY32" fmla="*/ 13008 h 257633"/>
                <a:gd name="connsiteX33" fmla="*/ 109857 w 330749"/>
                <a:gd name="connsiteY33" fmla="*/ 21096 h 257633"/>
                <a:gd name="connsiteX34" fmla="*/ 95894 w 330749"/>
                <a:gd name="connsiteY34" fmla="*/ 33563 h 257633"/>
                <a:gd name="connsiteX35" fmla="*/ 69876 w 330749"/>
                <a:gd name="connsiteY35" fmla="*/ 48871 h 257633"/>
                <a:gd name="connsiteX36" fmla="*/ 43290 w 330749"/>
                <a:gd name="connsiteY36" fmla="*/ 62241 h 257633"/>
                <a:gd name="connsiteX37" fmla="*/ 38257 w 330749"/>
                <a:gd name="connsiteY37" fmla="*/ 89347 h 257633"/>
                <a:gd name="connsiteX38" fmla="*/ 19951 w 330749"/>
                <a:gd name="connsiteY38" fmla="*/ 116487 h 257633"/>
                <a:gd name="connsiteX39" fmla="*/ 14431 w 330749"/>
                <a:gd name="connsiteY39" fmla="*/ 119228 h 257633"/>
                <a:gd name="connsiteX40" fmla="*/ 13091 w 330749"/>
                <a:gd name="connsiteY40" fmla="*/ 125444 h 257633"/>
                <a:gd name="connsiteX41" fmla="*/ -60 w 330749"/>
                <a:gd name="connsiteY41" fmla="*/ 141822 h 257633"/>
                <a:gd name="connsiteX42" fmla="*/ 16866 w 330749"/>
                <a:gd name="connsiteY42" fmla="*/ 146301 h 257633"/>
                <a:gd name="connsiteX43" fmla="*/ 22386 w 330749"/>
                <a:gd name="connsiteY43" fmla="*/ 154389 h 257633"/>
                <a:gd name="connsiteX44" fmla="*/ 26892 w 330749"/>
                <a:gd name="connsiteY44" fmla="*/ 168527 h 257633"/>
                <a:gd name="connsiteX45" fmla="*/ 39069 w 330749"/>
                <a:gd name="connsiteY45" fmla="*/ 183802 h 257633"/>
                <a:gd name="connsiteX46" fmla="*/ 44142 w 330749"/>
                <a:gd name="connsiteY46" fmla="*/ 201817 h 257633"/>
                <a:gd name="connsiteX47" fmla="*/ 23848 w 330749"/>
                <a:gd name="connsiteY47" fmla="*/ 221571 h 257633"/>
                <a:gd name="connsiteX48" fmla="*/ 16866 w 330749"/>
                <a:gd name="connsiteY48" fmla="*/ 236177 h 257633"/>
                <a:gd name="connsiteX49" fmla="*/ 41707 w 330749"/>
                <a:gd name="connsiteY49" fmla="*/ 243898 h 257633"/>
                <a:gd name="connsiteX50" fmla="*/ 75072 w 330749"/>
                <a:gd name="connsiteY50" fmla="*/ 244533 h 257633"/>
                <a:gd name="connsiteX51" fmla="*/ 75275 w 330749"/>
                <a:gd name="connsiteY51" fmla="*/ 244366 h 25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0749" h="257633">
                  <a:moveTo>
                    <a:pt x="75275" y="244366"/>
                  </a:moveTo>
                  <a:cubicBezTo>
                    <a:pt x="85747" y="244566"/>
                    <a:pt x="93337" y="236043"/>
                    <a:pt x="100562" y="236544"/>
                  </a:cubicBezTo>
                  <a:cubicBezTo>
                    <a:pt x="106756" y="237246"/>
                    <a:pt x="112828" y="238550"/>
                    <a:pt x="118665" y="240388"/>
                  </a:cubicBezTo>
                  <a:cubicBezTo>
                    <a:pt x="121953" y="241291"/>
                    <a:pt x="129016" y="236745"/>
                    <a:pt x="132588" y="235442"/>
                  </a:cubicBezTo>
                  <a:cubicBezTo>
                    <a:pt x="144562" y="231030"/>
                    <a:pt x="147849" y="234807"/>
                    <a:pt x="154465" y="239352"/>
                  </a:cubicBezTo>
                  <a:cubicBezTo>
                    <a:pt x="162299" y="244733"/>
                    <a:pt x="176628" y="237413"/>
                    <a:pt x="184461" y="243998"/>
                  </a:cubicBezTo>
                  <a:cubicBezTo>
                    <a:pt x="194203" y="252153"/>
                    <a:pt x="204513" y="256766"/>
                    <a:pt x="222859" y="250014"/>
                  </a:cubicBezTo>
                  <a:cubicBezTo>
                    <a:pt x="241206" y="243263"/>
                    <a:pt x="255737" y="233302"/>
                    <a:pt x="276357" y="233703"/>
                  </a:cubicBezTo>
                  <a:cubicBezTo>
                    <a:pt x="304445" y="234472"/>
                    <a:pt x="262921" y="255095"/>
                    <a:pt x="288818" y="256532"/>
                  </a:cubicBezTo>
                  <a:cubicBezTo>
                    <a:pt x="298275" y="257067"/>
                    <a:pt x="303065" y="259640"/>
                    <a:pt x="303876" y="250850"/>
                  </a:cubicBezTo>
                  <a:cubicBezTo>
                    <a:pt x="303949" y="243831"/>
                    <a:pt x="302578" y="236879"/>
                    <a:pt x="299817" y="230261"/>
                  </a:cubicBezTo>
                  <a:cubicBezTo>
                    <a:pt x="297577" y="223409"/>
                    <a:pt x="296469" y="216357"/>
                    <a:pt x="296530" y="209271"/>
                  </a:cubicBezTo>
                  <a:cubicBezTo>
                    <a:pt x="296773" y="201918"/>
                    <a:pt x="284921" y="199244"/>
                    <a:pt x="277493" y="195901"/>
                  </a:cubicBezTo>
                  <a:cubicBezTo>
                    <a:pt x="272582" y="193696"/>
                    <a:pt x="259999" y="184805"/>
                    <a:pt x="270593" y="180192"/>
                  </a:cubicBezTo>
                  <a:cubicBezTo>
                    <a:pt x="279726" y="176215"/>
                    <a:pt x="293607" y="166322"/>
                    <a:pt x="274124" y="169330"/>
                  </a:cubicBezTo>
                  <a:cubicBezTo>
                    <a:pt x="267265" y="170399"/>
                    <a:pt x="258903" y="163681"/>
                    <a:pt x="266615" y="160038"/>
                  </a:cubicBezTo>
                  <a:cubicBezTo>
                    <a:pt x="275817" y="156278"/>
                    <a:pt x="285424" y="153233"/>
                    <a:pt x="295312" y="150947"/>
                  </a:cubicBezTo>
                  <a:cubicBezTo>
                    <a:pt x="305297" y="148173"/>
                    <a:pt x="348728" y="131160"/>
                    <a:pt x="322264" y="127316"/>
                  </a:cubicBezTo>
                  <a:cubicBezTo>
                    <a:pt x="306515" y="125010"/>
                    <a:pt x="325429" y="113245"/>
                    <a:pt x="315201" y="109167"/>
                  </a:cubicBezTo>
                  <a:cubicBezTo>
                    <a:pt x="304972" y="105090"/>
                    <a:pt x="297504" y="105190"/>
                    <a:pt x="294906" y="96399"/>
                  </a:cubicBezTo>
                  <a:cubicBezTo>
                    <a:pt x="292645" y="89080"/>
                    <a:pt x="293112" y="81369"/>
                    <a:pt x="296246" y="74273"/>
                  </a:cubicBezTo>
                  <a:cubicBezTo>
                    <a:pt x="300670" y="64847"/>
                    <a:pt x="278751" y="72568"/>
                    <a:pt x="273028" y="74607"/>
                  </a:cubicBezTo>
                  <a:cubicBezTo>
                    <a:pt x="259593" y="79320"/>
                    <a:pt x="247619" y="84166"/>
                    <a:pt x="233332" y="82930"/>
                  </a:cubicBezTo>
                  <a:cubicBezTo>
                    <a:pt x="221926" y="81994"/>
                    <a:pt x="215188" y="76713"/>
                    <a:pt x="202199" y="80724"/>
                  </a:cubicBezTo>
                  <a:cubicBezTo>
                    <a:pt x="179875" y="87609"/>
                    <a:pt x="154222" y="102817"/>
                    <a:pt x="146754" y="82997"/>
                  </a:cubicBezTo>
                  <a:cubicBezTo>
                    <a:pt x="144480" y="77047"/>
                    <a:pt x="145049" y="72970"/>
                    <a:pt x="134211" y="71666"/>
                  </a:cubicBezTo>
                  <a:cubicBezTo>
                    <a:pt x="129503" y="71165"/>
                    <a:pt x="128732" y="67822"/>
                    <a:pt x="124754" y="67354"/>
                  </a:cubicBezTo>
                  <a:cubicBezTo>
                    <a:pt x="122318" y="67087"/>
                    <a:pt x="110913" y="71365"/>
                    <a:pt x="110507" y="69627"/>
                  </a:cubicBezTo>
                  <a:cubicBezTo>
                    <a:pt x="109654" y="66285"/>
                    <a:pt x="114566" y="61940"/>
                    <a:pt x="115540" y="58330"/>
                  </a:cubicBezTo>
                  <a:cubicBezTo>
                    <a:pt x="115710" y="54857"/>
                    <a:pt x="114801" y="51408"/>
                    <a:pt x="112902" y="48303"/>
                  </a:cubicBezTo>
                  <a:cubicBezTo>
                    <a:pt x="110304" y="41986"/>
                    <a:pt x="124429" y="25408"/>
                    <a:pt x="131613" y="19726"/>
                  </a:cubicBezTo>
                  <a:cubicBezTo>
                    <a:pt x="136119" y="16149"/>
                    <a:pt x="157916" y="3916"/>
                    <a:pt x="149392" y="774"/>
                  </a:cubicBezTo>
                  <a:cubicBezTo>
                    <a:pt x="136647" y="-3871"/>
                    <a:pt x="129868" y="7159"/>
                    <a:pt x="123577" y="13008"/>
                  </a:cubicBezTo>
                  <a:cubicBezTo>
                    <a:pt x="119518" y="16684"/>
                    <a:pt x="114728" y="18054"/>
                    <a:pt x="109857" y="21096"/>
                  </a:cubicBezTo>
                  <a:cubicBezTo>
                    <a:pt x="103850" y="24806"/>
                    <a:pt x="101455" y="29686"/>
                    <a:pt x="95894" y="33563"/>
                  </a:cubicBezTo>
                  <a:cubicBezTo>
                    <a:pt x="94108" y="34766"/>
                    <a:pt x="66183" y="48871"/>
                    <a:pt x="69876" y="48871"/>
                  </a:cubicBezTo>
                  <a:cubicBezTo>
                    <a:pt x="55995" y="48871"/>
                    <a:pt x="49582" y="53116"/>
                    <a:pt x="43290" y="62241"/>
                  </a:cubicBezTo>
                  <a:cubicBezTo>
                    <a:pt x="35822" y="73003"/>
                    <a:pt x="51408" y="78317"/>
                    <a:pt x="38257" y="89347"/>
                  </a:cubicBezTo>
                  <a:cubicBezTo>
                    <a:pt x="28191" y="97870"/>
                    <a:pt x="25836" y="107295"/>
                    <a:pt x="19951" y="116487"/>
                  </a:cubicBezTo>
                  <a:cubicBezTo>
                    <a:pt x="18904" y="118198"/>
                    <a:pt x="16757" y="119264"/>
                    <a:pt x="14431" y="119228"/>
                  </a:cubicBezTo>
                  <a:cubicBezTo>
                    <a:pt x="15015" y="121363"/>
                    <a:pt x="14532" y="123603"/>
                    <a:pt x="13091" y="125444"/>
                  </a:cubicBezTo>
                  <a:cubicBezTo>
                    <a:pt x="8184" y="130605"/>
                    <a:pt x="3784" y="136083"/>
                    <a:pt x="-60" y="141822"/>
                  </a:cubicBezTo>
                  <a:cubicBezTo>
                    <a:pt x="5582" y="142825"/>
                    <a:pt x="13010" y="143460"/>
                    <a:pt x="16866" y="146301"/>
                  </a:cubicBezTo>
                  <a:cubicBezTo>
                    <a:pt x="19870" y="148473"/>
                    <a:pt x="18977" y="152584"/>
                    <a:pt x="22386" y="154389"/>
                  </a:cubicBezTo>
                  <a:cubicBezTo>
                    <a:pt x="30504" y="158701"/>
                    <a:pt x="24457" y="162845"/>
                    <a:pt x="26892" y="168527"/>
                  </a:cubicBezTo>
                  <a:cubicBezTo>
                    <a:pt x="29429" y="174340"/>
                    <a:pt x="33601" y="179574"/>
                    <a:pt x="39069" y="183802"/>
                  </a:cubicBezTo>
                  <a:cubicBezTo>
                    <a:pt x="47512" y="190286"/>
                    <a:pt x="47187" y="191322"/>
                    <a:pt x="44142" y="201817"/>
                  </a:cubicBezTo>
                  <a:cubicBezTo>
                    <a:pt x="41058" y="212981"/>
                    <a:pt x="33792" y="213449"/>
                    <a:pt x="23848" y="221571"/>
                  </a:cubicBezTo>
                  <a:cubicBezTo>
                    <a:pt x="19789" y="224746"/>
                    <a:pt x="18571" y="232567"/>
                    <a:pt x="16866" y="236177"/>
                  </a:cubicBezTo>
                  <a:cubicBezTo>
                    <a:pt x="12239" y="246204"/>
                    <a:pt x="31560" y="244031"/>
                    <a:pt x="41707" y="243898"/>
                  </a:cubicBezTo>
                  <a:cubicBezTo>
                    <a:pt x="53641" y="243697"/>
                    <a:pt x="63382" y="244332"/>
                    <a:pt x="75072" y="244533"/>
                  </a:cubicBezTo>
                  <a:cubicBezTo>
                    <a:pt x="83839" y="244533"/>
                    <a:pt x="66710" y="244232"/>
                    <a:pt x="75275" y="24436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19ADEE11-3F9F-4127-8410-2D3440FCED68}"/>
                </a:ext>
              </a:extLst>
            </p:cNvPr>
            <p:cNvSpPr/>
            <p:nvPr/>
          </p:nvSpPr>
          <p:spPr>
            <a:xfrm>
              <a:off x="3963211" y="5301642"/>
              <a:ext cx="356333" cy="236983"/>
            </a:xfrm>
            <a:custGeom>
              <a:avLst/>
              <a:gdLst>
                <a:gd name="connsiteX0" fmla="*/ 350717 w 356333"/>
                <a:gd name="connsiteY0" fmla="*/ 79042 h 236983"/>
                <a:gd name="connsiteX1" fmla="*/ 329692 w 356333"/>
                <a:gd name="connsiteY1" fmla="*/ 66943 h 236983"/>
                <a:gd name="connsiteX2" fmla="*/ 311791 w 356333"/>
                <a:gd name="connsiteY2" fmla="*/ 62397 h 236983"/>
                <a:gd name="connsiteX3" fmla="*/ 278954 w 356333"/>
                <a:gd name="connsiteY3" fmla="*/ 66842 h 236983"/>
                <a:gd name="connsiteX4" fmla="*/ 264058 w 356333"/>
                <a:gd name="connsiteY4" fmla="*/ 52938 h 236983"/>
                <a:gd name="connsiteX5" fmla="*/ 266940 w 356333"/>
                <a:gd name="connsiteY5" fmla="*/ 46955 h 236983"/>
                <a:gd name="connsiteX6" fmla="*/ 258822 w 356333"/>
                <a:gd name="connsiteY6" fmla="*/ 41674 h 236983"/>
                <a:gd name="connsiteX7" fmla="*/ 240272 w 356333"/>
                <a:gd name="connsiteY7" fmla="*/ 30477 h 236983"/>
                <a:gd name="connsiteX8" fmla="*/ 215188 w 356333"/>
                <a:gd name="connsiteY8" fmla="*/ 35457 h 236983"/>
                <a:gd name="connsiteX9" fmla="*/ 194041 w 356333"/>
                <a:gd name="connsiteY9" fmla="*/ 32617 h 236983"/>
                <a:gd name="connsiteX10" fmla="*/ 176790 w 356333"/>
                <a:gd name="connsiteY10" fmla="*/ 30812 h 236983"/>
                <a:gd name="connsiteX11" fmla="*/ 152923 w 356333"/>
                <a:gd name="connsiteY11" fmla="*/ 34856 h 236983"/>
                <a:gd name="connsiteX12" fmla="*/ 103607 w 356333"/>
                <a:gd name="connsiteY12" fmla="*/ 12228 h 236983"/>
                <a:gd name="connsiteX13" fmla="*/ 96706 w 356333"/>
                <a:gd name="connsiteY13" fmla="*/ -239 h 236983"/>
                <a:gd name="connsiteX14" fmla="*/ 64641 w 356333"/>
                <a:gd name="connsiteY14" fmla="*/ 12596 h 236983"/>
                <a:gd name="connsiteX15" fmla="*/ 33102 w 356333"/>
                <a:gd name="connsiteY15" fmla="*/ 34956 h 236983"/>
                <a:gd name="connsiteX16" fmla="*/ -60 w 356333"/>
                <a:gd name="connsiteY16" fmla="*/ 49362 h 236983"/>
                <a:gd name="connsiteX17" fmla="*/ 28800 w 356333"/>
                <a:gd name="connsiteY17" fmla="*/ 72525 h 236983"/>
                <a:gd name="connsiteX18" fmla="*/ 35497 w 356333"/>
                <a:gd name="connsiteY18" fmla="*/ 97726 h 236983"/>
                <a:gd name="connsiteX19" fmla="*/ 35497 w 356333"/>
                <a:gd name="connsiteY19" fmla="*/ 107753 h 236983"/>
                <a:gd name="connsiteX20" fmla="*/ 38622 w 356333"/>
                <a:gd name="connsiteY20" fmla="*/ 117780 h 236983"/>
                <a:gd name="connsiteX21" fmla="*/ 39231 w 356333"/>
                <a:gd name="connsiteY21" fmla="*/ 131851 h 236983"/>
                <a:gd name="connsiteX22" fmla="*/ 48810 w 356333"/>
                <a:gd name="connsiteY22" fmla="*/ 140842 h 236983"/>
                <a:gd name="connsiteX23" fmla="*/ 56279 w 356333"/>
                <a:gd name="connsiteY23" fmla="*/ 163069 h 236983"/>
                <a:gd name="connsiteX24" fmla="*/ 69674 w 356333"/>
                <a:gd name="connsiteY24" fmla="*/ 178410 h 236983"/>
                <a:gd name="connsiteX25" fmla="*/ 81851 w 356333"/>
                <a:gd name="connsiteY25" fmla="*/ 181051 h 236983"/>
                <a:gd name="connsiteX26" fmla="*/ 82744 w 356333"/>
                <a:gd name="connsiteY26" fmla="*/ 187736 h 236983"/>
                <a:gd name="connsiteX27" fmla="*/ 83636 w 356333"/>
                <a:gd name="connsiteY27" fmla="*/ 202241 h 236983"/>
                <a:gd name="connsiteX28" fmla="*/ 101821 w 356333"/>
                <a:gd name="connsiteY28" fmla="*/ 209127 h 236983"/>
                <a:gd name="connsiteX29" fmla="*/ 117082 w 356333"/>
                <a:gd name="connsiteY29" fmla="*/ 222062 h 236983"/>
                <a:gd name="connsiteX30" fmla="*/ 126824 w 356333"/>
                <a:gd name="connsiteY30" fmla="*/ 236133 h 236983"/>
                <a:gd name="connsiteX31" fmla="*/ 158849 w 356333"/>
                <a:gd name="connsiteY31" fmla="*/ 209394 h 236983"/>
                <a:gd name="connsiteX32" fmla="*/ 204553 w 356333"/>
                <a:gd name="connsiteY32" fmla="*/ 204648 h 236983"/>
                <a:gd name="connsiteX33" fmla="*/ 221398 w 356333"/>
                <a:gd name="connsiteY33" fmla="*/ 191713 h 236983"/>
                <a:gd name="connsiteX34" fmla="*/ 254397 w 356333"/>
                <a:gd name="connsiteY34" fmla="*/ 181051 h 236983"/>
                <a:gd name="connsiteX35" fmla="*/ 250338 w 356333"/>
                <a:gd name="connsiteY35" fmla="*/ 156986 h 236983"/>
                <a:gd name="connsiteX36" fmla="*/ 284109 w 356333"/>
                <a:gd name="connsiteY36" fmla="*/ 128576 h 236983"/>
                <a:gd name="connsiteX37" fmla="*/ 313496 w 356333"/>
                <a:gd name="connsiteY37" fmla="*/ 117579 h 236983"/>
                <a:gd name="connsiteX38" fmla="*/ 343898 w 356333"/>
                <a:gd name="connsiteY38" fmla="*/ 116476 h 236983"/>
                <a:gd name="connsiteX39" fmla="*/ 350595 w 356333"/>
                <a:gd name="connsiteY39" fmla="*/ 79176 h 23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56333" h="236983">
                  <a:moveTo>
                    <a:pt x="350717" y="79042"/>
                  </a:moveTo>
                  <a:cubicBezTo>
                    <a:pt x="345197" y="73661"/>
                    <a:pt x="332330" y="73995"/>
                    <a:pt x="329692" y="66943"/>
                  </a:cubicBezTo>
                  <a:cubicBezTo>
                    <a:pt x="327297" y="60492"/>
                    <a:pt x="321574" y="59991"/>
                    <a:pt x="311791" y="62397"/>
                  </a:cubicBezTo>
                  <a:cubicBezTo>
                    <a:pt x="302010" y="64803"/>
                    <a:pt x="288493" y="70018"/>
                    <a:pt x="278954" y="66842"/>
                  </a:cubicBezTo>
                  <a:cubicBezTo>
                    <a:pt x="275139" y="65572"/>
                    <a:pt x="263733" y="55913"/>
                    <a:pt x="264058" y="52938"/>
                  </a:cubicBezTo>
                  <a:cubicBezTo>
                    <a:pt x="264302" y="50498"/>
                    <a:pt x="269740" y="49328"/>
                    <a:pt x="266940" y="46955"/>
                  </a:cubicBezTo>
                  <a:cubicBezTo>
                    <a:pt x="264139" y="44582"/>
                    <a:pt x="260892" y="43914"/>
                    <a:pt x="258822" y="41674"/>
                  </a:cubicBezTo>
                  <a:cubicBezTo>
                    <a:pt x="254235" y="36761"/>
                    <a:pt x="253343" y="29074"/>
                    <a:pt x="240272" y="30477"/>
                  </a:cubicBezTo>
                  <a:cubicBezTo>
                    <a:pt x="233250" y="31246"/>
                    <a:pt x="221723" y="37162"/>
                    <a:pt x="215188" y="35457"/>
                  </a:cubicBezTo>
                  <a:cubicBezTo>
                    <a:pt x="206583" y="33051"/>
                    <a:pt x="207070" y="29809"/>
                    <a:pt x="194041" y="32617"/>
                  </a:cubicBezTo>
                  <a:cubicBezTo>
                    <a:pt x="185639" y="34455"/>
                    <a:pt x="182838" y="28773"/>
                    <a:pt x="176790" y="30812"/>
                  </a:cubicBezTo>
                  <a:cubicBezTo>
                    <a:pt x="170742" y="32851"/>
                    <a:pt x="160270" y="33051"/>
                    <a:pt x="152923" y="34856"/>
                  </a:cubicBezTo>
                  <a:cubicBezTo>
                    <a:pt x="129138" y="40638"/>
                    <a:pt x="109086" y="24261"/>
                    <a:pt x="103607" y="12228"/>
                  </a:cubicBezTo>
                  <a:cubicBezTo>
                    <a:pt x="102470" y="9688"/>
                    <a:pt x="102551" y="-1509"/>
                    <a:pt x="96706" y="-239"/>
                  </a:cubicBezTo>
                  <a:cubicBezTo>
                    <a:pt x="85220" y="2535"/>
                    <a:pt x="74382" y="6881"/>
                    <a:pt x="64641" y="12596"/>
                  </a:cubicBezTo>
                  <a:cubicBezTo>
                    <a:pt x="53965" y="19548"/>
                    <a:pt x="42884" y="27503"/>
                    <a:pt x="33102" y="34956"/>
                  </a:cubicBezTo>
                  <a:cubicBezTo>
                    <a:pt x="20641" y="44449"/>
                    <a:pt x="17313" y="45819"/>
                    <a:pt x="-60" y="49362"/>
                  </a:cubicBezTo>
                  <a:cubicBezTo>
                    <a:pt x="5907" y="53774"/>
                    <a:pt x="34117" y="64570"/>
                    <a:pt x="28800" y="72525"/>
                  </a:cubicBezTo>
                  <a:cubicBezTo>
                    <a:pt x="22021" y="82552"/>
                    <a:pt x="29165" y="88802"/>
                    <a:pt x="35497" y="97726"/>
                  </a:cubicBezTo>
                  <a:cubicBezTo>
                    <a:pt x="37851" y="101068"/>
                    <a:pt x="36593" y="104043"/>
                    <a:pt x="35497" y="107753"/>
                  </a:cubicBezTo>
                  <a:cubicBezTo>
                    <a:pt x="33752" y="113167"/>
                    <a:pt x="39110" y="113468"/>
                    <a:pt x="38622" y="117780"/>
                  </a:cubicBezTo>
                  <a:cubicBezTo>
                    <a:pt x="38217" y="121624"/>
                    <a:pt x="32777" y="129812"/>
                    <a:pt x="39231" y="131851"/>
                  </a:cubicBezTo>
                  <a:cubicBezTo>
                    <a:pt x="47106" y="134358"/>
                    <a:pt x="51936" y="132687"/>
                    <a:pt x="48810" y="140842"/>
                  </a:cubicBezTo>
                  <a:cubicBezTo>
                    <a:pt x="44427" y="152139"/>
                    <a:pt x="34848" y="159893"/>
                    <a:pt x="56279" y="163069"/>
                  </a:cubicBezTo>
                  <a:cubicBezTo>
                    <a:pt x="66832" y="164673"/>
                    <a:pt x="60825" y="175269"/>
                    <a:pt x="69674" y="178410"/>
                  </a:cubicBezTo>
                  <a:cubicBezTo>
                    <a:pt x="73607" y="179647"/>
                    <a:pt x="77686" y="180549"/>
                    <a:pt x="81851" y="181051"/>
                  </a:cubicBezTo>
                  <a:cubicBezTo>
                    <a:pt x="87493" y="182087"/>
                    <a:pt x="82338" y="184694"/>
                    <a:pt x="82744" y="187736"/>
                  </a:cubicBezTo>
                  <a:cubicBezTo>
                    <a:pt x="83312" y="191446"/>
                    <a:pt x="81323" y="199501"/>
                    <a:pt x="83636" y="202241"/>
                  </a:cubicBezTo>
                  <a:cubicBezTo>
                    <a:pt x="87980" y="207389"/>
                    <a:pt x="96666" y="205751"/>
                    <a:pt x="101821" y="209127"/>
                  </a:cubicBezTo>
                  <a:cubicBezTo>
                    <a:pt x="106976" y="212503"/>
                    <a:pt x="111765" y="218117"/>
                    <a:pt x="117082" y="222062"/>
                  </a:cubicBezTo>
                  <a:cubicBezTo>
                    <a:pt x="122400" y="226005"/>
                    <a:pt x="121791" y="232389"/>
                    <a:pt x="126824" y="236133"/>
                  </a:cubicBezTo>
                  <a:cubicBezTo>
                    <a:pt x="133156" y="240846"/>
                    <a:pt x="156292" y="211533"/>
                    <a:pt x="158849" y="209394"/>
                  </a:cubicBezTo>
                  <a:cubicBezTo>
                    <a:pt x="163395" y="205283"/>
                    <a:pt x="198384" y="202709"/>
                    <a:pt x="204553" y="204648"/>
                  </a:cubicBezTo>
                  <a:cubicBezTo>
                    <a:pt x="224848" y="210363"/>
                    <a:pt x="208856" y="197963"/>
                    <a:pt x="221398" y="191713"/>
                  </a:cubicBezTo>
                  <a:cubicBezTo>
                    <a:pt x="228826" y="187936"/>
                    <a:pt x="253261" y="187936"/>
                    <a:pt x="254397" y="181051"/>
                  </a:cubicBezTo>
                  <a:cubicBezTo>
                    <a:pt x="255818" y="172862"/>
                    <a:pt x="254397" y="164539"/>
                    <a:pt x="250338" y="156986"/>
                  </a:cubicBezTo>
                  <a:cubicBezTo>
                    <a:pt x="242870" y="145688"/>
                    <a:pt x="271811" y="132052"/>
                    <a:pt x="284109" y="128576"/>
                  </a:cubicBezTo>
                  <a:cubicBezTo>
                    <a:pt x="294500" y="125634"/>
                    <a:pt x="302618" y="120353"/>
                    <a:pt x="313496" y="117579"/>
                  </a:cubicBezTo>
                  <a:cubicBezTo>
                    <a:pt x="326038" y="114237"/>
                    <a:pt x="332005" y="115741"/>
                    <a:pt x="343898" y="116476"/>
                  </a:cubicBezTo>
                  <a:cubicBezTo>
                    <a:pt x="362854" y="117713"/>
                    <a:pt x="355710" y="84156"/>
                    <a:pt x="350595" y="7917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A8230F7E-D48B-4B9D-89B6-E0548D05C199}"/>
                </a:ext>
              </a:extLst>
            </p:cNvPr>
            <p:cNvSpPr/>
            <p:nvPr/>
          </p:nvSpPr>
          <p:spPr>
            <a:xfrm>
              <a:off x="3602793" y="5220414"/>
              <a:ext cx="410442" cy="261113"/>
            </a:xfrm>
            <a:custGeom>
              <a:avLst/>
              <a:gdLst>
                <a:gd name="connsiteX0" fmla="*/ 402206 w 410442"/>
                <a:gd name="connsiteY0" fmla="*/ 240486 h 261113"/>
                <a:gd name="connsiteX1" fmla="*/ 402206 w 410442"/>
                <a:gd name="connsiteY1" fmla="*/ 232465 h 261113"/>
                <a:gd name="connsiteX2" fmla="*/ 410324 w 410442"/>
                <a:gd name="connsiteY2" fmla="*/ 218360 h 261113"/>
                <a:gd name="connsiteX3" fmla="*/ 397498 w 410442"/>
                <a:gd name="connsiteY3" fmla="*/ 205291 h 261113"/>
                <a:gd name="connsiteX4" fmla="*/ 395996 w 410442"/>
                <a:gd name="connsiteY4" fmla="*/ 188847 h 261113"/>
                <a:gd name="connsiteX5" fmla="*/ 390476 w 410442"/>
                <a:gd name="connsiteY5" fmla="*/ 170598 h 261113"/>
                <a:gd name="connsiteX6" fmla="*/ 389461 w 410442"/>
                <a:gd name="connsiteY6" fmla="*/ 153552 h 261113"/>
                <a:gd name="connsiteX7" fmla="*/ 368639 w 410442"/>
                <a:gd name="connsiteY7" fmla="*/ 135670 h 261113"/>
                <a:gd name="connsiteX8" fmla="*/ 353783 w 410442"/>
                <a:gd name="connsiteY8" fmla="*/ 131960 h 261113"/>
                <a:gd name="connsiteX9" fmla="*/ 333488 w 410442"/>
                <a:gd name="connsiteY9" fmla="*/ 139280 h 261113"/>
                <a:gd name="connsiteX10" fmla="*/ 321554 w 410442"/>
                <a:gd name="connsiteY10" fmla="*/ 122000 h 261113"/>
                <a:gd name="connsiteX11" fmla="*/ 307713 w 410442"/>
                <a:gd name="connsiteY11" fmla="*/ 127214 h 261113"/>
                <a:gd name="connsiteX12" fmla="*/ 273537 w 410442"/>
                <a:gd name="connsiteY12" fmla="*/ 133899 h 261113"/>
                <a:gd name="connsiteX13" fmla="*/ 251740 w 410442"/>
                <a:gd name="connsiteY13" fmla="*/ 131058 h 261113"/>
                <a:gd name="connsiteX14" fmla="*/ 243622 w 410442"/>
                <a:gd name="connsiteY14" fmla="*/ 122534 h 261113"/>
                <a:gd name="connsiteX15" fmla="*/ 222028 w 410442"/>
                <a:gd name="connsiteY15" fmla="*/ 112507 h 261113"/>
                <a:gd name="connsiteX16" fmla="*/ 222475 w 410442"/>
                <a:gd name="connsiteY16" fmla="*/ 90815 h 261113"/>
                <a:gd name="connsiteX17" fmla="*/ 227792 w 410442"/>
                <a:gd name="connsiteY17" fmla="*/ 68689 h 261113"/>
                <a:gd name="connsiteX18" fmla="*/ 252146 w 410442"/>
                <a:gd name="connsiteY18" fmla="*/ 43956 h 261113"/>
                <a:gd name="connsiteX19" fmla="*/ 275201 w 410442"/>
                <a:gd name="connsiteY19" fmla="*/ 31455 h 261113"/>
                <a:gd name="connsiteX20" fmla="*/ 296105 w 410442"/>
                <a:gd name="connsiteY20" fmla="*/ 24136 h 261113"/>
                <a:gd name="connsiteX21" fmla="*/ 276743 w 410442"/>
                <a:gd name="connsiteY21" fmla="*/ 16682 h 261113"/>
                <a:gd name="connsiteX22" fmla="*/ 278042 w 410442"/>
                <a:gd name="connsiteY22" fmla="*/ -30 h 261113"/>
                <a:gd name="connsiteX23" fmla="*/ 219837 w 410442"/>
                <a:gd name="connsiteY23" fmla="*/ 16014 h 261113"/>
                <a:gd name="connsiteX24" fmla="*/ 178151 w 410442"/>
                <a:gd name="connsiteY24" fmla="*/ 8126 h 261113"/>
                <a:gd name="connsiteX25" fmla="*/ 148804 w 410442"/>
                <a:gd name="connsiteY25" fmla="*/ 3346 h 261113"/>
                <a:gd name="connsiteX26" fmla="*/ 117226 w 410442"/>
                <a:gd name="connsiteY26" fmla="*/ 6688 h 261113"/>
                <a:gd name="connsiteX27" fmla="*/ 126399 w 410442"/>
                <a:gd name="connsiteY27" fmla="*/ 22598 h 261113"/>
                <a:gd name="connsiteX28" fmla="*/ 100909 w 410442"/>
                <a:gd name="connsiteY28" fmla="*/ 57593 h 261113"/>
                <a:gd name="connsiteX29" fmla="*/ 69939 w 410442"/>
                <a:gd name="connsiteY29" fmla="*/ 83128 h 261113"/>
                <a:gd name="connsiteX30" fmla="*/ 53703 w 410442"/>
                <a:gd name="connsiteY30" fmla="*/ 112140 h 261113"/>
                <a:gd name="connsiteX31" fmla="*/ 36980 w 410442"/>
                <a:gd name="connsiteY31" fmla="*/ 112775 h 261113"/>
                <a:gd name="connsiteX32" fmla="*/ 21961 w 410442"/>
                <a:gd name="connsiteY32" fmla="*/ 109433 h 261113"/>
                <a:gd name="connsiteX33" fmla="*/ 10150 w 410442"/>
                <a:gd name="connsiteY33" fmla="*/ 102982 h 261113"/>
                <a:gd name="connsiteX34" fmla="*/ 408 w 410442"/>
                <a:gd name="connsiteY34" fmla="*/ 123871 h 261113"/>
                <a:gd name="connsiteX35" fmla="*/ 19120 w 410442"/>
                <a:gd name="connsiteY35" fmla="*/ 142522 h 261113"/>
                <a:gd name="connsiteX36" fmla="*/ 49928 w 410442"/>
                <a:gd name="connsiteY36" fmla="*/ 150243 h 261113"/>
                <a:gd name="connsiteX37" fmla="*/ 93724 w 410442"/>
                <a:gd name="connsiteY37" fmla="*/ 165684 h 261113"/>
                <a:gd name="connsiteX38" fmla="*/ 128428 w 410442"/>
                <a:gd name="connsiteY38" fmla="*/ 188814 h 261113"/>
                <a:gd name="connsiteX39" fmla="*/ 171007 w 410442"/>
                <a:gd name="connsiteY39" fmla="*/ 211675 h 261113"/>
                <a:gd name="connsiteX40" fmla="*/ 204169 w 410442"/>
                <a:gd name="connsiteY40" fmla="*/ 232765 h 261113"/>
                <a:gd name="connsiteX41" fmla="*/ 240943 w 410442"/>
                <a:gd name="connsiteY41" fmla="*/ 244765 h 261113"/>
                <a:gd name="connsiteX42" fmla="*/ 305034 w 410442"/>
                <a:gd name="connsiteY42" fmla="*/ 246904 h 261113"/>
                <a:gd name="connsiteX43" fmla="*/ 351916 w 410442"/>
                <a:gd name="connsiteY43" fmla="*/ 251249 h 261113"/>
                <a:gd name="connsiteX44" fmla="*/ 374037 w 410442"/>
                <a:gd name="connsiteY44" fmla="*/ 257198 h 261113"/>
                <a:gd name="connsiteX45" fmla="*/ 393317 w 410442"/>
                <a:gd name="connsiteY45" fmla="*/ 260774 h 261113"/>
                <a:gd name="connsiteX46" fmla="*/ 402409 w 410442"/>
                <a:gd name="connsiteY46" fmla="*/ 240720 h 26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10442" h="261113">
                  <a:moveTo>
                    <a:pt x="402206" y="240486"/>
                  </a:moveTo>
                  <a:cubicBezTo>
                    <a:pt x="403302" y="237879"/>
                    <a:pt x="398147" y="235439"/>
                    <a:pt x="402206" y="232465"/>
                  </a:cubicBezTo>
                  <a:cubicBezTo>
                    <a:pt x="406687" y="228621"/>
                    <a:pt x="409537" y="223674"/>
                    <a:pt x="410324" y="218360"/>
                  </a:cubicBezTo>
                  <a:cubicBezTo>
                    <a:pt x="411501" y="210706"/>
                    <a:pt x="394657" y="215619"/>
                    <a:pt x="397498" y="205291"/>
                  </a:cubicBezTo>
                  <a:cubicBezTo>
                    <a:pt x="399487" y="198205"/>
                    <a:pt x="393926" y="195264"/>
                    <a:pt x="395996" y="188847"/>
                  </a:cubicBezTo>
                  <a:cubicBezTo>
                    <a:pt x="398675" y="180792"/>
                    <a:pt x="394900" y="177282"/>
                    <a:pt x="390476" y="170598"/>
                  </a:cubicBezTo>
                  <a:cubicBezTo>
                    <a:pt x="385646" y="163245"/>
                    <a:pt x="384347" y="161239"/>
                    <a:pt x="389461" y="153552"/>
                  </a:cubicBezTo>
                  <a:cubicBezTo>
                    <a:pt x="394088" y="146633"/>
                    <a:pt x="374037" y="138979"/>
                    <a:pt x="368639" y="135670"/>
                  </a:cubicBezTo>
                  <a:cubicBezTo>
                    <a:pt x="363240" y="132361"/>
                    <a:pt x="363118" y="129520"/>
                    <a:pt x="353783" y="131960"/>
                  </a:cubicBezTo>
                  <a:cubicBezTo>
                    <a:pt x="349074" y="133197"/>
                    <a:pt x="337912" y="139280"/>
                    <a:pt x="333488" y="139280"/>
                  </a:cubicBezTo>
                  <a:cubicBezTo>
                    <a:pt x="325613" y="139280"/>
                    <a:pt x="323016" y="125710"/>
                    <a:pt x="321554" y="122000"/>
                  </a:cubicBezTo>
                  <a:cubicBezTo>
                    <a:pt x="316806" y="110101"/>
                    <a:pt x="312665" y="123470"/>
                    <a:pt x="307713" y="127214"/>
                  </a:cubicBezTo>
                  <a:cubicBezTo>
                    <a:pt x="301706" y="131692"/>
                    <a:pt x="279300" y="138778"/>
                    <a:pt x="273537" y="133899"/>
                  </a:cubicBezTo>
                  <a:cubicBezTo>
                    <a:pt x="266312" y="127749"/>
                    <a:pt x="258600" y="135670"/>
                    <a:pt x="251740" y="131058"/>
                  </a:cubicBezTo>
                  <a:cubicBezTo>
                    <a:pt x="247965" y="128517"/>
                    <a:pt x="248371" y="124874"/>
                    <a:pt x="243622" y="122534"/>
                  </a:cubicBezTo>
                  <a:cubicBezTo>
                    <a:pt x="236600" y="119192"/>
                    <a:pt x="228157" y="116786"/>
                    <a:pt x="222028" y="112507"/>
                  </a:cubicBezTo>
                  <a:cubicBezTo>
                    <a:pt x="215899" y="108229"/>
                    <a:pt x="216143" y="95796"/>
                    <a:pt x="222475" y="90815"/>
                  </a:cubicBezTo>
                  <a:cubicBezTo>
                    <a:pt x="228807" y="85835"/>
                    <a:pt x="226534" y="75608"/>
                    <a:pt x="227792" y="68689"/>
                  </a:cubicBezTo>
                  <a:cubicBezTo>
                    <a:pt x="229740" y="58662"/>
                    <a:pt x="238833" y="51977"/>
                    <a:pt x="252146" y="43956"/>
                  </a:cubicBezTo>
                  <a:cubicBezTo>
                    <a:pt x="259533" y="39443"/>
                    <a:pt x="269640" y="37271"/>
                    <a:pt x="275201" y="31455"/>
                  </a:cubicBezTo>
                  <a:cubicBezTo>
                    <a:pt x="280762" y="25639"/>
                    <a:pt x="287946" y="27010"/>
                    <a:pt x="296105" y="24136"/>
                  </a:cubicBezTo>
                  <a:cubicBezTo>
                    <a:pt x="289691" y="21562"/>
                    <a:pt x="273009" y="24871"/>
                    <a:pt x="276743" y="16682"/>
                  </a:cubicBezTo>
                  <a:cubicBezTo>
                    <a:pt x="279544" y="10632"/>
                    <a:pt x="291518" y="1474"/>
                    <a:pt x="278042" y="-30"/>
                  </a:cubicBezTo>
                  <a:cubicBezTo>
                    <a:pt x="255556" y="-2336"/>
                    <a:pt x="239522" y="8794"/>
                    <a:pt x="219837" y="16014"/>
                  </a:cubicBezTo>
                  <a:cubicBezTo>
                    <a:pt x="196173" y="24737"/>
                    <a:pt x="193453" y="14209"/>
                    <a:pt x="178151" y="8126"/>
                  </a:cubicBezTo>
                  <a:cubicBezTo>
                    <a:pt x="167638" y="3948"/>
                    <a:pt x="157369" y="10098"/>
                    <a:pt x="148804" y="3346"/>
                  </a:cubicBezTo>
                  <a:cubicBezTo>
                    <a:pt x="140240" y="-3405"/>
                    <a:pt x="129606" y="806"/>
                    <a:pt x="117226" y="6688"/>
                  </a:cubicBezTo>
                  <a:cubicBezTo>
                    <a:pt x="134395" y="11301"/>
                    <a:pt x="125831" y="12972"/>
                    <a:pt x="126399" y="22598"/>
                  </a:cubicBezTo>
                  <a:cubicBezTo>
                    <a:pt x="127129" y="34731"/>
                    <a:pt x="114912" y="48167"/>
                    <a:pt x="100909" y="57593"/>
                  </a:cubicBezTo>
                  <a:cubicBezTo>
                    <a:pt x="87960" y="66316"/>
                    <a:pt x="72942" y="70962"/>
                    <a:pt x="69939" y="83128"/>
                  </a:cubicBezTo>
                  <a:cubicBezTo>
                    <a:pt x="68356" y="89579"/>
                    <a:pt x="72212" y="117254"/>
                    <a:pt x="53703" y="112140"/>
                  </a:cubicBezTo>
                  <a:cubicBezTo>
                    <a:pt x="46924" y="110268"/>
                    <a:pt x="44407" y="109232"/>
                    <a:pt x="36980" y="112775"/>
                  </a:cubicBezTo>
                  <a:cubicBezTo>
                    <a:pt x="31500" y="115382"/>
                    <a:pt x="18633" y="114947"/>
                    <a:pt x="21961" y="109433"/>
                  </a:cubicBezTo>
                  <a:cubicBezTo>
                    <a:pt x="25290" y="103918"/>
                    <a:pt x="18390" y="95595"/>
                    <a:pt x="10150" y="102982"/>
                  </a:cubicBezTo>
                  <a:cubicBezTo>
                    <a:pt x="4345" y="108196"/>
                    <a:pt x="-1824" y="118256"/>
                    <a:pt x="408" y="123871"/>
                  </a:cubicBezTo>
                  <a:cubicBezTo>
                    <a:pt x="1870" y="127514"/>
                    <a:pt x="25452" y="140182"/>
                    <a:pt x="19120" y="142522"/>
                  </a:cubicBezTo>
                  <a:cubicBezTo>
                    <a:pt x="2316" y="148739"/>
                    <a:pt x="46762" y="149875"/>
                    <a:pt x="49928" y="150243"/>
                  </a:cubicBezTo>
                  <a:cubicBezTo>
                    <a:pt x="64499" y="151613"/>
                    <a:pt x="82400" y="160270"/>
                    <a:pt x="93724" y="165684"/>
                  </a:cubicBezTo>
                  <a:cubicBezTo>
                    <a:pt x="106956" y="171834"/>
                    <a:pt x="116576" y="181527"/>
                    <a:pt x="128428" y="188814"/>
                  </a:cubicBezTo>
                  <a:cubicBezTo>
                    <a:pt x="141868" y="197336"/>
                    <a:pt x="156102" y="204991"/>
                    <a:pt x="171007" y="211675"/>
                  </a:cubicBezTo>
                  <a:cubicBezTo>
                    <a:pt x="185863" y="218093"/>
                    <a:pt x="199420" y="220833"/>
                    <a:pt x="204169" y="232765"/>
                  </a:cubicBezTo>
                  <a:cubicBezTo>
                    <a:pt x="207781" y="242057"/>
                    <a:pt x="228523" y="243060"/>
                    <a:pt x="240943" y="244765"/>
                  </a:cubicBezTo>
                  <a:cubicBezTo>
                    <a:pt x="261238" y="247572"/>
                    <a:pt x="283806" y="246269"/>
                    <a:pt x="305034" y="246904"/>
                  </a:cubicBezTo>
                  <a:cubicBezTo>
                    <a:pt x="320256" y="247338"/>
                    <a:pt x="338602" y="247071"/>
                    <a:pt x="351916" y="251249"/>
                  </a:cubicBezTo>
                  <a:cubicBezTo>
                    <a:pt x="358921" y="254057"/>
                    <a:pt x="366366" y="256062"/>
                    <a:pt x="374037" y="257198"/>
                  </a:cubicBezTo>
                  <a:cubicBezTo>
                    <a:pt x="379720" y="257733"/>
                    <a:pt x="391328" y="256396"/>
                    <a:pt x="393317" y="260774"/>
                  </a:cubicBezTo>
                  <a:cubicBezTo>
                    <a:pt x="400989" y="252485"/>
                    <a:pt x="399121" y="249143"/>
                    <a:pt x="402409" y="2407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D7964CBE-CD50-4C09-8792-5919CD9D19C3}"/>
                </a:ext>
              </a:extLst>
            </p:cNvPr>
            <p:cNvSpPr/>
            <p:nvPr/>
          </p:nvSpPr>
          <p:spPr>
            <a:xfrm>
              <a:off x="3710698" y="4942907"/>
              <a:ext cx="383698" cy="192895"/>
            </a:xfrm>
            <a:custGeom>
              <a:avLst/>
              <a:gdLst>
                <a:gd name="connsiteX0" fmla="*/ 17844 w 383698"/>
                <a:gd name="connsiteY0" fmla="*/ 66775 h 192895"/>
                <a:gd name="connsiteX1" fmla="*/ 3678 w 383698"/>
                <a:gd name="connsiteY1" fmla="*/ 84756 h 192895"/>
                <a:gd name="connsiteX2" fmla="*/ 4530 w 383698"/>
                <a:gd name="connsiteY2" fmla="*/ 102437 h 192895"/>
                <a:gd name="connsiteX3" fmla="*/ 8589 w 383698"/>
                <a:gd name="connsiteY3" fmla="*/ 112063 h 192895"/>
                <a:gd name="connsiteX4" fmla="*/ 27829 w 383698"/>
                <a:gd name="connsiteY4" fmla="*/ 116342 h 192895"/>
                <a:gd name="connsiteX5" fmla="*/ 46460 w 383698"/>
                <a:gd name="connsiteY5" fmla="*/ 137365 h 192895"/>
                <a:gd name="connsiteX6" fmla="*/ 100282 w 383698"/>
                <a:gd name="connsiteY6" fmla="*/ 123060 h 192895"/>
                <a:gd name="connsiteX7" fmla="*/ 129466 w 383698"/>
                <a:gd name="connsiteY7" fmla="*/ 127238 h 192895"/>
                <a:gd name="connsiteX8" fmla="*/ 162140 w 383698"/>
                <a:gd name="connsiteY8" fmla="*/ 118715 h 192895"/>
                <a:gd name="connsiteX9" fmla="*/ 182841 w 383698"/>
                <a:gd name="connsiteY9" fmla="*/ 129176 h 192895"/>
                <a:gd name="connsiteX10" fmla="*/ 186900 w 383698"/>
                <a:gd name="connsiteY10" fmla="*/ 146423 h 192895"/>
                <a:gd name="connsiteX11" fmla="*/ 207804 w 383698"/>
                <a:gd name="connsiteY11" fmla="*/ 155615 h 192895"/>
                <a:gd name="connsiteX12" fmla="*/ 211376 w 383698"/>
                <a:gd name="connsiteY12" fmla="*/ 171424 h 192895"/>
                <a:gd name="connsiteX13" fmla="*/ 216531 w 383698"/>
                <a:gd name="connsiteY13" fmla="*/ 180649 h 192895"/>
                <a:gd name="connsiteX14" fmla="*/ 250180 w 383698"/>
                <a:gd name="connsiteY14" fmla="*/ 192046 h 192895"/>
                <a:gd name="connsiteX15" fmla="*/ 261748 w 383698"/>
                <a:gd name="connsiteY15" fmla="*/ 190275 h 192895"/>
                <a:gd name="connsiteX16" fmla="*/ 281109 w 383698"/>
                <a:gd name="connsiteY16" fmla="*/ 183590 h 192895"/>
                <a:gd name="connsiteX17" fmla="*/ 307492 w 383698"/>
                <a:gd name="connsiteY17" fmla="*/ 163536 h 192895"/>
                <a:gd name="connsiteX18" fmla="*/ 324581 w 383698"/>
                <a:gd name="connsiteY18" fmla="*/ 143916 h 192895"/>
                <a:gd name="connsiteX19" fmla="*/ 307208 w 383698"/>
                <a:gd name="connsiteY19" fmla="*/ 147259 h 192895"/>
                <a:gd name="connsiteX20" fmla="*/ 292352 w 383698"/>
                <a:gd name="connsiteY20" fmla="*/ 133889 h 192895"/>
                <a:gd name="connsiteX21" fmla="*/ 275264 w 383698"/>
                <a:gd name="connsiteY21" fmla="*/ 126068 h 192895"/>
                <a:gd name="connsiteX22" fmla="*/ 299131 w 383698"/>
                <a:gd name="connsiteY22" fmla="*/ 120887 h 192895"/>
                <a:gd name="connsiteX23" fmla="*/ 324459 w 383698"/>
                <a:gd name="connsiteY23" fmla="*/ 121155 h 192895"/>
                <a:gd name="connsiteX24" fmla="*/ 338097 w 383698"/>
                <a:gd name="connsiteY24" fmla="*/ 108320 h 192895"/>
                <a:gd name="connsiteX25" fmla="*/ 366510 w 383698"/>
                <a:gd name="connsiteY25" fmla="*/ 96221 h 192895"/>
                <a:gd name="connsiteX26" fmla="*/ 374019 w 383698"/>
                <a:gd name="connsiteY26" fmla="*/ 76869 h 192895"/>
                <a:gd name="connsiteX27" fmla="*/ 360503 w 383698"/>
                <a:gd name="connsiteY27" fmla="*/ 65872 h 192895"/>
                <a:gd name="connsiteX28" fmla="*/ 370244 w 383698"/>
                <a:gd name="connsiteY28" fmla="*/ 52001 h 192895"/>
                <a:gd name="connsiteX29" fmla="*/ 367809 w 383698"/>
                <a:gd name="connsiteY29" fmla="*/ 40972 h 192895"/>
                <a:gd name="connsiteX30" fmla="*/ 383639 w 383698"/>
                <a:gd name="connsiteY30" fmla="*/ 18076 h 192895"/>
                <a:gd name="connsiteX31" fmla="*/ 339518 w 383698"/>
                <a:gd name="connsiteY31" fmla="*/ 26666 h 192895"/>
                <a:gd name="connsiteX32" fmla="*/ 340492 w 383698"/>
                <a:gd name="connsiteY32" fmla="*/ 8384 h 192895"/>
                <a:gd name="connsiteX33" fmla="*/ 299902 w 383698"/>
                <a:gd name="connsiteY33" fmla="*/ 12896 h 192895"/>
                <a:gd name="connsiteX34" fmla="*/ 303230 w 383698"/>
                <a:gd name="connsiteY34" fmla="*/ 730 h 192895"/>
                <a:gd name="connsiteX35" fmla="*/ 236338 w 383698"/>
                <a:gd name="connsiteY35" fmla="*/ 24561 h 192895"/>
                <a:gd name="connsiteX36" fmla="*/ 182963 w 383698"/>
                <a:gd name="connsiteY36" fmla="*/ 33852 h 192895"/>
                <a:gd name="connsiteX37" fmla="*/ 132307 w 383698"/>
                <a:gd name="connsiteY37" fmla="*/ 43879 h 192895"/>
                <a:gd name="connsiteX38" fmla="*/ 112459 w 383698"/>
                <a:gd name="connsiteY38" fmla="*/ 35858 h 192895"/>
                <a:gd name="connsiteX39" fmla="*/ 86035 w 383698"/>
                <a:gd name="connsiteY39" fmla="*/ 35557 h 192895"/>
                <a:gd name="connsiteX40" fmla="*/ 74710 w 383698"/>
                <a:gd name="connsiteY40" fmla="*/ 41740 h 192895"/>
                <a:gd name="connsiteX41" fmla="*/ 63142 w 383698"/>
                <a:gd name="connsiteY41" fmla="*/ 55110 h 192895"/>
                <a:gd name="connsiteX42" fmla="*/ 57865 w 383698"/>
                <a:gd name="connsiteY42" fmla="*/ 84589 h 192895"/>
                <a:gd name="connsiteX43" fmla="*/ 28925 w 383698"/>
                <a:gd name="connsiteY43" fmla="*/ 94015 h 192895"/>
                <a:gd name="connsiteX44" fmla="*/ 33390 w 383698"/>
                <a:gd name="connsiteY44" fmla="*/ 77971 h 192895"/>
                <a:gd name="connsiteX45" fmla="*/ 24947 w 383698"/>
                <a:gd name="connsiteY45" fmla="*/ 61494 h 192895"/>
                <a:gd name="connsiteX46" fmla="*/ 17966 w 383698"/>
                <a:gd name="connsiteY46" fmla="*/ 67176 h 192895"/>
                <a:gd name="connsiteX47" fmla="*/ 17844 w 383698"/>
                <a:gd name="connsiteY47" fmla="*/ 66775 h 1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3698" h="192895">
                  <a:moveTo>
                    <a:pt x="17844" y="66775"/>
                  </a:moveTo>
                  <a:cubicBezTo>
                    <a:pt x="14150" y="72958"/>
                    <a:pt x="7575" y="78606"/>
                    <a:pt x="3678" y="84756"/>
                  </a:cubicBezTo>
                  <a:cubicBezTo>
                    <a:pt x="-787" y="91809"/>
                    <a:pt x="6032" y="95887"/>
                    <a:pt x="4530" y="102437"/>
                  </a:cubicBezTo>
                  <a:cubicBezTo>
                    <a:pt x="3029" y="108989"/>
                    <a:pt x="-7078" y="116041"/>
                    <a:pt x="8589" y="112063"/>
                  </a:cubicBezTo>
                  <a:cubicBezTo>
                    <a:pt x="14272" y="110626"/>
                    <a:pt x="22227" y="115406"/>
                    <a:pt x="27829" y="116342"/>
                  </a:cubicBezTo>
                  <a:cubicBezTo>
                    <a:pt x="40696" y="118615"/>
                    <a:pt x="32659" y="134090"/>
                    <a:pt x="46460" y="137365"/>
                  </a:cubicBezTo>
                  <a:cubicBezTo>
                    <a:pt x="63223" y="141343"/>
                    <a:pt x="82990" y="123996"/>
                    <a:pt x="100282" y="123060"/>
                  </a:cubicBezTo>
                  <a:cubicBezTo>
                    <a:pt x="110876" y="122525"/>
                    <a:pt x="118425" y="127606"/>
                    <a:pt x="129466" y="127238"/>
                  </a:cubicBezTo>
                  <a:cubicBezTo>
                    <a:pt x="141318" y="126837"/>
                    <a:pt x="151303" y="122525"/>
                    <a:pt x="162140" y="118715"/>
                  </a:cubicBezTo>
                  <a:cubicBezTo>
                    <a:pt x="188402" y="109490"/>
                    <a:pt x="183653" y="115974"/>
                    <a:pt x="182841" y="129176"/>
                  </a:cubicBezTo>
                  <a:cubicBezTo>
                    <a:pt x="182042" y="135133"/>
                    <a:pt x="183458" y="141145"/>
                    <a:pt x="186900" y="146423"/>
                  </a:cubicBezTo>
                  <a:cubicBezTo>
                    <a:pt x="190959" y="151704"/>
                    <a:pt x="204394" y="150233"/>
                    <a:pt x="207804" y="155615"/>
                  </a:cubicBezTo>
                  <a:cubicBezTo>
                    <a:pt x="211213" y="160996"/>
                    <a:pt x="196967" y="169318"/>
                    <a:pt x="211376" y="171424"/>
                  </a:cubicBezTo>
                  <a:cubicBezTo>
                    <a:pt x="218033" y="172393"/>
                    <a:pt x="222863" y="176571"/>
                    <a:pt x="216531" y="180649"/>
                  </a:cubicBezTo>
                  <a:cubicBezTo>
                    <a:pt x="228708" y="183657"/>
                    <a:pt x="236826" y="189907"/>
                    <a:pt x="250180" y="192046"/>
                  </a:cubicBezTo>
                  <a:cubicBezTo>
                    <a:pt x="254149" y="193132"/>
                    <a:pt x="258517" y="192461"/>
                    <a:pt x="261748" y="190275"/>
                  </a:cubicBezTo>
                  <a:cubicBezTo>
                    <a:pt x="269338" y="184760"/>
                    <a:pt x="273925" y="187300"/>
                    <a:pt x="281109" y="183590"/>
                  </a:cubicBezTo>
                  <a:cubicBezTo>
                    <a:pt x="284437" y="181752"/>
                    <a:pt x="307289" y="165976"/>
                    <a:pt x="307492" y="163536"/>
                  </a:cubicBezTo>
                  <a:cubicBezTo>
                    <a:pt x="308061" y="156350"/>
                    <a:pt x="327787" y="148562"/>
                    <a:pt x="324581" y="143916"/>
                  </a:cubicBezTo>
                  <a:cubicBezTo>
                    <a:pt x="321212" y="138702"/>
                    <a:pt x="311795" y="149297"/>
                    <a:pt x="307208" y="147259"/>
                  </a:cubicBezTo>
                  <a:cubicBezTo>
                    <a:pt x="301047" y="143829"/>
                    <a:pt x="295957" y="139247"/>
                    <a:pt x="292352" y="133889"/>
                  </a:cubicBezTo>
                  <a:cubicBezTo>
                    <a:pt x="290891" y="131249"/>
                    <a:pt x="275386" y="125934"/>
                    <a:pt x="275264" y="126068"/>
                  </a:cubicBezTo>
                  <a:cubicBezTo>
                    <a:pt x="279729" y="120219"/>
                    <a:pt x="292596" y="121455"/>
                    <a:pt x="299131" y="120887"/>
                  </a:cubicBezTo>
                  <a:cubicBezTo>
                    <a:pt x="312444" y="119718"/>
                    <a:pt x="313662" y="118113"/>
                    <a:pt x="324459" y="121155"/>
                  </a:cubicBezTo>
                  <a:cubicBezTo>
                    <a:pt x="333348" y="123662"/>
                    <a:pt x="331278" y="111595"/>
                    <a:pt x="338097" y="108320"/>
                  </a:cubicBezTo>
                  <a:cubicBezTo>
                    <a:pt x="348082" y="103507"/>
                    <a:pt x="356890" y="102437"/>
                    <a:pt x="366510" y="96221"/>
                  </a:cubicBezTo>
                  <a:cubicBezTo>
                    <a:pt x="379052" y="88132"/>
                    <a:pt x="389849" y="83018"/>
                    <a:pt x="374019" y="76869"/>
                  </a:cubicBezTo>
                  <a:cubicBezTo>
                    <a:pt x="364643" y="73259"/>
                    <a:pt x="357336" y="73760"/>
                    <a:pt x="360503" y="65872"/>
                  </a:cubicBezTo>
                  <a:cubicBezTo>
                    <a:pt x="363344" y="58786"/>
                    <a:pt x="354455" y="56948"/>
                    <a:pt x="370244" y="52001"/>
                  </a:cubicBezTo>
                  <a:cubicBezTo>
                    <a:pt x="388753" y="46186"/>
                    <a:pt x="370244" y="44414"/>
                    <a:pt x="367809" y="40972"/>
                  </a:cubicBezTo>
                  <a:cubicBezTo>
                    <a:pt x="364237" y="35958"/>
                    <a:pt x="381244" y="23859"/>
                    <a:pt x="383639" y="18076"/>
                  </a:cubicBezTo>
                  <a:cubicBezTo>
                    <a:pt x="372680" y="18411"/>
                    <a:pt x="347798" y="28103"/>
                    <a:pt x="339518" y="26666"/>
                  </a:cubicBezTo>
                  <a:cubicBezTo>
                    <a:pt x="334363" y="25764"/>
                    <a:pt x="352628" y="10489"/>
                    <a:pt x="340492" y="8384"/>
                  </a:cubicBezTo>
                  <a:cubicBezTo>
                    <a:pt x="328356" y="6278"/>
                    <a:pt x="312444" y="11124"/>
                    <a:pt x="299902" y="12896"/>
                  </a:cubicBezTo>
                  <a:cubicBezTo>
                    <a:pt x="278633" y="15870"/>
                    <a:pt x="301038" y="-73"/>
                    <a:pt x="303230" y="730"/>
                  </a:cubicBezTo>
                  <a:cubicBezTo>
                    <a:pt x="286223" y="-5487"/>
                    <a:pt x="248515" y="17141"/>
                    <a:pt x="236338" y="24561"/>
                  </a:cubicBezTo>
                  <a:cubicBezTo>
                    <a:pt x="215151" y="37295"/>
                    <a:pt x="207439" y="32415"/>
                    <a:pt x="182963" y="33852"/>
                  </a:cubicBezTo>
                  <a:cubicBezTo>
                    <a:pt x="172572" y="34454"/>
                    <a:pt x="136325" y="55845"/>
                    <a:pt x="132307" y="43879"/>
                  </a:cubicBezTo>
                  <a:cubicBezTo>
                    <a:pt x="130359" y="38097"/>
                    <a:pt x="123215" y="33852"/>
                    <a:pt x="112459" y="35858"/>
                  </a:cubicBezTo>
                  <a:cubicBezTo>
                    <a:pt x="97887" y="38431"/>
                    <a:pt x="97725" y="38966"/>
                    <a:pt x="86035" y="35557"/>
                  </a:cubicBezTo>
                  <a:cubicBezTo>
                    <a:pt x="79621" y="33685"/>
                    <a:pt x="71706" y="37328"/>
                    <a:pt x="74710" y="41740"/>
                  </a:cubicBezTo>
                  <a:cubicBezTo>
                    <a:pt x="78769" y="47890"/>
                    <a:pt x="71382" y="50397"/>
                    <a:pt x="63142" y="55110"/>
                  </a:cubicBezTo>
                  <a:cubicBezTo>
                    <a:pt x="38788" y="69014"/>
                    <a:pt x="42563" y="73225"/>
                    <a:pt x="57865" y="84589"/>
                  </a:cubicBezTo>
                  <a:cubicBezTo>
                    <a:pt x="75725" y="97959"/>
                    <a:pt x="34486" y="105513"/>
                    <a:pt x="28925" y="94015"/>
                  </a:cubicBezTo>
                  <a:cubicBezTo>
                    <a:pt x="26652" y="89335"/>
                    <a:pt x="31198" y="82985"/>
                    <a:pt x="33390" y="77971"/>
                  </a:cubicBezTo>
                  <a:cubicBezTo>
                    <a:pt x="37043" y="69649"/>
                    <a:pt x="23648" y="69248"/>
                    <a:pt x="24947" y="61494"/>
                  </a:cubicBezTo>
                  <a:cubicBezTo>
                    <a:pt x="22065" y="62861"/>
                    <a:pt x="19658" y="64816"/>
                    <a:pt x="17966" y="67176"/>
                  </a:cubicBezTo>
                  <a:cubicBezTo>
                    <a:pt x="12689" y="75398"/>
                    <a:pt x="19102" y="64602"/>
                    <a:pt x="17844" y="6677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6904C4A6-6F02-481F-9298-2A8E78FCF213}"/>
                </a:ext>
              </a:extLst>
            </p:cNvPr>
            <p:cNvSpPr/>
            <p:nvPr/>
          </p:nvSpPr>
          <p:spPr>
            <a:xfrm>
              <a:off x="4173001" y="4963782"/>
              <a:ext cx="110992" cy="82837"/>
            </a:xfrm>
            <a:custGeom>
              <a:avLst/>
              <a:gdLst>
                <a:gd name="connsiteX0" fmla="*/ 14612 w 110992"/>
                <a:gd name="connsiteY0" fmla="*/ 29189 h 82837"/>
                <a:gd name="connsiteX1" fmla="*/ 4586 w 110992"/>
                <a:gd name="connsiteY1" fmla="*/ 40018 h 82837"/>
                <a:gd name="connsiteX2" fmla="*/ 162 w 110992"/>
                <a:gd name="connsiteY2" fmla="*/ 54290 h 82837"/>
                <a:gd name="connsiteX3" fmla="*/ 27844 w 110992"/>
                <a:gd name="connsiteY3" fmla="*/ 68160 h 82837"/>
                <a:gd name="connsiteX4" fmla="*/ 50696 w 110992"/>
                <a:gd name="connsiteY4" fmla="*/ 82499 h 82837"/>
                <a:gd name="connsiteX5" fmla="*/ 66932 w 110992"/>
                <a:gd name="connsiteY5" fmla="*/ 72472 h 82837"/>
                <a:gd name="connsiteX6" fmla="*/ 106426 w 110992"/>
                <a:gd name="connsiteY6" fmla="*/ 61409 h 82837"/>
                <a:gd name="connsiteX7" fmla="*/ 104234 w 110992"/>
                <a:gd name="connsiteY7" fmla="*/ 33634 h 82837"/>
                <a:gd name="connsiteX8" fmla="*/ 101190 w 110992"/>
                <a:gd name="connsiteY8" fmla="*/ 5023 h 82837"/>
                <a:gd name="connsiteX9" fmla="*/ 46678 w 110992"/>
                <a:gd name="connsiteY9" fmla="*/ 12477 h 82837"/>
                <a:gd name="connsiteX10" fmla="*/ 21309 w 110992"/>
                <a:gd name="connsiteY10" fmla="*/ 13513 h 82837"/>
                <a:gd name="connsiteX11" fmla="*/ 14734 w 110992"/>
                <a:gd name="connsiteY11" fmla="*/ 29356 h 82837"/>
                <a:gd name="connsiteX12" fmla="*/ 14612 w 110992"/>
                <a:gd name="connsiteY12" fmla="*/ 29189 h 8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992" h="82837">
                  <a:moveTo>
                    <a:pt x="14612" y="29189"/>
                  </a:moveTo>
                  <a:cubicBezTo>
                    <a:pt x="20741" y="33199"/>
                    <a:pt x="10553" y="38046"/>
                    <a:pt x="4586" y="40018"/>
                  </a:cubicBezTo>
                  <a:cubicBezTo>
                    <a:pt x="-2598" y="42424"/>
                    <a:pt x="892" y="50847"/>
                    <a:pt x="162" y="54290"/>
                  </a:cubicBezTo>
                  <a:cubicBezTo>
                    <a:pt x="-1989" y="64317"/>
                    <a:pt x="20132" y="61442"/>
                    <a:pt x="27844" y="68160"/>
                  </a:cubicBezTo>
                  <a:cubicBezTo>
                    <a:pt x="34866" y="73559"/>
                    <a:pt x="42497" y="78361"/>
                    <a:pt x="50696" y="82499"/>
                  </a:cubicBezTo>
                  <a:cubicBezTo>
                    <a:pt x="62426" y="81497"/>
                    <a:pt x="67460" y="79591"/>
                    <a:pt x="66932" y="72472"/>
                  </a:cubicBezTo>
                  <a:cubicBezTo>
                    <a:pt x="66161" y="64083"/>
                    <a:pt x="97902" y="58334"/>
                    <a:pt x="106426" y="61409"/>
                  </a:cubicBezTo>
                  <a:cubicBezTo>
                    <a:pt x="113002" y="50446"/>
                    <a:pt x="112474" y="43026"/>
                    <a:pt x="104234" y="33634"/>
                  </a:cubicBezTo>
                  <a:cubicBezTo>
                    <a:pt x="94452" y="22470"/>
                    <a:pt x="98836" y="17490"/>
                    <a:pt x="101190" y="5023"/>
                  </a:cubicBezTo>
                  <a:cubicBezTo>
                    <a:pt x="103910" y="-9616"/>
                    <a:pt x="56988" y="10104"/>
                    <a:pt x="46678" y="12477"/>
                  </a:cubicBezTo>
                  <a:cubicBezTo>
                    <a:pt x="36368" y="14850"/>
                    <a:pt x="31538" y="7664"/>
                    <a:pt x="21309" y="13513"/>
                  </a:cubicBezTo>
                  <a:cubicBezTo>
                    <a:pt x="14531" y="17390"/>
                    <a:pt x="8077" y="24977"/>
                    <a:pt x="14734" y="29356"/>
                  </a:cubicBezTo>
                  <a:cubicBezTo>
                    <a:pt x="20295" y="32765"/>
                    <a:pt x="11771" y="27183"/>
                    <a:pt x="14612" y="2918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94AD0F9C-ED5A-4DEA-B1C2-EC5E76455AB4}"/>
                </a:ext>
              </a:extLst>
            </p:cNvPr>
            <p:cNvSpPr/>
            <p:nvPr/>
          </p:nvSpPr>
          <p:spPr>
            <a:xfrm>
              <a:off x="4068620" y="4960888"/>
              <a:ext cx="155136" cy="111681"/>
            </a:xfrm>
            <a:custGeom>
              <a:avLst/>
              <a:gdLst>
                <a:gd name="connsiteX0" fmla="*/ 18411 w 155136"/>
                <a:gd name="connsiteY0" fmla="*/ 10056 h 111681"/>
                <a:gd name="connsiteX1" fmla="*/ 16950 w 155136"/>
                <a:gd name="connsiteY1" fmla="*/ 24562 h 111681"/>
                <a:gd name="connsiteX2" fmla="*/ 2500 w 155136"/>
                <a:gd name="connsiteY2" fmla="*/ 37932 h 111681"/>
                <a:gd name="connsiteX3" fmla="*/ 65 w 155136"/>
                <a:gd name="connsiteY3" fmla="*/ 52437 h 111681"/>
                <a:gd name="connsiteX4" fmla="*/ 25798 w 155136"/>
                <a:gd name="connsiteY4" fmla="*/ 62465 h 111681"/>
                <a:gd name="connsiteX5" fmla="*/ 42805 w 155136"/>
                <a:gd name="connsiteY5" fmla="*/ 59790 h 111681"/>
                <a:gd name="connsiteX6" fmla="*/ 55551 w 155136"/>
                <a:gd name="connsiteY6" fmla="*/ 67812 h 111681"/>
                <a:gd name="connsiteX7" fmla="*/ 60990 w 155136"/>
                <a:gd name="connsiteY7" fmla="*/ 77401 h 111681"/>
                <a:gd name="connsiteX8" fmla="*/ 58838 w 155136"/>
                <a:gd name="connsiteY8" fmla="*/ 80179 h 111681"/>
                <a:gd name="connsiteX9" fmla="*/ 60137 w 155136"/>
                <a:gd name="connsiteY9" fmla="*/ 96657 h 111681"/>
                <a:gd name="connsiteX10" fmla="*/ 107100 w 155136"/>
                <a:gd name="connsiteY10" fmla="*/ 105915 h 111681"/>
                <a:gd name="connsiteX11" fmla="*/ 115542 w 155136"/>
                <a:gd name="connsiteY11" fmla="*/ 102238 h 111681"/>
                <a:gd name="connsiteX12" fmla="*/ 125609 w 155136"/>
                <a:gd name="connsiteY12" fmla="*/ 95153 h 111681"/>
                <a:gd name="connsiteX13" fmla="*/ 155077 w 155136"/>
                <a:gd name="connsiteY13" fmla="*/ 85326 h 111681"/>
                <a:gd name="connsiteX14" fmla="*/ 129465 w 155136"/>
                <a:gd name="connsiteY14" fmla="*/ 69283 h 111681"/>
                <a:gd name="connsiteX15" fmla="*/ 103122 w 155136"/>
                <a:gd name="connsiteY15" fmla="*/ 60960 h 111681"/>
                <a:gd name="connsiteX16" fmla="*/ 106126 w 155136"/>
                <a:gd name="connsiteY16" fmla="*/ 44683 h 111681"/>
                <a:gd name="connsiteX17" fmla="*/ 118992 w 155136"/>
                <a:gd name="connsiteY17" fmla="*/ 37998 h 111681"/>
                <a:gd name="connsiteX18" fmla="*/ 117369 w 155136"/>
                <a:gd name="connsiteY18" fmla="*/ 25598 h 111681"/>
                <a:gd name="connsiteX19" fmla="*/ 98251 w 155136"/>
                <a:gd name="connsiteY19" fmla="*/ 15571 h 111681"/>
                <a:gd name="connsiteX20" fmla="*/ 71381 w 155136"/>
                <a:gd name="connsiteY20" fmla="*/ 10792 h 111681"/>
                <a:gd name="connsiteX21" fmla="*/ 49381 w 155136"/>
                <a:gd name="connsiteY21" fmla="*/ 2736 h 111681"/>
                <a:gd name="connsiteX22" fmla="*/ 31927 w 155136"/>
                <a:gd name="connsiteY22" fmla="*/ -238 h 111681"/>
                <a:gd name="connsiteX23" fmla="*/ 18411 w 155136"/>
                <a:gd name="connsiteY23" fmla="*/ 10090 h 11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136" h="111681">
                  <a:moveTo>
                    <a:pt x="18411" y="10056"/>
                  </a:moveTo>
                  <a:cubicBezTo>
                    <a:pt x="8345" y="16941"/>
                    <a:pt x="7574" y="21053"/>
                    <a:pt x="16950" y="24562"/>
                  </a:cubicBezTo>
                  <a:cubicBezTo>
                    <a:pt x="29127" y="29175"/>
                    <a:pt x="6478" y="34589"/>
                    <a:pt x="2500" y="37932"/>
                  </a:cubicBezTo>
                  <a:cubicBezTo>
                    <a:pt x="552" y="39636"/>
                    <a:pt x="-423" y="50666"/>
                    <a:pt x="65" y="52437"/>
                  </a:cubicBezTo>
                  <a:cubicBezTo>
                    <a:pt x="957" y="55780"/>
                    <a:pt x="21415" y="60492"/>
                    <a:pt x="25798" y="62465"/>
                  </a:cubicBezTo>
                  <a:cubicBezTo>
                    <a:pt x="28518" y="55780"/>
                    <a:pt x="39640" y="54276"/>
                    <a:pt x="42805" y="59790"/>
                  </a:cubicBezTo>
                  <a:cubicBezTo>
                    <a:pt x="45972" y="65305"/>
                    <a:pt x="47717" y="65239"/>
                    <a:pt x="55551" y="67812"/>
                  </a:cubicBezTo>
                  <a:cubicBezTo>
                    <a:pt x="60259" y="69223"/>
                    <a:pt x="62695" y="73514"/>
                    <a:pt x="60990" y="77401"/>
                  </a:cubicBezTo>
                  <a:cubicBezTo>
                    <a:pt x="60543" y="78448"/>
                    <a:pt x="59813" y="79397"/>
                    <a:pt x="58838" y="80179"/>
                  </a:cubicBezTo>
                  <a:cubicBezTo>
                    <a:pt x="53318" y="84858"/>
                    <a:pt x="57459" y="92813"/>
                    <a:pt x="60137" y="96657"/>
                  </a:cubicBezTo>
                  <a:cubicBezTo>
                    <a:pt x="64440" y="102807"/>
                    <a:pt x="96668" y="120053"/>
                    <a:pt x="107100" y="105915"/>
                  </a:cubicBezTo>
                  <a:cubicBezTo>
                    <a:pt x="109454" y="104070"/>
                    <a:pt x="112376" y="102797"/>
                    <a:pt x="115542" y="102238"/>
                  </a:cubicBezTo>
                  <a:cubicBezTo>
                    <a:pt x="122199" y="100166"/>
                    <a:pt x="120941" y="97559"/>
                    <a:pt x="125609" y="95153"/>
                  </a:cubicBezTo>
                  <a:cubicBezTo>
                    <a:pt x="135350" y="90206"/>
                    <a:pt x="142616" y="86396"/>
                    <a:pt x="155077" y="85326"/>
                  </a:cubicBezTo>
                  <a:cubicBezTo>
                    <a:pt x="146350" y="80346"/>
                    <a:pt x="138841" y="73695"/>
                    <a:pt x="129465" y="69283"/>
                  </a:cubicBezTo>
                  <a:cubicBezTo>
                    <a:pt x="123254" y="66408"/>
                    <a:pt x="106044" y="65706"/>
                    <a:pt x="103122" y="60960"/>
                  </a:cubicBezTo>
                  <a:cubicBezTo>
                    <a:pt x="101823" y="58888"/>
                    <a:pt x="104177" y="47090"/>
                    <a:pt x="106126" y="44683"/>
                  </a:cubicBezTo>
                  <a:cubicBezTo>
                    <a:pt x="108602" y="41641"/>
                    <a:pt x="115623" y="40739"/>
                    <a:pt x="118992" y="37998"/>
                  </a:cubicBezTo>
                  <a:cubicBezTo>
                    <a:pt x="123336" y="34322"/>
                    <a:pt x="116801" y="29609"/>
                    <a:pt x="117369" y="25598"/>
                  </a:cubicBezTo>
                  <a:cubicBezTo>
                    <a:pt x="118221" y="19415"/>
                    <a:pt x="106937" y="18913"/>
                    <a:pt x="98251" y="15571"/>
                  </a:cubicBezTo>
                  <a:cubicBezTo>
                    <a:pt x="89565" y="12229"/>
                    <a:pt x="76170" y="16674"/>
                    <a:pt x="71381" y="10792"/>
                  </a:cubicBezTo>
                  <a:cubicBezTo>
                    <a:pt x="65414" y="3539"/>
                    <a:pt x="63953" y="3739"/>
                    <a:pt x="49381" y="2736"/>
                  </a:cubicBezTo>
                  <a:cubicBezTo>
                    <a:pt x="43009" y="2335"/>
                    <a:pt x="38097" y="330"/>
                    <a:pt x="31927" y="-238"/>
                  </a:cubicBezTo>
                  <a:cubicBezTo>
                    <a:pt x="20481" y="-1241"/>
                    <a:pt x="25190" y="5477"/>
                    <a:pt x="18411" y="1009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25530B6A-874A-41D4-BD63-604FA58EBAC4}"/>
                </a:ext>
              </a:extLst>
            </p:cNvPr>
            <p:cNvSpPr/>
            <p:nvPr/>
          </p:nvSpPr>
          <p:spPr>
            <a:xfrm>
              <a:off x="4269021" y="4963762"/>
              <a:ext cx="85677" cy="62671"/>
            </a:xfrm>
            <a:custGeom>
              <a:avLst/>
              <a:gdLst>
                <a:gd name="connsiteX0" fmla="*/ 5088 w 85677"/>
                <a:gd name="connsiteY0" fmla="*/ 30478 h 62671"/>
                <a:gd name="connsiteX1" fmla="*/ 15682 w 85677"/>
                <a:gd name="connsiteY1" fmla="*/ 51569 h 62671"/>
                <a:gd name="connsiteX2" fmla="*/ 13896 w 85677"/>
                <a:gd name="connsiteY2" fmla="*/ 62097 h 62671"/>
                <a:gd name="connsiteX3" fmla="*/ 35693 w 85677"/>
                <a:gd name="connsiteY3" fmla="*/ 58186 h 62671"/>
                <a:gd name="connsiteX4" fmla="*/ 61954 w 85677"/>
                <a:gd name="connsiteY4" fmla="*/ 44082 h 62671"/>
                <a:gd name="connsiteX5" fmla="*/ 85618 w 85677"/>
                <a:gd name="connsiteY5" fmla="*/ 10491 h 62671"/>
                <a:gd name="connsiteX6" fmla="*/ 54202 w 85677"/>
                <a:gd name="connsiteY6" fmla="*/ 2336 h 62671"/>
                <a:gd name="connsiteX7" fmla="*/ 5697 w 85677"/>
                <a:gd name="connsiteY7" fmla="*/ 196 h 62671"/>
                <a:gd name="connsiteX8" fmla="*/ 5088 w 85677"/>
                <a:gd name="connsiteY8" fmla="*/ 30478 h 6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677" h="62671">
                  <a:moveTo>
                    <a:pt x="5088" y="30478"/>
                  </a:moveTo>
                  <a:cubicBezTo>
                    <a:pt x="10690" y="34890"/>
                    <a:pt x="18402" y="44951"/>
                    <a:pt x="15682" y="51569"/>
                  </a:cubicBezTo>
                  <a:cubicBezTo>
                    <a:pt x="14140" y="55345"/>
                    <a:pt x="6874" y="60827"/>
                    <a:pt x="13896" y="62097"/>
                  </a:cubicBezTo>
                  <a:cubicBezTo>
                    <a:pt x="21487" y="62929"/>
                    <a:pt x="29199" y="61545"/>
                    <a:pt x="35693" y="58186"/>
                  </a:cubicBezTo>
                  <a:cubicBezTo>
                    <a:pt x="47058" y="53039"/>
                    <a:pt x="60047" y="54376"/>
                    <a:pt x="61954" y="44082"/>
                  </a:cubicBezTo>
                  <a:cubicBezTo>
                    <a:pt x="64106" y="32751"/>
                    <a:pt x="75633" y="20685"/>
                    <a:pt x="85618" y="10491"/>
                  </a:cubicBezTo>
                  <a:cubicBezTo>
                    <a:pt x="74009" y="9087"/>
                    <a:pt x="64633" y="5210"/>
                    <a:pt x="54202" y="2336"/>
                  </a:cubicBezTo>
                  <a:cubicBezTo>
                    <a:pt x="38778" y="-1876"/>
                    <a:pt x="23110" y="130"/>
                    <a:pt x="5697" y="196"/>
                  </a:cubicBezTo>
                  <a:cubicBezTo>
                    <a:pt x="4398" y="10859"/>
                    <a:pt x="-6196" y="21521"/>
                    <a:pt x="5088" y="3047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703C7C41-A3A8-4ADF-A52B-8F5F53D40701}"/>
                </a:ext>
              </a:extLst>
            </p:cNvPr>
            <p:cNvSpPr/>
            <p:nvPr/>
          </p:nvSpPr>
          <p:spPr>
            <a:xfrm>
              <a:off x="3296913" y="4881421"/>
              <a:ext cx="301608" cy="72352"/>
            </a:xfrm>
            <a:custGeom>
              <a:avLst/>
              <a:gdLst>
                <a:gd name="connsiteX0" fmla="*/ 241547 w 301608"/>
                <a:gd name="connsiteY0" fmla="*/ 2153 h 72352"/>
                <a:gd name="connsiteX1" fmla="*/ 148800 w 301608"/>
                <a:gd name="connsiteY1" fmla="*/ 9172 h 72352"/>
                <a:gd name="connsiteX2" fmla="*/ 27031 w 301608"/>
                <a:gd name="connsiteY2" fmla="*/ 43231 h 72352"/>
                <a:gd name="connsiteX3" fmla="*/ 2068 w 301608"/>
                <a:gd name="connsiteY3" fmla="*/ 64756 h 72352"/>
                <a:gd name="connsiteX4" fmla="*/ 10470 w 301608"/>
                <a:gd name="connsiteY4" fmla="*/ 69268 h 72352"/>
                <a:gd name="connsiteX5" fmla="*/ 42049 w 301608"/>
                <a:gd name="connsiteY5" fmla="*/ 41994 h 72352"/>
                <a:gd name="connsiteX6" fmla="*/ 76997 w 301608"/>
                <a:gd name="connsiteY6" fmla="*/ 39621 h 72352"/>
                <a:gd name="connsiteX7" fmla="*/ 123391 w 301608"/>
                <a:gd name="connsiteY7" fmla="*/ 28491 h 72352"/>
                <a:gd name="connsiteX8" fmla="*/ 171611 w 301608"/>
                <a:gd name="connsiteY8" fmla="*/ 27255 h 72352"/>
                <a:gd name="connsiteX9" fmla="*/ 207087 w 301608"/>
                <a:gd name="connsiteY9" fmla="*/ 29360 h 72352"/>
                <a:gd name="connsiteX10" fmla="*/ 225109 w 301608"/>
                <a:gd name="connsiteY10" fmla="*/ 30898 h 72352"/>
                <a:gd name="connsiteX11" fmla="*/ 300037 w 301608"/>
                <a:gd name="connsiteY11" fmla="*/ 4727 h 72352"/>
                <a:gd name="connsiteX12" fmla="*/ 241547 w 301608"/>
                <a:gd name="connsiteY12" fmla="*/ 2153 h 7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1608" h="72352">
                  <a:moveTo>
                    <a:pt x="241547" y="2153"/>
                  </a:moveTo>
                  <a:cubicBezTo>
                    <a:pt x="215083" y="10743"/>
                    <a:pt x="175143" y="7067"/>
                    <a:pt x="148800" y="9172"/>
                  </a:cubicBezTo>
                  <a:cubicBezTo>
                    <a:pt x="105734" y="12515"/>
                    <a:pt x="62506" y="19600"/>
                    <a:pt x="27031" y="43231"/>
                  </a:cubicBezTo>
                  <a:cubicBezTo>
                    <a:pt x="17370" y="49264"/>
                    <a:pt x="8940" y="56530"/>
                    <a:pt x="2068" y="64756"/>
                  </a:cubicBezTo>
                  <a:cubicBezTo>
                    <a:pt x="-2275" y="70471"/>
                    <a:pt x="-205" y="75217"/>
                    <a:pt x="10470" y="69268"/>
                  </a:cubicBezTo>
                  <a:cubicBezTo>
                    <a:pt x="23702" y="61881"/>
                    <a:pt x="32672" y="50985"/>
                    <a:pt x="42049" y="41994"/>
                  </a:cubicBezTo>
                  <a:cubicBezTo>
                    <a:pt x="55849" y="28625"/>
                    <a:pt x="65226" y="39621"/>
                    <a:pt x="76997" y="39621"/>
                  </a:cubicBezTo>
                  <a:cubicBezTo>
                    <a:pt x="91081" y="39621"/>
                    <a:pt x="109753" y="32769"/>
                    <a:pt x="123391" y="28491"/>
                  </a:cubicBezTo>
                  <a:cubicBezTo>
                    <a:pt x="141859" y="22709"/>
                    <a:pt x="155132" y="26419"/>
                    <a:pt x="171611" y="27255"/>
                  </a:cubicBezTo>
                  <a:cubicBezTo>
                    <a:pt x="181028" y="27689"/>
                    <a:pt x="209644" y="19801"/>
                    <a:pt x="207087" y="29360"/>
                  </a:cubicBezTo>
                  <a:cubicBezTo>
                    <a:pt x="205057" y="36847"/>
                    <a:pt x="217234" y="33037"/>
                    <a:pt x="225109" y="30898"/>
                  </a:cubicBezTo>
                  <a:cubicBezTo>
                    <a:pt x="248894" y="24413"/>
                    <a:pt x="279377" y="16057"/>
                    <a:pt x="300037" y="4727"/>
                  </a:cubicBezTo>
                  <a:cubicBezTo>
                    <a:pt x="311727" y="-1757"/>
                    <a:pt x="252101" y="-1323"/>
                    <a:pt x="241547" y="215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2B60EA04-863A-4736-B341-205F48823FE8}"/>
                </a:ext>
              </a:extLst>
            </p:cNvPr>
            <p:cNvSpPr/>
            <p:nvPr/>
          </p:nvSpPr>
          <p:spPr>
            <a:xfrm>
              <a:off x="3497800" y="4937943"/>
              <a:ext cx="60606" cy="15994"/>
            </a:xfrm>
            <a:custGeom>
              <a:avLst/>
              <a:gdLst>
                <a:gd name="connsiteX0" fmla="*/ 761 w 60606"/>
                <a:gd name="connsiteY0" fmla="*/ 14919 h 15994"/>
                <a:gd name="connsiteX1" fmla="*/ 60509 w 60606"/>
                <a:gd name="connsiteY1" fmla="*/ 1716 h 15994"/>
                <a:gd name="connsiteX2" fmla="*/ 761 w 60606"/>
                <a:gd name="connsiteY2" fmla="*/ 14919 h 1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606" h="15994">
                  <a:moveTo>
                    <a:pt x="761" y="14919"/>
                  </a:moveTo>
                  <a:cubicBezTo>
                    <a:pt x="8148" y="18261"/>
                    <a:pt x="58601" y="9604"/>
                    <a:pt x="60509" y="1716"/>
                  </a:cubicBezTo>
                  <a:cubicBezTo>
                    <a:pt x="62417" y="-6171"/>
                    <a:pt x="-8413" y="10908"/>
                    <a:pt x="761" y="1491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3DEAB147-BDD8-44D8-9447-D1128ED9C6B8}"/>
                </a:ext>
              </a:extLst>
            </p:cNvPr>
            <p:cNvSpPr/>
            <p:nvPr/>
          </p:nvSpPr>
          <p:spPr>
            <a:xfrm>
              <a:off x="3817556" y="4839077"/>
              <a:ext cx="49057" cy="17601"/>
            </a:xfrm>
            <a:custGeom>
              <a:avLst/>
              <a:gdLst>
                <a:gd name="connsiteX0" fmla="*/ 2394 w 49057"/>
                <a:gd name="connsiteY0" fmla="*/ 15586 h 17601"/>
                <a:gd name="connsiteX1" fmla="*/ 48950 w 49057"/>
                <a:gd name="connsiteY1" fmla="*/ 2217 h 17601"/>
                <a:gd name="connsiteX2" fmla="*/ 2394 w 49057"/>
                <a:gd name="connsiteY2" fmla="*/ 15586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57" h="17601">
                  <a:moveTo>
                    <a:pt x="2394" y="15586"/>
                  </a:moveTo>
                  <a:cubicBezTo>
                    <a:pt x="17940" y="22271"/>
                    <a:pt x="47733" y="7130"/>
                    <a:pt x="48950" y="2217"/>
                  </a:cubicBezTo>
                  <a:cubicBezTo>
                    <a:pt x="50980" y="-6339"/>
                    <a:pt x="-13233" y="8768"/>
                    <a:pt x="2394" y="1558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41F02B27-E757-49CF-AB18-1B64E67B6916}"/>
                </a:ext>
              </a:extLst>
            </p:cNvPr>
            <p:cNvSpPr/>
            <p:nvPr/>
          </p:nvSpPr>
          <p:spPr>
            <a:xfrm>
              <a:off x="4479378" y="6018872"/>
              <a:ext cx="66502" cy="29425"/>
            </a:xfrm>
            <a:custGeom>
              <a:avLst/>
              <a:gdLst>
                <a:gd name="connsiteX0" fmla="*/ 65709 w 66502"/>
                <a:gd name="connsiteY0" fmla="*/ 1339 h 29425"/>
                <a:gd name="connsiteX1" fmla="*/ 34008 w 66502"/>
                <a:gd name="connsiteY1" fmla="*/ 22830 h 29425"/>
                <a:gd name="connsiteX2" fmla="*/ 65709 w 66502"/>
                <a:gd name="connsiteY2" fmla="*/ 1339 h 29425"/>
                <a:gd name="connsiteX3" fmla="*/ 22399 w 66502"/>
                <a:gd name="connsiteY3" fmla="*/ 3645 h 29425"/>
                <a:gd name="connsiteX4" fmla="*/ 4093 w 66502"/>
                <a:gd name="connsiteY4" fmla="*/ 29047 h 29425"/>
                <a:gd name="connsiteX5" fmla="*/ 22319 w 66502"/>
                <a:gd name="connsiteY5" fmla="*/ 3545 h 2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502" h="29425">
                  <a:moveTo>
                    <a:pt x="65709" y="1339"/>
                  </a:moveTo>
                  <a:cubicBezTo>
                    <a:pt x="53532" y="-7585"/>
                    <a:pt x="25119" y="21961"/>
                    <a:pt x="34008" y="22830"/>
                  </a:cubicBezTo>
                  <a:cubicBezTo>
                    <a:pt x="42897" y="23699"/>
                    <a:pt x="71351" y="5617"/>
                    <a:pt x="65709" y="1339"/>
                  </a:cubicBezTo>
                  <a:close/>
                  <a:moveTo>
                    <a:pt x="22399" y="3645"/>
                  </a:moveTo>
                  <a:cubicBezTo>
                    <a:pt x="10953" y="4982"/>
                    <a:pt x="-8651" y="27844"/>
                    <a:pt x="4093" y="29047"/>
                  </a:cubicBezTo>
                  <a:cubicBezTo>
                    <a:pt x="17366" y="30284"/>
                    <a:pt x="33643" y="2308"/>
                    <a:pt x="22319" y="354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2FDF91CD-DD6A-4EA1-BC5D-F4E839D1C880}"/>
                </a:ext>
              </a:extLst>
            </p:cNvPr>
            <p:cNvSpPr/>
            <p:nvPr/>
          </p:nvSpPr>
          <p:spPr>
            <a:xfrm>
              <a:off x="4477877" y="6017699"/>
              <a:ext cx="69441" cy="31711"/>
            </a:xfrm>
            <a:custGeom>
              <a:avLst/>
              <a:gdLst>
                <a:gd name="connsiteX0" fmla="*/ 39933 w 69441"/>
                <a:gd name="connsiteY0" fmla="*/ 24571 h 31711"/>
                <a:gd name="connsiteX1" fmla="*/ 39933 w 69441"/>
                <a:gd name="connsiteY1" fmla="*/ 24571 h 31711"/>
                <a:gd name="connsiteX2" fmla="*/ 35143 w 69441"/>
                <a:gd name="connsiteY2" fmla="*/ 25139 h 31711"/>
                <a:gd name="connsiteX3" fmla="*/ 32262 w 69441"/>
                <a:gd name="connsiteY3" fmla="*/ 22565 h 31711"/>
                <a:gd name="connsiteX4" fmla="*/ 57589 w 69441"/>
                <a:gd name="connsiteY4" fmla="*/ 272 h 31711"/>
                <a:gd name="connsiteX5" fmla="*/ 68224 w 69441"/>
                <a:gd name="connsiteY5" fmla="*/ 1676 h 31711"/>
                <a:gd name="connsiteX6" fmla="*/ 69117 w 69441"/>
                <a:gd name="connsiteY6" fmla="*/ 5219 h 31711"/>
                <a:gd name="connsiteX7" fmla="*/ 39933 w 69441"/>
                <a:gd name="connsiteY7" fmla="*/ 24571 h 31711"/>
                <a:gd name="connsiteX8" fmla="*/ 58360 w 69441"/>
                <a:gd name="connsiteY8" fmla="*/ 2378 h 31711"/>
                <a:gd name="connsiteX9" fmla="*/ 35224 w 69441"/>
                <a:gd name="connsiteY9" fmla="*/ 22432 h 31711"/>
                <a:gd name="connsiteX10" fmla="*/ 35712 w 69441"/>
                <a:gd name="connsiteY10" fmla="*/ 23000 h 31711"/>
                <a:gd name="connsiteX11" fmla="*/ 39121 w 69441"/>
                <a:gd name="connsiteY11" fmla="*/ 22565 h 31711"/>
                <a:gd name="connsiteX12" fmla="*/ 66235 w 69441"/>
                <a:gd name="connsiteY12" fmla="*/ 4851 h 31711"/>
                <a:gd name="connsiteX13" fmla="*/ 66235 w 69441"/>
                <a:gd name="connsiteY13" fmla="*/ 3414 h 31711"/>
                <a:gd name="connsiteX14" fmla="*/ 58360 w 69441"/>
                <a:gd name="connsiteY14" fmla="*/ 2378 h 31711"/>
                <a:gd name="connsiteX15" fmla="*/ 9653 w 69441"/>
                <a:gd name="connsiteY15" fmla="*/ 30921 h 31711"/>
                <a:gd name="connsiteX16" fmla="*/ 9653 w 69441"/>
                <a:gd name="connsiteY16" fmla="*/ 30921 h 31711"/>
                <a:gd name="connsiteX17" fmla="*/ 5310 w 69441"/>
                <a:gd name="connsiteY17" fmla="*/ 31322 h 31711"/>
                <a:gd name="connsiteX18" fmla="*/ -48 w 69441"/>
                <a:gd name="connsiteY18" fmla="*/ 26877 h 31711"/>
                <a:gd name="connsiteX19" fmla="*/ 23697 w 69441"/>
                <a:gd name="connsiteY19" fmla="*/ 3714 h 31711"/>
                <a:gd name="connsiteX20" fmla="*/ 28933 w 69441"/>
                <a:gd name="connsiteY20" fmla="*/ 6255 h 31711"/>
                <a:gd name="connsiteX21" fmla="*/ 29014 w 69441"/>
                <a:gd name="connsiteY21" fmla="*/ 6556 h 31711"/>
                <a:gd name="connsiteX22" fmla="*/ 9613 w 69441"/>
                <a:gd name="connsiteY22" fmla="*/ 30921 h 31711"/>
                <a:gd name="connsiteX23" fmla="*/ 22764 w 69441"/>
                <a:gd name="connsiteY23" fmla="*/ 6155 h 31711"/>
                <a:gd name="connsiteX24" fmla="*/ 2915 w 69441"/>
                <a:gd name="connsiteY24" fmla="*/ 26643 h 31711"/>
                <a:gd name="connsiteX25" fmla="*/ 5554 w 69441"/>
                <a:gd name="connsiteY25" fmla="*/ 29083 h 31711"/>
                <a:gd name="connsiteX26" fmla="*/ 5838 w 69441"/>
                <a:gd name="connsiteY26" fmla="*/ 29083 h 31711"/>
                <a:gd name="connsiteX27" fmla="*/ 8841 w 69441"/>
                <a:gd name="connsiteY27" fmla="*/ 28815 h 31711"/>
                <a:gd name="connsiteX28" fmla="*/ 8841 w 69441"/>
                <a:gd name="connsiteY28" fmla="*/ 28815 h 31711"/>
                <a:gd name="connsiteX29" fmla="*/ 26051 w 69441"/>
                <a:gd name="connsiteY29" fmla="*/ 7124 h 31711"/>
                <a:gd name="connsiteX30" fmla="*/ 23981 w 69441"/>
                <a:gd name="connsiteY30" fmla="*/ 5920 h 3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9441" h="31711">
                  <a:moveTo>
                    <a:pt x="39933" y="24571"/>
                  </a:moveTo>
                  <a:lnTo>
                    <a:pt x="39933" y="24571"/>
                  </a:lnTo>
                  <a:cubicBezTo>
                    <a:pt x="38391" y="25005"/>
                    <a:pt x="36767" y="25206"/>
                    <a:pt x="35143" y="25139"/>
                  </a:cubicBezTo>
                  <a:cubicBezTo>
                    <a:pt x="33520" y="25039"/>
                    <a:pt x="32221" y="23902"/>
                    <a:pt x="32262" y="22565"/>
                  </a:cubicBezTo>
                  <a:cubicBezTo>
                    <a:pt x="31937" y="17418"/>
                    <a:pt x="45778" y="3247"/>
                    <a:pt x="57589" y="272"/>
                  </a:cubicBezTo>
                  <a:cubicBezTo>
                    <a:pt x="61161" y="-898"/>
                    <a:pt x="65261" y="-363"/>
                    <a:pt x="68224" y="1676"/>
                  </a:cubicBezTo>
                  <a:cubicBezTo>
                    <a:pt x="69320" y="2611"/>
                    <a:pt x="69685" y="3982"/>
                    <a:pt x="69117" y="5219"/>
                  </a:cubicBezTo>
                  <a:cubicBezTo>
                    <a:pt x="66885" y="11402"/>
                    <a:pt x="49553" y="22097"/>
                    <a:pt x="39933" y="24571"/>
                  </a:cubicBezTo>
                  <a:close/>
                  <a:moveTo>
                    <a:pt x="58360" y="2378"/>
                  </a:moveTo>
                  <a:cubicBezTo>
                    <a:pt x="47483" y="5152"/>
                    <a:pt x="34981" y="18421"/>
                    <a:pt x="35224" y="22432"/>
                  </a:cubicBezTo>
                  <a:cubicBezTo>
                    <a:pt x="35224" y="22966"/>
                    <a:pt x="35468" y="22966"/>
                    <a:pt x="35712" y="23000"/>
                  </a:cubicBezTo>
                  <a:cubicBezTo>
                    <a:pt x="36889" y="23067"/>
                    <a:pt x="38025" y="22899"/>
                    <a:pt x="39121" y="22565"/>
                  </a:cubicBezTo>
                  <a:cubicBezTo>
                    <a:pt x="48457" y="20159"/>
                    <a:pt x="64449" y="9764"/>
                    <a:pt x="66235" y="4851"/>
                  </a:cubicBezTo>
                  <a:cubicBezTo>
                    <a:pt x="66641" y="3848"/>
                    <a:pt x="66235" y="3514"/>
                    <a:pt x="66235" y="3414"/>
                  </a:cubicBezTo>
                  <a:cubicBezTo>
                    <a:pt x="64084" y="1843"/>
                    <a:pt x="60999" y="1442"/>
                    <a:pt x="58360" y="2378"/>
                  </a:cubicBezTo>
                  <a:close/>
                  <a:moveTo>
                    <a:pt x="9653" y="30921"/>
                  </a:moveTo>
                  <a:lnTo>
                    <a:pt x="9653" y="30921"/>
                  </a:lnTo>
                  <a:cubicBezTo>
                    <a:pt x="8273" y="31322"/>
                    <a:pt x="6771" y="31456"/>
                    <a:pt x="5310" y="31322"/>
                  </a:cubicBezTo>
                  <a:cubicBezTo>
                    <a:pt x="2347" y="31289"/>
                    <a:pt x="-48" y="29317"/>
                    <a:pt x="-48" y="26877"/>
                  </a:cubicBezTo>
                  <a:cubicBezTo>
                    <a:pt x="-535" y="19524"/>
                    <a:pt x="14159" y="4851"/>
                    <a:pt x="23697" y="3714"/>
                  </a:cubicBezTo>
                  <a:cubicBezTo>
                    <a:pt x="26011" y="3213"/>
                    <a:pt x="28324" y="4350"/>
                    <a:pt x="28933" y="6255"/>
                  </a:cubicBezTo>
                  <a:cubicBezTo>
                    <a:pt x="28974" y="6355"/>
                    <a:pt x="28974" y="6455"/>
                    <a:pt x="29014" y="6556"/>
                  </a:cubicBezTo>
                  <a:cubicBezTo>
                    <a:pt x="30435" y="12572"/>
                    <a:pt x="20368" y="28114"/>
                    <a:pt x="9613" y="30921"/>
                  </a:cubicBezTo>
                  <a:close/>
                  <a:moveTo>
                    <a:pt x="22764" y="6155"/>
                  </a:moveTo>
                  <a:cubicBezTo>
                    <a:pt x="14646" y="8260"/>
                    <a:pt x="2469" y="20727"/>
                    <a:pt x="2915" y="26643"/>
                  </a:cubicBezTo>
                  <a:cubicBezTo>
                    <a:pt x="2834" y="27913"/>
                    <a:pt x="4011" y="29016"/>
                    <a:pt x="5554" y="29083"/>
                  </a:cubicBezTo>
                  <a:cubicBezTo>
                    <a:pt x="5634" y="29083"/>
                    <a:pt x="5756" y="29083"/>
                    <a:pt x="5838" y="29083"/>
                  </a:cubicBezTo>
                  <a:cubicBezTo>
                    <a:pt x="6852" y="29183"/>
                    <a:pt x="7867" y="29083"/>
                    <a:pt x="8841" y="28815"/>
                  </a:cubicBezTo>
                  <a:lnTo>
                    <a:pt x="8841" y="28815"/>
                  </a:lnTo>
                  <a:cubicBezTo>
                    <a:pt x="17731" y="26476"/>
                    <a:pt x="27310" y="12104"/>
                    <a:pt x="26051" y="7124"/>
                  </a:cubicBezTo>
                  <a:cubicBezTo>
                    <a:pt x="25767" y="5954"/>
                    <a:pt x="25036" y="5787"/>
                    <a:pt x="23981" y="59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AAC69F71-431B-4972-9854-61C109FF001A}"/>
                </a:ext>
              </a:extLst>
            </p:cNvPr>
            <p:cNvSpPr/>
            <p:nvPr/>
          </p:nvSpPr>
          <p:spPr>
            <a:xfrm>
              <a:off x="3302124" y="5366450"/>
              <a:ext cx="3207" cy="12801"/>
            </a:xfrm>
            <a:custGeom>
              <a:avLst/>
              <a:gdLst>
                <a:gd name="connsiteX0" fmla="*/ 2092 w 3207"/>
                <a:gd name="connsiteY0" fmla="*/ 4207 h 12801"/>
                <a:gd name="connsiteX1" fmla="*/ 3148 w 3207"/>
                <a:gd name="connsiteY1" fmla="*/ -339 h 12801"/>
                <a:gd name="connsiteX2" fmla="*/ 2377 w 3207"/>
                <a:gd name="connsiteY2" fmla="*/ 12462 h 12801"/>
                <a:gd name="connsiteX3" fmla="*/ 2092 w 3207"/>
                <a:gd name="connsiteY3" fmla="*/ 4207 h 12801"/>
                <a:gd name="connsiteX4" fmla="*/ 2092 w 3207"/>
                <a:gd name="connsiteY4" fmla="*/ 4207 h 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7" h="12801">
                  <a:moveTo>
                    <a:pt x="2092" y="4207"/>
                  </a:moveTo>
                  <a:cubicBezTo>
                    <a:pt x="2417" y="2669"/>
                    <a:pt x="2783" y="1165"/>
                    <a:pt x="3148" y="-339"/>
                  </a:cubicBezTo>
                  <a:cubicBezTo>
                    <a:pt x="-818" y="3204"/>
                    <a:pt x="-1143" y="8586"/>
                    <a:pt x="2377" y="12462"/>
                  </a:cubicBezTo>
                  <a:cubicBezTo>
                    <a:pt x="2377" y="9722"/>
                    <a:pt x="2133" y="6947"/>
                    <a:pt x="2092" y="4207"/>
                  </a:cubicBezTo>
                  <a:cubicBezTo>
                    <a:pt x="2052" y="2669"/>
                    <a:pt x="2133" y="7014"/>
                    <a:pt x="2092" y="42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46AF3EDD-1EF9-44C9-A8C6-362865BDBC79}"/>
                </a:ext>
              </a:extLst>
            </p:cNvPr>
            <p:cNvSpPr/>
            <p:nvPr/>
          </p:nvSpPr>
          <p:spPr>
            <a:xfrm>
              <a:off x="3300339" y="5362172"/>
              <a:ext cx="7712" cy="21357"/>
            </a:xfrm>
            <a:custGeom>
              <a:avLst/>
              <a:gdLst>
                <a:gd name="connsiteX0" fmla="*/ 6151 w 7712"/>
                <a:gd name="connsiteY0" fmla="*/ 21019 h 21357"/>
                <a:gd name="connsiteX1" fmla="*/ 2620 w 7712"/>
                <a:gd name="connsiteY1" fmla="*/ 17677 h 21357"/>
                <a:gd name="connsiteX2" fmla="*/ 3594 w 7712"/>
                <a:gd name="connsiteY2" fmla="*/ 3539 h 21357"/>
                <a:gd name="connsiteX3" fmla="*/ 7653 w 7712"/>
                <a:gd name="connsiteY3" fmla="*/ -339 h 21357"/>
                <a:gd name="connsiteX4" fmla="*/ 5542 w 7712"/>
                <a:gd name="connsiteY4" fmla="*/ 8351 h 21357"/>
                <a:gd name="connsiteX5" fmla="*/ 5826 w 7712"/>
                <a:gd name="connsiteY5" fmla="*/ 16507 h 2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2" h="21357">
                  <a:moveTo>
                    <a:pt x="6151" y="21019"/>
                  </a:moveTo>
                  <a:lnTo>
                    <a:pt x="2620" y="17677"/>
                  </a:lnTo>
                  <a:cubicBezTo>
                    <a:pt x="-1293" y="13398"/>
                    <a:pt x="-879" y="7416"/>
                    <a:pt x="3594" y="3539"/>
                  </a:cubicBezTo>
                  <a:lnTo>
                    <a:pt x="7653" y="-339"/>
                  </a:lnTo>
                  <a:cubicBezTo>
                    <a:pt x="6963" y="2569"/>
                    <a:pt x="6273" y="5444"/>
                    <a:pt x="5542" y="8351"/>
                  </a:cubicBezTo>
                  <a:cubicBezTo>
                    <a:pt x="5542" y="11092"/>
                    <a:pt x="5542" y="13799"/>
                    <a:pt x="5826" y="165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C4C68EB5-A081-4437-B977-9FE9216A1DEC}"/>
                </a:ext>
              </a:extLst>
            </p:cNvPr>
            <p:cNvSpPr/>
            <p:nvPr/>
          </p:nvSpPr>
          <p:spPr>
            <a:xfrm>
              <a:off x="3584468" y="5223670"/>
              <a:ext cx="146201" cy="111827"/>
            </a:xfrm>
            <a:custGeom>
              <a:avLst/>
              <a:gdLst>
                <a:gd name="connsiteX0" fmla="*/ 133724 w 146201"/>
                <a:gd name="connsiteY0" fmla="*/ 3667 h 111827"/>
                <a:gd name="connsiteX1" fmla="*/ 110507 w 146201"/>
                <a:gd name="connsiteY1" fmla="*/ 1026 h 111827"/>
                <a:gd name="connsiteX2" fmla="*/ 84367 w 146201"/>
                <a:gd name="connsiteY2" fmla="*/ 7042 h 111827"/>
                <a:gd name="connsiteX3" fmla="*/ 32169 w 146201"/>
                <a:gd name="connsiteY3" fmla="*/ 5772 h 111827"/>
                <a:gd name="connsiteX4" fmla="*/ 17840 w 146201"/>
                <a:gd name="connsiteY4" fmla="*/ 19710 h 111827"/>
                <a:gd name="connsiteX5" fmla="*/ 14877 w 146201"/>
                <a:gd name="connsiteY5" fmla="*/ 34216 h 111827"/>
                <a:gd name="connsiteX6" fmla="*/ 8058 w 146201"/>
                <a:gd name="connsiteY6" fmla="*/ 51161 h 111827"/>
                <a:gd name="connsiteX7" fmla="*/ -60 w 146201"/>
                <a:gd name="connsiteY7" fmla="*/ 65834 h 111827"/>
                <a:gd name="connsiteX8" fmla="*/ 4933 w 146201"/>
                <a:gd name="connsiteY8" fmla="*/ 71249 h 111827"/>
                <a:gd name="connsiteX9" fmla="*/ 8505 w 146201"/>
                <a:gd name="connsiteY9" fmla="*/ 82279 h 111827"/>
                <a:gd name="connsiteX10" fmla="*/ 32534 w 146201"/>
                <a:gd name="connsiteY10" fmla="*/ 85321 h 111827"/>
                <a:gd name="connsiteX11" fmla="*/ 43453 w 146201"/>
                <a:gd name="connsiteY11" fmla="*/ 84551 h 111827"/>
                <a:gd name="connsiteX12" fmla="*/ 32615 w 146201"/>
                <a:gd name="connsiteY12" fmla="*/ 97219 h 111827"/>
                <a:gd name="connsiteX13" fmla="*/ 40733 w 146201"/>
                <a:gd name="connsiteY13" fmla="*/ 110355 h 111827"/>
                <a:gd name="connsiteX14" fmla="*/ 67360 w 146201"/>
                <a:gd name="connsiteY14" fmla="*/ 108149 h 111827"/>
                <a:gd name="connsiteX15" fmla="*/ 91024 w 146201"/>
                <a:gd name="connsiteY15" fmla="*/ 73388 h 111827"/>
                <a:gd name="connsiteX16" fmla="*/ 114079 w 146201"/>
                <a:gd name="connsiteY16" fmla="*/ 58214 h 111827"/>
                <a:gd name="connsiteX17" fmla="*/ 140016 w 146201"/>
                <a:gd name="connsiteY17" fmla="*/ 34283 h 111827"/>
                <a:gd name="connsiteX18" fmla="*/ 144602 w 146201"/>
                <a:gd name="connsiteY18" fmla="*/ 17002 h 111827"/>
                <a:gd name="connsiteX19" fmla="*/ 133846 w 146201"/>
                <a:gd name="connsiteY19" fmla="*/ 3633 h 1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201" h="111827">
                  <a:moveTo>
                    <a:pt x="133724" y="3667"/>
                  </a:moveTo>
                  <a:cubicBezTo>
                    <a:pt x="131857" y="3165"/>
                    <a:pt x="112902" y="-3018"/>
                    <a:pt x="110507" y="1026"/>
                  </a:cubicBezTo>
                  <a:cubicBezTo>
                    <a:pt x="106813" y="7310"/>
                    <a:pt x="90740" y="8145"/>
                    <a:pt x="84367" y="7042"/>
                  </a:cubicBezTo>
                  <a:cubicBezTo>
                    <a:pt x="68131" y="4235"/>
                    <a:pt x="49338" y="8045"/>
                    <a:pt x="32169" y="5772"/>
                  </a:cubicBezTo>
                  <a:cubicBezTo>
                    <a:pt x="34442" y="12256"/>
                    <a:pt x="27623" y="15799"/>
                    <a:pt x="17840" y="19710"/>
                  </a:cubicBezTo>
                  <a:cubicBezTo>
                    <a:pt x="8058" y="23620"/>
                    <a:pt x="12767" y="30038"/>
                    <a:pt x="14877" y="34216"/>
                  </a:cubicBezTo>
                  <a:cubicBezTo>
                    <a:pt x="17394" y="39263"/>
                    <a:pt x="6516" y="45245"/>
                    <a:pt x="8058" y="51161"/>
                  </a:cubicBezTo>
                  <a:cubicBezTo>
                    <a:pt x="9601" y="57077"/>
                    <a:pt x="-60" y="59885"/>
                    <a:pt x="-60" y="65834"/>
                  </a:cubicBezTo>
                  <a:cubicBezTo>
                    <a:pt x="78" y="68308"/>
                    <a:pt x="2063" y="70480"/>
                    <a:pt x="4933" y="71249"/>
                  </a:cubicBezTo>
                  <a:cubicBezTo>
                    <a:pt x="11224" y="73656"/>
                    <a:pt x="8383" y="77934"/>
                    <a:pt x="8505" y="82279"/>
                  </a:cubicBezTo>
                  <a:cubicBezTo>
                    <a:pt x="8505" y="85086"/>
                    <a:pt x="29206" y="85822"/>
                    <a:pt x="32534" y="85321"/>
                  </a:cubicBezTo>
                  <a:cubicBezTo>
                    <a:pt x="37242" y="84652"/>
                    <a:pt x="40652" y="78903"/>
                    <a:pt x="43453" y="84551"/>
                  </a:cubicBezTo>
                  <a:cubicBezTo>
                    <a:pt x="46253" y="90200"/>
                    <a:pt x="39069" y="93910"/>
                    <a:pt x="32615" y="97219"/>
                  </a:cubicBezTo>
                  <a:cubicBezTo>
                    <a:pt x="46456" y="100227"/>
                    <a:pt x="34036" y="107614"/>
                    <a:pt x="40733" y="110355"/>
                  </a:cubicBezTo>
                  <a:cubicBezTo>
                    <a:pt x="50962" y="114666"/>
                    <a:pt x="58471" y="105074"/>
                    <a:pt x="67360" y="108149"/>
                  </a:cubicBezTo>
                  <a:cubicBezTo>
                    <a:pt x="93419" y="117206"/>
                    <a:pt x="84611" y="83449"/>
                    <a:pt x="91024" y="73388"/>
                  </a:cubicBezTo>
                  <a:cubicBezTo>
                    <a:pt x="95083" y="67104"/>
                    <a:pt x="106651" y="62793"/>
                    <a:pt x="114079" y="58214"/>
                  </a:cubicBezTo>
                  <a:cubicBezTo>
                    <a:pt x="125200" y="51529"/>
                    <a:pt x="135064" y="43407"/>
                    <a:pt x="140016" y="34283"/>
                  </a:cubicBezTo>
                  <a:cubicBezTo>
                    <a:pt x="143506" y="27899"/>
                    <a:pt x="143182" y="23086"/>
                    <a:pt x="144602" y="17002"/>
                  </a:cubicBezTo>
                  <a:cubicBezTo>
                    <a:pt x="146794" y="7677"/>
                    <a:pt x="148905" y="7677"/>
                    <a:pt x="133846" y="363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ED5C9DF4-9DDD-43BA-A452-E7078FFD1242}"/>
                </a:ext>
              </a:extLst>
            </p:cNvPr>
            <p:cNvSpPr/>
            <p:nvPr/>
          </p:nvSpPr>
          <p:spPr>
            <a:xfrm>
              <a:off x="3050770" y="2997195"/>
              <a:ext cx="2198713" cy="859897"/>
            </a:xfrm>
            <a:custGeom>
              <a:avLst/>
              <a:gdLst>
                <a:gd name="connsiteX0" fmla="*/ 2069799 w 2198713"/>
                <a:gd name="connsiteY0" fmla="*/ 13389 h 859897"/>
                <a:gd name="connsiteX1" fmla="*/ 1995479 w 2198713"/>
                <a:gd name="connsiteY1" fmla="*/ 36785 h 859897"/>
                <a:gd name="connsiteX2" fmla="*/ 1924406 w 2198713"/>
                <a:gd name="connsiteY2" fmla="*/ 45509 h 859897"/>
                <a:gd name="connsiteX3" fmla="*/ 1901148 w 2198713"/>
                <a:gd name="connsiteY3" fmla="*/ 44874 h 859897"/>
                <a:gd name="connsiteX4" fmla="*/ 1870828 w 2198713"/>
                <a:gd name="connsiteY4" fmla="*/ 50790 h 859897"/>
                <a:gd name="connsiteX5" fmla="*/ 1773412 w 2198713"/>
                <a:gd name="connsiteY5" fmla="*/ 94942 h 859897"/>
                <a:gd name="connsiteX6" fmla="*/ 1771180 w 2198713"/>
                <a:gd name="connsiteY6" fmla="*/ 85216 h 859897"/>
                <a:gd name="connsiteX7" fmla="*/ 1821876 w 2198713"/>
                <a:gd name="connsiteY7" fmla="*/ 41431 h 859897"/>
                <a:gd name="connsiteX8" fmla="*/ 1753361 w 2198713"/>
                <a:gd name="connsiteY8" fmla="*/ 49419 h 859897"/>
                <a:gd name="connsiteX9" fmla="*/ 1695277 w 2198713"/>
                <a:gd name="connsiteY9" fmla="*/ 70175 h 859897"/>
                <a:gd name="connsiteX10" fmla="*/ 1628953 w 2198713"/>
                <a:gd name="connsiteY10" fmla="*/ 89427 h 859897"/>
                <a:gd name="connsiteX11" fmla="*/ 1658178 w 2198713"/>
                <a:gd name="connsiteY11" fmla="*/ 72248 h 859897"/>
                <a:gd name="connsiteX12" fmla="*/ 1693613 w 2198713"/>
                <a:gd name="connsiteY12" fmla="*/ 56071 h 859897"/>
                <a:gd name="connsiteX13" fmla="*/ 1611905 w 2198713"/>
                <a:gd name="connsiteY13" fmla="*/ 64026 h 859897"/>
                <a:gd name="connsiteX14" fmla="*/ 1520578 w 2198713"/>
                <a:gd name="connsiteY14" fmla="*/ 80904 h 859897"/>
                <a:gd name="connsiteX15" fmla="*/ 1423691 w 2198713"/>
                <a:gd name="connsiteY15" fmla="*/ 104301 h 859897"/>
                <a:gd name="connsiteX16" fmla="*/ 1452875 w 2198713"/>
                <a:gd name="connsiteY16" fmla="*/ 89929 h 859897"/>
                <a:gd name="connsiteX17" fmla="*/ 1556987 w 2198713"/>
                <a:gd name="connsiteY17" fmla="*/ 65429 h 859897"/>
                <a:gd name="connsiteX18" fmla="*/ 1668853 w 2198713"/>
                <a:gd name="connsiteY18" fmla="*/ 48717 h 859897"/>
                <a:gd name="connsiteX19" fmla="*/ 1779216 w 2198713"/>
                <a:gd name="connsiteY19" fmla="*/ 24552 h 859897"/>
                <a:gd name="connsiteX20" fmla="*/ 1827153 w 2198713"/>
                <a:gd name="connsiteY20" fmla="*/ 6169 h 859897"/>
                <a:gd name="connsiteX21" fmla="*/ 1721133 w 2198713"/>
                <a:gd name="connsiteY21" fmla="*/ 10046 h 859897"/>
                <a:gd name="connsiteX22" fmla="*/ 1700432 w 2198713"/>
                <a:gd name="connsiteY22" fmla="*/ 2660 h 859897"/>
                <a:gd name="connsiteX23" fmla="*/ 1663901 w 2198713"/>
                <a:gd name="connsiteY23" fmla="*/ 888 h 859897"/>
                <a:gd name="connsiteX24" fmla="*/ 1593924 w 2198713"/>
                <a:gd name="connsiteY24" fmla="*/ 5802 h 859897"/>
                <a:gd name="connsiteX25" fmla="*/ 1515870 w 2198713"/>
                <a:gd name="connsiteY25" fmla="*/ 8877 h 859897"/>
                <a:gd name="connsiteX26" fmla="*/ 1391381 w 2198713"/>
                <a:gd name="connsiteY26" fmla="*/ 27326 h 859897"/>
                <a:gd name="connsiteX27" fmla="*/ 1294656 w 2198713"/>
                <a:gd name="connsiteY27" fmla="*/ 43737 h 859897"/>
                <a:gd name="connsiteX28" fmla="*/ 1250007 w 2198713"/>
                <a:gd name="connsiteY28" fmla="*/ 54767 h 859897"/>
                <a:gd name="connsiteX29" fmla="*/ 1193182 w 2198713"/>
                <a:gd name="connsiteY29" fmla="*/ 69641 h 859897"/>
                <a:gd name="connsiteX30" fmla="*/ 1199230 w 2198713"/>
                <a:gd name="connsiteY30" fmla="*/ 80370 h 859897"/>
                <a:gd name="connsiteX31" fmla="*/ 1175850 w 2198713"/>
                <a:gd name="connsiteY31" fmla="*/ 87054 h 859897"/>
                <a:gd name="connsiteX32" fmla="*/ 1162212 w 2198713"/>
                <a:gd name="connsiteY32" fmla="*/ 80670 h 859897"/>
                <a:gd name="connsiteX33" fmla="*/ 1115696 w 2198713"/>
                <a:gd name="connsiteY33" fmla="*/ 87355 h 859897"/>
                <a:gd name="connsiteX34" fmla="*/ 1043933 w 2198713"/>
                <a:gd name="connsiteY34" fmla="*/ 100992 h 859897"/>
                <a:gd name="connsiteX35" fmla="*/ 984266 w 2198713"/>
                <a:gd name="connsiteY35" fmla="*/ 117704 h 859897"/>
                <a:gd name="connsiteX36" fmla="*/ 897729 w 2198713"/>
                <a:gd name="connsiteY36" fmla="*/ 137357 h 859897"/>
                <a:gd name="connsiteX37" fmla="*/ 919606 w 2198713"/>
                <a:gd name="connsiteY37" fmla="*/ 144743 h 859897"/>
                <a:gd name="connsiteX38" fmla="*/ 900164 w 2198713"/>
                <a:gd name="connsiteY38" fmla="*/ 156375 h 859897"/>
                <a:gd name="connsiteX39" fmla="*/ 878611 w 2198713"/>
                <a:gd name="connsiteY39" fmla="*/ 171482 h 859897"/>
                <a:gd name="connsiteX40" fmla="*/ 975052 w 2198713"/>
                <a:gd name="connsiteY40" fmla="*/ 178167 h 859897"/>
                <a:gd name="connsiteX41" fmla="*/ 960562 w 2198713"/>
                <a:gd name="connsiteY41" fmla="*/ 183281 h 859897"/>
                <a:gd name="connsiteX42" fmla="*/ 901382 w 2198713"/>
                <a:gd name="connsiteY42" fmla="*/ 182345 h 859897"/>
                <a:gd name="connsiteX43" fmla="*/ 847884 w 2198713"/>
                <a:gd name="connsiteY43" fmla="*/ 187091 h 859897"/>
                <a:gd name="connsiteX44" fmla="*/ 811800 w 2198713"/>
                <a:gd name="connsiteY44" fmla="*/ 184651 h 859897"/>
                <a:gd name="connsiteX45" fmla="*/ 729484 w 2198713"/>
                <a:gd name="connsiteY45" fmla="*/ 199625 h 859897"/>
                <a:gd name="connsiteX46" fmla="*/ 776852 w 2198713"/>
                <a:gd name="connsiteY46" fmla="*/ 208215 h 859897"/>
                <a:gd name="connsiteX47" fmla="*/ 735938 w 2198713"/>
                <a:gd name="connsiteY47" fmla="*/ 222119 h 859897"/>
                <a:gd name="connsiteX48" fmla="*/ 671684 w 2198713"/>
                <a:gd name="connsiteY48" fmla="*/ 220648 h 859897"/>
                <a:gd name="connsiteX49" fmla="*/ 660482 w 2198713"/>
                <a:gd name="connsiteY49" fmla="*/ 253136 h 859897"/>
                <a:gd name="connsiteX50" fmla="*/ 638604 w 2198713"/>
                <a:gd name="connsiteY50" fmla="*/ 265369 h 859897"/>
                <a:gd name="connsiteX51" fmla="*/ 640024 w 2198713"/>
                <a:gd name="connsiteY51" fmla="*/ 252501 h 859897"/>
                <a:gd name="connsiteX52" fmla="*/ 581778 w 2198713"/>
                <a:gd name="connsiteY52" fmla="*/ 238664 h 859897"/>
                <a:gd name="connsiteX53" fmla="*/ 488421 w 2198713"/>
                <a:gd name="connsiteY53" fmla="*/ 270149 h 859897"/>
                <a:gd name="connsiteX54" fmla="*/ 447832 w 2198713"/>
                <a:gd name="connsiteY54" fmla="*/ 286092 h 859897"/>
                <a:gd name="connsiteX55" fmla="*/ 466341 w 2198713"/>
                <a:gd name="connsiteY55" fmla="*/ 294882 h 859897"/>
                <a:gd name="connsiteX56" fmla="*/ 424980 w 2198713"/>
                <a:gd name="connsiteY56" fmla="*/ 299428 h 859897"/>
                <a:gd name="connsiteX57" fmla="*/ 385648 w 2198713"/>
                <a:gd name="connsiteY57" fmla="*/ 308887 h 859897"/>
                <a:gd name="connsiteX58" fmla="*/ 355449 w 2198713"/>
                <a:gd name="connsiteY58" fmla="*/ 321187 h 859897"/>
                <a:gd name="connsiteX59" fmla="*/ 370914 w 2198713"/>
                <a:gd name="connsiteY59" fmla="*/ 330044 h 859897"/>
                <a:gd name="connsiteX60" fmla="*/ 372375 w 2198713"/>
                <a:gd name="connsiteY60" fmla="*/ 348828 h 859897"/>
                <a:gd name="connsiteX61" fmla="*/ 330608 w 2198713"/>
                <a:gd name="connsiteY61" fmla="*/ 355145 h 859897"/>
                <a:gd name="connsiteX62" fmla="*/ 263432 w 2198713"/>
                <a:gd name="connsiteY62" fmla="*/ 378541 h 859897"/>
                <a:gd name="connsiteX63" fmla="*/ 196743 w 2198713"/>
                <a:gd name="connsiteY63" fmla="*/ 414973 h 859897"/>
                <a:gd name="connsiteX64" fmla="*/ 157128 w 2198713"/>
                <a:gd name="connsiteY64" fmla="*/ 444152 h 859897"/>
                <a:gd name="connsiteX65" fmla="*/ 246425 w 2198713"/>
                <a:gd name="connsiteY65" fmla="*/ 451873 h 859897"/>
                <a:gd name="connsiteX66" fmla="*/ 179858 w 2198713"/>
                <a:gd name="connsiteY66" fmla="*/ 483759 h 859897"/>
                <a:gd name="connsiteX67" fmla="*/ 123438 w 2198713"/>
                <a:gd name="connsiteY67" fmla="*/ 506921 h 859897"/>
                <a:gd name="connsiteX68" fmla="*/ 77653 w 2198713"/>
                <a:gd name="connsiteY68" fmla="*/ 528948 h 859897"/>
                <a:gd name="connsiteX69" fmla="*/ 8650 w 2198713"/>
                <a:gd name="connsiteY69" fmla="*/ 560065 h 859897"/>
                <a:gd name="connsiteX70" fmla="*/ 34060 w 2198713"/>
                <a:gd name="connsiteY70" fmla="*/ 573769 h 859897"/>
                <a:gd name="connsiteX71" fmla="*/ 87192 w 2198713"/>
                <a:gd name="connsiteY71" fmla="*/ 565613 h 859897"/>
                <a:gd name="connsiteX72" fmla="*/ 141298 w 2198713"/>
                <a:gd name="connsiteY72" fmla="*/ 557458 h 859897"/>
                <a:gd name="connsiteX73" fmla="*/ 238713 w 2198713"/>
                <a:gd name="connsiteY73" fmla="*/ 529750 h 859897"/>
                <a:gd name="connsiteX74" fmla="*/ 190777 w 2198713"/>
                <a:gd name="connsiteY74" fmla="*/ 551241 h 859897"/>
                <a:gd name="connsiteX75" fmla="*/ 123520 w 2198713"/>
                <a:gd name="connsiteY75" fmla="*/ 575941 h 859897"/>
                <a:gd name="connsiteX76" fmla="*/ 70753 w 2198713"/>
                <a:gd name="connsiteY76" fmla="*/ 599338 h 859897"/>
                <a:gd name="connsiteX77" fmla="*/ 146615 w 2198713"/>
                <a:gd name="connsiteY77" fmla="*/ 590113 h 859897"/>
                <a:gd name="connsiteX78" fmla="*/ 148239 w 2198713"/>
                <a:gd name="connsiteY78" fmla="*/ 601410 h 859897"/>
                <a:gd name="connsiteX79" fmla="*/ 202629 w 2198713"/>
                <a:gd name="connsiteY79" fmla="*/ 595962 h 859897"/>
                <a:gd name="connsiteX80" fmla="*/ 244152 w 2198713"/>
                <a:gd name="connsiteY80" fmla="*/ 588642 h 859897"/>
                <a:gd name="connsiteX81" fmla="*/ 240743 w 2198713"/>
                <a:gd name="connsiteY81" fmla="*/ 581957 h 859897"/>
                <a:gd name="connsiteX82" fmla="*/ 266233 w 2198713"/>
                <a:gd name="connsiteY82" fmla="*/ 573067 h 859897"/>
                <a:gd name="connsiteX83" fmla="*/ 297447 w 2198713"/>
                <a:gd name="connsiteY83" fmla="*/ 565914 h 859897"/>
                <a:gd name="connsiteX84" fmla="*/ 337103 w 2198713"/>
                <a:gd name="connsiteY84" fmla="*/ 551709 h 859897"/>
                <a:gd name="connsiteX85" fmla="*/ 365516 w 2198713"/>
                <a:gd name="connsiteY85" fmla="*/ 539977 h 859897"/>
                <a:gd name="connsiteX86" fmla="*/ 453068 w 2198713"/>
                <a:gd name="connsiteY86" fmla="*/ 526942 h 859897"/>
                <a:gd name="connsiteX87" fmla="*/ 538672 w 2198713"/>
                <a:gd name="connsiteY87" fmla="*/ 521193 h 859897"/>
                <a:gd name="connsiteX88" fmla="*/ 555354 w 2198713"/>
                <a:gd name="connsiteY88" fmla="*/ 533293 h 859897"/>
                <a:gd name="connsiteX89" fmla="*/ 612586 w 2198713"/>
                <a:gd name="connsiteY89" fmla="*/ 535632 h 859897"/>
                <a:gd name="connsiteX90" fmla="*/ 655773 w 2198713"/>
                <a:gd name="connsiteY90" fmla="*/ 559965 h 859897"/>
                <a:gd name="connsiteX91" fmla="*/ 677245 w 2198713"/>
                <a:gd name="connsiteY91" fmla="*/ 566148 h 859897"/>
                <a:gd name="connsiteX92" fmla="*/ 704846 w 2198713"/>
                <a:gd name="connsiteY92" fmla="*/ 579952 h 859897"/>
                <a:gd name="connsiteX93" fmla="*/ 695023 w 2198713"/>
                <a:gd name="connsiteY93" fmla="*/ 593322 h 859897"/>
                <a:gd name="connsiteX94" fmla="*/ 693481 w 2198713"/>
                <a:gd name="connsiteY94" fmla="*/ 604752 h 859897"/>
                <a:gd name="connsiteX95" fmla="*/ 696160 w 2198713"/>
                <a:gd name="connsiteY95" fmla="*/ 619559 h 859897"/>
                <a:gd name="connsiteX96" fmla="*/ 734396 w 2198713"/>
                <a:gd name="connsiteY96" fmla="*/ 615983 h 859897"/>
                <a:gd name="connsiteX97" fmla="*/ 776040 w 2198713"/>
                <a:gd name="connsiteY97" fmla="*/ 601978 h 859897"/>
                <a:gd name="connsiteX98" fmla="*/ 853445 w 2198713"/>
                <a:gd name="connsiteY98" fmla="*/ 612005 h 859897"/>
                <a:gd name="connsiteX99" fmla="*/ 858438 w 2198713"/>
                <a:gd name="connsiteY99" fmla="*/ 622367 h 859897"/>
                <a:gd name="connsiteX100" fmla="*/ 817280 w 2198713"/>
                <a:gd name="connsiteY100" fmla="*/ 622968 h 859897"/>
                <a:gd name="connsiteX101" fmla="*/ 748034 w 2198713"/>
                <a:gd name="connsiteY101" fmla="*/ 640014 h 859897"/>
                <a:gd name="connsiteX102" fmla="*/ 802180 w 2198713"/>
                <a:gd name="connsiteY102" fmla="*/ 642989 h 859897"/>
                <a:gd name="connsiteX103" fmla="*/ 837453 w 2198713"/>
                <a:gd name="connsiteY103" fmla="*/ 641184 h 859897"/>
                <a:gd name="connsiteX104" fmla="*/ 870452 w 2198713"/>
                <a:gd name="connsiteY104" fmla="*/ 637374 h 859897"/>
                <a:gd name="connsiteX105" fmla="*/ 884415 w 2198713"/>
                <a:gd name="connsiteY105" fmla="*/ 648972 h 859897"/>
                <a:gd name="connsiteX106" fmla="*/ 884415 w 2198713"/>
                <a:gd name="connsiteY106" fmla="*/ 670463 h 859897"/>
                <a:gd name="connsiteX107" fmla="*/ 817767 w 2198713"/>
                <a:gd name="connsiteY107" fmla="*/ 698405 h 859897"/>
                <a:gd name="connsiteX108" fmla="*/ 804981 w 2198713"/>
                <a:gd name="connsiteY108" fmla="*/ 720732 h 859897"/>
                <a:gd name="connsiteX109" fmla="*/ 806645 w 2198713"/>
                <a:gd name="connsiteY109" fmla="*/ 739550 h 859897"/>
                <a:gd name="connsiteX110" fmla="*/ 839117 w 2198713"/>
                <a:gd name="connsiteY110" fmla="*/ 740151 h 859897"/>
                <a:gd name="connsiteX111" fmla="*/ 818457 w 2198713"/>
                <a:gd name="connsiteY111" fmla="*/ 755092 h 859897"/>
                <a:gd name="connsiteX112" fmla="*/ 865866 w 2198713"/>
                <a:gd name="connsiteY112" fmla="*/ 772739 h 859897"/>
                <a:gd name="connsiteX113" fmla="*/ 897647 w 2198713"/>
                <a:gd name="connsiteY113" fmla="*/ 800882 h 859897"/>
                <a:gd name="connsiteX114" fmla="*/ 913356 w 2198713"/>
                <a:gd name="connsiteY114" fmla="*/ 810307 h 859897"/>
                <a:gd name="connsiteX115" fmla="*/ 933163 w 2198713"/>
                <a:gd name="connsiteY115" fmla="*/ 818262 h 859897"/>
                <a:gd name="connsiteX116" fmla="*/ 959466 w 2198713"/>
                <a:gd name="connsiteY116" fmla="*/ 820635 h 859897"/>
                <a:gd name="connsiteX117" fmla="*/ 961698 w 2198713"/>
                <a:gd name="connsiteY117" fmla="*/ 829526 h 859897"/>
                <a:gd name="connsiteX118" fmla="*/ 979273 w 2198713"/>
                <a:gd name="connsiteY118" fmla="*/ 839854 h 859897"/>
                <a:gd name="connsiteX119" fmla="*/ 1013288 w 2198713"/>
                <a:gd name="connsiteY119" fmla="*/ 847809 h 859897"/>
                <a:gd name="connsiteX120" fmla="*/ 1041700 w 2198713"/>
                <a:gd name="connsiteY120" fmla="*/ 858671 h 859897"/>
                <a:gd name="connsiteX121" fmla="*/ 1081073 w 2198713"/>
                <a:gd name="connsiteY121" fmla="*/ 854627 h 859897"/>
                <a:gd name="connsiteX122" fmla="*/ 1093655 w 2198713"/>
                <a:gd name="connsiteY122" fmla="*/ 856098 h 859897"/>
                <a:gd name="connsiteX123" fmla="*/ 1119024 w 2198713"/>
                <a:gd name="connsiteY123" fmla="*/ 852454 h 859897"/>
                <a:gd name="connsiteX124" fmla="*/ 1151821 w 2198713"/>
                <a:gd name="connsiteY124" fmla="*/ 857067 h 859897"/>
                <a:gd name="connsiteX125" fmla="*/ 1191396 w 2198713"/>
                <a:gd name="connsiteY125" fmla="*/ 856365 h 859897"/>
                <a:gd name="connsiteX126" fmla="*/ 1217211 w 2198713"/>
                <a:gd name="connsiteY126" fmla="*/ 849079 h 859897"/>
                <a:gd name="connsiteX127" fmla="*/ 1232391 w 2198713"/>
                <a:gd name="connsiteY127" fmla="*/ 831164 h 859897"/>
                <a:gd name="connsiteX128" fmla="*/ 1233406 w 2198713"/>
                <a:gd name="connsiteY128" fmla="*/ 813416 h 859897"/>
                <a:gd name="connsiteX129" fmla="*/ 1241524 w 2198713"/>
                <a:gd name="connsiteY129" fmla="*/ 802720 h 859897"/>
                <a:gd name="connsiteX130" fmla="*/ 1234542 w 2198713"/>
                <a:gd name="connsiteY130" fmla="*/ 785841 h 859897"/>
                <a:gd name="connsiteX131" fmla="*/ 1222812 w 2198713"/>
                <a:gd name="connsiteY131" fmla="*/ 776483 h 859897"/>
                <a:gd name="connsiteX132" fmla="*/ 1253701 w 2198713"/>
                <a:gd name="connsiteY132" fmla="*/ 767458 h 859897"/>
                <a:gd name="connsiteX133" fmla="*/ 1261535 w 2198713"/>
                <a:gd name="connsiteY133" fmla="*/ 756094 h 859897"/>
                <a:gd name="connsiteX134" fmla="*/ 1277324 w 2198713"/>
                <a:gd name="connsiteY134" fmla="*/ 729823 h 859897"/>
                <a:gd name="connsiteX135" fmla="*/ 1283818 w 2198713"/>
                <a:gd name="connsiteY135" fmla="*/ 716821 h 859897"/>
                <a:gd name="connsiteX136" fmla="*/ 1280896 w 2198713"/>
                <a:gd name="connsiteY136" fmla="*/ 706393 h 859897"/>
                <a:gd name="connsiteX137" fmla="*/ 1264214 w 2198713"/>
                <a:gd name="connsiteY137" fmla="*/ 699341 h 859897"/>
                <a:gd name="connsiteX138" fmla="*/ 1298066 w 2198713"/>
                <a:gd name="connsiteY138" fmla="*/ 695999 h 859897"/>
                <a:gd name="connsiteX139" fmla="*/ 1297660 w 2198713"/>
                <a:gd name="connsiteY139" fmla="*/ 683030 h 859897"/>
                <a:gd name="connsiteX140" fmla="*/ 1339629 w 2198713"/>
                <a:gd name="connsiteY140" fmla="*/ 670296 h 859897"/>
                <a:gd name="connsiteX141" fmla="*/ 1361629 w 2198713"/>
                <a:gd name="connsiteY141" fmla="*/ 647735 h 859897"/>
                <a:gd name="connsiteX142" fmla="*/ 1364754 w 2198713"/>
                <a:gd name="connsiteY142" fmla="*/ 660235 h 859897"/>
                <a:gd name="connsiteX143" fmla="*/ 1383345 w 2198713"/>
                <a:gd name="connsiteY143" fmla="*/ 656091 h 859897"/>
                <a:gd name="connsiteX144" fmla="*/ 1472358 w 2198713"/>
                <a:gd name="connsiteY144" fmla="*/ 628015 h 859897"/>
                <a:gd name="connsiteX145" fmla="*/ 1501948 w 2198713"/>
                <a:gd name="connsiteY145" fmla="*/ 606223 h 859897"/>
                <a:gd name="connsiteX146" fmla="*/ 1516195 w 2198713"/>
                <a:gd name="connsiteY146" fmla="*/ 588475 h 859897"/>
                <a:gd name="connsiteX147" fmla="*/ 1543593 w 2198713"/>
                <a:gd name="connsiteY147" fmla="*/ 567385 h 859897"/>
                <a:gd name="connsiteX148" fmla="*/ 1591123 w 2198713"/>
                <a:gd name="connsiteY148" fmla="*/ 558394 h 859897"/>
                <a:gd name="connsiteX149" fmla="*/ 1602204 w 2198713"/>
                <a:gd name="connsiteY149" fmla="*/ 551341 h 859897"/>
                <a:gd name="connsiteX150" fmla="*/ 1635691 w 2198713"/>
                <a:gd name="connsiteY150" fmla="*/ 543487 h 859897"/>
                <a:gd name="connsiteX151" fmla="*/ 1699417 w 2198713"/>
                <a:gd name="connsiteY151" fmla="*/ 529182 h 859897"/>
                <a:gd name="connsiteX152" fmla="*/ 1773250 w 2198713"/>
                <a:gd name="connsiteY152" fmla="*/ 508024 h 859897"/>
                <a:gd name="connsiteX153" fmla="*/ 1838883 w 2198713"/>
                <a:gd name="connsiteY153" fmla="*/ 480617 h 859897"/>
                <a:gd name="connsiteX154" fmla="*/ 1896967 w 2198713"/>
                <a:gd name="connsiteY154" fmla="*/ 454413 h 859897"/>
                <a:gd name="connsiteX155" fmla="*/ 1857068 w 2198713"/>
                <a:gd name="connsiteY155" fmla="*/ 463270 h 859897"/>
                <a:gd name="connsiteX156" fmla="*/ 1802718 w 2198713"/>
                <a:gd name="connsiteY156" fmla="*/ 464574 h 859897"/>
                <a:gd name="connsiteX157" fmla="*/ 1748531 w 2198713"/>
                <a:gd name="connsiteY157" fmla="*/ 470724 h 859897"/>
                <a:gd name="connsiteX158" fmla="*/ 1742118 w 2198713"/>
                <a:gd name="connsiteY158" fmla="*/ 464707 h 859897"/>
                <a:gd name="connsiteX159" fmla="*/ 1768582 w 2198713"/>
                <a:gd name="connsiteY159" fmla="*/ 453043 h 859897"/>
                <a:gd name="connsiteX160" fmla="*/ 1760464 w 2198713"/>
                <a:gd name="connsiteY160" fmla="*/ 437634 h 859897"/>
                <a:gd name="connsiteX161" fmla="*/ 1840141 w 2198713"/>
                <a:gd name="connsiteY161" fmla="*/ 450469 h 859897"/>
                <a:gd name="connsiteX162" fmla="*/ 1899606 w 2198713"/>
                <a:gd name="connsiteY162" fmla="*/ 430950 h 859897"/>
                <a:gd name="connsiteX163" fmla="*/ 1899606 w 2198713"/>
                <a:gd name="connsiteY163" fmla="*/ 419251 h 859897"/>
                <a:gd name="connsiteX164" fmla="*/ 1873791 w 2198713"/>
                <a:gd name="connsiteY164" fmla="*/ 411297 h 859897"/>
                <a:gd name="connsiteX165" fmla="*/ 1809902 w 2198713"/>
                <a:gd name="connsiteY165" fmla="*/ 398261 h 859897"/>
                <a:gd name="connsiteX166" fmla="*/ 1853983 w 2198713"/>
                <a:gd name="connsiteY166" fmla="*/ 391209 h 859897"/>
                <a:gd name="connsiteX167" fmla="*/ 1883735 w 2198713"/>
                <a:gd name="connsiteY167" fmla="*/ 368514 h 859897"/>
                <a:gd name="connsiteX168" fmla="*/ 1804423 w 2198713"/>
                <a:gd name="connsiteY168" fmla="*/ 377539 h 859897"/>
                <a:gd name="connsiteX169" fmla="*/ 1770733 w 2198713"/>
                <a:gd name="connsiteY169" fmla="*/ 382552 h 859897"/>
                <a:gd name="connsiteX170" fmla="*/ 1773453 w 2198713"/>
                <a:gd name="connsiteY170" fmla="*/ 372325 h 859897"/>
                <a:gd name="connsiteX171" fmla="*/ 1795331 w 2198713"/>
                <a:gd name="connsiteY171" fmla="*/ 361897 h 859897"/>
                <a:gd name="connsiteX172" fmla="*/ 1802271 w 2198713"/>
                <a:gd name="connsiteY172" fmla="*/ 353206 h 859897"/>
                <a:gd name="connsiteX173" fmla="*/ 1873791 w 2198713"/>
                <a:gd name="connsiteY173" fmla="*/ 356248 h 859897"/>
                <a:gd name="connsiteX174" fmla="*/ 1924893 w 2198713"/>
                <a:gd name="connsiteY174" fmla="*/ 333754 h 859897"/>
                <a:gd name="connsiteX175" fmla="*/ 1884790 w 2198713"/>
                <a:gd name="connsiteY175" fmla="*/ 323159 h 859897"/>
                <a:gd name="connsiteX176" fmla="*/ 1961059 w 2198713"/>
                <a:gd name="connsiteY176" fmla="*/ 314368 h 859897"/>
                <a:gd name="connsiteX177" fmla="*/ 1978959 w 2198713"/>
                <a:gd name="connsiteY177" fmla="*/ 302570 h 859897"/>
                <a:gd name="connsiteX178" fmla="*/ 1955376 w 2198713"/>
                <a:gd name="connsiteY178" fmla="*/ 303439 h 859897"/>
                <a:gd name="connsiteX179" fmla="*/ 1900498 w 2198713"/>
                <a:gd name="connsiteY179" fmla="*/ 290069 h 859897"/>
                <a:gd name="connsiteX180" fmla="*/ 1973154 w 2198713"/>
                <a:gd name="connsiteY180" fmla="*/ 267876 h 859897"/>
                <a:gd name="connsiteX181" fmla="*/ 1920388 w 2198713"/>
                <a:gd name="connsiteY181" fmla="*/ 250563 h 859897"/>
                <a:gd name="connsiteX182" fmla="*/ 1879270 w 2198713"/>
                <a:gd name="connsiteY182" fmla="*/ 250563 h 859897"/>
                <a:gd name="connsiteX183" fmla="*/ 1858975 w 2198713"/>
                <a:gd name="connsiteY183" fmla="*/ 244680 h 859897"/>
                <a:gd name="connsiteX184" fmla="*/ 1894654 w 2198713"/>
                <a:gd name="connsiteY184" fmla="*/ 230174 h 859897"/>
                <a:gd name="connsiteX185" fmla="*/ 1988335 w 2198713"/>
                <a:gd name="connsiteY185" fmla="*/ 220147 h 859897"/>
                <a:gd name="connsiteX186" fmla="*/ 1968527 w 2198713"/>
                <a:gd name="connsiteY186" fmla="*/ 203669 h 859897"/>
                <a:gd name="connsiteX187" fmla="*/ 1906912 w 2198713"/>
                <a:gd name="connsiteY187" fmla="*/ 204237 h 859897"/>
                <a:gd name="connsiteX188" fmla="*/ 1956391 w 2198713"/>
                <a:gd name="connsiteY188" fmla="*/ 192840 h 859897"/>
                <a:gd name="connsiteX189" fmla="*/ 1900215 w 2198713"/>
                <a:gd name="connsiteY189" fmla="*/ 188228 h 859897"/>
                <a:gd name="connsiteX190" fmla="*/ 1847448 w 2198713"/>
                <a:gd name="connsiteY190" fmla="*/ 203536 h 859897"/>
                <a:gd name="connsiteX191" fmla="*/ 1865145 w 2198713"/>
                <a:gd name="connsiteY191" fmla="*/ 189297 h 859897"/>
                <a:gd name="connsiteX192" fmla="*/ 1870422 w 2198713"/>
                <a:gd name="connsiteY192" fmla="*/ 167438 h 859897"/>
                <a:gd name="connsiteX193" fmla="*/ 1916167 w 2198713"/>
                <a:gd name="connsiteY193" fmla="*/ 147384 h 859897"/>
                <a:gd name="connsiteX194" fmla="*/ 1938897 w 2198713"/>
                <a:gd name="connsiteY194" fmla="*/ 121781 h 859897"/>
                <a:gd name="connsiteX195" fmla="*/ 1994748 w 2198713"/>
                <a:gd name="connsiteY195" fmla="*/ 103165 h 859897"/>
                <a:gd name="connsiteX196" fmla="*/ 1902569 w 2198713"/>
                <a:gd name="connsiteY196" fmla="*/ 115765 h 859897"/>
                <a:gd name="connsiteX197" fmla="*/ 1923350 w 2198713"/>
                <a:gd name="connsiteY197" fmla="*/ 102396 h 859897"/>
                <a:gd name="connsiteX198" fmla="*/ 1980663 w 2198713"/>
                <a:gd name="connsiteY198" fmla="*/ 92903 h 859897"/>
                <a:gd name="connsiteX199" fmla="*/ 2038342 w 2198713"/>
                <a:gd name="connsiteY199" fmla="*/ 82676 h 859897"/>
                <a:gd name="connsiteX200" fmla="*/ 2020563 w 2198713"/>
                <a:gd name="connsiteY200" fmla="*/ 75991 h 859897"/>
                <a:gd name="connsiteX201" fmla="*/ 1960450 w 2198713"/>
                <a:gd name="connsiteY201" fmla="*/ 81974 h 859897"/>
                <a:gd name="connsiteX202" fmla="*/ 1962682 w 2198713"/>
                <a:gd name="connsiteY202" fmla="*/ 77027 h 859897"/>
                <a:gd name="connsiteX203" fmla="*/ 2027017 w 2198713"/>
                <a:gd name="connsiteY203" fmla="*/ 67535 h 859897"/>
                <a:gd name="connsiteX204" fmla="*/ 2063142 w 2198713"/>
                <a:gd name="connsiteY204" fmla="*/ 58778 h 859897"/>
                <a:gd name="connsiteX205" fmla="*/ 2104625 w 2198713"/>
                <a:gd name="connsiteY205" fmla="*/ 47013 h 859897"/>
                <a:gd name="connsiteX206" fmla="*/ 2150653 w 2198713"/>
                <a:gd name="connsiteY206" fmla="*/ 36986 h 859897"/>
                <a:gd name="connsiteX207" fmla="*/ 2186048 w 2198713"/>
                <a:gd name="connsiteY207" fmla="*/ 14859 h 859897"/>
                <a:gd name="connsiteX208" fmla="*/ 2069799 w 2198713"/>
                <a:gd name="connsiteY208" fmla="*/ 13389 h 859897"/>
                <a:gd name="connsiteX209" fmla="*/ 841349 w 2198713"/>
                <a:gd name="connsiteY209" fmla="*/ 655122 h 859897"/>
                <a:gd name="connsiteX210" fmla="*/ 821542 w 2198713"/>
                <a:gd name="connsiteY210" fmla="*/ 652047 h 859897"/>
                <a:gd name="connsiteX211" fmla="*/ 790531 w 2198713"/>
                <a:gd name="connsiteY211" fmla="*/ 646766 h 859897"/>
                <a:gd name="connsiteX212" fmla="*/ 738860 w 2198713"/>
                <a:gd name="connsiteY212" fmla="*/ 661338 h 859897"/>
                <a:gd name="connsiteX213" fmla="*/ 781561 w 2198713"/>
                <a:gd name="connsiteY213" fmla="*/ 676279 h 859897"/>
                <a:gd name="connsiteX214" fmla="*/ 841349 w 2198713"/>
                <a:gd name="connsiteY214" fmla="*/ 655122 h 85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2198713" h="859897">
                  <a:moveTo>
                    <a:pt x="2069799" y="13389"/>
                  </a:moveTo>
                  <a:cubicBezTo>
                    <a:pt x="2044227" y="15728"/>
                    <a:pt x="1995804" y="20809"/>
                    <a:pt x="1995479" y="36785"/>
                  </a:cubicBezTo>
                  <a:cubicBezTo>
                    <a:pt x="1995235" y="48651"/>
                    <a:pt x="1939221" y="42768"/>
                    <a:pt x="1924406" y="45509"/>
                  </a:cubicBezTo>
                  <a:cubicBezTo>
                    <a:pt x="1911986" y="47782"/>
                    <a:pt x="1908698" y="49887"/>
                    <a:pt x="1901148" y="44874"/>
                  </a:cubicBezTo>
                  <a:cubicBezTo>
                    <a:pt x="1893598" y="39860"/>
                    <a:pt x="1878337" y="47347"/>
                    <a:pt x="1870828" y="50790"/>
                  </a:cubicBezTo>
                  <a:cubicBezTo>
                    <a:pt x="1838356" y="65630"/>
                    <a:pt x="1804707" y="79467"/>
                    <a:pt x="1773412" y="94942"/>
                  </a:cubicBezTo>
                  <a:cubicBezTo>
                    <a:pt x="1742118" y="110417"/>
                    <a:pt x="1760464" y="92669"/>
                    <a:pt x="1771180" y="85216"/>
                  </a:cubicBezTo>
                  <a:cubicBezTo>
                    <a:pt x="1786482" y="74487"/>
                    <a:pt x="1832673" y="53698"/>
                    <a:pt x="1821876" y="41431"/>
                  </a:cubicBezTo>
                  <a:cubicBezTo>
                    <a:pt x="1810471" y="28496"/>
                    <a:pt x="1765984" y="38657"/>
                    <a:pt x="1753361" y="49419"/>
                  </a:cubicBezTo>
                  <a:cubicBezTo>
                    <a:pt x="1743213" y="58043"/>
                    <a:pt x="1712243" y="64594"/>
                    <a:pt x="1695277" y="70175"/>
                  </a:cubicBezTo>
                  <a:cubicBezTo>
                    <a:pt x="1675834" y="76526"/>
                    <a:pt x="1651399" y="86586"/>
                    <a:pt x="1628953" y="89427"/>
                  </a:cubicBezTo>
                  <a:cubicBezTo>
                    <a:pt x="1608658" y="91934"/>
                    <a:pt x="1655012" y="73317"/>
                    <a:pt x="1658178" y="72248"/>
                  </a:cubicBezTo>
                  <a:cubicBezTo>
                    <a:pt x="1661344" y="71178"/>
                    <a:pt x="1703517" y="56940"/>
                    <a:pt x="1693613" y="56071"/>
                  </a:cubicBezTo>
                  <a:cubicBezTo>
                    <a:pt x="1670720" y="53998"/>
                    <a:pt x="1635407" y="60683"/>
                    <a:pt x="1611905" y="64026"/>
                  </a:cubicBezTo>
                  <a:cubicBezTo>
                    <a:pt x="1581098" y="68167"/>
                    <a:pt x="1550574" y="73805"/>
                    <a:pt x="1520578" y="80904"/>
                  </a:cubicBezTo>
                  <a:cubicBezTo>
                    <a:pt x="1490502" y="88224"/>
                    <a:pt x="1455635" y="100691"/>
                    <a:pt x="1423691" y="104301"/>
                  </a:cubicBezTo>
                  <a:cubicBezTo>
                    <a:pt x="1402625" y="106674"/>
                    <a:pt x="1449587" y="90931"/>
                    <a:pt x="1452875" y="89929"/>
                  </a:cubicBezTo>
                  <a:cubicBezTo>
                    <a:pt x="1486483" y="80470"/>
                    <a:pt x="1521878" y="72314"/>
                    <a:pt x="1556987" y="65429"/>
                  </a:cubicBezTo>
                  <a:cubicBezTo>
                    <a:pt x="1593518" y="58277"/>
                    <a:pt x="1631673" y="54299"/>
                    <a:pt x="1668853" y="48717"/>
                  </a:cubicBezTo>
                  <a:cubicBezTo>
                    <a:pt x="1708590" y="42902"/>
                    <a:pt x="1741062" y="32607"/>
                    <a:pt x="1779216" y="24552"/>
                  </a:cubicBezTo>
                  <a:cubicBezTo>
                    <a:pt x="1787091" y="22848"/>
                    <a:pt x="1856093" y="10715"/>
                    <a:pt x="1827153" y="6169"/>
                  </a:cubicBezTo>
                  <a:cubicBezTo>
                    <a:pt x="1792327" y="654"/>
                    <a:pt x="1756608" y="10915"/>
                    <a:pt x="1721133" y="10046"/>
                  </a:cubicBezTo>
                  <a:cubicBezTo>
                    <a:pt x="1707494" y="9746"/>
                    <a:pt x="1712324" y="3796"/>
                    <a:pt x="1700432" y="2660"/>
                  </a:cubicBezTo>
                  <a:cubicBezTo>
                    <a:pt x="1688539" y="1523"/>
                    <a:pt x="1674536" y="2994"/>
                    <a:pt x="1663901" y="888"/>
                  </a:cubicBezTo>
                  <a:cubicBezTo>
                    <a:pt x="1645027" y="-2955"/>
                    <a:pt x="1615842" y="3228"/>
                    <a:pt x="1593924" y="5802"/>
                  </a:cubicBezTo>
                  <a:cubicBezTo>
                    <a:pt x="1566080" y="9144"/>
                    <a:pt x="1543228" y="6804"/>
                    <a:pt x="1515870" y="8877"/>
                  </a:cubicBezTo>
                  <a:cubicBezTo>
                    <a:pt x="1473778" y="12219"/>
                    <a:pt x="1432783" y="20408"/>
                    <a:pt x="1391381" y="27326"/>
                  </a:cubicBezTo>
                  <a:cubicBezTo>
                    <a:pt x="1358910" y="32741"/>
                    <a:pt x="1326762" y="37855"/>
                    <a:pt x="1294656" y="43737"/>
                  </a:cubicBezTo>
                  <a:cubicBezTo>
                    <a:pt x="1279556" y="46776"/>
                    <a:pt x="1264660" y="50456"/>
                    <a:pt x="1250007" y="54767"/>
                  </a:cubicBezTo>
                  <a:cubicBezTo>
                    <a:pt x="1234299" y="59112"/>
                    <a:pt x="1203654" y="61118"/>
                    <a:pt x="1193182" y="69641"/>
                  </a:cubicBezTo>
                  <a:cubicBezTo>
                    <a:pt x="1187418" y="74253"/>
                    <a:pt x="1206657" y="74554"/>
                    <a:pt x="1199230" y="80370"/>
                  </a:cubicBezTo>
                  <a:cubicBezTo>
                    <a:pt x="1192451" y="84517"/>
                    <a:pt x="1184292" y="86850"/>
                    <a:pt x="1175850" y="87054"/>
                  </a:cubicBezTo>
                  <a:cubicBezTo>
                    <a:pt x="1167732" y="87054"/>
                    <a:pt x="1171019" y="81439"/>
                    <a:pt x="1162212" y="80670"/>
                  </a:cubicBezTo>
                  <a:cubicBezTo>
                    <a:pt x="1146260" y="79761"/>
                    <a:pt x="1130308" y="82054"/>
                    <a:pt x="1115696" y="87355"/>
                  </a:cubicBezTo>
                  <a:cubicBezTo>
                    <a:pt x="1093006" y="96480"/>
                    <a:pt x="1070032" y="97716"/>
                    <a:pt x="1043933" y="100992"/>
                  </a:cubicBezTo>
                  <a:cubicBezTo>
                    <a:pt x="1017834" y="104267"/>
                    <a:pt x="1007889" y="111687"/>
                    <a:pt x="984266" y="117704"/>
                  </a:cubicBezTo>
                  <a:cubicBezTo>
                    <a:pt x="955853" y="125024"/>
                    <a:pt x="926385" y="130338"/>
                    <a:pt x="897729" y="137357"/>
                  </a:cubicBezTo>
                  <a:cubicBezTo>
                    <a:pt x="864283" y="145546"/>
                    <a:pt x="907714" y="144042"/>
                    <a:pt x="919606" y="144743"/>
                  </a:cubicBezTo>
                  <a:cubicBezTo>
                    <a:pt x="945949" y="146348"/>
                    <a:pt x="911488" y="153768"/>
                    <a:pt x="900164" y="156375"/>
                  </a:cubicBezTo>
                  <a:cubicBezTo>
                    <a:pt x="883603" y="160152"/>
                    <a:pt x="846910" y="168407"/>
                    <a:pt x="878611" y="171482"/>
                  </a:cubicBezTo>
                  <a:cubicBezTo>
                    <a:pt x="909134" y="174457"/>
                    <a:pt x="950049" y="169845"/>
                    <a:pt x="975052" y="178167"/>
                  </a:cubicBezTo>
                  <a:cubicBezTo>
                    <a:pt x="985484" y="181676"/>
                    <a:pt x="965595" y="183047"/>
                    <a:pt x="960562" y="183281"/>
                  </a:cubicBezTo>
                  <a:cubicBezTo>
                    <a:pt x="939942" y="184183"/>
                    <a:pt x="921839" y="181342"/>
                    <a:pt x="901382" y="182345"/>
                  </a:cubicBezTo>
                  <a:cubicBezTo>
                    <a:pt x="883766" y="183214"/>
                    <a:pt x="865216" y="186857"/>
                    <a:pt x="847884" y="187091"/>
                  </a:cubicBezTo>
                  <a:cubicBezTo>
                    <a:pt x="835017" y="187292"/>
                    <a:pt x="825114" y="184350"/>
                    <a:pt x="811800" y="184651"/>
                  </a:cubicBezTo>
                  <a:cubicBezTo>
                    <a:pt x="795564" y="184985"/>
                    <a:pt x="739429" y="188194"/>
                    <a:pt x="729484" y="199625"/>
                  </a:cubicBezTo>
                  <a:cubicBezTo>
                    <a:pt x="723314" y="206677"/>
                    <a:pt x="769384" y="206911"/>
                    <a:pt x="776852" y="208215"/>
                  </a:cubicBezTo>
                  <a:cubicBezTo>
                    <a:pt x="804169" y="212727"/>
                    <a:pt x="742635" y="220147"/>
                    <a:pt x="735938" y="222119"/>
                  </a:cubicBezTo>
                  <a:cubicBezTo>
                    <a:pt x="715643" y="227935"/>
                    <a:pt x="691776" y="219913"/>
                    <a:pt x="671684" y="220648"/>
                  </a:cubicBezTo>
                  <a:cubicBezTo>
                    <a:pt x="631825" y="222186"/>
                    <a:pt x="670954" y="242207"/>
                    <a:pt x="660482" y="253136"/>
                  </a:cubicBezTo>
                  <a:cubicBezTo>
                    <a:pt x="657072" y="256712"/>
                    <a:pt x="647411" y="264467"/>
                    <a:pt x="638604" y="265369"/>
                  </a:cubicBezTo>
                  <a:cubicBezTo>
                    <a:pt x="634788" y="265770"/>
                    <a:pt x="640349" y="254239"/>
                    <a:pt x="640024" y="252501"/>
                  </a:cubicBezTo>
                  <a:cubicBezTo>
                    <a:pt x="637264" y="237226"/>
                    <a:pt x="616360" y="227667"/>
                    <a:pt x="581778" y="238664"/>
                  </a:cubicBezTo>
                  <a:cubicBezTo>
                    <a:pt x="549712" y="248691"/>
                    <a:pt x="521664" y="261325"/>
                    <a:pt x="488421" y="270149"/>
                  </a:cubicBezTo>
                  <a:cubicBezTo>
                    <a:pt x="477543" y="273023"/>
                    <a:pt x="452621" y="279407"/>
                    <a:pt x="447832" y="286092"/>
                  </a:cubicBezTo>
                  <a:cubicBezTo>
                    <a:pt x="444098" y="291306"/>
                    <a:pt x="481440" y="288565"/>
                    <a:pt x="466341" y="294882"/>
                  </a:cubicBezTo>
                  <a:cubicBezTo>
                    <a:pt x="452256" y="300765"/>
                    <a:pt x="438658" y="297790"/>
                    <a:pt x="424980" y="299428"/>
                  </a:cubicBezTo>
                  <a:cubicBezTo>
                    <a:pt x="411480" y="301360"/>
                    <a:pt x="398288" y="304532"/>
                    <a:pt x="385648" y="308887"/>
                  </a:cubicBezTo>
                  <a:cubicBezTo>
                    <a:pt x="375014" y="311962"/>
                    <a:pt x="364870" y="316093"/>
                    <a:pt x="355449" y="321187"/>
                  </a:cubicBezTo>
                  <a:cubicBezTo>
                    <a:pt x="347331" y="326233"/>
                    <a:pt x="367099" y="327370"/>
                    <a:pt x="370914" y="330044"/>
                  </a:cubicBezTo>
                  <a:cubicBezTo>
                    <a:pt x="375825" y="333386"/>
                    <a:pt x="384065" y="343112"/>
                    <a:pt x="372375" y="348828"/>
                  </a:cubicBezTo>
                  <a:cubicBezTo>
                    <a:pt x="361903" y="353975"/>
                    <a:pt x="341690" y="353775"/>
                    <a:pt x="330608" y="355145"/>
                  </a:cubicBezTo>
                  <a:cubicBezTo>
                    <a:pt x="303779" y="358487"/>
                    <a:pt x="285026" y="367679"/>
                    <a:pt x="263432" y="378541"/>
                  </a:cubicBezTo>
                  <a:cubicBezTo>
                    <a:pt x="240215" y="390139"/>
                    <a:pt x="217850" y="402306"/>
                    <a:pt x="196743" y="414973"/>
                  </a:cubicBezTo>
                  <a:cubicBezTo>
                    <a:pt x="185216" y="421858"/>
                    <a:pt x="158914" y="435629"/>
                    <a:pt x="157128" y="444152"/>
                  </a:cubicBezTo>
                  <a:cubicBezTo>
                    <a:pt x="153799" y="459493"/>
                    <a:pt x="301790" y="394017"/>
                    <a:pt x="246425" y="451873"/>
                  </a:cubicBezTo>
                  <a:cubicBezTo>
                    <a:pt x="230879" y="468117"/>
                    <a:pt x="208758" y="475002"/>
                    <a:pt x="179858" y="483759"/>
                  </a:cubicBezTo>
                  <a:cubicBezTo>
                    <a:pt x="162202" y="489073"/>
                    <a:pt x="129770" y="496092"/>
                    <a:pt x="123438" y="506921"/>
                  </a:cubicBezTo>
                  <a:cubicBezTo>
                    <a:pt x="119014" y="514408"/>
                    <a:pt x="88775" y="524335"/>
                    <a:pt x="77653" y="528948"/>
                  </a:cubicBezTo>
                  <a:cubicBezTo>
                    <a:pt x="54557" y="538373"/>
                    <a:pt x="28296" y="548032"/>
                    <a:pt x="8650" y="560065"/>
                  </a:cubicBezTo>
                  <a:cubicBezTo>
                    <a:pt x="-13593" y="573902"/>
                    <a:pt x="11127" y="579718"/>
                    <a:pt x="34060" y="573769"/>
                  </a:cubicBezTo>
                  <a:cubicBezTo>
                    <a:pt x="52447" y="569022"/>
                    <a:pt x="70956" y="562806"/>
                    <a:pt x="87192" y="565613"/>
                  </a:cubicBezTo>
                  <a:cubicBezTo>
                    <a:pt x="101966" y="568153"/>
                    <a:pt x="124413" y="562572"/>
                    <a:pt x="141298" y="557458"/>
                  </a:cubicBezTo>
                  <a:cubicBezTo>
                    <a:pt x="167681" y="549436"/>
                    <a:pt x="214359" y="520692"/>
                    <a:pt x="238713" y="529750"/>
                  </a:cubicBezTo>
                  <a:cubicBezTo>
                    <a:pt x="261119" y="538106"/>
                    <a:pt x="202182" y="548467"/>
                    <a:pt x="190777" y="551241"/>
                  </a:cubicBezTo>
                  <a:cubicBezTo>
                    <a:pt x="164028" y="557592"/>
                    <a:pt x="148157" y="567518"/>
                    <a:pt x="123520" y="575941"/>
                  </a:cubicBezTo>
                  <a:cubicBezTo>
                    <a:pt x="117593" y="577913"/>
                    <a:pt x="54801" y="596229"/>
                    <a:pt x="70753" y="599338"/>
                  </a:cubicBezTo>
                  <a:cubicBezTo>
                    <a:pt x="82280" y="601376"/>
                    <a:pt x="156681" y="577311"/>
                    <a:pt x="146615" y="590113"/>
                  </a:cubicBezTo>
                  <a:cubicBezTo>
                    <a:pt x="143043" y="594625"/>
                    <a:pt x="135778" y="602179"/>
                    <a:pt x="148239" y="601410"/>
                  </a:cubicBezTo>
                  <a:cubicBezTo>
                    <a:pt x="165449" y="600407"/>
                    <a:pt x="185013" y="598068"/>
                    <a:pt x="202629" y="595962"/>
                  </a:cubicBezTo>
                  <a:cubicBezTo>
                    <a:pt x="216778" y="594912"/>
                    <a:pt x="230721" y="592456"/>
                    <a:pt x="244152" y="588642"/>
                  </a:cubicBezTo>
                  <a:cubicBezTo>
                    <a:pt x="255923" y="584598"/>
                    <a:pt x="240093" y="584798"/>
                    <a:pt x="240743" y="581957"/>
                  </a:cubicBezTo>
                  <a:cubicBezTo>
                    <a:pt x="241839" y="577612"/>
                    <a:pt x="260713" y="574003"/>
                    <a:pt x="266233" y="573067"/>
                  </a:cubicBezTo>
                  <a:cubicBezTo>
                    <a:pt x="281251" y="570560"/>
                    <a:pt x="283281" y="573668"/>
                    <a:pt x="297447" y="565914"/>
                  </a:cubicBezTo>
                  <a:cubicBezTo>
                    <a:pt x="310516" y="558828"/>
                    <a:pt x="324601" y="557625"/>
                    <a:pt x="337103" y="551709"/>
                  </a:cubicBezTo>
                  <a:cubicBezTo>
                    <a:pt x="346357" y="547297"/>
                    <a:pt x="352892" y="539576"/>
                    <a:pt x="365516" y="539977"/>
                  </a:cubicBezTo>
                  <a:cubicBezTo>
                    <a:pt x="390235" y="540746"/>
                    <a:pt x="426766" y="530786"/>
                    <a:pt x="453068" y="526942"/>
                  </a:cubicBezTo>
                  <a:cubicBezTo>
                    <a:pt x="478599" y="523165"/>
                    <a:pt x="516428" y="518854"/>
                    <a:pt x="538672" y="521193"/>
                  </a:cubicBezTo>
                  <a:cubicBezTo>
                    <a:pt x="550321" y="522430"/>
                    <a:pt x="545937" y="530452"/>
                    <a:pt x="555354" y="533293"/>
                  </a:cubicBezTo>
                  <a:cubicBezTo>
                    <a:pt x="571103" y="538039"/>
                    <a:pt x="593549" y="534763"/>
                    <a:pt x="612586" y="535632"/>
                  </a:cubicBezTo>
                  <a:cubicBezTo>
                    <a:pt x="644530" y="537136"/>
                    <a:pt x="634017" y="554884"/>
                    <a:pt x="655773" y="559965"/>
                  </a:cubicBezTo>
                  <a:cubicBezTo>
                    <a:pt x="659832" y="560901"/>
                    <a:pt x="680127" y="562137"/>
                    <a:pt x="677245" y="566148"/>
                  </a:cubicBezTo>
                  <a:cubicBezTo>
                    <a:pt x="669736" y="576175"/>
                    <a:pt x="697012" y="576175"/>
                    <a:pt x="704846" y="579952"/>
                  </a:cubicBezTo>
                  <a:cubicBezTo>
                    <a:pt x="711056" y="582994"/>
                    <a:pt x="699691" y="589979"/>
                    <a:pt x="695023" y="593322"/>
                  </a:cubicBezTo>
                  <a:cubicBezTo>
                    <a:pt x="686540" y="599739"/>
                    <a:pt x="688326" y="600407"/>
                    <a:pt x="693481" y="604752"/>
                  </a:cubicBezTo>
                  <a:cubicBezTo>
                    <a:pt x="698636" y="609097"/>
                    <a:pt x="693481" y="615080"/>
                    <a:pt x="696160" y="619559"/>
                  </a:cubicBezTo>
                  <a:cubicBezTo>
                    <a:pt x="700462" y="626244"/>
                    <a:pt x="724573" y="620829"/>
                    <a:pt x="734396" y="615983"/>
                  </a:cubicBezTo>
                  <a:cubicBezTo>
                    <a:pt x="739388" y="613409"/>
                    <a:pt x="778435" y="584631"/>
                    <a:pt x="776040" y="601978"/>
                  </a:cubicBezTo>
                  <a:cubicBezTo>
                    <a:pt x="773280" y="621665"/>
                    <a:pt x="828564" y="608095"/>
                    <a:pt x="853445" y="612005"/>
                  </a:cubicBezTo>
                  <a:cubicBezTo>
                    <a:pt x="860711" y="613108"/>
                    <a:pt x="880600" y="620194"/>
                    <a:pt x="858438" y="622367"/>
                  </a:cubicBezTo>
                  <a:cubicBezTo>
                    <a:pt x="844069" y="623770"/>
                    <a:pt x="832217" y="621130"/>
                    <a:pt x="817280" y="622968"/>
                  </a:cubicBezTo>
                  <a:cubicBezTo>
                    <a:pt x="811069" y="623637"/>
                    <a:pt x="746288" y="634934"/>
                    <a:pt x="748034" y="640014"/>
                  </a:cubicBezTo>
                  <a:cubicBezTo>
                    <a:pt x="749779" y="645095"/>
                    <a:pt x="794225" y="643022"/>
                    <a:pt x="802180" y="642989"/>
                  </a:cubicBezTo>
                  <a:cubicBezTo>
                    <a:pt x="813976" y="643123"/>
                    <a:pt x="825767" y="642521"/>
                    <a:pt x="837453" y="641184"/>
                  </a:cubicBezTo>
                  <a:cubicBezTo>
                    <a:pt x="850239" y="639513"/>
                    <a:pt x="857991" y="635068"/>
                    <a:pt x="870452" y="637374"/>
                  </a:cubicBezTo>
                  <a:cubicBezTo>
                    <a:pt x="877271" y="638644"/>
                    <a:pt x="891275" y="643256"/>
                    <a:pt x="884415" y="648972"/>
                  </a:cubicBezTo>
                  <a:cubicBezTo>
                    <a:pt x="875932" y="655991"/>
                    <a:pt x="882792" y="664347"/>
                    <a:pt x="884415" y="670463"/>
                  </a:cubicBezTo>
                  <a:cubicBezTo>
                    <a:pt x="888028" y="683832"/>
                    <a:pt x="821217" y="679688"/>
                    <a:pt x="817767" y="698405"/>
                  </a:cubicBezTo>
                  <a:cubicBezTo>
                    <a:pt x="816103" y="707296"/>
                    <a:pt x="813708" y="711775"/>
                    <a:pt x="804981" y="720732"/>
                  </a:cubicBezTo>
                  <a:cubicBezTo>
                    <a:pt x="798974" y="727149"/>
                    <a:pt x="792520" y="737745"/>
                    <a:pt x="806645" y="739550"/>
                  </a:cubicBezTo>
                  <a:cubicBezTo>
                    <a:pt x="814763" y="740619"/>
                    <a:pt x="833759" y="736775"/>
                    <a:pt x="839117" y="740151"/>
                  </a:cubicBezTo>
                  <a:cubicBezTo>
                    <a:pt x="842933" y="742491"/>
                    <a:pt x="821420" y="752618"/>
                    <a:pt x="818457" y="755092"/>
                  </a:cubicBezTo>
                  <a:cubicBezTo>
                    <a:pt x="802546" y="768127"/>
                    <a:pt x="852268" y="771803"/>
                    <a:pt x="865866" y="772739"/>
                  </a:cubicBezTo>
                  <a:cubicBezTo>
                    <a:pt x="886160" y="774076"/>
                    <a:pt x="875323" y="806831"/>
                    <a:pt x="897647" y="800882"/>
                  </a:cubicBezTo>
                  <a:cubicBezTo>
                    <a:pt x="912625" y="796904"/>
                    <a:pt x="906658" y="806798"/>
                    <a:pt x="913356" y="810307"/>
                  </a:cubicBezTo>
                  <a:cubicBezTo>
                    <a:pt x="918673" y="813048"/>
                    <a:pt x="927319" y="815889"/>
                    <a:pt x="933163" y="818262"/>
                  </a:cubicBezTo>
                  <a:cubicBezTo>
                    <a:pt x="940023" y="821003"/>
                    <a:pt x="952647" y="817761"/>
                    <a:pt x="959466" y="820635"/>
                  </a:cubicBezTo>
                  <a:cubicBezTo>
                    <a:pt x="963890" y="822474"/>
                    <a:pt x="960724" y="826785"/>
                    <a:pt x="961698" y="829526"/>
                  </a:cubicBezTo>
                  <a:cubicBezTo>
                    <a:pt x="963525" y="834707"/>
                    <a:pt x="971764" y="837380"/>
                    <a:pt x="979273" y="839854"/>
                  </a:cubicBezTo>
                  <a:cubicBezTo>
                    <a:pt x="990423" y="843029"/>
                    <a:pt x="1001776" y="845683"/>
                    <a:pt x="1013288" y="847809"/>
                  </a:cubicBezTo>
                  <a:cubicBezTo>
                    <a:pt x="1024815" y="850382"/>
                    <a:pt x="1030457" y="856164"/>
                    <a:pt x="1041700" y="858671"/>
                  </a:cubicBezTo>
                  <a:cubicBezTo>
                    <a:pt x="1057003" y="862014"/>
                    <a:pt x="1066054" y="854861"/>
                    <a:pt x="1081073" y="854627"/>
                  </a:cubicBezTo>
                  <a:cubicBezTo>
                    <a:pt x="1085294" y="854884"/>
                    <a:pt x="1089515" y="855376"/>
                    <a:pt x="1093655" y="856098"/>
                  </a:cubicBezTo>
                  <a:cubicBezTo>
                    <a:pt x="1101367" y="856766"/>
                    <a:pt x="1110866" y="853156"/>
                    <a:pt x="1119024" y="852454"/>
                  </a:cubicBezTo>
                  <a:cubicBezTo>
                    <a:pt x="1135260" y="851084"/>
                    <a:pt x="1139319" y="855797"/>
                    <a:pt x="1151821" y="857067"/>
                  </a:cubicBezTo>
                  <a:cubicBezTo>
                    <a:pt x="1165012" y="857976"/>
                    <a:pt x="1178285" y="857742"/>
                    <a:pt x="1191396" y="856365"/>
                  </a:cubicBezTo>
                  <a:cubicBezTo>
                    <a:pt x="1202071" y="855563"/>
                    <a:pt x="1212096" y="855697"/>
                    <a:pt x="1217211" y="849079"/>
                  </a:cubicBezTo>
                  <a:cubicBezTo>
                    <a:pt x="1221595" y="843330"/>
                    <a:pt x="1231092" y="836879"/>
                    <a:pt x="1232391" y="831164"/>
                  </a:cubicBezTo>
                  <a:cubicBezTo>
                    <a:pt x="1233690" y="825448"/>
                    <a:pt x="1232067" y="819432"/>
                    <a:pt x="1233406" y="813416"/>
                  </a:cubicBezTo>
                  <a:cubicBezTo>
                    <a:pt x="1234299" y="809204"/>
                    <a:pt x="1240834" y="806965"/>
                    <a:pt x="1241524" y="802720"/>
                  </a:cubicBezTo>
                  <a:cubicBezTo>
                    <a:pt x="1242092" y="796544"/>
                    <a:pt x="1239576" y="790444"/>
                    <a:pt x="1234542" y="785841"/>
                  </a:cubicBezTo>
                  <a:cubicBezTo>
                    <a:pt x="1231133" y="782499"/>
                    <a:pt x="1215912" y="781964"/>
                    <a:pt x="1222812" y="776483"/>
                  </a:cubicBezTo>
                  <a:cubicBezTo>
                    <a:pt x="1230565" y="770366"/>
                    <a:pt x="1245096" y="772371"/>
                    <a:pt x="1253701" y="767458"/>
                  </a:cubicBezTo>
                  <a:cubicBezTo>
                    <a:pt x="1259830" y="764116"/>
                    <a:pt x="1257029" y="759737"/>
                    <a:pt x="1261535" y="756094"/>
                  </a:cubicBezTo>
                  <a:cubicBezTo>
                    <a:pt x="1268638" y="750312"/>
                    <a:pt x="1283210" y="735238"/>
                    <a:pt x="1277324" y="729823"/>
                  </a:cubicBezTo>
                  <a:cubicBezTo>
                    <a:pt x="1271438" y="724409"/>
                    <a:pt x="1265716" y="721735"/>
                    <a:pt x="1283818" y="716821"/>
                  </a:cubicBezTo>
                  <a:cubicBezTo>
                    <a:pt x="1295995" y="713479"/>
                    <a:pt x="1287877" y="707630"/>
                    <a:pt x="1280896" y="706393"/>
                  </a:cubicBezTo>
                  <a:cubicBezTo>
                    <a:pt x="1278014" y="705892"/>
                    <a:pt x="1252240" y="704856"/>
                    <a:pt x="1264214" y="699341"/>
                  </a:cubicBezTo>
                  <a:cubicBezTo>
                    <a:pt x="1273468" y="695063"/>
                    <a:pt x="1290353" y="703218"/>
                    <a:pt x="1298066" y="695999"/>
                  </a:cubicBezTo>
                  <a:cubicBezTo>
                    <a:pt x="1304235" y="690116"/>
                    <a:pt x="1282682" y="689849"/>
                    <a:pt x="1297660" y="683030"/>
                  </a:cubicBezTo>
                  <a:cubicBezTo>
                    <a:pt x="1310404" y="677248"/>
                    <a:pt x="1326762" y="675744"/>
                    <a:pt x="1339629" y="670296"/>
                  </a:cubicBezTo>
                  <a:cubicBezTo>
                    <a:pt x="1354404" y="664012"/>
                    <a:pt x="1342227" y="647601"/>
                    <a:pt x="1361629" y="647735"/>
                  </a:cubicBezTo>
                  <a:cubicBezTo>
                    <a:pt x="1372264" y="647735"/>
                    <a:pt x="1363131" y="656893"/>
                    <a:pt x="1364754" y="660235"/>
                  </a:cubicBezTo>
                  <a:cubicBezTo>
                    <a:pt x="1367718" y="666385"/>
                    <a:pt x="1377784" y="657896"/>
                    <a:pt x="1383345" y="656091"/>
                  </a:cubicBezTo>
                  <a:cubicBezTo>
                    <a:pt x="1414639" y="646064"/>
                    <a:pt x="1444757" y="642721"/>
                    <a:pt x="1472358" y="628015"/>
                  </a:cubicBezTo>
                  <a:cubicBezTo>
                    <a:pt x="1483764" y="622306"/>
                    <a:pt x="1493789" y="614920"/>
                    <a:pt x="1501948" y="606223"/>
                  </a:cubicBezTo>
                  <a:cubicBezTo>
                    <a:pt x="1507143" y="600140"/>
                    <a:pt x="1507062" y="593990"/>
                    <a:pt x="1516195" y="588475"/>
                  </a:cubicBezTo>
                  <a:cubicBezTo>
                    <a:pt x="1531051" y="579551"/>
                    <a:pt x="1547408" y="578448"/>
                    <a:pt x="1543593" y="567385"/>
                  </a:cubicBezTo>
                  <a:cubicBezTo>
                    <a:pt x="1538641" y="553046"/>
                    <a:pt x="1583005" y="562471"/>
                    <a:pt x="1591123" y="558394"/>
                  </a:cubicBezTo>
                  <a:cubicBezTo>
                    <a:pt x="1596238" y="555820"/>
                    <a:pt x="1594006" y="553380"/>
                    <a:pt x="1602204" y="551341"/>
                  </a:cubicBezTo>
                  <a:cubicBezTo>
                    <a:pt x="1613813" y="548400"/>
                    <a:pt x="1624894" y="547665"/>
                    <a:pt x="1635691" y="543487"/>
                  </a:cubicBezTo>
                  <a:cubicBezTo>
                    <a:pt x="1654200" y="536301"/>
                    <a:pt x="1678757" y="533827"/>
                    <a:pt x="1699417" y="529182"/>
                  </a:cubicBezTo>
                  <a:cubicBezTo>
                    <a:pt x="1724583" y="523500"/>
                    <a:pt x="1751331" y="517116"/>
                    <a:pt x="1773250" y="508024"/>
                  </a:cubicBezTo>
                  <a:cubicBezTo>
                    <a:pt x="1795168" y="498933"/>
                    <a:pt x="1815017" y="488973"/>
                    <a:pt x="1838883" y="480617"/>
                  </a:cubicBezTo>
                  <a:cubicBezTo>
                    <a:pt x="1843389" y="478946"/>
                    <a:pt x="1904801" y="455950"/>
                    <a:pt x="1896967" y="454413"/>
                  </a:cubicBezTo>
                  <a:cubicBezTo>
                    <a:pt x="1894045" y="453811"/>
                    <a:pt x="1862913" y="462502"/>
                    <a:pt x="1857068" y="463270"/>
                  </a:cubicBezTo>
                  <a:cubicBezTo>
                    <a:pt x="1839046" y="465115"/>
                    <a:pt x="1820861" y="465550"/>
                    <a:pt x="1802718" y="464574"/>
                  </a:cubicBezTo>
                  <a:cubicBezTo>
                    <a:pt x="1785305" y="464072"/>
                    <a:pt x="1764279" y="464039"/>
                    <a:pt x="1748531" y="470724"/>
                  </a:cubicBezTo>
                  <a:cubicBezTo>
                    <a:pt x="1732782" y="477408"/>
                    <a:pt x="1735014" y="469688"/>
                    <a:pt x="1742118" y="464707"/>
                  </a:cubicBezTo>
                  <a:cubicBezTo>
                    <a:pt x="1747759" y="460730"/>
                    <a:pt x="1768054" y="457354"/>
                    <a:pt x="1768582" y="453043"/>
                  </a:cubicBezTo>
                  <a:cubicBezTo>
                    <a:pt x="1769109" y="448731"/>
                    <a:pt x="1753929" y="442247"/>
                    <a:pt x="1760464" y="437634"/>
                  </a:cubicBezTo>
                  <a:cubicBezTo>
                    <a:pt x="1776700" y="426304"/>
                    <a:pt x="1826747" y="449099"/>
                    <a:pt x="1840141" y="450469"/>
                  </a:cubicBezTo>
                  <a:cubicBezTo>
                    <a:pt x="1868554" y="453277"/>
                    <a:pt x="1910686" y="448029"/>
                    <a:pt x="1899606" y="430950"/>
                  </a:cubicBezTo>
                  <a:cubicBezTo>
                    <a:pt x="1897130" y="427139"/>
                    <a:pt x="1903665" y="422159"/>
                    <a:pt x="1899606" y="419251"/>
                  </a:cubicBezTo>
                  <a:cubicBezTo>
                    <a:pt x="1894126" y="415307"/>
                    <a:pt x="1882517" y="413202"/>
                    <a:pt x="1873791" y="411297"/>
                  </a:cubicBezTo>
                  <a:cubicBezTo>
                    <a:pt x="1852846" y="406718"/>
                    <a:pt x="1829913" y="403576"/>
                    <a:pt x="1809902" y="398261"/>
                  </a:cubicBezTo>
                  <a:cubicBezTo>
                    <a:pt x="1774792" y="388970"/>
                    <a:pt x="1843024" y="390273"/>
                    <a:pt x="1853983" y="391209"/>
                  </a:cubicBezTo>
                  <a:cubicBezTo>
                    <a:pt x="1874765" y="392813"/>
                    <a:pt x="1896074" y="376102"/>
                    <a:pt x="1883735" y="368514"/>
                  </a:cubicBezTo>
                  <a:cubicBezTo>
                    <a:pt x="1871396" y="360927"/>
                    <a:pt x="1819035" y="372625"/>
                    <a:pt x="1804423" y="377539"/>
                  </a:cubicBezTo>
                  <a:cubicBezTo>
                    <a:pt x="1793545" y="381182"/>
                    <a:pt x="1782707" y="385360"/>
                    <a:pt x="1770733" y="382552"/>
                  </a:cubicBezTo>
                  <a:cubicBezTo>
                    <a:pt x="1761235" y="380313"/>
                    <a:pt x="1763508" y="375232"/>
                    <a:pt x="1773453" y="372325"/>
                  </a:cubicBezTo>
                  <a:cubicBezTo>
                    <a:pt x="1781571" y="369952"/>
                    <a:pt x="1804058" y="367812"/>
                    <a:pt x="1795331" y="361897"/>
                  </a:cubicBezTo>
                  <a:cubicBezTo>
                    <a:pt x="1790094" y="358320"/>
                    <a:pt x="1788471" y="353140"/>
                    <a:pt x="1802271" y="353206"/>
                  </a:cubicBezTo>
                  <a:cubicBezTo>
                    <a:pt x="1823825" y="353206"/>
                    <a:pt x="1851304" y="362398"/>
                    <a:pt x="1873791" y="356248"/>
                  </a:cubicBezTo>
                  <a:cubicBezTo>
                    <a:pt x="1885480" y="352906"/>
                    <a:pt x="1966010" y="341341"/>
                    <a:pt x="1924893" y="333754"/>
                  </a:cubicBezTo>
                  <a:cubicBezTo>
                    <a:pt x="1919819" y="332785"/>
                    <a:pt x="1868067" y="327604"/>
                    <a:pt x="1884790" y="323159"/>
                  </a:cubicBezTo>
                  <a:cubicBezTo>
                    <a:pt x="1907440" y="317075"/>
                    <a:pt x="1937070" y="316474"/>
                    <a:pt x="1961059" y="314368"/>
                  </a:cubicBezTo>
                  <a:cubicBezTo>
                    <a:pt x="1971409" y="313499"/>
                    <a:pt x="1982571" y="307516"/>
                    <a:pt x="1978959" y="302570"/>
                  </a:cubicBezTo>
                  <a:cubicBezTo>
                    <a:pt x="1976361" y="299060"/>
                    <a:pt x="1961586" y="303238"/>
                    <a:pt x="1955376" y="303439"/>
                  </a:cubicBezTo>
                  <a:cubicBezTo>
                    <a:pt x="1943199" y="303739"/>
                    <a:pt x="1888484" y="301132"/>
                    <a:pt x="1900498" y="290069"/>
                  </a:cubicBezTo>
                  <a:cubicBezTo>
                    <a:pt x="1914421" y="277201"/>
                    <a:pt x="1973235" y="288365"/>
                    <a:pt x="1973154" y="267876"/>
                  </a:cubicBezTo>
                  <a:cubicBezTo>
                    <a:pt x="1973154" y="251465"/>
                    <a:pt x="1948800" y="248958"/>
                    <a:pt x="1920388" y="250563"/>
                  </a:cubicBezTo>
                  <a:cubicBezTo>
                    <a:pt x="1907236" y="251298"/>
                    <a:pt x="1891326" y="252401"/>
                    <a:pt x="1879270" y="250563"/>
                  </a:cubicBezTo>
                  <a:cubicBezTo>
                    <a:pt x="1871842" y="249426"/>
                    <a:pt x="1868027" y="245883"/>
                    <a:pt x="1858975" y="244680"/>
                  </a:cubicBezTo>
                  <a:cubicBezTo>
                    <a:pt x="1818385" y="239199"/>
                    <a:pt x="1883532" y="235488"/>
                    <a:pt x="1894654" y="230174"/>
                  </a:cubicBezTo>
                  <a:cubicBezTo>
                    <a:pt x="1919008" y="218309"/>
                    <a:pt x="1959597" y="223489"/>
                    <a:pt x="1988335" y="220147"/>
                  </a:cubicBezTo>
                  <a:cubicBezTo>
                    <a:pt x="2020441" y="216537"/>
                    <a:pt x="1983058" y="197987"/>
                    <a:pt x="1968527" y="203669"/>
                  </a:cubicBezTo>
                  <a:cubicBezTo>
                    <a:pt x="1953996" y="209351"/>
                    <a:pt x="1911986" y="214532"/>
                    <a:pt x="1906912" y="204237"/>
                  </a:cubicBezTo>
                  <a:cubicBezTo>
                    <a:pt x="1901432" y="193074"/>
                    <a:pt x="1958420" y="200026"/>
                    <a:pt x="1956391" y="192840"/>
                  </a:cubicBezTo>
                  <a:cubicBezTo>
                    <a:pt x="1954361" y="185654"/>
                    <a:pt x="1911133" y="186991"/>
                    <a:pt x="1900215" y="188228"/>
                  </a:cubicBezTo>
                  <a:cubicBezTo>
                    <a:pt x="1886292" y="189698"/>
                    <a:pt x="1860599" y="210521"/>
                    <a:pt x="1847448" y="203536"/>
                  </a:cubicBezTo>
                  <a:cubicBezTo>
                    <a:pt x="1844120" y="201831"/>
                    <a:pt x="1863034" y="191904"/>
                    <a:pt x="1865145" y="189297"/>
                  </a:cubicBezTo>
                  <a:cubicBezTo>
                    <a:pt x="1870422" y="182903"/>
                    <a:pt x="1872329" y="175012"/>
                    <a:pt x="1870422" y="167438"/>
                  </a:cubicBezTo>
                  <a:cubicBezTo>
                    <a:pt x="1867824" y="157144"/>
                    <a:pt x="1900174" y="152765"/>
                    <a:pt x="1916167" y="147384"/>
                  </a:cubicBezTo>
                  <a:cubicBezTo>
                    <a:pt x="1941697" y="138727"/>
                    <a:pt x="1919089" y="130472"/>
                    <a:pt x="1938897" y="121781"/>
                  </a:cubicBezTo>
                  <a:cubicBezTo>
                    <a:pt x="1951074" y="116467"/>
                    <a:pt x="2012892" y="110685"/>
                    <a:pt x="1994748" y="103165"/>
                  </a:cubicBezTo>
                  <a:cubicBezTo>
                    <a:pt x="1960653" y="88993"/>
                    <a:pt x="1925746" y="122417"/>
                    <a:pt x="1902569" y="115765"/>
                  </a:cubicBezTo>
                  <a:cubicBezTo>
                    <a:pt x="1891163" y="112423"/>
                    <a:pt x="1917993" y="103833"/>
                    <a:pt x="1923350" y="102396"/>
                  </a:cubicBezTo>
                  <a:cubicBezTo>
                    <a:pt x="1941656" y="96847"/>
                    <a:pt x="1960815" y="95510"/>
                    <a:pt x="1980663" y="92903"/>
                  </a:cubicBezTo>
                  <a:cubicBezTo>
                    <a:pt x="2000228" y="90855"/>
                    <a:pt x="2019508" y="87432"/>
                    <a:pt x="2038342" y="82676"/>
                  </a:cubicBezTo>
                  <a:cubicBezTo>
                    <a:pt x="2060625" y="76292"/>
                    <a:pt x="2030224" y="75791"/>
                    <a:pt x="2020563" y="75991"/>
                  </a:cubicBezTo>
                  <a:cubicBezTo>
                    <a:pt x="1999903" y="76559"/>
                    <a:pt x="1980744" y="80203"/>
                    <a:pt x="1960450" y="81974"/>
                  </a:cubicBezTo>
                  <a:cubicBezTo>
                    <a:pt x="1943321" y="83478"/>
                    <a:pt x="1951520" y="79200"/>
                    <a:pt x="1962682" y="77027"/>
                  </a:cubicBezTo>
                  <a:cubicBezTo>
                    <a:pt x="1983748" y="72849"/>
                    <a:pt x="2006113" y="72014"/>
                    <a:pt x="2027017" y="67535"/>
                  </a:cubicBezTo>
                  <a:cubicBezTo>
                    <a:pt x="2039194" y="64894"/>
                    <a:pt x="2050356" y="61017"/>
                    <a:pt x="2063142" y="58778"/>
                  </a:cubicBezTo>
                  <a:cubicBezTo>
                    <a:pt x="2081042" y="55636"/>
                    <a:pt x="2091555" y="53631"/>
                    <a:pt x="2104625" y="47013"/>
                  </a:cubicBezTo>
                  <a:cubicBezTo>
                    <a:pt x="2114285" y="42100"/>
                    <a:pt x="2137989" y="40328"/>
                    <a:pt x="2150653" y="36986"/>
                  </a:cubicBezTo>
                  <a:cubicBezTo>
                    <a:pt x="2166483" y="32942"/>
                    <a:pt x="2223715" y="19338"/>
                    <a:pt x="2186048" y="14859"/>
                  </a:cubicBezTo>
                  <a:cubicBezTo>
                    <a:pt x="2147528" y="10501"/>
                    <a:pt x="2108481" y="10006"/>
                    <a:pt x="2069799" y="13389"/>
                  </a:cubicBezTo>
                  <a:close/>
                  <a:moveTo>
                    <a:pt x="841349" y="655122"/>
                  </a:moveTo>
                  <a:cubicBezTo>
                    <a:pt x="840253" y="649707"/>
                    <a:pt x="829497" y="652314"/>
                    <a:pt x="821542" y="652047"/>
                  </a:cubicBezTo>
                  <a:cubicBezTo>
                    <a:pt x="809365" y="651645"/>
                    <a:pt x="804088" y="646498"/>
                    <a:pt x="790531" y="646766"/>
                  </a:cubicBezTo>
                  <a:cubicBezTo>
                    <a:pt x="771251" y="647167"/>
                    <a:pt x="748764" y="650576"/>
                    <a:pt x="738860" y="661338"/>
                  </a:cubicBezTo>
                  <a:cubicBezTo>
                    <a:pt x="720838" y="680958"/>
                    <a:pt x="762565" y="672803"/>
                    <a:pt x="781561" y="676279"/>
                  </a:cubicBezTo>
                  <a:cubicBezTo>
                    <a:pt x="795970" y="678886"/>
                    <a:pt x="843460" y="665750"/>
                    <a:pt x="841349" y="65512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E38186E4-45B8-4190-A40C-EA28C536B274}"/>
                </a:ext>
              </a:extLst>
            </p:cNvPr>
            <p:cNvSpPr/>
            <p:nvPr/>
          </p:nvSpPr>
          <p:spPr>
            <a:xfrm>
              <a:off x="990011" y="3290709"/>
              <a:ext cx="3060746" cy="1771142"/>
            </a:xfrm>
            <a:custGeom>
              <a:avLst/>
              <a:gdLst>
                <a:gd name="connsiteX0" fmla="*/ 886583 w 3060746"/>
                <a:gd name="connsiteY0" fmla="*/ 1692735 h 1771142"/>
                <a:gd name="connsiteX1" fmla="*/ 841934 w 3060746"/>
                <a:gd name="connsiteY1" fmla="*/ 1701793 h 1771142"/>
                <a:gd name="connsiteX2" fmla="*/ 799193 w 3060746"/>
                <a:gd name="connsiteY2" fmla="*/ 1703164 h 1771142"/>
                <a:gd name="connsiteX3" fmla="*/ 768264 w 3060746"/>
                <a:gd name="connsiteY3" fmla="*/ 1717870 h 1771142"/>
                <a:gd name="connsiteX4" fmla="*/ 731733 w 3060746"/>
                <a:gd name="connsiteY4" fmla="*/ 1730237 h 1771142"/>
                <a:gd name="connsiteX5" fmla="*/ 731733 w 3060746"/>
                <a:gd name="connsiteY5" fmla="*/ 1736921 h 1771142"/>
                <a:gd name="connsiteX6" fmla="*/ 751784 w 3060746"/>
                <a:gd name="connsiteY6" fmla="*/ 1736687 h 1771142"/>
                <a:gd name="connsiteX7" fmla="*/ 793714 w 3060746"/>
                <a:gd name="connsiteY7" fmla="*/ 1727663 h 1771142"/>
                <a:gd name="connsiteX8" fmla="*/ 814536 w 3060746"/>
                <a:gd name="connsiteY8" fmla="*/ 1722917 h 1771142"/>
                <a:gd name="connsiteX9" fmla="*/ 840027 w 3060746"/>
                <a:gd name="connsiteY9" fmla="*/ 1721246 h 1771142"/>
                <a:gd name="connsiteX10" fmla="*/ 855288 w 3060746"/>
                <a:gd name="connsiteY10" fmla="*/ 1720510 h 1771142"/>
                <a:gd name="connsiteX11" fmla="*/ 890804 w 3060746"/>
                <a:gd name="connsiteY11" fmla="*/ 1708678 h 1771142"/>
                <a:gd name="connsiteX12" fmla="*/ 904564 w 3060746"/>
                <a:gd name="connsiteY12" fmla="*/ 1700590 h 1771142"/>
                <a:gd name="connsiteX13" fmla="*/ 908867 w 3060746"/>
                <a:gd name="connsiteY13" fmla="*/ 1688825 h 1771142"/>
                <a:gd name="connsiteX14" fmla="*/ 886705 w 3060746"/>
                <a:gd name="connsiteY14" fmla="*/ 1692735 h 1771142"/>
                <a:gd name="connsiteX15" fmla="*/ 460309 w 3060746"/>
                <a:gd name="connsiteY15" fmla="*/ 1204250 h 1771142"/>
                <a:gd name="connsiteX16" fmla="*/ 507678 w 3060746"/>
                <a:gd name="connsiteY16" fmla="*/ 1205152 h 1771142"/>
                <a:gd name="connsiteX17" fmla="*/ 538201 w 3060746"/>
                <a:gd name="connsiteY17" fmla="*/ 1185399 h 1771142"/>
                <a:gd name="connsiteX18" fmla="*/ 558861 w 3060746"/>
                <a:gd name="connsiteY18" fmla="*/ 1168954 h 1771142"/>
                <a:gd name="connsiteX19" fmla="*/ 587274 w 3060746"/>
                <a:gd name="connsiteY19" fmla="*/ 1150037 h 1771142"/>
                <a:gd name="connsiteX20" fmla="*/ 585569 w 3060746"/>
                <a:gd name="connsiteY20" fmla="*/ 1130417 h 1771142"/>
                <a:gd name="connsiteX21" fmla="*/ 609923 w 3060746"/>
                <a:gd name="connsiteY21" fmla="*/ 1105583 h 1771142"/>
                <a:gd name="connsiteX22" fmla="*/ 610451 w 3060746"/>
                <a:gd name="connsiteY22" fmla="*/ 1092983 h 1771142"/>
                <a:gd name="connsiteX23" fmla="*/ 628432 w 3060746"/>
                <a:gd name="connsiteY23" fmla="*/ 1075936 h 1771142"/>
                <a:gd name="connsiteX24" fmla="*/ 687450 w 3060746"/>
                <a:gd name="connsiteY24" fmla="*/ 1028408 h 1771142"/>
                <a:gd name="connsiteX25" fmla="*/ 696177 w 3060746"/>
                <a:gd name="connsiteY25" fmla="*/ 1006616 h 1771142"/>
                <a:gd name="connsiteX26" fmla="*/ 594296 w 3060746"/>
                <a:gd name="connsiteY26" fmla="*/ 1039037 h 1771142"/>
                <a:gd name="connsiteX27" fmla="*/ 577005 w 3060746"/>
                <a:gd name="connsiteY27" fmla="*/ 1050535 h 1771142"/>
                <a:gd name="connsiteX28" fmla="*/ 566086 w 3060746"/>
                <a:gd name="connsiteY28" fmla="*/ 1051805 h 1771142"/>
                <a:gd name="connsiteX29" fmla="*/ 499194 w 3060746"/>
                <a:gd name="connsiteY29" fmla="*/ 1076739 h 1771142"/>
                <a:gd name="connsiteX30" fmla="*/ 405554 w 3060746"/>
                <a:gd name="connsiteY30" fmla="*/ 1136099 h 1771142"/>
                <a:gd name="connsiteX31" fmla="*/ 429908 w 3060746"/>
                <a:gd name="connsiteY31" fmla="*/ 1143419 h 1771142"/>
                <a:gd name="connsiteX32" fmla="*/ 420004 w 3060746"/>
                <a:gd name="connsiteY32" fmla="*/ 1175438 h 1771142"/>
                <a:gd name="connsiteX33" fmla="*/ 426782 w 3060746"/>
                <a:gd name="connsiteY33" fmla="*/ 1182457 h 1771142"/>
                <a:gd name="connsiteX34" fmla="*/ 412129 w 3060746"/>
                <a:gd name="connsiteY34" fmla="*/ 1213608 h 1771142"/>
                <a:gd name="connsiteX35" fmla="*/ 460391 w 3060746"/>
                <a:gd name="connsiteY35" fmla="*/ 1204250 h 1771142"/>
                <a:gd name="connsiteX36" fmla="*/ 460309 w 3060746"/>
                <a:gd name="connsiteY36" fmla="*/ 1204250 h 1771142"/>
                <a:gd name="connsiteX37" fmla="*/ 1200585 w 3060746"/>
                <a:gd name="connsiteY37" fmla="*/ 911125 h 1771142"/>
                <a:gd name="connsiteX38" fmla="*/ 1245924 w 3060746"/>
                <a:gd name="connsiteY38" fmla="*/ 890469 h 1771142"/>
                <a:gd name="connsiteX39" fmla="*/ 1169372 w 3060746"/>
                <a:gd name="connsiteY39" fmla="*/ 896385 h 1771142"/>
                <a:gd name="connsiteX40" fmla="*/ 1099761 w 3060746"/>
                <a:gd name="connsiteY40" fmla="*/ 902702 h 1771142"/>
                <a:gd name="connsiteX41" fmla="*/ 1094849 w 3060746"/>
                <a:gd name="connsiteY41" fmla="*/ 891071 h 1771142"/>
                <a:gd name="connsiteX42" fmla="*/ 1060226 w 3060746"/>
                <a:gd name="connsiteY42" fmla="*/ 883885 h 1771142"/>
                <a:gd name="connsiteX43" fmla="*/ 1052108 w 3060746"/>
                <a:gd name="connsiteY43" fmla="*/ 866137 h 1771142"/>
                <a:gd name="connsiteX44" fmla="*/ 1063433 w 3060746"/>
                <a:gd name="connsiteY44" fmla="*/ 842272 h 1771142"/>
                <a:gd name="connsiteX45" fmla="*/ 987530 w 3060746"/>
                <a:gd name="connsiteY45" fmla="*/ 870649 h 1771142"/>
                <a:gd name="connsiteX46" fmla="*/ 1031123 w 3060746"/>
                <a:gd name="connsiteY46" fmla="*/ 871685 h 1771142"/>
                <a:gd name="connsiteX47" fmla="*/ 1026334 w 3060746"/>
                <a:gd name="connsiteY47" fmla="*/ 875963 h 1771142"/>
                <a:gd name="connsiteX48" fmla="*/ 989072 w 3060746"/>
                <a:gd name="connsiteY48" fmla="*/ 883417 h 1771142"/>
                <a:gd name="connsiteX49" fmla="*/ 955342 w 3060746"/>
                <a:gd name="connsiteY49" fmla="*/ 910456 h 1771142"/>
                <a:gd name="connsiteX50" fmla="*/ 1002304 w 3060746"/>
                <a:gd name="connsiteY50" fmla="*/ 931814 h 1771142"/>
                <a:gd name="connsiteX51" fmla="*/ 977951 w 3060746"/>
                <a:gd name="connsiteY51" fmla="*/ 946253 h 1771142"/>
                <a:gd name="connsiteX52" fmla="*/ 957453 w 3060746"/>
                <a:gd name="connsiteY52" fmla="*/ 936593 h 1771142"/>
                <a:gd name="connsiteX53" fmla="*/ 885893 w 3060746"/>
                <a:gd name="connsiteY53" fmla="*/ 941206 h 1771142"/>
                <a:gd name="connsiteX54" fmla="*/ 905985 w 3060746"/>
                <a:gd name="connsiteY54" fmla="*/ 947189 h 1771142"/>
                <a:gd name="connsiteX55" fmla="*/ 887923 w 3060746"/>
                <a:gd name="connsiteY55" fmla="*/ 958987 h 1771142"/>
                <a:gd name="connsiteX56" fmla="*/ 859875 w 3060746"/>
                <a:gd name="connsiteY56" fmla="*/ 975331 h 1771142"/>
                <a:gd name="connsiteX57" fmla="*/ 842381 w 3060746"/>
                <a:gd name="connsiteY57" fmla="*/ 967109 h 1771142"/>
                <a:gd name="connsiteX58" fmla="*/ 792009 w 3060746"/>
                <a:gd name="connsiteY58" fmla="*/ 987765 h 1771142"/>
                <a:gd name="connsiteX59" fmla="*/ 767655 w 3060746"/>
                <a:gd name="connsiteY59" fmla="*/ 1018047 h 1771142"/>
                <a:gd name="connsiteX60" fmla="*/ 771349 w 3060746"/>
                <a:gd name="connsiteY60" fmla="*/ 998862 h 1771142"/>
                <a:gd name="connsiteX61" fmla="*/ 710464 w 3060746"/>
                <a:gd name="connsiteY61" fmla="*/ 1019517 h 1771142"/>
                <a:gd name="connsiteX62" fmla="*/ 635901 w 3060746"/>
                <a:gd name="connsiteY62" fmla="*/ 1083022 h 1771142"/>
                <a:gd name="connsiteX63" fmla="*/ 636672 w 3060746"/>
                <a:gd name="connsiteY63" fmla="*/ 1088170 h 1771142"/>
                <a:gd name="connsiteX64" fmla="*/ 629650 w 3060746"/>
                <a:gd name="connsiteY64" fmla="*/ 1113772 h 1771142"/>
                <a:gd name="connsiteX65" fmla="*/ 665409 w 3060746"/>
                <a:gd name="connsiteY65" fmla="*/ 1105917 h 1771142"/>
                <a:gd name="connsiteX66" fmla="*/ 680306 w 3060746"/>
                <a:gd name="connsiteY66" fmla="*/ 1105917 h 1771142"/>
                <a:gd name="connsiteX67" fmla="*/ 745250 w 3060746"/>
                <a:gd name="connsiteY67" fmla="*/ 1066678 h 1771142"/>
                <a:gd name="connsiteX68" fmla="*/ 718582 w 3060746"/>
                <a:gd name="connsiteY68" fmla="*/ 1088069 h 1771142"/>
                <a:gd name="connsiteX69" fmla="*/ 673933 w 3060746"/>
                <a:gd name="connsiteY69" fmla="*/ 1122495 h 1771142"/>
                <a:gd name="connsiteX70" fmla="*/ 838281 w 3060746"/>
                <a:gd name="connsiteY70" fmla="*/ 1053643 h 1771142"/>
                <a:gd name="connsiteX71" fmla="*/ 884107 w 3060746"/>
                <a:gd name="connsiteY71" fmla="*/ 1042680 h 1771142"/>
                <a:gd name="connsiteX72" fmla="*/ 792496 w 3060746"/>
                <a:gd name="connsiteY72" fmla="*/ 1089105 h 1771142"/>
                <a:gd name="connsiteX73" fmla="*/ 722235 w 3060746"/>
                <a:gd name="connsiteY73" fmla="*/ 1135397 h 1771142"/>
                <a:gd name="connsiteX74" fmla="*/ 775002 w 3060746"/>
                <a:gd name="connsiteY74" fmla="*/ 1129782 h 1771142"/>
                <a:gd name="connsiteX75" fmla="*/ 826916 w 3060746"/>
                <a:gd name="connsiteY75" fmla="*/ 1106920 h 1771142"/>
                <a:gd name="connsiteX76" fmla="*/ 852488 w 3060746"/>
                <a:gd name="connsiteY76" fmla="*/ 1100737 h 1771142"/>
                <a:gd name="connsiteX77" fmla="*/ 912763 w 3060746"/>
                <a:gd name="connsiteY77" fmla="*/ 1090008 h 1771142"/>
                <a:gd name="connsiteX78" fmla="*/ 987124 w 3060746"/>
                <a:gd name="connsiteY78" fmla="*/ 1047493 h 1771142"/>
                <a:gd name="connsiteX79" fmla="*/ 1041230 w 3060746"/>
                <a:gd name="connsiteY79" fmla="*/ 1015473 h 1771142"/>
                <a:gd name="connsiteX80" fmla="*/ 1080683 w 3060746"/>
                <a:gd name="connsiteY80" fmla="*/ 984055 h 1771142"/>
                <a:gd name="connsiteX81" fmla="*/ 1133978 w 3060746"/>
                <a:gd name="connsiteY81" fmla="*/ 972825 h 1771142"/>
                <a:gd name="connsiteX82" fmla="*/ 1233098 w 3060746"/>
                <a:gd name="connsiteY82" fmla="*/ 918411 h 1771142"/>
                <a:gd name="connsiteX83" fmla="*/ 1211098 w 3060746"/>
                <a:gd name="connsiteY83" fmla="*/ 918411 h 1771142"/>
                <a:gd name="connsiteX84" fmla="*/ 1190397 w 3060746"/>
                <a:gd name="connsiteY84" fmla="*/ 934087 h 1771142"/>
                <a:gd name="connsiteX85" fmla="*/ 1200870 w 3060746"/>
                <a:gd name="connsiteY85" fmla="*/ 911058 h 1771142"/>
                <a:gd name="connsiteX86" fmla="*/ 1200585 w 3060746"/>
                <a:gd name="connsiteY86" fmla="*/ 911225 h 1771142"/>
                <a:gd name="connsiteX87" fmla="*/ 545873 w 3060746"/>
                <a:gd name="connsiteY87" fmla="*/ 1010393 h 1771142"/>
                <a:gd name="connsiteX88" fmla="*/ 584392 w 3060746"/>
                <a:gd name="connsiteY88" fmla="*/ 969850 h 1771142"/>
                <a:gd name="connsiteX89" fmla="*/ 545873 w 3060746"/>
                <a:gd name="connsiteY89" fmla="*/ 1010393 h 1771142"/>
                <a:gd name="connsiteX90" fmla="*/ 414565 w 3060746"/>
                <a:gd name="connsiteY90" fmla="*/ 1055013 h 1771142"/>
                <a:gd name="connsiteX91" fmla="*/ 426174 w 3060746"/>
                <a:gd name="connsiteY91" fmla="*/ 1059659 h 1771142"/>
                <a:gd name="connsiteX92" fmla="*/ 442856 w 3060746"/>
                <a:gd name="connsiteY92" fmla="*/ 1048128 h 1771142"/>
                <a:gd name="connsiteX93" fmla="*/ 465180 w 3060746"/>
                <a:gd name="connsiteY93" fmla="*/ 1036697 h 1771142"/>
                <a:gd name="connsiteX94" fmla="*/ 473298 w 3060746"/>
                <a:gd name="connsiteY94" fmla="*/ 1022526 h 1771142"/>
                <a:gd name="connsiteX95" fmla="*/ 494973 w 3060746"/>
                <a:gd name="connsiteY95" fmla="*/ 1025099 h 1771142"/>
                <a:gd name="connsiteX96" fmla="*/ 513766 w 3060746"/>
                <a:gd name="connsiteY96" fmla="*/ 1004677 h 1771142"/>
                <a:gd name="connsiteX97" fmla="*/ 539784 w 3060746"/>
                <a:gd name="connsiteY97" fmla="*/ 985960 h 1771142"/>
                <a:gd name="connsiteX98" fmla="*/ 548186 w 3060746"/>
                <a:gd name="connsiteY98" fmla="*/ 956313 h 1771142"/>
                <a:gd name="connsiteX99" fmla="*/ 574813 w 3060746"/>
                <a:gd name="connsiteY99" fmla="*/ 964168 h 1771142"/>
                <a:gd name="connsiteX100" fmla="*/ 598924 w 3060746"/>
                <a:gd name="connsiteY100" fmla="*/ 941005 h 1771142"/>
                <a:gd name="connsiteX101" fmla="*/ 615159 w 3060746"/>
                <a:gd name="connsiteY101" fmla="*/ 920116 h 1771142"/>
                <a:gd name="connsiteX102" fmla="*/ 606311 w 3060746"/>
                <a:gd name="connsiteY102" fmla="*/ 911994 h 1771142"/>
                <a:gd name="connsiteX103" fmla="*/ 623156 w 3060746"/>
                <a:gd name="connsiteY103" fmla="*/ 897555 h 1771142"/>
                <a:gd name="connsiteX104" fmla="*/ 584514 w 3060746"/>
                <a:gd name="connsiteY104" fmla="*/ 905677 h 1771142"/>
                <a:gd name="connsiteX105" fmla="*/ 568481 w 3060746"/>
                <a:gd name="connsiteY105" fmla="*/ 926901 h 1771142"/>
                <a:gd name="connsiteX106" fmla="*/ 515715 w 3060746"/>
                <a:gd name="connsiteY106" fmla="*/ 950631 h 1771142"/>
                <a:gd name="connsiteX107" fmla="*/ 473298 w 3060746"/>
                <a:gd name="connsiteY107" fmla="*/ 996121 h 1771142"/>
                <a:gd name="connsiteX108" fmla="*/ 460634 w 3060746"/>
                <a:gd name="connsiteY108" fmla="*/ 1014069 h 1771142"/>
                <a:gd name="connsiteX109" fmla="*/ 435590 w 3060746"/>
                <a:gd name="connsiteY109" fmla="*/ 1029945 h 1771142"/>
                <a:gd name="connsiteX110" fmla="*/ 414240 w 3060746"/>
                <a:gd name="connsiteY110" fmla="*/ 1055013 h 1771142"/>
                <a:gd name="connsiteX111" fmla="*/ 633750 w 3060746"/>
                <a:gd name="connsiteY111" fmla="*/ 935691 h 1771142"/>
                <a:gd name="connsiteX112" fmla="*/ 631071 w 3060746"/>
                <a:gd name="connsiteY112" fmla="*/ 948425 h 1771142"/>
                <a:gd name="connsiteX113" fmla="*/ 665978 w 3060746"/>
                <a:gd name="connsiteY113" fmla="*/ 935056 h 1771142"/>
                <a:gd name="connsiteX114" fmla="*/ 614672 w 3060746"/>
                <a:gd name="connsiteY114" fmla="*/ 971822 h 1771142"/>
                <a:gd name="connsiteX115" fmla="*/ 664314 w 3060746"/>
                <a:gd name="connsiteY115" fmla="*/ 948425 h 1771142"/>
                <a:gd name="connsiteX116" fmla="*/ 610370 w 3060746"/>
                <a:gd name="connsiteY116" fmla="*/ 985994 h 1771142"/>
                <a:gd name="connsiteX117" fmla="*/ 626403 w 3060746"/>
                <a:gd name="connsiteY117" fmla="*/ 984423 h 1771142"/>
                <a:gd name="connsiteX118" fmla="*/ 683228 w 3060746"/>
                <a:gd name="connsiteY118" fmla="*/ 963399 h 1771142"/>
                <a:gd name="connsiteX119" fmla="*/ 708354 w 3060746"/>
                <a:gd name="connsiteY119" fmla="*/ 934555 h 1771142"/>
                <a:gd name="connsiteX120" fmla="*/ 720165 w 3060746"/>
                <a:gd name="connsiteY120" fmla="*/ 935089 h 1771142"/>
                <a:gd name="connsiteX121" fmla="*/ 794729 w 3060746"/>
                <a:gd name="connsiteY121" fmla="*/ 898825 h 1771142"/>
                <a:gd name="connsiteX122" fmla="*/ 787666 w 3060746"/>
                <a:gd name="connsiteY122" fmla="*/ 910323 h 1771142"/>
                <a:gd name="connsiteX123" fmla="*/ 743910 w 3060746"/>
                <a:gd name="connsiteY123" fmla="*/ 939000 h 1771142"/>
                <a:gd name="connsiteX124" fmla="*/ 757914 w 3060746"/>
                <a:gd name="connsiteY124" fmla="*/ 951133 h 1771142"/>
                <a:gd name="connsiteX125" fmla="*/ 833167 w 3060746"/>
                <a:gd name="connsiteY125" fmla="*/ 902368 h 1771142"/>
                <a:gd name="connsiteX126" fmla="*/ 855451 w 3060746"/>
                <a:gd name="connsiteY126" fmla="*/ 881378 h 1771142"/>
                <a:gd name="connsiteX127" fmla="*/ 895675 w 3060746"/>
                <a:gd name="connsiteY127" fmla="*/ 862259 h 1771142"/>
                <a:gd name="connsiteX128" fmla="*/ 936265 w 3060746"/>
                <a:gd name="connsiteY128" fmla="*/ 839164 h 1771142"/>
                <a:gd name="connsiteX129" fmla="*/ 981441 w 3060746"/>
                <a:gd name="connsiteY129" fmla="*/ 815366 h 1771142"/>
                <a:gd name="connsiteX130" fmla="*/ 964191 w 3060746"/>
                <a:gd name="connsiteY130" fmla="*/ 786187 h 1771142"/>
                <a:gd name="connsiteX131" fmla="*/ 937117 w 3060746"/>
                <a:gd name="connsiteY131" fmla="*/ 805172 h 1771142"/>
                <a:gd name="connsiteX132" fmla="*/ 898719 w 3060746"/>
                <a:gd name="connsiteY132" fmla="*/ 813361 h 1771142"/>
                <a:gd name="connsiteX133" fmla="*/ 867668 w 3060746"/>
                <a:gd name="connsiteY133" fmla="*/ 806509 h 1771142"/>
                <a:gd name="connsiteX134" fmla="*/ 836577 w 3060746"/>
                <a:gd name="connsiteY134" fmla="*/ 817739 h 1771142"/>
                <a:gd name="connsiteX135" fmla="*/ 817215 w 3060746"/>
                <a:gd name="connsiteY135" fmla="*/ 839966 h 1771142"/>
                <a:gd name="connsiteX136" fmla="*/ 840676 w 3060746"/>
                <a:gd name="connsiteY136" fmla="*/ 836624 h 1771142"/>
                <a:gd name="connsiteX137" fmla="*/ 836617 w 3060746"/>
                <a:gd name="connsiteY137" fmla="*/ 849391 h 1771142"/>
                <a:gd name="connsiteX138" fmla="*/ 854720 w 3060746"/>
                <a:gd name="connsiteY138" fmla="*/ 848890 h 1771142"/>
                <a:gd name="connsiteX139" fmla="*/ 843111 w 3060746"/>
                <a:gd name="connsiteY139" fmla="*/ 863229 h 1771142"/>
                <a:gd name="connsiteX140" fmla="*/ 784094 w 3060746"/>
                <a:gd name="connsiteY140" fmla="*/ 877801 h 1771142"/>
                <a:gd name="connsiteX141" fmla="*/ 739445 w 3060746"/>
                <a:gd name="connsiteY141" fmla="*/ 885723 h 1771142"/>
                <a:gd name="connsiteX142" fmla="*/ 712088 w 3060746"/>
                <a:gd name="connsiteY142" fmla="*/ 895382 h 1771142"/>
                <a:gd name="connsiteX143" fmla="*/ 691793 w 3060746"/>
                <a:gd name="connsiteY143" fmla="*/ 905978 h 1771142"/>
                <a:gd name="connsiteX144" fmla="*/ 661635 w 3060746"/>
                <a:gd name="connsiteY144" fmla="*/ 909320 h 1771142"/>
                <a:gd name="connsiteX145" fmla="*/ 633871 w 3060746"/>
                <a:gd name="connsiteY145" fmla="*/ 935691 h 1771142"/>
                <a:gd name="connsiteX146" fmla="*/ 674339 w 3060746"/>
                <a:gd name="connsiteY146" fmla="*/ 851631 h 1771142"/>
                <a:gd name="connsiteX147" fmla="*/ 628026 w 3060746"/>
                <a:gd name="connsiteY147" fmla="*/ 869379 h 1771142"/>
                <a:gd name="connsiteX148" fmla="*/ 674542 w 3060746"/>
                <a:gd name="connsiteY148" fmla="*/ 851664 h 1771142"/>
                <a:gd name="connsiteX149" fmla="*/ 793105 w 3060746"/>
                <a:gd name="connsiteY149" fmla="*/ 789797 h 1771142"/>
                <a:gd name="connsiteX150" fmla="*/ 791968 w 3060746"/>
                <a:gd name="connsiteY150" fmla="*/ 783112 h 1771142"/>
                <a:gd name="connsiteX151" fmla="*/ 748781 w 3060746"/>
                <a:gd name="connsiteY151" fmla="*/ 804704 h 1771142"/>
                <a:gd name="connsiteX152" fmla="*/ 693863 w 3060746"/>
                <a:gd name="connsiteY152" fmla="*/ 845882 h 1771142"/>
                <a:gd name="connsiteX153" fmla="*/ 762581 w 3060746"/>
                <a:gd name="connsiteY153" fmla="*/ 829170 h 1771142"/>
                <a:gd name="connsiteX154" fmla="*/ 789208 w 3060746"/>
                <a:gd name="connsiteY154" fmla="*/ 804470 h 1771142"/>
                <a:gd name="connsiteX155" fmla="*/ 775286 w 3060746"/>
                <a:gd name="connsiteY155" fmla="*/ 804470 h 1771142"/>
                <a:gd name="connsiteX156" fmla="*/ 793105 w 3060746"/>
                <a:gd name="connsiteY156" fmla="*/ 789730 h 1771142"/>
                <a:gd name="connsiteX157" fmla="*/ 793105 w 3060746"/>
                <a:gd name="connsiteY157" fmla="*/ 789797 h 1771142"/>
                <a:gd name="connsiteX158" fmla="*/ 712737 w 3060746"/>
                <a:gd name="connsiteY158" fmla="*/ 811857 h 1771142"/>
                <a:gd name="connsiteX159" fmla="*/ 754382 w 3060746"/>
                <a:gd name="connsiteY159" fmla="*/ 790299 h 1771142"/>
                <a:gd name="connsiteX160" fmla="*/ 793308 w 3060746"/>
                <a:gd name="connsiteY160" fmla="*/ 775124 h 1771142"/>
                <a:gd name="connsiteX161" fmla="*/ 799275 w 3060746"/>
                <a:gd name="connsiteY161" fmla="*/ 758646 h 1771142"/>
                <a:gd name="connsiteX162" fmla="*/ 754626 w 3060746"/>
                <a:gd name="connsiteY162" fmla="*/ 771448 h 1771142"/>
                <a:gd name="connsiteX163" fmla="*/ 691509 w 3060746"/>
                <a:gd name="connsiteY163" fmla="*/ 810553 h 1771142"/>
                <a:gd name="connsiteX164" fmla="*/ 667520 w 3060746"/>
                <a:gd name="connsiteY164" fmla="*/ 828435 h 1771142"/>
                <a:gd name="connsiteX165" fmla="*/ 712818 w 3060746"/>
                <a:gd name="connsiteY165" fmla="*/ 811723 h 1771142"/>
                <a:gd name="connsiteX166" fmla="*/ 712737 w 3060746"/>
                <a:gd name="connsiteY166" fmla="*/ 811756 h 1771142"/>
                <a:gd name="connsiteX167" fmla="*/ 944545 w 3060746"/>
                <a:gd name="connsiteY167" fmla="*/ 676157 h 1771142"/>
                <a:gd name="connsiteX168" fmla="*/ 983024 w 3060746"/>
                <a:gd name="connsiteY168" fmla="*/ 674185 h 1771142"/>
                <a:gd name="connsiteX169" fmla="*/ 956600 w 3060746"/>
                <a:gd name="connsiteY169" fmla="*/ 694640 h 1771142"/>
                <a:gd name="connsiteX170" fmla="*/ 1010422 w 3060746"/>
                <a:gd name="connsiteY170" fmla="*/ 668369 h 1771142"/>
                <a:gd name="connsiteX171" fmla="*/ 1084945 w 3060746"/>
                <a:gd name="connsiteY171" fmla="*/ 647513 h 1771142"/>
                <a:gd name="connsiteX172" fmla="*/ 1144977 w 3060746"/>
                <a:gd name="connsiteY172" fmla="*/ 629397 h 1771142"/>
                <a:gd name="connsiteX173" fmla="*/ 1134221 w 3060746"/>
                <a:gd name="connsiteY173" fmla="*/ 616596 h 1771142"/>
                <a:gd name="connsiteX174" fmla="*/ 1118554 w 3060746"/>
                <a:gd name="connsiteY174" fmla="*/ 608608 h 1771142"/>
                <a:gd name="connsiteX175" fmla="*/ 1067816 w 3060746"/>
                <a:gd name="connsiteY175" fmla="*/ 621977 h 1771142"/>
                <a:gd name="connsiteX176" fmla="*/ 1035710 w 3060746"/>
                <a:gd name="connsiteY176" fmla="*/ 624417 h 1771142"/>
                <a:gd name="connsiteX177" fmla="*/ 1018378 w 3060746"/>
                <a:gd name="connsiteY177" fmla="*/ 636483 h 1771142"/>
                <a:gd name="connsiteX178" fmla="*/ 1008718 w 3060746"/>
                <a:gd name="connsiteY178" fmla="*/ 631536 h 1771142"/>
                <a:gd name="connsiteX179" fmla="*/ 922992 w 3060746"/>
                <a:gd name="connsiteY179" fmla="*/ 663590 h 1771142"/>
                <a:gd name="connsiteX180" fmla="*/ 944545 w 3060746"/>
                <a:gd name="connsiteY180" fmla="*/ 676123 h 1771142"/>
                <a:gd name="connsiteX181" fmla="*/ 944545 w 3060746"/>
                <a:gd name="connsiteY181" fmla="*/ 676157 h 1771142"/>
                <a:gd name="connsiteX182" fmla="*/ 991873 w 3060746"/>
                <a:gd name="connsiteY182" fmla="*/ 727261 h 1771142"/>
                <a:gd name="connsiteX183" fmla="*/ 929852 w 3060746"/>
                <a:gd name="connsiteY183" fmla="*/ 732074 h 1771142"/>
                <a:gd name="connsiteX184" fmla="*/ 991873 w 3060746"/>
                <a:gd name="connsiteY184" fmla="*/ 727195 h 1771142"/>
                <a:gd name="connsiteX185" fmla="*/ 1129432 w 3060746"/>
                <a:gd name="connsiteY185" fmla="*/ 555097 h 1771142"/>
                <a:gd name="connsiteX186" fmla="*/ 1079547 w 3060746"/>
                <a:gd name="connsiteY186" fmla="*/ 566996 h 1771142"/>
                <a:gd name="connsiteX187" fmla="*/ 1129432 w 3060746"/>
                <a:gd name="connsiteY187" fmla="*/ 555030 h 1771142"/>
                <a:gd name="connsiteX188" fmla="*/ 1058805 w 3060746"/>
                <a:gd name="connsiteY188" fmla="*/ 779770 h 1771142"/>
                <a:gd name="connsiteX189" fmla="*/ 1023330 w 3060746"/>
                <a:gd name="connsiteY189" fmla="*/ 786187 h 1771142"/>
                <a:gd name="connsiteX190" fmla="*/ 1058805 w 3060746"/>
                <a:gd name="connsiteY190" fmla="*/ 779770 h 1771142"/>
                <a:gd name="connsiteX191" fmla="*/ 1195187 w 3060746"/>
                <a:gd name="connsiteY191" fmla="*/ 660615 h 1771142"/>
                <a:gd name="connsiteX192" fmla="*/ 1125251 w 3060746"/>
                <a:gd name="connsiteY192" fmla="*/ 692367 h 1771142"/>
                <a:gd name="connsiteX193" fmla="*/ 1152121 w 3060746"/>
                <a:gd name="connsiteY193" fmla="*/ 698484 h 1771142"/>
                <a:gd name="connsiteX194" fmla="*/ 1088720 w 3060746"/>
                <a:gd name="connsiteY194" fmla="*/ 712722 h 1771142"/>
                <a:gd name="connsiteX195" fmla="*/ 1111410 w 3060746"/>
                <a:gd name="connsiteY195" fmla="*/ 723384 h 1771142"/>
                <a:gd name="connsiteX196" fmla="*/ 1063636 w 3060746"/>
                <a:gd name="connsiteY196" fmla="*/ 728431 h 1771142"/>
                <a:gd name="connsiteX197" fmla="*/ 1003319 w 3060746"/>
                <a:gd name="connsiteY197" fmla="*/ 739695 h 1771142"/>
                <a:gd name="connsiteX198" fmla="*/ 1030190 w 3060746"/>
                <a:gd name="connsiteY198" fmla="*/ 754201 h 1771142"/>
                <a:gd name="connsiteX199" fmla="*/ 1101749 w 3060746"/>
                <a:gd name="connsiteY199" fmla="*/ 742703 h 1771142"/>
                <a:gd name="connsiteX200" fmla="*/ 1165394 w 3060746"/>
                <a:gd name="connsiteY200" fmla="*/ 711686 h 1771142"/>
                <a:gd name="connsiteX201" fmla="*/ 1165394 w 3060746"/>
                <a:gd name="connsiteY201" fmla="*/ 730637 h 1771142"/>
                <a:gd name="connsiteX202" fmla="*/ 1223153 w 3060746"/>
                <a:gd name="connsiteY202" fmla="*/ 713758 h 1771142"/>
                <a:gd name="connsiteX203" fmla="*/ 1252013 w 3060746"/>
                <a:gd name="connsiteY203" fmla="*/ 698584 h 1771142"/>
                <a:gd name="connsiteX204" fmla="*/ 1257371 w 3060746"/>
                <a:gd name="connsiteY204" fmla="*/ 685215 h 1771142"/>
                <a:gd name="connsiteX205" fmla="*/ 1248725 w 3060746"/>
                <a:gd name="connsiteY205" fmla="*/ 673984 h 1771142"/>
                <a:gd name="connsiteX206" fmla="*/ 1247101 w 3060746"/>
                <a:gd name="connsiteY206" fmla="*/ 661918 h 1771142"/>
                <a:gd name="connsiteX207" fmla="*/ 1227821 w 3060746"/>
                <a:gd name="connsiteY207" fmla="*/ 655234 h 1771142"/>
                <a:gd name="connsiteX208" fmla="*/ 1195350 w 3060746"/>
                <a:gd name="connsiteY208" fmla="*/ 660481 h 1771142"/>
                <a:gd name="connsiteX209" fmla="*/ 1233341 w 3060746"/>
                <a:gd name="connsiteY209" fmla="*/ 594670 h 1771142"/>
                <a:gd name="connsiteX210" fmla="*/ 1294754 w 3060746"/>
                <a:gd name="connsiteY210" fmla="*/ 562283 h 1771142"/>
                <a:gd name="connsiteX211" fmla="*/ 1286636 w 3060746"/>
                <a:gd name="connsiteY211" fmla="*/ 552523 h 1771142"/>
                <a:gd name="connsiteX212" fmla="*/ 1241013 w 3060746"/>
                <a:gd name="connsiteY212" fmla="*/ 563285 h 1771142"/>
                <a:gd name="connsiteX213" fmla="*/ 1169494 w 3060746"/>
                <a:gd name="connsiteY213" fmla="*/ 582203 h 1771142"/>
                <a:gd name="connsiteX214" fmla="*/ 1233341 w 3060746"/>
                <a:gd name="connsiteY214" fmla="*/ 594670 h 1771142"/>
                <a:gd name="connsiteX215" fmla="*/ 1357140 w 3060746"/>
                <a:gd name="connsiteY215" fmla="*/ 548579 h 1771142"/>
                <a:gd name="connsiteX216" fmla="*/ 1262810 w 3060746"/>
                <a:gd name="connsiteY216" fmla="*/ 596876 h 1771142"/>
                <a:gd name="connsiteX217" fmla="*/ 1357181 w 3060746"/>
                <a:gd name="connsiteY217" fmla="*/ 548579 h 1771142"/>
                <a:gd name="connsiteX218" fmla="*/ 1399232 w 3060746"/>
                <a:gd name="connsiteY218" fmla="*/ 654532 h 1771142"/>
                <a:gd name="connsiteX219" fmla="*/ 1367572 w 3060746"/>
                <a:gd name="connsiteY219" fmla="*/ 635246 h 1771142"/>
                <a:gd name="connsiteX220" fmla="*/ 1302101 w 3060746"/>
                <a:gd name="connsiteY220" fmla="*/ 668068 h 1771142"/>
                <a:gd name="connsiteX221" fmla="*/ 1311923 w 3060746"/>
                <a:gd name="connsiteY221" fmla="*/ 681204 h 1771142"/>
                <a:gd name="connsiteX222" fmla="*/ 1399232 w 3060746"/>
                <a:gd name="connsiteY222" fmla="*/ 654465 h 1771142"/>
                <a:gd name="connsiteX223" fmla="*/ 1269345 w 3060746"/>
                <a:gd name="connsiteY223" fmla="*/ 826663 h 1771142"/>
                <a:gd name="connsiteX224" fmla="*/ 1305875 w 3060746"/>
                <a:gd name="connsiteY224" fmla="*/ 803969 h 1771142"/>
                <a:gd name="connsiteX225" fmla="*/ 1336967 w 3060746"/>
                <a:gd name="connsiteY225" fmla="*/ 786555 h 1771142"/>
                <a:gd name="connsiteX226" fmla="*/ 1347033 w 3060746"/>
                <a:gd name="connsiteY226" fmla="*/ 766501 h 1771142"/>
                <a:gd name="connsiteX227" fmla="*/ 1337373 w 3060746"/>
                <a:gd name="connsiteY227" fmla="*/ 734648 h 1771142"/>
                <a:gd name="connsiteX228" fmla="*/ 1328078 w 3060746"/>
                <a:gd name="connsiteY228" fmla="*/ 756039 h 1771142"/>
                <a:gd name="connsiteX229" fmla="*/ 1313790 w 3060746"/>
                <a:gd name="connsiteY229" fmla="*/ 752329 h 1771142"/>
                <a:gd name="connsiteX230" fmla="*/ 1292115 w 3060746"/>
                <a:gd name="connsiteY230" fmla="*/ 760451 h 1771142"/>
                <a:gd name="connsiteX231" fmla="*/ 1280344 w 3060746"/>
                <a:gd name="connsiteY231" fmla="*/ 753766 h 1771142"/>
                <a:gd name="connsiteX232" fmla="*/ 1308514 w 3060746"/>
                <a:gd name="connsiteY232" fmla="*/ 727027 h 1771142"/>
                <a:gd name="connsiteX233" fmla="*/ 1276651 w 3060746"/>
                <a:gd name="connsiteY233" fmla="*/ 728498 h 1771142"/>
                <a:gd name="connsiteX234" fmla="*/ 1265529 w 3060746"/>
                <a:gd name="connsiteY234" fmla="*/ 726225 h 1771142"/>
                <a:gd name="connsiteX235" fmla="*/ 1235330 w 3060746"/>
                <a:gd name="connsiteY235" fmla="*/ 743238 h 1771142"/>
                <a:gd name="connsiteX236" fmla="*/ 1248035 w 3060746"/>
                <a:gd name="connsiteY236" fmla="*/ 747383 h 1771142"/>
                <a:gd name="connsiteX237" fmla="*/ 1197460 w 3060746"/>
                <a:gd name="connsiteY237" fmla="*/ 765398 h 1771142"/>
                <a:gd name="connsiteX238" fmla="*/ 1187597 w 3060746"/>
                <a:gd name="connsiteY238" fmla="*/ 790365 h 1771142"/>
                <a:gd name="connsiteX239" fmla="*/ 1217593 w 3060746"/>
                <a:gd name="connsiteY239" fmla="*/ 780773 h 1771142"/>
                <a:gd name="connsiteX240" fmla="*/ 1194051 w 3060746"/>
                <a:gd name="connsiteY240" fmla="*/ 810085 h 1771142"/>
                <a:gd name="connsiteX241" fmla="*/ 1153055 w 3060746"/>
                <a:gd name="connsiteY241" fmla="*/ 816202 h 1771142"/>
                <a:gd name="connsiteX242" fmla="*/ 1148428 w 3060746"/>
                <a:gd name="connsiteY242" fmla="*/ 835019 h 1771142"/>
                <a:gd name="connsiteX243" fmla="*/ 1212072 w 3060746"/>
                <a:gd name="connsiteY243" fmla="*/ 824992 h 1771142"/>
                <a:gd name="connsiteX244" fmla="*/ 1269263 w 3060746"/>
                <a:gd name="connsiteY244" fmla="*/ 826697 h 1771142"/>
                <a:gd name="connsiteX245" fmla="*/ 1269507 w 3060746"/>
                <a:gd name="connsiteY245" fmla="*/ 826563 h 1771142"/>
                <a:gd name="connsiteX246" fmla="*/ 1443150 w 3060746"/>
                <a:gd name="connsiteY246" fmla="*/ 620273 h 1771142"/>
                <a:gd name="connsiteX247" fmla="*/ 1471319 w 3060746"/>
                <a:gd name="connsiteY247" fmla="*/ 618635 h 1771142"/>
                <a:gd name="connsiteX248" fmla="*/ 1514831 w 3060746"/>
                <a:gd name="connsiteY248" fmla="*/ 610613 h 1771142"/>
                <a:gd name="connsiteX249" fmla="*/ 1554406 w 3060746"/>
                <a:gd name="connsiteY249" fmla="*/ 586481 h 1771142"/>
                <a:gd name="connsiteX250" fmla="*/ 1576203 w 3060746"/>
                <a:gd name="connsiteY250" fmla="*/ 584008 h 1771142"/>
                <a:gd name="connsiteX251" fmla="*/ 1651984 w 3060746"/>
                <a:gd name="connsiteY251" fmla="*/ 561982 h 1771142"/>
                <a:gd name="connsiteX252" fmla="*/ 1737223 w 3060746"/>
                <a:gd name="connsiteY252" fmla="*/ 524481 h 1771142"/>
                <a:gd name="connsiteX253" fmla="*/ 1767097 w 3060746"/>
                <a:gd name="connsiteY253" fmla="*/ 513718 h 1771142"/>
                <a:gd name="connsiteX254" fmla="*/ 1857003 w 3060746"/>
                <a:gd name="connsiteY254" fmla="*/ 480863 h 1771142"/>
                <a:gd name="connsiteX255" fmla="*/ 1858464 w 3060746"/>
                <a:gd name="connsiteY255" fmla="*/ 451383 h 1771142"/>
                <a:gd name="connsiteX256" fmla="*/ 1793886 w 3060746"/>
                <a:gd name="connsiteY256" fmla="*/ 466758 h 1771142"/>
                <a:gd name="connsiteX257" fmla="*/ 1714817 w 3060746"/>
                <a:gd name="connsiteY257" fmla="*/ 492661 h 1771142"/>
                <a:gd name="connsiteX258" fmla="*/ 1655800 w 3060746"/>
                <a:gd name="connsiteY258" fmla="*/ 520804 h 1771142"/>
                <a:gd name="connsiteX259" fmla="*/ 1569019 w 3060746"/>
                <a:gd name="connsiteY259" fmla="*/ 553893 h 1771142"/>
                <a:gd name="connsiteX260" fmla="*/ 1547709 w 3060746"/>
                <a:gd name="connsiteY260" fmla="*/ 557236 h 1771142"/>
                <a:gd name="connsiteX261" fmla="*/ 1499326 w 3060746"/>
                <a:gd name="connsiteY261" fmla="*/ 568633 h 1771142"/>
                <a:gd name="connsiteX262" fmla="*/ 1515034 w 3060746"/>
                <a:gd name="connsiteY262" fmla="*/ 544401 h 1771142"/>
                <a:gd name="connsiteX263" fmla="*/ 1435803 w 3060746"/>
                <a:gd name="connsiteY263" fmla="*/ 561514 h 1771142"/>
                <a:gd name="connsiteX264" fmla="*/ 1390465 w 3060746"/>
                <a:gd name="connsiteY264" fmla="*/ 579262 h 1771142"/>
                <a:gd name="connsiteX265" fmla="*/ 1336155 w 3060746"/>
                <a:gd name="connsiteY265" fmla="*/ 588687 h 1771142"/>
                <a:gd name="connsiteX266" fmla="*/ 1259928 w 3060746"/>
                <a:gd name="connsiteY266" fmla="*/ 620273 h 1771142"/>
                <a:gd name="connsiteX267" fmla="*/ 1364041 w 3060746"/>
                <a:gd name="connsiteY267" fmla="*/ 605098 h 1771142"/>
                <a:gd name="connsiteX268" fmla="*/ 1379708 w 3060746"/>
                <a:gd name="connsiteY268" fmla="*/ 594503 h 1771142"/>
                <a:gd name="connsiteX269" fmla="*/ 1415955 w 3060746"/>
                <a:gd name="connsiteY269" fmla="*/ 595205 h 1771142"/>
                <a:gd name="connsiteX270" fmla="*/ 1435722 w 3060746"/>
                <a:gd name="connsiteY270" fmla="*/ 603227 h 1771142"/>
                <a:gd name="connsiteX271" fmla="*/ 1443312 w 3060746"/>
                <a:gd name="connsiteY271" fmla="*/ 620139 h 1771142"/>
                <a:gd name="connsiteX272" fmla="*/ 1473430 w 3060746"/>
                <a:gd name="connsiteY272" fmla="*/ 509774 h 1771142"/>
                <a:gd name="connsiteX273" fmla="*/ 1446843 w 3060746"/>
                <a:gd name="connsiteY273" fmla="*/ 534240 h 1771142"/>
                <a:gd name="connsiteX274" fmla="*/ 1473592 w 3060746"/>
                <a:gd name="connsiteY274" fmla="*/ 509774 h 1771142"/>
                <a:gd name="connsiteX275" fmla="*/ 1210530 w 3060746"/>
                <a:gd name="connsiteY275" fmla="*/ 520236 h 1771142"/>
                <a:gd name="connsiteX276" fmla="*/ 1244098 w 3060746"/>
                <a:gd name="connsiteY276" fmla="*/ 524113 h 1771142"/>
                <a:gd name="connsiteX277" fmla="*/ 1282739 w 3060746"/>
                <a:gd name="connsiteY277" fmla="*/ 512381 h 1771142"/>
                <a:gd name="connsiteX278" fmla="*/ 1354705 w 3060746"/>
                <a:gd name="connsiteY278" fmla="*/ 484005 h 1771142"/>
                <a:gd name="connsiteX279" fmla="*/ 1330351 w 3060746"/>
                <a:gd name="connsiteY279" fmla="*/ 518230 h 1771142"/>
                <a:gd name="connsiteX280" fmla="*/ 1359616 w 3060746"/>
                <a:gd name="connsiteY280" fmla="*/ 516827 h 1771142"/>
                <a:gd name="connsiteX281" fmla="*/ 1369966 w 3060746"/>
                <a:gd name="connsiteY281" fmla="*/ 518832 h 1771142"/>
                <a:gd name="connsiteX282" fmla="*/ 1439578 w 3060746"/>
                <a:gd name="connsiteY282" fmla="*/ 501118 h 1771142"/>
                <a:gd name="connsiteX283" fmla="*/ 1463607 w 3060746"/>
                <a:gd name="connsiteY283" fmla="*/ 485709 h 1771142"/>
                <a:gd name="connsiteX284" fmla="*/ 1504197 w 3060746"/>
                <a:gd name="connsiteY284" fmla="*/ 472607 h 1771142"/>
                <a:gd name="connsiteX285" fmla="*/ 1510610 w 3060746"/>
                <a:gd name="connsiteY285" fmla="*/ 455595 h 1771142"/>
                <a:gd name="connsiteX286" fmla="*/ 1527414 w 3060746"/>
                <a:gd name="connsiteY286" fmla="*/ 445033 h 1771142"/>
                <a:gd name="connsiteX287" fmla="*/ 1541905 w 3060746"/>
                <a:gd name="connsiteY287" fmla="*/ 425246 h 1771142"/>
                <a:gd name="connsiteX288" fmla="*/ 1585985 w 3060746"/>
                <a:gd name="connsiteY288" fmla="*/ 401448 h 1771142"/>
                <a:gd name="connsiteX289" fmla="*/ 1599096 w 3060746"/>
                <a:gd name="connsiteY289" fmla="*/ 388079 h 1771142"/>
                <a:gd name="connsiteX290" fmla="*/ 1553919 w 3060746"/>
                <a:gd name="connsiteY290" fmla="*/ 399878 h 1771142"/>
                <a:gd name="connsiteX291" fmla="*/ 1522381 w 3060746"/>
                <a:gd name="connsiteY291" fmla="*/ 401849 h 1771142"/>
                <a:gd name="connsiteX292" fmla="*/ 1513411 w 3060746"/>
                <a:gd name="connsiteY292" fmla="*/ 393527 h 1771142"/>
                <a:gd name="connsiteX293" fmla="*/ 1500868 w 3060746"/>
                <a:gd name="connsiteY293" fmla="*/ 389449 h 1771142"/>
                <a:gd name="connsiteX294" fmla="*/ 1484389 w 3060746"/>
                <a:gd name="connsiteY294" fmla="*/ 387277 h 1771142"/>
                <a:gd name="connsiteX295" fmla="*/ 1476271 w 3060746"/>
                <a:gd name="connsiteY295" fmla="*/ 398039 h 1771142"/>
                <a:gd name="connsiteX296" fmla="*/ 1447858 w 3060746"/>
                <a:gd name="connsiteY296" fmla="*/ 403688 h 1771142"/>
                <a:gd name="connsiteX297" fmla="*/ 1425250 w 3060746"/>
                <a:gd name="connsiteY297" fmla="*/ 400914 h 1771142"/>
                <a:gd name="connsiteX298" fmla="*/ 1375771 w 3060746"/>
                <a:gd name="connsiteY298" fmla="*/ 410038 h 1771142"/>
                <a:gd name="connsiteX299" fmla="*/ 1267153 w 3060746"/>
                <a:gd name="connsiteY299" fmla="*/ 424878 h 1771142"/>
                <a:gd name="connsiteX300" fmla="*/ 1243814 w 3060746"/>
                <a:gd name="connsiteY300" fmla="*/ 438248 h 1771142"/>
                <a:gd name="connsiteX301" fmla="*/ 1273241 w 3060746"/>
                <a:gd name="connsiteY301" fmla="*/ 435373 h 1771142"/>
                <a:gd name="connsiteX302" fmla="*/ 1240079 w 3060746"/>
                <a:gd name="connsiteY302" fmla="*/ 458469 h 1771142"/>
                <a:gd name="connsiteX303" fmla="*/ 1200504 w 3060746"/>
                <a:gd name="connsiteY303" fmla="*/ 488818 h 1771142"/>
                <a:gd name="connsiteX304" fmla="*/ 1248968 w 3060746"/>
                <a:gd name="connsiteY304" fmla="*/ 492394 h 1771142"/>
                <a:gd name="connsiteX305" fmla="*/ 1208379 w 3060746"/>
                <a:gd name="connsiteY305" fmla="*/ 510142 h 1771142"/>
                <a:gd name="connsiteX306" fmla="*/ 1211058 w 3060746"/>
                <a:gd name="connsiteY306" fmla="*/ 520169 h 1771142"/>
                <a:gd name="connsiteX307" fmla="*/ 1210692 w 3060746"/>
                <a:gd name="connsiteY307" fmla="*/ 520236 h 1771142"/>
                <a:gd name="connsiteX308" fmla="*/ 1356166 w 3060746"/>
                <a:gd name="connsiteY308" fmla="*/ 378687 h 1771142"/>
                <a:gd name="connsiteX309" fmla="*/ 1371915 w 3060746"/>
                <a:gd name="connsiteY309" fmla="*/ 377116 h 1771142"/>
                <a:gd name="connsiteX310" fmla="*/ 1403900 w 3060746"/>
                <a:gd name="connsiteY310" fmla="*/ 370431 h 1771142"/>
                <a:gd name="connsiteX311" fmla="*/ 1405442 w 3060746"/>
                <a:gd name="connsiteY311" fmla="*/ 387711 h 1771142"/>
                <a:gd name="connsiteX312" fmla="*/ 1429268 w 3060746"/>
                <a:gd name="connsiteY312" fmla="*/ 386174 h 1771142"/>
                <a:gd name="connsiteX313" fmla="*/ 1464825 w 3060746"/>
                <a:gd name="connsiteY313" fmla="*/ 378821 h 1771142"/>
                <a:gd name="connsiteX314" fmla="*/ 1527779 w 3060746"/>
                <a:gd name="connsiteY314" fmla="*/ 346266 h 1771142"/>
                <a:gd name="connsiteX315" fmla="*/ 1532245 w 3060746"/>
                <a:gd name="connsiteY315" fmla="*/ 357797 h 1771142"/>
                <a:gd name="connsiteX316" fmla="*/ 1560089 w 3060746"/>
                <a:gd name="connsiteY316" fmla="*/ 352784 h 1771142"/>
                <a:gd name="connsiteX317" fmla="*/ 1627671 w 3060746"/>
                <a:gd name="connsiteY317" fmla="*/ 329020 h 1771142"/>
                <a:gd name="connsiteX318" fmla="*/ 1643907 w 3060746"/>
                <a:gd name="connsiteY318" fmla="*/ 315650 h 1771142"/>
                <a:gd name="connsiteX319" fmla="*/ 1684497 w 3060746"/>
                <a:gd name="connsiteY319" fmla="*/ 304152 h 1771142"/>
                <a:gd name="connsiteX320" fmla="*/ 1755001 w 3060746"/>
                <a:gd name="connsiteY320" fmla="*/ 269826 h 1771142"/>
                <a:gd name="connsiteX321" fmla="*/ 1787473 w 3060746"/>
                <a:gd name="connsiteY321" fmla="*/ 252413 h 1771142"/>
                <a:gd name="connsiteX322" fmla="*/ 1720378 w 3060746"/>
                <a:gd name="connsiteY322" fmla="*/ 297534 h 1771142"/>
                <a:gd name="connsiteX323" fmla="*/ 1676257 w 3060746"/>
                <a:gd name="connsiteY323" fmla="*/ 326646 h 1771142"/>
                <a:gd name="connsiteX324" fmla="*/ 1726142 w 3060746"/>
                <a:gd name="connsiteY324" fmla="*/ 329488 h 1771142"/>
                <a:gd name="connsiteX325" fmla="*/ 1640213 w 3060746"/>
                <a:gd name="connsiteY325" fmla="*/ 338345 h 1771142"/>
                <a:gd name="connsiteX326" fmla="*/ 1545558 w 3060746"/>
                <a:gd name="connsiteY326" fmla="*/ 366253 h 1771142"/>
                <a:gd name="connsiteX327" fmla="*/ 1552052 w 3060746"/>
                <a:gd name="connsiteY327" fmla="*/ 392290 h 1771142"/>
                <a:gd name="connsiteX328" fmla="*/ 1587649 w 3060746"/>
                <a:gd name="connsiteY328" fmla="*/ 383266 h 1771142"/>
                <a:gd name="connsiteX329" fmla="*/ 1635302 w 3060746"/>
                <a:gd name="connsiteY329" fmla="*/ 385706 h 1771142"/>
                <a:gd name="connsiteX330" fmla="*/ 1677109 w 3060746"/>
                <a:gd name="connsiteY330" fmla="*/ 384570 h 1771142"/>
                <a:gd name="connsiteX331" fmla="*/ 1711489 w 3060746"/>
                <a:gd name="connsiteY331" fmla="*/ 379289 h 1771142"/>
                <a:gd name="connsiteX332" fmla="*/ 1653811 w 3060746"/>
                <a:gd name="connsiteY332" fmla="*/ 396869 h 1771142"/>
                <a:gd name="connsiteX333" fmla="*/ 1563458 w 3060746"/>
                <a:gd name="connsiteY333" fmla="*/ 428054 h 1771142"/>
                <a:gd name="connsiteX334" fmla="*/ 1549049 w 3060746"/>
                <a:gd name="connsiteY334" fmla="*/ 459071 h 1771142"/>
                <a:gd name="connsiteX335" fmla="*/ 1590328 w 3060746"/>
                <a:gd name="connsiteY335" fmla="*/ 443662 h 1771142"/>
                <a:gd name="connsiteX336" fmla="*/ 1632745 w 3060746"/>
                <a:gd name="connsiteY336" fmla="*/ 417458 h 1771142"/>
                <a:gd name="connsiteX337" fmla="*/ 1618741 w 3060746"/>
                <a:gd name="connsiteY337" fmla="*/ 444197 h 1771142"/>
                <a:gd name="connsiteX338" fmla="*/ 1665176 w 3060746"/>
                <a:gd name="connsiteY338" fmla="*/ 449946 h 1771142"/>
                <a:gd name="connsiteX339" fmla="*/ 1610420 w 3060746"/>
                <a:gd name="connsiteY339" fmla="*/ 455962 h 1771142"/>
                <a:gd name="connsiteX340" fmla="*/ 1530499 w 3060746"/>
                <a:gd name="connsiteY340" fmla="*/ 483370 h 1771142"/>
                <a:gd name="connsiteX341" fmla="*/ 1578152 w 3060746"/>
                <a:gd name="connsiteY341" fmla="*/ 485141 h 1771142"/>
                <a:gd name="connsiteX342" fmla="*/ 1543001 w 3060746"/>
                <a:gd name="connsiteY342" fmla="*/ 502455 h 1771142"/>
                <a:gd name="connsiteX343" fmla="*/ 1501680 w 3060746"/>
                <a:gd name="connsiteY343" fmla="*/ 525851 h 1771142"/>
                <a:gd name="connsiteX344" fmla="*/ 1533178 w 3060746"/>
                <a:gd name="connsiteY344" fmla="*/ 529193 h 1771142"/>
                <a:gd name="connsiteX345" fmla="*/ 1611963 w 3060746"/>
                <a:gd name="connsiteY345" fmla="*/ 500616 h 1771142"/>
                <a:gd name="connsiteX346" fmla="*/ 1679098 w 3060746"/>
                <a:gd name="connsiteY346" fmla="*/ 476585 h 1771142"/>
                <a:gd name="connsiteX347" fmla="*/ 1724153 w 3060746"/>
                <a:gd name="connsiteY347" fmla="*/ 458135 h 1771142"/>
                <a:gd name="connsiteX348" fmla="*/ 1783251 w 3060746"/>
                <a:gd name="connsiteY348" fmla="*/ 441022 h 1771142"/>
                <a:gd name="connsiteX349" fmla="*/ 1823841 w 3060746"/>
                <a:gd name="connsiteY349" fmla="*/ 436577 h 1771142"/>
                <a:gd name="connsiteX350" fmla="*/ 1864674 w 3060746"/>
                <a:gd name="connsiteY350" fmla="*/ 411810 h 1771142"/>
                <a:gd name="connsiteX351" fmla="*/ 1903072 w 3060746"/>
                <a:gd name="connsiteY351" fmla="*/ 395332 h 1771142"/>
                <a:gd name="connsiteX352" fmla="*/ 1888582 w 3060746"/>
                <a:gd name="connsiteY352" fmla="*/ 382698 h 1771142"/>
                <a:gd name="connsiteX353" fmla="*/ 1861630 w 3060746"/>
                <a:gd name="connsiteY353" fmla="*/ 396067 h 1771142"/>
                <a:gd name="connsiteX354" fmla="*/ 1841132 w 3060746"/>
                <a:gd name="connsiteY354" fmla="*/ 394697 h 1771142"/>
                <a:gd name="connsiteX355" fmla="*/ 1753905 w 3060746"/>
                <a:gd name="connsiteY355" fmla="*/ 419865 h 1771142"/>
                <a:gd name="connsiteX356" fmla="*/ 1818078 w 3060746"/>
                <a:gd name="connsiteY356" fmla="*/ 393527 h 1771142"/>
                <a:gd name="connsiteX357" fmla="*/ 1876040 w 3060746"/>
                <a:gd name="connsiteY357" fmla="*/ 368292 h 1771142"/>
                <a:gd name="connsiteX358" fmla="*/ 1866664 w 3060746"/>
                <a:gd name="connsiteY358" fmla="*/ 355157 h 1771142"/>
                <a:gd name="connsiteX359" fmla="*/ 1941755 w 3060746"/>
                <a:gd name="connsiteY359" fmla="*/ 326780 h 1771142"/>
                <a:gd name="connsiteX360" fmla="*/ 1985023 w 3060746"/>
                <a:gd name="connsiteY360" fmla="*/ 276645 h 1771142"/>
                <a:gd name="connsiteX361" fmla="*/ 1920526 w 3060746"/>
                <a:gd name="connsiteY361" fmla="*/ 286505 h 1771142"/>
                <a:gd name="connsiteX362" fmla="*/ 1893737 w 3060746"/>
                <a:gd name="connsiteY362" fmla="*/ 289112 h 1771142"/>
                <a:gd name="connsiteX363" fmla="*/ 1950563 w 3060746"/>
                <a:gd name="connsiteY363" fmla="*/ 266417 h 1771142"/>
                <a:gd name="connsiteX364" fmla="*/ 1995739 w 3060746"/>
                <a:gd name="connsiteY364" fmla="*/ 249939 h 1771142"/>
                <a:gd name="connsiteX365" fmla="*/ 2008444 w 3060746"/>
                <a:gd name="connsiteY365" fmla="*/ 229885 h 1771142"/>
                <a:gd name="connsiteX366" fmla="*/ 2084184 w 3060746"/>
                <a:gd name="connsiteY366" fmla="*/ 200907 h 1771142"/>
                <a:gd name="connsiteX367" fmla="*/ 2121811 w 3060746"/>
                <a:gd name="connsiteY367" fmla="*/ 176341 h 1771142"/>
                <a:gd name="connsiteX368" fmla="*/ 2212894 w 3060746"/>
                <a:gd name="connsiteY368" fmla="*/ 120757 h 1771142"/>
                <a:gd name="connsiteX369" fmla="*/ 2299919 w 3060746"/>
                <a:gd name="connsiteY369" fmla="*/ 80147 h 1771142"/>
                <a:gd name="connsiteX370" fmla="*/ 2271506 w 3060746"/>
                <a:gd name="connsiteY370" fmla="*/ 79145 h 1771142"/>
                <a:gd name="connsiteX371" fmla="*/ 2198120 w 3060746"/>
                <a:gd name="connsiteY371" fmla="*/ 101906 h 1771142"/>
                <a:gd name="connsiteX372" fmla="*/ 2228115 w 3060746"/>
                <a:gd name="connsiteY372" fmla="*/ 85362 h 1771142"/>
                <a:gd name="connsiteX373" fmla="*/ 2292004 w 3060746"/>
                <a:gd name="connsiteY373" fmla="*/ 66110 h 1771142"/>
                <a:gd name="connsiteX374" fmla="*/ 2371438 w 3060746"/>
                <a:gd name="connsiteY374" fmla="*/ 30346 h 1771142"/>
                <a:gd name="connsiteX375" fmla="*/ 2407238 w 3060746"/>
                <a:gd name="connsiteY375" fmla="*/ 265 h 1771142"/>
                <a:gd name="connsiteX376" fmla="*/ 2329833 w 3060746"/>
                <a:gd name="connsiteY376" fmla="*/ 15406 h 1771142"/>
                <a:gd name="connsiteX377" fmla="*/ 2311527 w 3060746"/>
                <a:gd name="connsiteY377" fmla="*/ 10860 h 1771142"/>
                <a:gd name="connsiteX378" fmla="*/ 2280557 w 3060746"/>
                <a:gd name="connsiteY378" fmla="*/ 18147 h 1771142"/>
                <a:gd name="connsiteX379" fmla="*/ 2192193 w 3060746"/>
                <a:gd name="connsiteY379" fmla="*/ 50200 h 1771142"/>
                <a:gd name="connsiteX380" fmla="*/ 2212245 w 3060746"/>
                <a:gd name="connsiteY380" fmla="*/ 31182 h 1771142"/>
                <a:gd name="connsiteX381" fmla="*/ 2100663 w 3060746"/>
                <a:gd name="connsiteY381" fmla="*/ 59826 h 1771142"/>
                <a:gd name="connsiteX382" fmla="*/ 2046233 w 3060746"/>
                <a:gd name="connsiteY382" fmla="*/ 76103 h 1771142"/>
                <a:gd name="connsiteX383" fmla="*/ 1978488 w 3060746"/>
                <a:gd name="connsiteY383" fmla="*/ 92548 h 1771142"/>
                <a:gd name="connsiteX384" fmla="*/ 1956813 w 3060746"/>
                <a:gd name="connsiteY384" fmla="*/ 105516 h 1771142"/>
                <a:gd name="connsiteX385" fmla="*/ 1949142 w 3060746"/>
                <a:gd name="connsiteY385" fmla="*/ 115877 h 1771142"/>
                <a:gd name="connsiteX386" fmla="*/ 1907131 w 3060746"/>
                <a:gd name="connsiteY386" fmla="*/ 120256 h 1771142"/>
                <a:gd name="connsiteX387" fmla="*/ 1850306 w 3060746"/>
                <a:gd name="connsiteY387" fmla="*/ 140811 h 1771142"/>
                <a:gd name="connsiteX388" fmla="*/ 1819823 w 3060746"/>
                <a:gd name="connsiteY388" fmla="*/ 152576 h 1771142"/>
                <a:gd name="connsiteX389" fmla="*/ 1802247 w 3060746"/>
                <a:gd name="connsiteY389" fmla="*/ 164107 h 1771142"/>
                <a:gd name="connsiteX390" fmla="*/ 1718957 w 3060746"/>
                <a:gd name="connsiteY390" fmla="*/ 187504 h 1771142"/>
                <a:gd name="connsiteX391" fmla="*/ 1725289 w 3060746"/>
                <a:gd name="connsiteY391" fmla="*/ 189610 h 1771142"/>
                <a:gd name="connsiteX392" fmla="*/ 1696268 w 3060746"/>
                <a:gd name="connsiteY392" fmla="*/ 200205 h 1771142"/>
                <a:gd name="connsiteX393" fmla="*/ 1686932 w 3060746"/>
                <a:gd name="connsiteY393" fmla="*/ 215379 h 1771142"/>
                <a:gd name="connsiteX394" fmla="*/ 1630675 w 3060746"/>
                <a:gd name="connsiteY394" fmla="*/ 237974 h 1771142"/>
                <a:gd name="connsiteX395" fmla="*/ 1600273 w 3060746"/>
                <a:gd name="connsiteY395" fmla="*/ 258663 h 1771142"/>
                <a:gd name="connsiteX396" fmla="*/ 1553108 w 3060746"/>
                <a:gd name="connsiteY396" fmla="*/ 265983 h 1771142"/>
                <a:gd name="connsiteX397" fmla="*/ 1524005 w 3060746"/>
                <a:gd name="connsiteY397" fmla="*/ 277647 h 1771142"/>
                <a:gd name="connsiteX398" fmla="*/ 1523477 w 3060746"/>
                <a:gd name="connsiteY398" fmla="*/ 284867 h 1771142"/>
                <a:gd name="connsiteX399" fmla="*/ 1496282 w 3060746"/>
                <a:gd name="connsiteY399" fmla="*/ 297434 h 1771142"/>
                <a:gd name="connsiteX400" fmla="*/ 1505009 w 3060746"/>
                <a:gd name="connsiteY400" fmla="*/ 303417 h 1771142"/>
                <a:gd name="connsiteX401" fmla="*/ 1447574 w 3060746"/>
                <a:gd name="connsiteY401" fmla="*/ 321232 h 1771142"/>
                <a:gd name="connsiteX402" fmla="*/ 1411044 w 3060746"/>
                <a:gd name="connsiteY402" fmla="*/ 348505 h 1771142"/>
                <a:gd name="connsiteX403" fmla="*/ 1375690 w 3060746"/>
                <a:gd name="connsiteY403" fmla="*/ 360337 h 1771142"/>
                <a:gd name="connsiteX404" fmla="*/ 1317768 w 3060746"/>
                <a:gd name="connsiteY404" fmla="*/ 392792 h 1771142"/>
                <a:gd name="connsiteX405" fmla="*/ 1356044 w 3060746"/>
                <a:gd name="connsiteY405" fmla="*/ 378319 h 1771142"/>
                <a:gd name="connsiteX406" fmla="*/ 2051915 w 3060746"/>
                <a:gd name="connsiteY406" fmla="*/ 839264 h 1771142"/>
                <a:gd name="connsiteX407" fmla="*/ 2047450 w 3060746"/>
                <a:gd name="connsiteY407" fmla="*/ 820313 h 1771142"/>
                <a:gd name="connsiteX408" fmla="*/ 2051915 w 3060746"/>
                <a:gd name="connsiteY408" fmla="*/ 839264 h 1771142"/>
                <a:gd name="connsiteX409" fmla="*/ 1918294 w 3060746"/>
                <a:gd name="connsiteY409" fmla="*/ 867741 h 1771142"/>
                <a:gd name="connsiteX410" fmla="*/ 1963592 w 3060746"/>
                <a:gd name="connsiteY410" fmla="*/ 830975 h 1771142"/>
                <a:gd name="connsiteX411" fmla="*/ 1918294 w 3060746"/>
                <a:gd name="connsiteY411" fmla="*/ 867741 h 1771142"/>
                <a:gd name="connsiteX412" fmla="*/ 2001827 w 3060746"/>
                <a:gd name="connsiteY412" fmla="*/ 793307 h 1771142"/>
                <a:gd name="connsiteX413" fmla="*/ 1949061 w 3060746"/>
                <a:gd name="connsiteY413" fmla="*/ 792872 h 1771142"/>
                <a:gd name="connsiteX414" fmla="*/ 1879530 w 3060746"/>
                <a:gd name="connsiteY414" fmla="*/ 795212 h 1771142"/>
                <a:gd name="connsiteX415" fmla="*/ 1833867 w 3060746"/>
                <a:gd name="connsiteY415" fmla="*/ 799390 h 1771142"/>
                <a:gd name="connsiteX416" fmla="*/ 1810244 w 3060746"/>
                <a:gd name="connsiteY416" fmla="*/ 798053 h 1771142"/>
                <a:gd name="connsiteX417" fmla="*/ 1797620 w 3060746"/>
                <a:gd name="connsiteY417" fmla="*/ 823588 h 1771142"/>
                <a:gd name="connsiteX418" fmla="*/ 1799569 w 3060746"/>
                <a:gd name="connsiteY418" fmla="*/ 843642 h 1771142"/>
                <a:gd name="connsiteX419" fmla="*/ 1790477 w 3060746"/>
                <a:gd name="connsiteY419" fmla="*/ 863697 h 1771142"/>
                <a:gd name="connsiteX420" fmla="*/ 1793561 w 3060746"/>
                <a:gd name="connsiteY420" fmla="*/ 873924 h 1771142"/>
                <a:gd name="connsiteX421" fmla="*/ 1832162 w 3060746"/>
                <a:gd name="connsiteY421" fmla="*/ 859385 h 1771142"/>
                <a:gd name="connsiteX422" fmla="*/ 1852457 w 3060746"/>
                <a:gd name="connsiteY422" fmla="*/ 863095 h 1771142"/>
                <a:gd name="connsiteX423" fmla="*/ 1888988 w 3060746"/>
                <a:gd name="connsiteY423" fmla="*/ 837158 h 1771142"/>
                <a:gd name="connsiteX424" fmla="*/ 1917401 w 3060746"/>
                <a:gd name="connsiteY424" fmla="*/ 817104 h 1771142"/>
                <a:gd name="connsiteX425" fmla="*/ 2001868 w 3060746"/>
                <a:gd name="connsiteY425" fmla="*/ 793106 h 1771142"/>
                <a:gd name="connsiteX426" fmla="*/ 2451724 w 3060746"/>
                <a:gd name="connsiteY426" fmla="*/ 581301 h 1771142"/>
                <a:gd name="connsiteX427" fmla="*/ 2526166 w 3060746"/>
                <a:gd name="connsiteY427" fmla="*/ 591328 h 1771142"/>
                <a:gd name="connsiteX428" fmla="*/ 2543173 w 3060746"/>
                <a:gd name="connsiteY428" fmla="*/ 581735 h 1771142"/>
                <a:gd name="connsiteX429" fmla="*/ 2564077 w 3060746"/>
                <a:gd name="connsiteY429" fmla="*/ 565625 h 1771142"/>
                <a:gd name="connsiteX430" fmla="*/ 2575077 w 3060746"/>
                <a:gd name="connsiteY430" fmla="*/ 551621 h 1771142"/>
                <a:gd name="connsiteX431" fmla="*/ 2603774 w 3060746"/>
                <a:gd name="connsiteY431" fmla="*/ 528425 h 1771142"/>
                <a:gd name="connsiteX432" fmla="*/ 2551007 w 3060746"/>
                <a:gd name="connsiteY432" fmla="*/ 527255 h 1771142"/>
                <a:gd name="connsiteX433" fmla="*/ 2532539 w 3060746"/>
                <a:gd name="connsiteY433" fmla="*/ 519701 h 1771142"/>
                <a:gd name="connsiteX434" fmla="*/ 2507373 w 3060746"/>
                <a:gd name="connsiteY434" fmla="*/ 516125 h 1771142"/>
                <a:gd name="connsiteX435" fmla="*/ 2424692 w 3060746"/>
                <a:gd name="connsiteY435" fmla="*/ 525550 h 1771142"/>
                <a:gd name="connsiteX436" fmla="*/ 2349844 w 3060746"/>
                <a:gd name="connsiteY436" fmla="*/ 523244 h 1771142"/>
                <a:gd name="connsiteX437" fmla="*/ 2392747 w 3060746"/>
                <a:gd name="connsiteY437" fmla="*/ 501853 h 1771142"/>
                <a:gd name="connsiteX438" fmla="*/ 2353132 w 3060746"/>
                <a:gd name="connsiteY438" fmla="*/ 501853 h 1771142"/>
                <a:gd name="connsiteX439" fmla="*/ 2362995 w 3060746"/>
                <a:gd name="connsiteY439" fmla="*/ 487481 h 1771142"/>
                <a:gd name="connsiteX440" fmla="*/ 2329833 w 3060746"/>
                <a:gd name="connsiteY440" fmla="*/ 493831 h 1771142"/>
                <a:gd name="connsiteX441" fmla="*/ 2319523 w 3060746"/>
                <a:gd name="connsiteY441" fmla="*/ 488450 h 1771142"/>
                <a:gd name="connsiteX442" fmla="*/ 2306251 w 3060746"/>
                <a:gd name="connsiteY442" fmla="*/ 481498 h 1771142"/>
                <a:gd name="connsiteX443" fmla="*/ 2266432 w 3060746"/>
                <a:gd name="connsiteY443" fmla="*/ 491525 h 1771142"/>
                <a:gd name="connsiteX444" fmla="*/ 2237086 w 3060746"/>
                <a:gd name="connsiteY444" fmla="*/ 489820 h 1771142"/>
                <a:gd name="connsiteX445" fmla="*/ 2177703 w 3060746"/>
                <a:gd name="connsiteY445" fmla="*/ 511746 h 1771142"/>
                <a:gd name="connsiteX446" fmla="*/ 2206116 w 3060746"/>
                <a:gd name="connsiteY446" fmla="*/ 492361 h 1771142"/>
                <a:gd name="connsiteX447" fmla="*/ 2181762 w 3060746"/>
                <a:gd name="connsiteY447" fmla="*/ 487381 h 1771142"/>
                <a:gd name="connsiteX448" fmla="*/ 2131146 w 3060746"/>
                <a:gd name="connsiteY448" fmla="*/ 507134 h 1771142"/>
                <a:gd name="connsiteX449" fmla="*/ 2108457 w 3060746"/>
                <a:gd name="connsiteY449" fmla="*/ 499680 h 1771142"/>
                <a:gd name="connsiteX450" fmla="*/ 2080531 w 3060746"/>
                <a:gd name="connsiteY450" fmla="*/ 503691 h 1771142"/>
                <a:gd name="connsiteX451" fmla="*/ 2040834 w 3060746"/>
                <a:gd name="connsiteY451" fmla="*/ 498076 h 1771142"/>
                <a:gd name="connsiteX452" fmla="*/ 1960954 w 3060746"/>
                <a:gd name="connsiteY452" fmla="*/ 522609 h 1771142"/>
                <a:gd name="connsiteX453" fmla="*/ 1949954 w 3060746"/>
                <a:gd name="connsiteY453" fmla="*/ 534842 h 1771142"/>
                <a:gd name="connsiteX454" fmla="*/ 1950644 w 3060746"/>
                <a:gd name="connsiteY454" fmla="*/ 542362 h 1771142"/>
                <a:gd name="connsiteX455" fmla="*/ 1926290 w 3060746"/>
                <a:gd name="connsiteY455" fmla="*/ 540490 h 1771142"/>
                <a:gd name="connsiteX456" fmla="*/ 1874538 w 3060746"/>
                <a:gd name="connsiteY456" fmla="*/ 569101 h 1771142"/>
                <a:gd name="connsiteX457" fmla="*/ 1860453 w 3060746"/>
                <a:gd name="connsiteY457" fmla="*/ 539922 h 1771142"/>
                <a:gd name="connsiteX458" fmla="*/ 1787067 w 3060746"/>
                <a:gd name="connsiteY458" fmla="*/ 539922 h 1771142"/>
                <a:gd name="connsiteX459" fmla="*/ 1762307 w 3060746"/>
                <a:gd name="connsiteY459" fmla="*/ 557069 h 1771142"/>
                <a:gd name="connsiteX460" fmla="*/ 1724802 w 3060746"/>
                <a:gd name="connsiteY460" fmla="*/ 576454 h 1771142"/>
                <a:gd name="connsiteX461" fmla="*/ 1696024 w 3060746"/>
                <a:gd name="connsiteY461" fmla="*/ 603427 h 1771142"/>
                <a:gd name="connsiteX462" fmla="*/ 1725127 w 3060746"/>
                <a:gd name="connsiteY462" fmla="*/ 612752 h 1771142"/>
                <a:gd name="connsiteX463" fmla="*/ 1727603 w 3060746"/>
                <a:gd name="connsiteY463" fmla="*/ 631804 h 1771142"/>
                <a:gd name="connsiteX464" fmla="*/ 1724478 w 3060746"/>
                <a:gd name="connsiteY464" fmla="*/ 642900 h 1771142"/>
                <a:gd name="connsiteX465" fmla="*/ 1670331 w 3060746"/>
                <a:gd name="connsiteY465" fmla="*/ 623682 h 1771142"/>
                <a:gd name="connsiteX466" fmla="*/ 1680844 w 3060746"/>
                <a:gd name="connsiteY466" fmla="*/ 596274 h 1771142"/>
                <a:gd name="connsiteX467" fmla="*/ 1707755 w 3060746"/>
                <a:gd name="connsiteY467" fmla="*/ 569903 h 1771142"/>
                <a:gd name="connsiteX468" fmla="*/ 1658519 w 3060746"/>
                <a:gd name="connsiteY468" fmla="*/ 585211 h 1771142"/>
                <a:gd name="connsiteX469" fmla="*/ 1578070 w 3060746"/>
                <a:gd name="connsiteY469" fmla="*/ 640293 h 1771142"/>
                <a:gd name="connsiteX470" fmla="*/ 1572428 w 3060746"/>
                <a:gd name="connsiteY470" fmla="*/ 690429 h 1771142"/>
                <a:gd name="connsiteX471" fmla="*/ 1619106 w 3060746"/>
                <a:gd name="connsiteY471" fmla="*/ 690763 h 1771142"/>
                <a:gd name="connsiteX472" fmla="*/ 1665947 w 3060746"/>
                <a:gd name="connsiteY472" fmla="*/ 677594 h 1771142"/>
                <a:gd name="connsiteX473" fmla="*/ 1653040 w 3060746"/>
                <a:gd name="connsiteY473" fmla="*/ 688858 h 1771142"/>
                <a:gd name="connsiteX474" fmla="*/ 1620568 w 3060746"/>
                <a:gd name="connsiteY474" fmla="*/ 712455 h 1771142"/>
                <a:gd name="connsiteX475" fmla="*/ 1664608 w 3060746"/>
                <a:gd name="connsiteY475" fmla="*/ 705770 h 1771142"/>
                <a:gd name="connsiteX476" fmla="*/ 1700083 w 3060746"/>
                <a:gd name="connsiteY476" fmla="*/ 690562 h 1771142"/>
                <a:gd name="connsiteX477" fmla="*/ 1733245 w 3060746"/>
                <a:gd name="connsiteY477" fmla="*/ 689058 h 1771142"/>
                <a:gd name="connsiteX478" fmla="*/ 1801355 w 3060746"/>
                <a:gd name="connsiteY478" fmla="*/ 666497 h 1771142"/>
                <a:gd name="connsiteX479" fmla="*/ 1889191 w 3060746"/>
                <a:gd name="connsiteY479" fmla="*/ 633575 h 1771142"/>
                <a:gd name="connsiteX480" fmla="*/ 1958762 w 3060746"/>
                <a:gd name="connsiteY480" fmla="*/ 615292 h 1771142"/>
                <a:gd name="connsiteX481" fmla="*/ 1951253 w 3060746"/>
                <a:gd name="connsiteY481" fmla="*/ 597545 h 1771142"/>
                <a:gd name="connsiteX482" fmla="*/ 1990990 w 3060746"/>
                <a:gd name="connsiteY482" fmla="*/ 590860 h 1771142"/>
                <a:gd name="connsiteX483" fmla="*/ 2007550 w 3060746"/>
                <a:gd name="connsiteY483" fmla="*/ 592598 h 1771142"/>
                <a:gd name="connsiteX484" fmla="*/ 2026019 w 3060746"/>
                <a:gd name="connsiteY484" fmla="*/ 592932 h 1771142"/>
                <a:gd name="connsiteX485" fmla="*/ 2082601 w 3060746"/>
                <a:gd name="connsiteY485" fmla="*/ 592698 h 1771142"/>
                <a:gd name="connsiteX486" fmla="*/ 2058004 w 3060746"/>
                <a:gd name="connsiteY486" fmla="*/ 616696 h 1771142"/>
                <a:gd name="connsiteX487" fmla="*/ 2084834 w 3060746"/>
                <a:gd name="connsiteY487" fmla="*/ 608808 h 1771142"/>
                <a:gd name="connsiteX488" fmla="*/ 2118604 w 3060746"/>
                <a:gd name="connsiteY488" fmla="*/ 592966 h 1771142"/>
                <a:gd name="connsiteX489" fmla="*/ 2138899 w 3060746"/>
                <a:gd name="connsiteY489" fmla="*/ 600820 h 1771142"/>
                <a:gd name="connsiteX490" fmla="*/ 2174537 w 3060746"/>
                <a:gd name="connsiteY490" fmla="*/ 593634 h 1771142"/>
                <a:gd name="connsiteX491" fmla="*/ 2217278 w 3060746"/>
                <a:gd name="connsiteY491" fmla="*/ 606068 h 1771142"/>
                <a:gd name="connsiteX492" fmla="*/ 2218617 w 3060746"/>
                <a:gd name="connsiteY492" fmla="*/ 627158 h 1771142"/>
                <a:gd name="connsiteX493" fmla="*/ 2251657 w 3060746"/>
                <a:gd name="connsiteY493" fmla="*/ 618769 h 1771142"/>
                <a:gd name="connsiteX494" fmla="*/ 2300771 w 3060746"/>
                <a:gd name="connsiteY494" fmla="*/ 601656 h 1771142"/>
                <a:gd name="connsiteX495" fmla="*/ 2319239 w 3060746"/>
                <a:gd name="connsiteY495" fmla="*/ 617766 h 1771142"/>
                <a:gd name="connsiteX496" fmla="*/ 2294601 w 3060746"/>
                <a:gd name="connsiteY496" fmla="*/ 629731 h 1771142"/>
                <a:gd name="connsiteX497" fmla="*/ 2284251 w 3060746"/>
                <a:gd name="connsiteY497" fmla="*/ 628027 h 1771142"/>
                <a:gd name="connsiteX498" fmla="*/ 2180544 w 3060746"/>
                <a:gd name="connsiteY498" fmla="*/ 663356 h 1771142"/>
                <a:gd name="connsiteX499" fmla="*/ 2192315 w 3060746"/>
                <a:gd name="connsiteY499" fmla="*/ 680970 h 1771142"/>
                <a:gd name="connsiteX500" fmla="*/ 2102531 w 3060746"/>
                <a:gd name="connsiteY500" fmla="*/ 708912 h 1771142"/>
                <a:gd name="connsiteX501" fmla="*/ 2077243 w 3060746"/>
                <a:gd name="connsiteY501" fmla="*/ 725056 h 1771142"/>
                <a:gd name="connsiteX502" fmla="*/ 2094940 w 3060746"/>
                <a:gd name="connsiteY502" fmla="*/ 745644 h 1771142"/>
                <a:gd name="connsiteX503" fmla="*/ 2138168 w 3060746"/>
                <a:gd name="connsiteY503" fmla="*/ 728933 h 1771142"/>
                <a:gd name="connsiteX504" fmla="*/ 2172548 w 3060746"/>
                <a:gd name="connsiteY504" fmla="*/ 719541 h 1771142"/>
                <a:gd name="connsiteX505" fmla="*/ 2178961 w 3060746"/>
                <a:gd name="connsiteY505" fmla="*/ 710015 h 1771142"/>
                <a:gd name="connsiteX506" fmla="*/ 2218901 w 3060746"/>
                <a:gd name="connsiteY506" fmla="*/ 697281 h 1771142"/>
                <a:gd name="connsiteX507" fmla="*/ 2272196 w 3060746"/>
                <a:gd name="connsiteY507" fmla="*/ 700255 h 1771142"/>
                <a:gd name="connsiteX508" fmla="*/ 2305114 w 3060746"/>
                <a:gd name="connsiteY508" fmla="*/ 715396 h 1771142"/>
                <a:gd name="connsiteX509" fmla="*/ 2373224 w 3060746"/>
                <a:gd name="connsiteY509" fmla="*/ 703163 h 1771142"/>
                <a:gd name="connsiteX510" fmla="*/ 2434474 w 3060746"/>
                <a:gd name="connsiteY510" fmla="*/ 703531 h 1771142"/>
                <a:gd name="connsiteX511" fmla="*/ 2383818 w 3060746"/>
                <a:gd name="connsiteY511" fmla="*/ 674887 h 1771142"/>
                <a:gd name="connsiteX512" fmla="*/ 2434352 w 3060746"/>
                <a:gd name="connsiteY512" fmla="*/ 664559 h 1771142"/>
                <a:gd name="connsiteX513" fmla="*/ 2511838 w 3060746"/>
                <a:gd name="connsiteY513" fmla="*/ 656203 h 1771142"/>
                <a:gd name="connsiteX514" fmla="*/ 2527221 w 3060746"/>
                <a:gd name="connsiteY514" fmla="*/ 632038 h 1771142"/>
                <a:gd name="connsiteX515" fmla="*/ 2494750 w 3060746"/>
                <a:gd name="connsiteY515" fmla="*/ 617666 h 1771142"/>
                <a:gd name="connsiteX516" fmla="*/ 2396887 w 3060746"/>
                <a:gd name="connsiteY516" fmla="*/ 612151 h 1771142"/>
                <a:gd name="connsiteX517" fmla="*/ 2405290 w 3060746"/>
                <a:gd name="connsiteY517" fmla="*/ 601823 h 1771142"/>
                <a:gd name="connsiteX518" fmla="*/ 2397983 w 3060746"/>
                <a:gd name="connsiteY518" fmla="*/ 591027 h 1771142"/>
                <a:gd name="connsiteX519" fmla="*/ 2451440 w 3060746"/>
                <a:gd name="connsiteY519" fmla="*/ 581301 h 1771142"/>
                <a:gd name="connsiteX520" fmla="*/ 2124205 w 3060746"/>
                <a:gd name="connsiteY520" fmla="*/ 641697 h 1771142"/>
                <a:gd name="connsiteX521" fmla="*/ 2118604 w 3060746"/>
                <a:gd name="connsiteY521" fmla="*/ 619136 h 1771142"/>
                <a:gd name="connsiteX522" fmla="*/ 2058612 w 3060746"/>
                <a:gd name="connsiteY522" fmla="*/ 636817 h 1771142"/>
                <a:gd name="connsiteX523" fmla="*/ 2067826 w 3060746"/>
                <a:gd name="connsiteY523" fmla="*/ 663556 h 1771142"/>
                <a:gd name="connsiteX524" fmla="*/ 2124205 w 3060746"/>
                <a:gd name="connsiteY524" fmla="*/ 641530 h 1771142"/>
                <a:gd name="connsiteX525" fmla="*/ 1848195 w 3060746"/>
                <a:gd name="connsiteY525" fmla="*/ 521372 h 1771142"/>
                <a:gd name="connsiteX526" fmla="*/ 1871981 w 3060746"/>
                <a:gd name="connsiteY526" fmla="*/ 529528 h 1771142"/>
                <a:gd name="connsiteX527" fmla="*/ 1913423 w 3060746"/>
                <a:gd name="connsiteY527" fmla="*/ 534708 h 1771142"/>
                <a:gd name="connsiteX528" fmla="*/ 1961035 w 3060746"/>
                <a:gd name="connsiteY528" fmla="*/ 512047 h 1771142"/>
                <a:gd name="connsiteX529" fmla="*/ 2008200 w 3060746"/>
                <a:gd name="connsiteY529" fmla="*/ 495770 h 1771142"/>
                <a:gd name="connsiteX530" fmla="*/ 1943581 w 3060746"/>
                <a:gd name="connsiteY530" fmla="*/ 492428 h 1771142"/>
                <a:gd name="connsiteX531" fmla="*/ 1895604 w 3060746"/>
                <a:gd name="connsiteY531" fmla="*/ 505797 h 1771142"/>
                <a:gd name="connsiteX532" fmla="*/ 1848195 w 3060746"/>
                <a:gd name="connsiteY532" fmla="*/ 521305 h 1771142"/>
                <a:gd name="connsiteX533" fmla="*/ 1848236 w 3060746"/>
                <a:gd name="connsiteY533" fmla="*/ 521439 h 1771142"/>
                <a:gd name="connsiteX534" fmla="*/ 2668920 w 3060746"/>
                <a:gd name="connsiteY534" fmla="*/ 954308 h 1771142"/>
                <a:gd name="connsiteX535" fmla="*/ 2761668 w 3060746"/>
                <a:gd name="connsiteY535" fmla="*/ 945885 h 1771142"/>
                <a:gd name="connsiteX536" fmla="*/ 2668961 w 3060746"/>
                <a:gd name="connsiteY536" fmla="*/ 954375 h 1771142"/>
                <a:gd name="connsiteX537" fmla="*/ 3040560 w 3060746"/>
                <a:gd name="connsiteY537" fmla="*/ 906880 h 1771142"/>
                <a:gd name="connsiteX538" fmla="*/ 3032117 w 3060746"/>
                <a:gd name="connsiteY538" fmla="*/ 902334 h 1771142"/>
                <a:gd name="connsiteX539" fmla="*/ 3027652 w 3060746"/>
                <a:gd name="connsiteY539" fmla="*/ 895014 h 1771142"/>
                <a:gd name="connsiteX540" fmla="*/ 3019007 w 3060746"/>
                <a:gd name="connsiteY540" fmla="*/ 879974 h 1771142"/>
                <a:gd name="connsiteX541" fmla="*/ 3002162 w 3060746"/>
                <a:gd name="connsiteY541" fmla="*/ 879172 h 1771142"/>
                <a:gd name="connsiteX542" fmla="*/ 2990432 w 3060746"/>
                <a:gd name="connsiteY542" fmla="*/ 885856 h 1771142"/>
                <a:gd name="connsiteX543" fmla="*/ 2945336 w 3060746"/>
                <a:gd name="connsiteY543" fmla="*/ 884486 h 1771142"/>
                <a:gd name="connsiteX544" fmla="*/ 2939045 w 3060746"/>
                <a:gd name="connsiteY544" fmla="*/ 879707 h 1771142"/>
                <a:gd name="connsiteX545" fmla="*/ 2919887 w 3060746"/>
                <a:gd name="connsiteY545" fmla="*/ 888029 h 1771142"/>
                <a:gd name="connsiteX546" fmla="*/ 2913717 w 3060746"/>
                <a:gd name="connsiteY546" fmla="*/ 884185 h 1771142"/>
                <a:gd name="connsiteX547" fmla="*/ 2927639 w 3060746"/>
                <a:gd name="connsiteY547" fmla="*/ 858683 h 1771142"/>
                <a:gd name="connsiteX548" fmla="*/ 2932551 w 3060746"/>
                <a:gd name="connsiteY548" fmla="*/ 845982 h 1771142"/>
                <a:gd name="connsiteX549" fmla="*/ 2909374 w 3060746"/>
                <a:gd name="connsiteY549" fmla="*/ 856009 h 1771142"/>
                <a:gd name="connsiteX550" fmla="*/ 2880352 w 3060746"/>
                <a:gd name="connsiteY550" fmla="*/ 893410 h 1771142"/>
                <a:gd name="connsiteX551" fmla="*/ 2864360 w 3060746"/>
                <a:gd name="connsiteY551" fmla="*/ 920517 h 1771142"/>
                <a:gd name="connsiteX552" fmla="*/ 2856729 w 3060746"/>
                <a:gd name="connsiteY552" fmla="*/ 932716 h 1771142"/>
                <a:gd name="connsiteX553" fmla="*/ 2852670 w 3060746"/>
                <a:gd name="connsiteY553" fmla="*/ 944080 h 1771142"/>
                <a:gd name="connsiteX554" fmla="*/ 2885791 w 3060746"/>
                <a:gd name="connsiteY554" fmla="*/ 946921 h 1771142"/>
                <a:gd name="connsiteX555" fmla="*/ 2926381 w 3060746"/>
                <a:gd name="connsiteY555" fmla="*/ 936894 h 1771142"/>
                <a:gd name="connsiteX556" fmla="*/ 2958609 w 3060746"/>
                <a:gd name="connsiteY556" fmla="*/ 923892 h 1771142"/>
                <a:gd name="connsiteX557" fmla="*/ 2974561 w 3060746"/>
                <a:gd name="connsiteY557" fmla="*/ 932750 h 1771142"/>
                <a:gd name="connsiteX558" fmla="*/ 2982922 w 3060746"/>
                <a:gd name="connsiteY558" fmla="*/ 935491 h 1771142"/>
                <a:gd name="connsiteX559" fmla="*/ 3016612 w 3060746"/>
                <a:gd name="connsiteY559" fmla="*/ 921185 h 1771142"/>
                <a:gd name="connsiteX560" fmla="*/ 3024162 w 3060746"/>
                <a:gd name="connsiteY560" fmla="*/ 928438 h 1771142"/>
                <a:gd name="connsiteX561" fmla="*/ 3048962 w 3060746"/>
                <a:gd name="connsiteY561" fmla="*/ 924795 h 1771142"/>
                <a:gd name="connsiteX562" fmla="*/ 3040357 w 3060746"/>
                <a:gd name="connsiteY562" fmla="*/ 906980 h 1771142"/>
                <a:gd name="connsiteX563" fmla="*/ 3040601 w 3060746"/>
                <a:gd name="connsiteY563" fmla="*/ 906947 h 1771142"/>
                <a:gd name="connsiteX564" fmla="*/ 543965 w 3060746"/>
                <a:gd name="connsiteY564" fmla="*/ 1751661 h 1771142"/>
                <a:gd name="connsiteX565" fmla="*/ 607366 w 3060746"/>
                <a:gd name="connsiteY565" fmla="*/ 1760117 h 1771142"/>
                <a:gd name="connsiteX566" fmla="*/ 592186 w 3060746"/>
                <a:gd name="connsiteY566" fmla="*/ 1747884 h 1771142"/>
                <a:gd name="connsiteX567" fmla="*/ 543965 w 3060746"/>
                <a:gd name="connsiteY567" fmla="*/ 1751661 h 1771142"/>
                <a:gd name="connsiteX568" fmla="*/ 543965 w 3060746"/>
                <a:gd name="connsiteY568" fmla="*/ 1751661 h 1771142"/>
                <a:gd name="connsiteX569" fmla="*/ 2829493 w 3060746"/>
                <a:gd name="connsiteY569" fmla="*/ 994015 h 1771142"/>
                <a:gd name="connsiteX570" fmla="*/ 2816626 w 3060746"/>
                <a:gd name="connsiteY570" fmla="*/ 984456 h 1771142"/>
                <a:gd name="connsiteX571" fmla="*/ 2794180 w 3060746"/>
                <a:gd name="connsiteY571" fmla="*/ 1006649 h 1771142"/>
                <a:gd name="connsiteX572" fmla="*/ 2792962 w 3060746"/>
                <a:gd name="connsiteY572" fmla="*/ 1014838 h 1771142"/>
                <a:gd name="connsiteX573" fmla="*/ 2779811 w 3060746"/>
                <a:gd name="connsiteY573" fmla="*/ 1020420 h 1771142"/>
                <a:gd name="connsiteX574" fmla="*/ 2734716 w 3060746"/>
                <a:gd name="connsiteY574" fmla="*/ 1030012 h 1771142"/>
                <a:gd name="connsiteX575" fmla="*/ 2703218 w 3060746"/>
                <a:gd name="connsiteY575" fmla="*/ 1026971 h 1771142"/>
                <a:gd name="connsiteX576" fmla="*/ 2672857 w 3060746"/>
                <a:gd name="connsiteY576" fmla="*/ 1015908 h 1771142"/>
                <a:gd name="connsiteX577" fmla="*/ 2677200 w 3060746"/>
                <a:gd name="connsiteY577" fmla="*/ 1001201 h 1771142"/>
                <a:gd name="connsiteX578" fmla="*/ 2659057 w 3060746"/>
                <a:gd name="connsiteY578" fmla="*/ 1006950 h 1771142"/>
                <a:gd name="connsiteX579" fmla="*/ 2646677 w 3060746"/>
                <a:gd name="connsiteY579" fmla="*/ 1009624 h 1771142"/>
                <a:gd name="connsiteX580" fmla="*/ 2662588 w 3060746"/>
                <a:gd name="connsiteY580" fmla="*/ 996756 h 1771142"/>
                <a:gd name="connsiteX581" fmla="*/ 2647895 w 3060746"/>
                <a:gd name="connsiteY581" fmla="*/ 973861 h 1771142"/>
                <a:gd name="connsiteX582" fmla="*/ 2554538 w 3060746"/>
                <a:gd name="connsiteY582" fmla="*/ 1016242 h 1771142"/>
                <a:gd name="connsiteX583" fmla="*/ 2496454 w 3060746"/>
                <a:gd name="connsiteY583" fmla="*/ 1069152 h 1771142"/>
                <a:gd name="connsiteX584" fmla="*/ 2495034 w 3060746"/>
                <a:gd name="connsiteY584" fmla="*/ 1063336 h 1771142"/>
                <a:gd name="connsiteX585" fmla="*/ 2507982 w 3060746"/>
                <a:gd name="connsiteY585" fmla="*/ 1051236 h 1771142"/>
                <a:gd name="connsiteX586" fmla="*/ 2511066 w 3060746"/>
                <a:gd name="connsiteY586" fmla="*/ 1038368 h 1771142"/>
                <a:gd name="connsiteX587" fmla="*/ 2519631 w 3060746"/>
                <a:gd name="connsiteY587" fmla="*/ 1035260 h 1771142"/>
                <a:gd name="connsiteX588" fmla="*/ 2528723 w 3060746"/>
                <a:gd name="connsiteY588" fmla="*/ 1026135 h 1771142"/>
                <a:gd name="connsiteX589" fmla="*/ 2549018 w 3060746"/>
                <a:gd name="connsiteY589" fmla="*/ 1003708 h 1771142"/>
                <a:gd name="connsiteX590" fmla="*/ 2579501 w 3060746"/>
                <a:gd name="connsiteY590" fmla="*/ 989236 h 1771142"/>
                <a:gd name="connsiteX591" fmla="*/ 2597442 w 3060746"/>
                <a:gd name="connsiteY591" fmla="*/ 967577 h 1771142"/>
                <a:gd name="connsiteX592" fmla="*/ 2639371 w 3060746"/>
                <a:gd name="connsiteY592" fmla="*/ 951768 h 1771142"/>
                <a:gd name="connsiteX593" fmla="*/ 2716735 w 3060746"/>
                <a:gd name="connsiteY593" fmla="*/ 929040 h 1771142"/>
                <a:gd name="connsiteX594" fmla="*/ 2831441 w 3060746"/>
                <a:gd name="connsiteY594" fmla="*/ 887160 h 1771142"/>
                <a:gd name="connsiteX595" fmla="*/ 2853888 w 3060746"/>
                <a:gd name="connsiteY595" fmla="*/ 867106 h 1771142"/>
                <a:gd name="connsiteX596" fmla="*/ 2898009 w 3060746"/>
                <a:gd name="connsiteY596" fmla="*/ 853970 h 1771142"/>
                <a:gd name="connsiteX597" fmla="*/ 2923215 w 3060746"/>
                <a:gd name="connsiteY597" fmla="*/ 834184 h 1771142"/>
                <a:gd name="connsiteX598" fmla="*/ 2902920 w 3060746"/>
                <a:gd name="connsiteY598" fmla="*/ 827298 h 1771142"/>
                <a:gd name="connsiteX599" fmla="*/ 2921104 w 3060746"/>
                <a:gd name="connsiteY599" fmla="*/ 815199 h 1771142"/>
                <a:gd name="connsiteX600" fmla="*/ 2914366 w 3060746"/>
                <a:gd name="connsiteY600" fmla="*/ 805606 h 1771142"/>
                <a:gd name="connsiteX601" fmla="*/ 2884898 w 3060746"/>
                <a:gd name="connsiteY601" fmla="*/ 803467 h 1771142"/>
                <a:gd name="connsiteX602" fmla="*/ 2863589 w 3060746"/>
                <a:gd name="connsiteY602" fmla="*/ 813494 h 1771142"/>
                <a:gd name="connsiteX603" fmla="*/ 2840777 w 3060746"/>
                <a:gd name="connsiteY603" fmla="*/ 804136 h 1771142"/>
                <a:gd name="connsiteX604" fmla="*/ 2779893 w 3060746"/>
                <a:gd name="connsiteY604" fmla="*/ 837559 h 1771142"/>
                <a:gd name="connsiteX605" fmla="*/ 2772343 w 3060746"/>
                <a:gd name="connsiteY605" fmla="*/ 831944 h 1771142"/>
                <a:gd name="connsiteX606" fmla="*/ 2794018 w 3060746"/>
                <a:gd name="connsiteY606" fmla="*/ 818575 h 1771142"/>
                <a:gd name="connsiteX607" fmla="*/ 2818372 w 3060746"/>
                <a:gd name="connsiteY607" fmla="*/ 808013 h 1771142"/>
                <a:gd name="connsiteX608" fmla="*/ 2851574 w 3060746"/>
                <a:gd name="connsiteY608" fmla="*/ 792170 h 1771142"/>
                <a:gd name="connsiteX609" fmla="*/ 2825150 w 3060746"/>
                <a:gd name="connsiteY609" fmla="*/ 790499 h 1771142"/>
                <a:gd name="connsiteX610" fmla="*/ 2798117 w 3060746"/>
                <a:gd name="connsiteY610" fmla="*/ 790700 h 1771142"/>
                <a:gd name="connsiteX611" fmla="*/ 2779081 w 3060746"/>
                <a:gd name="connsiteY611" fmla="*/ 794677 h 1771142"/>
                <a:gd name="connsiteX612" fmla="*/ 2754727 w 3060746"/>
                <a:gd name="connsiteY612" fmla="*/ 799490 h 1771142"/>
                <a:gd name="connsiteX613" fmla="*/ 2732484 w 3060746"/>
                <a:gd name="connsiteY613" fmla="*/ 790766 h 1771142"/>
                <a:gd name="connsiteX614" fmla="*/ 2698185 w 3060746"/>
                <a:gd name="connsiteY614" fmla="*/ 786722 h 1771142"/>
                <a:gd name="connsiteX615" fmla="*/ 2666485 w 3060746"/>
                <a:gd name="connsiteY615" fmla="*/ 786722 h 1771142"/>
                <a:gd name="connsiteX616" fmla="*/ 2691447 w 3060746"/>
                <a:gd name="connsiteY616" fmla="*/ 778868 h 1771142"/>
                <a:gd name="connsiteX617" fmla="*/ 2678783 w 3060746"/>
                <a:gd name="connsiteY617" fmla="*/ 756741 h 1771142"/>
                <a:gd name="connsiteX618" fmla="*/ 2655769 w 3060746"/>
                <a:gd name="connsiteY618" fmla="*/ 751828 h 1771142"/>
                <a:gd name="connsiteX619" fmla="*/ 2635474 w 3060746"/>
                <a:gd name="connsiteY619" fmla="*/ 742603 h 1771142"/>
                <a:gd name="connsiteX620" fmla="*/ 2595980 w 3060746"/>
                <a:gd name="connsiteY620" fmla="*/ 727061 h 1771142"/>
                <a:gd name="connsiteX621" fmla="*/ 2556324 w 3060746"/>
                <a:gd name="connsiteY621" fmla="*/ 717903 h 1771142"/>
                <a:gd name="connsiteX622" fmla="*/ 2544878 w 3060746"/>
                <a:gd name="connsiteY622" fmla="*/ 735918 h 1771142"/>
                <a:gd name="connsiteX623" fmla="*/ 2548206 w 3060746"/>
                <a:gd name="connsiteY623" fmla="*/ 745945 h 1771142"/>
                <a:gd name="connsiteX624" fmla="*/ 2541671 w 3060746"/>
                <a:gd name="connsiteY624" fmla="*/ 760217 h 1771142"/>
                <a:gd name="connsiteX625" fmla="*/ 2535096 w 3060746"/>
                <a:gd name="connsiteY625" fmla="*/ 770244 h 1771142"/>
                <a:gd name="connsiteX626" fmla="*/ 2513827 w 3060746"/>
                <a:gd name="connsiteY626" fmla="*/ 776495 h 1771142"/>
                <a:gd name="connsiteX627" fmla="*/ 2490122 w 3060746"/>
                <a:gd name="connsiteY627" fmla="*/ 793574 h 1771142"/>
                <a:gd name="connsiteX628" fmla="*/ 2468326 w 3060746"/>
                <a:gd name="connsiteY628" fmla="*/ 791502 h 1771142"/>
                <a:gd name="connsiteX629" fmla="*/ 2459964 w 3060746"/>
                <a:gd name="connsiteY629" fmla="*/ 794042 h 1771142"/>
                <a:gd name="connsiteX630" fmla="*/ 2447787 w 3060746"/>
                <a:gd name="connsiteY630" fmla="*/ 789764 h 1771142"/>
                <a:gd name="connsiteX631" fmla="*/ 2423433 w 3060746"/>
                <a:gd name="connsiteY631" fmla="*/ 789998 h 1771142"/>
                <a:gd name="connsiteX632" fmla="*/ 2404640 w 3060746"/>
                <a:gd name="connsiteY632" fmla="*/ 784616 h 1771142"/>
                <a:gd name="connsiteX633" fmla="*/ 2406751 w 3060746"/>
                <a:gd name="connsiteY633" fmla="*/ 777932 h 1771142"/>
                <a:gd name="connsiteX634" fmla="*/ 2397253 w 3060746"/>
                <a:gd name="connsiteY634" fmla="*/ 769743 h 1771142"/>
                <a:gd name="connsiteX635" fmla="*/ 2393194 w 3060746"/>
                <a:gd name="connsiteY635" fmla="*/ 758346 h 1771142"/>
                <a:gd name="connsiteX636" fmla="*/ 2398917 w 3060746"/>
                <a:gd name="connsiteY636" fmla="*/ 749054 h 1771142"/>
                <a:gd name="connsiteX637" fmla="*/ 2370504 w 3060746"/>
                <a:gd name="connsiteY637" fmla="*/ 754936 h 1771142"/>
                <a:gd name="connsiteX638" fmla="*/ 2338844 w 3060746"/>
                <a:gd name="connsiteY638" fmla="*/ 761387 h 1771142"/>
                <a:gd name="connsiteX639" fmla="*/ 2312988 w 3060746"/>
                <a:gd name="connsiteY639" fmla="*/ 757711 h 1771142"/>
                <a:gd name="connsiteX640" fmla="*/ 2300284 w 3060746"/>
                <a:gd name="connsiteY640" fmla="*/ 755972 h 1771142"/>
                <a:gd name="connsiteX641" fmla="*/ 2283764 w 3060746"/>
                <a:gd name="connsiteY641" fmla="*/ 756507 h 1771142"/>
                <a:gd name="connsiteX642" fmla="*/ 2276052 w 3060746"/>
                <a:gd name="connsiteY642" fmla="*/ 751728 h 1771142"/>
                <a:gd name="connsiteX643" fmla="*/ 2259004 w 3060746"/>
                <a:gd name="connsiteY643" fmla="*/ 753967 h 1771142"/>
                <a:gd name="connsiteX644" fmla="*/ 2218942 w 3060746"/>
                <a:gd name="connsiteY644" fmla="*/ 764195 h 1771142"/>
                <a:gd name="connsiteX645" fmla="*/ 2158869 w 3060746"/>
                <a:gd name="connsiteY645" fmla="*/ 780405 h 1771142"/>
                <a:gd name="connsiteX646" fmla="*/ 2098756 w 3060746"/>
                <a:gd name="connsiteY646" fmla="*/ 805606 h 1771142"/>
                <a:gd name="connsiteX647" fmla="*/ 2117224 w 3060746"/>
                <a:gd name="connsiteY647" fmla="*/ 814698 h 1771142"/>
                <a:gd name="connsiteX648" fmla="*/ 2120715 w 3060746"/>
                <a:gd name="connsiteY648" fmla="*/ 829471 h 1771142"/>
                <a:gd name="connsiteX649" fmla="*/ 2124368 w 3060746"/>
                <a:gd name="connsiteY649" fmla="*/ 839799 h 1771142"/>
                <a:gd name="connsiteX650" fmla="*/ 2149087 w 3060746"/>
                <a:gd name="connsiteY650" fmla="*/ 852500 h 1771142"/>
                <a:gd name="connsiteX651" fmla="*/ 2137641 w 3060746"/>
                <a:gd name="connsiteY651" fmla="*/ 866838 h 1771142"/>
                <a:gd name="connsiteX652" fmla="*/ 2136098 w 3060746"/>
                <a:gd name="connsiteY652" fmla="*/ 878403 h 1771142"/>
                <a:gd name="connsiteX653" fmla="*/ 2128873 w 3060746"/>
                <a:gd name="connsiteY653" fmla="*/ 895616 h 1771142"/>
                <a:gd name="connsiteX654" fmla="*/ 2162928 w 3060746"/>
                <a:gd name="connsiteY654" fmla="*/ 896686 h 1771142"/>
                <a:gd name="connsiteX655" fmla="*/ 2199459 w 3060746"/>
                <a:gd name="connsiteY655" fmla="*/ 905142 h 1771142"/>
                <a:gd name="connsiteX656" fmla="*/ 2194953 w 3060746"/>
                <a:gd name="connsiteY656" fmla="*/ 955845 h 1771142"/>
                <a:gd name="connsiteX657" fmla="*/ 2161345 w 3060746"/>
                <a:gd name="connsiteY657" fmla="*/ 983721 h 1771142"/>
                <a:gd name="connsiteX658" fmla="*/ 2136991 w 3060746"/>
                <a:gd name="connsiteY658" fmla="*/ 996422 h 1771142"/>
                <a:gd name="connsiteX659" fmla="*/ 2165404 w 3060746"/>
                <a:gd name="connsiteY659" fmla="*/ 1009190 h 1771142"/>
                <a:gd name="connsiteX660" fmla="*/ 2184887 w 3060746"/>
                <a:gd name="connsiteY660" fmla="*/ 1031249 h 1771142"/>
                <a:gd name="connsiteX661" fmla="*/ 2194548 w 3060746"/>
                <a:gd name="connsiteY661" fmla="*/ 1044953 h 1771142"/>
                <a:gd name="connsiteX662" fmla="*/ 2195968 w 3060746"/>
                <a:gd name="connsiteY662" fmla="*/ 1053676 h 1771142"/>
                <a:gd name="connsiteX663" fmla="*/ 2184887 w 3060746"/>
                <a:gd name="connsiteY663" fmla="*/ 1059693 h 1771142"/>
                <a:gd name="connsiteX664" fmla="*/ 2172710 w 3060746"/>
                <a:gd name="connsiteY664" fmla="*/ 1075335 h 1771142"/>
                <a:gd name="connsiteX665" fmla="*/ 2155703 w 3060746"/>
                <a:gd name="connsiteY665" fmla="*/ 1078209 h 1771142"/>
                <a:gd name="connsiteX666" fmla="*/ 2138493 w 3060746"/>
                <a:gd name="connsiteY666" fmla="*/ 1075669 h 1771142"/>
                <a:gd name="connsiteX667" fmla="*/ 2106508 w 3060746"/>
                <a:gd name="connsiteY667" fmla="*/ 1072327 h 1771142"/>
                <a:gd name="connsiteX668" fmla="*/ 2083129 w 3060746"/>
                <a:gd name="connsiteY668" fmla="*/ 1066143 h 1771142"/>
                <a:gd name="connsiteX669" fmla="*/ 2056948 w 3060746"/>
                <a:gd name="connsiteY669" fmla="*/ 1039404 h 1771142"/>
                <a:gd name="connsiteX670" fmla="*/ 2050576 w 3060746"/>
                <a:gd name="connsiteY670" fmla="*/ 1020821 h 1771142"/>
                <a:gd name="connsiteX671" fmla="*/ 2004141 w 3060746"/>
                <a:gd name="connsiteY671" fmla="*/ 1030313 h 1771142"/>
                <a:gd name="connsiteX672" fmla="*/ 1959492 w 3060746"/>
                <a:gd name="connsiteY672" fmla="*/ 1045254 h 1771142"/>
                <a:gd name="connsiteX673" fmla="*/ 1927426 w 3060746"/>
                <a:gd name="connsiteY673" fmla="*/ 1047092 h 1771142"/>
                <a:gd name="connsiteX674" fmla="*/ 1883589 w 3060746"/>
                <a:gd name="connsiteY674" fmla="*/ 1054378 h 1771142"/>
                <a:gd name="connsiteX675" fmla="*/ 1857977 w 3060746"/>
                <a:gd name="connsiteY675" fmla="*/ 1051972 h 1771142"/>
                <a:gd name="connsiteX676" fmla="*/ 1791897 w 3060746"/>
                <a:gd name="connsiteY676" fmla="*/ 1063403 h 1771142"/>
                <a:gd name="connsiteX677" fmla="*/ 1763484 w 3060746"/>
                <a:gd name="connsiteY677" fmla="*/ 1067480 h 1771142"/>
                <a:gd name="connsiteX678" fmla="*/ 1730160 w 3060746"/>
                <a:gd name="connsiteY678" fmla="*/ 1079479 h 1771142"/>
                <a:gd name="connsiteX679" fmla="*/ 1705522 w 3060746"/>
                <a:gd name="connsiteY679" fmla="*/ 1094921 h 1771142"/>
                <a:gd name="connsiteX680" fmla="*/ 1702681 w 3060746"/>
                <a:gd name="connsiteY680" fmla="*/ 1085395 h 1771142"/>
                <a:gd name="connsiteX681" fmla="*/ 1653973 w 3060746"/>
                <a:gd name="connsiteY681" fmla="*/ 1066478 h 1771142"/>
                <a:gd name="connsiteX682" fmla="*/ 1600719 w 3060746"/>
                <a:gd name="connsiteY682" fmla="*/ 1069820 h 1771142"/>
                <a:gd name="connsiteX683" fmla="*/ 1596214 w 3060746"/>
                <a:gd name="connsiteY683" fmla="*/ 1029411 h 1771142"/>
                <a:gd name="connsiteX684" fmla="*/ 1597837 w 3060746"/>
                <a:gd name="connsiteY684" fmla="*/ 1012900 h 1771142"/>
                <a:gd name="connsiteX685" fmla="*/ 1618822 w 3060746"/>
                <a:gd name="connsiteY685" fmla="*/ 992578 h 1771142"/>
                <a:gd name="connsiteX686" fmla="*/ 1626940 w 3060746"/>
                <a:gd name="connsiteY686" fmla="*/ 978172 h 1771142"/>
                <a:gd name="connsiteX687" fmla="*/ 1630512 w 3060746"/>
                <a:gd name="connsiteY687" fmla="*/ 969315 h 1771142"/>
                <a:gd name="connsiteX688" fmla="*/ 1638630 w 3060746"/>
                <a:gd name="connsiteY688" fmla="*/ 962263 h 1771142"/>
                <a:gd name="connsiteX689" fmla="*/ 1631405 w 3060746"/>
                <a:gd name="connsiteY689" fmla="*/ 959422 h 1771142"/>
                <a:gd name="connsiteX690" fmla="*/ 1647885 w 3060746"/>
                <a:gd name="connsiteY690" fmla="*/ 951200 h 1771142"/>
                <a:gd name="connsiteX691" fmla="*/ 1679423 w 3060746"/>
                <a:gd name="connsiteY691" fmla="*/ 932014 h 1771142"/>
                <a:gd name="connsiteX692" fmla="*/ 1629254 w 3060746"/>
                <a:gd name="connsiteY692" fmla="*/ 936760 h 1771142"/>
                <a:gd name="connsiteX693" fmla="*/ 1579937 w 3060746"/>
                <a:gd name="connsiteY693" fmla="*/ 944615 h 1771142"/>
                <a:gd name="connsiteX694" fmla="*/ 1574742 w 3060746"/>
                <a:gd name="connsiteY694" fmla="*/ 942409 h 1771142"/>
                <a:gd name="connsiteX695" fmla="*/ 1616184 w 3060746"/>
                <a:gd name="connsiteY695" fmla="*/ 929541 h 1771142"/>
                <a:gd name="connsiteX696" fmla="*/ 1691519 w 3060746"/>
                <a:gd name="connsiteY696" fmla="*/ 907949 h 1771142"/>
                <a:gd name="connsiteX697" fmla="*/ 1687135 w 3060746"/>
                <a:gd name="connsiteY697" fmla="*/ 894145 h 1771142"/>
                <a:gd name="connsiteX698" fmla="*/ 1724640 w 3060746"/>
                <a:gd name="connsiteY698" fmla="*/ 884319 h 1771142"/>
                <a:gd name="connsiteX699" fmla="*/ 1770222 w 3060746"/>
                <a:gd name="connsiteY699" fmla="*/ 839866 h 1771142"/>
                <a:gd name="connsiteX700" fmla="*/ 1700042 w 3060746"/>
                <a:gd name="connsiteY700" fmla="*/ 852767 h 1771142"/>
                <a:gd name="connsiteX701" fmla="*/ 1666637 w 3060746"/>
                <a:gd name="connsiteY701" fmla="*/ 850093 h 1771142"/>
                <a:gd name="connsiteX702" fmla="*/ 1700083 w 3060746"/>
                <a:gd name="connsiteY702" fmla="*/ 840868 h 1771142"/>
                <a:gd name="connsiteX703" fmla="*/ 1771927 w 3060746"/>
                <a:gd name="connsiteY703" fmla="*/ 819043 h 1771142"/>
                <a:gd name="connsiteX704" fmla="*/ 1792222 w 3060746"/>
                <a:gd name="connsiteY704" fmla="*/ 797418 h 1771142"/>
                <a:gd name="connsiteX705" fmla="*/ 1766447 w 3060746"/>
                <a:gd name="connsiteY705" fmla="*/ 798120 h 1771142"/>
                <a:gd name="connsiteX706" fmla="*/ 1788975 w 3060746"/>
                <a:gd name="connsiteY706" fmla="*/ 783614 h 1771142"/>
                <a:gd name="connsiteX707" fmla="*/ 1829077 w 3060746"/>
                <a:gd name="connsiteY707" fmla="*/ 777765 h 1771142"/>
                <a:gd name="connsiteX708" fmla="*/ 1846369 w 3060746"/>
                <a:gd name="connsiteY708" fmla="*/ 764195 h 1771142"/>
                <a:gd name="connsiteX709" fmla="*/ 1815723 w 3060746"/>
                <a:gd name="connsiteY709" fmla="*/ 761220 h 1771142"/>
                <a:gd name="connsiteX710" fmla="*/ 1843487 w 3060746"/>
                <a:gd name="connsiteY710" fmla="*/ 758346 h 1771142"/>
                <a:gd name="connsiteX711" fmla="*/ 1877420 w 3060746"/>
                <a:gd name="connsiteY711" fmla="*/ 753399 h 1771142"/>
                <a:gd name="connsiteX712" fmla="*/ 1907497 w 3060746"/>
                <a:gd name="connsiteY712" fmla="*/ 728398 h 1771142"/>
                <a:gd name="connsiteX713" fmla="*/ 1924504 w 3060746"/>
                <a:gd name="connsiteY713" fmla="*/ 710884 h 1771142"/>
                <a:gd name="connsiteX714" fmla="*/ 1889921 w 3060746"/>
                <a:gd name="connsiteY714" fmla="*/ 700222 h 1771142"/>
                <a:gd name="connsiteX715" fmla="*/ 1879124 w 3060746"/>
                <a:gd name="connsiteY715" fmla="*/ 690195 h 1771142"/>
                <a:gd name="connsiteX716" fmla="*/ 1909445 w 3060746"/>
                <a:gd name="connsiteY716" fmla="*/ 671110 h 1771142"/>
                <a:gd name="connsiteX717" fmla="*/ 1893209 w 3060746"/>
                <a:gd name="connsiteY717" fmla="*/ 669071 h 1771142"/>
                <a:gd name="connsiteX718" fmla="*/ 1897715 w 3060746"/>
                <a:gd name="connsiteY718" fmla="*/ 660448 h 1771142"/>
                <a:gd name="connsiteX719" fmla="*/ 1873361 w 3060746"/>
                <a:gd name="connsiteY719" fmla="*/ 665963 h 1771142"/>
                <a:gd name="connsiteX720" fmla="*/ 1839509 w 3060746"/>
                <a:gd name="connsiteY720" fmla="*/ 664726 h 1771142"/>
                <a:gd name="connsiteX721" fmla="*/ 1758330 w 3060746"/>
                <a:gd name="connsiteY721" fmla="*/ 689292 h 1771142"/>
                <a:gd name="connsiteX722" fmla="*/ 1761820 w 3060746"/>
                <a:gd name="connsiteY722" fmla="*/ 702896 h 1771142"/>
                <a:gd name="connsiteX723" fmla="*/ 1783576 w 3060746"/>
                <a:gd name="connsiteY723" fmla="*/ 707007 h 1771142"/>
                <a:gd name="connsiteX724" fmla="*/ 1777325 w 3060746"/>
                <a:gd name="connsiteY724" fmla="*/ 717234 h 1771142"/>
                <a:gd name="connsiteX725" fmla="*/ 1765149 w 3060746"/>
                <a:gd name="connsiteY725" fmla="*/ 735116 h 1771142"/>
                <a:gd name="connsiteX726" fmla="*/ 1752972 w 3060746"/>
                <a:gd name="connsiteY726" fmla="*/ 753934 h 1771142"/>
                <a:gd name="connsiteX727" fmla="*/ 1736736 w 3060746"/>
                <a:gd name="connsiteY727" fmla="*/ 747817 h 1771142"/>
                <a:gd name="connsiteX728" fmla="*/ 1757031 w 3060746"/>
                <a:gd name="connsiteY728" fmla="*/ 768707 h 1771142"/>
                <a:gd name="connsiteX729" fmla="*/ 1745138 w 3060746"/>
                <a:gd name="connsiteY729" fmla="*/ 775592 h 1771142"/>
                <a:gd name="connsiteX730" fmla="*/ 1735315 w 3060746"/>
                <a:gd name="connsiteY730" fmla="*/ 785887 h 1771142"/>
                <a:gd name="connsiteX731" fmla="*/ 1699921 w 3060746"/>
                <a:gd name="connsiteY731" fmla="*/ 781241 h 1771142"/>
                <a:gd name="connsiteX732" fmla="*/ 1689733 w 3060746"/>
                <a:gd name="connsiteY732" fmla="*/ 765331 h 1771142"/>
                <a:gd name="connsiteX733" fmla="*/ 1685308 w 3060746"/>
                <a:gd name="connsiteY733" fmla="*/ 750190 h 1771142"/>
                <a:gd name="connsiteX734" fmla="*/ 1643866 w 3060746"/>
                <a:gd name="connsiteY734" fmla="*/ 750424 h 1771142"/>
                <a:gd name="connsiteX735" fmla="*/ 1625520 w 3060746"/>
                <a:gd name="connsiteY735" fmla="*/ 770478 h 1771142"/>
                <a:gd name="connsiteX736" fmla="*/ 1603642 w 3060746"/>
                <a:gd name="connsiteY736" fmla="*/ 785753 h 1771142"/>
                <a:gd name="connsiteX737" fmla="*/ 1588096 w 3060746"/>
                <a:gd name="connsiteY737" fmla="*/ 777397 h 1771142"/>
                <a:gd name="connsiteX738" fmla="*/ 1602262 w 3060746"/>
                <a:gd name="connsiteY738" fmla="*/ 759148 h 1771142"/>
                <a:gd name="connsiteX739" fmla="*/ 1561672 w 3060746"/>
                <a:gd name="connsiteY739" fmla="*/ 766601 h 1771142"/>
                <a:gd name="connsiteX740" fmla="*/ 1533706 w 3060746"/>
                <a:gd name="connsiteY740" fmla="*/ 778767 h 1771142"/>
                <a:gd name="connsiteX741" fmla="*/ 1535492 w 3060746"/>
                <a:gd name="connsiteY741" fmla="*/ 762624 h 1771142"/>
                <a:gd name="connsiteX742" fmla="*/ 1538252 w 3060746"/>
                <a:gd name="connsiteY742" fmla="*/ 753466 h 1771142"/>
                <a:gd name="connsiteX743" fmla="*/ 1515806 w 3060746"/>
                <a:gd name="connsiteY743" fmla="*/ 751694 h 1771142"/>
                <a:gd name="connsiteX744" fmla="*/ 1485485 w 3060746"/>
                <a:gd name="connsiteY744" fmla="*/ 756307 h 1771142"/>
                <a:gd name="connsiteX745" fmla="*/ 1479437 w 3060746"/>
                <a:gd name="connsiteY745" fmla="*/ 742068 h 1771142"/>
                <a:gd name="connsiteX746" fmla="*/ 1440471 w 3060746"/>
                <a:gd name="connsiteY746" fmla="*/ 743205 h 1771142"/>
                <a:gd name="connsiteX747" fmla="*/ 1417091 w 3060746"/>
                <a:gd name="connsiteY747" fmla="*/ 745644 h 1771142"/>
                <a:gd name="connsiteX748" fmla="*/ 1434058 w 3060746"/>
                <a:gd name="connsiteY748" fmla="*/ 730571 h 1771142"/>
                <a:gd name="connsiteX749" fmla="*/ 1438117 w 3060746"/>
                <a:gd name="connsiteY749" fmla="*/ 712622 h 1771142"/>
                <a:gd name="connsiteX750" fmla="*/ 1451146 w 3060746"/>
                <a:gd name="connsiteY750" fmla="*/ 702194 h 1771142"/>
                <a:gd name="connsiteX751" fmla="*/ 1503913 w 3060746"/>
                <a:gd name="connsiteY751" fmla="*/ 667834 h 1771142"/>
                <a:gd name="connsiteX752" fmla="*/ 1499854 w 3060746"/>
                <a:gd name="connsiteY752" fmla="*/ 638288 h 1771142"/>
                <a:gd name="connsiteX753" fmla="*/ 1451471 w 3060746"/>
                <a:gd name="connsiteY753" fmla="*/ 655000 h 1771142"/>
                <a:gd name="connsiteX754" fmla="*/ 1410069 w 3060746"/>
                <a:gd name="connsiteY754" fmla="*/ 667266 h 1771142"/>
                <a:gd name="connsiteX755" fmla="*/ 1367572 w 3060746"/>
                <a:gd name="connsiteY755" fmla="*/ 687855 h 1771142"/>
                <a:gd name="connsiteX756" fmla="*/ 1369885 w 3060746"/>
                <a:gd name="connsiteY756" fmla="*/ 698785 h 1771142"/>
                <a:gd name="connsiteX757" fmla="*/ 1349591 w 3060746"/>
                <a:gd name="connsiteY757" fmla="*/ 708177 h 1771142"/>
                <a:gd name="connsiteX758" fmla="*/ 1357709 w 3060746"/>
                <a:gd name="connsiteY758" fmla="*/ 721011 h 1771142"/>
                <a:gd name="connsiteX759" fmla="*/ 1374797 w 3060746"/>
                <a:gd name="connsiteY759" fmla="*/ 736921 h 1771142"/>
                <a:gd name="connsiteX760" fmla="*/ 1399151 w 3060746"/>
                <a:gd name="connsiteY760" fmla="*/ 752898 h 1771142"/>
                <a:gd name="connsiteX761" fmla="*/ 1384011 w 3060746"/>
                <a:gd name="connsiteY761" fmla="*/ 770044 h 1771142"/>
                <a:gd name="connsiteX762" fmla="*/ 1399719 w 3060746"/>
                <a:gd name="connsiteY762" fmla="*/ 775024 h 1771142"/>
                <a:gd name="connsiteX763" fmla="*/ 1371996 w 3060746"/>
                <a:gd name="connsiteY763" fmla="*/ 784717 h 1771142"/>
                <a:gd name="connsiteX764" fmla="*/ 1375528 w 3060746"/>
                <a:gd name="connsiteY764" fmla="*/ 803969 h 1771142"/>
                <a:gd name="connsiteX765" fmla="*/ 1382387 w 3060746"/>
                <a:gd name="connsiteY765" fmla="*/ 816703 h 1771142"/>
                <a:gd name="connsiteX766" fmla="*/ 1413925 w 3060746"/>
                <a:gd name="connsiteY766" fmla="*/ 823388 h 1771142"/>
                <a:gd name="connsiteX767" fmla="*/ 1463810 w 3060746"/>
                <a:gd name="connsiteY767" fmla="*/ 810520 h 1771142"/>
                <a:gd name="connsiteX768" fmla="*/ 1472375 w 3060746"/>
                <a:gd name="connsiteY768" fmla="*/ 816135 h 1771142"/>
                <a:gd name="connsiteX769" fmla="*/ 1477651 w 3060746"/>
                <a:gd name="connsiteY769" fmla="*/ 822385 h 1771142"/>
                <a:gd name="connsiteX770" fmla="*/ 1471603 w 3060746"/>
                <a:gd name="connsiteY770" fmla="*/ 831543 h 1771142"/>
                <a:gd name="connsiteX771" fmla="*/ 1484511 w 3060746"/>
                <a:gd name="connsiteY771" fmla="*/ 822151 h 1771142"/>
                <a:gd name="connsiteX772" fmla="*/ 1503953 w 3060746"/>
                <a:gd name="connsiteY772" fmla="*/ 824858 h 1771142"/>
                <a:gd name="connsiteX773" fmla="*/ 1496282 w 3060746"/>
                <a:gd name="connsiteY773" fmla="*/ 834150 h 1771142"/>
                <a:gd name="connsiteX774" fmla="*/ 1479031 w 3060746"/>
                <a:gd name="connsiteY774" fmla="*/ 852867 h 1771142"/>
                <a:gd name="connsiteX775" fmla="*/ 1453703 w 3060746"/>
                <a:gd name="connsiteY775" fmla="*/ 868476 h 1771142"/>
                <a:gd name="connsiteX776" fmla="*/ 1472375 w 3060746"/>
                <a:gd name="connsiteY776" fmla="*/ 880709 h 1771142"/>
                <a:gd name="connsiteX777" fmla="*/ 1439497 w 3060746"/>
                <a:gd name="connsiteY777" fmla="*/ 892174 h 1771142"/>
                <a:gd name="connsiteX778" fmla="*/ 1432881 w 3060746"/>
                <a:gd name="connsiteY778" fmla="*/ 870782 h 1771142"/>
                <a:gd name="connsiteX779" fmla="*/ 1403413 w 3060746"/>
                <a:gd name="connsiteY779" fmla="*/ 879105 h 1771142"/>
                <a:gd name="connsiteX780" fmla="*/ 1386730 w 3060746"/>
                <a:gd name="connsiteY780" fmla="*/ 876999 h 1771142"/>
                <a:gd name="connsiteX781" fmla="*/ 1418187 w 3060746"/>
                <a:gd name="connsiteY781" fmla="*/ 863128 h 1771142"/>
                <a:gd name="connsiteX782" fmla="*/ 1446600 w 3060746"/>
                <a:gd name="connsiteY782" fmla="*/ 848054 h 1771142"/>
                <a:gd name="connsiteX783" fmla="*/ 1453216 w 3060746"/>
                <a:gd name="connsiteY783" fmla="*/ 830674 h 1771142"/>
                <a:gd name="connsiteX784" fmla="*/ 1420744 w 3060746"/>
                <a:gd name="connsiteY784" fmla="*/ 840935 h 1771142"/>
                <a:gd name="connsiteX785" fmla="*/ 1414859 w 3060746"/>
                <a:gd name="connsiteY785" fmla="*/ 836690 h 1771142"/>
                <a:gd name="connsiteX786" fmla="*/ 1417457 w 3060746"/>
                <a:gd name="connsiteY786" fmla="*/ 828903 h 1771142"/>
                <a:gd name="connsiteX787" fmla="*/ 1370819 w 3060746"/>
                <a:gd name="connsiteY787" fmla="*/ 843743 h 1771142"/>
                <a:gd name="connsiteX788" fmla="*/ 1340214 w 3060746"/>
                <a:gd name="connsiteY788" fmla="*/ 851330 h 1771142"/>
                <a:gd name="connsiteX789" fmla="*/ 1331569 w 3060746"/>
                <a:gd name="connsiteY789" fmla="*/ 874726 h 1771142"/>
                <a:gd name="connsiteX790" fmla="*/ 1308757 w 3060746"/>
                <a:gd name="connsiteY790" fmla="*/ 890669 h 1771142"/>
                <a:gd name="connsiteX791" fmla="*/ 1351174 w 3060746"/>
                <a:gd name="connsiteY791" fmla="*/ 880642 h 1771142"/>
                <a:gd name="connsiteX792" fmla="*/ 1372686 w 3060746"/>
                <a:gd name="connsiteY792" fmla="*/ 881912 h 1771142"/>
                <a:gd name="connsiteX793" fmla="*/ 1366841 w 3060746"/>
                <a:gd name="connsiteY793" fmla="*/ 888965 h 1771142"/>
                <a:gd name="connsiteX794" fmla="*/ 1352351 w 3060746"/>
                <a:gd name="connsiteY794" fmla="*/ 894379 h 1771142"/>
                <a:gd name="connsiteX795" fmla="*/ 1349793 w 3060746"/>
                <a:gd name="connsiteY795" fmla="*/ 901733 h 1771142"/>
                <a:gd name="connsiteX796" fmla="*/ 1353852 w 3060746"/>
                <a:gd name="connsiteY796" fmla="*/ 912395 h 1771142"/>
                <a:gd name="connsiteX797" fmla="*/ 1317322 w 3060746"/>
                <a:gd name="connsiteY797" fmla="*/ 927268 h 1771142"/>
                <a:gd name="connsiteX798" fmla="*/ 1270684 w 3060746"/>
                <a:gd name="connsiteY798" fmla="*/ 951266 h 1771142"/>
                <a:gd name="connsiteX799" fmla="*/ 1173269 w 3060746"/>
                <a:gd name="connsiteY799" fmla="*/ 983320 h 1771142"/>
                <a:gd name="connsiteX800" fmla="*/ 1140797 w 3060746"/>
                <a:gd name="connsiteY800" fmla="*/ 989403 h 1771142"/>
                <a:gd name="connsiteX801" fmla="*/ 1118513 w 3060746"/>
                <a:gd name="connsiteY801" fmla="*/ 986562 h 1771142"/>
                <a:gd name="connsiteX802" fmla="*/ 1054584 w 3060746"/>
                <a:gd name="connsiteY802" fmla="*/ 1017445 h 1771142"/>
                <a:gd name="connsiteX803" fmla="*/ 1025238 w 3060746"/>
                <a:gd name="connsiteY803" fmla="*/ 1040842 h 1771142"/>
                <a:gd name="connsiteX804" fmla="*/ 1043584 w 3060746"/>
                <a:gd name="connsiteY804" fmla="*/ 1040541 h 1771142"/>
                <a:gd name="connsiteX805" fmla="*/ 1062499 w 3060746"/>
                <a:gd name="connsiteY805" fmla="*/ 1025400 h 1771142"/>
                <a:gd name="connsiteX806" fmla="*/ 1100491 w 3060746"/>
                <a:gd name="connsiteY806" fmla="*/ 999931 h 1771142"/>
                <a:gd name="connsiteX807" fmla="*/ 1105849 w 3060746"/>
                <a:gd name="connsiteY807" fmla="*/ 1004577 h 1771142"/>
                <a:gd name="connsiteX808" fmla="*/ 1075001 w 3060746"/>
                <a:gd name="connsiteY808" fmla="*/ 1027974 h 1771142"/>
                <a:gd name="connsiteX809" fmla="*/ 1092008 w 3060746"/>
                <a:gd name="connsiteY809" fmla="*/ 1055448 h 1771142"/>
                <a:gd name="connsiteX810" fmla="*/ 1072971 w 3060746"/>
                <a:gd name="connsiteY810" fmla="*/ 1074399 h 1771142"/>
                <a:gd name="connsiteX811" fmla="*/ 1060226 w 3060746"/>
                <a:gd name="connsiteY811" fmla="*/ 1072861 h 1771142"/>
                <a:gd name="connsiteX812" fmla="*/ 1034452 w 3060746"/>
                <a:gd name="connsiteY812" fmla="*/ 1066177 h 1771142"/>
                <a:gd name="connsiteX813" fmla="*/ 1027470 w 3060746"/>
                <a:gd name="connsiteY813" fmla="*/ 1064305 h 1771142"/>
                <a:gd name="connsiteX814" fmla="*/ 1013101 w 3060746"/>
                <a:gd name="connsiteY814" fmla="*/ 1070689 h 1771142"/>
                <a:gd name="connsiteX815" fmla="*/ 975921 w 3060746"/>
                <a:gd name="connsiteY815" fmla="*/ 1082253 h 1771142"/>
                <a:gd name="connsiteX816" fmla="*/ 887679 w 3060746"/>
                <a:gd name="connsiteY816" fmla="*/ 1132990 h 1771142"/>
                <a:gd name="connsiteX817" fmla="*/ 823994 w 3060746"/>
                <a:gd name="connsiteY817" fmla="*/ 1155284 h 1771142"/>
                <a:gd name="connsiteX818" fmla="*/ 842300 w 3060746"/>
                <a:gd name="connsiteY818" fmla="*/ 1135430 h 1771142"/>
                <a:gd name="connsiteX819" fmla="*/ 850986 w 3060746"/>
                <a:gd name="connsiteY819" fmla="*/ 1122830 h 1771142"/>
                <a:gd name="connsiteX820" fmla="*/ 805363 w 3060746"/>
                <a:gd name="connsiteY820" fmla="*/ 1130150 h 1771142"/>
                <a:gd name="connsiteX821" fmla="*/ 779507 w 3060746"/>
                <a:gd name="connsiteY821" fmla="*/ 1142884 h 1771142"/>
                <a:gd name="connsiteX822" fmla="*/ 698044 w 3060746"/>
                <a:gd name="connsiteY822" fmla="*/ 1175004 h 1771142"/>
                <a:gd name="connsiteX823" fmla="*/ 659727 w 3060746"/>
                <a:gd name="connsiteY823" fmla="*/ 1190813 h 1771142"/>
                <a:gd name="connsiteX824" fmla="*/ 607894 w 3060746"/>
                <a:gd name="connsiteY824" fmla="*/ 1204550 h 1771142"/>
                <a:gd name="connsiteX825" fmla="*/ 543681 w 3060746"/>
                <a:gd name="connsiteY825" fmla="*/ 1246798 h 1771142"/>
                <a:gd name="connsiteX826" fmla="*/ 510113 w 3060746"/>
                <a:gd name="connsiteY826" fmla="*/ 1269526 h 1771142"/>
                <a:gd name="connsiteX827" fmla="*/ 509910 w 3060746"/>
                <a:gd name="connsiteY827" fmla="*/ 1258061 h 1771142"/>
                <a:gd name="connsiteX828" fmla="*/ 494039 w 3060746"/>
                <a:gd name="connsiteY828" fmla="*/ 1251043 h 1771142"/>
                <a:gd name="connsiteX829" fmla="*/ 481132 w 3060746"/>
                <a:gd name="connsiteY829" fmla="*/ 1268256 h 1771142"/>
                <a:gd name="connsiteX830" fmla="*/ 372554 w 3060746"/>
                <a:gd name="connsiteY830" fmla="*/ 1300008 h 1771142"/>
                <a:gd name="connsiteX831" fmla="*/ 385868 w 3060746"/>
                <a:gd name="connsiteY831" fmla="*/ 1307595 h 1771142"/>
                <a:gd name="connsiteX832" fmla="*/ 373691 w 3060746"/>
                <a:gd name="connsiteY832" fmla="*/ 1318759 h 1771142"/>
                <a:gd name="connsiteX833" fmla="*/ 366872 w 3060746"/>
                <a:gd name="connsiteY833" fmla="*/ 1338211 h 1771142"/>
                <a:gd name="connsiteX834" fmla="*/ 346009 w 3060746"/>
                <a:gd name="connsiteY834" fmla="*/ 1345331 h 1771142"/>
                <a:gd name="connsiteX835" fmla="*/ 312076 w 3060746"/>
                <a:gd name="connsiteY835" fmla="*/ 1382732 h 1771142"/>
                <a:gd name="connsiteX836" fmla="*/ 303633 w 3060746"/>
                <a:gd name="connsiteY836" fmla="*/ 1383868 h 1771142"/>
                <a:gd name="connsiteX837" fmla="*/ 286951 w 3060746"/>
                <a:gd name="connsiteY837" fmla="*/ 1398641 h 1771142"/>
                <a:gd name="connsiteX838" fmla="*/ 272014 w 3060746"/>
                <a:gd name="connsiteY838" fmla="*/ 1424210 h 1771142"/>
                <a:gd name="connsiteX839" fmla="*/ 256305 w 3060746"/>
                <a:gd name="connsiteY839" fmla="*/ 1428087 h 1771142"/>
                <a:gd name="connsiteX840" fmla="*/ 292349 w 3060746"/>
                <a:gd name="connsiteY840" fmla="*/ 1385773 h 1771142"/>
                <a:gd name="connsiteX841" fmla="*/ 335212 w 3060746"/>
                <a:gd name="connsiteY841" fmla="*/ 1347904 h 1771142"/>
                <a:gd name="connsiteX842" fmla="*/ 307043 w 3060746"/>
                <a:gd name="connsiteY842" fmla="*/ 1356628 h 1771142"/>
                <a:gd name="connsiteX843" fmla="*/ 251800 w 3060746"/>
                <a:gd name="connsiteY843" fmla="*/ 1406228 h 1771142"/>
                <a:gd name="connsiteX844" fmla="*/ 237025 w 3060746"/>
                <a:gd name="connsiteY844" fmla="*/ 1424578 h 1771142"/>
                <a:gd name="connsiteX845" fmla="*/ 223103 w 3060746"/>
                <a:gd name="connsiteY845" fmla="*/ 1436477 h 1771142"/>
                <a:gd name="connsiteX846" fmla="*/ 215472 w 3060746"/>
                <a:gd name="connsiteY846" fmla="*/ 1433134 h 1771142"/>
                <a:gd name="connsiteX847" fmla="*/ 191118 w 3060746"/>
                <a:gd name="connsiteY847" fmla="*/ 1453188 h 1771142"/>
                <a:gd name="connsiteX848" fmla="*/ 165384 w 3060746"/>
                <a:gd name="connsiteY848" fmla="*/ 1474078 h 1771142"/>
                <a:gd name="connsiteX849" fmla="*/ 185679 w 3060746"/>
                <a:gd name="connsiteY849" fmla="*/ 1477420 h 1771142"/>
                <a:gd name="connsiteX850" fmla="*/ 153938 w 3060746"/>
                <a:gd name="connsiteY850" fmla="*/ 1494801 h 1771142"/>
                <a:gd name="connsiteX851" fmla="*/ 93987 w 3060746"/>
                <a:gd name="connsiteY851" fmla="*/ 1522977 h 1771142"/>
                <a:gd name="connsiteX852" fmla="*/ 54899 w 3060746"/>
                <a:gd name="connsiteY852" fmla="*/ 1531567 h 1771142"/>
                <a:gd name="connsiteX853" fmla="*/ -60 w 3060746"/>
                <a:gd name="connsiteY853" fmla="*/ 1564456 h 1771142"/>
                <a:gd name="connsiteX854" fmla="*/ 172609 w 3060746"/>
                <a:gd name="connsiteY854" fmla="*/ 1746514 h 1771142"/>
                <a:gd name="connsiteX855" fmla="*/ 195218 w 3060746"/>
                <a:gd name="connsiteY855" fmla="*/ 1770345 h 1771142"/>
                <a:gd name="connsiteX856" fmla="*/ 241246 w 3060746"/>
                <a:gd name="connsiteY856" fmla="*/ 1738325 h 1771142"/>
                <a:gd name="connsiteX857" fmla="*/ 263855 w 3060746"/>
                <a:gd name="connsiteY857" fmla="*/ 1738526 h 1771142"/>
                <a:gd name="connsiteX858" fmla="*/ 309924 w 3060746"/>
                <a:gd name="connsiteY858" fmla="*/ 1733479 h 1771142"/>
                <a:gd name="connsiteX859" fmla="*/ 339271 w 3060746"/>
                <a:gd name="connsiteY859" fmla="*/ 1717201 h 1771142"/>
                <a:gd name="connsiteX860" fmla="*/ 348931 w 3060746"/>
                <a:gd name="connsiteY860" fmla="*/ 1696646 h 1771142"/>
                <a:gd name="connsiteX861" fmla="*/ 373650 w 3060746"/>
                <a:gd name="connsiteY861" fmla="*/ 1679332 h 1771142"/>
                <a:gd name="connsiteX862" fmla="*/ 394595 w 3060746"/>
                <a:gd name="connsiteY862" fmla="*/ 1679332 h 1771142"/>
                <a:gd name="connsiteX863" fmla="*/ 465789 w 3060746"/>
                <a:gd name="connsiteY863" fmla="*/ 1672882 h 1771142"/>
                <a:gd name="connsiteX864" fmla="*/ 532356 w 3060746"/>
                <a:gd name="connsiteY864" fmla="*/ 1679566 h 1771142"/>
                <a:gd name="connsiteX865" fmla="*/ 594986 w 3060746"/>
                <a:gd name="connsiteY865" fmla="*/ 1667901 h 1771142"/>
                <a:gd name="connsiteX866" fmla="*/ 607853 w 3060746"/>
                <a:gd name="connsiteY866" fmla="*/ 1674954 h 1771142"/>
                <a:gd name="connsiteX867" fmla="*/ 598802 w 3060746"/>
                <a:gd name="connsiteY867" fmla="*/ 1699387 h 1771142"/>
                <a:gd name="connsiteX868" fmla="*/ 617514 w 3060746"/>
                <a:gd name="connsiteY868" fmla="*/ 1703230 h 1771142"/>
                <a:gd name="connsiteX869" fmla="*/ 621248 w 3060746"/>
                <a:gd name="connsiteY869" fmla="*/ 1713257 h 1771142"/>
                <a:gd name="connsiteX870" fmla="*/ 652502 w 3060746"/>
                <a:gd name="connsiteY870" fmla="*/ 1702395 h 1771142"/>
                <a:gd name="connsiteX871" fmla="*/ 669712 w 3060746"/>
                <a:gd name="connsiteY871" fmla="*/ 1711386 h 1771142"/>
                <a:gd name="connsiteX872" fmla="*/ 692118 w 3060746"/>
                <a:gd name="connsiteY872" fmla="*/ 1699888 h 1771142"/>
                <a:gd name="connsiteX873" fmla="*/ 720530 w 3060746"/>
                <a:gd name="connsiteY873" fmla="*/ 1698351 h 1771142"/>
                <a:gd name="connsiteX874" fmla="*/ 716877 w 3060746"/>
                <a:gd name="connsiteY874" fmla="*/ 1713124 h 1771142"/>
                <a:gd name="connsiteX875" fmla="*/ 728364 w 3060746"/>
                <a:gd name="connsiteY875" fmla="*/ 1711352 h 1771142"/>
                <a:gd name="connsiteX876" fmla="*/ 738512 w 3060746"/>
                <a:gd name="connsiteY876" fmla="*/ 1717135 h 1771142"/>
                <a:gd name="connsiteX877" fmla="*/ 770983 w 3060746"/>
                <a:gd name="connsiteY877" fmla="*/ 1705135 h 1771142"/>
                <a:gd name="connsiteX878" fmla="*/ 806865 w 3060746"/>
                <a:gd name="connsiteY878" fmla="*/ 1698752 h 1771142"/>
                <a:gd name="connsiteX879" fmla="*/ 833492 w 3060746"/>
                <a:gd name="connsiteY879" fmla="*/ 1688725 h 1771142"/>
                <a:gd name="connsiteX880" fmla="*/ 863366 w 3060746"/>
                <a:gd name="connsiteY880" fmla="*/ 1682574 h 1771142"/>
                <a:gd name="connsiteX881" fmla="*/ 892225 w 3060746"/>
                <a:gd name="connsiteY881" fmla="*/ 1673784 h 1771142"/>
                <a:gd name="connsiteX882" fmla="*/ 916254 w 3060746"/>
                <a:gd name="connsiteY882" fmla="*/ 1678798 h 1771142"/>
                <a:gd name="connsiteX883" fmla="*/ 924697 w 3060746"/>
                <a:gd name="connsiteY883" fmla="*/ 1674219 h 1771142"/>
                <a:gd name="connsiteX884" fmla="*/ 977220 w 3060746"/>
                <a:gd name="connsiteY884" fmla="*/ 1645942 h 1771142"/>
                <a:gd name="connsiteX885" fmla="*/ 1183578 w 3060746"/>
                <a:gd name="connsiteY885" fmla="*/ 1539655 h 1771142"/>
                <a:gd name="connsiteX886" fmla="*/ 1657586 w 3060746"/>
                <a:gd name="connsiteY886" fmla="*/ 1322402 h 1771142"/>
                <a:gd name="connsiteX887" fmla="*/ 1712828 w 3060746"/>
                <a:gd name="connsiteY887" fmla="*/ 1299440 h 1771142"/>
                <a:gd name="connsiteX888" fmla="*/ 1721596 w 3060746"/>
                <a:gd name="connsiteY888" fmla="*/ 1295797 h 1771142"/>
                <a:gd name="connsiteX889" fmla="*/ 1720581 w 3060746"/>
                <a:gd name="connsiteY889" fmla="*/ 1289112 h 1771142"/>
                <a:gd name="connsiteX890" fmla="*/ 1741688 w 3060746"/>
                <a:gd name="connsiteY890" fmla="*/ 1291552 h 1771142"/>
                <a:gd name="connsiteX891" fmla="*/ 1779599 w 3060746"/>
                <a:gd name="connsiteY891" fmla="*/ 1282728 h 1771142"/>
                <a:gd name="connsiteX892" fmla="*/ 1817428 w 3060746"/>
                <a:gd name="connsiteY892" fmla="*/ 1273737 h 1771142"/>
                <a:gd name="connsiteX893" fmla="*/ 1849575 w 3060746"/>
                <a:gd name="connsiteY893" fmla="*/ 1269091 h 1771142"/>
                <a:gd name="connsiteX894" fmla="*/ 1861509 w 3060746"/>
                <a:gd name="connsiteY894" fmla="*/ 1259967 h 1771142"/>
                <a:gd name="connsiteX895" fmla="*/ 1884929 w 3060746"/>
                <a:gd name="connsiteY895" fmla="*/ 1252380 h 1771142"/>
                <a:gd name="connsiteX896" fmla="*/ 1914519 w 3060746"/>
                <a:gd name="connsiteY896" fmla="*/ 1234264 h 1771142"/>
                <a:gd name="connsiteX897" fmla="*/ 1937005 w 3060746"/>
                <a:gd name="connsiteY897" fmla="*/ 1213374 h 1771142"/>
                <a:gd name="connsiteX898" fmla="*/ 2005156 w 3060746"/>
                <a:gd name="connsiteY898" fmla="*/ 1204584 h 1771142"/>
                <a:gd name="connsiteX899" fmla="*/ 2040915 w 3060746"/>
                <a:gd name="connsiteY899" fmla="*/ 1202378 h 1771142"/>
                <a:gd name="connsiteX900" fmla="*/ 2079029 w 3060746"/>
                <a:gd name="connsiteY900" fmla="*/ 1220025 h 1771142"/>
                <a:gd name="connsiteX901" fmla="*/ 2141172 w 3060746"/>
                <a:gd name="connsiteY901" fmla="*/ 1206923 h 1771142"/>
                <a:gd name="connsiteX902" fmla="*/ 2196821 w 3060746"/>
                <a:gd name="connsiteY902" fmla="*/ 1193086 h 1771142"/>
                <a:gd name="connsiteX903" fmla="*/ 2228481 w 3060746"/>
                <a:gd name="connsiteY903" fmla="*/ 1210500 h 1771142"/>
                <a:gd name="connsiteX904" fmla="*/ 2182776 w 3060746"/>
                <a:gd name="connsiteY904" fmla="*/ 1218689 h 1771142"/>
                <a:gd name="connsiteX905" fmla="*/ 2179732 w 3060746"/>
                <a:gd name="connsiteY905" fmla="*/ 1238743 h 1771142"/>
                <a:gd name="connsiteX906" fmla="*/ 2170112 w 3060746"/>
                <a:gd name="connsiteY906" fmla="*/ 1270696 h 1771142"/>
                <a:gd name="connsiteX907" fmla="*/ 2181356 w 3060746"/>
                <a:gd name="connsiteY907" fmla="*/ 1281291 h 1771142"/>
                <a:gd name="connsiteX908" fmla="*/ 2234123 w 3060746"/>
                <a:gd name="connsiteY908" fmla="*/ 1254251 h 1771142"/>
                <a:gd name="connsiteX909" fmla="*/ 2258476 w 3060746"/>
                <a:gd name="connsiteY909" fmla="*/ 1242185 h 1771142"/>
                <a:gd name="connsiteX910" fmla="*/ 2270248 w 3060746"/>
                <a:gd name="connsiteY910" fmla="*/ 1238843 h 1771142"/>
                <a:gd name="connsiteX911" fmla="*/ 2272399 w 3060746"/>
                <a:gd name="connsiteY911" fmla="*/ 1226209 h 1771142"/>
                <a:gd name="connsiteX912" fmla="*/ 2252753 w 3060746"/>
                <a:gd name="connsiteY912" fmla="*/ 1231724 h 1771142"/>
                <a:gd name="connsiteX913" fmla="*/ 2268218 w 3060746"/>
                <a:gd name="connsiteY913" fmla="*/ 1212137 h 1771142"/>
                <a:gd name="connsiteX914" fmla="*/ 2320538 w 3060746"/>
                <a:gd name="connsiteY914" fmla="*/ 1191047 h 1771142"/>
                <a:gd name="connsiteX915" fmla="*/ 2341888 w 3060746"/>
                <a:gd name="connsiteY915" fmla="*/ 1181355 h 1771142"/>
                <a:gd name="connsiteX916" fmla="*/ 2364253 w 3060746"/>
                <a:gd name="connsiteY916" fmla="*/ 1163707 h 1771142"/>
                <a:gd name="connsiteX917" fmla="*/ 2426234 w 3060746"/>
                <a:gd name="connsiteY917" fmla="*/ 1137168 h 1771142"/>
                <a:gd name="connsiteX918" fmla="*/ 2486591 w 3060746"/>
                <a:gd name="connsiteY918" fmla="*/ 1117114 h 1771142"/>
                <a:gd name="connsiteX919" fmla="*/ 2512284 w 3060746"/>
                <a:gd name="connsiteY919" fmla="*/ 1089907 h 1771142"/>
                <a:gd name="connsiteX920" fmla="*/ 2520767 w 3060746"/>
                <a:gd name="connsiteY920" fmla="*/ 1061731 h 1771142"/>
                <a:gd name="connsiteX921" fmla="*/ 2545933 w 3060746"/>
                <a:gd name="connsiteY921" fmla="*/ 1046357 h 1771142"/>
                <a:gd name="connsiteX922" fmla="*/ 2584696 w 3060746"/>
                <a:gd name="connsiteY922" fmla="*/ 1042680 h 1771142"/>
                <a:gd name="connsiteX923" fmla="*/ 2595493 w 3060746"/>
                <a:gd name="connsiteY923" fmla="*/ 1060829 h 1771142"/>
                <a:gd name="connsiteX924" fmla="*/ 2614205 w 3060746"/>
                <a:gd name="connsiteY924" fmla="*/ 1072193 h 1771142"/>
                <a:gd name="connsiteX925" fmla="*/ 2645013 w 3060746"/>
                <a:gd name="connsiteY925" fmla="*/ 1067346 h 1771142"/>
                <a:gd name="connsiteX926" fmla="*/ 2687267 w 3060746"/>
                <a:gd name="connsiteY926" fmla="*/ 1040875 h 1771142"/>
                <a:gd name="connsiteX927" fmla="*/ 2695912 w 3060746"/>
                <a:gd name="connsiteY927" fmla="*/ 1035561 h 1771142"/>
                <a:gd name="connsiteX928" fmla="*/ 2691610 w 3060746"/>
                <a:gd name="connsiteY928" fmla="*/ 1045588 h 1771142"/>
                <a:gd name="connsiteX929" fmla="*/ 2731469 w 3060746"/>
                <a:gd name="connsiteY929" fmla="*/ 1040240 h 1771142"/>
                <a:gd name="connsiteX930" fmla="*/ 2693152 w 3060746"/>
                <a:gd name="connsiteY930" fmla="*/ 1054077 h 1771142"/>
                <a:gd name="connsiteX931" fmla="*/ 2659828 w 3060746"/>
                <a:gd name="connsiteY931" fmla="*/ 1082354 h 1771142"/>
                <a:gd name="connsiteX932" fmla="*/ 2684507 w 3060746"/>
                <a:gd name="connsiteY932" fmla="*/ 1091378 h 1771142"/>
                <a:gd name="connsiteX933" fmla="*/ 2723879 w 3060746"/>
                <a:gd name="connsiteY933" fmla="*/ 1060161 h 1771142"/>
                <a:gd name="connsiteX934" fmla="*/ 2767634 w 3060746"/>
                <a:gd name="connsiteY934" fmla="*/ 1042045 h 1771142"/>
                <a:gd name="connsiteX935" fmla="*/ 2810213 w 3060746"/>
                <a:gd name="connsiteY935" fmla="*/ 1020453 h 1771142"/>
                <a:gd name="connsiteX936" fmla="*/ 2805342 w 3060746"/>
                <a:gd name="connsiteY936" fmla="*/ 1014638 h 1771142"/>
                <a:gd name="connsiteX937" fmla="*/ 2822674 w 3060746"/>
                <a:gd name="connsiteY937" fmla="*/ 1006649 h 1771142"/>
                <a:gd name="connsiteX938" fmla="*/ 2842969 w 3060746"/>
                <a:gd name="connsiteY938" fmla="*/ 997324 h 1771142"/>
                <a:gd name="connsiteX939" fmla="*/ 2828681 w 3060746"/>
                <a:gd name="connsiteY939" fmla="*/ 993982 h 1771142"/>
                <a:gd name="connsiteX940" fmla="*/ 781861 w 3060746"/>
                <a:gd name="connsiteY940" fmla="*/ 1236637 h 1771142"/>
                <a:gd name="connsiteX941" fmla="*/ 754342 w 3060746"/>
                <a:gd name="connsiteY941" fmla="*/ 1266050 h 1771142"/>
                <a:gd name="connsiteX942" fmla="*/ 736645 w 3060746"/>
                <a:gd name="connsiteY942" fmla="*/ 1285001 h 1771142"/>
                <a:gd name="connsiteX943" fmla="*/ 715984 w 3060746"/>
                <a:gd name="connsiteY943" fmla="*/ 1308397 h 1771142"/>
                <a:gd name="connsiteX944" fmla="*/ 695365 w 3060746"/>
                <a:gd name="connsiteY944" fmla="*/ 1324240 h 1771142"/>
                <a:gd name="connsiteX945" fmla="*/ 706973 w 3060746"/>
                <a:gd name="connsiteY945" fmla="*/ 1302849 h 1771142"/>
                <a:gd name="connsiteX946" fmla="*/ 686476 w 3060746"/>
                <a:gd name="connsiteY946" fmla="*/ 1308832 h 1771142"/>
                <a:gd name="connsiteX947" fmla="*/ 673933 w 3060746"/>
                <a:gd name="connsiteY947" fmla="*/ 1332529 h 1771142"/>
                <a:gd name="connsiteX948" fmla="*/ 632288 w 3060746"/>
                <a:gd name="connsiteY948" fmla="*/ 1350244 h 1771142"/>
                <a:gd name="connsiteX949" fmla="*/ 638864 w 3060746"/>
                <a:gd name="connsiteY949" fmla="*/ 1344462 h 1771142"/>
                <a:gd name="connsiteX950" fmla="*/ 640934 w 3060746"/>
                <a:gd name="connsiteY950" fmla="*/ 1335203 h 1771142"/>
                <a:gd name="connsiteX951" fmla="*/ 643247 w 3060746"/>
                <a:gd name="connsiteY951" fmla="*/ 1322770 h 1771142"/>
                <a:gd name="connsiteX952" fmla="*/ 671417 w 3060746"/>
                <a:gd name="connsiteY952" fmla="*/ 1301980 h 1771142"/>
                <a:gd name="connsiteX953" fmla="*/ 628432 w 3060746"/>
                <a:gd name="connsiteY953" fmla="*/ 1314213 h 1771142"/>
                <a:gd name="connsiteX954" fmla="*/ 606676 w 3060746"/>
                <a:gd name="connsiteY954" fmla="*/ 1334501 h 1771142"/>
                <a:gd name="connsiteX955" fmla="*/ 572378 w 3060746"/>
                <a:gd name="connsiteY955" fmla="*/ 1350912 h 1771142"/>
                <a:gd name="connsiteX956" fmla="*/ 702752 w 3060746"/>
                <a:gd name="connsiteY956" fmla="*/ 1252981 h 1771142"/>
                <a:gd name="connsiteX957" fmla="*/ 725158 w 3060746"/>
                <a:gd name="connsiteY957" fmla="*/ 1264813 h 1771142"/>
                <a:gd name="connsiteX958" fmla="*/ 761688 w 3060746"/>
                <a:gd name="connsiteY958" fmla="*/ 1236537 h 1771142"/>
                <a:gd name="connsiteX959" fmla="*/ 781780 w 3060746"/>
                <a:gd name="connsiteY959" fmla="*/ 1236804 h 1771142"/>
                <a:gd name="connsiteX960" fmla="*/ 781861 w 3060746"/>
                <a:gd name="connsiteY960" fmla="*/ 1236637 h 1771142"/>
                <a:gd name="connsiteX961" fmla="*/ 1030393 w 3060746"/>
                <a:gd name="connsiteY961" fmla="*/ 1254385 h 1771142"/>
                <a:gd name="connsiteX962" fmla="*/ 1004253 w 3060746"/>
                <a:gd name="connsiteY962" fmla="*/ 1277447 h 1771142"/>
                <a:gd name="connsiteX963" fmla="*/ 990290 w 3060746"/>
                <a:gd name="connsiteY963" fmla="*/ 1297501 h 1771142"/>
                <a:gd name="connsiteX964" fmla="*/ 907162 w 3060746"/>
                <a:gd name="connsiteY964" fmla="*/ 1339949 h 1771142"/>
                <a:gd name="connsiteX965" fmla="*/ 905904 w 3060746"/>
                <a:gd name="connsiteY965" fmla="*/ 1334836 h 1771142"/>
                <a:gd name="connsiteX966" fmla="*/ 923642 w 3060746"/>
                <a:gd name="connsiteY966" fmla="*/ 1314347 h 1771142"/>
                <a:gd name="connsiteX967" fmla="*/ 945154 w 3060746"/>
                <a:gd name="connsiteY967" fmla="*/ 1290649 h 1771142"/>
                <a:gd name="connsiteX968" fmla="*/ 911911 w 3060746"/>
                <a:gd name="connsiteY968" fmla="*/ 1289146 h 1771142"/>
                <a:gd name="connsiteX969" fmla="*/ 970076 w 3060746"/>
                <a:gd name="connsiteY969" fmla="*/ 1267387 h 1771142"/>
                <a:gd name="connsiteX970" fmla="*/ 1039647 w 3060746"/>
                <a:gd name="connsiteY970" fmla="*/ 1228281 h 1771142"/>
                <a:gd name="connsiteX971" fmla="*/ 1088355 w 3060746"/>
                <a:gd name="connsiteY971" fmla="*/ 1197197 h 1771142"/>
                <a:gd name="connsiteX972" fmla="*/ 1030271 w 3060746"/>
                <a:gd name="connsiteY972" fmla="*/ 1254385 h 1771142"/>
                <a:gd name="connsiteX973" fmla="*/ 1030393 w 3060746"/>
                <a:gd name="connsiteY973" fmla="*/ 1254385 h 1771142"/>
                <a:gd name="connsiteX974" fmla="*/ 1658722 w 3060746"/>
                <a:gd name="connsiteY974" fmla="*/ 1284901 h 1771142"/>
                <a:gd name="connsiteX975" fmla="*/ 1644191 w 3060746"/>
                <a:gd name="connsiteY975" fmla="*/ 1277848 h 1771142"/>
                <a:gd name="connsiteX976" fmla="*/ 1608431 w 3060746"/>
                <a:gd name="connsiteY976" fmla="*/ 1269225 h 1771142"/>
                <a:gd name="connsiteX977" fmla="*/ 1553189 w 3060746"/>
                <a:gd name="connsiteY977" fmla="*/ 1243923 h 1771142"/>
                <a:gd name="connsiteX978" fmla="*/ 1620121 w 3060746"/>
                <a:gd name="connsiteY978" fmla="*/ 1247266 h 1771142"/>
                <a:gd name="connsiteX979" fmla="*/ 1658722 w 3060746"/>
                <a:gd name="connsiteY979" fmla="*/ 1284800 h 1771142"/>
                <a:gd name="connsiteX980" fmla="*/ 1658560 w 3060746"/>
                <a:gd name="connsiteY980" fmla="*/ 1284968 h 177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</a:cxnLst>
              <a:rect l="l" t="t" r="r" b="b"/>
              <a:pathLst>
                <a:path w="3060746" h="1771142">
                  <a:moveTo>
                    <a:pt x="886583" y="1692735"/>
                  </a:moveTo>
                  <a:cubicBezTo>
                    <a:pt x="870591" y="1692735"/>
                    <a:pt x="857318" y="1704567"/>
                    <a:pt x="841934" y="1701793"/>
                  </a:cubicBezTo>
                  <a:cubicBezTo>
                    <a:pt x="833248" y="1700189"/>
                    <a:pt x="811289" y="1695877"/>
                    <a:pt x="799193" y="1703164"/>
                  </a:cubicBezTo>
                  <a:cubicBezTo>
                    <a:pt x="789809" y="1709280"/>
                    <a:pt x="779390" y="1714233"/>
                    <a:pt x="768264" y="1717870"/>
                  </a:cubicBezTo>
                  <a:cubicBezTo>
                    <a:pt x="756087" y="1721379"/>
                    <a:pt x="742327" y="1720878"/>
                    <a:pt x="731733" y="1730237"/>
                  </a:cubicBezTo>
                  <a:cubicBezTo>
                    <a:pt x="727228" y="1734147"/>
                    <a:pt x="723250" y="1738994"/>
                    <a:pt x="731733" y="1736921"/>
                  </a:cubicBezTo>
                  <a:cubicBezTo>
                    <a:pt x="740216" y="1734849"/>
                    <a:pt x="743910" y="1739629"/>
                    <a:pt x="751784" y="1736687"/>
                  </a:cubicBezTo>
                  <a:cubicBezTo>
                    <a:pt x="764919" y="1731470"/>
                    <a:pt x="779158" y="1728405"/>
                    <a:pt x="793714" y="1727663"/>
                  </a:cubicBezTo>
                  <a:cubicBezTo>
                    <a:pt x="802075" y="1727663"/>
                    <a:pt x="806459" y="1724320"/>
                    <a:pt x="814536" y="1722917"/>
                  </a:cubicBezTo>
                  <a:cubicBezTo>
                    <a:pt x="825049" y="1721212"/>
                    <a:pt x="827931" y="1727529"/>
                    <a:pt x="840027" y="1721246"/>
                  </a:cubicBezTo>
                  <a:cubicBezTo>
                    <a:pt x="846521" y="1717903"/>
                    <a:pt x="849281" y="1720945"/>
                    <a:pt x="855288" y="1720510"/>
                  </a:cubicBezTo>
                  <a:cubicBezTo>
                    <a:pt x="869414" y="1719507"/>
                    <a:pt x="875827" y="1716566"/>
                    <a:pt x="890804" y="1708678"/>
                  </a:cubicBezTo>
                  <a:cubicBezTo>
                    <a:pt x="895553" y="1706175"/>
                    <a:pt x="900144" y="1703474"/>
                    <a:pt x="904564" y="1700590"/>
                  </a:cubicBezTo>
                  <a:cubicBezTo>
                    <a:pt x="914468" y="1694106"/>
                    <a:pt x="907812" y="1695075"/>
                    <a:pt x="908867" y="1688825"/>
                  </a:cubicBezTo>
                  <a:cubicBezTo>
                    <a:pt x="909719" y="1683845"/>
                    <a:pt x="891738" y="1692702"/>
                    <a:pt x="886705" y="1692735"/>
                  </a:cubicBezTo>
                  <a:close/>
                  <a:moveTo>
                    <a:pt x="460309" y="1204250"/>
                  </a:moveTo>
                  <a:cubicBezTo>
                    <a:pt x="480280" y="1195961"/>
                    <a:pt x="493918" y="1203548"/>
                    <a:pt x="507678" y="1205152"/>
                  </a:cubicBezTo>
                  <a:cubicBezTo>
                    <a:pt x="528419" y="1207592"/>
                    <a:pt x="523711" y="1193220"/>
                    <a:pt x="538201" y="1185399"/>
                  </a:cubicBezTo>
                  <a:cubicBezTo>
                    <a:pt x="548146" y="1180017"/>
                    <a:pt x="550378" y="1174402"/>
                    <a:pt x="558861" y="1168954"/>
                  </a:cubicBezTo>
                  <a:cubicBezTo>
                    <a:pt x="568847" y="1162504"/>
                    <a:pt x="581105" y="1158560"/>
                    <a:pt x="587274" y="1150037"/>
                  </a:cubicBezTo>
                  <a:cubicBezTo>
                    <a:pt x="593444" y="1141513"/>
                    <a:pt x="584189" y="1137803"/>
                    <a:pt x="585569" y="1130417"/>
                  </a:cubicBezTo>
                  <a:cubicBezTo>
                    <a:pt x="587437" y="1120624"/>
                    <a:pt x="601805" y="1114574"/>
                    <a:pt x="609923" y="1105583"/>
                  </a:cubicBezTo>
                  <a:cubicBezTo>
                    <a:pt x="614388" y="1100503"/>
                    <a:pt x="609923" y="1097160"/>
                    <a:pt x="610451" y="1092983"/>
                  </a:cubicBezTo>
                  <a:cubicBezTo>
                    <a:pt x="611344" y="1086966"/>
                    <a:pt x="621248" y="1081251"/>
                    <a:pt x="628432" y="1075936"/>
                  </a:cubicBezTo>
                  <a:cubicBezTo>
                    <a:pt x="649174" y="1060528"/>
                    <a:pt x="668657" y="1044418"/>
                    <a:pt x="687450" y="1028408"/>
                  </a:cubicBezTo>
                  <a:cubicBezTo>
                    <a:pt x="698044" y="1019384"/>
                    <a:pt x="720774" y="1003140"/>
                    <a:pt x="696177" y="1006616"/>
                  </a:cubicBezTo>
                  <a:cubicBezTo>
                    <a:pt x="667114" y="1010760"/>
                    <a:pt x="619908" y="1017479"/>
                    <a:pt x="594296" y="1039037"/>
                  </a:cubicBezTo>
                  <a:cubicBezTo>
                    <a:pt x="591536" y="1041376"/>
                    <a:pt x="581795" y="1053710"/>
                    <a:pt x="577005" y="1050535"/>
                  </a:cubicBezTo>
                  <a:cubicBezTo>
                    <a:pt x="574042" y="1048596"/>
                    <a:pt x="572175" y="1046524"/>
                    <a:pt x="566086" y="1051805"/>
                  </a:cubicBezTo>
                  <a:cubicBezTo>
                    <a:pt x="552002" y="1064004"/>
                    <a:pt x="516161" y="1074232"/>
                    <a:pt x="499194" y="1076739"/>
                  </a:cubicBezTo>
                  <a:cubicBezTo>
                    <a:pt x="473907" y="1080415"/>
                    <a:pt x="428122" y="1122261"/>
                    <a:pt x="405554" y="1136099"/>
                  </a:cubicBezTo>
                  <a:cubicBezTo>
                    <a:pt x="379536" y="1151942"/>
                    <a:pt x="423657" y="1141513"/>
                    <a:pt x="429908" y="1143419"/>
                  </a:cubicBezTo>
                  <a:cubicBezTo>
                    <a:pt x="439893" y="1146360"/>
                    <a:pt x="419476" y="1168319"/>
                    <a:pt x="420004" y="1175438"/>
                  </a:cubicBezTo>
                  <a:cubicBezTo>
                    <a:pt x="420247" y="1179215"/>
                    <a:pt x="427878" y="1176742"/>
                    <a:pt x="426782" y="1182457"/>
                  </a:cubicBezTo>
                  <a:cubicBezTo>
                    <a:pt x="424956" y="1192083"/>
                    <a:pt x="417568" y="1203381"/>
                    <a:pt x="412129" y="1213608"/>
                  </a:cubicBezTo>
                  <a:cubicBezTo>
                    <a:pt x="400683" y="1235200"/>
                    <a:pt x="446387" y="1209998"/>
                    <a:pt x="460391" y="1204250"/>
                  </a:cubicBezTo>
                  <a:cubicBezTo>
                    <a:pt x="487099" y="1193220"/>
                    <a:pt x="433480" y="1215446"/>
                    <a:pt x="460309" y="1204250"/>
                  </a:cubicBezTo>
                  <a:close/>
                  <a:moveTo>
                    <a:pt x="1200585" y="911125"/>
                  </a:moveTo>
                  <a:cubicBezTo>
                    <a:pt x="1206471" y="902167"/>
                    <a:pt x="1251039" y="901365"/>
                    <a:pt x="1245924" y="890469"/>
                  </a:cubicBezTo>
                  <a:cubicBezTo>
                    <a:pt x="1240567" y="878904"/>
                    <a:pt x="1188165" y="893176"/>
                    <a:pt x="1169372" y="896385"/>
                  </a:cubicBezTo>
                  <a:cubicBezTo>
                    <a:pt x="1150579" y="899593"/>
                    <a:pt x="1103657" y="915737"/>
                    <a:pt x="1099761" y="902702"/>
                  </a:cubicBezTo>
                  <a:cubicBezTo>
                    <a:pt x="1098543" y="898491"/>
                    <a:pt x="1103008" y="892040"/>
                    <a:pt x="1094849" y="891071"/>
                  </a:cubicBezTo>
                  <a:cubicBezTo>
                    <a:pt x="1080967" y="889399"/>
                    <a:pt x="1069278" y="890135"/>
                    <a:pt x="1060226" y="883885"/>
                  </a:cubicBezTo>
                  <a:cubicBezTo>
                    <a:pt x="1054259" y="879807"/>
                    <a:pt x="1049064" y="873857"/>
                    <a:pt x="1052108" y="866137"/>
                  </a:cubicBezTo>
                  <a:cubicBezTo>
                    <a:pt x="1055152" y="858416"/>
                    <a:pt x="1065381" y="849425"/>
                    <a:pt x="1063433" y="842272"/>
                  </a:cubicBezTo>
                  <a:cubicBezTo>
                    <a:pt x="1058562" y="824290"/>
                    <a:pt x="998895" y="859753"/>
                    <a:pt x="987530" y="870649"/>
                  </a:cubicBezTo>
                  <a:cubicBezTo>
                    <a:pt x="977098" y="880676"/>
                    <a:pt x="1022518" y="871317"/>
                    <a:pt x="1031123" y="871685"/>
                  </a:cubicBezTo>
                  <a:cubicBezTo>
                    <a:pt x="1041027" y="872086"/>
                    <a:pt x="1033112" y="875027"/>
                    <a:pt x="1026334" y="875963"/>
                  </a:cubicBezTo>
                  <a:cubicBezTo>
                    <a:pt x="1015699" y="877434"/>
                    <a:pt x="1000113" y="877835"/>
                    <a:pt x="989072" y="883417"/>
                  </a:cubicBezTo>
                  <a:cubicBezTo>
                    <a:pt x="971091" y="892474"/>
                    <a:pt x="941014" y="898424"/>
                    <a:pt x="955342" y="910456"/>
                  </a:cubicBezTo>
                  <a:cubicBezTo>
                    <a:pt x="960822" y="915035"/>
                    <a:pt x="1005633" y="925697"/>
                    <a:pt x="1002304" y="931814"/>
                  </a:cubicBezTo>
                  <a:cubicBezTo>
                    <a:pt x="1000194" y="935658"/>
                    <a:pt x="983796" y="946587"/>
                    <a:pt x="977951" y="946253"/>
                  </a:cubicBezTo>
                  <a:cubicBezTo>
                    <a:pt x="968696" y="945651"/>
                    <a:pt x="963176" y="939836"/>
                    <a:pt x="957453" y="936593"/>
                  </a:cubicBezTo>
                  <a:cubicBezTo>
                    <a:pt x="941542" y="927569"/>
                    <a:pt x="915158" y="930243"/>
                    <a:pt x="885893" y="941206"/>
                  </a:cubicBezTo>
                  <a:cubicBezTo>
                    <a:pt x="851879" y="953940"/>
                    <a:pt x="903712" y="945651"/>
                    <a:pt x="905985" y="947189"/>
                  </a:cubicBezTo>
                  <a:cubicBezTo>
                    <a:pt x="914387" y="952670"/>
                    <a:pt x="894823" y="956915"/>
                    <a:pt x="887923" y="958987"/>
                  </a:cubicBezTo>
                  <a:cubicBezTo>
                    <a:pt x="878668" y="961695"/>
                    <a:pt x="861458" y="978841"/>
                    <a:pt x="859875" y="975331"/>
                  </a:cubicBezTo>
                  <a:cubicBezTo>
                    <a:pt x="856953" y="968914"/>
                    <a:pt x="857764" y="964402"/>
                    <a:pt x="842381" y="967109"/>
                  </a:cubicBezTo>
                  <a:cubicBezTo>
                    <a:pt x="823908" y="970766"/>
                    <a:pt x="806686" y="977828"/>
                    <a:pt x="792009" y="987765"/>
                  </a:cubicBezTo>
                  <a:cubicBezTo>
                    <a:pt x="772120" y="1002070"/>
                    <a:pt x="804511" y="1004477"/>
                    <a:pt x="767655" y="1018047"/>
                  </a:cubicBezTo>
                  <a:cubicBezTo>
                    <a:pt x="734737" y="1030313"/>
                    <a:pt x="781050" y="1004510"/>
                    <a:pt x="771349" y="998862"/>
                  </a:cubicBezTo>
                  <a:cubicBezTo>
                    <a:pt x="752150" y="987731"/>
                    <a:pt x="731611" y="1002538"/>
                    <a:pt x="710464" y="1019517"/>
                  </a:cubicBezTo>
                  <a:cubicBezTo>
                    <a:pt x="685258" y="1039839"/>
                    <a:pt x="654004" y="1061030"/>
                    <a:pt x="635901" y="1083022"/>
                  </a:cubicBezTo>
                  <a:cubicBezTo>
                    <a:pt x="632045" y="1087735"/>
                    <a:pt x="631071" y="1088704"/>
                    <a:pt x="636672" y="1088170"/>
                  </a:cubicBezTo>
                  <a:cubicBezTo>
                    <a:pt x="648443" y="1087066"/>
                    <a:pt x="624941" y="1110162"/>
                    <a:pt x="629650" y="1113772"/>
                  </a:cubicBezTo>
                  <a:cubicBezTo>
                    <a:pt x="637768" y="1120089"/>
                    <a:pt x="658753" y="1103244"/>
                    <a:pt x="665409" y="1105917"/>
                  </a:cubicBezTo>
                  <a:cubicBezTo>
                    <a:pt x="670402" y="1107956"/>
                    <a:pt x="669915" y="1112335"/>
                    <a:pt x="680306" y="1105917"/>
                  </a:cubicBezTo>
                  <a:cubicBezTo>
                    <a:pt x="696826" y="1095690"/>
                    <a:pt x="724630" y="1069686"/>
                    <a:pt x="745250" y="1066678"/>
                  </a:cubicBezTo>
                  <a:cubicBezTo>
                    <a:pt x="753368" y="1065475"/>
                    <a:pt x="720896" y="1086431"/>
                    <a:pt x="718582" y="1088069"/>
                  </a:cubicBezTo>
                  <a:cubicBezTo>
                    <a:pt x="707704" y="1095155"/>
                    <a:pt x="674989" y="1113471"/>
                    <a:pt x="673933" y="1122495"/>
                  </a:cubicBezTo>
                  <a:cubicBezTo>
                    <a:pt x="671052" y="1141814"/>
                    <a:pt x="821964" y="1059693"/>
                    <a:pt x="838281" y="1053643"/>
                  </a:cubicBezTo>
                  <a:cubicBezTo>
                    <a:pt x="841731" y="1052206"/>
                    <a:pt x="895959" y="1032586"/>
                    <a:pt x="884107" y="1042680"/>
                  </a:cubicBezTo>
                  <a:cubicBezTo>
                    <a:pt x="862919" y="1060662"/>
                    <a:pt x="819163" y="1075067"/>
                    <a:pt x="792496" y="1089105"/>
                  </a:cubicBezTo>
                  <a:cubicBezTo>
                    <a:pt x="771876" y="1099934"/>
                    <a:pt x="733113" y="1119822"/>
                    <a:pt x="722235" y="1135397"/>
                  </a:cubicBezTo>
                  <a:cubicBezTo>
                    <a:pt x="713062" y="1148499"/>
                    <a:pt x="770578" y="1130851"/>
                    <a:pt x="775002" y="1129782"/>
                  </a:cubicBezTo>
                  <a:cubicBezTo>
                    <a:pt x="793470" y="1125136"/>
                    <a:pt x="810396" y="1116145"/>
                    <a:pt x="826916" y="1106920"/>
                  </a:cubicBezTo>
                  <a:cubicBezTo>
                    <a:pt x="835521" y="1102141"/>
                    <a:pt x="848835" y="1094286"/>
                    <a:pt x="852488" y="1100737"/>
                  </a:cubicBezTo>
                  <a:cubicBezTo>
                    <a:pt x="859956" y="1113872"/>
                    <a:pt x="893078" y="1098798"/>
                    <a:pt x="912763" y="1090008"/>
                  </a:cubicBezTo>
                  <a:cubicBezTo>
                    <a:pt x="939622" y="1078470"/>
                    <a:pt x="964609" y="1064185"/>
                    <a:pt x="987124" y="1047493"/>
                  </a:cubicBezTo>
                  <a:cubicBezTo>
                    <a:pt x="1004699" y="1034291"/>
                    <a:pt x="1022437" y="1027205"/>
                    <a:pt x="1041230" y="1015473"/>
                  </a:cubicBezTo>
                  <a:cubicBezTo>
                    <a:pt x="1054422" y="1007251"/>
                    <a:pt x="1062662" y="980512"/>
                    <a:pt x="1080683" y="984055"/>
                  </a:cubicBezTo>
                  <a:cubicBezTo>
                    <a:pt x="1095133" y="986929"/>
                    <a:pt x="1116118" y="974797"/>
                    <a:pt x="1133978" y="972825"/>
                  </a:cubicBezTo>
                  <a:cubicBezTo>
                    <a:pt x="1152974" y="970485"/>
                    <a:pt x="1253474" y="928906"/>
                    <a:pt x="1233098" y="918411"/>
                  </a:cubicBezTo>
                  <a:cubicBezTo>
                    <a:pt x="1228430" y="915971"/>
                    <a:pt x="1219257" y="916005"/>
                    <a:pt x="1211098" y="918411"/>
                  </a:cubicBezTo>
                  <a:cubicBezTo>
                    <a:pt x="1198921" y="921987"/>
                    <a:pt x="1200870" y="929508"/>
                    <a:pt x="1190397" y="934087"/>
                  </a:cubicBezTo>
                  <a:cubicBezTo>
                    <a:pt x="1155774" y="949194"/>
                    <a:pt x="1199611" y="912896"/>
                    <a:pt x="1200870" y="911058"/>
                  </a:cubicBezTo>
                  <a:cubicBezTo>
                    <a:pt x="1206146" y="902802"/>
                    <a:pt x="1195065" y="919681"/>
                    <a:pt x="1200585" y="911225"/>
                  </a:cubicBezTo>
                  <a:close/>
                  <a:moveTo>
                    <a:pt x="545873" y="1010393"/>
                  </a:moveTo>
                  <a:cubicBezTo>
                    <a:pt x="572337" y="998327"/>
                    <a:pt x="590156" y="974897"/>
                    <a:pt x="584392" y="969850"/>
                  </a:cubicBezTo>
                  <a:cubicBezTo>
                    <a:pt x="578629" y="964803"/>
                    <a:pt x="532600" y="1016375"/>
                    <a:pt x="545873" y="1010393"/>
                  </a:cubicBezTo>
                  <a:close/>
                  <a:moveTo>
                    <a:pt x="414565" y="1055013"/>
                  </a:moveTo>
                  <a:cubicBezTo>
                    <a:pt x="422358" y="1052640"/>
                    <a:pt x="422683" y="1057954"/>
                    <a:pt x="426174" y="1059659"/>
                  </a:cubicBezTo>
                  <a:cubicBezTo>
                    <a:pt x="429664" y="1061364"/>
                    <a:pt x="439609" y="1050367"/>
                    <a:pt x="442856" y="1048128"/>
                  </a:cubicBezTo>
                  <a:cubicBezTo>
                    <a:pt x="449797" y="1043315"/>
                    <a:pt x="459092" y="1042346"/>
                    <a:pt x="465180" y="1036697"/>
                  </a:cubicBezTo>
                  <a:cubicBezTo>
                    <a:pt x="470376" y="1031884"/>
                    <a:pt x="470295" y="1027238"/>
                    <a:pt x="473298" y="1022526"/>
                  </a:cubicBezTo>
                  <a:cubicBezTo>
                    <a:pt x="475571" y="1019183"/>
                    <a:pt x="490955" y="1025467"/>
                    <a:pt x="494973" y="1025099"/>
                  </a:cubicBezTo>
                  <a:cubicBezTo>
                    <a:pt x="512508" y="1023495"/>
                    <a:pt x="512508" y="1010961"/>
                    <a:pt x="513766" y="1004677"/>
                  </a:cubicBezTo>
                  <a:cubicBezTo>
                    <a:pt x="515877" y="994182"/>
                    <a:pt x="537349" y="997759"/>
                    <a:pt x="539784" y="985960"/>
                  </a:cubicBezTo>
                  <a:cubicBezTo>
                    <a:pt x="541732" y="976702"/>
                    <a:pt x="530854" y="967410"/>
                    <a:pt x="548186" y="956313"/>
                  </a:cubicBezTo>
                  <a:cubicBezTo>
                    <a:pt x="561134" y="948058"/>
                    <a:pt x="562149" y="965839"/>
                    <a:pt x="574813" y="964168"/>
                  </a:cubicBezTo>
                  <a:cubicBezTo>
                    <a:pt x="595108" y="961461"/>
                    <a:pt x="590278" y="947456"/>
                    <a:pt x="598924" y="941005"/>
                  </a:cubicBezTo>
                  <a:cubicBezTo>
                    <a:pt x="615443" y="928906"/>
                    <a:pt x="615565" y="931647"/>
                    <a:pt x="615159" y="920116"/>
                  </a:cubicBezTo>
                  <a:cubicBezTo>
                    <a:pt x="615159" y="916372"/>
                    <a:pt x="602577" y="916339"/>
                    <a:pt x="606311" y="911994"/>
                  </a:cubicBezTo>
                  <a:cubicBezTo>
                    <a:pt x="610654" y="906880"/>
                    <a:pt x="619381" y="902903"/>
                    <a:pt x="623156" y="897555"/>
                  </a:cubicBezTo>
                  <a:cubicBezTo>
                    <a:pt x="625226" y="894547"/>
                    <a:pt x="591293" y="903471"/>
                    <a:pt x="584514" y="905677"/>
                  </a:cubicBezTo>
                  <a:cubicBezTo>
                    <a:pt x="567223" y="911225"/>
                    <a:pt x="583905" y="919514"/>
                    <a:pt x="568481" y="926901"/>
                  </a:cubicBezTo>
                  <a:cubicBezTo>
                    <a:pt x="550987" y="935257"/>
                    <a:pt x="529393" y="938265"/>
                    <a:pt x="515715" y="950631"/>
                  </a:cubicBezTo>
                  <a:cubicBezTo>
                    <a:pt x="499933" y="964706"/>
                    <a:pt x="485739" y="979934"/>
                    <a:pt x="473298" y="996121"/>
                  </a:cubicBezTo>
                  <a:cubicBezTo>
                    <a:pt x="469239" y="1002003"/>
                    <a:pt x="466844" y="1008187"/>
                    <a:pt x="460634" y="1014069"/>
                  </a:cubicBezTo>
                  <a:cubicBezTo>
                    <a:pt x="454424" y="1019952"/>
                    <a:pt x="443465" y="1024364"/>
                    <a:pt x="435590" y="1029945"/>
                  </a:cubicBezTo>
                  <a:cubicBezTo>
                    <a:pt x="432871" y="1031784"/>
                    <a:pt x="402185" y="1058656"/>
                    <a:pt x="414240" y="1055013"/>
                  </a:cubicBezTo>
                  <a:close/>
                  <a:moveTo>
                    <a:pt x="633750" y="935691"/>
                  </a:moveTo>
                  <a:cubicBezTo>
                    <a:pt x="624333" y="940872"/>
                    <a:pt x="616661" y="951133"/>
                    <a:pt x="631071" y="948425"/>
                  </a:cubicBezTo>
                  <a:cubicBezTo>
                    <a:pt x="633709" y="947924"/>
                    <a:pt x="666343" y="934321"/>
                    <a:pt x="665978" y="935056"/>
                  </a:cubicBezTo>
                  <a:cubicBezTo>
                    <a:pt x="661350" y="945685"/>
                    <a:pt x="616539" y="955511"/>
                    <a:pt x="614672" y="971822"/>
                  </a:cubicBezTo>
                  <a:cubicBezTo>
                    <a:pt x="613495" y="981649"/>
                    <a:pt x="656967" y="947623"/>
                    <a:pt x="664314" y="948425"/>
                  </a:cubicBezTo>
                  <a:cubicBezTo>
                    <a:pt x="664679" y="948425"/>
                    <a:pt x="614388" y="982284"/>
                    <a:pt x="610370" y="985994"/>
                  </a:cubicBezTo>
                  <a:cubicBezTo>
                    <a:pt x="600953" y="994517"/>
                    <a:pt x="622547" y="985994"/>
                    <a:pt x="626403" y="984423"/>
                  </a:cubicBezTo>
                  <a:cubicBezTo>
                    <a:pt x="643816" y="977237"/>
                    <a:pt x="667195" y="972758"/>
                    <a:pt x="683228" y="963399"/>
                  </a:cubicBezTo>
                  <a:cubicBezTo>
                    <a:pt x="697029" y="955311"/>
                    <a:pt x="700479" y="943679"/>
                    <a:pt x="708354" y="934555"/>
                  </a:cubicBezTo>
                  <a:cubicBezTo>
                    <a:pt x="718420" y="922890"/>
                    <a:pt x="717730" y="930410"/>
                    <a:pt x="720165" y="935089"/>
                  </a:cubicBezTo>
                  <a:cubicBezTo>
                    <a:pt x="723615" y="941774"/>
                    <a:pt x="784053" y="902100"/>
                    <a:pt x="794729" y="898825"/>
                  </a:cubicBezTo>
                  <a:cubicBezTo>
                    <a:pt x="805404" y="895549"/>
                    <a:pt x="789452" y="908852"/>
                    <a:pt x="787666" y="910323"/>
                  </a:cubicBezTo>
                  <a:cubicBezTo>
                    <a:pt x="774227" y="921011"/>
                    <a:pt x="759574" y="930614"/>
                    <a:pt x="743910" y="939000"/>
                  </a:cubicBezTo>
                  <a:cubicBezTo>
                    <a:pt x="706365" y="959321"/>
                    <a:pt x="725117" y="965304"/>
                    <a:pt x="757914" y="951133"/>
                  </a:cubicBezTo>
                  <a:cubicBezTo>
                    <a:pt x="786042" y="939033"/>
                    <a:pt x="812426" y="919247"/>
                    <a:pt x="833167" y="902368"/>
                  </a:cubicBezTo>
                  <a:cubicBezTo>
                    <a:pt x="841553" y="896101"/>
                    <a:pt x="849029" y="889058"/>
                    <a:pt x="855451" y="881378"/>
                  </a:cubicBezTo>
                  <a:cubicBezTo>
                    <a:pt x="864421" y="869111"/>
                    <a:pt x="882321" y="870649"/>
                    <a:pt x="895675" y="862259"/>
                  </a:cubicBezTo>
                  <a:cubicBezTo>
                    <a:pt x="910612" y="852934"/>
                    <a:pt x="918040" y="846751"/>
                    <a:pt x="936265" y="839164"/>
                  </a:cubicBezTo>
                  <a:cubicBezTo>
                    <a:pt x="950999" y="833081"/>
                    <a:pt x="972025" y="825393"/>
                    <a:pt x="981441" y="815366"/>
                  </a:cubicBezTo>
                  <a:cubicBezTo>
                    <a:pt x="992847" y="803267"/>
                    <a:pt x="989559" y="780338"/>
                    <a:pt x="964191" y="786187"/>
                  </a:cubicBezTo>
                  <a:cubicBezTo>
                    <a:pt x="946899" y="790232"/>
                    <a:pt x="946737" y="797016"/>
                    <a:pt x="937117" y="805172"/>
                  </a:cubicBezTo>
                  <a:cubicBezTo>
                    <a:pt x="924940" y="815466"/>
                    <a:pt x="909882" y="814263"/>
                    <a:pt x="898719" y="813361"/>
                  </a:cubicBezTo>
                  <a:cubicBezTo>
                    <a:pt x="885041" y="812258"/>
                    <a:pt x="876314" y="811756"/>
                    <a:pt x="867668" y="806509"/>
                  </a:cubicBezTo>
                  <a:cubicBezTo>
                    <a:pt x="859023" y="801261"/>
                    <a:pt x="846196" y="809550"/>
                    <a:pt x="836577" y="817739"/>
                  </a:cubicBezTo>
                  <a:cubicBezTo>
                    <a:pt x="828865" y="824424"/>
                    <a:pt x="819001" y="833281"/>
                    <a:pt x="817215" y="839966"/>
                  </a:cubicBezTo>
                  <a:cubicBezTo>
                    <a:pt x="815308" y="847286"/>
                    <a:pt x="834588" y="837225"/>
                    <a:pt x="840676" y="836624"/>
                  </a:cubicBezTo>
                  <a:cubicBezTo>
                    <a:pt x="851798" y="835220"/>
                    <a:pt x="841163" y="845748"/>
                    <a:pt x="836617" y="849391"/>
                  </a:cubicBezTo>
                  <a:cubicBezTo>
                    <a:pt x="829230" y="855207"/>
                    <a:pt x="851960" y="849391"/>
                    <a:pt x="854720" y="848890"/>
                  </a:cubicBezTo>
                  <a:cubicBezTo>
                    <a:pt x="883417" y="843108"/>
                    <a:pt x="857074" y="857146"/>
                    <a:pt x="843111" y="863229"/>
                  </a:cubicBezTo>
                  <a:cubicBezTo>
                    <a:pt x="818758" y="873857"/>
                    <a:pt x="804064" y="878303"/>
                    <a:pt x="784094" y="877801"/>
                  </a:cubicBezTo>
                  <a:cubicBezTo>
                    <a:pt x="771227" y="877467"/>
                    <a:pt x="754017" y="881578"/>
                    <a:pt x="739445" y="885723"/>
                  </a:cubicBezTo>
                  <a:cubicBezTo>
                    <a:pt x="730000" y="888280"/>
                    <a:pt x="720847" y="891512"/>
                    <a:pt x="712088" y="895382"/>
                  </a:cubicBezTo>
                  <a:cubicBezTo>
                    <a:pt x="705350" y="898424"/>
                    <a:pt x="698815" y="904039"/>
                    <a:pt x="691793" y="905978"/>
                  </a:cubicBezTo>
                  <a:cubicBezTo>
                    <a:pt x="679616" y="909320"/>
                    <a:pt x="676328" y="902635"/>
                    <a:pt x="661635" y="909320"/>
                  </a:cubicBezTo>
                  <a:cubicBezTo>
                    <a:pt x="643816" y="917542"/>
                    <a:pt x="649783" y="926934"/>
                    <a:pt x="633871" y="935691"/>
                  </a:cubicBezTo>
                  <a:close/>
                  <a:moveTo>
                    <a:pt x="674339" y="851631"/>
                  </a:moveTo>
                  <a:cubicBezTo>
                    <a:pt x="675922" y="840200"/>
                    <a:pt x="621573" y="869011"/>
                    <a:pt x="628026" y="869379"/>
                  </a:cubicBezTo>
                  <a:cubicBezTo>
                    <a:pt x="642679" y="870014"/>
                    <a:pt x="672959" y="862995"/>
                    <a:pt x="674542" y="851664"/>
                  </a:cubicBezTo>
                  <a:close/>
                  <a:moveTo>
                    <a:pt x="793105" y="789797"/>
                  </a:moveTo>
                  <a:cubicBezTo>
                    <a:pt x="802116" y="784683"/>
                    <a:pt x="804348" y="779202"/>
                    <a:pt x="791968" y="783112"/>
                  </a:cubicBezTo>
                  <a:cubicBezTo>
                    <a:pt x="776910" y="787691"/>
                    <a:pt x="762216" y="797384"/>
                    <a:pt x="748781" y="804704"/>
                  </a:cubicBezTo>
                  <a:cubicBezTo>
                    <a:pt x="735346" y="812024"/>
                    <a:pt x="686597" y="835855"/>
                    <a:pt x="693863" y="845882"/>
                  </a:cubicBezTo>
                  <a:cubicBezTo>
                    <a:pt x="702914" y="858315"/>
                    <a:pt x="743179" y="841437"/>
                    <a:pt x="762581" y="829170"/>
                  </a:cubicBezTo>
                  <a:cubicBezTo>
                    <a:pt x="773703" y="822185"/>
                    <a:pt x="785312" y="812458"/>
                    <a:pt x="789208" y="804470"/>
                  </a:cubicBezTo>
                  <a:cubicBezTo>
                    <a:pt x="793673" y="795145"/>
                    <a:pt x="778046" y="807177"/>
                    <a:pt x="775286" y="804470"/>
                  </a:cubicBezTo>
                  <a:cubicBezTo>
                    <a:pt x="772526" y="801763"/>
                    <a:pt x="789858" y="791602"/>
                    <a:pt x="793105" y="789730"/>
                  </a:cubicBezTo>
                  <a:cubicBezTo>
                    <a:pt x="811208" y="779335"/>
                    <a:pt x="775042" y="800092"/>
                    <a:pt x="793105" y="789797"/>
                  </a:cubicBezTo>
                  <a:close/>
                  <a:moveTo>
                    <a:pt x="712737" y="811857"/>
                  </a:moveTo>
                  <a:cubicBezTo>
                    <a:pt x="730394" y="807044"/>
                    <a:pt x="735549" y="794042"/>
                    <a:pt x="754382" y="790299"/>
                  </a:cubicBezTo>
                  <a:cubicBezTo>
                    <a:pt x="768329" y="787140"/>
                    <a:pt x="781500" y="782003"/>
                    <a:pt x="793308" y="775124"/>
                  </a:cubicBezTo>
                  <a:cubicBezTo>
                    <a:pt x="803415" y="769141"/>
                    <a:pt x="810315" y="759983"/>
                    <a:pt x="799275" y="758646"/>
                  </a:cubicBezTo>
                  <a:cubicBezTo>
                    <a:pt x="787544" y="757243"/>
                    <a:pt x="767574" y="765498"/>
                    <a:pt x="754626" y="771448"/>
                  </a:cubicBezTo>
                  <a:cubicBezTo>
                    <a:pt x="731652" y="781943"/>
                    <a:pt x="712128" y="797718"/>
                    <a:pt x="691509" y="810553"/>
                  </a:cubicBezTo>
                  <a:cubicBezTo>
                    <a:pt x="685136" y="814531"/>
                    <a:pt x="668981" y="823321"/>
                    <a:pt x="667520" y="828435"/>
                  </a:cubicBezTo>
                  <a:cubicBezTo>
                    <a:pt x="664922" y="837593"/>
                    <a:pt x="708394" y="813027"/>
                    <a:pt x="712818" y="811723"/>
                  </a:cubicBezTo>
                  <a:cubicBezTo>
                    <a:pt x="729217" y="807278"/>
                    <a:pt x="696298" y="816269"/>
                    <a:pt x="712737" y="811756"/>
                  </a:cubicBezTo>
                  <a:close/>
                  <a:moveTo>
                    <a:pt x="944545" y="676157"/>
                  </a:moveTo>
                  <a:cubicBezTo>
                    <a:pt x="964150" y="657807"/>
                    <a:pt x="1015618" y="658676"/>
                    <a:pt x="983024" y="674185"/>
                  </a:cubicBezTo>
                  <a:cubicBezTo>
                    <a:pt x="975109" y="677895"/>
                    <a:pt x="920679" y="700122"/>
                    <a:pt x="956600" y="694640"/>
                  </a:cubicBezTo>
                  <a:cubicBezTo>
                    <a:pt x="975840" y="691732"/>
                    <a:pt x="993984" y="676692"/>
                    <a:pt x="1010422" y="668369"/>
                  </a:cubicBezTo>
                  <a:cubicBezTo>
                    <a:pt x="1032905" y="656654"/>
                    <a:pt x="1058448" y="649505"/>
                    <a:pt x="1084945" y="647513"/>
                  </a:cubicBezTo>
                  <a:cubicBezTo>
                    <a:pt x="1103089" y="646477"/>
                    <a:pt x="1130243" y="643335"/>
                    <a:pt x="1144977" y="629397"/>
                  </a:cubicBezTo>
                  <a:cubicBezTo>
                    <a:pt x="1157845" y="617265"/>
                    <a:pt x="1149036" y="616028"/>
                    <a:pt x="1134221" y="616596"/>
                  </a:cubicBezTo>
                  <a:cubicBezTo>
                    <a:pt x="1121760" y="617164"/>
                    <a:pt x="1130162" y="608207"/>
                    <a:pt x="1118554" y="608608"/>
                  </a:cubicBezTo>
                  <a:cubicBezTo>
                    <a:pt x="1101668" y="609209"/>
                    <a:pt x="1083200" y="621008"/>
                    <a:pt x="1067816" y="621977"/>
                  </a:cubicBezTo>
                  <a:cubicBezTo>
                    <a:pt x="1059698" y="622546"/>
                    <a:pt x="1045289" y="617432"/>
                    <a:pt x="1035710" y="624417"/>
                  </a:cubicBezTo>
                  <a:cubicBezTo>
                    <a:pt x="1032341" y="626891"/>
                    <a:pt x="1023939" y="635648"/>
                    <a:pt x="1018378" y="636483"/>
                  </a:cubicBezTo>
                  <a:cubicBezTo>
                    <a:pt x="1012817" y="637319"/>
                    <a:pt x="1013913" y="631770"/>
                    <a:pt x="1008718" y="631536"/>
                  </a:cubicBezTo>
                  <a:cubicBezTo>
                    <a:pt x="987570" y="630534"/>
                    <a:pt x="942922" y="652861"/>
                    <a:pt x="922992" y="663590"/>
                  </a:cubicBezTo>
                  <a:cubicBezTo>
                    <a:pt x="886461" y="683076"/>
                    <a:pt x="929974" y="689727"/>
                    <a:pt x="944545" y="676123"/>
                  </a:cubicBezTo>
                  <a:cubicBezTo>
                    <a:pt x="959117" y="662520"/>
                    <a:pt x="930258" y="689526"/>
                    <a:pt x="944545" y="676157"/>
                  </a:cubicBezTo>
                  <a:close/>
                  <a:moveTo>
                    <a:pt x="991873" y="727261"/>
                  </a:moveTo>
                  <a:cubicBezTo>
                    <a:pt x="999301" y="715229"/>
                    <a:pt x="926158" y="720577"/>
                    <a:pt x="929852" y="732074"/>
                  </a:cubicBezTo>
                  <a:cubicBezTo>
                    <a:pt x="933546" y="743572"/>
                    <a:pt x="984080" y="739829"/>
                    <a:pt x="991873" y="727195"/>
                  </a:cubicBezTo>
                  <a:close/>
                  <a:moveTo>
                    <a:pt x="1129432" y="555097"/>
                  </a:moveTo>
                  <a:cubicBezTo>
                    <a:pt x="1134952" y="542463"/>
                    <a:pt x="1056735" y="567798"/>
                    <a:pt x="1079547" y="566996"/>
                  </a:cubicBezTo>
                  <a:cubicBezTo>
                    <a:pt x="1092657" y="566394"/>
                    <a:pt x="1123749" y="567564"/>
                    <a:pt x="1129432" y="555030"/>
                  </a:cubicBezTo>
                  <a:close/>
                  <a:moveTo>
                    <a:pt x="1058805" y="779770"/>
                  </a:moveTo>
                  <a:cubicBezTo>
                    <a:pt x="1065584" y="769743"/>
                    <a:pt x="1025928" y="773085"/>
                    <a:pt x="1023330" y="786187"/>
                  </a:cubicBezTo>
                  <a:cubicBezTo>
                    <a:pt x="1020732" y="799289"/>
                    <a:pt x="1052108" y="789797"/>
                    <a:pt x="1058805" y="779770"/>
                  </a:cubicBezTo>
                  <a:close/>
                  <a:moveTo>
                    <a:pt x="1195187" y="660615"/>
                  </a:moveTo>
                  <a:cubicBezTo>
                    <a:pt x="1199246" y="671645"/>
                    <a:pt x="1084499" y="683811"/>
                    <a:pt x="1125251" y="692367"/>
                  </a:cubicBezTo>
                  <a:cubicBezTo>
                    <a:pt x="1130284" y="693403"/>
                    <a:pt x="1171889" y="692902"/>
                    <a:pt x="1152121" y="698484"/>
                  </a:cubicBezTo>
                  <a:cubicBezTo>
                    <a:pt x="1139944" y="701826"/>
                    <a:pt x="1094890" y="704567"/>
                    <a:pt x="1088720" y="712722"/>
                  </a:cubicBezTo>
                  <a:cubicBezTo>
                    <a:pt x="1080156" y="723953"/>
                    <a:pt x="1108163" y="718939"/>
                    <a:pt x="1111410" y="723384"/>
                  </a:cubicBezTo>
                  <a:cubicBezTo>
                    <a:pt x="1119000" y="733813"/>
                    <a:pt x="1066761" y="728933"/>
                    <a:pt x="1063636" y="728431"/>
                  </a:cubicBezTo>
                  <a:cubicBezTo>
                    <a:pt x="1049876" y="726192"/>
                    <a:pt x="1019596" y="724588"/>
                    <a:pt x="1003319" y="739695"/>
                  </a:cubicBezTo>
                  <a:cubicBezTo>
                    <a:pt x="991142" y="750859"/>
                    <a:pt x="1020408" y="753934"/>
                    <a:pt x="1030190" y="754201"/>
                  </a:cubicBezTo>
                  <a:cubicBezTo>
                    <a:pt x="1054714" y="754137"/>
                    <a:pt x="1078995" y="750237"/>
                    <a:pt x="1101749" y="742703"/>
                  </a:cubicBezTo>
                  <a:cubicBezTo>
                    <a:pt x="1123993" y="734448"/>
                    <a:pt x="1142989" y="718271"/>
                    <a:pt x="1165394" y="711686"/>
                  </a:cubicBezTo>
                  <a:cubicBezTo>
                    <a:pt x="1179398" y="707542"/>
                    <a:pt x="1164217" y="726961"/>
                    <a:pt x="1165394" y="730637"/>
                  </a:cubicBezTo>
                  <a:cubicBezTo>
                    <a:pt x="1168763" y="743171"/>
                    <a:pt x="1212316" y="719206"/>
                    <a:pt x="1223153" y="713758"/>
                  </a:cubicBezTo>
                  <a:cubicBezTo>
                    <a:pt x="1231880" y="709346"/>
                    <a:pt x="1245518" y="704333"/>
                    <a:pt x="1252013" y="698584"/>
                  </a:cubicBezTo>
                  <a:cubicBezTo>
                    <a:pt x="1257290" y="693905"/>
                    <a:pt x="1254286" y="689894"/>
                    <a:pt x="1257371" y="685215"/>
                  </a:cubicBezTo>
                  <a:cubicBezTo>
                    <a:pt x="1266422" y="671845"/>
                    <a:pt x="1255300" y="681638"/>
                    <a:pt x="1248725" y="673984"/>
                  </a:cubicBezTo>
                  <a:cubicBezTo>
                    <a:pt x="1245884" y="670642"/>
                    <a:pt x="1249821" y="665361"/>
                    <a:pt x="1247101" y="661918"/>
                  </a:cubicBezTo>
                  <a:cubicBezTo>
                    <a:pt x="1243854" y="657774"/>
                    <a:pt x="1235817" y="656036"/>
                    <a:pt x="1227821" y="655234"/>
                  </a:cubicBezTo>
                  <a:cubicBezTo>
                    <a:pt x="1225224" y="654966"/>
                    <a:pt x="1193157" y="654498"/>
                    <a:pt x="1195350" y="660481"/>
                  </a:cubicBezTo>
                  <a:close/>
                  <a:moveTo>
                    <a:pt x="1233341" y="594670"/>
                  </a:moveTo>
                  <a:cubicBezTo>
                    <a:pt x="1253636" y="586281"/>
                    <a:pt x="1280101" y="574616"/>
                    <a:pt x="1294754" y="562283"/>
                  </a:cubicBezTo>
                  <a:cubicBezTo>
                    <a:pt x="1298001" y="559575"/>
                    <a:pt x="1282577" y="558940"/>
                    <a:pt x="1286636" y="552523"/>
                  </a:cubicBezTo>
                  <a:cubicBezTo>
                    <a:pt x="1297352" y="535811"/>
                    <a:pt x="1246046" y="562149"/>
                    <a:pt x="1241013" y="563285"/>
                  </a:cubicBezTo>
                  <a:cubicBezTo>
                    <a:pt x="1230703" y="565458"/>
                    <a:pt x="1168926" y="572009"/>
                    <a:pt x="1169494" y="582203"/>
                  </a:cubicBezTo>
                  <a:cubicBezTo>
                    <a:pt x="1170184" y="593534"/>
                    <a:pt x="1210287" y="604229"/>
                    <a:pt x="1233341" y="594670"/>
                  </a:cubicBezTo>
                  <a:close/>
                  <a:moveTo>
                    <a:pt x="1357140" y="548579"/>
                  </a:moveTo>
                  <a:cubicBezTo>
                    <a:pt x="1351579" y="545504"/>
                    <a:pt x="1241378" y="598013"/>
                    <a:pt x="1262810" y="596876"/>
                  </a:cubicBezTo>
                  <a:cubicBezTo>
                    <a:pt x="1298894" y="594637"/>
                    <a:pt x="1362498" y="551420"/>
                    <a:pt x="1357181" y="548579"/>
                  </a:cubicBezTo>
                  <a:close/>
                  <a:moveTo>
                    <a:pt x="1399232" y="654532"/>
                  </a:moveTo>
                  <a:cubicBezTo>
                    <a:pt x="1435194" y="639023"/>
                    <a:pt x="1380155" y="634478"/>
                    <a:pt x="1367572" y="635246"/>
                  </a:cubicBezTo>
                  <a:cubicBezTo>
                    <a:pt x="1343705" y="636450"/>
                    <a:pt x="1316469" y="655301"/>
                    <a:pt x="1302101" y="668068"/>
                  </a:cubicBezTo>
                  <a:cubicBezTo>
                    <a:pt x="1285865" y="682374"/>
                    <a:pt x="1286555" y="687020"/>
                    <a:pt x="1311923" y="681204"/>
                  </a:cubicBezTo>
                  <a:cubicBezTo>
                    <a:pt x="1339930" y="674853"/>
                    <a:pt x="1372280" y="666197"/>
                    <a:pt x="1399232" y="654465"/>
                  </a:cubicBezTo>
                  <a:close/>
                  <a:moveTo>
                    <a:pt x="1269345" y="826663"/>
                  </a:moveTo>
                  <a:cubicBezTo>
                    <a:pt x="1295322" y="824324"/>
                    <a:pt x="1291831" y="815366"/>
                    <a:pt x="1305875" y="803969"/>
                  </a:cubicBezTo>
                  <a:cubicBezTo>
                    <a:pt x="1314765" y="796816"/>
                    <a:pt x="1328524" y="793942"/>
                    <a:pt x="1336967" y="786555"/>
                  </a:cubicBezTo>
                  <a:cubicBezTo>
                    <a:pt x="1343234" y="781134"/>
                    <a:pt x="1346826" y="773984"/>
                    <a:pt x="1347033" y="766501"/>
                  </a:cubicBezTo>
                  <a:cubicBezTo>
                    <a:pt x="1347439" y="759816"/>
                    <a:pt x="1349956" y="734982"/>
                    <a:pt x="1337373" y="734648"/>
                  </a:cubicBezTo>
                  <a:cubicBezTo>
                    <a:pt x="1306565" y="733879"/>
                    <a:pt x="1331122" y="754702"/>
                    <a:pt x="1328078" y="756039"/>
                  </a:cubicBezTo>
                  <a:cubicBezTo>
                    <a:pt x="1324019" y="757944"/>
                    <a:pt x="1319229" y="751494"/>
                    <a:pt x="1313790" y="752329"/>
                  </a:cubicBezTo>
                  <a:cubicBezTo>
                    <a:pt x="1306647" y="753432"/>
                    <a:pt x="1298894" y="757811"/>
                    <a:pt x="1292115" y="760451"/>
                  </a:cubicBezTo>
                  <a:cubicBezTo>
                    <a:pt x="1276123" y="766735"/>
                    <a:pt x="1267518" y="763225"/>
                    <a:pt x="1280344" y="753766"/>
                  </a:cubicBezTo>
                  <a:cubicBezTo>
                    <a:pt x="1289883" y="746681"/>
                    <a:pt x="1310827" y="734682"/>
                    <a:pt x="1308514" y="727027"/>
                  </a:cubicBezTo>
                  <a:cubicBezTo>
                    <a:pt x="1306444" y="720176"/>
                    <a:pt x="1283673" y="730838"/>
                    <a:pt x="1276651" y="728498"/>
                  </a:cubicBezTo>
                  <a:cubicBezTo>
                    <a:pt x="1271009" y="726626"/>
                    <a:pt x="1280710" y="719775"/>
                    <a:pt x="1265529" y="726225"/>
                  </a:cubicBezTo>
                  <a:cubicBezTo>
                    <a:pt x="1254631" y="730825"/>
                    <a:pt x="1244487" y="736543"/>
                    <a:pt x="1235330" y="743238"/>
                  </a:cubicBezTo>
                  <a:cubicBezTo>
                    <a:pt x="1222788" y="752764"/>
                    <a:pt x="1244828" y="744408"/>
                    <a:pt x="1248035" y="747383"/>
                  </a:cubicBezTo>
                  <a:cubicBezTo>
                    <a:pt x="1253149" y="752062"/>
                    <a:pt x="1204685" y="761989"/>
                    <a:pt x="1197460" y="765398"/>
                  </a:cubicBezTo>
                  <a:cubicBezTo>
                    <a:pt x="1175014" y="775893"/>
                    <a:pt x="1143922" y="807812"/>
                    <a:pt x="1187597" y="790365"/>
                  </a:cubicBezTo>
                  <a:cubicBezTo>
                    <a:pt x="1193726" y="787925"/>
                    <a:pt x="1212965" y="777765"/>
                    <a:pt x="1217593" y="780773"/>
                  </a:cubicBezTo>
                  <a:cubicBezTo>
                    <a:pt x="1224858" y="785586"/>
                    <a:pt x="1208663" y="806074"/>
                    <a:pt x="1194051" y="810085"/>
                  </a:cubicBezTo>
                  <a:cubicBezTo>
                    <a:pt x="1179438" y="814096"/>
                    <a:pt x="1167830" y="810586"/>
                    <a:pt x="1153055" y="816202"/>
                  </a:cubicBezTo>
                  <a:cubicBezTo>
                    <a:pt x="1133572" y="823655"/>
                    <a:pt x="1134140" y="833716"/>
                    <a:pt x="1148428" y="835019"/>
                  </a:cubicBezTo>
                  <a:cubicBezTo>
                    <a:pt x="1167911" y="836791"/>
                    <a:pt x="1191047" y="826764"/>
                    <a:pt x="1212072" y="824992"/>
                  </a:cubicBezTo>
                  <a:cubicBezTo>
                    <a:pt x="1233098" y="823221"/>
                    <a:pt x="1247913" y="828669"/>
                    <a:pt x="1269263" y="826697"/>
                  </a:cubicBezTo>
                  <a:cubicBezTo>
                    <a:pt x="1307661" y="823221"/>
                    <a:pt x="1231393" y="830173"/>
                    <a:pt x="1269507" y="826563"/>
                  </a:cubicBezTo>
                  <a:close/>
                  <a:moveTo>
                    <a:pt x="1443150" y="620273"/>
                  </a:moveTo>
                  <a:cubicBezTo>
                    <a:pt x="1451268" y="624551"/>
                    <a:pt x="1458087" y="624183"/>
                    <a:pt x="1471319" y="618635"/>
                  </a:cubicBezTo>
                  <a:cubicBezTo>
                    <a:pt x="1485566" y="612686"/>
                    <a:pt x="1500219" y="614223"/>
                    <a:pt x="1514831" y="610613"/>
                  </a:cubicBezTo>
                  <a:cubicBezTo>
                    <a:pt x="1536709" y="605232"/>
                    <a:pt x="1542798" y="597678"/>
                    <a:pt x="1554406" y="586481"/>
                  </a:cubicBezTo>
                  <a:cubicBezTo>
                    <a:pt x="1562037" y="579162"/>
                    <a:pt x="1567639" y="584710"/>
                    <a:pt x="1576203" y="584008"/>
                  </a:cubicBezTo>
                  <a:cubicBezTo>
                    <a:pt x="1599299" y="582069"/>
                    <a:pt x="1629376" y="569836"/>
                    <a:pt x="1651984" y="561982"/>
                  </a:cubicBezTo>
                  <a:cubicBezTo>
                    <a:pt x="1678855" y="552590"/>
                    <a:pt x="1719404" y="541426"/>
                    <a:pt x="1737223" y="524481"/>
                  </a:cubicBezTo>
                  <a:cubicBezTo>
                    <a:pt x="1747289" y="514855"/>
                    <a:pt x="1749806" y="517161"/>
                    <a:pt x="1767097" y="513718"/>
                  </a:cubicBezTo>
                  <a:cubicBezTo>
                    <a:pt x="1791451" y="508838"/>
                    <a:pt x="1840848" y="495469"/>
                    <a:pt x="1857003" y="480863"/>
                  </a:cubicBezTo>
                  <a:cubicBezTo>
                    <a:pt x="1864390" y="474178"/>
                    <a:pt x="1877298" y="449679"/>
                    <a:pt x="1858464" y="451383"/>
                  </a:cubicBezTo>
                  <a:cubicBezTo>
                    <a:pt x="1838169" y="453255"/>
                    <a:pt x="1814100" y="460876"/>
                    <a:pt x="1793886" y="466758"/>
                  </a:cubicBezTo>
                  <a:cubicBezTo>
                    <a:pt x="1767259" y="474479"/>
                    <a:pt x="1740713" y="483069"/>
                    <a:pt x="1714817" y="492661"/>
                  </a:cubicBezTo>
                  <a:cubicBezTo>
                    <a:pt x="1691681" y="501251"/>
                    <a:pt x="1676582" y="511111"/>
                    <a:pt x="1655800" y="520804"/>
                  </a:cubicBezTo>
                  <a:cubicBezTo>
                    <a:pt x="1626940" y="534174"/>
                    <a:pt x="1596295" y="538218"/>
                    <a:pt x="1569019" y="553893"/>
                  </a:cubicBezTo>
                  <a:cubicBezTo>
                    <a:pt x="1561185" y="558406"/>
                    <a:pt x="1554934" y="557236"/>
                    <a:pt x="1547709" y="557236"/>
                  </a:cubicBezTo>
                  <a:cubicBezTo>
                    <a:pt x="1530783" y="557236"/>
                    <a:pt x="1516090" y="565959"/>
                    <a:pt x="1499326" y="568633"/>
                  </a:cubicBezTo>
                  <a:cubicBezTo>
                    <a:pt x="1482563" y="571307"/>
                    <a:pt x="1521569" y="545738"/>
                    <a:pt x="1515034" y="544401"/>
                  </a:cubicBezTo>
                  <a:cubicBezTo>
                    <a:pt x="1498555" y="541059"/>
                    <a:pt x="1455043" y="554695"/>
                    <a:pt x="1435803" y="561514"/>
                  </a:cubicBezTo>
                  <a:cubicBezTo>
                    <a:pt x="1420054" y="567029"/>
                    <a:pt x="1406944" y="575151"/>
                    <a:pt x="1390465" y="579262"/>
                  </a:cubicBezTo>
                  <a:cubicBezTo>
                    <a:pt x="1371956" y="583908"/>
                    <a:pt x="1354542" y="584409"/>
                    <a:pt x="1336155" y="588687"/>
                  </a:cubicBezTo>
                  <a:cubicBezTo>
                    <a:pt x="1312776" y="594102"/>
                    <a:pt x="1277584" y="606769"/>
                    <a:pt x="1259928" y="620273"/>
                  </a:cubicBezTo>
                  <a:cubicBezTo>
                    <a:pt x="1236548" y="638021"/>
                    <a:pt x="1349428" y="610947"/>
                    <a:pt x="1364041" y="605098"/>
                  </a:cubicBezTo>
                  <a:cubicBezTo>
                    <a:pt x="1371103" y="602190"/>
                    <a:pt x="1373985" y="596442"/>
                    <a:pt x="1379708" y="594503"/>
                  </a:cubicBezTo>
                  <a:cubicBezTo>
                    <a:pt x="1391885" y="590425"/>
                    <a:pt x="1407106" y="593968"/>
                    <a:pt x="1415955" y="595205"/>
                  </a:cubicBezTo>
                  <a:cubicBezTo>
                    <a:pt x="1424803" y="596442"/>
                    <a:pt x="1436250" y="596408"/>
                    <a:pt x="1435722" y="603227"/>
                  </a:cubicBezTo>
                  <a:cubicBezTo>
                    <a:pt x="1435194" y="610045"/>
                    <a:pt x="1435316" y="615961"/>
                    <a:pt x="1443312" y="620139"/>
                  </a:cubicBezTo>
                  <a:close/>
                  <a:moveTo>
                    <a:pt x="1473430" y="509774"/>
                  </a:moveTo>
                  <a:cubicBezTo>
                    <a:pt x="1442663" y="514052"/>
                    <a:pt x="1416036" y="540390"/>
                    <a:pt x="1446843" y="534240"/>
                  </a:cubicBezTo>
                  <a:cubicBezTo>
                    <a:pt x="1473430" y="529093"/>
                    <a:pt x="1504359" y="505697"/>
                    <a:pt x="1473592" y="509774"/>
                  </a:cubicBezTo>
                  <a:close/>
                  <a:moveTo>
                    <a:pt x="1210530" y="520236"/>
                  </a:moveTo>
                  <a:cubicBezTo>
                    <a:pt x="1227172" y="517495"/>
                    <a:pt x="1229891" y="524848"/>
                    <a:pt x="1244098" y="524113"/>
                  </a:cubicBezTo>
                  <a:cubicBezTo>
                    <a:pt x="1257005" y="523411"/>
                    <a:pt x="1270197" y="517963"/>
                    <a:pt x="1282739" y="512381"/>
                  </a:cubicBezTo>
                  <a:cubicBezTo>
                    <a:pt x="1294023" y="507301"/>
                    <a:pt x="1344841" y="479158"/>
                    <a:pt x="1354705" y="484005"/>
                  </a:cubicBezTo>
                  <a:cubicBezTo>
                    <a:pt x="1373214" y="492962"/>
                    <a:pt x="1246655" y="529193"/>
                    <a:pt x="1330351" y="518230"/>
                  </a:cubicBezTo>
                  <a:cubicBezTo>
                    <a:pt x="1337535" y="517294"/>
                    <a:pt x="1356004" y="513585"/>
                    <a:pt x="1359616" y="516827"/>
                  </a:cubicBezTo>
                  <a:cubicBezTo>
                    <a:pt x="1362295" y="519233"/>
                    <a:pt x="1361849" y="519902"/>
                    <a:pt x="1369966" y="518832"/>
                  </a:cubicBezTo>
                  <a:cubicBezTo>
                    <a:pt x="1390546" y="516158"/>
                    <a:pt x="1419283" y="510075"/>
                    <a:pt x="1439578" y="501118"/>
                  </a:cubicBezTo>
                  <a:cubicBezTo>
                    <a:pt x="1450010" y="496539"/>
                    <a:pt x="1450781" y="490489"/>
                    <a:pt x="1463607" y="485709"/>
                  </a:cubicBezTo>
                  <a:cubicBezTo>
                    <a:pt x="1474566" y="481632"/>
                    <a:pt x="1497459" y="479927"/>
                    <a:pt x="1504197" y="472607"/>
                  </a:cubicBezTo>
                  <a:cubicBezTo>
                    <a:pt x="1509392" y="466858"/>
                    <a:pt x="1508986" y="460976"/>
                    <a:pt x="1510610" y="455595"/>
                  </a:cubicBezTo>
                  <a:cubicBezTo>
                    <a:pt x="1513451" y="446136"/>
                    <a:pt x="1519256" y="450915"/>
                    <a:pt x="1527414" y="445033"/>
                  </a:cubicBezTo>
                  <a:cubicBezTo>
                    <a:pt x="1535573" y="439150"/>
                    <a:pt x="1534355" y="431663"/>
                    <a:pt x="1541905" y="425246"/>
                  </a:cubicBezTo>
                  <a:cubicBezTo>
                    <a:pt x="1552702" y="416121"/>
                    <a:pt x="1571535" y="408701"/>
                    <a:pt x="1585985" y="401448"/>
                  </a:cubicBezTo>
                  <a:cubicBezTo>
                    <a:pt x="1592804" y="398106"/>
                    <a:pt x="1606524" y="391187"/>
                    <a:pt x="1599096" y="388079"/>
                  </a:cubicBezTo>
                  <a:cubicBezTo>
                    <a:pt x="1588705" y="383901"/>
                    <a:pt x="1565853" y="395532"/>
                    <a:pt x="1553919" y="399878"/>
                  </a:cubicBezTo>
                  <a:cubicBezTo>
                    <a:pt x="1544787" y="403220"/>
                    <a:pt x="1520839" y="410372"/>
                    <a:pt x="1522381" y="401849"/>
                  </a:cubicBezTo>
                  <a:cubicBezTo>
                    <a:pt x="1523518" y="395466"/>
                    <a:pt x="1527414" y="392558"/>
                    <a:pt x="1513411" y="393527"/>
                  </a:cubicBezTo>
                  <a:cubicBezTo>
                    <a:pt x="1507160" y="393995"/>
                    <a:pt x="1493847" y="395833"/>
                    <a:pt x="1500868" y="389449"/>
                  </a:cubicBezTo>
                  <a:cubicBezTo>
                    <a:pt x="1508986" y="382029"/>
                    <a:pt x="1491127" y="385104"/>
                    <a:pt x="1484389" y="387277"/>
                  </a:cubicBezTo>
                  <a:cubicBezTo>
                    <a:pt x="1470589" y="391689"/>
                    <a:pt x="1476271" y="393327"/>
                    <a:pt x="1476271" y="398039"/>
                  </a:cubicBezTo>
                  <a:cubicBezTo>
                    <a:pt x="1476271" y="403955"/>
                    <a:pt x="1451268" y="403989"/>
                    <a:pt x="1447858" y="403688"/>
                  </a:cubicBezTo>
                  <a:cubicBezTo>
                    <a:pt x="1438685" y="402886"/>
                    <a:pt x="1436615" y="399476"/>
                    <a:pt x="1425250" y="400914"/>
                  </a:cubicBezTo>
                  <a:cubicBezTo>
                    <a:pt x="1409014" y="402986"/>
                    <a:pt x="1392129" y="407064"/>
                    <a:pt x="1375771" y="410038"/>
                  </a:cubicBezTo>
                  <a:cubicBezTo>
                    <a:pt x="1340174" y="416723"/>
                    <a:pt x="1302709" y="412512"/>
                    <a:pt x="1267153" y="424878"/>
                  </a:cubicBezTo>
                  <a:cubicBezTo>
                    <a:pt x="1261998" y="426683"/>
                    <a:pt x="1242799" y="434036"/>
                    <a:pt x="1243814" y="438248"/>
                  </a:cubicBezTo>
                  <a:cubicBezTo>
                    <a:pt x="1244828" y="442459"/>
                    <a:pt x="1275149" y="428455"/>
                    <a:pt x="1273241" y="435373"/>
                  </a:cubicBezTo>
                  <a:cubicBezTo>
                    <a:pt x="1272145" y="439083"/>
                    <a:pt x="1195471" y="468062"/>
                    <a:pt x="1240079" y="458469"/>
                  </a:cubicBezTo>
                  <a:cubicBezTo>
                    <a:pt x="1282415" y="449411"/>
                    <a:pt x="1203548" y="481197"/>
                    <a:pt x="1200504" y="488818"/>
                  </a:cubicBezTo>
                  <a:cubicBezTo>
                    <a:pt x="1193076" y="506599"/>
                    <a:pt x="1257330" y="483670"/>
                    <a:pt x="1248968" y="492394"/>
                  </a:cubicBezTo>
                  <a:cubicBezTo>
                    <a:pt x="1239876" y="501719"/>
                    <a:pt x="1221773" y="505396"/>
                    <a:pt x="1208379" y="510142"/>
                  </a:cubicBezTo>
                  <a:cubicBezTo>
                    <a:pt x="1186217" y="517896"/>
                    <a:pt x="1193320" y="523211"/>
                    <a:pt x="1211058" y="520169"/>
                  </a:cubicBezTo>
                  <a:cubicBezTo>
                    <a:pt x="1236102" y="516025"/>
                    <a:pt x="1183173" y="524848"/>
                    <a:pt x="1210692" y="520236"/>
                  </a:cubicBezTo>
                  <a:close/>
                  <a:moveTo>
                    <a:pt x="1356166" y="378687"/>
                  </a:moveTo>
                  <a:cubicBezTo>
                    <a:pt x="1370981" y="366788"/>
                    <a:pt x="1391723" y="360170"/>
                    <a:pt x="1371915" y="377116"/>
                  </a:cubicBezTo>
                  <a:cubicBezTo>
                    <a:pt x="1357709" y="389316"/>
                    <a:pt x="1400734" y="370866"/>
                    <a:pt x="1403900" y="370431"/>
                  </a:cubicBezTo>
                  <a:cubicBezTo>
                    <a:pt x="1401667" y="370732"/>
                    <a:pt x="1373335" y="396635"/>
                    <a:pt x="1405442" y="387711"/>
                  </a:cubicBezTo>
                  <a:cubicBezTo>
                    <a:pt x="1418471" y="384135"/>
                    <a:pt x="1420663" y="384068"/>
                    <a:pt x="1429268" y="386174"/>
                  </a:cubicBezTo>
                  <a:cubicBezTo>
                    <a:pt x="1437873" y="388280"/>
                    <a:pt x="1455205" y="381996"/>
                    <a:pt x="1464825" y="378821"/>
                  </a:cubicBezTo>
                  <a:cubicBezTo>
                    <a:pt x="1471644" y="376514"/>
                    <a:pt x="1533462" y="347202"/>
                    <a:pt x="1527779" y="346266"/>
                  </a:cubicBezTo>
                  <a:cubicBezTo>
                    <a:pt x="1534558" y="347403"/>
                    <a:pt x="1527090" y="356293"/>
                    <a:pt x="1532245" y="357797"/>
                  </a:cubicBezTo>
                  <a:cubicBezTo>
                    <a:pt x="1537399" y="359301"/>
                    <a:pt x="1553270" y="354622"/>
                    <a:pt x="1560089" y="352784"/>
                  </a:cubicBezTo>
                  <a:cubicBezTo>
                    <a:pt x="1581277" y="347102"/>
                    <a:pt x="1609284" y="339414"/>
                    <a:pt x="1627671" y="329020"/>
                  </a:cubicBezTo>
                  <a:cubicBezTo>
                    <a:pt x="1636154" y="324207"/>
                    <a:pt x="1631730" y="319594"/>
                    <a:pt x="1643907" y="315650"/>
                  </a:cubicBezTo>
                  <a:cubicBezTo>
                    <a:pt x="1657748" y="310937"/>
                    <a:pt x="1670858" y="309667"/>
                    <a:pt x="1684497" y="304152"/>
                  </a:cubicBezTo>
                  <a:cubicBezTo>
                    <a:pt x="1709106" y="294329"/>
                    <a:pt x="1732689" y="282848"/>
                    <a:pt x="1755001" y="269826"/>
                  </a:cubicBezTo>
                  <a:cubicBezTo>
                    <a:pt x="1765798" y="263442"/>
                    <a:pt x="1778502" y="243422"/>
                    <a:pt x="1787473" y="252413"/>
                  </a:cubicBezTo>
                  <a:cubicBezTo>
                    <a:pt x="1800705" y="265481"/>
                    <a:pt x="1740713" y="289178"/>
                    <a:pt x="1720378" y="297534"/>
                  </a:cubicBezTo>
                  <a:cubicBezTo>
                    <a:pt x="1707268" y="302815"/>
                    <a:pt x="1639198" y="327148"/>
                    <a:pt x="1676257" y="326646"/>
                  </a:cubicBezTo>
                  <a:cubicBezTo>
                    <a:pt x="1682467" y="326479"/>
                    <a:pt x="1747086" y="322669"/>
                    <a:pt x="1726142" y="329488"/>
                  </a:cubicBezTo>
                  <a:cubicBezTo>
                    <a:pt x="1692858" y="340317"/>
                    <a:pt x="1670128" y="334568"/>
                    <a:pt x="1640213" y="338345"/>
                  </a:cubicBezTo>
                  <a:cubicBezTo>
                    <a:pt x="1609162" y="342289"/>
                    <a:pt x="1575270" y="354421"/>
                    <a:pt x="1545558" y="366253"/>
                  </a:cubicBezTo>
                  <a:cubicBezTo>
                    <a:pt x="1520555" y="376281"/>
                    <a:pt x="1533381" y="393159"/>
                    <a:pt x="1552052" y="392290"/>
                  </a:cubicBezTo>
                  <a:cubicBezTo>
                    <a:pt x="1562321" y="391822"/>
                    <a:pt x="1576406" y="385071"/>
                    <a:pt x="1587649" y="383266"/>
                  </a:cubicBezTo>
                  <a:cubicBezTo>
                    <a:pt x="1603532" y="380796"/>
                    <a:pt x="1619914" y="381635"/>
                    <a:pt x="1635302" y="385706"/>
                  </a:cubicBezTo>
                  <a:cubicBezTo>
                    <a:pt x="1646667" y="388614"/>
                    <a:pt x="1661685" y="387444"/>
                    <a:pt x="1677109" y="384570"/>
                  </a:cubicBezTo>
                  <a:cubicBezTo>
                    <a:pt x="1685755" y="382932"/>
                    <a:pt x="1705116" y="376882"/>
                    <a:pt x="1711489" y="379289"/>
                  </a:cubicBezTo>
                  <a:cubicBezTo>
                    <a:pt x="1723057" y="383567"/>
                    <a:pt x="1658276" y="396000"/>
                    <a:pt x="1653811" y="396869"/>
                  </a:cubicBezTo>
                  <a:cubicBezTo>
                    <a:pt x="1620487" y="403554"/>
                    <a:pt x="1591790" y="410974"/>
                    <a:pt x="1563458" y="428054"/>
                  </a:cubicBezTo>
                  <a:cubicBezTo>
                    <a:pt x="1551687" y="435106"/>
                    <a:pt x="1515034" y="464820"/>
                    <a:pt x="1549049" y="459071"/>
                  </a:cubicBezTo>
                  <a:cubicBezTo>
                    <a:pt x="1563011" y="456798"/>
                    <a:pt x="1578273" y="449812"/>
                    <a:pt x="1590328" y="443662"/>
                  </a:cubicBezTo>
                  <a:cubicBezTo>
                    <a:pt x="1602383" y="437512"/>
                    <a:pt x="1620446" y="421035"/>
                    <a:pt x="1632745" y="417458"/>
                  </a:cubicBezTo>
                  <a:cubicBezTo>
                    <a:pt x="1633435" y="417224"/>
                    <a:pt x="1609162" y="443362"/>
                    <a:pt x="1618741" y="444197"/>
                  </a:cubicBezTo>
                  <a:cubicBezTo>
                    <a:pt x="1626859" y="444999"/>
                    <a:pt x="1679626" y="437011"/>
                    <a:pt x="1665176" y="449946"/>
                  </a:cubicBezTo>
                  <a:cubicBezTo>
                    <a:pt x="1646424" y="466658"/>
                    <a:pt x="1623693" y="458369"/>
                    <a:pt x="1610420" y="455962"/>
                  </a:cubicBezTo>
                  <a:cubicBezTo>
                    <a:pt x="1594185" y="452921"/>
                    <a:pt x="1531067" y="468162"/>
                    <a:pt x="1530499" y="483370"/>
                  </a:cubicBezTo>
                  <a:cubicBezTo>
                    <a:pt x="1530012" y="495569"/>
                    <a:pt x="1585214" y="474412"/>
                    <a:pt x="1578152" y="485141"/>
                  </a:cubicBezTo>
                  <a:cubicBezTo>
                    <a:pt x="1573727" y="491826"/>
                    <a:pt x="1552702" y="497875"/>
                    <a:pt x="1543001" y="502455"/>
                  </a:cubicBezTo>
                  <a:cubicBezTo>
                    <a:pt x="1528210" y="508955"/>
                    <a:pt x="1514348" y="516803"/>
                    <a:pt x="1501680" y="525851"/>
                  </a:cubicBezTo>
                  <a:cubicBezTo>
                    <a:pt x="1478828" y="543432"/>
                    <a:pt x="1518403" y="534274"/>
                    <a:pt x="1533178" y="529193"/>
                  </a:cubicBezTo>
                  <a:cubicBezTo>
                    <a:pt x="1556639" y="521005"/>
                    <a:pt x="1587812" y="503992"/>
                    <a:pt x="1611963" y="500616"/>
                  </a:cubicBezTo>
                  <a:cubicBezTo>
                    <a:pt x="1641309" y="496472"/>
                    <a:pt x="1658681" y="493430"/>
                    <a:pt x="1679098" y="476585"/>
                  </a:cubicBezTo>
                  <a:cubicBezTo>
                    <a:pt x="1689164" y="468296"/>
                    <a:pt x="1710271" y="462680"/>
                    <a:pt x="1724153" y="458135"/>
                  </a:cubicBezTo>
                  <a:cubicBezTo>
                    <a:pt x="1742905" y="451951"/>
                    <a:pt x="1764053" y="442860"/>
                    <a:pt x="1783251" y="441022"/>
                  </a:cubicBezTo>
                  <a:cubicBezTo>
                    <a:pt x="1797945" y="439618"/>
                    <a:pt x="1807605" y="442392"/>
                    <a:pt x="1823841" y="436577"/>
                  </a:cubicBezTo>
                  <a:cubicBezTo>
                    <a:pt x="1842431" y="429892"/>
                    <a:pt x="1851239" y="420868"/>
                    <a:pt x="1864674" y="411810"/>
                  </a:cubicBezTo>
                  <a:cubicBezTo>
                    <a:pt x="1875553" y="404490"/>
                    <a:pt x="1892519" y="402652"/>
                    <a:pt x="1903072" y="395332"/>
                  </a:cubicBezTo>
                  <a:cubicBezTo>
                    <a:pt x="1913626" y="388012"/>
                    <a:pt x="1902261" y="379021"/>
                    <a:pt x="1888582" y="382698"/>
                  </a:cubicBezTo>
                  <a:cubicBezTo>
                    <a:pt x="1877663" y="385639"/>
                    <a:pt x="1871534" y="392457"/>
                    <a:pt x="1861630" y="396067"/>
                  </a:cubicBezTo>
                  <a:cubicBezTo>
                    <a:pt x="1857206" y="397705"/>
                    <a:pt x="1847749" y="393761"/>
                    <a:pt x="1841132" y="394697"/>
                  </a:cubicBezTo>
                  <a:cubicBezTo>
                    <a:pt x="1825830" y="396836"/>
                    <a:pt x="1757802" y="426817"/>
                    <a:pt x="1753905" y="419865"/>
                  </a:cubicBezTo>
                  <a:cubicBezTo>
                    <a:pt x="1747817" y="408969"/>
                    <a:pt x="1807768" y="397070"/>
                    <a:pt x="1818078" y="393527"/>
                  </a:cubicBezTo>
                  <a:cubicBezTo>
                    <a:pt x="1836708" y="386842"/>
                    <a:pt x="1861062" y="378018"/>
                    <a:pt x="1876040" y="368292"/>
                  </a:cubicBezTo>
                  <a:cubicBezTo>
                    <a:pt x="1889028" y="359869"/>
                    <a:pt x="1869018" y="359903"/>
                    <a:pt x="1866664" y="355157"/>
                  </a:cubicBezTo>
                  <a:cubicBezTo>
                    <a:pt x="1863497" y="348706"/>
                    <a:pt x="1932094" y="331760"/>
                    <a:pt x="1941755" y="326780"/>
                  </a:cubicBezTo>
                  <a:cubicBezTo>
                    <a:pt x="1965094" y="314413"/>
                    <a:pt x="1989366" y="290014"/>
                    <a:pt x="1985023" y="276645"/>
                  </a:cubicBezTo>
                  <a:cubicBezTo>
                    <a:pt x="1981330" y="265348"/>
                    <a:pt x="1934530" y="281859"/>
                    <a:pt x="1920526" y="286505"/>
                  </a:cubicBezTo>
                  <a:cubicBezTo>
                    <a:pt x="1905102" y="291552"/>
                    <a:pt x="1853999" y="308898"/>
                    <a:pt x="1893737" y="289112"/>
                  </a:cubicBezTo>
                  <a:cubicBezTo>
                    <a:pt x="1911868" y="280244"/>
                    <a:pt x="1930881" y="272651"/>
                    <a:pt x="1950563" y="266417"/>
                  </a:cubicBezTo>
                  <a:cubicBezTo>
                    <a:pt x="1964688" y="261838"/>
                    <a:pt x="1984455" y="257593"/>
                    <a:pt x="1995739" y="249939"/>
                  </a:cubicBezTo>
                  <a:cubicBezTo>
                    <a:pt x="2007023" y="242285"/>
                    <a:pt x="1987174" y="235935"/>
                    <a:pt x="2008444" y="229885"/>
                  </a:cubicBezTo>
                  <a:cubicBezTo>
                    <a:pt x="2029713" y="223836"/>
                    <a:pt x="2085564" y="218588"/>
                    <a:pt x="2084184" y="200907"/>
                  </a:cubicBezTo>
                  <a:cubicBezTo>
                    <a:pt x="2083575" y="192685"/>
                    <a:pt x="2109228" y="183961"/>
                    <a:pt x="2121811" y="176341"/>
                  </a:cubicBezTo>
                  <a:cubicBezTo>
                    <a:pt x="2152253" y="157857"/>
                    <a:pt x="2180382" y="138238"/>
                    <a:pt x="2212894" y="120757"/>
                  </a:cubicBezTo>
                  <a:cubicBezTo>
                    <a:pt x="2238060" y="107187"/>
                    <a:pt x="2279055" y="94988"/>
                    <a:pt x="2299919" y="80147"/>
                  </a:cubicBezTo>
                  <a:cubicBezTo>
                    <a:pt x="2317859" y="67380"/>
                    <a:pt x="2279624" y="76805"/>
                    <a:pt x="2271506" y="79145"/>
                  </a:cubicBezTo>
                  <a:cubicBezTo>
                    <a:pt x="2247801" y="86097"/>
                    <a:pt x="2222433" y="97060"/>
                    <a:pt x="2198120" y="101906"/>
                  </a:cubicBezTo>
                  <a:cubicBezTo>
                    <a:pt x="2182614" y="104948"/>
                    <a:pt x="2224543" y="86732"/>
                    <a:pt x="2228115" y="85362"/>
                  </a:cubicBezTo>
                  <a:cubicBezTo>
                    <a:pt x="2249953" y="76872"/>
                    <a:pt x="2269842" y="72594"/>
                    <a:pt x="2292004" y="66110"/>
                  </a:cubicBezTo>
                  <a:cubicBezTo>
                    <a:pt x="2321066" y="57620"/>
                    <a:pt x="2347733" y="42713"/>
                    <a:pt x="2371438" y="30346"/>
                  </a:cubicBezTo>
                  <a:cubicBezTo>
                    <a:pt x="2375010" y="28374"/>
                    <a:pt x="2438654" y="-5216"/>
                    <a:pt x="2407238" y="265"/>
                  </a:cubicBezTo>
                  <a:cubicBezTo>
                    <a:pt x="2382437" y="4610"/>
                    <a:pt x="2352604" y="20787"/>
                    <a:pt x="2329833" y="15406"/>
                  </a:cubicBezTo>
                  <a:cubicBezTo>
                    <a:pt x="2321269" y="13401"/>
                    <a:pt x="2326586" y="7117"/>
                    <a:pt x="2311527" y="10860"/>
                  </a:cubicBezTo>
                  <a:cubicBezTo>
                    <a:pt x="2306778" y="11997"/>
                    <a:pt x="2283114" y="20887"/>
                    <a:pt x="2280557" y="18147"/>
                  </a:cubicBezTo>
                  <a:cubicBezTo>
                    <a:pt x="2273779" y="10359"/>
                    <a:pt x="2199905" y="46657"/>
                    <a:pt x="2192193" y="50200"/>
                  </a:cubicBezTo>
                  <a:cubicBezTo>
                    <a:pt x="2164105" y="62634"/>
                    <a:pt x="2211149" y="29812"/>
                    <a:pt x="2212245" y="31182"/>
                  </a:cubicBezTo>
                  <a:cubicBezTo>
                    <a:pt x="2210743" y="29243"/>
                    <a:pt x="2110770" y="57486"/>
                    <a:pt x="2100663" y="59826"/>
                  </a:cubicBezTo>
                  <a:cubicBezTo>
                    <a:pt x="2076878" y="64973"/>
                    <a:pt x="2067583" y="64037"/>
                    <a:pt x="2046233" y="76103"/>
                  </a:cubicBezTo>
                  <a:cubicBezTo>
                    <a:pt x="2024882" y="88169"/>
                    <a:pt x="2003857" y="82186"/>
                    <a:pt x="1978488" y="92548"/>
                  </a:cubicBezTo>
                  <a:cubicBezTo>
                    <a:pt x="1970655" y="95723"/>
                    <a:pt x="1959979" y="100670"/>
                    <a:pt x="1956813" y="105516"/>
                  </a:cubicBezTo>
                  <a:cubicBezTo>
                    <a:pt x="1953647" y="110362"/>
                    <a:pt x="1968016" y="113371"/>
                    <a:pt x="1949142" y="115877"/>
                  </a:cubicBezTo>
                  <a:cubicBezTo>
                    <a:pt x="1933596" y="117916"/>
                    <a:pt x="1923733" y="115242"/>
                    <a:pt x="1907131" y="120256"/>
                  </a:cubicBezTo>
                  <a:cubicBezTo>
                    <a:pt x="1887648" y="126172"/>
                    <a:pt x="1869789" y="134728"/>
                    <a:pt x="1850306" y="140811"/>
                  </a:cubicBezTo>
                  <a:cubicBezTo>
                    <a:pt x="1839631" y="144154"/>
                    <a:pt x="1827332" y="146293"/>
                    <a:pt x="1819823" y="152576"/>
                  </a:cubicBezTo>
                  <a:cubicBezTo>
                    <a:pt x="1814343" y="157155"/>
                    <a:pt x="1812233" y="161333"/>
                    <a:pt x="1802247" y="164107"/>
                  </a:cubicBezTo>
                  <a:cubicBezTo>
                    <a:pt x="1798838" y="164943"/>
                    <a:pt x="1712098" y="182758"/>
                    <a:pt x="1718957" y="187504"/>
                  </a:cubicBezTo>
                  <a:cubicBezTo>
                    <a:pt x="1720540" y="188574"/>
                    <a:pt x="1728983" y="185833"/>
                    <a:pt x="1725289" y="189610"/>
                  </a:cubicBezTo>
                  <a:cubicBezTo>
                    <a:pt x="1719282" y="195793"/>
                    <a:pt x="1705441" y="197397"/>
                    <a:pt x="1696268" y="200205"/>
                  </a:cubicBezTo>
                  <a:cubicBezTo>
                    <a:pt x="1671224" y="207859"/>
                    <a:pt x="1692209" y="209463"/>
                    <a:pt x="1686932" y="215379"/>
                  </a:cubicBezTo>
                  <a:cubicBezTo>
                    <a:pt x="1678327" y="224738"/>
                    <a:pt x="1636154" y="227278"/>
                    <a:pt x="1630675" y="237974"/>
                  </a:cubicBezTo>
                  <a:cubicBezTo>
                    <a:pt x="1625966" y="247232"/>
                    <a:pt x="1624180" y="255287"/>
                    <a:pt x="1600273" y="258663"/>
                  </a:cubicBezTo>
                  <a:cubicBezTo>
                    <a:pt x="1583428" y="261036"/>
                    <a:pt x="1571048" y="261069"/>
                    <a:pt x="1553108" y="265983"/>
                  </a:cubicBezTo>
                  <a:cubicBezTo>
                    <a:pt x="1549049" y="267052"/>
                    <a:pt x="1523152" y="274004"/>
                    <a:pt x="1524005" y="277647"/>
                  </a:cubicBezTo>
                  <a:cubicBezTo>
                    <a:pt x="1524857" y="281291"/>
                    <a:pt x="1539510" y="277447"/>
                    <a:pt x="1523477" y="284867"/>
                  </a:cubicBezTo>
                  <a:cubicBezTo>
                    <a:pt x="1514831" y="288911"/>
                    <a:pt x="1503791" y="292554"/>
                    <a:pt x="1496282" y="297434"/>
                  </a:cubicBezTo>
                  <a:cubicBezTo>
                    <a:pt x="1489382" y="301880"/>
                    <a:pt x="1507566" y="298771"/>
                    <a:pt x="1505009" y="303417"/>
                  </a:cubicBezTo>
                  <a:cubicBezTo>
                    <a:pt x="1496526" y="318825"/>
                    <a:pt x="1464419" y="315951"/>
                    <a:pt x="1447574" y="321232"/>
                  </a:cubicBezTo>
                  <a:cubicBezTo>
                    <a:pt x="1425209" y="328217"/>
                    <a:pt x="1419973" y="337008"/>
                    <a:pt x="1411044" y="348505"/>
                  </a:cubicBezTo>
                  <a:cubicBezTo>
                    <a:pt x="1406091" y="354889"/>
                    <a:pt x="1386690" y="355792"/>
                    <a:pt x="1375690" y="360337"/>
                  </a:cubicBezTo>
                  <a:cubicBezTo>
                    <a:pt x="1359454" y="367022"/>
                    <a:pt x="1325074" y="382263"/>
                    <a:pt x="1317768" y="392792"/>
                  </a:cubicBezTo>
                  <a:cubicBezTo>
                    <a:pt x="1312126" y="400847"/>
                    <a:pt x="1352229" y="381327"/>
                    <a:pt x="1356044" y="378319"/>
                  </a:cubicBezTo>
                  <a:close/>
                  <a:moveTo>
                    <a:pt x="2051915" y="839264"/>
                  </a:moveTo>
                  <a:cubicBezTo>
                    <a:pt x="2061575" y="835153"/>
                    <a:pt x="2072941" y="810854"/>
                    <a:pt x="2047450" y="820313"/>
                  </a:cubicBezTo>
                  <a:cubicBezTo>
                    <a:pt x="2021960" y="829772"/>
                    <a:pt x="2037019" y="845648"/>
                    <a:pt x="2051915" y="839264"/>
                  </a:cubicBezTo>
                  <a:close/>
                  <a:moveTo>
                    <a:pt x="1918294" y="867741"/>
                  </a:moveTo>
                  <a:cubicBezTo>
                    <a:pt x="1944718" y="866538"/>
                    <a:pt x="1969274" y="835721"/>
                    <a:pt x="1963592" y="830975"/>
                  </a:cubicBezTo>
                  <a:cubicBezTo>
                    <a:pt x="1957909" y="826229"/>
                    <a:pt x="1886228" y="869178"/>
                    <a:pt x="1918294" y="867741"/>
                  </a:cubicBezTo>
                  <a:close/>
                  <a:moveTo>
                    <a:pt x="2001827" y="793307"/>
                  </a:moveTo>
                  <a:cubicBezTo>
                    <a:pt x="2001056" y="784249"/>
                    <a:pt x="1957179" y="798454"/>
                    <a:pt x="1949061" y="792872"/>
                  </a:cubicBezTo>
                  <a:cubicBezTo>
                    <a:pt x="1935626" y="783313"/>
                    <a:pt x="1904412" y="792137"/>
                    <a:pt x="1879530" y="795212"/>
                  </a:cubicBezTo>
                  <a:cubicBezTo>
                    <a:pt x="1865527" y="796950"/>
                    <a:pt x="1845841" y="801228"/>
                    <a:pt x="1833867" y="799390"/>
                  </a:cubicBezTo>
                  <a:cubicBezTo>
                    <a:pt x="1824450" y="797952"/>
                    <a:pt x="1825384" y="788895"/>
                    <a:pt x="1810244" y="798053"/>
                  </a:cubicBezTo>
                  <a:cubicBezTo>
                    <a:pt x="1795104" y="807211"/>
                    <a:pt x="1797011" y="814764"/>
                    <a:pt x="1797620" y="823588"/>
                  </a:cubicBezTo>
                  <a:cubicBezTo>
                    <a:pt x="1798229" y="831777"/>
                    <a:pt x="1790558" y="837760"/>
                    <a:pt x="1799569" y="843642"/>
                  </a:cubicBezTo>
                  <a:cubicBezTo>
                    <a:pt x="1806997" y="848656"/>
                    <a:pt x="1798310" y="856745"/>
                    <a:pt x="1790477" y="863697"/>
                  </a:cubicBezTo>
                  <a:cubicBezTo>
                    <a:pt x="1786174" y="867473"/>
                    <a:pt x="1775783" y="881043"/>
                    <a:pt x="1793561" y="873924"/>
                  </a:cubicBezTo>
                  <a:cubicBezTo>
                    <a:pt x="1800786" y="870983"/>
                    <a:pt x="1827779" y="852366"/>
                    <a:pt x="1832162" y="859385"/>
                  </a:cubicBezTo>
                  <a:cubicBezTo>
                    <a:pt x="1835653" y="864967"/>
                    <a:pt x="1836789" y="870114"/>
                    <a:pt x="1852457" y="863095"/>
                  </a:cubicBezTo>
                  <a:cubicBezTo>
                    <a:pt x="1866594" y="856524"/>
                    <a:pt x="1879011" y="847707"/>
                    <a:pt x="1888988" y="837158"/>
                  </a:cubicBezTo>
                  <a:cubicBezTo>
                    <a:pt x="1897106" y="828702"/>
                    <a:pt x="1898973" y="821015"/>
                    <a:pt x="1917401" y="817104"/>
                  </a:cubicBezTo>
                  <a:cubicBezTo>
                    <a:pt x="1929984" y="814430"/>
                    <a:pt x="2003289" y="810419"/>
                    <a:pt x="2001868" y="793106"/>
                  </a:cubicBezTo>
                  <a:close/>
                  <a:moveTo>
                    <a:pt x="2451724" y="581301"/>
                  </a:moveTo>
                  <a:cubicBezTo>
                    <a:pt x="2476484" y="575385"/>
                    <a:pt x="2501609" y="592197"/>
                    <a:pt x="2526166" y="591328"/>
                  </a:cubicBezTo>
                  <a:cubicBezTo>
                    <a:pt x="2536800" y="590927"/>
                    <a:pt x="2541834" y="587150"/>
                    <a:pt x="2543173" y="581735"/>
                  </a:cubicBezTo>
                  <a:cubicBezTo>
                    <a:pt x="2545243" y="573078"/>
                    <a:pt x="2548287" y="570806"/>
                    <a:pt x="2564077" y="565625"/>
                  </a:cubicBezTo>
                  <a:cubicBezTo>
                    <a:pt x="2578892" y="560745"/>
                    <a:pt x="2571383" y="558272"/>
                    <a:pt x="2575077" y="551621"/>
                  </a:cubicBezTo>
                  <a:cubicBezTo>
                    <a:pt x="2579663" y="543432"/>
                    <a:pt x="2592124" y="534909"/>
                    <a:pt x="2603774" y="528425"/>
                  </a:cubicBezTo>
                  <a:cubicBezTo>
                    <a:pt x="2637788" y="509173"/>
                    <a:pt x="2560627" y="526453"/>
                    <a:pt x="2551007" y="527255"/>
                  </a:cubicBezTo>
                  <a:cubicBezTo>
                    <a:pt x="2540535" y="528024"/>
                    <a:pt x="2534446" y="524447"/>
                    <a:pt x="2532539" y="519701"/>
                  </a:cubicBezTo>
                  <a:cubicBezTo>
                    <a:pt x="2530956" y="515690"/>
                    <a:pt x="2513867" y="516125"/>
                    <a:pt x="2507373" y="516125"/>
                  </a:cubicBezTo>
                  <a:cubicBezTo>
                    <a:pt x="2479528" y="516125"/>
                    <a:pt x="2453307" y="524380"/>
                    <a:pt x="2424692" y="525550"/>
                  </a:cubicBezTo>
                  <a:cubicBezTo>
                    <a:pt x="2403057" y="526386"/>
                    <a:pt x="2351955" y="540758"/>
                    <a:pt x="2349844" y="523244"/>
                  </a:cubicBezTo>
                  <a:cubicBezTo>
                    <a:pt x="2349032" y="516760"/>
                    <a:pt x="2407400" y="505496"/>
                    <a:pt x="2392747" y="501853"/>
                  </a:cubicBezTo>
                  <a:cubicBezTo>
                    <a:pt x="2390515" y="501251"/>
                    <a:pt x="2334217" y="512983"/>
                    <a:pt x="2353132" y="501853"/>
                  </a:cubicBezTo>
                  <a:cubicBezTo>
                    <a:pt x="2362102" y="496539"/>
                    <a:pt x="2377486" y="491024"/>
                    <a:pt x="2362995" y="487481"/>
                  </a:cubicBezTo>
                  <a:cubicBezTo>
                    <a:pt x="2349479" y="484138"/>
                    <a:pt x="2339412" y="484439"/>
                    <a:pt x="2329833" y="493831"/>
                  </a:cubicBezTo>
                  <a:cubicBezTo>
                    <a:pt x="2318468" y="505028"/>
                    <a:pt x="2315911" y="494332"/>
                    <a:pt x="2319523" y="488450"/>
                  </a:cubicBezTo>
                  <a:cubicBezTo>
                    <a:pt x="2324273" y="480696"/>
                    <a:pt x="2320822" y="479760"/>
                    <a:pt x="2306251" y="481498"/>
                  </a:cubicBezTo>
                  <a:cubicBezTo>
                    <a:pt x="2292353" y="482838"/>
                    <a:pt x="2278865" y="486237"/>
                    <a:pt x="2266432" y="491525"/>
                  </a:cubicBezTo>
                  <a:cubicBezTo>
                    <a:pt x="2244473" y="502321"/>
                    <a:pt x="2248694" y="491859"/>
                    <a:pt x="2237086" y="489820"/>
                  </a:cubicBezTo>
                  <a:cubicBezTo>
                    <a:pt x="2221864" y="487147"/>
                    <a:pt x="2186876" y="521573"/>
                    <a:pt x="2177703" y="511746"/>
                  </a:cubicBezTo>
                  <a:cubicBezTo>
                    <a:pt x="2175957" y="509875"/>
                    <a:pt x="2203153" y="496940"/>
                    <a:pt x="2206116" y="492361"/>
                  </a:cubicBezTo>
                  <a:cubicBezTo>
                    <a:pt x="2212935" y="482334"/>
                    <a:pt x="2193939" y="484038"/>
                    <a:pt x="2181762" y="487381"/>
                  </a:cubicBezTo>
                  <a:cubicBezTo>
                    <a:pt x="2157408" y="494065"/>
                    <a:pt x="2155825" y="509707"/>
                    <a:pt x="2131146" y="507134"/>
                  </a:cubicBezTo>
                  <a:cubicBezTo>
                    <a:pt x="2123028" y="506265"/>
                    <a:pt x="2110852" y="504393"/>
                    <a:pt x="2108457" y="499680"/>
                  </a:cubicBezTo>
                  <a:cubicBezTo>
                    <a:pt x="2106508" y="495536"/>
                    <a:pt x="2086132" y="502354"/>
                    <a:pt x="2080531" y="503691"/>
                  </a:cubicBezTo>
                  <a:cubicBezTo>
                    <a:pt x="2056177" y="509574"/>
                    <a:pt x="2064782" y="495135"/>
                    <a:pt x="2040834" y="498076"/>
                  </a:cubicBezTo>
                  <a:cubicBezTo>
                    <a:pt x="2016886" y="501017"/>
                    <a:pt x="1979949" y="509473"/>
                    <a:pt x="1960954" y="522609"/>
                  </a:cubicBezTo>
                  <a:cubicBezTo>
                    <a:pt x="1955636" y="526219"/>
                    <a:pt x="1950278" y="530865"/>
                    <a:pt x="1949954" y="534842"/>
                  </a:cubicBezTo>
                  <a:cubicBezTo>
                    <a:pt x="1949954" y="537014"/>
                    <a:pt x="1954784" y="539622"/>
                    <a:pt x="1950644" y="542362"/>
                  </a:cubicBezTo>
                  <a:cubicBezTo>
                    <a:pt x="1940090" y="549348"/>
                    <a:pt x="1931932" y="541259"/>
                    <a:pt x="1926290" y="540490"/>
                  </a:cubicBezTo>
                  <a:cubicBezTo>
                    <a:pt x="1910825" y="538352"/>
                    <a:pt x="1888257" y="570171"/>
                    <a:pt x="1874538" y="569101"/>
                  </a:cubicBezTo>
                  <a:cubicBezTo>
                    <a:pt x="1860819" y="568032"/>
                    <a:pt x="1874538" y="544100"/>
                    <a:pt x="1860453" y="539922"/>
                  </a:cubicBezTo>
                  <a:cubicBezTo>
                    <a:pt x="1837642" y="533238"/>
                    <a:pt x="1821771" y="523211"/>
                    <a:pt x="1787067" y="539922"/>
                  </a:cubicBezTo>
                  <a:cubicBezTo>
                    <a:pt x="1775499" y="545471"/>
                    <a:pt x="1770831" y="550651"/>
                    <a:pt x="1762307" y="557069"/>
                  </a:cubicBezTo>
                  <a:cubicBezTo>
                    <a:pt x="1752485" y="564522"/>
                    <a:pt x="1736817" y="570204"/>
                    <a:pt x="1724802" y="576454"/>
                  </a:cubicBezTo>
                  <a:cubicBezTo>
                    <a:pt x="1711083" y="583574"/>
                    <a:pt x="1694157" y="594603"/>
                    <a:pt x="1696024" y="603427"/>
                  </a:cubicBezTo>
                  <a:cubicBezTo>
                    <a:pt x="1698094" y="612886"/>
                    <a:pt x="1720378" y="607237"/>
                    <a:pt x="1725127" y="612752"/>
                  </a:cubicBezTo>
                  <a:cubicBezTo>
                    <a:pt x="1730282" y="619069"/>
                    <a:pt x="1685592" y="639825"/>
                    <a:pt x="1727603" y="631804"/>
                  </a:cubicBezTo>
                  <a:cubicBezTo>
                    <a:pt x="1762672" y="625119"/>
                    <a:pt x="1760075" y="639224"/>
                    <a:pt x="1724478" y="642900"/>
                  </a:cubicBezTo>
                  <a:cubicBezTo>
                    <a:pt x="1688880" y="646577"/>
                    <a:pt x="1689246" y="632873"/>
                    <a:pt x="1670331" y="623682"/>
                  </a:cubicBezTo>
                  <a:cubicBezTo>
                    <a:pt x="1660467" y="618869"/>
                    <a:pt x="1674390" y="604029"/>
                    <a:pt x="1680844" y="596274"/>
                  </a:cubicBezTo>
                  <a:cubicBezTo>
                    <a:pt x="1685999" y="590125"/>
                    <a:pt x="1710637" y="575251"/>
                    <a:pt x="1707755" y="569903"/>
                  </a:cubicBezTo>
                  <a:cubicBezTo>
                    <a:pt x="1704873" y="564555"/>
                    <a:pt x="1663593" y="582872"/>
                    <a:pt x="1658519" y="585211"/>
                  </a:cubicBezTo>
                  <a:cubicBezTo>
                    <a:pt x="1625804" y="600118"/>
                    <a:pt x="1594956" y="619571"/>
                    <a:pt x="1578070" y="640293"/>
                  </a:cubicBezTo>
                  <a:cubicBezTo>
                    <a:pt x="1562687" y="659144"/>
                    <a:pt x="1561834" y="677059"/>
                    <a:pt x="1572428" y="690429"/>
                  </a:cubicBezTo>
                  <a:cubicBezTo>
                    <a:pt x="1582129" y="702628"/>
                    <a:pt x="1590815" y="700623"/>
                    <a:pt x="1619106" y="690763"/>
                  </a:cubicBezTo>
                  <a:cubicBezTo>
                    <a:pt x="1633881" y="685616"/>
                    <a:pt x="1650848" y="679198"/>
                    <a:pt x="1665947" y="677594"/>
                  </a:cubicBezTo>
                  <a:cubicBezTo>
                    <a:pt x="1684456" y="675589"/>
                    <a:pt x="1659331" y="687020"/>
                    <a:pt x="1653040" y="688858"/>
                  </a:cubicBezTo>
                  <a:cubicBezTo>
                    <a:pt x="1635545" y="693905"/>
                    <a:pt x="1577421" y="712990"/>
                    <a:pt x="1620568" y="712455"/>
                  </a:cubicBezTo>
                  <a:cubicBezTo>
                    <a:pt x="1635598" y="712271"/>
                    <a:pt x="1650486" y="710012"/>
                    <a:pt x="1664608" y="705770"/>
                  </a:cubicBezTo>
                  <a:cubicBezTo>
                    <a:pt x="1676541" y="702094"/>
                    <a:pt x="1688150" y="692401"/>
                    <a:pt x="1700083" y="690562"/>
                  </a:cubicBezTo>
                  <a:cubicBezTo>
                    <a:pt x="1713072" y="688557"/>
                    <a:pt x="1717943" y="693370"/>
                    <a:pt x="1733245" y="689058"/>
                  </a:cubicBezTo>
                  <a:cubicBezTo>
                    <a:pt x="1756259" y="682574"/>
                    <a:pt x="1778137" y="672848"/>
                    <a:pt x="1801355" y="666497"/>
                  </a:cubicBezTo>
                  <a:cubicBezTo>
                    <a:pt x="1826277" y="659646"/>
                    <a:pt x="1878800" y="653128"/>
                    <a:pt x="1889191" y="633575"/>
                  </a:cubicBezTo>
                  <a:cubicBezTo>
                    <a:pt x="1892519" y="627158"/>
                    <a:pt x="1949061" y="617833"/>
                    <a:pt x="1958762" y="615292"/>
                  </a:cubicBezTo>
                  <a:cubicBezTo>
                    <a:pt x="2000041" y="604196"/>
                    <a:pt x="1941064" y="607003"/>
                    <a:pt x="1951253" y="597545"/>
                  </a:cubicBezTo>
                  <a:cubicBezTo>
                    <a:pt x="1956692" y="592531"/>
                    <a:pt x="1983724" y="591395"/>
                    <a:pt x="1990990" y="590860"/>
                  </a:cubicBezTo>
                  <a:cubicBezTo>
                    <a:pt x="1997200" y="590392"/>
                    <a:pt x="2003979" y="590359"/>
                    <a:pt x="2007550" y="592598"/>
                  </a:cubicBezTo>
                  <a:cubicBezTo>
                    <a:pt x="2012299" y="595639"/>
                    <a:pt x="2019727" y="592096"/>
                    <a:pt x="2026019" y="592932"/>
                  </a:cubicBezTo>
                  <a:cubicBezTo>
                    <a:pt x="2043594" y="595272"/>
                    <a:pt x="2063848" y="591228"/>
                    <a:pt x="2082601" y="592698"/>
                  </a:cubicBezTo>
                  <a:cubicBezTo>
                    <a:pt x="2101353" y="594169"/>
                    <a:pt x="2058612" y="611349"/>
                    <a:pt x="2058004" y="616696"/>
                  </a:cubicBezTo>
                  <a:cubicBezTo>
                    <a:pt x="2057111" y="624016"/>
                    <a:pt x="2082357" y="610446"/>
                    <a:pt x="2084834" y="608808"/>
                  </a:cubicBezTo>
                  <a:cubicBezTo>
                    <a:pt x="2092667" y="603661"/>
                    <a:pt x="2106590" y="592096"/>
                    <a:pt x="2118604" y="592966"/>
                  </a:cubicBezTo>
                  <a:cubicBezTo>
                    <a:pt x="2127818" y="593668"/>
                    <a:pt x="2131633" y="598648"/>
                    <a:pt x="2138899" y="600820"/>
                  </a:cubicBezTo>
                  <a:cubicBezTo>
                    <a:pt x="2147017" y="603193"/>
                    <a:pt x="2162238" y="593233"/>
                    <a:pt x="2174537" y="593634"/>
                  </a:cubicBezTo>
                  <a:cubicBezTo>
                    <a:pt x="2190773" y="594169"/>
                    <a:pt x="2211352" y="598414"/>
                    <a:pt x="2217278" y="606068"/>
                  </a:cubicBezTo>
                  <a:cubicBezTo>
                    <a:pt x="2221946" y="612084"/>
                    <a:pt x="2213828" y="621844"/>
                    <a:pt x="2218617" y="627158"/>
                  </a:cubicBezTo>
                  <a:cubicBezTo>
                    <a:pt x="2222351" y="631269"/>
                    <a:pt x="2246665" y="620841"/>
                    <a:pt x="2251657" y="618769"/>
                  </a:cubicBezTo>
                  <a:cubicBezTo>
                    <a:pt x="2269314" y="611248"/>
                    <a:pt x="2280070" y="601188"/>
                    <a:pt x="2300771" y="601656"/>
                  </a:cubicBezTo>
                  <a:cubicBezTo>
                    <a:pt x="2323177" y="602157"/>
                    <a:pt x="2343715" y="603461"/>
                    <a:pt x="2319239" y="617766"/>
                  </a:cubicBezTo>
                  <a:cubicBezTo>
                    <a:pt x="2311483" y="622358"/>
                    <a:pt x="2303235" y="626366"/>
                    <a:pt x="2294601" y="629731"/>
                  </a:cubicBezTo>
                  <a:cubicBezTo>
                    <a:pt x="2284048" y="633742"/>
                    <a:pt x="2288553" y="630367"/>
                    <a:pt x="2284251" y="628027"/>
                  </a:cubicBezTo>
                  <a:cubicBezTo>
                    <a:pt x="2260912" y="615226"/>
                    <a:pt x="2154364" y="645975"/>
                    <a:pt x="2180544" y="663356"/>
                  </a:cubicBezTo>
                  <a:cubicBezTo>
                    <a:pt x="2188378" y="668536"/>
                    <a:pt x="2208957" y="670040"/>
                    <a:pt x="2192315" y="680970"/>
                  </a:cubicBezTo>
                  <a:cubicBezTo>
                    <a:pt x="2164633" y="699186"/>
                    <a:pt x="2133419" y="698049"/>
                    <a:pt x="2102531" y="708912"/>
                  </a:cubicBezTo>
                  <a:cubicBezTo>
                    <a:pt x="2094413" y="711853"/>
                    <a:pt x="2085036" y="720777"/>
                    <a:pt x="2077243" y="725056"/>
                  </a:cubicBezTo>
                  <a:cubicBezTo>
                    <a:pt x="2052889" y="738425"/>
                    <a:pt x="2066081" y="754669"/>
                    <a:pt x="2094940" y="745644"/>
                  </a:cubicBezTo>
                  <a:cubicBezTo>
                    <a:pt x="2109918" y="740999"/>
                    <a:pt x="2123353" y="734147"/>
                    <a:pt x="2138168" y="728933"/>
                  </a:cubicBezTo>
                  <a:cubicBezTo>
                    <a:pt x="2149574" y="724855"/>
                    <a:pt x="2161061" y="722950"/>
                    <a:pt x="2172548" y="719541"/>
                  </a:cubicBezTo>
                  <a:cubicBezTo>
                    <a:pt x="2180666" y="717168"/>
                    <a:pt x="2176039" y="713324"/>
                    <a:pt x="2178961" y="710015"/>
                  </a:cubicBezTo>
                  <a:cubicBezTo>
                    <a:pt x="2185293" y="702729"/>
                    <a:pt x="2208308" y="699319"/>
                    <a:pt x="2218901" y="697281"/>
                  </a:cubicBezTo>
                  <a:cubicBezTo>
                    <a:pt x="2242484" y="692735"/>
                    <a:pt x="2249871" y="705637"/>
                    <a:pt x="2272196" y="700255"/>
                  </a:cubicBezTo>
                  <a:cubicBezTo>
                    <a:pt x="2295291" y="694707"/>
                    <a:pt x="2285631" y="715196"/>
                    <a:pt x="2305114" y="715396"/>
                  </a:cubicBezTo>
                  <a:cubicBezTo>
                    <a:pt x="2326424" y="715630"/>
                    <a:pt x="2351143" y="705001"/>
                    <a:pt x="2373224" y="703163"/>
                  </a:cubicBezTo>
                  <a:cubicBezTo>
                    <a:pt x="2393762" y="701492"/>
                    <a:pt x="2413448" y="704734"/>
                    <a:pt x="2434474" y="703531"/>
                  </a:cubicBezTo>
                  <a:cubicBezTo>
                    <a:pt x="2588715" y="695041"/>
                    <a:pt x="2391327" y="666096"/>
                    <a:pt x="2383818" y="674887"/>
                  </a:cubicBezTo>
                  <a:cubicBezTo>
                    <a:pt x="2390150" y="667400"/>
                    <a:pt x="2425503" y="664559"/>
                    <a:pt x="2434352" y="664559"/>
                  </a:cubicBezTo>
                  <a:cubicBezTo>
                    <a:pt x="2459802" y="664559"/>
                    <a:pt x="2484561" y="667066"/>
                    <a:pt x="2511838" y="656203"/>
                  </a:cubicBezTo>
                  <a:cubicBezTo>
                    <a:pt x="2524015" y="651357"/>
                    <a:pt x="2550520" y="631871"/>
                    <a:pt x="2527221" y="632038"/>
                  </a:cubicBezTo>
                  <a:cubicBezTo>
                    <a:pt x="2503923" y="632205"/>
                    <a:pt x="2509199" y="623949"/>
                    <a:pt x="2494750" y="617666"/>
                  </a:cubicBezTo>
                  <a:cubicBezTo>
                    <a:pt x="2472750" y="608107"/>
                    <a:pt x="2412230" y="629665"/>
                    <a:pt x="2396887" y="612151"/>
                  </a:cubicBezTo>
                  <a:cubicBezTo>
                    <a:pt x="2393803" y="608608"/>
                    <a:pt x="2405005" y="605666"/>
                    <a:pt x="2405290" y="601823"/>
                  </a:cubicBezTo>
                  <a:cubicBezTo>
                    <a:pt x="2405290" y="597311"/>
                    <a:pt x="2396238" y="596274"/>
                    <a:pt x="2397983" y="591027"/>
                  </a:cubicBezTo>
                  <a:cubicBezTo>
                    <a:pt x="2403504" y="574315"/>
                    <a:pt x="2435854" y="585044"/>
                    <a:pt x="2451440" y="581301"/>
                  </a:cubicBezTo>
                  <a:close/>
                  <a:moveTo>
                    <a:pt x="2124205" y="641697"/>
                  </a:moveTo>
                  <a:cubicBezTo>
                    <a:pt x="2143607" y="633609"/>
                    <a:pt x="2128873" y="621643"/>
                    <a:pt x="2118604" y="619136"/>
                  </a:cubicBezTo>
                  <a:cubicBezTo>
                    <a:pt x="2103343" y="615092"/>
                    <a:pt x="2070505" y="627091"/>
                    <a:pt x="2058612" y="636817"/>
                  </a:cubicBezTo>
                  <a:cubicBezTo>
                    <a:pt x="2044568" y="648282"/>
                    <a:pt x="2041808" y="665562"/>
                    <a:pt x="2067826" y="663556"/>
                  </a:cubicBezTo>
                  <a:cubicBezTo>
                    <a:pt x="2088365" y="662119"/>
                    <a:pt x="2106630" y="648850"/>
                    <a:pt x="2124205" y="641530"/>
                  </a:cubicBezTo>
                  <a:close/>
                  <a:moveTo>
                    <a:pt x="1848195" y="521372"/>
                  </a:moveTo>
                  <a:cubicBezTo>
                    <a:pt x="1844907" y="530397"/>
                    <a:pt x="1862808" y="527355"/>
                    <a:pt x="1871981" y="529528"/>
                  </a:cubicBezTo>
                  <a:cubicBezTo>
                    <a:pt x="1887121" y="533104"/>
                    <a:pt x="1886187" y="544067"/>
                    <a:pt x="1913423" y="534708"/>
                  </a:cubicBezTo>
                  <a:cubicBezTo>
                    <a:pt x="1930998" y="528692"/>
                    <a:pt x="1942566" y="518331"/>
                    <a:pt x="1961035" y="512047"/>
                  </a:cubicBezTo>
                  <a:cubicBezTo>
                    <a:pt x="1975850" y="506967"/>
                    <a:pt x="1994968" y="502822"/>
                    <a:pt x="2008200" y="495770"/>
                  </a:cubicBezTo>
                  <a:cubicBezTo>
                    <a:pt x="2032554" y="482835"/>
                    <a:pt x="1951050" y="490957"/>
                    <a:pt x="1943581" y="492428"/>
                  </a:cubicBezTo>
                  <a:cubicBezTo>
                    <a:pt x="1926655" y="495536"/>
                    <a:pt x="1912205" y="502455"/>
                    <a:pt x="1895604" y="505797"/>
                  </a:cubicBezTo>
                  <a:cubicBezTo>
                    <a:pt x="1883427" y="508270"/>
                    <a:pt x="1851808" y="511278"/>
                    <a:pt x="1848195" y="521305"/>
                  </a:cubicBezTo>
                  <a:cubicBezTo>
                    <a:pt x="1843812" y="533639"/>
                    <a:pt x="1852619" y="509273"/>
                    <a:pt x="1848236" y="521439"/>
                  </a:cubicBezTo>
                  <a:close/>
                  <a:moveTo>
                    <a:pt x="2668920" y="954308"/>
                  </a:moveTo>
                  <a:cubicBezTo>
                    <a:pt x="2674116" y="959121"/>
                    <a:pt x="2761992" y="954308"/>
                    <a:pt x="2761668" y="945885"/>
                  </a:cubicBezTo>
                  <a:cubicBezTo>
                    <a:pt x="2761343" y="937462"/>
                    <a:pt x="2664536" y="949963"/>
                    <a:pt x="2668961" y="954375"/>
                  </a:cubicBezTo>
                  <a:close/>
                  <a:moveTo>
                    <a:pt x="3040560" y="906880"/>
                  </a:moveTo>
                  <a:cubicBezTo>
                    <a:pt x="3036907" y="913331"/>
                    <a:pt x="3030291" y="905677"/>
                    <a:pt x="3032117" y="902334"/>
                  </a:cubicBezTo>
                  <a:cubicBezTo>
                    <a:pt x="3034390" y="898223"/>
                    <a:pt x="3045715" y="888965"/>
                    <a:pt x="3027652" y="895014"/>
                  </a:cubicBezTo>
                  <a:cubicBezTo>
                    <a:pt x="3001026" y="904039"/>
                    <a:pt x="3017464" y="887260"/>
                    <a:pt x="3019007" y="879974"/>
                  </a:cubicBezTo>
                  <a:cubicBezTo>
                    <a:pt x="3019616" y="876966"/>
                    <a:pt x="3004963" y="878771"/>
                    <a:pt x="3002162" y="879172"/>
                  </a:cubicBezTo>
                  <a:cubicBezTo>
                    <a:pt x="2992015" y="880676"/>
                    <a:pt x="2994247" y="881846"/>
                    <a:pt x="2990432" y="885856"/>
                  </a:cubicBezTo>
                  <a:cubicBezTo>
                    <a:pt x="2981461" y="895115"/>
                    <a:pt x="2953048" y="886157"/>
                    <a:pt x="2945336" y="884486"/>
                  </a:cubicBezTo>
                  <a:cubicBezTo>
                    <a:pt x="2939613" y="883216"/>
                    <a:pt x="2949395" y="878537"/>
                    <a:pt x="2939045" y="879707"/>
                  </a:cubicBezTo>
                  <a:cubicBezTo>
                    <a:pt x="2932713" y="880375"/>
                    <a:pt x="2920374" y="883450"/>
                    <a:pt x="2919887" y="888029"/>
                  </a:cubicBezTo>
                  <a:cubicBezTo>
                    <a:pt x="2919278" y="893778"/>
                    <a:pt x="2913555" y="886024"/>
                    <a:pt x="2913717" y="884185"/>
                  </a:cubicBezTo>
                  <a:cubicBezTo>
                    <a:pt x="2914447" y="876832"/>
                    <a:pt x="2923864" y="866471"/>
                    <a:pt x="2927639" y="858683"/>
                  </a:cubicBezTo>
                  <a:cubicBezTo>
                    <a:pt x="2929303" y="855341"/>
                    <a:pt x="2946879" y="844979"/>
                    <a:pt x="2932551" y="845982"/>
                  </a:cubicBezTo>
                  <a:cubicBezTo>
                    <a:pt x="2923568" y="846804"/>
                    <a:pt x="2915292" y="850384"/>
                    <a:pt x="2909374" y="856009"/>
                  </a:cubicBezTo>
                  <a:cubicBezTo>
                    <a:pt x="2896803" y="866782"/>
                    <a:pt x="2886940" y="879493"/>
                    <a:pt x="2880352" y="893410"/>
                  </a:cubicBezTo>
                  <a:cubicBezTo>
                    <a:pt x="2874832" y="906345"/>
                    <a:pt x="2889607" y="910791"/>
                    <a:pt x="2864360" y="920517"/>
                  </a:cubicBezTo>
                  <a:cubicBezTo>
                    <a:pt x="2857987" y="922990"/>
                    <a:pt x="2844958" y="931480"/>
                    <a:pt x="2856729" y="932716"/>
                  </a:cubicBezTo>
                  <a:cubicBezTo>
                    <a:pt x="2863751" y="933485"/>
                    <a:pt x="2854740" y="941707"/>
                    <a:pt x="2852670" y="944080"/>
                  </a:cubicBezTo>
                  <a:cubicBezTo>
                    <a:pt x="2838748" y="961093"/>
                    <a:pt x="2869352" y="952470"/>
                    <a:pt x="2885791" y="946921"/>
                  </a:cubicBezTo>
                  <a:cubicBezTo>
                    <a:pt x="2899105" y="942409"/>
                    <a:pt x="2913149" y="940905"/>
                    <a:pt x="2926381" y="936894"/>
                  </a:cubicBezTo>
                  <a:cubicBezTo>
                    <a:pt x="2935879" y="933920"/>
                    <a:pt x="2948949" y="922422"/>
                    <a:pt x="2958609" y="923892"/>
                  </a:cubicBezTo>
                  <a:cubicBezTo>
                    <a:pt x="2977240" y="926733"/>
                    <a:pt x="2984221" y="919180"/>
                    <a:pt x="2974561" y="932750"/>
                  </a:cubicBezTo>
                  <a:cubicBezTo>
                    <a:pt x="2970786" y="938031"/>
                    <a:pt x="2974886" y="940738"/>
                    <a:pt x="2982922" y="935491"/>
                  </a:cubicBezTo>
                  <a:cubicBezTo>
                    <a:pt x="2990959" y="930243"/>
                    <a:pt x="3003217" y="919113"/>
                    <a:pt x="3016612" y="921185"/>
                  </a:cubicBezTo>
                  <a:cubicBezTo>
                    <a:pt x="3023959" y="922322"/>
                    <a:pt x="3015435" y="927870"/>
                    <a:pt x="3024162" y="928438"/>
                  </a:cubicBezTo>
                  <a:cubicBezTo>
                    <a:pt x="3032657" y="928786"/>
                    <a:pt x="3041136" y="927539"/>
                    <a:pt x="3048962" y="924795"/>
                  </a:cubicBezTo>
                  <a:cubicBezTo>
                    <a:pt x="3078511" y="914768"/>
                    <a:pt x="3043239" y="901967"/>
                    <a:pt x="3040357" y="906980"/>
                  </a:cubicBezTo>
                  <a:cubicBezTo>
                    <a:pt x="3036826" y="913464"/>
                    <a:pt x="3044375" y="900329"/>
                    <a:pt x="3040601" y="906947"/>
                  </a:cubicBezTo>
                  <a:close/>
                  <a:moveTo>
                    <a:pt x="543965" y="1751661"/>
                  </a:moveTo>
                  <a:cubicBezTo>
                    <a:pt x="526227" y="1771448"/>
                    <a:pt x="592673" y="1765298"/>
                    <a:pt x="607366" y="1760117"/>
                  </a:cubicBezTo>
                  <a:cubicBezTo>
                    <a:pt x="626565" y="1753232"/>
                    <a:pt x="595758" y="1748720"/>
                    <a:pt x="592186" y="1747884"/>
                  </a:cubicBezTo>
                  <a:cubicBezTo>
                    <a:pt x="576843" y="1744107"/>
                    <a:pt x="566979" y="1726192"/>
                    <a:pt x="543965" y="1751661"/>
                  </a:cubicBezTo>
                  <a:cubicBezTo>
                    <a:pt x="526593" y="1771013"/>
                    <a:pt x="561378" y="1732342"/>
                    <a:pt x="543965" y="1751661"/>
                  </a:cubicBezTo>
                  <a:close/>
                  <a:moveTo>
                    <a:pt x="2829493" y="994015"/>
                  </a:moveTo>
                  <a:cubicBezTo>
                    <a:pt x="2815409" y="998895"/>
                    <a:pt x="2833836" y="975231"/>
                    <a:pt x="2816626" y="984456"/>
                  </a:cubicBezTo>
                  <a:cubicBezTo>
                    <a:pt x="2806276" y="989971"/>
                    <a:pt x="2800918" y="999898"/>
                    <a:pt x="2794180" y="1006649"/>
                  </a:cubicBezTo>
                  <a:cubicBezTo>
                    <a:pt x="2791663" y="1009223"/>
                    <a:pt x="2797387" y="1012866"/>
                    <a:pt x="2792962" y="1014838"/>
                  </a:cubicBezTo>
                  <a:cubicBezTo>
                    <a:pt x="2788538" y="1016810"/>
                    <a:pt x="2783870" y="1018749"/>
                    <a:pt x="2779811" y="1020420"/>
                  </a:cubicBezTo>
                  <a:cubicBezTo>
                    <a:pt x="2765593" y="1025804"/>
                    <a:pt x="2750323" y="1029053"/>
                    <a:pt x="2734716" y="1030012"/>
                  </a:cubicBezTo>
                  <a:cubicBezTo>
                    <a:pt x="2724163" y="1030614"/>
                    <a:pt x="2714786" y="1026904"/>
                    <a:pt x="2703218" y="1026971"/>
                  </a:cubicBezTo>
                  <a:cubicBezTo>
                    <a:pt x="2691042" y="1026971"/>
                    <a:pt x="2677403" y="1021957"/>
                    <a:pt x="2672857" y="1015908"/>
                  </a:cubicBezTo>
                  <a:cubicBezTo>
                    <a:pt x="2669570" y="1011496"/>
                    <a:pt x="2681543" y="1005179"/>
                    <a:pt x="2677200" y="1001201"/>
                  </a:cubicBezTo>
                  <a:cubicBezTo>
                    <a:pt x="2672857" y="997224"/>
                    <a:pt x="2661857" y="1004276"/>
                    <a:pt x="2659057" y="1006950"/>
                  </a:cubicBezTo>
                  <a:cubicBezTo>
                    <a:pt x="2656256" y="1009624"/>
                    <a:pt x="2648625" y="1013635"/>
                    <a:pt x="2646677" y="1009624"/>
                  </a:cubicBezTo>
                  <a:cubicBezTo>
                    <a:pt x="2644241" y="1004845"/>
                    <a:pt x="2656418" y="999898"/>
                    <a:pt x="2662588" y="996756"/>
                  </a:cubicBezTo>
                  <a:cubicBezTo>
                    <a:pt x="2691407" y="982183"/>
                    <a:pt x="2684222" y="963934"/>
                    <a:pt x="2647895" y="973861"/>
                  </a:cubicBezTo>
                  <a:cubicBezTo>
                    <a:pt x="2614165" y="983119"/>
                    <a:pt x="2581246" y="1000332"/>
                    <a:pt x="2554538" y="1016242"/>
                  </a:cubicBezTo>
                  <a:cubicBezTo>
                    <a:pt x="2527830" y="1032152"/>
                    <a:pt x="2519834" y="1052440"/>
                    <a:pt x="2496454" y="1069152"/>
                  </a:cubicBezTo>
                  <a:cubicBezTo>
                    <a:pt x="2484277" y="1077942"/>
                    <a:pt x="2490893" y="1067246"/>
                    <a:pt x="2495034" y="1063336"/>
                  </a:cubicBezTo>
                  <a:cubicBezTo>
                    <a:pt x="2499174" y="1059425"/>
                    <a:pt x="2503923" y="1055314"/>
                    <a:pt x="2507982" y="1051236"/>
                  </a:cubicBezTo>
                  <a:cubicBezTo>
                    <a:pt x="2512650" y="1046524"/>
                    <a:pt x="2507982" y="1041544"/>
                    <a:pt x="2511066" y="1038368"/>
                  </a:cubicBezTo>
                  <a:cubicBezTo>
                    <a:pt x="2513993" y="1037476"/>
                    <a:pt x="2516855" y="1036436"/>
                    <a:pt x="2519631" y="1035260"/>
                  </a:cubicBezTo>
                  <a:cubicBezTo>
                    <a:pt x="2523049" y="1032496"/>
                    <a:pt x="2526097" y="1029438"/>
                    <a:pt x="2528723" y="1026135"/>
                  </a:cubicBezTo>
                  <a:cubicBezTo>
                    <a:pt x="2535096" y="1018715"/>
                    <a:pt x="2540413" y="1010727"/>
                    <a:pt x="2549018" y="1003708"/>
                  </a:cubicBezTo>
                  <a:cubicBezTo>
                    <a:pt x="2554173" y="999430"/>
                    <a:pt x="2579420" y="993213"/>
                    <a:pt x="2579501" y="989236"/>
                  </a:cubicBezTo>
                  <a:cubicBezTo>
                    <a:pt x="2579501" y="983052"/>
                    <a:pt x="2589486" y="972825"/>
                    <a:pt x="2597442" y="967577"/>
                  </a:cubicBezTo>
                  <a:cubicBezTo>
                    <a:pt x="2607751" y="960892"/>
                    <a:pt x="2626463" y="955879"/>
                    <a:pt x="2639371" y="951768"/>
                  </a:cubicBezTo>
                  <a:cubicBezTo>
                    <a:pt x="2664861" y="943646"/>
                    <a:pt x="2690757" y="936226"/>
                    <a:pt x="2716735" y="929040"/>
                  </a:cubicBezTo>
                  <a:cubicBezTo>
                    <a:pt x="2759029" y="917375"/>
                    <a:pt x="2801973" y="911058"/>
                    <a:pt x="2831441" y="887160"/>
                  </a:cubicBezTo>
                  <a:cubicBezTo>
                    <a:pt x="2839235" y="880843"/>
                    <a:pt x="2842807" y="872253"/>
                    <a:pt x="2853888" y="867106"/>
                  </a:cubicBezTo>
                  <a:cubicBezTo>
                    <a:pt x="2867607" y="860923"/>
                    <a:pt x="2884858" y="860421"/>
                    <a:pt x="2898009" y="853970"/>
                  </a:cubicBezTo>
                  <a:cubicBezTo>
                    <a:pt x="2909414" y="848221"/>
                    <a:pt x="2913839" y="840601"/>
                    <a:pt x="2923215" y="834184"/>
                  </a:cubicBezTo>
                  <a:cubicBezTo>
                    <a:pt x="2943510" y="820413"/>
                    <a:pt x="2900079" y="832947"/>
                    <a:pt x="2902920" y="827298"/>
                  </a:cubicBezTo>
                  <a:cubicBezTo>
                    <a:pt x="2904665" y="823956"/>
                    <a:pt x="2918425" y="821015"/>
                    <a:pt x="2921104" y="815199"/>
                  </a:cubicBezTo>
                  <a:cubicBezTo>
                    <a:pt x="2923783" y="809383"/>
                    <a:pt x="2923905" y="806776"/>
                    <a:pt x="2914366" y="805606"/>
                  </a:cubicBezTo>
                  <a:cubicBezTo>
                    <a:pt x="2906249" y="804604"/>
                    <a:pt x="2894924" y="797819"/>
                    <a:pt x="2884898" y="803467"/>
                  </a:cubicBezTo>
                  <a:cubicBezTo>
                    <a:pt x="2880027" y="806241"/>
                    <a:pt x="2871666" y="814798"/>
                    <a:pt x="2863589" y="813494"/>
                  </a:cubicBezTo>
                  <a:cubicBezTo>
                    <a:pt x="2852751" y="811656"/>
                    <a:pt x="2876861" y="791903"/>
                    <a:pt x="2840777" y="804136"/>
                  </a:cubicBezTo>
                  <a:cubicBezTo>
                    <a:pt x="2817885" y="811957"/>
                    <a:pt x="2798807" y="827365"/>
                    <a:pt x="2779893" y="837559"/>
                  </a:cubicBezTo>
                  <a:cubicBezTo>
                    <a:pt x="2771775" y="842005"/>
                    <a:pt x="2770963" y="834518"/>
                    <a:pt x="2772343" y="831944"/>
                  </a:cubicBezTo>
                  <a:cubicBezTo>
                    <a:pt x="2774169" y="828602"/>
                    <a:pt x="2789025" y="821549"/>
                    <a:pt x="2794018" y="818575"/>
                  </a:cubicBezTo>
                  <a:cubicBezTo>
                    <a:pt x="2801040" y="814230"/>
                    <a:pt x="2811106" y="812993"/>
                    <a:pt x="2818372" y="808013"/>
                  </a:cubicBezTo>
                  <a:cubicBezTo>
                    <a:pt x="2825637" y="803033"/>
                    <a:pt x="2847637" y="797986"/>
                    <a:pt x="2851574" y="792170"/>
                  </a:cubicBezTo>
                  <a:cubicBezTo>
                    <a:pt x="2857297" y="783781"/>
                    <a:pt x="2831482" y="788059"/>
                    <a:pt x="2825150" y="790499"/>
                  </a:cubicBezTo>
                  <a:cubicBezTo>
                    <a:pt x="2815571" y="794142"/>
                    <a:pt x="2806235" y="791602"/>
                    <a:pt x="2798117" y="790700"/>
                  </a:cubicBezTo>
                  <a:cubicBezTo>
                    <a:pt x="2789999" y="789797"/>
                    <a:pt x="2784236" y="795412"/>
                    <a:pt x="2779081" y="794677"/>
                  </a:cubicBezTo>
                  <a:cubicBezTo>
                    <a:pt x="2766904" y="793006"/>
                    <a:pt x="2765930" y="799457"/>
                    <a:pt x="2754727" y="799490"/>
                  </a:cubicBezTo>
                  <a:cubicBezTo>
                    <a:pt x="2744336" y="799490"/>
                    <a:pt x="2740561" y="792805"/>
                    <a:pt x="2732484" y="790766"/>
                  </a:cubicBezTo>
                  <a:cubicBezTo>
                    <a:pt x="2721313" y="788193"/>
                    <a:pt x="2709782" y="786836"/>
                    <a:pt x="2698185" y="786722"/>
                  </a:cubicBezTo>
                  <a:cubicBezTo>
                    <a:pt x="2691772" y="786722"/>
                    <a:pt x="2669773" y="789530"/>
                    <a:pt x="2666485" y="786722"/>
                  </a:cubicBezTo>
                  <a:cubicBezTo>
                    <a:pt x="2662426" y="783380"/>
                    <a:pt x="2688403" y="780739"/>
                    <a:pt x="2691447" y="778868"/>
                  </a:cubicBezTo>
                  <a:cubicBezTo>
                    <a:pt x="2720834" y="760953"/>
                    <a:pt x="2678702" y="768306"/>
                    <a:pt x="2678783" y="756741"/>
                  </a:cubicBezTo>
                  <a:cubicBezTo>
                    <a:pt x="2678783" y="752597"/>
                    <a:pt x="2660680" y="753132"/>
                    <a:pt x="2655769" y="751828"/>
                  </a:cubicBezTo>
                  <a:cubicBezTo>
                    <a:pt x="2648536" y="749508"/>
                    <a:pt x="2641713" y="746407"/>
                    <a:pt x="2635474" y="742603"/>
                  </a:cubicBezTo>
                  <a:cubicBezTo>
                    <a:pt x="2622830" y="736567"/>
                    <a:pt x="2609627" y="731373"/>
                    <a:pt x="2595980" y="727061"/>
                  </a:cubicBezTo>
                  <a:cubicBezTo>
                    <a:pt x="2588715" y="724454"/>
                    <a:pt x="2560708" y="703664"/>
                    <a:pt x="2556324" y="717903"/>
                  </a:cubicBezTo>
                  <a:cubicBezTo>
                    <a:pt x="2554092" y="725256"/>
                    <a:pt x="2553564" y="729000"/>
                    <a:pt x="2544878" y="735918"/>
                  </a:cubicBezTo>
                  <a:cubicBezTo>
                    <a:pt x="2539682" y="740096"/>
                    <a:pt x="2555269" y="739662"/>
                    <a:pt x="2548206" y="745945"/>
                  </a:cubicBezTo>
                  <a:cubicBezTo>
                    <a:pt x="2543214" y="750324"/>
                    <a:pt x="2548206" y="758346"/>
                    <a:pt x="2541671" y="760217"/>
                  </a:cubicBezTo>
                  <a:cubicBezTo>
                    <a:pt x="2536638" y="761621"/>
                    <a:pt x="2534284" y="770244"/>
                    <a:pt x="2535096" y="770244"/>
                  </a:cubicBezTo>
                  <a:cubicBezTo>
                    <a:pt x="2529819" y="770244"/>
                    <a:pt x="2510011" y="767403"/>
                    <a:pt x="2513827" y="776495"/>
                  </a:cubicBezTo>
                  <a:cubicBezTo>
                    <a:pt x="2516140" y="781943"/>
                    <a:pt x="2498078" y="790532"/>
                    <a:pt x="2490122" y="793574"/>
                  </a:cubicBezTo>
                  <a:cubicBezTo>
                    <a:pt x="2477012" y="798554"/>
                    <a:pt x="2477945" y="789931"/>
                    <a:pt x="2468326" y="791502"/>
                  </a:cubicBezTo>
                  <a:cubicBezTo>
                    <a:pt x="2464672" y="792070"/>
                    <a:pt x="2463780" y="795212"/>
                    <a:pt x="2459964" y="794042"/>
                  </a:cubicBezTo>
                  <a:cubicBezTo>
                    <a:pt x="2456149" y="792872"/>
                    <a:pt x="2453713" y="789630"/>
                    <a:pt x="2447787" y="789764"/>
                  </a:cubicBezTo>
                  <a:cubicBezTo>
                    <a:pt x="2439953" y="789764"/>
                    <a:pt x="2421566" y="799323"/>
                    <a:pt x="2423433" y="789998"/>
                  </a:cubicBezTo>
                  <a:cubicBezTo>
                    <a:pt x="2424651" y="783647"/>
                    <a:pt x="2406548" y="788627"/>
                    <a:pt x="2404640" y="784616"/>
                  </a:cubicBezTo>
                  <a:cubicBezTo>
                    <a:pt x="2403666" y="782611"/>
                    <a:pt x="2408496" y="780338"/>
                    <a:pt x="2406751" y="777932"/>
                  </a:cubicBezTo>
                  <a:cubicBezTo>
                    <a:pt x="2403853" y="775000"/>
                    <a:pt x="2400675" y="772263"/>
                    <a:pt x="2397253" y="769743"/>
                  </a:cubicBezTo>
                  <a:cubicBezTo>
                    <a:pt x="2393446" y="766855"/>
                    <a:pt x="2391883" y="762470"/>
                    <a:pt x="2393194" y="758346"/>
                  </a:cubicBezTo>
                  <a:cubicBezTo>
                    <a:pt x="2394412" y="755538"/>
                    <a:pt x="2400054" y="751661"/>
                    <a:pt x="2398917" y="749054"/>
                  </a:cubicBezTo>
                  <a:cubicBezTo>
                    <a:pt x="2396400" y="743305"/>
                    <a:pt x="2379231" y="756741"/>
                    <a:pt x="2370504" y="754936"/>
                  </a:cubicBezTo>
                  <a:cubicBezTo>
                    <a:pt x="2362670" y="753332"/>
                    <a:pt x="2347896" y="759682"/>
                    <a:pt x="2338844" y="761387"/>
                  </a:cubicBezTo>
                  <a:cubicBezTo>
                    <a:pt x="2322121" y="764462"/>
                    <a:pt x="2324800" y="757644"/>
                    <a:pt x="2312988" y="757711"/>
                  </a:cubicBezTo>
                  <a:cubicBezTo>
                    <a:pt x="2307509" y="757711"/>
                    <a:pt x="2303734" y="758245"/>
                    <a:pt x="2300284" y="755972"/>
                  </a:cubicBezTo>
                  <a:cubicBezTo>
                    <a:pt x="2294926" y="752430"/>
                    <a:pt x="2290299" y="756908"/>
                    <a:pt x="2283764" y="756507"/>
                  </a:cubicBezTo>
                  <a:cubicBezTo>
                    <a:pt x="2279705" y="756240"/>
                    <a:pt x="2280760" y="752196"/>
                    <a:pt x="2276052" y="751728"/>
                  </a:cubicBezTo>
                  <a:cubicBezTo>
                    <a:pt x="2270572" y="751159"/>
                    <a:pt x="2264687" y="753900"/>
                    <a:pt x="2259004" y="753967"/>
                  </a:cubicBezTo>
                  <a:cubicBezTo>
                    <a:pt x="2242322" y="754268"/>
                    <a:pt x="2233879" y="754936"/>
                    <a:pt x="2218942" y="764195"/>
                  </a:cubicBezTo>
                  <a:cubicBezTo>
                    <a:pt x="2202706" y="774222"/>
                    <a:pt x="2177946" y="778500"/>
                    <a:pt x="2158869" y="780405"/>
                  </a:cubicBezTo>
                  <a:cubicBezTo>
                    <a:pt x="2133866" y="782912"/>
                    <a:pt x="2108051" y="790232"/>
                    <a:pt x="2098756" y="805606"/>
                  </a:cubicBezTo>
                  <a:cubicBezTo>
                    <a:pt x="2093560" y="814297"/>
                    <a:pt x="2106427" y="815199"/>
                    <a:pt x="2117224" y="814698"/>
                  </a:cubicBezTo>
                  <a:cubicBezTo>
                    <a:pt x="2131146" y="814029"/>
                    <a:pt x="2124693" y="823455"/>
                    <a:pt x="2120715" y="829471"/>
                  </a:cubicBezTo>
                  <a:cubicBezTo>
                    <a:pt x="2115316" y="837593"/>
                    <a:pt x="2113936" y="836390"/>
                    <a:pt x="2124368" y="839799"/>
                  </a:cubicBezTo>
                  <a:cubicBezTo>
                    <a:pt x="2132486" y="842506"/>
                    <a:pt x="2145028" y="847486"/>
                    <a:pt x="2149087" y="852500"/>
                  </a:cubicBezTo>
                  <a:cubicBezTo>
                    <a:pt x="2156596" y="861791"/>
                    <a:pt x="2138655" y="859920"/>
                    <a:pt x="2137641" y="866838"/>
                  </a:cubicBezTo>
                  <a:cubicBezTo>
                    <a:pt x="2136951" y="871417"/>
                    <a:pt x="2140563" y="872922"/>
                    <a:pt x="2136098" y="878403"/>
                  </a:cubicBezTo>
                  <a:cubicBezTo>
                    <a:pt x="2132039" y="883250"/>
                    <a:pt x="2124652" y="891772"/>
                    <a:pt x="2128873" y="895616"/>
                  </a:cubicBezTo>
                  <a:cubicBezTo>
                    <a:pt x="2133095" y="899460"/>
                    <a:pt x="2154688" y="896619"/>
                    <a:pt x="2162928" y="896686"/>
                  </a:cubicBezTo>
                  <a:cubicBezTo>
                    <a:pt x="2178393" y="896686"/>
                    <a:pt x="2191341" y="898758"/>
                    <a:pt x="2199459" y="905142"/>
                  </a:cubicBezTo>
                  <a:cubicBezTo>
                    <a:pt x="2217440" y="919079"/>
                    <a:pt x="2219754" y="936192"/>
                    <a:pt x="2194953" y="955845"/>
                  </a:cubicBezTo>
                  <a:cubicBezTo>
                    <a:pt x="2183507" y="965003"/>
                    <a:pt x="2176363" y="975900"/>
                    <a:pt x="2161345" y="983721"/>
                  </a:cubicBezTo>
                  <a:cubicBezTo>
                    <a:pt x="2155906" y="986562"/>
                    <a:pt x="2135124" y="992010"/>
                    <a:pt x="2136991" y="996422"/>
                  </a:cubicBezTo>
                  <a:cubicBezTo>
                    <a:pt x="2140563" y="1004410"/>
                    <a:pt x="2160777" y="1002204"/>
                    <a:pt x="2165404" y="1009190"/>
                  </a:cubicBezTo>
                  <a:cubicBezTo>
                    <a:pt x="2170031" y="1016175"/>
                    <a:pt x="2176404" y="1025534"/>
                    <a:pt x="2184887" y="1031249"/>
                  </a:cubicBezTo>
                  <a:cubicBezTo>
                    <a:pt x="2191625" y="1035795"/>
                    <a:pt x="2202990" y="1035694"/>
                    <a:pt x="2194548" y="1044953"/>
                  </a:cubicBezTo>
                  <a:cubicBezTo>
                    <a:pt x="2186430" y="1053643"/>
                    <a:pt x="2187039" y="1051337"/>
                    <a:pt x="2195968" y="1053676"/>
                  </a:cubicBezTo>
                  <a:cubicBezTo>
                    <a:pt x="2210946" y="1057620"/>
                    <a:pt x="2191463" y="1059793"/>
                    <a:pt x="2184887" y="1059693"/>
                  </a:cubicBezTo>
                  <a:cubicBezTo>
                    <a:pt x="2173522" y="1059693"/>
                    <a:pt x="2170884" y="1071926"/>
                    <a:pt x="2172710" y="1075335"/>
                  </a:cubicBezTo>
                  <a:cubicBezTo>
                    <a:pt x="2174131" y="1078176"/>
                    <a:pt x="2157205" y="1078176"/>
                    <a:pt x="2155703" y="1078209"/>
                  </a:cubicBezTo>
                  <a:cubicBezTo>
                    <a:pt x="2144622" y="1078610"/>
                    <a:pt x="2143932" y="1080281"/>
                    <a:pt x="2138493" y="1075669"/>
                  </a:cubicBezTo>
                  <a:cubicBezTo>
                    <a:pt x="2132039" y="1070188"/>
                    <a:pt x="2117346" y="1073196"/>
                    <a:pt x="2106508" y="1072327"/>
                  </a:cubicBezTo>
                  <a:cubicBezTo>
                    <a:pt x="2097498" y="1071524"/>
                    <a:pt x="2093885" y="1066812"/>
                    <a:pt x="2083129" y="1066143"/>
                  </a:cubicBezTo>
                  <a:cubicBezTo>
                    <a:pt x="2060683" y="1064840"/>
                    <a:pt x="2072860" y="1045187"/>
                    <a:pt x="2056948" y="1039404"/>
                  </a:cubicBezTo>
                  <a:cubicBezTo>
                    <a:pt x="2045867" y="1035527"/>
                    <a:pt x="2060398" y="1024364"/>
                    <a:pt x="2050576" y="1020821"/>
                  </a:cubicBezTo>
                  <a:cubicBezTo>
                    <a:pt x="2039657" y="1016910"/>
                    <a:pt x="2017170" y="1026336"/>
                    <a:pt x="2004141" y="1030313"/>
                  </a:cubicBezTo>
                  <a:cubicBezTo>
                    <a:pt x="1989285" y="1034825"/>
                    <a:pt x="1974632" y="1042279"/>
                    <a:pt x="1959492" y="1045254"/>
                  </a:cubicBezTo>
                  <a:cubicBezTo>
                    <a:pt x="1948777" y="1047359"/>
                    <a:pt x="1938020" y="1045955"/>
                    <a:pt x="1927426" y="1047092"/>
                  </a:cubicBezTo>
                  <a:cubicBezTo>
                    <a:pt x="1912895" y="1048629"/>
                    <a:pt x="1897958" y="1052974"/>
                    <a:pt x="1883589" y="1054378"/>
                  </a:cubicBezTo>
                  <a:cubicBezTo>
                    <a:pt x="1872184" y="1055515"/>
                    <a:pt x="1867354" y="1052039"/>
                    <a:pt x="1857977" y="1051972"/>
                  </a:cubicBezTo>
                  <a:cubicBezTo>
                    <a:pt x="1840361" y="1051771"/>
                    <a:pt x="1809919" y="1054612"/>
                    <a:pt x="1791897" y="1063403"/>
                  </a:cubicBezTo>
                  <a:cubicBezTo>
                    <a:pt x="1784307" y="1067113"/>
                    <a:pt x="1771034" y="1066745"/>
                    <a:pt x="1763484" y="1067480"/>
                  </a:cubicBezTo>
                  <a:cubicBezTo>
                    <a:pt x="1749846" y="1068984"/>
                    <a:pt x="1741566" y="1072661"/>
                    <a:pt x="1730160" y="1079479"/>
                  </a:cubicBezTo>
                  <a:cubicBezTo>
                    <a:pt x="1721758" y="1084526"/>
                    <a:pt x="1713924" y="1089874"/>
                    <a:pt x="1705522" y="1094921"/>
                  </a:cubicBezTo>
                  <a:cubicBezTo>
                    <a:pt x="1696105" y="1100570"/>
                    <a:pt x="1703899" y="1086799"/>
                    <a:pt x="1702681" y="1085395"/>
                  </a:cubicBezTo>
                  <a:cubicBezTo>
                    <a:pt x="1697607" y="1079513"/>
                    <a:pt x="1668261" y="1062901"/>
                    <a:pt x="1653973" y="1066478"/>
                  </a:cubicBezTo>
                  <a:cubicBezTo>
                    <a:pt x="1626250" y="1073162"/>
                    <a:pt x="1611395" y="1085262"/>
                    <a:pt x="1600719" y="1069820"/>
                  </a:cubicBezTo>
                  <a:cubicBezTo>
                    <a:pt x="1591993" y="1057219"/>
                    <a:pt x="1591018" y="1045788"/>
                    <a:pt x="1596214" y="1029411"/>
                  </a:cubicBezTo>
                  <a:cubicBezTo>
                    <a:pt x="1598081" y="1023595"/>
                    <a:pt x="1596214" y="1018414"/>
                    <a:pt x="1597837" y="1012900"/>
                  </a:cubicBezTo>
                  <a:cubicBezTo>
                    <a:pt x="1600232" y="1005212"/>
                    <a:pt x="1619837" y="999530"/>
                    <a:pt x="1618822" y="992578"/>
                  </a:cubicBezTo>
                  <a:cubicBezTo>
                    <a:pt x="1617727" y="985125"/>
                    <a:pt x="1616265" y="985626"/>
                    <a:pt x="1626940" y="978172"/>
                  </a:cubicBezTo>
                  <a:cubicBezTo>
                    <a:pt x="1630037" y="975996"/>
                    <a:pt x="1631413" y="972584"/>
                    <a:pt x="1630512" y="969315"/>
                  </a:cubicBezTo>
                  <a:cubicBezTo>
                    <a:pt x="1630512" y="965739"/>
                    <a:pt x="1638102" y="964569"/>
                    <a:pt x="1638630" y="962263"/>
                  </a:cubicBezTo>
                  <a:cubicBezTo>
                    <a:pt x="1639158" y="959956"/>
                    <a:pt x="1629457" y="962463"/>
                    <a:pt x="1631405" y="959422"/>
                  </a:cubicBezTo>
                  <a:cubicBezTo>
                    <a:pt x="1633353" y="956380"/>
                    <a:pt x="1644353" y="952737"/>
                    <a:pt x="1647885" y="951200"/>
                  </a:cubicBezTo>
                  <a:cubicBezTo>
                    <a:pt x="1658966" y="946854"/>
                    <a:pt x="1675080" y="939568"/>
                    <a:pt x="1679423" y="932014"/>
                  </a:cubicBezTo>
                  <a:cubicBezTo>
                    <a:pt x="1690220" y="913264"/>
                    <a:pt x="1637453" y="938699"/>
                    <a:pt x="1629254" y="936760"/>
                  </a:cubicBezTo>
                  <a:cubicBezTo>
                    <a:pt x="1614560" y="933418"/>
                    <a:pt x="1599299" y="939902"/>
                    <a:pt x="1579937" y="944615"/>
                  </a:cubicBezTo>
                  <a:cubicBezTo>
                    <a:pt x="1575878" y="945618"/>
                    <a:pt x="1566096" y="946687"/>
                    <a:pt x="1574742" y="942409"/>
                  </a:cubicBezTo>
                  <a:cubicBezTo>
                    <a:pt x="1586919" y="936393"/>
                    <a:pt x="1603155" y="932817"/>
                    <a:pt x="1616184" y="929541"/>
                  </a:cubicBezTo>
                  <a:cubicBezTo>
                    <a:pt x="1635667" y="924628"/>
                    <a:pt x="1676298" y="920550"/>
                    <a:pt x="1691519" y="907949"/>
                  </a:cubicBezTo>
                  <a:cubicBezTo>
                    <a:pt x="1698378" y="902268"/>
                    <a:pt x="1686486" y="898725"/>
                    <a:pt x="1687135" y="894145"/>
                  </a:cubicBezTo>
                  <a:cubicBezTo>
                    <a:pt x="1687703" y="890201"/>
                    <a:pt x="1719972" y="885556"/>
                    <a:pt x="1724640" y="884319"/>
                  </a:cubicBezTo>
                  <a:cubicBezTo>
                    <a:pt x="1755529" y="875996"/>
                    <a:pt x="1753946" y="853770"/>
                    <a:pt x="1770222" y="839866"/>
                  </a:cubicBezTo>
                  <a:cubicBezTo>
                    <a:pt x="1788691" y="824023"/>
                    <a:pt x="1710149" y="851497"/>
                    <a:pt x="1700042" y="852767"/>
                  </a:cubicBezTo>
                  <a:cubicBezTo>
                    <a:pt x="1693508" y="853469"/>
                    <a:pt x="1662700" y="856778"/>
                    <a:pt x="1666637" y="850093"/>
                  </a:cubicBezTo>
                  <a:cubicBezTo>
                    <a:pt x="1670574" y="843408"/>
                    <a:pt x="1692899" y="841503"/>
                    <a:pt x="1700083" y="840868"/>
                  </a:cubicBezTo>
                  <a:cubicBezTo>
                    <a:pt x="1731215" y="837994"/>
                    <a:pt x="1750983" y="840267"/>
                    <a:pt x="1771927" y="819043"/>
                  </a:cubicBezTo>
                  <a:cubicBezTo>
                    <a:pt x="1777041" y="813862"/>
                    <a:pt x="1791166" y="802598"/>
                    <a:pt x="1792222" y="797418"/>
                  </a:cubicBezTo>
                  <a:cubicBezTo>
                    <a:pt x="1793074" y="793273"/>
                    <a:pt x="1770872" y="798186"/>
                    <a:pt x="1766447" y="798120"/>
                  </a:cubicBezTo>
                  <a:cubicBezTo>
                    <a:pt x="1755610" y="797919"/>
                    <a:pt x="1785930" y="784750"/>
                    <a:pt x="1788975" y="783614"/>
                  </a:cubicBezTo>
                  <a:cubicBezTo>
                    <a:pt x="1806875" y="776929"/>
                    <a:pt x="1810487" y="786956"/>
                    <a:pt x="1829077" y="777765"/>
                  </a:cubicBezTo>
                  <a:cubicBezTo>
                    <a:pt x="1836221" y="774222"/>
                    <a:pt x="1858383" y="766735"/>
                    <a:pt x="1846369" y="764195"/>
                  </a:cubicBezTo>
                  <a:cubicBezTo>
                    <a:pt x="1841092" y="763058"/>
                    <a:pt x="1809838" y="767236"/>
                    <a:pt x="1815723" y="761220"/>
                  </a:cubicBezTo>
                  <a:cubicBezTo>
                    <a:pt x="1821609" y="755204"/>
                    <a:pt x="1836384" y="758880"/>
                    <a:pt x="1843487" y="758346"/>
                  </a:cubicBezTo>
                  <a:cubicBezTo>
                    <a:pt x="1861427" y="756942"/>
                    <a:pt x="1860088" y="765431"/>
                    <a:pt x="1877420" y="753399"/>
                  </a:cubicBezTo>
                  <a:cubicBezTo>
                    <a:pt x="1890084" y="744608"/>
                    <a:pt x="1899216" y="738258"/>
                    <a:pt x="1907497" y="728398"/>
                  </a:cubicBezTo>
                  <a:cubicBezTo>
                    <a:pt x="1913139" y="721713"/>
                    <a:pt x="1927102" y="719240"/>
                    <a:pt x="1924504" y="710884"/>
                  </a:cubicBezTo>
                  <a:cubicBezTo>
                    <a:pt x="1921500" y="701091"/>
                    <a:pt x="1893453" y="708879"/>
                    <a:pt x="1889921" y="700222"/>
                  </a:cubicBezTo>
                  <a:cubicBezTo>
                    <a:pt x="1888785" y="697348"/>
                    <a:pt x="1854527" y="696244"/>
                    <a:pt x="1879124" y="690195"/>
                  </a:cubicBezTo>
                  <a:cubicBezTo>
                    <a:pt x="1887973" y="688022"/>
                    <a:pt x="1914722" y="677460"/>
                    <a:pt x="1909445" y="671110"/>
                  </a:cubicBezTo>
                  <a:cubicBezTo>
                    <a:pt x="1907659" y="669004"/>
                    <a:pt x="1891423" y="672079"/>
                    <a:pt x="1893209" y="669071"/>
                  </a:cubicBezTo>
                  <a:cubicBezTo>
                    <a:pt x="1894995" y="666063"/>
                    <a:pt x="1905386" y="661217"/>
                    <a:pt x="1897715" y="660448"/>
                  </a:cubicBezTo>
                  <a:cubicBezTo>
                    <a:pt x="1890043" y="659679"/>
                    <a:pt x="1881032" y="664124"/>
                    <a:pt x="1873361" y="665963"/>
                  </a:cubicBezTo>
                  <a:cubicBezTo>
                    <a:pt x="1855785" y="670141"/>
                    <a:pt x="1854933" y="660013"/>
                    <a:pt x="1839509" y="664726"/>
                  </a:cubicBezTo>
                  <a:cubicBezTo>
                    <a:pt x="1811989" y="673149"/>
                    <a:pt x="1785240" y="678096"/>
                    <a:pt x="1758330" y="689292"/>
                  </a:cubicBezTo>
                  <a:cubicBezTo>
                    <a:pt x="1749927" y="692835"/>
                    <a:pt x="1758613" y="701559"/>
                    <a:pt x="1761820" y="702896"/>
                  </a:cubicBezTo>
                  <a:cubicBezTo>
                    <a:pt x="1764296" y="703932"/>
                    <a:pt x="1798107" y="698216"/>
                    <a:pt x="1783576" y="707007"/>
                  </a:cubicBezTo>
                  <a:cubicBezTo>
                    <a:pt x="1774281" y="712622"/>
                    <a:pt x="1791248" y="713090"/>
                    <a:pt x="1777325" y="717234"/>
                  </a:cubicBezTo>
                  <a:cubicBezTo>
                    <a:pt x="1761090" y="722081"/>
                    <a:pt x="1763728" y="728599"/>
                    <a:pt x="1765149" y="735116"/>
                  </a:cubicBezTo>
                  <a:cubicBezTo>
                    <a:pt x="1766001" y="739394"/>
                    <a:pt x="1765149" y="750290"/>
                    <a:pt x="1752972" y="753934"/>
                  </a:cubicBezTo>
                  <a:cubicBezTo>
                    <a:pt x="1744367" y="756474"/>
                    <a:pt x="1747857" y="743238"/>
                    <a:pt x="1736736" y="747817"/>
                  </a:cubicBezTo>
                  <a:cubicBezTo>
                    <a:pt x="1708120" y="759448"/>
                    <a:pt x="1760724" y="762256"/>
                    <a:pt x="1757031" y="768707"/>
                  </a:cubicBezTo>
                  <a:cubicBezTo>
                    <a:pt x="1755650" y="771180"/>
                    <a:pt x="1748222" y="773854"/>
                    <a:pt x="1745138" y="775592"/>
                  </a:cubicBezTo>
                  <a:cubicBezTo>
                    <a:pt x="1738725" y="779235"/>
                    <a:pt x="1739739" y="782277"/>
                    <a:pt x="1735315" y="785887"/>
                  </a:cubicBezTo>
                  <a:cubicBezTo>
                    <a:pt x="1734584" y="786455"/>
                    <a:pt x="1702843" y="781675"/>
                    <a:pt x="1699921" y="781241"/>
                  </a:cubicBezTo>
                  <a:cubicBezTo>
                    <a:pt x="1690545" y="779703"/>
                    <a:pt x="1676013" y="774222"/>
                    <a:pt x="1689733" y="765331"/>
                  </a:cubicBezTo>
                  <a:cubicBezTo>
                    <a:pt x="1700205" y="758646"/>
                    <a:pt x="1694806" y="753533"/>
                    <a:pt x="1685308" y="750190"/>
                  </a:cubicBezTo>
                  <a:cubicBezTo>
                    <a:pt x="1679220" y="748051"/>
                    <a:pt x="1652309" y="748753"/>
                    <a:pt x="1643866" y="750424"/>
                  </a:cubicBezTo>
                  <a:cubicBezTo>
                    <a:pt x="1622151" y="754702"/>
                    <a:pt x="1630431" y="763092"/>
                    <a:pt x="1625520" y="770478"/>
                  </a:cubicBezTo>
                  <a:cubicBezTo>
                    <a:pt x="1619188" y="780138"/>
                    <a:pt x="1615535" y="800994"/>
                    <a:pt x="1603642" y="785753"/>
                  </a:cubicBezTo>
                  <a:cubicBezTo>
                    <a:pt x="1599583" y="780305"/>
                    <a:pt x="1596173" y="779737"/>
                    <a:pt x="1588096" y="777397"/>
                  </a:cubicBezTo>
                  <a:cubicBezTo>
                    <a:pt x="1578436" y="774589"/>
                    <a:pt x="1613302" y="760184"/>
                    <a:pt x="1602262" y="759148"/>
                  </a:cubicBezTo>
                  <a:cubicBezTo>
                    <a:pt x="1595889" y="758546"/>
                    <a:pt x="1570602" y="765164"/>
                    <a:pt x="1561672" y="766601"/>
                  </a:cubicBezTo>
                  <a:cubicBezTo>
                    <a:pt x="1552742" y="768038"/>
                    <a:pt x="1541824" y="784616"/>
                    <a:pt x="1533706" y="778767"/>
                  </a:cubicBezTo>
                  <a:cubicBezTo>
                    <a:pt x="1530986" y="776729"/>
                    <a:pt x="1527739" y="764963"/>
                    <a:pt x="1535492" y="762624"/>
                  </a:cubicBezTo>
                  <a:cubicBezTo>
                    <a:pt x="1548967" y="758546"/>
                    <a:pt x="1554082" y="750859"/>
                    <a:pt x="1538252" y="753466"/>
                  </a:cubicBezTo>
                  <a:cubicBezTo>
                    <a:pt x="1525588" y="755571"/>
                    <a:pt x="1525669" y="751293"/>
                    <a:pt x="1515806" y="751694"/>
                  </a:cubicBezTo>
                  <a:cubicBezTo>
                    <a:pt x="1509433" y="751928"/>
                    <a:pt x="1488813" y="758880"/>
                    <a:pt x="1485485" y="756307"/>
                  </a:cubicBezTo>
                  <a:cubicBezTo>
                    <a:pt x="1480655" y="752630"/>
                    <a:pt x="1488976" y="743505"/>
                    <a:pt x="1479437" y="742068"/>
                  </a:cubicBezTo>
                  <a:cubicBezTo>
                    <a:pt x="1466477" y="740407"/>
                    <a:pt x="1453253" y="740791"/>
                    <a:pt x="1440471" y="743205"/>
                  </a:cubicBezTo>
                  <a:cubicBezTo>
                    <a:pt x="1432028" y="744809"/>
                    <a:pt x="1420176" y="751794"/>
                    <a:pt x="1417091" y="745644"/>
                  </a:cubicBezTo>
                  <a:cubicBezTo>
                    <a:pt x="1416320" y="744040"/>
                    <a:pt x="1431582" y="733645"/>
                    <a:pt x="1434058" y="730571"/>
                  </a:cubicBezTo>
                  <a:cubicBezTo>
                    <a:pt x="1437427" y="726359"/>
                    <a:pt x="1454353" y="708945"/>
                    <a:pt x="1438117" y="712622"/>
                  </a:cubicBezTo>
                  <a:cubicBezTo>
                    <a:pt x="1414615" y="717903"/>
                    <a:pt x="1442176" y="704834"/>
                    <a:pt x="1451146" y="702194"/>
                  </a:cubicBezTo>
                  <a:cubicBezTo>
                    <a:pt x="1486135" y="692167"/>
                    <a:pt x="1492020" y="687956"/>
                    <a:pt x="1503913" y="667834"/>
                  </a:cubicBezTo>
                  <a:cubicBezTo>
                    <a:pt x="1510813" y="656136"/>
                    <a:pt x="1539591" y="623214"/>
                    <a:pt x="1499854" y="638288"/>
                  </a:cubicBezTo>
                  <a:cubicBezTo>
                    <a:pt x="1483171" y="644672"/>
                    <a:pt x="1469046" y="651824"/>
                    <a:pt x="1451471" y="655000"/>
                  </a:cubicBezTo>
                  <a:cubicBezTo>
                    <a:pt x="1437082" y="657590"/>
                    <a:pt x="1423163" y="661715"/>
                    <a:pt x="1410069" y="667266"/>
                  </a:cubicBezTo>
                  <a:cubicBezTo>
                    <a:pt x="1395355" y="673333"/>
                    <a:pt x="1381157" y="680211"/>
                    <a:pt x="1367572" y="687855"/>
                  </a:cubicBezTo>
                  <a:cubicBezTo>
                    <a:pt x="1350727" y="697515"/>
                    <a:pt x="1360387" y="696044"/>
                    <a:pt x="1369885" y="698785"/>
                  </a:cubicBezTo>
                  <a:cubicBezTo>
                    <a:pt x="1380033" y="701693"/>
                    <a:pt x="1352188" y="706338"/>
                    <a:pt x="1349591" y="708177"/>
                  </a:cubicBezTo>
                  <a:cubicBezTo>
                    <a:pt x="1344801" y="711753"/>
                    <a:pt x="1356491" y="718939"/>
                    <a:pt x="1357709" y="721011"/>
                  </a:cubicBezTo>
                  <a:cubicBezTo>
                    <a:pt x="1361768" y="727228"/>
                    <a:pt x="1361768" y="735684"/>
                    <a:pt x="1374797" y="736921"/>
                  </a:cubicBezTo>
                  <a:cubicBezTo>
                    <a:pt x="1391033" y="738459"/>
                    <a:pt x="1394158" y="744475"/>
                    <a:pt x="1399151" y="752898"/>
                  </a:cubicBezTo>
                  <a:cubicBezTo>
                    <a:pt x="1403209" y="759582"/>
                    <a:pt x="1391033" y="763560"/>
                    <a:pt x="1384011" y="770044"/>
                  </a:cubicBezTo>
                  <a:cubicBezTo>
                    <a:pt x="1381900" y="772016"/>
                    <a:pt x="1399759" y="771648"/>
                    <a:pt x="1399719" y="775024"/>
                  </a:cubicBezTo>
                  <a:cubicBezTo>
                    <a:pt x="1399719" y="780539"/>
                    <a:pt x="1377760" y="781074"/>
                    <a:pt x="1371996" y="784717"/>
                  </a:cubicBezTo>
                  <a:cubicBezTo>
                    <a:pt x="1361970" y="791000"/>
                    <a:pt x="1364812" y="804136"/>
                    <a:pt x="1375528" y="803969"/>
                  </a:cubicBezTo>
                  <a:cubicBezTo>
                    <a:pt x="1393225" y="803735"/>
                    <a:pt x="1384254" y="807110"/>
                    <a:pt x="1382387" y="816703"/>
                  </a:cubicBezTo>
                  <a:cubicBezTo>
                    <a:pt x="1380398" y="827064"/>
                    <a:pt x="1398623" y="826496"/>
                    <a:pt x="1413925" y="823388"/>
                  </a:cubicBezTo>
                  <a:cubicBezTo>
                    <a:pt x="1430527" y="819845"/>
                    <a:pt x="1447250" y="813361"/>
                    <a:pt x="1463810" y="810520"/>
                  </a:cubicBezTo>
                  <a:cubicBezTo>
                    <a:pt x="1487109" y="806342"/>
                    <a:pt x="1470710" y="811489"/>
                    <a:pt x="1472375" y="816135"/>
                  </a:cubicBezTo>
                  <a:cubicBezTo>
                    <a:pt x="1473389" y="818909"/>
                    <a:pt x="1479275" y="818341"/>
                    <a:pt x="1477651" y="822385"/>
                  </a:cubicBezTo>
                  <a:cubicBezTo>
                    <a:pt x="1476393" y="825427"/>
                    <a:pt x="1472659" y="828535"/>
                    <a:pt x="1471603" y="831543"/>
                  </a:cubicBezTo>
                  <a:cubicBezTo>
                    <a:pt x="1467747" y="842840"/>
                    <a:pt x="1482968" y="826095"/>
                    <a:pt x="1484511" y="822151"/>
                  </a:cubicBezTo>
                  <a:cubicBezTo>
                    <a:pt x="1489219" y="809985"/>
                    <a:pt x="1502452" y="821516"/>
                    <a:pt x="1503953" y="824858"/>
                  </a:cubicBezTo>
                  <a:cubicBezTo>
                    <a:pt x="1505455" y="828201"/>
                    <a:pt x="1501599" y="830808"/>
                    <a:pt x="1496282" y="834150"/>
                  </a:cubicBezTo>
                  <a:cubicBezTo>
                    <a:pt x="1486825" y="840133"/>
                    <a:pt x="1486825" y="846651"/>
                    <a:pt x="1479031" y="852867"/>
                  </a:cubicBezTo>
                  <a:cubicBezTo>
                    <a:pt x="1472050" y="858449"/>
                    <a:pt x="1449441" y="862460"/>
                    <a:pt x="1453703" y="868476"/>
                  </a:cubicBezTo>
                  <a:cubicBezTo>
                    <a:pt x="1456910" y="873055"/>
                    <a:pt x="1472983" y="875161"/>
                    <a:pt x="1472375" y="880709"/>
                  </a:cubicBezTo>
                  <a:cubicBezTo>
                    <a:pt x="1471684" y="887394"/>
                    <a:pt x="1445829" y="891873"/>
                    <a:pt x="1439497" y="892174"/>
                  </a:cubicBezTo>
                  <a:cubicBezTo>
                    <a:pt x="1419202" y="893109"/>
                    <a:pt x="1435803" y="878035"/>
                    <a:pt x="1432881" y="870782"/>
                  </a:cubicBezTo>
                  <a:cubicBezTo>
                    <a:pt x="1431419" y="867173"/>
                    <a:pt x="1409258" y="877467"/>
                    <a:pt x="1403413" y="879105"/>
                  </a:cubicBezTo>
                  <a:cubicBezTo>
                    <a:pt x="1399638" y="880074"/>
                    <a:pt x="1374269" y="882046"/>
                    <a:pt x="1386730" y="876999"/>
                  </a:cubicBezTo>
                  <a:cubicBezTo>
                    <a:pt x="1392900" y="874526"/>
                    <a:pt x="1419730" y="868276"/>
                    <a:pt x="1418187" y="863128"/>
                  </a:cubicBezTo>
                  <a:cubicBezTo>
                    <a:pt x="1415792" y="854940"/>
                    <a:pt x="1434788" y="852867"/>
                    <a:pt x="1446600" y="848054"/>
                  </a:cubicBezTo>
                  <a:cubicBezTo>
                    <a:pt x="1461415" y="841971"/>
                    <a:pt x="1465799" y="832513"/>
                    <a:pt x="1453216" y="830674"/>
                  </a:cubicBezTo>
                  <a:cubicBezTo>
                    <a:pt x="1439862" y="828736"/>
                    <a:pt x="1433408" y="834618"/>
                    <a:pt x="1420744" y="840935"/>
                  </a:cubicBezTo>
                  <a:cubicBezTo>
                    <a:pt x="1408080" y="847252"/>
                    <a:pt x="1400449" y="842138"/>
                    <a:pt x="1414859" y="836690"/>
                  </a:cubicBezTo>
                  <a:cubicBezTo>
                    <a:pt x="1430364" y="830774"/>
                    <a:pt x="1442135" y="820781"/>
                    <a:pt x="1417457" y="828903"/>
                  </a:cubicBezTo>
                  <a:cubicBezTo>
                    <a:pt x="1398907" y="835019"/>
                    <a:pt x="1390383" y="844979"/>
                    <a:pt x="1370819" y="843743"/>
                  </a:cubicBezTo>
                  <a:cubicBezTo>
                    <a:pt x="1362336" y="843208"/>
                    <a:pt x="1348048" y="844578"/>
                    <a:pt x="1340214" y="851330"/>
                  </a:cubicBezTo>
                  <a:cubicBezTo>
                    <a:pt x="1330229" y="859987"/>
                    <a:pt x="1341960" y="866304"/>
                    <a:pt x="1331569" y="874726"/>
                  </a:cubicBezTo>
                  <a:cubicBezTo>
                    <a:pt x="1326292" y="879072"/>
                    <a:pt x="1305672" y="885255"/>
                    <a:pt x="1308757" y="890669"/>
                  </a:cubicBezTo>
                  <a:cubicBezTo>
                    <a:pt x="1312370" y="896886"/>
                    <a:pt x="1343299" y="882681"/>
                    <a:pt x="1351174" y="880642"/>
                  </a:cubicBezTo>
                  <a:cubicBezTo>
                    <a:pt x="1354299" y="879773"/>
                    <a:pt x="1383077" y="877534"/>
                    <a:pt x="1372686" y="881912"/>
                  </a:cubicBezTo>
                  <a:cubicBezTo>
                    <a:pt x="1367450" y="884085"/>
                    <a:pt x="1368059" y="886391"/>
                    <a:pt x="1366841" y="888965"/>
                  </a:cubicBezTo>
                  <a:cubicBezTo>
                    <a:pt x="1365218" y="892307"/>
                    <a:pt x="1355841" y="892976"/>
                    <a:pt x="1352351" y="894379"/>
                  </a:cubicBezTo>
                  <a:cubicBezTo>
                    <a:pt x="1345410" y="897120"/>
                    <a:pt x="1343299" y="901064"/>
                    <a:pt x="1349793" y="901733"/>
                  </a:cubicBezTo>
                  <a:cubicBezTo>
                    <a:pt x="1358723" y="902669"/>
                    <a:pt x="1350686" y="908852"/>
                    <a:pt x="1353852" y="912395"/>
                  </a:cubicBezTo>
                  <a:cubicBezTo>
                    <a:pt x="1357018" y="915938"/>
                    <a:pt x="1322355" y="925163"/>
                    <a:pt x="1317322" y="927268"/>
                  </a:cubicBezTo>
                  <a:cubicBezTo>
                    <a:pt x="1301212" y="934501"/>
                    <a:pt x="1285641" y="942513"/>
                    <a:pt x="1270684" y="951266"/>
                  </a:cubicBezTo>
                  <a:cubicBezTo>
                    <a:pt x="1235127" y="971321"/>
                    <a:pt x="1208257" y="967611"/>
                    <a:pt x="1173269" y="983320"/>
                  </a:cubicBezTo>
                  <a:cubicBezTo>
                    <a:pt x="1161376" y="988634"/>
                    <a:pt x="1153582" y="983821"/>
                    <a:pt x="1140797" y="989403"/>
                  </a:cubicBezTo>
                  <a:cubicBezTo>
                    <a:pt x="1127199" y="995219"/>
                    <a:pt x="1122856" y="991275"/>
                    <a:pt x="1118513" y="986562"/>
                  </a:cubicBezTo>
                  <a:cubicBezTo>
                    <a:pt x="1108447" y="975666"/>
                    <a:pt x="1065259" y="1010627"/>
                    <a:pt x="1054584" y="1017445"/>
                  </a:cubicBezTo>
                  <a:cubicBezTo>
                    <a:pt x="1043909" y="1024264"/>
                    <a:pt x="1026861" y="1032486"/>
                    <a:pt x="1025238" y="1040842"/>
                  </a:cubicBezTo>
                  <a:cubicBezTo>
                    <a:pt x="1023614" y="1049198"/>
                    <a:pt x="1033802" y="1045086"/>
                    <a:pt x="1043584" y="1040541"/>
                  </a:cubicBezTo>
                  <a:cubicBezTo>
                    <a:pt x="1052189" y="1036497"/>
                    <a:pt x="1053691" y="1029912"/>
                    <a:pt x="1062499" y="1025400"/>
                  </a:cubicBezTo>
                  <a:cubicBezTo>
                    <a:pt x="1080034" y="1016476"/>
                    <a:pt x="1085838" y="1010025"/>
                    <a:pt x="1100491" y="999931"/>
                  </a:cubicBezTo>
                  <a:cubicBezTo>
                    <a:pt x="1110963" y="992712"/>
                    <a:pt x="1110517" y="999931"/>
                    <a:pt x="1105849" y="1004577"/>
                  </a:cubicBezTo>
                  <a:cubicBezTo>
                    <a:pt x="1096501" y="1013173"/>
                    <a:pt x="1086171" y="1021008"/>
                    <a:pt x="1075001" y="1027974"/>
                  </a:cubicBezTo>
                  <a:cubicBezTo>
                    <a:pt x="1037090" y="1052707"/>
                    <a:pt x="1075610" y="1045320"/>
                    <a:pt x="1092008" y="1055448"/>
                  </a:cubicBezTo>
                  <a:cubicBezTo>
                    <a:pt x="1094687" y="1057119"/>
                    <a:pt x="1077842" y="1072995"/>
                    <a:pt x="1072971" y="1074399"/>
                  </a:cubicBezTo>
                  <a:cubicBezTo>
                    <a:pt x="1069602" y="1075402"/>
                    <a:pt x="1051499" y="1078878"/>
                    <a:pt x="1060226" y="1072861"/>
                  </a:cubicBezTo>
                  <a:cubicBezTo>
                    <a:pt x="1078289" y="1060461"/>
                    <a:pt x="1046385" y="1060762"/>
                    <a:pt x="1034452" y="1066177"/>
                  </a:cubicBezTo>
                  <a:cubicBezTo>
                    <a:pt x="1027511" y="1069319"/>
                    <a:pt x="1031894" y="1064071"/>
                    <a:pt x="1027470" y="1064305"/>
                  </a:cubicBezTo>
                  <a:cubicBezTo>
                    <a:pt x="1023980" y="1064506"/>
                    <a:pt x="1016552" y="1069452"/>
                    <a:pt x="1013101" y="1070689"/>
                  </a:cubicBezTo>
                  <a:cubicBezTo>
                    <a:pt x="998002" y="1075970"/>
                    <a:pt x="989519" y="1070288"/>
                    <a:pt x="975921" y="1082253"/>
                  </a:cubicBezTo>
                  <a:cubicBezTo>
                    <a:pt x="955910" y="1099834"/>
                    <a:pt x="914428" y="1119554"/>
                    <a:pt x="887679" y="1132990"/>
                  </a:cubicBezTo>
                  <a:cubicBezTo>
                    <a:pt x="880901" y="1136333"/>
                    <a:pt x="823750" y="1165445"/>
                    <a:pt x="823994" y="1155284"/>
                  </a:cubicBezTo>
                  <a:cubicBezTo>
                    <a:pt x="823994" y="1149635"/>
                    <a:pt x="835237" y="1140611"/>
                    <a:pt x="842300" y="1135430"/>
                  </a:cubicBezTo>
                  <a:cubicBezTo>
                    <a:pt x="850702" y="1129214"/>
                    <a:pt x="866856" y="1124167"/>
                    <a:pt x="850986" y="1122830"/>
                  </a:cubicBezTo>
                  <a:cubicBezTo>
                    <a:pt x="837429" y="1121693"/>
                    <a:pt x="821437" y="1124935"/>
                    <a:pt x="805363" y="1130150"/>
                  </a:cubicBezTo>
                  <a:cubicBezTo>
                    <a:pt x="802846" y="1130985"/>
                    <a:pt x="776382" y="1139909"/>
                    <a:pt x="779507" y="1142884"/>
                  </a:cubicBezTo>
                  <a:cubicBezTo>
                    <a:pt x="783566" y="1146895"/>
                    <a:pt x="707217" y="1172364"/>
                    <a:pt x="698044" y="1175004"/>
                  </a:cubicBezTo>
                  <a:cubicBezTo>
                    <a:pt x="685014" y="1178547"/>
                    <a:pt x="672594" y="1185833"/>
                    <a:pt x="659727" y="1190813"/>
                  </a:cubicBezTo>
                  <a:cubicBezTo>
                    <a:pt x="641056" y="1198133"/>
                    <a:pt x="625956" y="1200239"/>
                    <a:pt x="607894" y="1204550"/>
                  </a:cubicBezTo>
                  <a:cubicBezTo>
                    <a:pt x="578182" y="1211636"/>
                    <a:pt x="553747" y="1228749"/>
                    <a:pt x="543681" y="1246798"/>
                  </a:cubicBezTo>
                  <a:cubicBezTo>
                    <a:pt x="539906" y="1253482"/>
                    <a:pt x="520301" y="1266852"/>
                    <a:pt x="510113" y="1269526"/>
                  </a:cubicBezTo>
                  <a:cubicBezTo>
                    <a:pt x="503822" y="1271063"/>
                    <a:pt x="511006" y="1259866"/>
                    <a:pt x="509910" y="1258061"/>
                  </a:cubicBezTo>
                  <a:cubicBezTo>
                    <a:pt x="505149" y="1254990"/>
                    <a:pt x="499779" y="1252617"/>
                    <a:pt x="494039" y="1251043"/>
                  </a:cubicBezTo>
                  <a:cubicBezTo>
                    <a:pt x="483202" y="1251344"/>
                    <a:pt x="481863" y="1264947"/>
                    <a:pt x="481132" y="1268256"/>
                  </a:cubicBezTo>
                  <a:cubicBezTo>
                    <a:pt x="468022" y="1323939"/>
                    <a:pt x="416473" y="1277648"/>
                    <a:pt x="372554" y="1300008"/>
                  </a:cubicBezTo>
                  <a:cubicBezTo>
                    <a:pt x="358795" y="1307027"/>
                    <a:pt x="384731" y="1305590"/>
                    <a:pt x="385868" y="1307595"/>
                  </a:cubicBezTo>
                  <a:cubicBezTo>
                    <a:pt x="387491" y="1310135"/>
                    <a:pt x="374381" y="1315316"/>
                    <a:pt x="373691" y="1318759"/>
                  </a:cubicBezTo>
                  <a:cubicBezTo>
                    <a:pt x="372230" y="1326145"/>
                    <a:pt x="376248" y="1328786"/>
                    <a:pt x="366872" y="1338211"/>
                  </a:cubicBezTo>
                  <a:cubicBezTo>
                    <a:pt x="359200" y="1346066"/>
                    <a:pt x="356806" y="1338211"/>
                    <a:pt x="346009" y="1345331"/>
                  </a:cubicBezTo>
                  <a:cubicBezTo>
                    <a:pt x="331356" y="1354923"/>
                    <a:pt x="330990" y="1376615"/>
                    <a:pt x="312076" y="1382732"/>
                  </a:cubicBezTo>
                  <a:cubicBezTo>
                    <a:pt x="308301" y="1383935"/>
                    <a:pt x="307367" y="1381528"/>
                    <a:pt x="303633" y="1383868"/>
                  </a:cubicBezTo>
                  <a:cubicBezTo>
                    <a:pt x="297378" y="1388230"/>
                    <a:pt x="291777" y="1393186"/>
                    <a:pt x="286951" y="1398641"/>
                  </a:cubicBezTo>
                  <a:cubicBezTo>
                    <a:pt x="276560" y="1409337"/>
                    <a:pt x="270715" y="1415888"/>
                    <a:pt x="272014" y="1424210"/>
                  </a:cubicBezTo>
                  <a:cubicBezTo>
                    <a:pt x="273394" y="1434237"/>
                    <a:pt x="232195" y="1454024"/>
                    <a:pt x="256305" y="1428087"/>
                  </a:cubicBezTo>
                  <a:cubicBezTo>
                    <a:pt x="269335" y="1414049"/>
                    <a:pt x="278183" y="1399677"/>
                    <a:pt x="292349" y="1385773"/>
                  </a:cubicBezTo>
                  <a:cubicBezTo>
                    <a:pt x="305663" y="1372705"/>
                    <a:pt x="323278" y="1361608"/>
                    <a:pt x="335212" y="1347904"/>
                  </a:cubicBezTo>
                  <a:cubicBezTo>
                    <a:pt x="351448" y="1329220"/>
                    <a:pt x="315445" y="1350912"/>
                    <a:pt x="307043" y="1356628"/>
                  </a:cubicBezTo>
                  <a:cubicBezTo>
                    <a:pt x="285571" y="1371167"/>
                    <a:pt x="272298" y="1390586"/>
                    <a:pt x="251800" y="1406228"/>
                  </a:cubicBezTo>
                  <a:cubicBezTo>
                    <a:pt x="236822" y="1417659"/>
                    <a:pt x="253423" y="1416255"/>
                    <a:pt x="237025" y="1424578"/>
                  </a:cubicBezTo>
                  <a:cubicBezTo>
                    <a:pt x="227852" y="1429291"/>
                    <a:pt x="229516" y="1431831"/>
                    <a:pt x="223103" y="1436477"/>
                  </a:cubicBezTo>
                  <a:cubicBezTo>
                    <a:pt x="213767" y="1443161"/>
                    <a:pt x="219572" y="1432265"/>
                    <a:pt x="215472" y="1433134"/>
                  </a:cubicBezTo>
                  <a:cubicBezTo>
                    <a:pt x="195664" y="1436711"/>
                    <a:pt x="202646" y="1444331"/>
                    <a:pt x="191118" y="1453188"/>
                  </a:cubicBezTo>
                  <a:cubicBezTo>
                    <a:pt x="181742" y="1460207"/>
                    <a:pt x="171067" y="1465589"/>
                    <a:pt x="165384" y="1474078"/>
                  </a:cubicBezTo>
                  <a:cubicBezTo>
                    <a:pt x="157835" y="1485442"/>
                    <a:pt x="177845" y="1477822"/>
                    <a:pt x="185679" y="1477420"/>
                  </a:cubicBezTo>
                  <a:cubicBezTo>
                    <a:pt x="205040" y="1476284"/>
                    <a:pt x="155196" y="1494132"/>
                    <a:pt x="153938" y="1494801"/>
                  </a:cubicBezTo>
                  <a:cubicBezTo>
                    <a:pt x="132507" y="1504460"/>
                    <a:pt x="116798" y="1515423"/>
                    <a:pt x="93987" y="1522977"/>
                  </a:cubicBezTo>
                  <a:cubicBezTo>
                    <a:pt x="79902" y="1527623"/>
                    <a:pt x="67279" y="1528124"/>
                    <a:pt x="54899" y="1531567"/>
                  </a:cubicBezTo>
                  <a:cubicBezTo>
                    <a:pt x="39150" y="1535945"/>
                    <a:pt x="14796" y="1555999"/>
                    <a:pt x="-60" y="1564456"/>
                  </a:cubicBezTo>
                  <a:lnTo>
                    <a:pt x="172609" y="1746514"/>
                  </a:lnTo>
                  <a:cubicBezTo>
                    <a:pt x="180159" y="1754469"/>
                    <a:pt x="187696" y="1762413"/>
                    <a:pt x="195218" y="1770345"/>
                  </a:cubicBezTo>
                  <a:cubicBezTo>
                    <a:pt x="199764" y="1775158"/>
                    <a:pt x="237756" y="1740598"/>
                    <a:pt x="241246" y="1738325"/>
                  </a:cubicBezTo>
                  <a:cubicBezTo>
                    <a:pt x="253626" y="1730036"/>
                    <a:pt x="256427" y="1738091"/>
                    <a:pt x="263855" y="1738526"/>
                  </a:cubicBezTo>
                  <a:cubicBezTo>
                    <a:pt x="277331" y="1739328"/>
                    <a:pt x="295637" y="1733211"/>
                    <a:pt x="309924" y="1733479"/>
                  </a:cubicBezTo>
                  <a:cubicBezTo>
                    <a:pt x="325470" y="1733779"/>
                    <a:pt x="328799" y="1728198"/>
                    <a:pt x="339271" y="1717201"/>
                  </a:cubicBezTo>
                  <a:cubicBezTo>
                    <a:pt x="348282" y="1707743"/>
                    <a:pt x="343533" y="1704133"/>
                    <a:pt x="348931" y="1696646"/>
                  </a:cubicBezTo>
                  <a:cubicBezTo>
                    <a:pt x="353680" y="1689961"/>
                    <a:pt x="365167" y="1683276"/>
                    <a:pt x="373650" y="1679332"/>
                  </a:cubicBezTo>
                  <a:cubicBezTo>
                    <a:pt x="385827" y="1674051"/>
                    <a:pt x="385827" y="1679332"/>
                    <a:pt x="394595" y="1679332"/>
                  </a:cubicBezTo>
                  <a:cubicBezTo>
                    <a:pt x="416878" y="1679332"/>
                    <a:pt x="443302" y="1672213"/>
                    <a:pt x="465789" y="1672882"/>
                  </a:cubicBezTo>
                  <a:cubicBezTo>
                    <a:pt x="488276" y="1673550"/>
                    <a:pt x="506622" y="1684246"/>
                    <a:pt x="532356" y="1679566"/>
                  </a:cubicBezTo>
                  <a:cubicBezTo>
                    <a:pt x="547375" y="1676826"/>
                    <a:pt x="590359" y="1656571"/>
                    <a:pt x="594986" y="1667901"/>
                  </a:cubicBezTo>
                  <a:cubicBezTo>
                    <a:pt x="597340" y="1673584"/>
                    <a:pt x="597381" y="1675322"/>
                    <a:pt x="607853" y="1674954"/>
                  </a:cubicBezTo>
                  <a:cubicBezTo>
                    <a:pt x="623277" y="1674419"/>
                    <a:pt x="604281" y="1692067"/>
                    <a:pt x="598802" y="1699387"/>
                  </a:cubicBezTo>
                  <a:cubicBezTo>
                    <a:pt x="602536" y="1702361"/>
                    <a:pt x="625226" y="1695576"/>
                    <a:pt x="617514" y="1703230"/>
                  </a:cubicBezTo>
                  <a:cubicBezTo>
                    <a:pt x="608422" y="1712255"/>
                    <a:pt x="617717" y="1707709"/>
                    <a:pt x="621248" y="1713257"/>
                  </a:cubicBezTo>
                  <a:cubicBezTo>
                    <a:pt x="626849" y="1722215"/>
                    <a:pt x="645358" y="1712990"/>
                    <a:pt x="652502" y="1702395"/>
                  </a:cubicBezTo>
                  <a:cubicBezTo>
                    <a:pt x="660620" y="1690162"/>
                    <a:pt x="667764" y="1711352"/>
                    <a:pt x="669712" y="1711386"/>
                  </a:cubicBezTo>
                  <a:cubicBezTo>
                    <a:pt x="679738" y="1711386"/>
                    <a:pt x="680874" y="1701359"/>
                    <a:pt x="692118" y="1699888"/>
                  </a:cubicBezTo>
                  <a:cubicBezTo>
                    <a:pt x="699302" y="1698986"/>
                    <a:pt x="715660" y="1696345"/>
                    <a:pt x="720530" y="1698351"/>
                  </a:cubicBezTo>
                  <a:cubicBezTo>
                    <a:pt x="725401" y="1700356"/>
                    <a:pt x="707663" y="1709480"/>
                    <a:pt x="716877" y="1713124"/>
                  </a:cubicBezTo>
                  <a:cubicBezTo>
                    <a:pt x="720936" y="1714694"/>
                    <a:pt x="723737" y="1711453"/>
                    <a:pt x="728364" y="1711352"/>
                  </a:cubicBezTo>
                  <a:cubicBezTo>
                    <a:pt x="734412" y="1711352"/>
                    <a:pt x="733032" y="1717235"/>
                    <a:pt x="738512" y="1717135"/>
                  </a:cubicBezTo>
                  <a:cubicBezTo>
                    <a:pt x="750502" y="1715761"/>
                    <a:pt x="761766" y="1711596"/>
                    <a:pt x="770983" y="1705135"/>
                  </a:cubicBezTo>
                  <a:cubicBezTo>
                    <a:pt x="782714" y="1695509"/>
                    <a:pt x="795053" y="1702127"/>
                    <a:pt x="806865" y="1698752"/>
                  </a:cubicBezTo>
                  <a:cubicBezTo>
                    <a:pt x="818676" y="1695376"/>
                    <a:pt x="824684" y="1685382"/>
                    <a:pt x="833492" y="1688725"/>
                  </a:cubicBezTo>
                  <a:cubicBezTo>
                    <a:pt x="846846" y="1693738"/>
                    <a:pt x="845669" y="1693437"/>
                    <a:pt x="863366" y="1682574"/>
                  </a:cubicBezTo>
                  <a:cubicBezTo>
                    <a:pt x="872758" y="1679159"/>
                    <a:pt x="882394" y="1676224"/>
                    <a:pt x="892225" y="1673784"/>
                  </a:cubicBezTo>
                  <a:cubicBezTo>
                    <a:pt x="896852" y="1673416"/>
                    <a:pt x="913454" y="1680469"/>
                    <a:pt x="916254" y="1678798"/>
                  </a:cubicBezTo>
                  <a:lnTo>
                    <a:pt x="924697" y="1674219"/>
                  </a:lnTo>
                  <a:cubicBezTo>
                    <a:pt x="942151" y="1664726"/>
                    <a:pt x="959657" y="1655301"/>
                    <a:pt x="977220" y="1645942"/>
                  </a:cubicBezTo>
                  <a:cubicBezTo>
                    <a:pt x="1045464" y="1609554"/>
                    <a:pt x="1114251" y="1574125"/>
                    <a:pt x="1183578" y="1539655"/>
                  </a:cubicBezTo>
                  <a:cubicBezTo>
                    <a:pt x="1339066" y="1462336"/>
                    <a:pt x="1497065" y="1389918"/>
                    <a:pt x="1657586" y="1322402"/>
                  </a:cubicBezTo>
                  <a:cubicBezTo>
                    <a:pt x="1675961" y="1314671"/>
                    <a:pt x="1694372" y="1307017"/>
                    <a:pt x="1712828" y="1299440"/>
                  </a:cubicBezTo>
                  <a:lnTo>
                    <a:pt x="1721596" y="1295797"/>
                  </a:lnTo>
                  <a:cubicBezTo>
                    <a:pt x="1721060" y="1293591"/>
                    <a:pt x="1720719" y="1291358"/>
                    <a:pt x="1720581" y="1289112"/>
                  </a:cubicBezTo>
                  <a:cubicBezTo>
                    <a:pt x="1722894" y="1277982"/>
                    <a:pt x="1739496" y="1291084"/>
                    <a:pt x="1741688" y="1291552"/>
                  </a:cubicBezTo>
                  <a:cubicBezTo>
                    <a:pt x="1750333" y="1293357"/>
                    <a:pt x="1771805" y="1288845"/>
                    <a:pt x="1779599" y="1282728"/>
                  </a:cubicBezTo>
                  <a:cubicBezTo>
                    <a:pt x="1794495" y="1271063"/>
                    <a:pt x="1801842" y="1279185"/>
                    <a:pt x="1817428" y="1273737"/>
                  </a:cubicBezTo>
                  <a:cubicBezTo>
                    <a:pt x="1830052" y="1269325"/>
                    <a:pt x="1837723" y="1273136"/>
                    <a:pt x="1849575" y="1269091"/>
                  </a:cubicBezTo>
                  <a:cubicBezTo>
                    <a:pt x="1856678" y="1266685"/>
                    <a:pt x="1856557" y="1263175"/>
                    <a:pt x="1861509" y="1259967"/>
                  </a:cubicBezTo>
                  <a:cubicBezTo>
                    <a:pt x="1867719" y="1255923"/>
                    <a:pt x="1877745" y="1253917"/>
                    <a:pt x="1884929" y="1252380"/>
                  </a:cubicBezTo>
                  <a:cubicBezTo>
                    <a:pt x="1904980" y="1248101"/>
                    <a:pt x="1906360" y="1247333"/>
                    <a:pt x="1914519" y="1234264"/>
                  </a:cubicBezTo>
                  <a:cubicBezTo>
                    <a:pt x="1919390" y="1226476"/>
                    <a:pt x="1923408" y="1218221"/>
                    <a:pt x="1937005" y="1213374"/>
                  </a:cubicBezTo>
                  <a:cubicBezTo>
                    <a:pt x="1954865" y="1206957"/>
                    <a:pt x="1995739" y="1193320"/>
                    <a:pt x="2005156" y="1204584"/>
                  </a:cubicBezTo>
                  <a:cubicBezTo>
                    <a:pt x="2012949" y="1213876"/>
                    <a:pt x="2030484" y="1197899"/>
                    <a:pt x="2040915" y="1202378"/>
                  </a:cubicBezTo>
                  <a:cubicBezTo>
                    <a:pt x="2052037" y="1207024"/>
                    <a:pt x="2063848" y="1220259"/>
                    <a:pt x="2079029" y="1220025"/>
                  </a:cubicBezTo>
                  <a:cubicBezTo>
                    <a:pt x="2099324" y="1219725"/>
                    <a:pt x="2118807" y="1210299"/>
                    <a:pt x="2141172" y="1206923"/>
                  </a:cubicBezTo>
                  <a:cubicBezTo>
                    <a:pt x="2158788" y="1204216"/>
                    <a:pt x="2180463" y="1189443"/>
                    <a:pt x="2196821" y="1193086"/>
                  </a:cubicBezTo>
                  <a:cubicBezTo>
                    <a:pt x="2202219" y="1194256"/>
                    <a:pt x="2236680" y="1205319"/>
                    <a:pt x="2228481" y="1210500"/>
                  </a:cubicBezTo>
                  <a:cubicBezTo>
                    <a:pt x="2213503" y="1219892"/>
                    <a:pt x="2196739" y="1212706"/>
                    <a:pt x="2182776" y="1218689"/>
                  </a:cubicBezTo>
                  <a:cubicBezTo>
                    <a:pt x="2181112" y="1219357"/>
                    <a:pt x="2178961" y="1237072"/>
                    <a:pt x="2179732" y="1238743"/>
                  </a:cubicBezTo>
                  <a:cubicBezTo>
                    <a:pt x="2181721" y="1242586"/>
                    <a:pt x="2185212" y="1268824"/>
                    <a:pt x="2170112" y="1270696"/>
                  </a:cubicBezTo>
                  <a:cubicBezTo>
                    <a:pt x="2170234" y="1276010"/>
                    <a:pt x="2174979" y="1280479"/>
                    <a:pt x="2181356" y="1281291"/>
                  </a:cubicBezTo>
                  <a:cubicBezTo>
                    <a:pt x="2196861" y="1267186"/>
                    <a:pt x="2207577" y="1257527"/>
                    <a:pt x="2234123" y="1254251"/>
                  </a:cubicBezTo>
                  <a:cubicBezTo>
                    <a:pt x="2246300" y="1252747"/>
                    <a:pt x="2251211" y="1248870"/>
                    <a:pt x="2258476" y="1242185"/>
                  </a:cubicBezTo>
                  <a:cubicBezTo>
                    <a:pt x="2260060" y="1240782"/>
                    <a:pt x="2272642" y="1231724"/>
                    <a:pt x="2270248" y="1238843"/>
                  </a:cubicBezTo>
                  <a:cubicBezTo>
                    <a:pt x="2278366" y="1232961"/>
                    <a:pt x="2277919" y="1230520"/>
                    <a:pt x="2272399" y="1226209"/>
                  </a:cubicBezTo>
                  <a:cubicBezTo>
                    <a:pt x="2267000" y="1228549"/>
                    <a:pt x="2258517" y="1233128"/>
                    <a:pt x="2252753" y="1231724"/>
                  </a:cubicBezTo>
                  <a:cubicBezTo>
                    <a:pt x="2239278" y="1228381"/>
                    <a:pt x="2260019" y="1216583"/>
                    <a:pt x="2268218" y="1212137"/>
                  </a:cubicBezTo>
                  <a:cubicBezTo>
                    <a:pt x="2284900" y="1203013"/>
                    <a:pt x="2303653" y="1199069"/>
                    <a:pt x="2320538" y="1191047"/>
                  </a:cubicBezTo>
                  <a:cubicBezTo>
                    <a:pt x="2326627" y="1188173"/>
                    <a:pt x="2334542" y="1182424"/>
                    <a:pt x="2341888" y="1181355"/>
                  </a:cubicBezTo>
                  <a:cubicBezTo>
                    <a:pt x="2350980" y="1180051"/>
                    <a:pt x="2358124" y="1169422"/>
                    <a:pt x="2364253" y="1163707"/>
                  </a:cubicBezTo>
                  <a:cubicBezTo>
                    <a:pt x="2380002" y="1149335"/>
                    <a:pt x="2402083" y="1144889"/>
                    <a:pt x="2426234" y="1137168"/>
                  </a:cubicBezTo>
                  <a:cubicBezTo>
                    <a:pt x="2441171" y="1132355"/>
                    <a:pt x="2475754" y="1125437"/>
                    <a:pt x="2486591" y="1117114"/>
                  </a:cubicBezTo>
                  <a:cubicBezTo>
                    <a:pt x="2497428" y="1108792"/>
                    <a:pt x="2508753" y="1099166"/>
                    <a:pt x="2512284" y="1089907"/>
                  </a:cubicBezTo>
                  <a:cubicBezTo>
                    <a:pt x="2515816" y="1080649"/>
                    <a:pt x="2515450" y="1071491"/>
                    <a:pt x="2520767" y="1061731"/>
                  </a:cubicBezTo>
                  <a:cubicBezTo>
                    <a:pt x="2526085" y="1051972"/>
                    <a:pt x="2529779" y="1047727"/>
                    <a:pt x="2545933" y="1046357"/>
                  </a:cubicBezTo>
                  <a:cubicBezTo>
                    <a:pt x="2556324" y="1045488"/>
                    <a:pt x="2582464" y="1034792"/>
                    <a:pt x="2584696" y="1042680"/>
                  </a:cubicBezTo>
                  <a:cubicBezTo>
                    <a:pt x="2586275" y="1049412"/>
                    <a:pt x="2590001" y="1055675"/>
                    <a:pt x="2595493" y="1060829"/>
                  </a:cubicBezTo>
                  <a:cubicBezTo>
                    <a:pt x="2600916" y="1065448"/>
                    <a:pt x="2607240" y="1069292"/>
                    <a:pt x="2614205" y="1072193"/>
                  </a:cubicBezTo>
                  <a:cubicBezTo>
                    <a:pt x="2629751" y="1078878"/>
                    <a:pt x="2628330" y="1076772"/>
                    <a:pt x="2645013" y="1067346"/>
                  </a:cubicBezTo>
                  <a:cubicBezTo>
                    <a:pt x="2661695" y="1057921"/>
                    <a:pt x="2677200" y="1054311"/>
                    <a:pt x="2687267" y="1040875"/>
                  </a:cubicBezTo>
                  <a:cubicBezTo>
                    <a:pt x="2688647" y="1039037"/>
                    <a:pt x="2690879" y="1032853"/>
                    <a:pt x="2695912" y="1035561"/>
                  </a:cubicBezTo>
                  <a:cubicBezTo>
                    <a:pt x="2703178" y="1039505"/>
                    <a:pt x="2692340" y="1041911"/>
                    <a:pt x="2691610" y="1045588"/>
                  </a:cubicBezTo>
                  <a:cubicBezTo>
                    <a:pt x="2690636" y="1050468"/>
                    <a:pt x="2731388" y="1040708"/>
                    <a:pt x="2731469" y="1040240"/>
                  </a:cubicBezTo>
                  <a:cubicBezTo>
                    <a:pt x="2731022" y="1044719"/>
                    <a:pt x="2698997" y="1051938"/>
                    <a:pt x="2693152" y="1054077"/>
                  </a:cubicBezTo>
                  <a:cubicBezTo>
                    <a:pt x="2677809" y="1059592"/>
                    <a:pt x="2664739" y="1073530"/>
                    <a:pt x="2659828" y="1082354"/>
                  </a:cubicBezTo>
                  <a:cubicBezTo>
                    <a:pt x="2654917" y="1091178"/>
                    <a:pt x="2671640" y="1094420"/>
                    <a:pt x="2684507" y="1091378"/>
                  </a:cubicBezTo>
                  <a:cubicBezTo>
                    <a:pt x="2708333" y="1085729"/>
                    <a:pt x="2711986" y="1070722"/>
                    <a:pt x="2723879" y="1060161"/>
                  </a:cubicBezTo>
                  <a:cubicBezTo>
                    <a:pt x="2730982" y="1053910"/>
                    <a:pt x="2756959" y="1046791"/>
                    <a:pt x="2767634" y="1042045"/>
                  </a:cubicBezTo>
                  <a:cubicBezTo>
                    <a:pt x="2774007" y="1039104"/>
                    <a:pt x="2810213" y="1024999"/>
                    <a:pt x="2810213" y="1020453"/>
                  </a:cubicBezTo>
                  <a:cubicBezTo>
                    <a:pt x="2810213" y="1018147"/>
                    <a:pt x="2802095" y="1017779"/>
                    <a:pt x="2805342" y="1014638"/>
                  </a:cubicBezTo>
                  <a:cubicBezTo>
                    <a:pt x="2808590" y="1011496"/>
                    <a:pt x="2817519" y="1008688"/>
                    <a:pt x="2822674" y="1006649"/>
                  </a:cubicBezTo>
                  <a:cubicBezTo>
                    <a:pt x="2829895" y="1004266"/>
                    <a:pt x="2836714" y="1001131"/>
                    <a:pt x="2842969" y="997324"/>
                  </a:cubicBezTo>
                  <a:cubicBezTo>
                    <a:pt x="2853157" y="990038"/>
                    <a:pt x="2835419" y="991575"/>
                    <a:pt x="2828681" y="993982"/>
                  </a:cubicBezTo>
                  <a:close/>
                  <a:moveTo>
                    <a:pt x="781861" y="1236637"/>
                  </a:moveTo>
                  <a:cubicBezTo>
                    <a:pt x="776585" y="1247099"/>
                    <a:pt x="771430" y="1258128"/>
                    <a:pt x="754342" y="1266050"/>
                  </a:cubicBezTo>
                  <a:cubicBezTo>
                    <a:pt x="740866" y="1272266"/>
                    <a:pt x="713752" y="1285736"/>
                    <a:pt x="736645" y="1285001"/>
                  </a:cubicBezTo>
                  <a:cubicBezTo>
                    <a:pt x="750689" y="1284533"/>
                    <a:pt x="720165" y="1304186"/>
                    <a:pt x="715984" y="1308397"/>
                  </a:cubicBezTo>
                  <a:cubicBezTo>
                    <a:pt x="714604" y="1309667"/>
                    <a:pt x="691387" y="1333231"/>
                    <a:pt x="695365" y="1324240"/>
                  </a:cubicBezTo>
                  <a:cubicBezTo>
                    <a:pt x="698490" y="1317188"/>
                    <a:pt x="704416" y="1309835"/>
                    <a:pt x="706973" y="1302849"/>
                  </a:cubicBezTo>
                  <a:cubicBezTo>
                    <a:pt x="711276" y="1290917"/>
                    <a:pt x="692889" y="1302047"/>
                    <a:pt x="686476" y="1308832"/>
                  </a:cubicBezTo>
                  <a:cubicBezTo>
                    <a:pt x="678845" y="1316887"/>
                    <a:pt x="680752" y="1326179"/>
                    <a:pt x="673933" y="1332529"/>
                  </a:cubicBezTo>
                  <a:cubicBezTo>
                    <a:pt x="670159" y="1335872"/>
                    <a:pt x="631111" y="1358332"/>
                    <a:pt x="632288" y="1350244"/>
                  </a:cubicBezTo>
                  <a:cubicBezTo>
                    <a:pt x="634399" y="1348305"/>
                    <a:pt x="636591" y="1346367"/>
                    <a:pt x="638864" y="1344462"/>
                  </a:cubicBezTo>
                  <a:cubicBezTo>
                    <a:pt x="641137" y="1341119"/>
                    <a:pt x="638864" y="1338713"/>
                    <a:pt x="640934" y="1335203"/>
                  </a:cubicBezTo>
                  <a:cubicBezTo>
                    <a:pt x="645521" y="1327783"/>
                    <a:pt x="654044" y="1324574"/>
                    <a:pt x="643247" y="1322770"/>
                  </a:cubicBezTo>
                  <a:cubicBezTo>
                    <a:pt x="629488" y="1320497"/>
                    <a:pt x="668332" y="1306994"/>
                    <a:pt x="671417" y="1301980"/>
                  </a:cubicBezTo>
                  <a:cubicBezTo>
                    <a:pt x="677749" y="1291686"/>
                    <a:pt x="634886" y="1306827"/>
                    <a:pt x="628432" y="1314213"/>
                  </a:cubicBezTo>
                  <a:cubicBezTo>
                    <a:pt x="622149" y="1321640"/>
                    <a:pt x="614847" y="1328448"/>
                    <a:pt x="606676" y="1334501"/>
                  </a:cubicBezTo>
                  <a:cubicBezTo>
                    <a:pt x="602617" y="1337509"/>
                    <a:pt x="576356" y="1353553"/>
                    <a:pt x="572378" y="1350912"/>
                  </a:cubicBezTo>
                  <a:cubicBezTo>
                    <a:pt x="573190" y="1351414"/>
                    <a:pt x="690088" y="1258830"/>
                    <a:pt x="702752" y="1252981"/>
                  </a:cubicBezTo>
                  <a:cubicBezTo>
                    <a:pt x="735467" y="1236470"/>
                    <a:pt x="677992" y="1285068"/>
                    <a:pt x="725158" y="1264813"/>
                  </a:cubicBezTo>
                  <a:cubicBezTo>
                    <a:pt x="744316" y="1256591"/>
                    <a:pt x="752231" y="1248101"/>
                    <a:pt x="761688" y="1236537"/>
                  </a:cubicBezTo>
                  <a:cubicBezTo>
                    <a:pt x="771917" y="1224137"/>
                    <a:pt x="787869" y="1224805"/>
                    <a:pt x="781780" y="1236804"/>
                  </a:cubicBezTo>
                  <a:cubicBezTo>
                    <a:pt x="771917" y="1256290"/>
                    <a:pt x="791847" y="1216984"/>
                    <a:pt x="781861" y="1236637"/>
                  </a:cubicBezTo>
                  <a:close/>
                  <a:moveTo>
                    <a:pt x="1030393" y="1254385"/>
                  </a:moveTo>
                  <a:cubicBezTo>
                    <a:pt x="1023955" y="1263630"/>
                    <a:pt x="1015009" y="1271521"/>
                    <a:pt x="1004253" y="1277447"/>
                  </a:cubicBezTo>
                  <a:cubicBezTo>
                    <a:pt x="987246" y="1287207"/>
                    <a:pt x="996663" y="1288109"/>
                    <a:pt x="990290" y="1297501"/>
                  </a:cubicBezTo>
                  <a:cubicBezTo>
                    <a:pt x="981401" y="1310570"/>
                    <a:pt x="925346" y="1334067"/>
                    <a:pt x="907162" y="1339949"/>
                  </a:cubicBezTo>
                  <a:cubicBezTo>
                    <a:pt x="892631" y="1344629"/>
                    <a:pt x="895513" y="1340885"/>
                    <a:pt x="905904" y="1334836"/>
                  </a:cubicBezTo>
                  <a:cubicBezTo>
                    <a:pt x="921531" y="1325744"/>
                    <a:pt x="920638" y="1324307"/>
                    <a:pt x="923642" y="1314347"/>
                  </a:cubicBezTo>
                  <a:cubicBezTo>
                    <a:pt x="925996" y="1306726"/>
                    <a:pt x="946737" y="1295396"/>
                    <a:pt x="945154" y="1290649"/>
                  </a:cubicBezTo>
                  <a:cubicBezTo>
                    <a:pt x="942516" y="1282628"/>
                    <a:pt x="912682" y="1293658"/>
                    <a:pt x="911911" y="1289146"/>
                  </a:cubicBezTo>
                  <a:cubicBezTo>
                    <a:pt x="910003" y="1276578"/>
                    <a:pt x="961431" y="1267153"/>
                    <a:pt x="970076" y="1267387"/>
                  </a:cubicBezTo>
                  <a:cubicBezTo>
                    <a:pt x="1007135" y="1268055"/>
                    <a:pt x="1017363" y="1247767"/>
                    <a:pt x="1039647" y="1228281"/>
                  </a:cubicBezTo>
                  <a:cubicBezTo>
                    <a:pt x="1043381" y="1224939"/>
                    <a:pt x="1083849" y="1190646"/>
                    <a:pt x="1088355" y="1197197"/>
                  </a:cubicBezTo>
                  <a:cubicBezTo>
                    <a:pt x="1095012" y="1206756"/>
                    <a:pt x="1039647" y="1242319"/>
                    <a:pt x="1030271" y="1254385"/>
                  </a:cubicBezTo>
                  <a:cubicBezTo>
                    <a:pt x="1015537" y="1273503"/>
                    <a:pt x="1044924" y="1235434"/>
                    <a:pt x="1030393" y="1254385"/>
                  </a:cubicBezTo>
                  <a:close/>
                  <a:moveTo>
                    <a:pt x="1658722" y="1284901"/>
                  </a:moveTo>
                  <a:cubicBezTo>
                    <a:pt x="1650239" y="1289012"/>
                    <a:pt x="1646302" y="1280221"/>
                    <a:pt x="1644191" y="1277848"/>
                  </a:cubicBezTo>
                  <a:cubicBezTo>
                    <a:pt x="1636479" y="1269125"/>
                    <a:pt x="1626859" y="1268022"/>
                    <a:pt x="1608431" y="1269225"/>
                  </a:cubicBezTo>
                  <a:cubicBezTo>
                    <a:pt x="1588948" y="1270462"/>
                    <a:pt x="1533259" y="1264746"/>
                    <a:pt x="1553189" y="1243923"/>
                  </a:cubicBezTo>
                  <a:cubicBezTo>
                    <a:pt x="1576974" y="1219190"/>
                    <a:pt x="1607376" y="1240748"/>
                    <a:pt x="1620121" y="1247266"/>
                  </a:cubicBezTo>
                  <a:cubicBezTo>
                    <a:pt x="1628239" y="1251344"/>
                    <a:pt x="1684821" y="1272099"/>
                    <a:pt x="1658722" y="1284800"/>
                  </a:cubicBezTo>
                  <a:cubicBezTo>
                    <a:pt x="1644435" y="1291819"/>
                    <a:pt x="1670168" y="1279286"/>
                    <a:pt x="1658560" y="128496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607713A0-A708-498C-BDE7-75645F55333A}"/>
                </a:ext>
              </a:extLst>
            </p:cNvPr>
            <p:cNvSpPr/>
            <p:nvPr/>
          </p:nvSpPr>
          <p:spPr>
            <a:xfrm>
              <a:off x="1855872" y="4330062"/>
              <a:ext cx="1764396" cy="853808"/>
            </a:xfrm>
            <a:custGeom>
              <a:avLst/>
              <a:gdLst>
                <a:gd name="connsiteX0" fmla="*/ 1718592 w 1764396"/>
                <a:gd name="connsiteY0" fmla="*/ 1121 h 853808"/>
                <a:gd name="connsiteX1" fmla="*/ 1668342 w 1764396"/>
                <a:gd name="connsiteY1" fmla="*/ 8274 h 853808"/>
                <a:gd name="connsiteX2" fmla="*/ 1648493 w 1764396"/>
                <a:gd name="connsiteY2" fmla="*/ 41430 h 853808"/>
                <a:gd name="connsiteX3" fmla="*/ 1598162 w 1764396"/>
                <a:gd name="connsiteY3" fmla="*/ 86184 h 853808"/>
                <a:gd name="connsiteX4" fmla="*/ 1544746 w 1764396"/>
                <a:gd name="connsiteY4" fmla="*/ 103164 h 853808"/>
                <a:gd name="connsiteX5" fmla="*/ 1507809 w 1764396"/>
                <a:gd name="connsiteY5" fmla="*/ 116934 h 853808"/>
                <a:gd name="connsiteX6" fmla="*/ 1484876 w 1764396"/>
                <a:gd name="connsiteY6" fmla="*/ 138158 h 853808"/>
                <a:gd name="connsiteX7" fmla="*/ 1484389 w 1764396"/>
                <a:gd name="connsiteY7" fmla="*/ 149823 h 853808"/>
                <a:gd name="connsiteX8" fmla="*/ 1407268 w 1764396"/>
                <a:gd name="connsiteY8" fmla="*/ 186990 h 853808"/>
                <a:gd name="connsiteX9" fmla="*/ 1334491 w 1764396"/>
                <a:gd name="connsiteY9" fmla="*/ 253202 h 853808"/>
                <a:gd name="connsiteX10" fmla="*/ 1283186 w 1764396"/>
                <a:gd name="connsiteY10" fmla="*/ 255809 h 853808"/>
                <a:gd name="connsiteX11" fmla="*/ 1298123 w 1764396"/>
                <a:gd name="connsiteY11" fmla="*/ 246852 h 853808"/>
                <a:gd name="connsiteX12" fmla="*/ 1316023 w 1764396"/>
                <a:gd name="connsiteY12" fmla="*/ 241938 h 853808"/>
                <a:gd name="connsiteX13" fmla="*/ 1283145 w 1764396"/>
                <a:gd name="connsiteY13" fmla="*/ 215199 h 853808"/>
                <a:gd name="connsiteX14" fmla="*/ 1256802 w 1764396"/>
                <a:gd name="connsiteY14" fmla="*/ 231243 h 853808"/>
                <a:gd name="connsiteX15" fmla="*/ 1256802 w 1764396"/>
                <a:gd name="connsiteY15" fmla="*/ 215400 h 853808"/>
                <a:gd name="connsiteX16" fmla="*/ 1243327 w 1764396"/>
                <a:gd name="connsiteY16" fmla="*/ 195112 h 853808"/>
                <a:gd name="connsiteX17" fmla="*/ 1204644 w 1764396"/>
                <a:gd name="connsiteY17" fmla="*/ 204370 h 853808"/>
                <a:gd name="connsiteX18" fmla="*/ 1200058 w 1764396"/>
                <a:gd name="connsiteY18" fmla="*/ 214899 h 853808"/>
                <a:gd name="connsiteX19" fmla="*/ 1183051 w 1764396"/>
                <a:gd name="connsiteY19" fmla="*/ 226898 h 853808"/>
                <a:gd name="connsiteX20" fmla="*/ 1178789 w 1764396"/>
                <a:gd name="connsiteY20" fmla="*/ 258416 h 853808"/>
                <a:gd name="connsiteX21" fmla="*/ 1193442 w 1764396"/>
                <a:gd name="connsiteY21" fmla="*/ 281812 h 853808"/>
                <a:gd name="connsiteX22" fmla="*/ 1170671 w 1764396"/>
                <a:gd name="connsiteY22" fmla="*/ 304875 h 853808"/>
                <a:gd name="connsiteX23" fmla="*/ 1139579 w 1764396"/>
                <a:gd name="connsiteY23" fmla="*/ 258750 h 853808"/>
                <a:gd name="connsiteX24" fmla="*/ 1137509 w 1764396"/>
                <a:gd name="connsiteY24" fmla="*/ 249659 h 853808"/>
                <a:gd name="connsiteX25" fmla="*/ 1127605 w 1764396"/>
                <a:gd name="connsiteY25" fmla="*/ 249893 h 853808"/>
                <a:gd name="connsiteX26" fmla="*/ 1143841 w 1764396"/>
                <a:gd name="connsiteY26" fmla="*/ 228335 h 853808"/>
                <a:gd name="connsiteX27" fmla="*/ 1190722 w 1764396"/>
                <a:gd name="connsiteY27" fmla="*/ 201362 h 853808"/>
                <a:gd name="connsiteX28" fmla="*/ 1218567 w 1764396"/>
                <a:gd name="connsiteY28" fmla="*/ 189363 h 853808"/>
                <a:gd name="connsiteX29" fmla="*/ 1228024 w 1764396"/>
                <a:gd name="connsiteY29" fmla="*/ 180840 h 853808"/>
                <a:gd name="connsiteX30" fmla="*/ 1205132 w 1764396"/>
                <a:gd name="connsiteY30" fmla="*/ 184583 h 853808"/>
                <a:gd name="connsiteX31" fmla="*/ 1190032 w 1764396"/>
                <a:gd name="connsiteY31" fmla="*/ 186221 h 853808"/>
                <a:gd name="connsiteX32" fmla="*/ 1133491 w 1764396"/>
                <a:gd name="connsiteY32" fmla="*/ 211055 h 853808"/>
                <a:gd name="connsiteX33" fmla="*/ 1108082 w 1764396"/>
                <a:gd name="connsiteY33" fmla="*/ 214197 h 853808"/>
                <a:gd name="connsiteX34" fmla="*/ 1088882 w 1764396"/>
                <a:gd name="connsiteY34" fmla="*/ 214598 h 853808"/>
                <a:gd name="connsiteX35" fmla="*/ 1076705 w 1764396"/>
                <a:gd name="connsiteY35" fmla="*/ 209551 h 853808"/>
                <a:gd name="connsiteX36" fmla="*/ 1031367 w 1764396"/>
                <a:gd name="connsiteY36" fmla="*/ 246317 h 853808"/>
                <a:gd name="connsiteX37" fmla="*/ 1009327 w 1764396"/>
                <a:gd name="connsiteY37" fmla="*/ 250495 h 853808"/>
                <a:gd name="connsiteX38" fmla="*/ 981726 w 1764396"/>
                <a:gd name="connsiteY38" fmla="*/ 261491 h 853808"/>
                <a:gd name="connsiteX39" fmla="*/ 986556 w 1764396"/>
                <a:gd name="connsiteY39" fmla="*/ 242740 h 853808"/>
                <a:gd name="connsiteX40" fmla="*/ 1038592 w 1764396"/>
                <a:gd name="connsiteY40" fmla="*/ 209584 h 853808"/>
                <a:gd name="connsiteX41" fmla="*/ 1000559 w 1764396"/>
                <a:gd name="connsiteY41" fmla="*/ 218542 h 853808"/>
                <a:gd name="connsiteX42" fmla="*/ 972146 w 1764396"/>
                <a:gd name="connsiteY42" fmla="*/ 231543 h 853808"/>
                <a:gd name="connsiteX43" fmla="*/ 938660 w 1764396"/>
                <a:gd name="connsiteY43" fmla="*/ 235788 h 853808"/>
                <a:gd name="connsiteX44" fmla="*/ 899369 w 1764396"/>
                <a:gd name="connsiteY44" fmla="*/ 249759 h 853808"/>
                <a:gd name="connsiteX45" fmla="*/ 868196 w 1764396"/>
                <a:gd name="connsiteY45" fmla="*/ 246183 h 853808"/>
                <a:gd name="connsiteX46" fmla="*/ 855735 w 1764396"/>
                <a:gd name="connsiteY46" fmla="*/ 254338 h 853808"/>
                <a:gd name="connsiteX47" fmla="*/ 850986 w 1764396"/>
                <a:gd name="connsiteY47" fmla="*/ 258750 h 853808"/>
                <a:gd name="connsiteX48" fmla="*/ 711276 w 1764396"/>
                <a:gd name="connsiteY48" fmla="*/ 317743 h 853808"/>
                <a:gd name="connsiteX49" fmla="*/ 214782 w 1764396"/>
                <a:gd name="connsiteY49" fmla="*/ 552610 h 853808"/>
                <a:gd name="connsiteX50" fmla="*/ 50881 w 1764396"/>
                <a:gd name="connsiteY50" fmla="*/ 639512 h 853808"/>
                <a:gd name="connsiteX51" fmla="*/ 74747 w 1764396"/>
                <a:gd name="connsiteY51" fmla="*/ 671331 h 853808"/>
                <a:gd name="connsiteX52" fmla="*/ 66629 w 1764396"/>
                <a:gd name="connsiteY52" fmla="*/ 662841 h 853808"/>
                <a:gd name="connsiteX53" fmla="*/ 44589 w 1764396"/>
                <a:gd name="connsiteY53" fmla="*/ 657093 h 853808"/>
                <a:gd name="connsiteX54" fmla="*/ -60 w 1764396"/>
                <a:gd name="connsiteY54" fmla="*/ 681525 h 853808"/>
                <a:gd name="connsiteX55" fmla="*/ 23848 w 1764396"/>
                <a:gd name="connsiteY55" fmla="*/ 692288 h 853808"/>
                <a:gd name="connsiteX56" fmla="*/ 54290 w 1764396"/>
                <a:gd name="connsiteY56" fmla="*/ 699641 h 853808"/>
                <a:gd name="connsiteX57" fmla="*/ 54290 w 1764396"/>
                <a:gd name="connsiteY57" fmla="*/ 707395 h 853808"/>
                <a:gd name="connsiteX58" fmla="*/ 66102 w 1764396"/>
                <a:gd name="connsiteY58" fmla="*/ 726513 h 853808"/>
                <a:gd name="connsiteX59" fmla="*/ 87898 w 1764396"/>
                <a:gd name="connsiteY59" fmla="*/ 765619 h 853808"/>
                <a:gd name="connsiteX60" fmla="*/ 103728 w 1764396"/>
                <a:gd name="connsiteY60" fmla="*/ 785105 h 853808"/>
                <a:gd name="connsiteX61" fmla="*/ 128975 w 1764396"/>
                <a:gd name="connsiteY61" fmla="*/ 811476 h 853808"/>
                <a:gd name="connsiteX62" fmla="*/ 154303 w 1764396"/>
                <a:gd name="connsiteY62" fmla="*/ 825715 h 853808"/>
                <a:gd name="connsiteX63" fmla="*/ 181052 w 1764396"/>
                <a:gd name="connsiteY63" fmla="*/ 831731 h 853808"/>
                <a:gd name="connsiteX64" fmla="*/ 217583 w 1764396"/>
                <a:gd name="connsiteY64" fmla="*/ 834037 h 853808"/>
                <a:gd name="connsiteX65" fmla="*/ 244169 w 1764396"/>
                <a:gd name="connsiteY65" fmla="*/ 838048 h 853808"/>
                <a:gd name="connsiteX66" fmla="*/ 258457 w 1764396"/>
                <a:gd name="connsiteY66" fmla="*/ 848075 h 853808"/>
                <a:gd name="connsiteX67" fmla="*/ 301360 w 1764396"/>
                <a:gd name="connsiteY67" fmla="*/ 848810 h 853808"/>
                <a:gd name="connsiteX68" fmla="*/ 320640 w 1764396"/>
                <a:gd name="connsiteY68" fmla="*/ 849813 h 853808"/>
                <a:gd name="connsiteX69" fmla="*/ 369672 w 1764396"/>
                <a:gd name="connsiteY69" fmla="*/ 837179 h 853808"/>
                <a:gd name="connsiteX70" fmla="*/ 428649 w 1764396"/>
                <a:gd name="connsiteY70" fmla="*/ 842059 h 853808"/>
                <a:gd name="connsiteX71" fmla="*/ 471431 w 1764396"/>
                <a:gd name="connsiteY71" fmla="*/ 816022 h 853808"/>
                <a:gd name="connsiteX72" fmla="*/ 508205 w 1764396"/>
                <a:gd name="connsiteY72" fmla="*/ 803187 h 853808"/>
                <a:gd name="connsiteX73" fmla="*/ 569902 w 1764396"/>
                <a:gd name="connsiteY73" fmla="*/ 786977 h 853808"/>
                <a:gd name="connsiteX74" fmla="*/ 607123 w 1764396"/>
                <a:gd name="connsiteY74" fmla="*/ 777117 h 853808"/>
                <a:gd name="connsiteX75" fmla="*/ 658996 w 1764396"/>
                <a:gd name="connsiteY75" fmla="*/ 752049 h 853808"/>
                <a:gd name="connsiteX76" fmla="*/ 686922 w 1764396"/>
                <a:gd name="connsiteY76" fmla="*/ 733365 h 853808"/>
                <a:gd name="connsiteX77" fmla="*/ 729298 w 1764396"/>
                <a:gd name="connsiteY77" fmla="*/ 710804 h 853808"/>
                <a:gd name="connsiteX78" fmla="*/ 799437 w 1764396"/>
                <a:gd name="connsiteY78" fmla="*/ 713980 h 853808"/>
                <a:gd name="connsiteX79" fmla="*/ 847657 w 1764396"/>
                <a:gd name="connsiteY79" fmla="*/ 715216 h 853808"/>
                <a:gd name="connsiteX80" fmla="*/ 862838 w 1764396"/>
                <a:gd name="connsiteY80" fmla="*/ 692154 h 853808"/>
                <a:gd name="connsiteX81" fmla="*/ 913251 w 1764396"/>
                <a:gd name="connsiteY81" fmla="*/ 680924 h 853808"/>
                <a:gd name="connsiteX82" fmla="*/ 961958 w 1764396"/>
                <a:gd name="connsiteY82" fmla="*/ 692990 h 853808"/>
                <a:gd name="connsiteX83" fmla="*/ 994998 w 1764396"/>
                <a:gd name="connsiteY83" fmla="*/ 707027 h 853808"/>
                <a:gd name="connsiteX84" fmla="*/ 1049104 w 1764396"/>
                <a:gd name="connsiteY84" fmla="*/ 696432 h 853808"/>
                <a:gd name="connsiteX85" fmla="*/ 1026983 w 1764396"/>
                <a:gd name="connsiteY85" fmla="*/ 683063 h 853808"/>
                <a:gd name="connsiteX86" fmla="*/ 1030068 w 1764396"/>
                <a:gd name="connsiteY86" fmla="*/ 668891 h 853808"/>
                <a:gd name="connsiteX87" fmla="*/ 1035223 w 1764396"/>
                <a:gd name="connsiteY87" fmla="*/ 655221 h 853808"/>
                <a:gd name="connsiteX88" fmla="*/ 1041352 w 1764396"/>
                <a:gd name="connsiteY88" fmla="*/ 642085 h 853808"/>
                <a:gd name="connsiteX89" fmla="*/ 1064244 w 1764396"/>
                <a:gd name="connsiteY89" fmla="*/ 629919 h 853808"/>
                <a:gd name="connsiteX90" fmla="*/ 1075975 w 1764396"/>
                <a:gd name="connsiteY90" fmla="*/ 615447 h 853808"/>
                <a:gd name="connsiteX91" fmla="*/ 1077396 w 1764396"/>
                <a:gd name="connsiteY91" fmla="*/ 605821 h 853808"/>
                <a:gd name="connsiteX92" fmla="*/ 1095499 w 1764396"/>
                <a:gd name="connsiteY92" fmla="*/ 597665 h 853808"/>
                <a:gd name="connsiteX93" fmla="*/ 1109827 w 1764396"/>
                <a:gd name="connsiteY93" fmla="*/ 587638 h 853808"/>
                <a:gd name="connsiteX94" fmla="*/ 1120786 w 1764396"/>
                <a:gd name="connsiteY94" fmla="*/ 580018 h 853808"/>
                <a:gd name="connsiteX95" fmla="*/ 1146966 w 1764396"/>
                <a:gd name="connsiteY95" fmla="*/ 578313 h 853808"/>
                <a:gd name="connsiteX96" fmla="*/ 1156302 w 1764396"/>
                <a:gd name="connsiteY96" fmla="*/ 568286 h 853808"/>
                <a:gd name="connsiteX97" fmla="*/ 1187110 w 1764396"/>
                <a:gd name="connsiteY97" fmla="*/ 568520 h 853808"/>
                <a:gd name="connsiteX98" fmla="*/ 1208582 w 1764396"/>
                <a:gd name="connsiteY98" fmla="*/ 560699 h 853808"/>
                <a:gd name="connsiteX99" fmla="*/ 1212641 w 1764396"/>
                <a:gd name="connsiteY99" fmla="*/ 551574 h 853808"/>
                <a:gd name="connsiteX100" fmla="*/ 1238009 w 1764396"/>
                <a:gd name="connsiteY100" fmla="*/ 553546 h 853808"/>
                <a:gd name="connsiteX101" fmla="*/ 1232205 w 1764396"/>
                <a:gd name="connsiteY101" fmla="*/ 547129 h 853808"/>
                <a:gd name="connsiteX102" fmla="*/ 1219500 w 1764396"/>
                <a:gd name="connsiteY102" fmla="*/ 537637 h 853808"/>
                <a:gd name="connsiteX103" fmla="*/ 1256599 w 1764396"/>
                <a:gd name="connsiteY103" fmla="*/ 520022 h 853808"/>
                <a:gd name="connsiteX104" fmla="*/ 1272470 w 1764396"/>
                <a:gd name="connsiteY104" fmla="*/ 511566 h 853808"/>
                <a:gd name="connsiteX105" fmla="*/ 1294997 w 1764396"/>
                <a:gd name="connsiteY105" fmla="*/ 506185 h 853808"/>
                <a:gd name="connsiteX106" fmla="*/ 1331772 w 1764396"/>
                <a:gd name="connsiteY106" fmla="*/ 494754 h 853808"/>
                <a:gd name="connsiteX107" fmla="*/ 1364852 w 1764396"/>
                <a:gd name="connsiteY107" fmla="*/ 492882 h 853808"/>
                <a:gd name="connsiteX108" fmla="*/ 1403250 w 1764396"/>
                <a:gd name="connsiteY108" fmla="*/ 481051 h 853808"/>
                <a:gd name="connsiteX109" fmla="*/ 1433895 w 1764396"/>
                <a:gd name="connsiteY109" fmla="*/ 494186 h 853808"/>
                <a:gd name="connsiteX110" fmla="*/ 1445504 w 1764396"/>
                <a:gd name="connsiteY110" fmla="*/ 510898 h 853808"/>
                <a:gd name="connsiteX111" fmla="*/ 1462146 w 1764396"/>
                <a:gd name="connsiteY111" fmla="*/ 515310 h 853808"/>
                <a:gd name="connsiteX112" fmla="*/ 1470629 w 1764396"/>
                <a:gd name="connsiteY112" fmla="*/ 525337 h 853808"/>
                <a:gd name="connsiteX113" fmla="*/ 1497378 w 1764396"/>
                <a:gd name="connsiteY113" fmla="*/ 529983 h 853808"/>
                <a:gd name="connsiteX114" fmla="*/ 1518525 w 1764396"/>
                <a:gd name="connsiteY114" fmla="*/ 533960 h 853808"/>
                <a:gd name="connsiteX115" fmla="*/ 1527982 w 1764396"/>
                <a:gd name="connsiteY115" fmla="*/ 514240 h 853808"/>
                <a:gd name="connsiteX116" fmla="*/ 1518444 w 1764396"/>
                <a:gd name="connsiteY116" fmla="*/ 492749 h 853808"/>
                <a:gd name="connsiteX117" fmla="*/ 1497053 w 1764396"/>
                <a:gd name="connsiteY117" fmla="*/ 479079 h 853808"/>
                <a:gd name="connsiteX118" fmla="*/ 1475947 w 1764396"/>
                <a:gd name="connsiteY118" fmla="*/ 465208 h 853808"/>
                <a:gd name="connsiteX119" fmla="*/ 1453216 w 1764396"/>
                <a:gd name="connsiteY119" fmla="*/ 418883 h 853808"/>
                <a:gd name="connsiteX120" fmla="*/ 1466854 w 1764396"/>
                <a:gd name="connsiteY120" fmla="*/ 397224 h 853808"/>
                <a:gd name="connsiteX121" fmla="*/ 1489382 w 1764396"/>
                <a:gd name="connsiteY121" fmla="*/ 376769 h 853808"/>
                <a:gd name="connsiteX122" fmla="*/ 1512315 w 1764396"/>
                <a:gd name="connsiteY122" fmla="*/ 357818 h 853808"/>
                <a:gd name="connsiteX123" fmla="*/ 1533827 w 1764396"/>
                <a:gd name="connsiteY123" fmla="*/ 336059 h 853808"/>
                <a:gd name="connsiteX124" fmla="*/ 1552620 w 1764396"/>
                <a:gd name="connsiteY124" fmla="*/ 319581 h 853808"/>
                <a:gd name="connsiteX125" fmla="*/ 1542676 w 1764396"/>
                <a:gd name="connsiteY125" fmla="*/ 314334 h 853808"/>
                <a:gd name="connsiteX126" fmla="*/ 1549901 w 1764396"/>
                <a:gd name="connsiteY126" fmla="*/ 308986 h 853808"/>
                <a:gd name="connsiteX127" fmla="*/ 1576934 w 1764396"/>
                <a:gd name="connsiteY127" fmla="*/ 297020 h 853808"/>
                <a:gd name="connsiteX128" fmla="*/ 1558100 w 1764396"/>
                <a:gd name="connsiteY128" fmla="*/ 292976 h 853808"/>
                <a:gd name="connsiteX129" fmla="*/ 1557004 w 1764396"/>
                <a:gd name="connsiteY129" fmla="*/ 281010 h 853808"/>
                <a:gd name="connsiteX130" fmla="*/ 1541377 w 1764396"/>
                <a:gd name="connsiteY130" fmla="*/ 273958 h 853808"/>
                <a:gd name="connsiteX131" fmla="*/ 1515765 w 1764396"/>
                <a:gd name="connsiteY131" fmla="*/ 266839 h 853808"/>
                <a:gd name="connsiteX132" fmla="*/ 1526643 w 1764396"/>
                <a:gd name="connsiteY132" fmla="*/ 253937 h 853808"/>
                <a:gd name="connsiteX133" fmla="*/ 1526156 w 1764396"/>
                <a:gd name="connsiteY133" fmla="*/ 229571 h 853808"/>
                <a:gd name="connsiteX134" fmla="*/ 1526805 w 1764396"/>
                <a:gd name="connsiteY134" fmla="*/ 239197 h 853808"/>
                <a:gd name="connsiteX135" fmla="*/ 1544989 w 1764396"/>
                <a:gd name="connsiteY135" fmla="*/ 252366 h 853808"/>
                <a:gd name="connsiteX136" fmla="*/ 1560292 w 1764396"/>
                <a:gd name="connsiteY136" fmla="*/ 261057 h 853808"/>
                <a:gd name="connsiteX137" fmla="*/ 1553879 w 1764396"/>
                <a:gd name="connsiteY137" fmla="*/ 233148 h 853808"/>
                <a:gd name="connsiteX138" fmla="*/ 1551606 w 1764396"/>
                <a:gd name="connsiteY138" fmla="*/ 226062 h 853808"/>
                <a:gd name="connsiteX139" fmla="*/ 1571901 w 1764396"/>
                <a:gd name="connsiteY139" fmla="*/ 223689 h 853808"/>
                <a:gd name="connsiteX140" fmla="*/ 1585173 w 1764396"/>
                <a:gd name="connsiteY140" fmla="*/ 204905 h 853808"/>
                <a:gd name="connsiteX141" fmla="*/ 1586919 w 1764396"/>
                <a:gd name="connsiteY141" fmla="*/ 197217 h 853808"/>
                <a:gd name="connsiteX142" fmla="*/ 1579856 w 1764396"/>
                <a:gd name="connsiteY142" fmla="*/ 192939 h 853808"/>
                <a:gd name="connsiteX143" fmla="*/ 1630796 w 1764396"/>
                <a:gd name="connsiteY143" fmla="*/ 169543 h 853808"/>
                <a:gd name="connsiteX144" fmla="*/ 1626169 w 1764396"/>
                <a:gd name="connsiteY144" fmla="*/ 165398 h 853808"/>
                <a:gd name="connsiteX145" fmla="*/ 1593251 w 1764396"/>
                <a:gd name="connsiteY145" fmla="*/ 178066 h 853808"/>
                <a:gd name="connsiteX146" fmla="*/ 1626859 w 1764396"/>
                <a:gd name="connsiteY146" fmla="*/ 158312 h 853808"/>
                <a:gd name="connsiteX147" fmla="*/ 1644678 w 1764396"/>
                <a:gd name="connsiteY147" fmla="*/ 150023 h 853808"/>
                <a:gd name="connsiteX148" fmla="*/ 1646992 w 1764396"/>
                <a:gd name="connsiteY148" fmla="*/ 142570 h 853808"/>
                <a:gd name="connsiteX149" fmla="*/ 1669478 w 1764396"/>
                <a:gd name="connsiteY149" fmla="*/ 140030 h 853808"/>
                <a:gd name="connsiteX150" fmla="*/ 1671832 w 1764396"/>
                <a:gd name="connsiteY150" fmla="*/ 126961 h 853808"/>
                <a:gd name="connsiteX151" fmla="*/ 1658194 w 1764396"/>
                <a:gd name="connsiteY151" fmla="*/ 125123 h 853808"/>
                <a:gd name="connsiteX152" fmla="*/ 1660833 w 1764396"/>
                <a:gd name="connsiteY152" fmla="*/ 115530 h 853808"/>
                <a:gd name="connsiteX153" fmla="*/ 1663674 w 1764396"/>
                <a:gd name="connsiteY153" fmla="*/ 102729 h 853808"/>
                <a:gd name="connsiteX154" fmla="*/ 1681615 w 1764396"/>
                <a:gd name="connsiteY154" fmla="*/ 88390 h 853808"/>
                <a:gd name="connsiteX155" fmla="*/ 1694563 w 1764396"/>
                <a:gd name="connsiteY155" fmla="*/ 80201 h 853808"/>
                <a:gd name="connsiteX156" fmla="*/ 1709906 w 1764396"/>
                <a:gd name="connsiteY156" fmla="*/ 61986 h 853808"/>
                <a:gd name="connsiteX157" fmla="*/ 1735112 w 1764396"/>
                <a:gd name="connsiteY157" fmla="*/ 59111 h 853808"/>
                <a:gd name="connsiteX158" fmla="*/ 1764337 w 1764396"/>
                <a:gd name="connsiteY158" fmla="*/ 38088 h 853808"/>
                <a:gd name="connsiteX159" fmla="*/ 1719120 w 1764396"/>
                <a:gd name="connsiteY159" fmla="*/ 854 h 853808"/>
                <a:gd name="connsiteX160" fmla="*/ 1718592 w 1764396"/>
                <a:gd name="connsiteY160" fmla="*/ 1121 h 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764396" h="853808">
                  <a:moveTo>
                    <a:pt x="1718592" y="1121"/>
                  </a:moveTo>
                  <a:cubicBezTo>
                    <a:pt x="1717456" y="-650"/>
                    <a:pt x="1671914" y="6536"/>
                    <a:pt x="1668342" y="8274"/>
                  </a:cubicBezTo>
                  <a:cubicBezTo>
                    <a:pt x="1653527" y="15259"/>
                    <a:pt x="1650198" y="33041"/>
                    <a:pt x="1648493" y="41430"/>
                  </a:cubicBezTo>
                  <a:cubicBezTo>
                    <a:pt x="1644434" y="60983"/>
                    <a:pt x="1630188" y="76124"/>
                    <a:pt x="1598162" y="86184"/>
                  </a:cubicBezTo>
                  <a:cubicBezTo>
                    <a:pt x="1580331" y="91756"/>
                    <a:pt x="1562524" y="97415"/>
                    <a:pt x="1544746" y="103164"/>
                  </a:cubicBezTo>
                  <a:cubicBezTo>
                    <a:pt x="1533381" y="106773"/>
                    <a:pt x="1516333" y="110383"/>
                    <a:pt x="1507809" y="116934"/>
                  </a:cubicBezTo>
                  <a:cubicBezTo>
                    <a:pt x="1499622" y="123599"/>
                    <a:pt x="1491963" y="130688"/>
                    <a:pt x="1484876" y="138158"/>
                  </a:cubicBezTo>
                  <a:cubicBezTo>
                    <a:pt x="1478098" y="144843"/>
                    <a:pt x="1489463" y="142971"/>
                    <a:pt x="1484389" y="149823"/>
                  </a:cubicBezTo>
                  <a:cubicBezTo>
                    <a:pt x="1472212" y="166267"/>
                    <a:pt x="1429877" y="177297"/>
                    <a:pt x="1407268" y="186990"/>
                  </a:cubicBezTo>
                  <a:cubicBezTo>
                    <a:pt x="1422612" y="199022"/>
                    <a:pt x="1355273" y="242607"/>
                    <a:pt x="1334491" y="253202"/>
                  </a:cubicBezTo>
                  <a:cubicBezTo>
                    <a:pt x="1319270" y="260823"/>
                    <a:pt x="1282820" y="271685"/>
                    <a:pt x="1283186" y="255809"/>
                  </a:cubicBezTo>
                  <a:cubicBezTo>
                    <a:pt x="1283186" y="251029"/>
                    <a:pt x="1290532" y="247119"/>
                    <a:pt x="1298123" y="246852"/>
                  </a:cubicBezTo>
                  <a:cubicBezTo>
                    <a:pt x="1308148" y="246484"/>
                    <a:pt x="1307174" y="249960"/>
                    <a:pt x="1316023" y="241938"/>
                  </a:cubicBezTo>
                  <a:cubicBezTo>
                    <a:pt x="1299787" y="239933"/>
                    <a:pt x="1303359" y="211857"/>
                    <a:pt x="1283145" y="215199"/>
                  </a:cubicBezTo>
                  <a:cubicBezTo>
                    <a:pt x="1270441" y="217272"/>
                    <a:pt x="1265570" y="225995"/>
                    <a:pt x="1256802" y="231243"/>
                  </a:cubicBezTo>
                  <a:cubicBezTo>
                    <a:pt x="1249253" y="235755"/>
                    <a:pt x="1256031" y="216737"/>
                    <a:pt x="1256802" y="215400"/>
                  </a:cubicBezTo>
                  <a:cubicBezTo>
                    <a:pt x="1261430" y="204972"/>
                    <a:pt x="1258832" y="197585"/>
                    <a:pt x="1243327" y="195112"/>
                  </a:cubicBezTo>
                  <a:cubicBezTo>
                    <a:pt x="1232164" y="193340"/>
                    <a:pt x="1213493" y="195446"/>
                    <a:pt x="1204644" y="204370"/>
                  </a:cubicBezTo>
                  <a:cubicBezTo>
                    <a:pt x="1200870" y="208180"/>
                    <a:pt x="1202412" y="211055"/>
                    <a:pt x="1200058" y="214899"/>
                  </a:cubicBezTo>
                  <a:cubicBezTo>
                    <a:pt x="1196932" y="219879"/>
                    <a:pt x="1188936" y="222987"/>
                    <a:pt x="1183051" y="226898"/>
                  </a:cubicBezTo>
                  <a:cubicBezTo>
                    <a:pt x="1169981" y="235688"/>
                    <a:pt x="1175704" y="251096"/>
                    <a:pt x="1178789" y="258416"/>
                  </a:cubicBezTo>
                  <a:cubicBezTo>
                    <a:pt x="1182198" y="266471"/>
                    <a:pt x="1195025" y="272287"/>
                    <a:pt x="1193442" y="281812"/>
                  </a:cubicBezTo>
                  <a:cubicBezTo>
                    <a:pt x="1192346" y="288497"/>
                    <a:pt x="1181874" y="300797"/>
                    <a:pt x="1170671" y="304875"/>
                  </a:cubicBezTo>
                  <a:cubicBezTo>
                    <a:pt x="1137306" y="317075"/>
                    <a:pt x="1139295" y="267574"/>
                    <a:pt x="1139579" y="258750"/>
                  </a:cubicBezTo>
                  <a:cubicBezTo>
                    <a:pt x="1139579" y="255909"/>
                    <a:pt x="1140229" y="251698"/>
                    <a:pt x="1137509" y="249659"/>
                  </a:cubicBezTo>
                  <a:cubicBezTo>
                    <a:pt x="1134789" y="247620"/>
                    <a:pt x="1129066" y="251665"/>
                    <a:pt x="1127605" y="249893"/>
                  </a:cubicBezTo>
                  <a:cubicBezTo>
                    <a:pt x="1123952" y="245481"/>
                    <a:pt x="1138808" y="232713"/>
                    <a:pt x="1143841" y="228335"/>
                  </a:cubicBezTo>
                  <a:cubicBezTo>
                    <a:pt x="1156586" y="217104"/>
                    <a:pt x="1172619" y="209116"/>
                    <a:pt x="1190722" y="201362"/>
                  </a:cubicBezTo>
                  <a:cubicBezTo>
                    <a:pt x="1199977" y="197418"/>
                    <a:pt x="1209637" y="193741"/>
                    <a:pt x="1218567" y="189363"/>
                  </a:cubicBezTo>
                  <a:cubicBezTo>
                    <a:pt x="1225264" y="186021"/>
                    <a:pt x="1223032" y="183781"/>
                    <a:pt x="1228024" y="180840"/>
                  </a:cubicBezTo>
                  <a:cubicBezTo>
                    <a:pt x="1217430" y="180405"/>
                    <a:pt x="1211788" y="178801"/>
                    <a:pt x="1205132" y="184583"/>
                  </a:cubicBezTo>
                  <a:cubicBezTo>
                    <a:pt x="1199774" y="189363"/>
                    <a:pt x="1195228" y="186890"/>
                    <a:pt x="1190032" y="186221"/>
                  </a:cubicBezTo>
                  <a:cubicBezTo>
                    <a:pt x="1169737" y="183614"/>
                    <a:pt x="1150051" y="203367"/>
                    <a:pt x="1133491" y="211055"/>
                  </a:cubicBezTo>
                  <a:cubicBezTo>
                    <a:pt x="1125089" y="214932"/>
                    <a:pt x="1115022" y="216336"/>
                    <a:pt x="1108082" y="214197"/>
                  </a:cubicBezTo>
                  <a:cubicBezTo>
                    <a:pt x="1099639" y="211589"/>
                    <a:pt x="1098908" y="213829"/>
                    <a:pt x="1088882" y="214598"/>
                  </a:cubicBezTo>
                  <a:cubicBezTo>
                    <a:pt x="1079709" y="215300"/>
                    <a:pt x="1092617" y="197084"/>
                    <a:pt x="1076705" y="209551"/>
                  </a:cubicBezTo>
                  <a:cubicBezTo>
                    <a:pt x="1061931" y="221282"/>
                    <a:pt x="1050403" y="236290"/>
                    <a:pt x="1031367" y="246317"/>
                  </a:cubicBezTo>
                  <a:cubicBezTo>
                    <a:pt x="1022437" y="250929"/>
                    <a:pt x="1018216" y="249057"/>
                    <a:pt x="1009327" y="250495"/>
                  </a:cubicBezTo>
                  <a:cubicBezTo>
                    <a:pt x="998773" y="252199"/>
                    <a:pt x="991792" y="259486"/>
                    <a:pt x="981726" y="261491"/>
                  </a:cubicBezTo>
                  <a:cubicBezTo>
                    <a:pt x="962567" y="265301"/>
                    <a:pt x="981726" y="247019"/>
                    <a:pt x="986556" y="242740"/>
                  </a:cubicBezTo>
                  <a:cubicBezTo>
                    <a:pt x="1000559" y="230440"/>
                    <a:pt x="1027389" y="221082"/>
                    <a:pt x="1038592" y="209584"/>
                  </a:cubicBezTo>
                  <a:cubicBezTo>
                    <a:pt x="1026415" y="211723"/>
                    <a:pt x="1012411" y="213628"/>
                    <a:pt x="1000559" y="218542"/>
                  </a:cubicBezTo>
                  <a:cubicBezTo>
                    <a:pt x="988707" y="223455"/>
                    <a:pt x="988626" y="231911"/>
                    <a:pt x="972146" y="231543"/>
                  </a:cubicBezTo>
                  <a:cubicBezTo>
                    <a:pt x="960659" y="231209"/>
                    <a:pt x="948929" y="237292"/>
                    <a:pt x="938660" y="235788"/>
                  </a:cubicBezTo>
                  <a:cubicBezTo>
                    <a:pt x="921409" y="233215"/>
                    <a:pt x="915524" y="247487"/>
                    <a:pt x="899369" y="249759"/>
                  </a:cubicBezTo>
                  <a:cubicBezTo>
                    <a:pt x="879074" y="252634"/>
                    <a:pt x="880048" y="251230"/>
                    <a:pt x="868196" y="246183"/>
                  </a:cubicBezTo>
                  <a:cubicBezTo>
                    <a:pt x="858820" y="242206"/>
                    <a:pt x="854314" y="249759"/>
                    <a:pt x="855735" y="254338"/>
                  </a:cubicBezTo>
                  <a:cubicBezTo>
                    <a:pt x="856628" y="257246"/>
                    <a:pt x="856019" y="256678"/>
                    <a:pt x="850986" y="258750"/>
                  </a:cubicBezTo>
                  <a:cubicBezTo>
                    <a:pt x="804226" y="278002"/>
                    <a:pt x="757658" y="297665"/>
                    <a:pt x="711276" y="317743"/>
                  </a:cubicBezTo>
                  <a:cubicBezTo>
                    <a:pt x="542962" y="390516"/>
                    <a:pt x="377466" y="468807"/>
                    <a:pt x="214782" y="552610"/>
                  </a:cubicBezTo>
                  <a:cubicBezTo>
                    <a:pt x="159771" y="580887"/>
                    <a:pt x="105137" y="609855"/>
                    <a:pt x="50881" y="639512"/>
                  </a:cubicBezTo>
                  <a:cubicBezTo>
                    <a:pt x="59810" y="640682"/>
                    <a:pt x="94961" y="660402"/>
                    <a:pt x="74747" y="671331"/>
                  </a:cubicBezTo>
                  <a:cubicBezTo>
                    <a:pt x="58511" y="680021"/>
                    <a:pt x="66629" y="666251"/>
                    <a:pt x="66629" y="662841"/>
                  </a:cubicBezTo>
                  <a:cubicBezTo>
                    <a:pt x="67035" y="653349"/>
                    <a:pt x="48851" y="663042"/>
                    <a:pt x="44589" y="657093"/>
                  </a:cubicBezTo>
                  <a:cubicBezTo>
                    <a:pt x="31682" y="667120"/>
                    <a:pt x="15121" y="674339"/>
                    <a:pt x="-60" y="681525"/>
                  </a:cubicBezTo>
                  <a:cubicBezTo>
                    <a:pt x="8667" y="684634"/>
                    <a:pt x="13376" y="690249"/>
                    <a:pt x="23848" y="692288"/>
                  </a:cubicBezTo>
                  <a:cubicBezTo>
                    <a:pt x="31073" y="693691"/>
                    <a:pt x="45401" y="701680"/>
                    <a:pt x="54290" y="699641"/>
                  </a:cubicBezTo>
                  <a:cubicBezTo>
                    <a:pt x="75275" y="694861"/>
                    <a:pt x="54655" y="704253"/>
                    <a:pt x="54290" y="707395"/>
                  </a:cubicBezTo>
                  <a:cubicBezTo>
                    <a:pt x="53478" y="713478"/>
                    <a:pt x="63220" y="721567"/>
                    <a:pt x="66102" y="726513"/>
                  </a:cubicBezTo>
                  <a:cubicBezTo>
                    <a:pt x="73489" y="739114"/>
                    <a:pt x="87533" y="749910"/>
                    <a:pt x="87898" y="765619"/>
                  </a:cubicBezTo>
                  <a:cubicBezTo>
                    <a:pt x="88223" y="776849"/>
                    <a:pt x="90171" y="781662"/>
                    <a:pt x="103728" y="785105"/>
                  </a:cubicBezTo>
                  <a:cubicBezTo>
                    <a:pt x="122115" y="789784"/>
                    <a:pt x="120776" y="800847"/>
                    <a:pt x="128975" y="811476"/>
                  </a:cubicBezTo>
                  <a:cubicBezTo>
                    <a:pt x="134374" y="818495"/>
                    <a:pt x="147890" y="819130"/>
                    <a:pt x="154303" y="825715"/>
                  </a:cubicBezTo>
                  <a:cubicBezTo>
                    <a:pt x="161894" y="833435"/>
                    <a:pt x="166480" y="831062"/>
                    <a:pt x="181052" y="831731"/>
                  </a:cubicBezTo>
                  <a:cubicBezTo>
                    <a:pt x="188805" y="832065"/>
                    <a:pt x="213524" y="830594"/>
                    <a:pt x="217583" y="834037"/>
                  </a:cubicBezTo>
                  <a:cubicBezTo>
                    <a:pt x="224442" y="840053"/>
                    <a:pt x="239339" y="833268"/>
                    <a:pt x="244169" y="838048"/>
                  </a:cubicBezTo>
                  <a:cubicBezTo>
                    <a:pt x="249527" y="843362"/>
                    <a:pt x="246158" y="848075"/>
                    <a:pt x="258457" y="848075"/>
                  </a:cubicBezTo>
                  <a:cubicBezTo>
                    <a:pt x="271486" y="848342"/>
                    <a:pt x="292024" y="843964"/>
                    <a:pt x="301360" y="848810"/>
                  </a:cubicBezTo>
                  <a:cubicBezTo>
                    <a:pt x="310696" y="853657"/>
                    <a:pt x="304810" y="855829"/>
                    <a:pt x="320640" y="849813"/>
                  </a:cubicBezTo>
                  <a:cubicBezTo>
                    <a:pt x="336470" y="843797"/>
                    <a:pt x="354573" y="845401"/>
                    <a:pt x="369672" y="837179"/>
                  </a:cubicBezTo>
                  <a:cubicBezTo>
                    <a:pt x="395122" y="823308"/>
                    <a:pt x="412982" y="836778"/>
                    <a:pt x="428649" y="842059"/>
                  </a:cubicBezTo>
                  <a:cubicBezTo>
                    <a:pt x="437133" y="840822"/>
                    <a:pt x="463759" y="820634"/>
                    <a:pt x="471431" y="816022"/>
                  </a:cubicBezTo>
                  <a:cubicBezTo>
                    <a:pt x="488113" y="805995"/>
                    <a:pt x="489088" y="806396"/>
                    <a:pt x="508205" y="803187"/>
                  </a:cubicBezTo>
                  <a:cubicBezTo>
                    <a:pt x="528135" y="799845"/>
                    <a:pt x="549810" y="792191"/>
                    <a:pt x="569902" y="786977"/>
                  </a:cubicBezTo>
                  <a:cubicBezTo>
                    <a:pt x="580618" y="784169"/>
                    <a:pt x="597016" y="782063"/>
                    <a:pt x="607123" y="777117"/>
                  </a:cubicBezTo>
                  <a:cubicBezTo>
                    <a:pt x="624414" y="768694"/>
                    <a:pt x="641705" y="760338"/>
                    <a:pt x="658996" y="752049"/>
                  </a:cubicBezTo>
                  <a:cubicBezTo>
                    <a:pt x="672959" y="745364"/>
                    <a:pt x="682417" y="743292"/>
                    <a:pt x="686922" y="733365"/>
                  </a:cubicBezTo>
                  <a:cubicBezTo>
                    <a:pt x="690981" y="724775"/>
                    <a:pt x="717689" y="716119"/>
                    <a:pt x="729298" y="710804"/>
                  </a:cubicBezTo>
                  <a:cubicBezTo>
                    <a:pt x="738268" y="706626"/>
                    <a:pt x="795946" y="708565"/>
                    <a:pt x="799437" y="713980"/>
                  </a:cubicBezTo>
                  <a:cubicBezTo>
                    <a:pt x="805688" y="723338"/>
                    <a:pt x="831909" y="717857"/>
                    <a:pt x="847657" y="715216"/>
                  </a:cubicBezTo>
                  <a:cubicBezTo>
                    <a:pt x="860971" y="712977"/>
                    <a:pt x="854030" y="699006"/>
                    <a:pt x="862838" y="692154"/>
                  </a:cubicBezTo>
                  <a:cubicBezTo>
                    <a:pt x="873391" y="683965"/>
                    <a:pt x="901845" y="680556"/>
                    <a:pt x="913251" y="680924"/>
                  </a:cubicBezTo>
                  <a:cubicBezTo>
                    <a:pt x="931881" y="681525"/>
                    <a:pt x="941988" y="692254"/>
                    <a:pt x="961958" y="692990"/>
                  </a:cubicBezTo>
                  <a:cubicBezTo>
                    <a:pt x="975596" y="693491"/>
                    <a:pt x="979453" y="710370"/>
                    <a:pt x="994998" y="707027"/>
                  </a:cubicBezTo>
                  <a:cubicBezTo>
                    <a:pt x="1010544" y="703685"/>
                    <a:pt x="1034127" y="697401"/>
                    <a:pt x="1049104" y="696432"/>
                  </a:cubicBezTo>
                  <a:cubicBezTo>
                    <a:pt x="1046588" y="691251"/>
                    <a:pt x="1024426" y="688377"/>
                    <a:pt x="1026983" y="683063"/>
                  </a:cubicBezTo>
                  <a:cubicBezTo>
                    <a:pt x="1029540" y="677748"/>
                    <a:pt x="1035710" y="673036"/>
                    <a:pt x="1030068" y="668891"/>
                  </a:cubicBezTo>
                  <a:cubicBezTo>
                    <a:pt x="1023695" y="664111"/>
                    <a:pt x="1027917" y="662006"/>
                    <a:pt x="1035223" y="655221"/>
                  </a:cubicBezTo>
                  <a:cubicBezTo>
                    <a:pt x="1041880" y="649071"/>
                    <a:pt x="1038551" y="647534"/>
                    <a:pt x="1041352" y="642085"/>
                  </a:cubicBezTo>
                  <a:cubicBezTo>
                    <a:pt x="1044153" y="636637"/>
                    <a:pt x="1058521" y="634565"/>
                    <a:pt x="1064244" y="629919"/>
                  </a:cubicBezTo>
                  <a:cubicBezTo>
                    <a:pt x="1069387" y="625855"/>
                    <a:pt x="1073393" y="620918"/>
                    <a:pt x="1075975" y="615447"/>
                  </a:cubicBezTo>
                  <a:cubicBezTo>
                    <a:pt x="1077314" y="612305"/>
                    <a:pt x="1072281" y="608428"/>
                    <a:pt x="1077396" y="605821"/>
                  </a:cubicBezTo>
                  <a:cubicBezTo>
                    <a:pt x="1083159" y="602913"/>
                    <a:pt x="1092333" y="602478"/>
                    <a:pt x="1095499" y="597665"/>
                  </a:cubicBezTo>
                  <a:cubicBezTo>
                    <a:pt x="1099964" y="590713"/>
                    <a:pt x="1096473" y="589945"/>
                    <a:pt x="1109827" y="587638"/>
                  </a:cubicBezTo>
                  <a:cubicBezTo>
                    <a:pt x="1120746" y="585833"/>
                    <a:pt x="1112749" y="582190"/>
                    <a:pt x="1120786" y="580018"/>
                  </a:cubicBezTo>
                  <a:cubicBezTo>
                    <a:pt x="1130406" y="577444"/>
                    <a:pt x="1136291" y="582057"/>
                    <a:pt x="1146966" y="578313"/>
                  </a:cubicBezTo>
                  <a:cubicBezTo>
                    <a:pt x="1156667" y="574971"/>
                    <a:pt x="1151025" y="571294"/>
                    <a:pt x="1156302" y="568286"/>
                  </a:cubicBezTo>
                  <a:cubicBezTo>
                    <a:pt x="1164420" y="563674"/>
                    <a:pt x="1178139" y="570325"/>
                    <a:pt x="1187110" y="568520"/>
                  </a:cubicBezTo>
                  <a:cubicBezTo>
                    <a:pt x="1194623" y="566635"/>
                    <a:pt x="1201832" y="564008"/>
                    <a:pt x="1208582" y="560699"/>
                  </a:cubicBezTo>
                  <a:cubicBezTo>
                    <a:pt x="1215522" y="557357"/>
                    <a:pt x="1210084" y="552811"/>
                    <a:pt x="1212641" y="551574"/>
                  </a:cubicBezTo>
                  <a:cubicBezTo>
                    <a:pt x="1216700" y="549602"/>
                    <a:pt x="1232935" y="554014"/>
                    <a:pt x="1238009" y="553546"/>
                  </a:cubicBezTo>
                  <a:cubicBezTo>
                    <a:pt x="1257858" y="551775"/>
                    <a:pt x="1239105" y="547396"/>
                    <a:pt x="1232205" y="547129"/>
                  </a:cubicBezTo>
                  <a:cubicBezTo>
                    <a:pt x="1228958" y="547129"/>
                    <a:pt x="1218161" y="539442"/>
                    <a:pt x="1219500" y="537637"/>
                  </a:cubicBezTo>
                  <a:cubicBezTo>
                    <a:pt x="1226725" y="528077"/>
                    <a:pt x="1244219" y="524936"/>
                    <a:pt x="1256599" y="520022"/>
                  </a:cubicBezTo>
                  <a:cubicBezTo>
                    <a:pt x="1262931" y="517516"/>
                    <a:pt x="1263094" y="505684"/>
                    <a:pt x="1272470" y="511566"/>
                  </a:cubicBezTo>
                  <a:cubicBezTo>
                    <a:pt x="1280141" y="516379"/>
                    <a:pt x="1283876" y="512469"/>
                    <a:pt x="1294997" y="506185"/>
                  </a:cubicBezTo>
                  <a:cubicBezTo>
                    <a:pt x="1306119" y="499901"/>
                    <a:pt x="1317930" y="494086"/>
                    <a:pt x="1331772" y="494754"/>
                  </a:cubicBezTo>
                  <a:cubicBezTo>
                    <a:pt x="1343949" y="495389"/>
                    <a:pt x="1352432" y="506686"/>
                    <a:pt x="1364852" y="492882"/>
                  </a:cubicBezTo>
                  <a:cubicBezTo>
                    <a:pt x="1377273" y="479079"/>
                    <a:pt x="1383848" y="476973"/>
                    <a:pt x="1403250" y="481051"/>
                  </a:cubicBezTo>
                  <a:cubicBezTo>
                    <a:pt x="1415711" y="483658"/>
                    <a:pt x="1434667" y="483658"/>
                    <a:pt x="1433895" y="494186"/>
                  </a:cubicBezTo>
                  <a:cubicBezTo>
                    <a:pt x="1433327" y="501706"/>
                    <a:pt x="1439456" y="505750"/>
                    <a:pt x="1445504" y="510898"/>
                  </a:cubicBezTo>
                  <a:cubicBezTo>
                    <a:pt x="1449563" y="514441"/>
                    <a:pt x="1456666" y="513237"/>
                    <a:pt x="1462146" y="515310"/>
                  </a:cubicBezTo>
                  <a:cubicBezTo>
                    <a:pt x="1467625" y="517382"/>
                    <a:pt x="1467625" y="521995"/>
                    <a:pt x="1470629" y="525337"/>
                  </a:cubicBezTo>
                  <a:cubicBezTo>
                    <a:pt x="1473633" y="528679"/>
                    <a:pt x="1490924" y="527075"/>
                    <a:pt x="1497378" y="529983"/>
                  </a:cubicBezTo>
                  <a:cubicBezTo>
                    <a:pt x="1503832" y="532890"/>
                    <a:pt x="1506957" y="536667"/>
                    <a:pt x="1518525" y="533960"/>
                  </a:cubicBezTo>
                  <a:cubicBezTo>
                    <a:pt x="1530093" y="531253"/>
                    <a:pt x="1526643" y="519488"/>
                    <a:pt x="1527982" y="514240"/>
                  </a:cubicBezTo>
                  <a:cubicBezTo>
                    <a:pt x="1530702" y="504714"/>
                    <a:pt x="1525750" y="499266"/>
                    <a:pt x="1518444" y="492749"/>
                  </a:cubicBezTo>
                  <a:cubicBezTo>
                    <a:pt x="1512741" y="486853"/>
                    <a:pt x="1505407" y="482167"/>
                    <a:pt x="1497053" y="479079"/>
                  </a:cubicBezTo>
                  <a:cubicBezTo>
                    <a:pt x="1488123" y="476405"/>
                    <a:pt x="1484876" y="468784"/>
                    <a:pt x="1475947" y="465208"/>
                  </a:cubicBezTo>
                  <a:cubicBezTo>
                    <a:pt x="1452161" y="455749"/>
                    <a:pt x="1444124" y="439171"/>
                    <a:pt x="1453216" y="418883"/>
                  </a:cubicBezTo>
                  <a:cubicBezTo>
                    <a:pt x="1456455" y="411155"/>
                    <a:pt x="1461050" y="403859"/>
                    <a:pt x="1466854" y="397224"/>
                  </a:cubicBezTo>
                  <a:cubicBezTo>
                    <a:pt x="1475662" y="387732"/>
                    <a:pt x="1485526" y="387197"/>
                    <a:pt x="1489382" y="376769"/>
                  </a:cubicBezTo>
                  <a:cubicBezTo>
                    <a:pt x="1492966" y="367828"/>
                    <a:pt x="1501469" y="360802"/>
                    <a:pt x="1512315" y="357818"/>
                  </a:cubicBezTo>
                  <a:cubicBezTo>
                    <a:pt x="1525506" y="353640"/>
                    <a:pt x="1523396" y="343278"/>
                    <a:pt x="1533827" y="336059"/>
                  </a:cubicBezTo>
                  <a:cubicBezTo>
                    <a:pt x="1540119" y="331681"/>
                    <a:pt x="1563458" y="324127"/>
                    <a:pt x="1552620" y="319581"/>
                  </a:cubicBezTo>
                  <a:cubicBezTo>
                    <a:pt x="1549252" y="318177"/>
                    <a:pt x="1543447" y="317375"/>
                    <a:pt x="1542676" y="314334"/>
                  </a:cubicBezTo>
                  <a:cubicBezTo>
                    <a:pt x="1542270" y="312696"/>
                    <a:pt x="1545233" y="307248"/>
                    <a:pt x="1549901" y="308986"/>
                  </a:cubicBezTo>
                  <a:cubicBezTo>
                    <a:pt x="1559602" y="312663"/>
                    <a:pt x="1572307" y="302101"/>
                    <a:pt x="1576934" y="297020"/>
                  </a:cubicBezTo>
                  <a:cubicBezTo>
                    <a:pt x="1589395" y="283250"/>
                    <a:pt x="1562606" y="297589"/>
                    <a:pt x="1558100" y="292976"/>
                  </a:cubicBezTo>
                  <a:cubicBezTo>
                    <a:pt x="1554650" y="289366"/>
                    <a:pt x="1571901" y="283818"/>
                    <a:pt x="1557004" y="281010"/>
                  </a:cubicBezTo>
                  <a:cubicBezTo>
                    <a:pt x="1546207" y="278938"/>
                    <a:pt x="1530215" y="286893"/>
                    <a:pt x="1541377" y="273958"/>
                  </a:cubicBezTo>
                  <a:cubicBezTo>
                    <a:pt x="1547587" y="266772"/>
                    <a:pt x="1521610" y="267039"/>
                    <a:pt x="1515765" y="266839"/>
                  </a:cubicBezTo>
                  <a:cubicBezTo>
                    <a:pt x="1504278" y="266471"/>
                    <a:pt x="1526968" y="257514"/>
                    <a:pt x="1526643" y="253937"/>
                  </a:cubicBezTo>
                  <a:cubicBezTo>
                    <a:pt x="1526156" y="248823"/>
                    <a:pt x="1511138" y="234485"/>
                    <a:pt x="1526156" y="229571"/>
                  </a:cubicBezTo>
                  <a:cubicBezTo>
                    <a:pt x="1533503" y="227198"/>
                    <a:pt x="1527049" y="237693"/>
                    <a:pt x="1526805" y="239197"/>
                  </a:cubicBezTo>
                  <a:cubicBezTo>
                    <a:pt x="1525547" y="247921"/>
                    <a:pt x="1538049" y="247520"/>
                    <a:pt x="1544989" y="252366"/>
                  </a:cubicBezTo>
                  <a:cubicBezTo>
                    <a:pt x="1550916" y="256544"/>
                    <a:pt x="1551768" y="279941"/>
                    <a:pt x="1560292" y="261057"/>
                  </a:cubicBezTo>
                  <a:cubicBezTo>
                    <a:pt x="1566056" y="248289"/>
                    <a:pt x="1568410" y="238462"/>
                    <a:pt x="1553879" y="233148"/>
                  </a:cubicBezTo>
                  <a:cubicBezTo>
                    <a:pt x="1552499" y="232646"/>
                    <a:pt x="1546248" y="227232"/>
                    <a:pt x="1551606" y="226062"/>
                  </a:cubicBezTo>
                  <a:cubicBezTo>
                    <a:pt x="1560373" y="224090"/>
                    <a:pt x="1563377" y="231711"/>
                    <a:pt x="1571901" y="223689"/>
                  </a:cubicBezTo>
                  <a:cubicBezTo>
                    <a:pt x="1577681" y="218147"/>
                    <a:pt x="1582182" y="211780"/>
                    <a:pt x="1585173" y="204905"/>
                  </a:cubicBezTo>
                  <a:cubicBezTo>
                    <a:pt x="1586387" y="202468"/>
                    <a:pt x="1586980" y="199851"/>
                    <a:pt x="1586919" y="197217"/>
                  </a:cubicBezTo>
                  <a:cubicBezTo>
                    <a:pt x="1586554" y="194276"/>
                    <a:pt x="1580140" y="194878"/>
                    <a:pt x="1579856" y="192939"/>
                  </a:cubicBezTo>
                  <a:cubicBezTo>
                    <a:pt x="1579410" y="189597"/>
                    <a:pt x="1624099" y="173219"/>
                    <a:pt x="1630796" y="169543"/>
                  </a:cubicBezTo>
                  <a:cubicBezTo>
                    <a:pt x="1642973" y="162858"/>
                    <a:pt x="1638914" y="160418"/>
                    <a:pt x="1626169" y="165398"/>
                  </a:cubicBezTo>
                  <a:cubicBezTo>
                    <a:pt x="1618985" y="168172"/>
                    <a:pt x="1601044" y="178400"/>
                    <a:pt x="1593251" y="178066"/>
                  </a:cubicBezTo>
                  <a:cubicBezTo>
                    <a:pt x="1586269" y="177732"/>
                    <a:pt x="1624099" y="159382"/>
                    <a:pt x="1626859" y="158312"/>
                  </a:cubicBezTo>
                  <a:cubicBezTo>
                    <a:pt x="1632379" y="156106"/>
                    <a:pt x="1641756" y="153934"/>
                    <a:pt x="1644678" y="150023"/>
                  </a:cubicBezTo>
                  <a:cubicBezTo>
                    <a:pt x="1645368" y="149121"/>
                    <a:pt x="1645855" y="142570"/>
                    <a:pt x="1646992" y="142570"/>
                  </a:cubicBezTo>
                  <a:cubicBezTo>
                    <a:pt x="1656084" y="142570"/>
                    <a:pt x="1659453" y="145177"/>
                    <a:pt x="1669478" y="140030"/>
                  </a:cubicBezTo>
                  <a:cubicBezTo>
                    <a:pt x="1679504" y="134883"/>
                    <a:pt x="1680762" y="129668"/>
                    <a:pt x="1671832" y="126961"/>
                  </a:cubicBezTo>
                  <a:cubicBezTo>
                    <a:pt x="1669357" y="126192"/>
                    <a:pt x="1657098" y="127295"/>
                    <a:pt x="1658194" y="125123"/>
                  </a:cubicBezTo>
                  <a:cubicBezTo>
                    <a:pt x="1660711" y="120243"/>
                    <a:pt x="1662903" y="119775"/>
                    <a:pt x="1660833" y="115530"/>
                  </a:cubicBezTo>
                  <a:cubicBezTo>
                    <a:pt x="1659087" y="111921"/>
                    <a:pt x="1661117" y="106840"/>
                    <a:pt x="1663674" y="102729"/>
                  </a:cubicBezTo>
                  <a:cubicBezTo>
                    <a:pt x="1667490" y="96746"/>
                    <a:pt x="1678246" y="93638"/>
                    <a:pt x="1681615" y="88390"/>
                  </a:cubicBezTo>
                  <a:cubicBezTo>
                    <a:pt x="1684984" y="83143"/>
                    <a:pt x="1688921" y="84045"/>
                    <a:pt x="1694563" y="80201"/>
                  </a:cubicBezTo>
                  <a:cubicBezTo>
                    <a:pt x="1702031" y="75121"/>
                    <a:pt x="1700245" y="66063"/>
                    <a:pt x="1709906" y="61986"/>
                  </a:cubicBezTo>
                  <a:cubicBezTo>
                    <a:pt x="1717537" y="58643"/>
                    <a:pt x="1727035" y="61183"/>
                    <a:pt x="1735112" y="59111"/>
                  </a:cubicBezTo>
                  <a:cubicBezTo>
                    <a:pt x="1746802" y="56170"/>
                    <a:pt x="1756543" y="43703"/>
                    <a:pt x="1764337" y="38088"/>
                  </a:cubicBezTo>
                  <a:cubicBezTo>
                    <a:pt x="1735924" y="29230"/>
                    <a:pt x="1729957" y="17365"/>
                    <a:pt x="1719120" y="854"/>
                  </a:cubicBezTo>
                  <a:cubicBezTo>
                    <a:pt x="1715629" y="-3358"/>
                    <a:pt x="1721311" y="5266"/>
                    <a:pt x="1718592" y="112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0CE7A8E9-D4A5-4679-8492-08FFF5425D11}"/>
                </a:ext>
              </a:extLst>
            </p:cNvPr>
            <p:cNvSpPr/>
            <p:nvPr/>
          </p:nvSpPr>
          <p:spPr>
            <a:xfrm>
              <a:off x="652802" y="5602226"/>
              <a:ext cx="33518" cy="37941"/>
            </a:xfrm>
            <a:custGeom>
              <a:avLst/>
              <a:gdLst>
                <a:gd name="connsiteX0" fmla="*/ 28830 w 33518"/>
                <a:gd name="connsiteY0" fmla="*/ 1025 h 37941"/>
                <a:gd name="connsiteX1" fmla="*/ 417 w 33518"/>
                <a:gd name="connsiteY1" fmla="*/ 37557 h 37941"/>
                <a:gd name="connsiteX2" fmla="*/ 28830 w 33518"/>
                <a:gd name="connsiteY2" fmla="*/ 1025 h 3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18" h="37941">
                  <a:moveTo>
                    <a:pt x="28830" y="1025"/>
                  </a:moveTo>
                  <a:cubicBezTo>
                    <a:pt x="19291" y="5905"/>
                    <a:pt x="-3642" y="31775"/>
                    <a:pt x="417" y="37557"/>
                  </a:cubicBezTo>
                  <a:cubicBezTo>
                    <a:pt x="1756" y="39295"/>
                    <a:pt x="47948" y="-8969"/>
                    <a:pt x="28830" y="102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E8B842F7-C120-465F-B6F7-72A785C069C9}"/>
                </a:ext>
              </a:extLst>
            </p:cNvPr>
            <p:cNvSpPr/>
            <p:nvPr/>
          </p:nvSpPr>
          <p:spPr>
            <a:xfrm>
              <a:off x="651006" y="5597707"/>
              <a:ext cx="41035" cy="43985"/>
            </a:xfrm>
            <a:custGeom>
              <a:avLst/>
              <a:gdLst>
                <a:gd name="connsiteX0" fmla="*/ 5257 w 41035"/>
                <a:gd name="connsiteY0" fmla="*/ 41808 h 43985"/>
                <a:gd name="connsiteX1" fmla="*/ 5257 w 41035"/>
                <a:gd name="connsiteY1" fmla="*/ 41808 h 43985"/>
                <a:gd name="connsiteX2" fmla="*/ 1969 w 41035"/>
                <a:gd name="connsiteY2" fmla="*/ 43647 h 43985"/>
                <a:gd name="connsiteX3" fmla="*/ 1117 w 41035"/>
                <a:gd name="connsiteY3" fmla="*/ 43647 h 43985"/>
                <a:gd name="connsiteX4" fmla="*/ 630 w 41035"/>
                <a:gd name="connsiteY4" fmla="*/ 43179 h 43985"/>
                <a:gd name="connsiteX5" fmla="*/ 24172 w 41035"/>
                <a:gd name="connsiteY5" fmla="*/ 8452 h 43985"/>
                <a:gd name="connsiteX6" fmla="*/ 24415 w 41035"/>
                <a:gd name="connsiteY6" fmla="*/ 7917 h 43985"/>
                <a:gd name="connsiteX7" fmla="*/ 25958 w 41035"/>
                <a:gd name="connsiteY7" fmla="*/ 6513 h 43985"/>
                <a:gd name="connsiteX8" fmla="*/ 25958 w 41035"/>
                <a:gd name="connsiteY8" fmla="*/ 6513 h 43985"/>
                <a:gd name="connsiteX9" fmla="*/ 26404 w 41035"/>
                <a:gd name="connsiteY9" fmla="*/ 6280 h 43985"/>
                <a:gd name="connsiteX10" fmla="*/ 34522 w 41035"/>
                <a:gd name="connsiteY10" fmla="*/ 2001 h 43985"/>
                <a:gd name="connsiteX11" fmla="*/ 34522 w 41035"/>
                <a:gd name="connsiteY11" fmla="*/ 2001 h 43985"/>
                <a:gd name="connsiteX12" fmla="*/ 34969 w 41035"/>
                <a:gd name="connsiteY12" fmla="*/ 1800 h 43985"/>
                <a:gd name="connsiteX13" fmla="*/ 40976 w 41035"/>
                <a:gd name="connsiteY13" fmla="*/ -339 h 43985"/>
                <a:gd name="connsiteX14" fmla="*/ 36917 w 41035"/>
                <a:gd name="connsiteY14" fmla="*/ 3004 h 43985"/>
                <a:gd name="connsiteX15" fmla="*/ 36917 w 41035"/>
                <a:gd name="connsiteY15" fmla="*/ 3004 h 43985"/>
                <a:gd name="connsiteX16" fmla="*/ 5257 w 41035"/>
                <a:gd name="connsiteY16" fmla="*/ 41808 h 43985"/>
                <a:gd name="connsiteX17" fmla="*/ 26891 w 41035"/>
                <a:gd name="connsiteY17" fmla="*/ 9488 h 43985"/>
                <a:gd name="connsiteX18" fmla="*/ 3796 w 41035"/>
                <a:gd name="connsiteY18" fmla="*/ 39870 h 43985"/>
                <a:gd name="connsiteX19" fmla="*/ 33386 w 41035"/>
                <a:gd name="connsiteY19" fmla="*/ 5711 h 43985"/>
                <a:gd name="connsiteX20" fmla="*/ 33386 w 41035"/>
                <a:gd name="connsiteY20" fmla="*/ 5711 h 43985"/>
                <a:gd name="connsiteX21" fmla="*/ 30910 w 41035"/>
                <a:gd name="connsiteY21" fmla="*/ 6747 h 43985"/>
                <a:gd name="connsiteX22" fmla="*/ 26891 w 41035"/>
                <a:gd name="connsiteY22" fmla="*/ 9488 h 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035" h="43985">
                  <a:moveTo>
                    <a:pt x="5257" y="41808"/>
                  </a:moveTo>
                  <a:lnTo>
                    <a:pt x="5257" y="41808"/>
                  </a:lnTo>
                  <a:cubicBezTo>
                    <a:pt x="4364" y="42644"/>
                    <a:pt x="3232" y="43279"/>
                    <a:pt x="1969" y="43647"/>
                  </a:cubicBezTo>
                  <a:lnTo>
                    <a:pt x="1117" y="43647"/>
                  </a:lnTo>
                  <a:lnTo>
                    <a:pt x="630" y="43179"/>
                  </a:lnTo>
                  <a:cubicBezTo>
                    <a:pt x="-3673" y="37597"/>
                    <a:pt x="13132" y="17510"/>
                    <a:pt x="24172" y="8452"/>
                  </a:cubicBezTo>
                  <a:lnTo>
                    <a:pt x="24415" y="7917"/>
                  </a:lnTo>
                  <a:cubicBezTo>
                    <a:pt x="24793" y="7349"/>
                    <a:pt x="25321" y="6881"/>
                    <a:pt x="25958" y="6513"/>
                  </a:cubicBezTo>
                  <a:lnTo>
                    <a:pt x="25958" y="6513"/>
                  </a:lnTo>
                  <a:lnTo>
                    <a:pt x="26404" y="6280"/>
                  </a:lnTo>
                  <a:cubicBezTo>
                    <a:pt x="28986" y="4708"/>
                    <a:pt x="31697" y="3271"/>
                    <a:pt x="34522" y="2001"/>
                  </a:cubicBezTo>
                  <a:lnTo>
                    <a:pt x="34522" y="2001"/>
                  </a:lnTo>
                  <a:lnTo>
                    <a:pt x="34969" y="1800"/>
                  </a:lnTo>
                  <a:lnTo>
                    <a:pt x="40976" y="-339"/>
                  </a:lnTo>
                  <a:lnTo>
                    <a:pt x="36917" y="3004"/>
                  </a:lnTo>
                  <a:lnTo>
                    <a:pt x="36917" y="3004"/>
                  </a:lnTo>
                  <a:cubicBezTo>
                    <a:pt x="39718" y="7750"/>
                    <a:pt x="11670" y="36595"/>
                    <a:pt x="5257" y="41808"/>
                  </a:cubicBezTo>
                  <a:close/>
                  <a:moveTo>
                    <a:pt x="26891" y="9488"/>
                  </a:moveTo>
                  <a:cubicBezTo>
                    <a:pt x="16866" y="17409"/>
                    <a:pt x="2862" y="34355"/>
                    <a:pt x="3796" y="39870"/>
                  </a:cubicBezTo>
                  <a:cubicBezTo>
                    <a:pt x="12726" y="32417"/>
                    <a:pt x="34563" y="7917"/>
                    <a:pt x="33386" y="5711"/>
                  </a:cubicBezTo>
                  <a:lnTo>
                    <a:pt x="33386" y="5711"/>
                  </a:lnTo>
                  <a:cubicBezTo>
                    <a:pt x="32513" y="5978"/>
                    <a:pt x="31681" y="6313"/>
                    <a:pt x="30910" y="6747"/>
                  </a:cubicBezTo>
                  <a:cubicBezTo>
                    <a:pt x="29469" y="7549"/>
                    <a:pt x="28125" y="8485"/>
                    <a:pt x="26891" y="948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DCEDB522-1463-4B37-8D83-013ACDE60A33}"/>
                </a:ext>
              </a:extLst>
            </p:cNvPr>
            <p:cNvSpPr/>
            <p:nvPr/>
          </p:nvSpPr>
          <p:spPr>
            <a:xfrm>
              <a:off x="608327" y="5685688"/>
              <a:ext cx="14219" cy="22572"/>
            </a:xfrm>
            <a:custGeom>
              <a:avLst/>
              <a:gdLst>
                <a:gd name="connsiteX0" fmla="*/ 5316 w 14219"/>
                <a:gd name="connsiteY0" fmla="*/ 19907 h 22572"/>
                <a:gd name="connsiteX1" fmla="*/ 7873 w 14219"/>
                <a:gd name="connsiteY1" fmla="*/ -147 h 22572"/>
                <a:gd name="connsiteX2" fmla="*/ 5316 w 14219"/>
                <a:gd name="connsiteY2" fmla="*/ 19907 h 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9" h="22572">
                  <a:moveTo>
                    <a:pt x="5316" y="19907"/>
                  </a:moveTo>
                  <a:cubicBezTo>
                    <a:pt x="15626" y="6136"/>
                    <a:pt x="17493" y="-1685"/>
                    <a:pt x="7873" y="-147"/>
                  </a:cubicBezTo>
                  <a:cubicBezTo>
                    <a:pt x="-1747" y="1390"/>
                    <a:pt x="-2639" y="30536"/>
                    <a:pt x="5316" y="199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6A274E28-BE18-4935-AEC6-F32B90B52EEF}"/>
                </a:ext>
              </a:extLst>
            </p:cNvPr>
            <p:cNvSpPr/>
            <p:nvPr/>
          </p:nvSpPr>
          <p:spPr>
            <a:xfrm>
              <a:off x="606443" y="5686147"/>
              <a:ext cx="8152" cy="23664"/>
            </a:xfrm>
            <a:custGeom>
              <a:avLst/>
              <a:gdLst>
                <a:gd name="connsiteX0" fmla="*/ 6673 w 8152"/>
                <a:gd name="connsiteY0" fmla="*/ 21855 h 23664"/>
                <a:gd name="connsiteX1" fmla="*/ 1640 w 8152"/>
                <a:gd name="connsiteY1" fmla="*/ 22790 h 23664"/>
                <a:gd name="connsiteX2" fmla="*/ 259 w 8152"/>
                <a:gd name="connsiteY2" fmla="*/ 12329 h 23664"/>
                <a:gd name="connsiteX3" fmla="*/ 6186 w 8152"/>
                <a:gd name="connsiteY3" fmla="*/ -339 h 23664"/>
                <a:gd name="connsiteX4" fmla="*/ 8093 w 8152"/>
                <a:gd name="connsiteY4" fmla="*/ 1232 h 23664"/>
                <a:gd name="connsiteX5" fmla="*/ 4034 w 8152"/>
                <a:gd name="connsiteY5" fmla="*/ 11058 h 23664"/>
                <a:gd name="connsiteX6" fmla="*/ 4968 w 8152"/>
                <a:gd name="connsiteY6" fmla="*/ 20083 h 23664"/>
                <a:gd name="connsiteX7" fmla="*/ 4724 w 8152"/>
                <a:gd name="connsiteY7" fmla="*/ 20317 h 23664"/>
                <a:gd name="connsiteX8" fmla="*/ 6673 w 8152"/>
                <a:gd name="connsiteY8" fmla="*/ 21855 h 2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52" h="23664">
                  <a:moveTo>
                    <a:pt x="6673" y="21855"/>
                  </a:moveTo>
                  <a:cubicBezTo>
                    <a:pt x="4806" y="23392"/>
                    <a:pt x="2817" y="23760"/>
                    <a:pt x="1640" y="22790"/>
                  </a:cubicBezTo>
                  <a:cubicBezTo>
                    <a:pt x="-268" y="21186"/>
                    <a:pt x="-309" y="16105"/>
                    <a:pt x="259" y="12329"/>
                  </a:cubicBezTo>
                  <a:cubicBezTo>
                    <a:pt x="609" y="7716"/>
                    <a:pt x="2679" y="3271"/>
                    <a:pt x="6186" y="-339"/>
                  </a:cubicBezTo>
                  <a:lnTo>
                    <a:pt x="8093" y="1232"/>
                  </a:lnTo>
                  <a:cubicBezTo>
                    <a:pt x="5646" y="4140"/>
                    <a:pt x="4237" y="7549"/>
                    <a:pt x="4034" y="11058"/>
                  </a:cubicBezTo>
                  <a:cubicBezTo>
                    <a:pt x="3194" y="14067"/>
                    <a:pt x="3519" y="17242"/>
                    <a:pt x="4968" y="20083"/>
                  </a:cubicBezTo>
                  <a:cubicBezTo>
                    <a:pt x="4968" y="20083"/>
                    <a:pt x="4968" y="20083"/>
                    <a:pt x="4724" y="20317"/>
                  </a:cubicBezTo>
                  <a:cubicBezTo>
                    <a:pt x="5496" y="20852"/>
                    <a:pt x="5983" y="21353"/>
                    <a:pt x="6673" y="2185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16D6E17C-9F93-4D82-8F14-9F298DC4807B}"/>
                </a:ext>
              </a:extLst>
            </p:cNvPr>
            <p:cNvSpPr/>
            <p:nvPr/>
          </p:nvSpPr>
          <p:spPr>
            <a:xfrm>
              <a:off x="472869" y="5553108"/>
              <a:ext cx="49218" cy="38034"/>
            </a:xfrm>
            <a:custGeom>
              <a:avLst/>
              <a:gdLst>
                <a:gd name="connsiteX0" fmla="*/ 20508 w 49218"/>
                <a:gd name="connsiteY0" fmla="*/ 14748 h 38034"/>
                <a:gd name="connsiteX1" fmla="*/ 213 w 49218"/>
                <a:gd name="connsiteY1" fmla="*/ 33499 h 38034"/>
                <a:gd name="connsiteX2" fmla="*/ 29275 w 49218"/>
                <a:gd name="connsiteY2" fmla="*/ 25276 h 38034"/>
                <a:gd name="connsiteX3" fmla="*/ 44496 w 49218"/>
                <a:gd name="connsiteY3" fmla="*/ -259 h 38034"/>
                <a:gd name="connsiteX4" fmla="*/ 20386 w 49218"/>
                <a:gd name="connsiteY4" fmla="*/ 14748 h 3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18" h="38034">
                  <a:moveTo>
                    <a:pt x="20508" y="14748"/>
                  </a:moveTo>
                  <a:cubicBezTo>
                    <a:pt x="14094" y="11406"/>
                    <a:pt x="1430" y="29354"/>
                    <a:pt x="213" y="33499"/>
                  </a:cubicBezTo>
                  <a:cubicBezTo>
                    <a:pt x="-2994" y="45096"/>
                    <a:pt x="23065" y="29421"/>
                    <a:pt x="29275" y="25276"/>
                  </a:cubicBezTo>
                  <a:cubicBezTo>
                    <a:pt x="38408" y="19127"/>
                    <a:pt x="58134" y="1579"/>
                    <a:pt x="44496" y="-259"/>
                  </a:cubicBezTo>
                  <a:cubicBezTo>
                    <a:pt x="33618" y="-1730"/>
                    <a:pt x="25987" y="17723"/>
                    <a:pt x="20386" y="1474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AD70F910-F32C-4CF1-8229-6123A5684A40}"/>
                </a:ext>
              </a:extLst>
            </p:cNvPr>
            <p:cNvSpPr/>
            <p:nvPr/>
          </p:nvSpPr>
          <p:spPr>
            <a:xfrm>
              <a:off x="471045" y="5551766"/>
              <a:ext cx="52995" cy="40996"/>
            </a:xfrm>
            <a:custGeom>
              <a:avLst/>
              <a:gdLst>
                <a:gd name="connsiteX0" fmla="*/ 37755 w 52995"/>
                <a:gd name="connsiteY0" fmla="*/ 23276 h 40996"/>
                <a:gd name="connsiteX1" fmla="*/ 31870 w 52995"/>
                <a:gd name="connsiteY1" fmla="*/ 27655 h 40996"/>
                <a:gd name="connsiteX2" fmla="*/ 2524 w 52995"/>
                <a:gd name="connsiteY2" fmla="*/ 40556 h 40996"/>
                <a:gd name="connsiteX3" fmla="*/ 251 w 52995"/>
                <a:gd name="connsiteY3" fmla="*/ 35409 h 40996"/>
                <a:gd name="connsiteX4" fmla="*/ 13483 w 52995"/>
                <a:gd name="connsiteY4" fmla="*/ 17795 h 40996"/>
                <a:gd name="connsiteX5" fmla="*/ 19490 w 52995"/>
                <a:gd name="connsiteY5" fmla="*/ 14452 h 40996"/>
                <a:gd name="connsiteX6" fmla="*/ 19490 w 52995"/>
                <a:gd name="connsiteY6" fmla="*/ 14452 h 40996"/>
                <a:gd name="connsiteX7" fmla="*/ 21966 w 52995"/>
                <a:gd name="connsiteY7" fmla="*/ 13817 h 40996"/>
                <a:gd name="connsiteX8" fmla="*/ 21966 w 52995"/>
                <a:gd name="connsiteY8" fmla="*/ 13817 h 40996"/>
                <a:gd name="connsiteX9" fmla="*/ 22981 w 52995"/>
                <a:gd name="connsiteY9" fmla="*/ 14352 h 40996"/>
                <a:gd name="connsiteX10" fmla="*/ 23914 w 52995"/>
                <a:gd name="connsiteY10" fmla="*/ 14820 h 40996"/>
                <a:gd name="connsiteX11" fmla="*/ 25781 w 52995"/>
                <a:gd name="connsiteY11" fmla="*/ 14252 h 40996"/>
                <a:gd name="connsiteX12" fmla="*/ 29840 w 52995"/>
                <a:gd name="connsiteY12" fmla="*/ 10141 h 40996"/>
                <a:gd name="connsiteX13" fmla="*/ 36254 w 52995"/>
                <a:gd name="connsiteY13" fmla="*/ 3757 h 40996"/>
                <a:gd name="connsiteX14" fmla="*/ 47538 w 52995"/>
                <a:gd name="connsiteY14" fmla="*/ -321 h 40996"/>
                <a:gd name="connsiteX15" fmla="*/ 52895 w 52995"/>
                <a:gd name="connsiteY15" fmla="*/ 4826 h 40996"/>
                <a:gd name="connsiteX16" fmla="*/ 37755 w 52995"/>
                <a:gd name="connsiteY16" fmla="*/ 23276 h 40996"/>
                <a:gd name="connsiteX17" fmla="*/ 15390 w 52995"/>
                <a:gd name="connsiteY17" fmla="*/ 19366 h 40996"/>
                <a:gd name="connsiteX18" fmla="*/ 4025 w 52995"/>
                <a:gd name="connsiteY18" fmla="*/ 34373 h 40996"/>
                <a:gd name="connsiteX19" fmla="*/ 5081 w 52995"/>
                <a:gd name="connsiteY19" fmla="*/ 37414 h 40996"/>
                <a:gd name="connsiteX20" fmla="*/ 30571 w 52995"/>
                <a:gd name="connsiteY20" fmla="*/ 25649 h 40996"/>
                <a:gd name="connsiteX21" fmla="*/ 49161 w 52995"/>
                <a:gd name="connsiteY21" fmla="*/ 6097 h 40996"/>
                <a:gd name="connsiteX22" fmla="*/ 45102 w 52995"/>
                <a:gd name="connsiteY22" fmla="*/ 2754 h 40996"/>
                <a:gd name="connsiteX23" fmla="*/ 38121 w 52995"/>
                <a:gd name="connsiteY23" fmla="*/ 5294 h 40996"/>
                <a:gd name="connsiteX24" fmla="*/ 32519 w 52995"/>
                <a:gd name="connsiteY24" fmla="*/ 10876 h 40996"/>
                <a:gd name="connsiteX25" fmla="*/ 25822 w 52995"/>
                <a:gd name="connsiteY25" fmla="*/ 17026 h 40996"/>
                <a:gd name="connsiteX26" fmla="*/ 25335 w 52995"/>
                <a:gd name="connsiteY26" fmla="*/ 17627 h 40996"/>
                <a:gd name="connsiteX27" fmla="*/ 24686 w 52995"/>
                <a:gd name="connsiteY27" fmla="*/ 18296 h 40996"/>
                <a:gd name="connsiteX28" fmla="*/ 23833 w 52995"/>
                <a:gd name="connsiteY28" fmla="*/ 18597 h 40996"/>
                <a:gd name="connsiteX29" fmla="*/ 22453 w 52995"/>
                <a:gd name="connsiteY29" fmla="*/ 18597 h 40996"/>
                <a:gd name="connsiteX30" fmla="*/ 22453 w 52995"/>
                <a:gd name="connsiteY30" fmla="*/ 18597 h 40996"/>
                <a:gd name="connsiteX31" fmla="*/ 21641 w 52995"/>
                <a:gd name="connsiteY31" fmla="*/ 18162 h 40996"/>
                <a:gd name="connsiteX32" fmla="*/ 20627 w 52995"/>
                <a:gd name="connsiteY32" fmla="*/ 17661 h 40996"/>
                <a:gd name="connsiteX33" fmla="*/ 20627 w 52995"/>
                <a:gd name="connsiteY33" fmla="*/ 17661 h 40996"/>
                <a:gd name="connsiteX34" fmla="*/ 15390 w 52995"/>
                <a:gd name="connsiteY34" fmla="*/ 19432 h 4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995" h="40996">
                  <a:moveTo>
                    <a:pt x="37755" y="23276"/>
                  </a:moveTo>
                  <a:cubicBezTo>
                    <a:pt x="35726" y="24947"/>
                    <a:pt x="33696" y="26451"/>
                    <a:pt x="31870" y="27655"/>
                  </a:cubicBezTo>
                  <a:cubicBezTo>
                    <a:pt x="31870" y="27655"/>
                    <a:pt x="10195" y="41993"/>
                    <a:pt x="2524" y="40556"/>
                  </a:cubicBezTo>
                  <a:cubicBezTo>
                    <a:pt x="900" y="40255"/>
                    <a:pt x="-764" y="39119"/>
                    <a:pt x="251" y="35409"/>
                  </a:cubicBezTo>
                  <a:cubicBezTo>
                    <a:pt x="3157" y="28858"/>
                    <a:pt x="7662" y="22875"/>
                    <a:pt x="13483" y="17795"/>
                  </a:cubicBezTo>
                  <a:cubicBezTo>
                    <a:pt x="15175" y="16357"/>
                    <a:pt x="17221" y="15188"/>
                    <a:pt x="19490" y="14452"/>
                  </a:cubicBezTo>
                  <a:lnTo>
                    <a:pt x="19490" y="14452"/>
                  </a:lnTo>
                  <a:cubicBezTo>
                    <a:pt x="20505" y="13617"/>
                    <a:pt x="20911" y="13416"/>
                    <a:pt x="21966" y="13817"/>
                  </a:cubicBezTo>
                  <a:lnTo>
                    <a:pt x="21966" y="13817"/>
                  </a:lnTo>
                  <a:lnTo>
                    <a:pt x="22981" y="14352"/>
                  </a:lnTo>
                  <a:lnTo>
                    <a:pt x="23914" y="14820"/>
                  </a:lnTo>
                  <a:cubicBezTo>
                    <a:pt x="24483" y="15087"/>
                    <a:pt x="24807" y="15021"/>
                    <a:pt x="25781" y="14252"/>
                  </a:cubicBezTo>
                  <a:cubicBezTo>
                    <a:pt x="27222" y="12949"/>
                    <a:pt x="28578" y="11578"/>
                    <a:pt x="29840" y="10141"/>
                  </a:cubicBezTo>
                  <a:cubicBezTo>
                    <a:pt x="31768" y="7868"/>
                    <a:pt x="33912" y="5729"/>
                    <a:pt x="36254" y="3757"/>
                  </a:cubicBezTo>
                  <a:cubicBezTo>
                    <a:pt x="39006" y="983"/>
                    <a:pt x="43199" y="-521"/>
                    <a:pt x="47538" y="-321"/>
                  </a:cubicBezTo>
                  <a:cubicBezTo>
                    <a:pt x="51597" y="214"/>
                    <a:pt x="53220" y="1952"/>
                    <a:pt x="52895" y="4826"/>
                  </a:cubicBezTo>
                  <a:cubicBezTo>
                    <a:pt x="52287" y="11077"/>
                    <a:pt x="41165" y="20502"/>
                    <a:pt x="37755" y="23276"/>
                  </a:cubicBezTo>
                  <a:close/>
                  <a:moveTo>
                    <a:pt x="15390" y="19366"/>
                  </a:moveTo>
                  <a:cubicBezTo>
                    <a:pt x="10471" y="23711"/>
                    <a:pt x="6615" y="28825"/>
                    <a:pt x="4025" y="34373"/>
                  </a:cubicBezTo>
                  <a:cubicBezTo>
                    <a:pt x="3295" y="37080"/>
                    <a:pt x="4634" y="37347"/>
                    <a:pt x="5081" y="37414"/>
                  </a:cubicBezTo>
                  <a:cubicBezTo>
                    <a:pt x="9464" y="38250"/>
                    <a:pt x="24077" y="30028"/>
                    <a:pt x="30571" y="25649"/>
                  </a:cubicBezTo>
                  <a:cubicBezTo>
                    <a:pt x="37065" y="21271"/>
                    <a:pt x="48552" y="11244"/>
                    <a:pt x="49161" y="6097"/>
                  </a:cubicBezTo>
                  <a:cubicBezTo>
                    <a:pt x="49161" y="4191"/>
                    <a:pt x="48106" y="3088"/>
                    <a:pt x="45102" y="2754"/>
                  </a:cubicBezTo>
                  <a:cubicBezTo>
                    <a:pt x="42407" y="2587"/>
                    <a:pt x="39789" y="3556"/>
                    <a:pt x="38121" y="5294"/>
                  </a:cubicBezTo>
                  <a:cubicBezTo>
                    <a:pt x="36112" y="7066"/>
                    <a:pt x="34240" y="8904"/>
                    <a:pt x="32519" y="10876"/>
                  </a:cubicBezTo>
                  <a:cubicBezTo>
                    <a:pt x="30648" y="13182"/>
                    <a:pt x="28395" y="15255"/>
                    <a:pt x="25822" y="17026"/>
                  </a:cubicBezTo>
                  <a:lnTo>
                    <a:pt x="25335" y="17627"/>
                  </a:lnTo>
                  <a:cubicBezTo>
                    <a:pt x="25096" y="17828"/>
                    <a:pt x="24880" y="18062"/>
                    <a:pt x="24686" y="18296"/>
                  </a:cubicBezTo>
                  <a:lnTo>
                    <a:pt x="23833" y="18597"/>
                  </a:lnTo>
                  <a:cubicBezTo>
                    <a:pt x="23411" y="18831"/>
                    <a:pt x="22875" y="18831"/>
                    <a:pt x="22453" y="18597"/>
                  </a:cubicBezTo>
                  <a:lnTo>
                    <a:pt x="22453" y="18597"/>
                  </a:lnTo>
                  <a:cubicBezTo>
                    <a:pt x="22169" y="18463"/>
                    <a:pt x="21897" y="18330"/>
                    <a:pt x="21641" y="18162"/>
                  </a:cubicBezTo>
                  <a:lnTo>
                    <a:pt x="20627" y="17661"/>
                  </a:lnTo>
                  <a:lnTo>
                    <a:pt x="20627" y="17661"/>
                  </a:lnTo>
                  <a:cubicBezTo>
                    <a:pt x="19815" y="17093"/>
                    <a:pt x="18435" y="16892"/>
                    <a:pt x="15390" y="1943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659F32AA-D279-4CF9-8C4C-002C65D70E84}"/>
                </a:ext>
              </a:extLst>
            </p:cNvPr>
            <p:cNvSpPr/>
            <p:nvPr/>
          </p:nvSpPr>
          <p:spPr>
            <a:xfrm>
              <a:off x="294219" y="4855383"/>
              <a:ext cx="1310283" cy="734334"/>
            </a:xfrm>
            <a:custGeom>
              <a:avLst/>
              <a:gdLst>
                <a:gd name="connsiteX0" fmla="*/ 1291630 w 1310283"/>
                <a:gd name="connsiteY0" fmla="*/ 107239 h 734334"/>
                <a:gd name="connsiteX1" fmla="*/ 1238620 w 1310283"/>
                <a:gd name="connsiteY1" fmla="*/ 112353 h 734334"/>
                <a:gd name="connsiteX2" fmla="*/ 1175625 w 1310283"/>
                <a:gd name="connsiteY2" fmla="*/ 109211 h 734334"/>
                <a:gd name="connsiteX3" fmla="*/ 1098504 w 1310283"/>
                <a:gd name="connsiteY3" fmla="*/ 113957 h 734334"/>
                <a:gd name="connsiteX4" fmla="*/ 1050771 w 1310283"/>
                <a:gd name="connsiteY4" fmla="*/ 125889 h 734334"/>
                <a:gd name="connsiteX5" fmla="*/ 1043099 w 1310283"/>
                <a:gd name="connsiteY5" fmla="*/ 142902 h 734334"/>
                <a:gd name="connsiteX6" fmla="*/ 1017649 w 1310283"/>
                <a:gd name="connsiteY6" fmla="*/ 167769 h 734334"/>
                <a:gd name="connsiteX7" fmla="*/ 977628 w 1310283"/>
                <a:gd name="connsiteY7" fmla="*/ 171111 h 734334"/>
                <a:gd name="connsiteX8" fmla="*/ 947510 w 1310283"/>
                <a:gd name="connsiteY8" fmla="*/ 169674 h 734334"/>
                <a:gd name="connsiteX9" fmla="*/ 891253 w 1310283"/>
                <a:gd name="connsiteY9" fmla="*/ 205504 h 734334"/>
                <a:gd name="connsiteX10" fmla="*/ 885530 w 1310283"/>
                <a:gd name="connsiteY10" fmla="*/ 199454 h 734334"/>
                <a:gd name="connsiteX11" fmla="*/ 702470 w 1310283"/>
                <a:gd name="connsiteY11" fmla="*/ 6433 h 734334"/>
                <a:gd name="connsiteX12" fmla="*/ 696016 w 1310283"/>
                <a:gd name="connsiteY12" fmla="*/ -252 h 734334"/>
                <a:gd name="connsiteX13" fmla="*/ 611874 w 1310283"/>
                <a:gd name="connsiteY13" fmla="*/ 39857 h 734334"/>
                <a:gd name="connsiteX14" fmla="*/ 539421 w 1310283"/>
                <a:gd name="connsiteY14" fmla="*/ 85346 h 734334"/>
                <a:gd name="connsiteX15" fmla="*/ 495624 w 1310283"/>
                <a:gd name="connsiteY15" fmla="*/ 114391 h 734334"/>
                <a:gd name="connsiteX16" fmla="*/ 439083 w 1310283"/>
                <a:gd name="connsiteY16" fmla="*/ 139760 h 734334"/>
                <a:gd name="connsiteX17" fmla="*/ 368091 w 1310283"/>
                <a:gd name="connsiteY17" fmla="*/ 193639 h 734334"/>
                <a:gd name="connsiteX18" fmla="*/ 356158 w 1310283"/>
                <a:gd name="connsiteY18" fmla="*/ 198184 h 734334"/>
                <a:gd name="connsiteX19" fmla="*/ 340977 w 1310283"/>
                <a:gd name="connsiteY19" fmla="*/ 206373 h 734334"/>
                <a:gd name="connsiteX20" fmla="*/ 316624 w 1310283"/>
                <a:gd name="connsiteY20" fmla="*/ 209080 h 734334"/>
                <a:gd name="connsiteX21" fmla="*/ 284598 w 1310283"/>
                <a:gd name="connsiteY21" fmla="*/ 235819 h 734334"/>
                <a:gd name="connsiteX22" fmla="*/ 267956 w 1310283"/>
                <a:gd name="connsiteY22" fmla="*/ 245846 h 734334"/>
                <a:gd name="connsiteX23" fmla="*/ 258743 w 1310283"/>
                <a:gd name="connsiteY23" fmla="*/ 243674 h 734334"/>
                <a:gd name="connsiteX24" fmla="*/ 238772 w 1310283"/>
                <a:gd name="connsiteY24" fmla="*/ 269176 h 734334"/>
                <a:gd name="connsiteX25" fmla="*/ 233861 w 1310283"/>
                <a:gd name="connsiteY25" fmla="*/ 260218 h 734334"/>
                <a:gd name="connsiteX26" fmla="*/ 205976 w 1310283"/>
                <a:gd name="connsiteY26" fmla="*/ 272218 h 734334"/>
                <a:gd name="connsiteX27" fmla="*/ 185438 w 1310283"/>
                <a:gd name="connsiteY27" fmla="*/ 302299 h 734334"/>
                <a:gd name="connsiteX28" fmla="*/ 151504 w 1310283"/>
                <a:gd name="connsiteY28" fmla="*/ 335990 h 734334"/>
                <a:gd name="connsiteX29" fmla="*/ 127151 w 1310283"/>
                <a:gd name="connsiteY29" fmla="*/ 363665 h 734334"/>
                <a:gd name="connsiteX30" fmla="*/ 138029 w 1310283"/>
                <a:gd name="connsiteY30" fmla="*/ 361392 h 734334"/>
                <a:gd name="connsiteX31" fmla="*/ 131940 w 1310283"/>
                <a:gd name="connsiteY31" fmla="*/ 370984 h 734334"/>
                <a:gd name="connsiteX32" fmla="*/ 113675 w 1310283"/>
                <a:gd name="connsiteY32" fmla="*/ 383886 h 734334"/>
                <a:gd name="connsiteX33" fmla="*/ 85749 w 1310283"/>
                <a:gd name="connsiteY33" fmla="*/ 409990 h 734334"/>
                <a:gd name="connsiteX34" fmla="*/ 66956 w 1310283"/>
                <a:gd name="connsiteY34" fmla="*/ 435057 h 734334"/>
                <a:gd name="connsiteX35" fmla="*/ 60624 w 1310283"/>
                <a:gd name="connsiteY35" fmla="*/ 456148 h 734334"/>
                <a:gd name="connsiteX36" fmla="*/ 63952 w 1310283"/>
                <a:gd name="connsiteY36" fmla="*/ 474698 h 734334"/>
                <a:gd name="connsiteX37" fmla="*/ 7614 w 1310283"/>
                <a:gd name="connsiteY37" fmla="*/ 532019 h 734334"/>
                <a:gd name="connsiteX38" fmla="*/ 18938 w 1310283"/>
                <a:gd name="connsiteY38" fmla="*/ 548196 h 734334"/>
                <a:gd name="connsiteX39" fmla="*/ 105151 w 1310283"/>
                <a:gd name="connsiteY39" fmla="*/ 518917 h 734334"/>
                <a:gd name="connsiteX40" fmla="*/ 156294 w 1310283"/>
                <a:gd name="connsiteY40" fmla="*/ 487065 h 734334"/>
                <a:gd name="connsiteX41" fmla="*/ 174438 w 1310283"/>
                <a:gd name="connsiteY41" fmla="*/ 487867 h 734334"/>
                <a:gd name="connsiteX42" fmla="*/ 210197 w 1310283"/>
                <a:gd name="connsiteY42" fmla="*/ 468280 h 734334"/>
                <a:gd name="connsiteX43" fmla="*/ 200293 w 1310283"/>
                <a:gd name="connsiteY43" fmla="*/ 482352 h 734334"/>
                <a:gd name="connsiteX44" fmla="*/ 175128 w 1310283"/>
                <a:gd name="connsiteY44" fmla="*/ 514405 h 734334"/>
                <a:gd name="connsiteX45" fmla="*/ 162707 w 1310283"/>
                <a:gd name="connsiteY45" fmla="*/ 519485 h 734334"/>
                <a:gd name="connsiteX46" fmla="*/ 146471 w 1310283"/>
                <a:gd name="connsiteY46" fmla="*/ 531184 h 734334"/>
                <a:gd name="connsiteX47" fmla="*/ 122808 w 1310283"/>
                <a:gd name="connsiteY47" fmla="*/ 542313 h 734334"/>
                <a:gd name="connsiteX48" fmla="*/ 79295 w 1310283"/>
                <a:gd name="connsiteY48" fmla="*/ 578712 h 734334"/>
                <a:gd name="connsiteX49" fmla="*/ 79295 w 1310283"/>
                <a:gd name="connsiteY49" fmla="*/ 588271 h 734334"/>
                <a:gd name="connsiteX50" fmla="*/ 46823 w 1310283"/>
                <a:gd name="connsiteY50" fmla="*/ 622463 h 734334"/>
                <a:gd name="connsiteX51" fmla="*/ 72476 w 1310283"/>
                <a:gd name="connsiteY51" fmla="*/ 624335 h 734334"/>
                <a:gd name="connsiteX52" fmla="*/ 85100 w 1310283"/>
                <a:gd name="connsiteY52" fmla="*/ 620525 h 734334"/>
                <a:gd name="connsiteX53" fmla="*/ 93218 w 1310283"/>
                <a:gd name="connsiteY53" fmla="*/ 624803 h 734334"/>
                <a:gd name="connsiteX54" fmla="*/ 161165 w 1310283"/>
                <a:gd name="connsiteY54" fmla="*/ 584695 h 734334"/>
                <a:gd name="connsiteX55" fmla="*/ 190511 w 1310283"/>
                <a:gd name="connsiteY55" fmla="*/ 564941 h 734334"/>
                <a:gd name="connsiteX56" fmla="*/ 209670 w 1310283"/>
                <a:gd name="connsiteY56" fmla="*/ 535094 h 734334"/>
                <a:gd name="connsiteX57" fmla="*/ 237636 w 1310283"/>
                <a:gd name="connsiteY57" fmla="*/ 511497 h 734334"/>
                <a:gd name="connsiteX58" fmla="*/ 239868 w 1310283"/>
                <a:gd name="connsiteY58" fmla="*/ 520421 h 734334"/>
                <a:gd name="connsiteX59" fmla="*/ 248960 w 1310283"/>
                <a:gd name="connsiteY59" fmla="*/ 554480 h 734334"/>
                <a:gd name="connsiteX60" fmla="*/ 228219 w 1310283"/>
                <a:gd name="connsiteY60" fmla="*/ 574868 h 734334"/>
                <a:gd name="connsiteX61" fmla="*/ 216042 w 1310283"/>
                <a:gd name="connsiteY61" fmla="*/ 598264 h 734334"/>
                <a:gd name="connsiteX62" fmla="*/ 192622 w 1310283"/>
                <a:gd name="connsiteY62" fmla="*/ 631889 h 734334"/>
                <a:gd name="connsiteX63" fmla="*/ 181135 w 1310283"/>
                <a:gd name="connsiteY63" fmla="*/ 646428 h 734334"/>
                <a:gd name="connsiteX64" fmla="*/ 176630 w 1310283"/>
                <a:gd name="connsiteY64" fmla="*/ 669824 h 734334"/>
                <a:gd name="connsiteX65" fmla="*/ 167375 w 1310283"/>
                <a:gd name="connsiteY65" fmla="*/ 683194 h 734334"/>
                <a:gd name="connsiteX66" fmla="*/ 198751 w 1310283"/>
                <a:gd name="connsiteY66" fmla="*/ 676710 h 734334"/>
                <a:gd name="connsiteX67" fmla="*/ 217057 w 1310283"/>
                <a:gd name="connsiteY67" fmla="*/ 684731 h 734334"/>
                <a:gd name="connsiteX68" fmla="*/ 277252 w 1310283"/>
                <a:gd name="connsiteY68" fmla="*/ 669490 h 734334"/>
                <a:gd name="connsiteX69" fmla="*/ 303716 w 1310283"/>
                <a:gd name="connsiteY69" fmla="*/ 631722 h 734334"/>
                <a:gd name="connsiteX70" fmla="*/ 324011 w 1310283"/>
                <a:gd name="connsiteY70" fmla="*/ 628145 h 734334"/>
                <a:gd name="connsiteX71" fmla="*/ 336188 w 1310283"/>
                <a:gd name="connsiteY71" fmla="*/ 641849 h 734334"/>
                <a:gd name="connsiteX72" fmla="*/ 369066 w 1310283"/>
                <a:gd name="connsiteY72" fmla="*/ 633359 h 734334"/>
                <a:gd name="connsiteX73" fmla="*/ 374708 w 1310283"/>
                <a:gd name="connsiteY73" fmla="*/ 619990 h 734334"/>
                <a:gd name="connsiteX74" fmla="*/ 404785 w 1310283"/>
                <a:gd name="connsiteY74" fmla="*/ 599936 h 734334"/>
                <a:gd name="connsiteX75" fmla="*/ 432548 w 1310283"/>
                <a:gd name="connsiteY75" fmla="*/ 592449 h 734334"/>
                <a:gd name="connsiteX76" fmla="*/ 431817 w 1310283"/>
                <a:gd name="connsiteY76" fmla="*/ 572963 h 734334"/>
                <a:gd name="connsiteX77" fmla="*/ 449149 w 1310283"/>
                <a:gd name="connsiteY77" fmla="*/ 569621 h 734334"/>
                <a:gd name="connsiteX78" fmla="*/ 475248 w 1310283"/>
                <a:gd name="connsiteY78" fmla="*/ 543584 h 734334"/>
                <a:gd name="connsiteX79" fmla="*/ 473300 w 1310283"/>
                <a:gd name="connsiteY79" fmla="*/ 567916 h 734334"/>
                <a:gd name="connsiteX80" fmla="*/ 486898 w 1310283"/>
                <a:gd name="connsiteY80" fmla="*/ 583057 h 734334"/>
                <a:gd name="connsiteX81" fmla="*/ 478333 w 1310283"/>
                <a:gd name="connsiteY81" fmla="*/ 605284 h 734334"/>
                <a:gd name="connsiteX82" fmla="*/ 458566 w 1310283"/>
                <a:gd name="connsiteY82" fmla="*/ 634830 h 734334"/>
                <a:gd name="connsiteX83" fmla="*/ 438758 w 1310283"/>
                <a:gd name="connsiteY83" fmla="*/ 677645 h 734334"/>
                <a:gd name="connsiteX84" fmla="*/ 412253 w 1310283"/>
                <a:gd name="connsiteY84" fmla="*/ 695661 h 734334"/>
                <a:gd name="connsiteX85" fmla="*/ 401619 w 1310283"/>
                <a:gd name="connsiteY85" fmla="*/ 721464 h 734334"/>
                <a:gd name="connsiteX86" fmla="*/ 419559 w 1310283"/>
                <a:gd name="connsiteY86" fmla="*/ 712306 h 734334"/>
                <a:gd name="connsiteX87" fmla="*/ 431127 w 1310283"/>
                <a:gd name="connsiteY87" fmla="*/ 696196 h 734334"/>
                <a:gd name="connsiteX88" fmla="*/ 456780 w 1310283"/>
                <a:gd name="connsiteY88" fmla="*/ 667351 h 734334"/>
                <a:gd name="connsiteX89" fmla="*/ 494285 w 1310283"/>
                <a:gd name="connsiteY89" fmla="*/ 623533 h 734334"/>
                <a:gd name="connsiteX90" fmla="*/ 522292 w 1310283"/>
                <a:gd name="connsiteY90" fmla="*/ 573865 h 734334"/>
                <a:gd name="connsiteX91" fmla="*/ 527244 w 1310283"/>
                <a:gd name="connsiteY91" fmla="*/ 557655 h 734334"/>
                <a:gd name="connsiteX92" fmla="*/ 538487 w 1310283"/>
                <a:gd name="connsiteY92" fmla="*/ 544286 h 734334"/>
                <a:gd name="connsiteX93" fmla="*/ 550136 w 1310283"/>
                <a:gd name="connsiteY93" fmla="*/ 523697 h 734334"/>
                <a:gd name="connsiteX94" fmla="*/ 568199 w 1310283"/>
                <a:gd name="connsiteY94" fmla="*/ 501904 h 734334"/>
                <a:gd name="connsiteX95" fmla="*/ 564424 w 1310283"/>
                <a:gd name="connsiteY95" fmla="*/ 494217 h 734334"/>
                <a:gd name="connsiteX96" fmla="*/ 573516 w 1310283"/>
                <a:gd name="connsiteY96" fmla="*/ 479343 h 734334"/>
                <a:gd name="connsiteX97" fmla="*/ 546280 w 1310283"/>
                <a:gd name="connsiteY97" fmla="*/ 475734 h 734334"/>
                <a:gd name="connsiteX98" fmla="*/ 562516 w 1310283"/>
                <a:gd name="connsiteY98" fmla="*/ 454142 h 734334"/>
                <a:gd name="connsiteX99" fmla="*/ 571000 w 1310283"/>
                <a:gd name="connsiteY99" fmla="*/ 424963 h 734334"/>
                <a:gd name="connsiteX100" fmla="*/ 582649 w 1310283"/>
                <a:gd name="connsiteY100" fmla="*/ 396587 h 734334"/>
                <a:gd name="connsiteX101" fmla="*/ 600914 w 1310283"/>
                <a:gd name="connsiteY101" fmla="*/ 369179 h 734334"/>
                <a:gd name="connsiteX102" fmla="*/ 607043 w 1310283"/>
                <a:gd name="connsiteY102" fmla="*/ 368812 h 734334"/>
                <a:gd name="connsiteX103" fmla="*/ 624740 w 1310283"/>
                <a:gd name="connsiteY103" fmla="*/ 359787 h 734334"/>
                <a:gd name="connsiteX104" fmla="*/ 633345 w 1310283"/>
                <a:gd name="connsiteY104" fmla="*/ 360055 h 734334"/>
                <a:gd name="connsiteX105" fmla="*/ 616095 w 1310283"/>
                <a:gd name="connsiteY105" fmla="*/ 371385 h 734334"/>
                <a:gd name="connsiteX106" fmla="*/ 596612 w 1310283"/>
                <a:gd name="connsiteY106" fmla="*/ 399829 h 734334"/>
                <a:gd name="connsiteX107" fmla="*/ 600955 w 1310283"/>
                <a:gd name="connsiteY107" fmla="*/ 422022 h 734334"/>
                <a:gd name="connsiteX108" fmla="*/ 612036 w 1310283"/>
                <a:gd name="connsiteY108" fmla="*/ 425732 h 734334"/>
                <a:gd name="connsiteX109" fmla="*/ 627135 w 1310283"/>
                <a:gd name="connsiteY109" fmla="*/ 423860 h 734334"/>
                <a:gd name="connsiteX110" fmla="*/ 662245 w 1310283"/>
                <a:gd name="connsiteY110" fmla="*/ 375363 h 734334"/>
                <a:gd name="connsiteX111" fmla="*/ 701902 w 1310283"/>
                <a:gd name="connsiteY111" fmla="*/ 344947 h 734334"/>
                <a:gd name="connsiteX112" fmla="*/ 685666 w 1310283"/>
                <a:gd name="connsiteY112" fmla="*/ 340034 h 734334"/>
                <a:gd name="connsiteX113" fmla="*/ 677954 w 1310283"/>
                <a:gd name="connsiteY113" fmla="*/ 323656 h 734334"/>
                <a:gd name="connsiteX114" fmla="*/ 716392 w 1310283"/>
                <a:gd name="connsiteY114" fmla="*/ 306042 h 734334"/>
                <a:gd name="connsiteX115" fmla="*/ 746226 w 1310283"/>
                <a:gd name="connsiteY115" fmla="*/ 294511 h 734334"/>
                <a:gd name="connsiteX116" fmla="*/ 729381 w 1310283"/>
                <a:gd name="connsiteY116" fmla="*/ 310120 h 734334"/>
                <a:gd name="connsiteX117" fmla="*/ 737255 w 1310283"/>
                <a:gd name="connsiteY117" fmla="*/ 312393 h 734334"/>
                <a:gd name="connsiteX118" fmla="*/ 753491 w 1310283"/>
                <a:gd name="connsiteY118" fmla="*/ 294110 h 734334"/>
                <a:gd name="connsiteX119" fmla="*/ 768509 w 1310283"/>
                <a:gd name="connsiteY119" fmla="*/ 289464 h 734334"/>
                <a:gd name="connsiteX120" fmla="*/ 779347 w 1310283"/>
                <a:gd name="connsiteY120" fmla="*/ 275393 h 734334"/>
                <a:gd name="connsiteX121" fmla="*/ 796395 w 1310283"/>
                <a:gd name="connsiteY121" fmla="*/ 274724 h 734334"/>
                <a:gd name="connsiteX122" fmla="*/ 834427 w 1310283"/>
                <a:gd name="connsiteY122" fmla="*/ 253734 h 734334"/>
                <a:gd name="connsiteX123" fmla="*/ 888127 w 1310283"/>
                <a:gd name="connsiteY123" fmla="*/ 218272 h 734334"/>
                <a:gd name="connsiteX124" fmla="*/ 932776 w 1310283"/>
                <a:gd name="connsiteY124" fmla="*/ 194006 h 734334"/>
                <a:gd name="connsiteX125" fmla="*/ 950311 w 1310283"/>
                <a:gd name="connsiteY125" fmla="*/ 184882 h 734334"/>
                <a:gd name="connsiteX126" fmla="*/ 957252 w 1310283"/>
                <a:gd name="connsiteY126" fmla="*/ 195945 h 734334"/>
                <a:gd name="connsiteX127" fmla="*/ 1019922 w 1310283"/>
                <a:gd name="connsiteY127" fmla="*/ 178431 h 734334"/>
                <a:gd name="connsiteX128" fmla="*/ 1056818 w 1310283"/>
                <a:gd name="connsiteY128" fmla="*/ 162087 h 734334"/>
                <a:gd name="connsiteX129" fmla="*/ 1078047 w 1310283"/>
                <a:gd name="connsiteY129" fmla="*/ 148918 h 734334"/>
                <a:gd name="connsiteX130" fmla="*/ 1097165 w 1310283"/>
                <a:gd name="connsiteY130" fmla="*/ 142400 h 734334"/>
                <a:gd name="connsiteX131" fmla="*/ 1075409 w 1310283"/>
                <a:gd name="connsiteY131" fmla="*/ 129900 h 734334"/>
                <a:gd name="connsiteX132" fmla="*/ 1093187 w 1310283"/>
                <a:gd name="connsiteY132" fmla="*/ 127861 h 734334"/>
                <a:gd name="connsiteX133" fmla="*/ 1111168 w 1310283"/>
                <a:gd name="connsiteY133" fmla="*/ 144573 h 734334"/>
                <a:gd name="connsiteX134" fmla="*/ 1089980 w 1310283"/>
                <a:gd name="connsiteY134" fmla="*/ 156338 h 734334"/>
                <a:gd name="connsiteX135" fmla="*/ 1072892 w 1310283"/>
                <a:gd name="connsiteY135" fmla="*/ 164025 h 734334"/>
                <a:gd name="connsiteX136" fmla="*/ 1116485 w 1310283"/>
                <a:gd name="connsiteY136" fmla="*/ 169841 h 734334"/>
                <a:gd name="connsiteX137" fmla="*/ 1141123 w 1310283"/>
                <a:gd name="connsiteY137" fmla="*/ 164594 h 734334"/>
                <a:gd name="connsiteX138" fmla="*/ 1120220 w 1310283"/>
                <a:gd name="connsiteY138" fmla="*/ 155636 h 734334"/>
                <a:gd name="connsiteX139" fmla="*/ 1132397 w 1310283"/>
                <a:gd name="connsiteY139" fmla="*/ 151291 h 734334"/>
                <a:gd name="connsiteX140" fmla="*/ 1149769 w 1310283"/>
                <a:gd name="connsiteY140" fmla="*/ 139894 h 734334"/>
                <a:gd name="connsiteX141" fmla="*/ 1137592 w 1310283"/>
                <a:gd name="connsiteY141" fmla="*/ 127126 h 734334"/>
                <a:gd name="connsiteX142" fmla="*/ 1166005 w 1310283"/>
                <a:gd name="connsiteY142" fmla="*/ 128630 h 734334"/>
                <a:gd name="connsiteX143" fmla="*/ 1161946 w 1310283"/>
                <a:gd name="connsiteY143" fmla="*/ 143771 h 734334"/>
                <a:gd name="connsiteX144" fmla="*/ 1150216 w 1310283"/>
                <a:gd name="connsiteY144" fmla="*/ 158778 h 734334"/>
                <a:gd name="connsiteX145" fmla="*/ 1165274 w 1310283"/>
                <a:gd name="connsiteY145" fmla="*/ 167134 h 734334"/>
                <a:gd name="connsiteX146" fmla="*/ 1168440 w 1310283"/>
                <a:gd name="connsiteY146" fmla="*/ 155837 h 734334"/>
                <a:gd name="connsiteX147" fmla="*/ 1180617 w 1310283"/>
                <a:gd name="connsiteY147" fmla="*/ 149152 h 734334"/>
                <a:gd name="connsiteX148" fmla="*/ 1199491 w 1310283"/>
                <a:gd name="connsiteY148" fmla="*/ 143637 h 734334"/>
                <a:gd name="connsiteX149" fmla="*/ 1219502 w 1310283"/>
                <a:gd name="connsiteY149" fmla="*/ 134078 h 734334"/>
                <a:gd name="connsiteX150" fmla="*/ 1193647 w 1310283"/>
                <a:gd name="connsiteY150" fmla="*/ 135983 h 734334"/>
                <a:gd name="connsiteX151" fmla="*/ 1216702 w 1310283"/>
                <a:gd name="connsiteY151" fmla="*/ 126324 h 734334"/>
                <a:gd name="connsiteX152" fmla="*/ 1227823 w 1310283"/>
                <a:gd name="connsiteY152" fmla="*/ 139192 h 734334"/>
                <a:gd name="connsiteX153" fmla="*/ 1202414 w 1310283"/>
                <a:gd name="connsiteY153" fmla="*/ 151993 h 734334"/>
                <a:gd name="connsiteX154" fmla="*/ 1201886 w 1310283"/>
                <a:gd name="connsiteY154" fmla="*/ 162020 h 734334"/>
                <a:gd name="connsiteX155" fmla="*/ 1214063 w 1310283"/>
                <a:gd name="connsiteY155" fmla="*/ 176492 h 734334"/>
                <a:gd name="connsiteX156" fmla="*/ 1224617 w 1310283"/>
                <a:gd name="connsiteY156" fmla="*/ 166031 h 734334"/>
                <a:gd name="connsiteX157" fmla="*/ 1245561 w 1310283"/>
                <a:gd name="connsiteY157" fmla="*/ 152895 h 734334"/>
                <a:gd name="connsiteX158" fmla="*/ 1259037 w 1310283"/>
                <a:gd name="connsiteY158" fmla="*/ 141899 h 734334"/>
                <a:gd name="connsiteX159" fmla="*/ 1269347 w 1310283"/>
                <a:gd name="connsiteY159" fmla="*/ 130702 h 734334"/>
                <a:gd name="connsiteX160" fmla="*/ 1282213 w 1310283"/>
                <a:gd name="connsiteY160" fmla="*/ 139492 h 734334"/>
                <a:gd name="connsiteX161" fmla="*/ 1294390 w 1310283"/>
                <a:gd name="connsiteY161" fmla="*/ 134579 h 734334"/>
                <a:gd name="connsiteX162" fmla="*/ 1309611 w 1310283"/>
                <a:gd name="connsiteY162" fmla="*/ 110949 h 734334"/>
                <a:gd name="connsiteX163" fmla="*/ 1291265 w 1310283"/>
                <a:gd name="connsiteY163" fmla="*/ 107205 h 734334"/>
                <a:gd name="connsiteX164" fmla="*/ 1291630 w 1310283"/>
                <a:gd name="connsiteY164" fmla="*/ 107239 h 73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310283" h="734334">
                  <a:moveTo>
                    <a:pt x="1291630" y="107239"/>
                  </a:moveTo>
                  <a:cubicBezTo>
                    <a:pt x="1290940" y="91229"/>
                    <a:pt x="1256398" y="107239"/>
                    <a:pt x="1238620" y="112353"/>
                  </a:cubicBezTo>
                  <a:cubicBezTo>
                    <a:pt x="1212561" y="119672"/>
                    <a:pt x="1195189" y="112085"/>
                    <a:pt x="1175625" y="109211"/>
                  </a:cubicBezTo>
                  <a:cubicBezTo>
                    <a:pt x="1152489" y="105868"/>
                    <a:pt x="1125293" y="111116"/>
                    <a:pt x="1098504" y="113957"/>
                  </a:cubicBezTo>
                  <a:cubicBezTo>
                    <a:pt x="1078940" y="116063"/>
                    <a:pt x="1073866" y="107272"/>
                    <a:pt x="1050771" y="125889"/>
                  </a:cubicBezTo>
                  <a:cubicBezTo>
                    <a:pt x="1040339" y="134312"/>
                    <a:pt x="1047970" y="135181"/>
                    <a:pt x="1043099" y="142902"/>
                  </a:cubicBezTo>
                  <a:cubicBezTo>
                    <a:pt x="1039649" y="148316"/>
                    <a:pt x="1026214" y="165496"/>
                    <a:pt x="1017649" y="167769"/>
                  </a:cubicBezTo>
                  <a:cubicBezTo>
                    <a:pt x="1004417" y="171111"/>
                    <a:pt x="991063" y="168805"/>
                    <a:pt x="977628" y="171111"/>
                  </a:cubicBezTo>
                  <a:cubicBezTo>
                    <a:pt x="962163" y="173952"/>
                    <a:pt x="959971" y="169072"/>
                    <a:pt x="947510" y="169674"/>
                  </a:cubicBezTo>
                  <a:cubicBezTo>
                    <a:pt x="929570" y="170576"/>
                    <a:pt x="908625" y="206440"/>
                    <a:pt x="891253" y="205504"/>
                  </a:cubicBezTo>
                  <a:cubicBezTo>
                    <a:pt x="888817" y="205504"/>
                    <a:pt x="886666" y="200658"/>
                    <a:pt x="885530" y="199454"/>
                  </a:cubicBezTo>
                  <a:lnTo>
                    <a:pt x="702470" y="6433"/>
                  </a:lnTo>
                  <a:lnTo>
                    <a:pt x="696016" y="-252"/>
                  </a:lnTo>
                  <a:cubicBezTo>
                    <a:pt x="694149" y="-2324"/>
                    <a:pt x="619383" y="33172"/>
                    <a:pt x="611874" y="39857"/>
                  </a:cubicBezTo>
                  <a:cubicBezTo>
                    <a:pt x="587195" y="60579"/>
                    <a:pt x="567793" y="70740"/>
                    <a:pt x="539421" y="85346"/>
                  </a:cubicBezTo>
                  <a:cubicBezTo>
                    <a:pt x="523185" y="93702"/>
                    <a:pt x="511211" y="105768"/>
                    <a:pt x="495624" y="114391"/>
                  </a:cubicBezTo>
                  <a:cubicBezTo>
                    <a:pt x="477237" y="124418"/>
                    <a:pt x="457714" y="129900"/>
                    <a:pt x="439083" y="139760"/>
                  </a:cubicBezTo>
                  <a:cubicBezTo>
                    <a:pt x="412180" y="154593"/>
                    <a:pt x="388232" y="172766"/>
                    <a:pt x="368091" y="193639"/>
                  </a:cubicBezTo>
                  <a:cubicBezTo>
                    <a:pt x="364032" y="197984"/>
                    <a:pt x="360420" y="197616"/>
                    <a:pt x="356158" y="198184"/>
                  </a:cubicBezTo>
                  <a:cubicBezTo>
                    <a:pt x="349664" y="199120"/>
                    <a:pt x="346822" y="203532"/>
                    <a:pt x="340977" y="206373"/>
                  </a:cubicBezTo>
                  <a:cubicBezTo>
                    <a:pt x="332859" y="210384"/>
                    <a:pt x="332454" y="198218"/>
                    <a:pt x="316624" y="209080"/>
                  </a:cubicBezTo>
                  <a:cubicBezTo>
                    <a:pt x="305283" y="217436"/>
                    <a:pt x="294587" y="226364"/>
                    <a:pt x="284598" y="235819"/>
                  </a:cubicBezTo>
                  <a:cubicBezTo>
                    <a:pt x="279930" y="239897"/>
                    <a:pt x="274004" y="244944"/>
                    <a:pt x="267956" y="245846"/>
                  </a:cubicBezTo>
                  <a:cubicBezTo>
                    <a:pt x="264263" y="246481"/>
                    <a:pt x="262274" y="242237"/>
                    <a:pt x="258743" y="243674"/>
                  </a:cubicBezTo>
                  <a:cubicBezTo>
                    <a:pt x="248352" y="247852"/>
                    <a:pt x="248352" y="262124"/>
                    <a:pt x="238772" y="269176"/>
                  </a:cubicBezTo>
                  <a:cubicBezTo>
                    <a:pt x="217097" y="285219"/>
                    <a:pt x="235525" y="262491"/>
                    <a:pt x="233861" y="260218"/>
                  </a:cubicBezTo>
                  <a:cubicBezTo>
                    <a:pt x="231263" y="256542"/>
                    <a:pt x="210928" y="269577"/>
                    <a:pt x="205976" y="272218"/>
                  </a:cubicBezTo>
                  <a:cubicBezTo>
                    <a:pt x="194692" y="278200"/>
                    <a:pt x="188725" y="295614"/>
                    <a:pt x="185438" y="302299"/>
                  </a:cubicBezTo>
                  <a:cubicBezTo>
                    <a:pt x="179593" y="314431"/>
                    <a:pt x="165427" y="326230"/>
                    <a:pt x="151504" y="335990"/>
                  </a:cubicBezTo>
                  <a:cubicBezTo>
                    <a:pt x="147811" y="338530"/>
                    <a:pt x="109453" y="367542"/>
                    <a:pt x="127151" y="363665"/>
                  </a:cubicBezTo>
                  <a:cubicBezTo>
                    <a:pt x="129911" y="363029"/>
                    <a:pt x="136852" y="359319"/>
                    <a:pt x="138029" y="361392"/>
                  </a:cubicBezTo>
                  <a:cubicBezTo>
                    <a:pt x="139206" y="363464"/>
                    <a:pt x="136527" y="368979"/>
                    <a:pt x="131940" y="370984"/>
                  </a:cubicBezTo>
                  <a:cubicBezTo>
                    <a:pt x="119520" y="376432"/>
                    <a:pt x="121143" y="372756"/>
                    <a:pt x="113675" y="383886"/>
                  </a:cubicBezTo>
                  <a:cubicBezTo>
                    <a:pt x="107546" y="393010"/>
                    <a:pt x="95856" y="402436"/>
                    <a:pt x="85749" y="409990"/>
                  </a:cubicBezTo>
                  <a:cubicBezTo>
                    <a:pt x="73937" y="418813"/>
                    <a:pt x="71258" y="424696"/>
                    <a:pt x="66956" y="435057"/>
                  </a:cubicBezTo>
                  <a:cubicBezTo>
                    <a:pt x="64724" y="440371"/>
                    <a:pt x="57458" y="452872"/>
                    <a:pt x="60624" y="456148"/>
                  </a:cubicBezTo>
                  <a:cubicBezTo>
                    <a:pt x="65495" y="461228"/>
                    <a:pt x="67281" y="465005"/>
                    <a:pt x="63952" y="474698"/>
                  </a:cubicBezTo>
                  <a:cubicBezTo>
                    <a:pt x="57377" y="493682"/>
                    <a:pt x="27787" y="516243"/>
                    <a:pt x="7614" y="532019"/>
                  </a:cubicBezTo>
                  <a:cubicBezTo>
                    <a:pt x="-7892" y="544185"/>
                    <a:pt x="2256" y="556285"/>
                    <a:pt x="18938" y="548196"/>
                  </a:cubicBezTo>
                  <a:cubicBezTo>
                    <a:pt x="53196" y="531484"/>
                    <a:pt x="74343" y="518516"/>
                    <a:pt x="105151" y="518917"/>
                  </a:cubicBezTo>
                  <a:cubicBezTo>
                    <a:pt x="125730" y="519218"/>
                    <a:pt x="136527" y="502473"/>
                    <a:pt x="156294" y="487065"/>
                  </a:cubicBezTo>
                  <a:cubicBezTo>
                    <a:pt x="168917" y="477037"/>
                    <a:pt x="169120" y="484491"/>
                    <a:pt x="174438" y="487867"/>
                  </a:cubicBezTo>
                  <a:cubicBezTo>
                    <a:pt x="183002" y="493348"/>
                    <a:pt x="199847" y="472224"/>
                    <a:pt x="210197" y="468280"/>
                  </a:cubicBezTo>
                  <a:cubicBezTo>
                    <a:pt x="225703" y="462298"/>
                    <a:pt x="202079" y="480847"/>
                    <a:pt x="200293" y="482352"/>
                  </a:cubicBezTo>
                  <a:cubicBezTo>
                    <a:pt x="186858" y="493348"/>
                    <a:pt x="186371" y="503809"/>
                    <a:pt x="175128" y="514405"/>
                  </a:cubicBezTo>
                  <a:cubicBezTo>
                    <a:pt x="170703" y="518549"/>
                    <a:pt x="167334" y="517313"/>
                    <a:pt x="162707" y="519485"/>
                  </a:cubicBezTo>
                  <a:cubicBezTo>
                    <a:pt x="156683" y="522761"/>
                    <a:pt x="151222" y="526705"/>
                    <a:pt x="146471" y="531184"/>
                  </a:cubicBezTo>
                  <a:cubicBezTo>
                    <a:pt x="136527" y="539840"/>
                    <a:pt x="124999" y="554346"/>
                    <a:pt x="122808" y="542313"/>
                  </a:cubicBezTo>
                  <a:cubicBezTo>
                    <a:pt x="119073" y="521858"/>
                    <a:pt x="83232" y="568117"/>
                    <a:pt x="79295" y="578712"/>
                  </a:cubicBezTo>
                  <a:cubicBezTo>
                    <a:pt x="78037" y="582054"/>
                    <a:pt x="86804" y="583625"/>
                    <a:pt x="79295" y="588271"/>
                  </a:cubicBezTo>
                  <a:cubicBezTo>
                    <a:pt x="61761" y="599067"/>
                    <a:pt x="57417" y="607890"/>
                    <a:pt x="46823" y="622463"/>
                  </a:cubicBezTo>
                  <a:cubicBezTo>
                    <a:pt x="23931" y="653547"/>
                    <a:pt x="47919" y="640278"/>
                    <a:pt x="72476" y="624335"/>
                  </a:cubicBezTo>
                  <a:cubicBezTo>
                    <a:pt x="77509" y="620993"/>
                    <a:pt x="90214" y="611199"/>
                    <a:pt x="85100" y="620525"/>
                  </a:cubicBezTo>
                  <a:cubicBezTo>
                    <a:pt x="78483" y="632557"/>
                    <a:pt x="84166" y="625371"/>
                    <a:pt x="93218" y="624803"/>
                  </a:cubicBezTo>
                  <a:cubicBezTo>
                    <a:pt x="119479" y="623065"/>
                    <a:pt x="139003" y="604949"/>
                    <a:pt x="161165" y="584695"/>
                  </a:cubicBezTo>
                  <a:cubicBezTo>
                    <a:pt x="171596" y="575102"/>
                    <a:pt x="178172" y="571960"/>
                    <a:pt x="190511" y="564941"/>
                  </a:cubicBezTo>
                  <a:cubicBezTo>
                    <a:pt x="200456" y="559326"/>
                    <a:pt x="204636" y="542548"/>
                    <a:pt x="209670" y="535094"/>
                  </a:cubicBezTo>
                  <a:cubicBezTo>
                    <a:pt x="215474" y="526471"/>
                    <a:pt x="225378" y="514472"/>
                    <a:pt x="237636" y="511497"/>
                  </a:cubicBezTo>
                  <a:cubicBezTo>
                    <a:pt x="247824" y="509024"/>
                    <a:pt x="244861" y="514104"/>
                    <a:pt x="239868" y="520421"/>
                  </a:cubicBezTo>
                  <a:cubicBezTo>
                    <a:pt x="230046" y="532922"/>
                    <a:pt x="291904" y="520421"/>
                    <a:pt x="248960" y="554480"/>
                  </a:cubicBezTo>
                  <a:cubicBezTo>
                    <a:pt x="238935" y="562468"/>
                    <a:pt x="225094" y="566312"/>
                    <a:pt x="228219" y="574868"/>
                  </a:cubicBezTo>
                  <a:cubicBezTo>
                    <a:pt x="231564" y="584059"/>
                    <a:pt x="226437" y="593920"/>
                    <a:pt x="216042" y="598264"/>
                  </a:cubicBezTo>
                  <a:cubicBezTo>
                    <a:pt x="187021" y="611166"/>
                    <a:pt x="174356" y="619689"/>
                    <a:pt x="192622" y="631889"/>
                  </a:cubicBezTo>
                  <a:cubicBezTo>
                    <a:pt x="195991" y="634128"/>
                    <a:pt x="183936" y="643219"/>
                    <a:pt x="181135" y="646428"/>
                  </a:cubicBezTo>
                  <a:cubicBezTo>
                    <a:pt x="171637" y="657458"/>
                    <a:pt x="180770" y="660566"/>
                    <a:pt x="176630" y="669824"/>
                  </a:cubicBezTo>
                  <a:cubicBezTo>
                    <a:pt x="175371" y="672732"/>
                    <a:pt x="164453" y="682325"/>
                    <a:pt x="167375" y="683194"/>
                  </a:cubicBezTo>
                  <a:cubicBezTo>
                    <a:pt x="173301" y="685099"/>
                    <a:pt x="190105" y="683595"/>
                    <a:pt x="198751" y="676710"/>
                  </a:cubicBezTo>
                  <a:cubicBezTo>
                    <a:pt x="220101" y="659664"/>
                    <a:pt x="213282" y="679818"/>
                    <a:pt x="217057" y="684731"/>
                  </a:cubicBezTo>
                  <a:cubicBezTo>
                    <a:pt x="217057" y="684397"/>
                    <a:pt x="273111" y="671964"/>
                    <a:pt x="277252" y="669490"/>
                  </a:cubicBezTo>
                  <a:cubicBezTo>
                    <a:pt x="293487" y="659463"/>
                    <a:pt x="303107" y="641314"/>
                    <a:pt x="303716" y="631722"/>
                  </a:cubicBezTo>
                  <a:cubicBezTo>
                    <a:pt x="303960" y="627778"/>
                    <a:pt x="322469" y="628012"/>
                    <a:pt x="324011" y="628145"/>
                  </a:cubicBezTo>
                  <a:cubicBezTo>
                    <a:pt x="337284" y="629181"/>
                    <a:pt x="329937" y="636401"/>
                    <a:pt x="336188" y="641849"/>
                  </a:cubicBezTo>
                  <a:cubicBezTo>
                    <a:pt x="345726" y="650071"/>
                    <a:pt x="353154" y="651876"/>
                    <a:pt x="369066" y="633359"/>
                  </a:cubicBezTo>
                  <a:cubicBezTo>
                    <a:pt x="374139" y="627510"/>
                    <a:pt x="371095" y="625204"/>
                    <a:pt x="374708" y="619990"/>
                  </a:cubicBezTo>
                  <a:cubicBezTo>
                    <a:pt x="382010" y="610932"/>
                    <a:pt x="392506" y="603947"/>
                    <a:pt x="404785" y="599936"/>
                  </a:cubicBezTo>
                  <a:cubicBezTo>
                    <a:pt x="408844" y="598666"/>
                    <a:pt x="429626" y="597229"/>
                    <a:pt x="432548" y="592449"/>
                  </a:cubicBezTo>
                  <a:cubicBezTo>
                    <a:pt x="434537" y="589106"/>
                    <a:pt x="420696" y="578277"/>
                    <a:pt x="431817" y="572963"/>
                  </a:cubicBezTo>
                  <a:cubicBezTo>
                    <a:pt x="438555" y="569621"/>
                    <a:pt x="438718" y="577308"/>
                    <a:pt x="449149" y="569621"/>
                  </a:cubicBezTo>
                  <a:cubicBezTo>
                    <a:pt x="452883" y="566780"/>
                    <a:pt x="474599" y="543082"/>
                    <a:pt x="475248" y="543584"/>
                  </a:cubicBezTo>
                  <a:cubicBezTo>
                    <a:pt x="479835" y="546926"/>
                    <a:pt x="470540" y="562368"/>
                    <a:pt x="473300" y="567916"/>
                  </a:cubicBezTo>
                  <a:cubicBezTo>
                    <a:pt x="475735" y="572863"/>
                    <a:pt x="488399" y="576305"/>
                    <a:pt x="486898" y="583057"/>
                  </a:cubicBezTo>
                  <a:cubicBezTo>
                    <a:pt x="485558" y="589274"/>
                    <a:pt x="480079" y="598331"/>
                    <a:pt x="478333" y="605284"/>
                  </a:cubicBezTo>
                  <a:cubicBezTo>
                    <a:pt x="475451" y="616481"/>
                    <a:pt x="465507" y="623834"/>
                    <a:pt x="458566" y="634830"/>
                  </a:cubicBezTo>
                  <a:cubicBezTo>
                    <a:pt x="452559" y="644356"/>
                    <a:pt x="448540" y="670292"/>
                    <a:pt x="438758" y="677645"/>
                  </a:cubicBezTo>
                  <a:cubicBezTo>
                    <a:pt x="430234" y="684063"/>
                    <a:pt x="420615" y="689010"/>
                    <a:pt x="412253" y="695661"/>
                  </a:cubicBezTo>
                  <a:cubicBezTo>
                    <a:pt x="400076" y="705320"/>
                    <a:pt x="404866" y="711938"/>
                    <a:pt x="401619" y="721464"/>
                  </a:cubicBezTo>
                  <a:cubicBezTo>
                    <a:pt x="393014" y="746699"/>
                    <a:pt x="410711" y="728683"/>
                    <a:pt x="419559" y="712306"/>
                  </a:cubicBezTo>
                  <a:cubicBezTo>
                    <a:pt x="423618" y="704953"/>
                    <a:pt x="417854" y="698201"/>
                    <a:pt x="431127" y="696196"/>
                  </a:cubicBezTo>
                  <a:cubicBezTo>
                    <a:pt x="442614" y="694458"/>
                    <a:pt x="448824" y="673601"/>
                    <a:pt x="456780" y="667351"/>
                  </a:cubicBezTo>
                  <a:cubicBezTo>
                    <a:pt x="467861" y="658561"/>
                    <a:pt x="497167" y="632023"/>
                    <a:pt x="494285" y="623533"/>
                  </a:cubicBezTo>
                  <a:cubicBezTo>
                    <a:pt x="489942" y="610966"/>
                    <a:pt x="509384" y="589173"/>
                    <a:pt x="522292" y="573865"/>
                  </a:cubicBezTo>
                  <a:cubicBezTo>
                    <a:pt x="529679" y="565075"/>
                    <a:pt x="524687" y="565142"/>
                    <a:pt x="527244" y="557655"/>
                  </a:cubicBezTo>
                  <a:cubicBezTo>
                    <a:pt x="528421" y="554313"/>
                    <a:pt x="536133" y="547828"/>
                    <a:pt x="538487" y="544286"/>
                  </a:cubicBezTo>
                  <a:cubicBezTo>
                    <a:pt x="542818" y="537601"/>
                    <a:pt x="546707" y="530716"/>
                    <a:pt x="550136" y="523697"/>
                  </a:cubicBezTo>
                  <a:cubicBezTo>
                    <a:pt x="553343" y="517513"/>
                    <a:pt x="567590" y="506985"/>
                    <a:pt x="568199" y="501904"/>
                  </a:cubicBezTo>
                  <a:cubicBezTo>
                    <a:pt x="568564" y="498562"/>
                    <a:pt x="565601" y="496757"/>
                    <a:pt x="564424" y="494217"/>
                  </a:cubicBezTo>
                  <a:cubicBezTo>
                    <a:pt x="562476" y="490005"/>
                    <a:pt x="571324" y="484558"/>
                    <a:pt x="573516" y="479343"/>
                  </a:cubicBezTo>
                  <a:cubicBezTo>
                    <a:pt x="582933" y="456649"/>
                    <a:pt x="538487" y="496055"/>
                    <a:pt x="546280" y="475734"/>
                  </a:cubicBezTo>
                  <a:cubicBezTo>
                    <a:pt x="549609" y="467010"/>
                    <a:pt x="554723" y="462097"/>
                    <a:pt x="562516" y="454142"/>
                  </a:cubicBezTo>
                  <a:cubicBezTo>
                    <a:pt x="574693" y="441675"/>
                    <a:pt x="564018" y="436461"/>
                    <a:pt x="571000" y="424963"/>
                  </a:cubicBezTo>
                  <a:cubicBezTo>
                    <a:pt x="575546" y="417476"/>
                    <a:pt x="575059" y="402570"/>
                    <a:pt x="582649" y="396587"/>
                  </a:cubicBezTo>
                  <a:cubicBezTo>
                    <a:pt x="593486" y="388164"/>
                    <a:pt x="590767" y="377201"/>
                    <a:pt x="600914" y="369179"/>
                  </a:cubicBezTo>
                  <a:cubicBezTo>
                    <a:pt x="602700" y="367809"/>
                    <a:pt x="605663" y="369012"/>
                    <a:pt x="607043" y="368812"/>
                  </a:cubicBezTo>
                  <a:cubicBezTo>
                    <a:pt x="613091" y="367943"/>
                    <a:pt x="618896" y="362394"/>
                    <a:pt x="624740" y="359787"/>
                  </a:cubicBezTo>
                  <a:cubicBezTo>
                    <a:pt x="628191" y="358250"/>
                    <a:pt x="633305" y="357180"/>
                    <a:pt x="633345" y="360055"/>
                  </a:cubicBezTo>
                  <a:cubicBezTo>
                    <a:pt x="633345" y="365202"/>
                    <a:pt x="620438" y="369213"/>
                    <a:pt x="616095" y="371385"/>
                  </a:cubicBezTo>
                  <a:cubicBezTo>
                    <a:pt x="603431" y="377636"/>
                    <a:pt x="592959" y="393044"/>
                    <a:pt x="596612" y="399829"/>
                  </a:cubicBezTo>
                  <a:cubicBezTo>
                    <a:pt x="599331" y="404909"/>
                    <a:pt x="594095" y="420585"/>
                    <a:pt x="600955" y="422022"/>
                  </a:cubicBezTo>
                  <a:cubicBezTo>
                    <a:pt x="607815" y="423459"/>
                    <a:pt x="626161" y="408653"/>
                    <a:pt x="612036" y="425732"/>
                  </a:cubicBezTo>
                  <a:cubicBezTo>
                    <a:pt x="597911" y="442811"/>
                    <a:pt x="615040" y="435458"/>
                    <a:pt x="627135" y="423860"/>
                  </a:cubicBezTo>
                  <a:cubicBezTo>
                    <a:pt x="642925" y="408686"/>
                    <a:pt x="649541" y="391038"/>
                    <a:pt x="662245" y="375363"/>
                  </a:cubicBezTo>
                  <a:cubicBezTo>
                    <a:pt x="665533" y="371285"/>
                    <a:pt x="701820" y="344880"/>
                    <a:pt x="701902" y="344947"/>
                  </a:cubicBezTo>
                  <a:cubicBezTo>
                    <a:pt x="697315" y="340101"/>
                    <a:pt x="695854" y="337828"/>
                    <a:pt x="685666" y="340034"/>
                  </a:cubicBezTo>
                  <a:cubicBezTo>
                    <a:pt x="668659" y="343711"/>
                    <a:pt x="672230" y="333817"/>
                    <a:pt x="677954" y="323656"/>
                  </a:cubicBezTo>
                  <a:cubicBezTo>
                    <a:pt x="680227" y="319579"/>
                    <a:pt x="712130" y="305340"/>
                    <a:pt x="716392" y="306042"/>
                  </a:cubicBezTo>
                  <a:cubicBezTo>
                    <a:pt x="718543" y="306343"/>
                    <a:pt x="750244" y="288328"/>
                    <a:pt x="746226" y="294511"/>
                  </a:cubicBezTo>
                  <a:cubicBezTo>
                    <a:pt x="742613" y="300026"/>
                    <a:pt x="732100" y="304304"/>
                    <a:pt x="729381" y="310120"/>
                  </a:cubicBezTo>
                  <a:cubicBezTo>
                    <a:pt x="727798" y="313462"/>
                    <a:pt x="732222" y="316270"/>
                    <a:pt x="737255" y="312393"/>
                  </a:cubicBezTo>
                  <a:cubicBezTo>
                    <a:pt x="744683" y="306744"/>
                    <a:pt x="743100" y="299291"/>
                    <a:pt x="753491" y="294110"/>
                  </a:cubicBezTo>
                  <a:cubicBezTo>
                    <a:pt x="758524" y="292506"/>
                    <a:pt x="763517" y="290935"/>
                    <a:pt x="768509" y="289464"/>
                  </a:cubicBezTo>
                  <a:cubicBezTo>
                    <a:pt x="775328" y="285788"/>
                    <a:pt x="773705" y="278000"/>
                    <a:pt x="779347" y="275393"/>
                  </a:cubicBezTo>
                  <a:cubicBezTo>
                    <a:pt x="784136" y="273187"/>
                    <a:pt x="786207" y="279638"/>
                    <a:pt x="796395" y="274724"/>
                  </a:cubicBezTo>
                  <a:cubicBezTo>
                    <a:pt x="809598" y="268397"/>
                    <a:pt x="822303" y="261385"/>
                    <a:pt x="834427" y="253734"/>
                  </a:cubicBezTo>
                  <a:cubicBezTo>
                    <a:pt x="844575" y="247050"/>
                    <a:pt x="877452" y="218873"/>
                    <a:pt x="888127" y="218272"/>
                  </a:cubicBezTo>
                  <a:cubicBezTo>
                    <a:pt x="907489" y="217135"/>
                    <a:pt x="923075" y="210852"/>
                    <a:pt x="932776" y="194006"/>
                  </a:cubicBezTo>
                  <a:cubicBezTo>
                    <a:pt x="935861" y="188725"/>
                    <a:pt x="943532" y="181773"/>
                    <a:pt x="950311" y="184882"/>
                  </a:cubicBezTo>
                  <a:cubicBezTo>
                    <a:pt x="957089" y="187990"/>
                    <a:pt x="933426" y="206507"/>
                    <a:pt x="957252" y="195945"/>
                  </a:cubicBezTo>
                  <a:cubicBezTo>
                    <a:pt x="976532" y="186757"/>
                    <a:pt x="997833" y="180804"/>
                    <a:pt x="1019922" y="178431"/>
                  </a:cubicBezTo>
                  <a:cubicBezTo>
                    <a:pt x="1028974" y="177462"/>
                    <a:pt x="1067494" y="171479"/>
                    <a:pt x="1056818" y="162087"/>
                  </a:cubicBezTo>
                  <a:cubicBezTo>
                    <a:pt x="1048701" y="155101"/>
                    <a:pt x="1067047" y="153397"/>
                    <a:pt x="1078047" y="148918"/>
                  </a:cubicBezTo>
                  <a:cubicBezTo>
                    <a:pt x="1081091" y="147715"/>
                    <a:pt x="1099438" y="146311"/>
                    <a:pt x="1097165" y="142400"/>
                  </a:cubicBezTo>
                  <a:cubicBezTo>
                    <a:pt x="1094202" y="137153"/>
                    <a:pt x="1074232" y="136418"/>
                    <a:pt x="1075409" y="129900"/>
                  </a:cubicBezTo>
                  <a:cubicBezTo>
                    <a:pt x="1075896" y="126992"/>
                    <a:pt x="1091969" y="127761"/>
                    <a:pt x="1093187" y="127861"/>
                  </a:cubicBezTo>
                  <a:cubicBezTo>
                    <a:pt x="1104268" y="128763"/>
                    <a:pt x="1110072" y="137086"/>
                    <a:pt x="1111168" y="144573"/>
                  </a:cubicBezTo>
                  <a:cubicBezTo>
                    <a:pt x="1112061" y="150790"/>
                    <a:pt x="1096272" y="157541"/>
                    <a:pt x="1089980" y="156338"/>
                  </a:cubicBezTo>
                  <a:cubicBezTo>
                    <a:pt x="1083689" y="155135"/>
                    <a:pt x="1079427" y="156338"/>
                    <a:pt x="1072892" y="164025"/>
                  </a:cubicBezTo>
                  <a:cubicBezTo>
                    <a:pt x="1057671" y="182275"/>
                    <a:pt x="1112183" y="165496"/>
                    <a:pt x="1116485" y="169841"/>
                  </a:cubicBezTo>
                  <a:cubicBezTo>
                    <a:pt x="1120788" y="174186"/>
                    <a:pt x="1155614" y="176526"/>
                    <a:pt x="1141123" y="164594"/>
                  </a:cubicBezTo>
                  <a:cubicBezTo>
                    <a:pt x="1135847" y="160215"/>
                    <a:pt x="1124076" y="160683"/>
                    <a:pt x="1120220" y="155636"/>
                  </a:cubicBezTo>
                  <a:cubicBezTo>
                    <a:pt x="1115146" y="148951"/>
                    <a:pt x="1129068" y="144874"/>
                    <a:pt x="1132397" y="151291"/>
                  </a:cubicBezTo>
                  <a:cubicBezTo>
                    <a:pt x="1137876" y="161318"/>
                    <a:pt x="1144898" y="145542"/>
                    <a:pt x="1149769" y="139894"/>
                  </a:cubicBezTo>
                  <a:cubicBezTo>
                    <a:pt x="1156872" y="131605"/>
                    <a:pt x="1137592" y="132774"/>
                    <a:pt x="1137592" y="127126"/>
                  </a:cubicBezTo>
                  <a:cubicBezTo>
                    <a:pt x="1137592" y="120207"/>
                    <a:pt x="1164422" y="125622"/>
                    <a:pt x="1166005" y="128630"/>
                  </a:cubicBezTo>
                  <a:cubicBezTo>
                    <a:pt x="1166979" y="130334"/>
                    <a:pt x="1163367" y="141398"/>
                    <a:pt x="1161946" y="143771"/>
                  </a:cubicBezTo>
                  <a:cubicBezTo>
                    <a:pt x="1158130" y="150255"/>
                    <a:pt x="1146400" y="152661"/>
                    <a:pt x="1150216" y="158778"/>
                  </a:cubicBezTo>
                  <a:cubicBezTo>
                    <a:pt x="1151474" y="160850"/>
                    <a:pt x="1158861" y="170476"/>
                    <a:pt x="1165274" y="167134"/>
                  </a:cubicBezTo>
                  <a:cubicBezTo>
                    <a:pt x="1169942" y="164727"/>
                    <a:pt x="1167020" y="158410"/>
                    <a:pt x="1168440" y="155837"/>
                  </a:cubicBezTo>
                  <a:cubicBezTo>
                    <a:pt x="1173664" y="155569"/>
                    <a:pt x="1178312" y="153019"/>
                    <a:pt x="1180617" y="149152"/>
                  </a:cubicBezTo>
                  <a:cubicBezTo>
                    <a:pt x="1186381" y="139125"/>
                    <a:pt x="1189709" y="144205"/>
                    <a:pt x="1199491" y="143637"/>
                  </a:cubicBezTo>
                  <a:cubicBezTo>
                    <a:pt x="1202982" y="143436"/>
                    <a:pt x="1231314" y="136117"/>
                    <a:pt x="1219502" y="134078"/>
                  </a:cubicBezTo>
                  <a:cubicBezTo>
                    <a:pt x="1211384" y="132707"/>
                    <a:pt x="1195148" y="143771"/>
                    <a:pt x="1193647" y="135983"/>
                  </a:cubicBezTo>
                  <a:cubicBezTo>
                    <a:pt x="1191901" y="127193"/>
                    <a:pt x="1210735" y="125956"/>
                    <a:pt x="1216702" y="126324"/>
                  </a:cubicBezTo>
                  <a:cubicBezTo>
                    <a:pt x="1227742" y="126792"/>
                    <a:pt x="1236509" y="128529"/>
                    <a:pt x="1227823" y="139192"/>
                  </a:cubicBezTo>
                  <a:cubicBezTo>
                    <a:pt x="1218122" y="151124"/>
                    <a:pt x="1218569" y="149787"/>
                    <a:pt x="1202414" y="151993"/>
                  </a:cubicBezTo>
                  <a:cubicBezTo>
                    <a:pt x="1184879" y="154399"/>
                    <a:pt x="1195270" y="160583"/>
                    <a:pt x="1201886" y="162020"/>
                  </a:cubicBezTo>
                  <a:cubicBezTo>
                    <a:pt x="1212074" y="164193"/>
                    <a:pt x="1205945" y="174353"/>
                    <a:pt x="1214063" y="176492"/>
                  </a:cubicBezTo>
                  <a:cubicBezTo>
                    <a:pt x="1227864" y="180035"/>
                    <a:pt x="1224860" y="169808"/>
                    <a:pt x="1224617" y="166031"/>
                  </a:cubicBezTo>
                  <a:cubicBezTo>
                    <a:pt x="1224089" y="158912"/>
                    <a:pt x="1250472" y="163725"/>
                    <a:pt x="1245561" y="152895"/>
                  </a:cubicBezTo>
                  <a:cubicBezTo>
                    <a:pt x="1242720" y="146578"/>
                    <a:pt x="1243937" y="140596"/>
                    <a:pt x="1259037" y="141899"/>
                  </a:cubicBezTo>
                  <a:cubicBezTo>
                    <a:pt x="1265977" y="142500"/>
                    <a:pt x="1263096" y="133643"/>
                    <a:pt x="1269347" y="130702"/>
                  </a:cubicBezTo>
                  <a:cubicBezTo>
                    <a:pt x="1280914" y="125254"/>
                    <a:pt x="1275354" y="141732"/>
                    <a:pt x="1282213" y="139492"/>
                  </a:cubicBezTo>
                  <a:cubicBezTo>
                    <a:pt x="1290575" y="136785"/>
                    <a:pt x="1288302" y="129800"/>
                    <a:pt x="1294390" y="134579"/>
                  </a:cubicBezTo>
                  <a:cubicBezTo>
                    <a:pt x="1297678" y="130201"/>
                    <a:pt x="1313508" y="113990"/>
                    <a:pt x="1309611" y="110949"/>
                  </a:cubicBezTo>
                  <a:cubicBezTo>
                    <a:pt x="1305715" y="107907"/>
                    <a:pt x="1291549" y="113456"/>
                    <a:pt x="1291265" y="107205"/>
                  </a:cubicBezTo>
                  <a:cubicBezTo>
                    <a:pt x="1291265" y="99384"/>
                    <a:pt x="1291874" y="115026"/>
                    <a:pt x="1291630" y="1072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402C7A3B-91A0-48B3-86B9-8ADE8446FC8C}"/>
                </a:ext>
              </a:extLst>
            </p:cNvPr>
            <p:cNvSpPr/>
            <p:nvPr/>
          </p:nvSpPr>
          <p:spPr>
            <a:xfrm>
              <a:off x="864710" y="5312038"/>
              <a:ext cx="58215" cy="75051"/>
            </a:xfrm>
            <a:custGeom>
              <a:avLst/>
              <a:gdLst>
                <a:gd name="connsiteX0" fmla="*/ 43006 w 58215"/>
                <a:gd name="connsiteY0" fmla="*/ 629 h 75051"/>
                <a:gd name="connsiteX1" fmla="*/ 14594 w 58215"/>
                <a:gd name="connsiteY1" fmla="*/ 52837 h 75051"/>
                <a:gd name="connsiteX2" fmla="*/ 6476 w 58215"/>
                <a:gd name="connsiteY2" fmla="*/ 74128 h 75051"/>
                <a:gd name="connsiteX3" fmla="*/ 32047 w 58215"/>
                <a:gd name="connsiteY3" fmla="*/ 60992 h 75051"/>
                <a:gd name="connsiteX4" fmla="*/ 54980 w 58215"/>
                <a:gd name="connsiteY4" fmla="*/ 18410 h 75051"/>
                <a:gd name="connsiteX5" fmla="*/ 46619 w 58215"/>
                <a:gd name="connsiteY5" fmla="*/ 11726 h 75051"/>
                <a:gd name="connsiteX6" fmla="*/ 42803 w 58215"/>
                <a:gd name="connsiteY6" fmla="*/ 763 h 75051"/>
                <a:gd name="connsiteX7" fmla="*/ 43006 w 58215"/>
                <a:gd name="connsiteY7" fmla="*/ 629 h 7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15" h="75051">
                  <a:moveTo>
                    <a:pt x="43006" y="629"/>
                  </a:moveTo>
                  <a:cubicBezTo>
                    <a:pt x="36066" y="-8429"/>
                    <a:pt x="16420" y="50765"/>
                    <a:pt x="14594" y="52837"/>
                  </a:cubicBezTo>
                  <a:cubicBezTo>
                    <a:pt x="5664" y="62630"/>
                    <a:pt x="-8461" y="70183"/>
                    <a:pt x="6476" y="74128"/>
                  </a:cubicBezTo>
                  <a:cubicBezTo>
                    <a:pt x="19099" y="77470"/>
                    <a:pt x="20276" y="65604"/>
                    <a:pt x="32047" y="60992"/>
                  </a:cubicBezTo>
                  <a:cubicBezTo>
                    <a:pt x="43818" y="56379"/>
                    <a:pt x="66508" y="17541"/>
                    <a:pt x="54980" y="18410"/>
                  </a:cubicBezTo>
                  <a:cubicBezTo>
                    <a:pt x="45482" y="19146"/>
                    <a:pt x="32412" y="25095"/>
                    <a:pt x="46619" y="11726"/>
                  </a:cubicBezTo>
                  <a:cubicBezTo>
                    <a:pt x="64762" y="-5554"/>
                    <a:pt x="47349" y="6746"/>
                    <a:pt x="42803" y="763"/>
                  </a:cubicBezTo>
                  <a:cubicBezTo>
                    <a:pt x="40327" y="-2947"/>
                    <a:pt x="45726" y="4205"/>
                    <a:pt x="43006" y="62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935DE803-B689-49E6-A651-B146DAC2EED1}"/>
                </a:ext>
              </a:extLst>
            </p:cNvPr>
            <p:cNvSpPr/>
            <p:nvPr/>
          </p:nvSpPr>
          <p:spPr>
            <a:xfrm>
              <a:off x="862871" y="5310599"/>
              <a:ext cx="62157" cy="78016"/>
            </a:xfrm>
            <a:custGeom>
              <a:avLst/>
              <a:gdLst>
                <a:gd name="connsiteX0" fmla="*/ 20288 w 62157"/>
                <a:gd name="connsiteY0" fmla="*/ 74697 h 78016"/>
                <a:gd name="connsiteX1" fmla="*/ 7178 w 62157"/>
                <a:gd name="connsiteY1" fmla="*/ 77070 h 78016"/>
                <a:gd name="connsiteX2" fmla="*/ -47 w 62157"/>
                <a:gd name="connsiteY2" fmla="*/ 71221 h 78016"/>
                <a:gd name="connsiteX3" fmla="*/ 8639 w 62157"/>
                <a:gd name="connsiteY3" fmla="*/ 60158 h 78016"/>
                <a:gd name="connsiteX4" fmla="*/ 15052 w 62157"/>
                <a:gd name="connsiteY4" fmla="*/ 53908 h 78016"/>
                <a:gd name="connsiteX5" fmla="*/ 18705 w 62157"/>
                <a:gd name="connsiteY5" fmla="*/ 44683 h 78016"/>
                <a:gd name="connsiteX6" fmla="*/ 40583 w 62157"/>
                <a:gd name="connsiteY6" fmla="*/ 964 h 78016"/>
                <a:gd name="connsiteX7" fmla="*/ 43627 w 62157"/>
                <a:gd name="connsiteY7" fmla="*/ -339 h 78016"/>
                <a:gd name="connsiteX8" fmla="*/ 44277 w 62157"/>
                <a:gd name="connsiteY8" fmla="*/ -339 h 78016"/>
                <a:gd name="connsiteX9" fmla="*/ 44804 w 62157"/>
                <a:gd name="connsiteY9" fmla="*/ -339 h 78016"/>
                <a:gd name="connsiteX10" fmla="*/ 45900 w 62157"/>
                <a:gd name="connsiteY10" fmla="*/ -5 h 78016"/>
                <a:gd name="connsiteX11" fmla="*/ 45900 w 62157"/>
                <a:gd name="connsiteY11" fmla="*/ -5 h 78016"/>
                <a:gd name="connsiteX12" fmla="*/ 46266 w 62157"/>
                <a:gd name="connsiteY12" fmla="*/ 497 h 78016"/>
                <a:gd name="connsiteX13" fmla="*/ 46672 w 62157"/>
                <a:gd name="connsiteY13" fmla="*/ 1031 h 78016"/>
                <a:gd name="connsiteX14" fmla="*/ 46672 w 62157"/>
                <a:gd name="connsiteY14" fmla="*/ 1031 h 78016"/>
                <a:gd name="connsiteX15" fmla="*/ 54059 w 62157"/>
                <a:gd name="connsiteY15" fmla="*/ 2168 h 78016"/>
                <a:gd name="connsiteX16" fmla="*/ 58645 w 62157"/>
                <a:gd name="connsiteY16" fmla="*/ 2870 h 78016"/>
                <a:gd name="connsiteX17" fmla="*/ 49919 w 62157"/>
                <a:gd name="connsiteY17" fmla="*/ 13666 h 78016"/>
                <a:gd name="connsiteX18" fmla="*/ 44317 w 62157"/>
                <a:gd name="connsiteY18" fmla="*/ 20350 h 78016"/>
                <a:gd name="connsiteX19" fmla="*/ 50365 w 62157"/>
                <a:gd name="connsiteY19" fmla="*/ 19715 h 78016"/>
                <a:gd name="connsiteX20" fmla="*/ 57793 w 62157"/>
                <a:gd name="connsiteY20" fmla="*/ 18545 h 78016"/>
                <a:gd name="connsiteX21" fmla="*/ 62096 w 62157"/>
                <a:gd name="connsiteY21" fmla="*/ 22423 h 78016"/>
                <a:gd name="connsiteX22" fmla="*/ 37742 w 62157"/>
                <a:gd name="connsiteY22" fmla="*/ 61863 h 78016"/>
                <a:gd name="connsiteX23" fmla="*/ 37742 w 62157"/>
                <a:gd name="connsiteY23" fmla="*/ 61863 h 78016"/>
                <a:gd name="connsiteX24" fmla="*/ 34007 w 62157"/>
                <a:gd name="connsiteY24" fmla="*/ 63968 h 78016"/>
                <a:gd name="connsiteX25" fmla="*/ 24875 w 62157"/>
                <a:gd name="connsiteY25" fmla="*/ 70653 h 78016"/>
                <a:gd name="connsiteX26" fmla="*/ 20288 w 62157"/>
                <a:gd name="connsiteY26" fmla="*/ 74697 h 78016"/>
                <a:gd name="connsiteX27" fmla="*/ 42207 w 62157"/>
                <a:gd name="connsiteY27" fmla="*/ 2636 h 78016"/>
                <a:gd name="connsiteX28" fmla="*/ 22480 w 62157"/>
                <a:gd name="connsiteY28" fmla="*/ 43981 h 78016"/>
                <a:gd name="connsiteX29" fmla="*/ 17934 w 62157"/>
                <a:gd name="connsiteY29" fmla="*/ 54609 h 78016"/>
                <a:gd name="connsiteX30" fmla="*/ 11074 w 62157"/>
                <a:gd name="connsiteY30" fmla="*/ 61294 h 78016"/>
                <a:gd name="connsiteX31" fmla="*/ 3849 w 62157"/>
                <a:gd name="connsiteY31" fmla="*/ 69851 h 78016"/>
                <a:gd name="connsiteX32" fmla="*/ 9897 w 62157"/>
                <a:gd name="connsiteY32" fmla="*/ 74095 h 78016"/>
                <a:gd name="connsiteX33" fmla="*/ 18502 w 62157"/>
                <a:gd name="connsiteY33" fmla="*/ 73026 h 78016"/>
                <a:gd name="connsiteX34" fmla="*/ 22277 w 62157"/>
                <a:gd name="connsiteY34" fmla="*/ 69684 h 78016"/>
                <a:gd name="connsiteX35" fmla="*/ 34048 w 62157"/>
                <a:gd name="connsiteY35" fmla="*/ 61227 h 78016"/>
                <a:gd name="connsiteX36" fmla="*/ 36037 w 62157"/>
                <a:gd name="connsiteY36" fmla="*/ 60058 h 78016"/>
                <a:gd name="connsiteX37" fmla="*/ 36037 w 62157"/>
                <a:gd name="connsiteY37" fmla="*/ 60058 h 78016"/>
                <a:gd name="connsiteX38" fmla="*/ 58199 w 62157"/>
                <a:gd name="connsiteY38" fmla="*/ 23860 h 78016"/>
                <a:gd name="connsiteX39" fmla="*/ 56210 w 62157"/>
                <a:gd name="connsiteY39" fmla="*/ 21453 h 78016"/>
                <a:gd name="connsiteX40" fmla="*/ 49350 w 62157"/>
                <a:gd name="connsiteY40" fmla="*/ 22523 h 78016"/>
                <a:gd name="connsiteX41" fmla="*/ 40502 w 62157"/>
                <a:gd name="connsiteY41" fmla="*/ 22289 h 78016"/>
                <a:gd name="connsiteX42" fmla="*/ 47402 w 62157"/>
                <a:gd name="connsiteY42" fmla="*/ 12630 h 78016"/>
                <a:gd name="connsiteX43" fmla="*/ 54708 w 62157"/>
                <a:gd name="connsiteY43" fmla="*/ 4909 h 78016"/>
                <a:gd name="connsiteX44" fmla="*/ 52719 w 62157"/>
                <a:gd name="connsiteY44" fmla="*/ 5142 h 78016"/>
                <a:gd name="connsiteX45" fmla="*/ 44601 w 62157"/>
                <a:gd name="connsiteY45" fmla="*/ 4741 h 78016"/>
                <a:gd name="connsiteX46" fmla="*/ 43749 w 62157"/>
                <a:gd name="connsiteY46" fmla="*/ 4374 h 78016"/>
                <a:gd name="connsiteX47" fmla="*/ 43749 w 62157"/>
                <a:gd name="connsiteY47" fmla="*/ 4374 h 78016"/>
                <a:gd name="connsiteX48" fmla="*/ 43343 w 62157"/>
                <a:gd name="connsiteY48" fmla="*/ 3839 h 78016"/>
                <a:gd name="connsiteX49" fmla="*/ 42897 w 62157"/>
                <a:gd name="connsiteY49" fmla="*/ 3237 h 78016"/>
                <a:gd name="connsiteX50" fmla="*/ 42207 w 62157"/>
                <a:gd name="connsiteY50" fmla="*/ 2636 h 7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157" h="78016">
                  <a:moveTo>
                    <a:pt x="20288" y="74697"/>
                  </a:moveTo>
                  <a:cubicBezTo>
                    <a:pt x="16834" y="77505"/>
                    <a:pt x="11740" y="78407"/>
                    <a:pt x="7178" y="77070"/>
                  </a:cubicBezTo>
                  <a:cubicBezTo>
                    <a:pt x="2063" y="75733"/>
                    <a:pt x="-250" y="73728"/>
                    <a:pt x="-47" y="71221"/>
                  </a:cubicBezTo>
                  <a:cubicBezTo>
                    <a:pt x="196" y="67879"/>
                    <a:pt x="4296" y="64135"/>
                    <a:pt x="8639" y="60158"/>
                  </a:cubicBezTo>
                  <a:cubicBezTo>
                    <a:pt x="10908" y="58153"/>
                    <a:pt x="13047" y="56080"/>
                    <a:pt x="15052" y="53908"/>
                  </a:cubicBezTo>
                  <a:cubicBezTo>
                    <a:pt x="15336" y="53406"/>
                    <a:pt x="16960" y="49161"/>
                    <a:pt x="18705" y="44683"/>
                  </a:cubicBezTo>
                  <a:cubicBezTo>
                    <a:pt x="28122" y="20117"/>
                    <a:pt x="34941" y="5076"/>
                    <a:pt x="40583" y="964"/>
                  </a:cubicBezTo>
                  <a:cubicBezTo>
                    <a:pt x="41440" y="330"/>
                    <a:pt x="42491" y="-138"/>
                    <a:pt x="43627" y="-339"/>
                  </a:cubicBezTo>
                  <a:lnTo>
                    <a:pt x="44277" y="-339"/>
                  </a:lnTo>
                  <a:lnTo>
                    <a:pt x="44804" y="-339"/>
                  </a:lnTo>
                  <a:cubicBezTo>
                    <a:pt x="45332" y="-339"/>
                    <a:pt x="45535" y="-339"/>
                    <a:pt x="45900" y="-5"/>
                  </a:cubicBezTo>
                  <a:lnTo>
                    <a:pt x="45900" y="-5"/>
                  </a:lnTo>
                  <a:lnTo>
                    <a:pt x="46266" y="497"/>
                  </a:lnTo>
                  <a:lnTo>
                    <a:pt x="46672" y="1031"/>
                  </a:lnTo>
                  <a:lnTo>
                    <a:pt x="46672" y="1031"/>
                  </a:lnTo>
                  <a:cubicBezTo>
                    <a:pt x="48173" y="3004"/>
                    <a:pt x="51299" y="2569"/>
                    <a:pt x="54059" y="2168"/>
                  </a:cubicBezTo>
                  <a:cubicBezTo>
                    <a:pt x="56088" y="1900"/>
                    <a:pt x="58118" y="1600"/>
                    <a:pt x="58645" y="2870"/>
                  </a:cubicBezTo>
                  <a:cubicBezTo>
                    <a:pt x="59173" y="4140"/>
                    <a:pt x="56941" y="6947"/>
                    <a:pt x="49919" y="13666"/>
                  </a:cubicBezTo>
                  <a:cubicBezTo>
                    <a:pt x="44155" y="19181"/>
                    <a:pt x="44317" y="20350"/>
                    <a:pt x="44317" y="20350"/>
                  </a:cubicBezTo>
                  <a:cubicBezTo>
                    <a:pt x="44317" y="20350"/>
                    <a:pt x="48052" y="20350"/>
                    <a:pt x="50365" y="19715"/>
                  </a:cubicBezTo>
                  <a:cubicBezTo>
                    <a:pt x="52809" y="19181"/>
                    <a:pt x="55289" y="18813"/>
                    <a:pt x="57793" y="18545"/>
                  </a:cubicBezTo>
                  <a:cubicBezTo>
                    <a:pt x="59701" y="18545"/>
                    <a:pt x="61852" y="18946"/>
                    <a:pt x="62096" y="22423"/>
                  </a:cubicBezTo>
                  <a:cubicBezTo>
                    <a:pt x="62299" y="31246"/>
                    <a:pt x="47970" y="54442"/>
                    <a:pt x="37742" y="61863"/>
                  </a:cubicBezTo>
                  <a:lnTo>
                    <a:pt x="37742" y="61863"/>
                  </a:lnTo>
                  <a:cubicBezTo>
                    <a:pt x="36626" y="62698"/>
                    <a:pt x="35367" y="63433"/>
                    <a:pt x="34007" y="63968"/>
                  </a:cubicBezTo>
                  <a:cubicBezTo>
                    <a:pt x="30432" y="65639"/>
                    <a:pt x="27318" y="67912"/>
                    <a:pt x="24875" y="70653"/>
                  </a:cubicBezTo>
                  <a:cubicBezTo>
                    <a:pt x="23466" y="72090"/>
                    <a:pt x="21932" y="73427"/>
                    <a:pt x="20288" y="74697"/>
                  </a:cubicBezTo>
                  <a:close/>
                  <a:moveTo>
                    <a:pt x="42207" y="2636"/>
                  </a:moveTo>
                  <a:cubicBezTo>
                    <a:pt x="36971" y="6479"/>
                    <a:pt x="26742" y="32717"/>
                    <a:pt x="22480" y="43981"/>
                  </a:cubicBezTo>
                  <a:cubicBezTo>
                    <a:pt x="21429" y="47658"/>
                    <a:pt x="19907" y="51200"/>
                    <a:pt x="17934" y="54609"/>
                  </a:cubicBezTo>
                  <a:cubicBezTo>
                    <a:pt x="15742" y="57016"/>
                    <a:pt x="13266" y="59289"/>
                    <a:pt x="11074" y="61294"/>
                  </a:cubicBezTo>
                  <a:cubicBezTo>
                    <a:pt x="7259" y="64637"/>
                    <a:pt x="4012" y="67745"/>
                    <a:pt x="3849" y="69851"/>
                  </a:cubicBezTo>
                  <a:cubicBezTo>
                    <a:pt x="3687" y="71957"/>
                    <a:pt x="5716" y="73193"/>
                    <a:pt x="9897" y="74095"/>
                  </a:cubicBezTo>
                  <a:cubicBezTo>
                    <a:pt x="12759" y="75232"/>
                    <a:pt x="16180" y="74831"/>
                    <a:pt x="18502" y="73026"/>
                  </a:cubicBezTo>
                  <a:cubicBezTo>
                    <a:pt x="19854" y="71990"/>
                    <a:pt x="21116" y="70853"/>
                    <a:pt x="22277" y="69684"/>
                  </a:cubicBezTo>
                  <a:cubicBezTo>
                    <a:pt x="25455" y="66241"/>
                    <a:pt x="29461" y="63366"/>
                    <a:pt x="34048" y="61227"/>
                  </a:cubicBezTo>
                  <a:cubicBezTo>
                    <a:pt x="34779" y="60927"/>
                    <a:pt x="35448" y="60526"/>
                    <a:pt x="36037" y="60058"/>
                  </a:cubicBezTo>
                  <a:lnTo>
                    <a:pt x="36037" y="60058"/>
                  </a:lnTo>
                  <a:cubicBezTo>
                    <a:pt x="44926" y="53607"/>
                    <a:pt x="58402" y="31647"/>
                    <a:pt x="58199" y="23860"/>
                  </a:cubicBezTo>
                  <a:cubicBezTo>
                    <a:pt x="58199" y="22155"/>
                    <a:pt x="57468" y="21353"/>
                    <a:pt x="56210" y="21453"/>
                  </a:cubicBezTo>
                  <a:cubicBezTo>
                    <a:pt x="53897" y="21687"/>
                    <a:pt x="51603" y="22021"/>
                    <a:pt x="49350" y="22523"/>
                  </a:cubicBezTo>
                  <a:cubicBezTo>
                    <a:pt x="45007" y="23392"/>
                    <a:pt x="41232" y="24127"/>
                    <a:pt x="40502" y="22289"/>
                  </a:cubicBezTo>
                  <a:cubicBezTo>
                    <a:pt x="39771" y="20451"/>
                    <a:pt x="41882" y="17877"/>
                    <a:pt x="47402" y="12630"/>
                  </a:cubicBezTo>
                  <a:cubicBezTo>
                    <a:pt x="50138" y="10256"/>
                    <a:pt x="52585" y="7683"/>
                    <a:pt x="54708" y="4909"/>
                  </a:cubicBezTo>
                  <a:cubicBezTo>
                    <a:pt x="54039" y="4942"/>
                    <a:pt x="53377" y="5042"/>
                    <a:pt x="52719" y="5142"/>
                  </a:cubicBezTo>
                  <a:cubicBezTo>
                    <a:pt x="50036" y="5778"/>
                    <a:pt x="47171" y="5644"/>
                    <a:pt x="44601" y="4741"/>
                  </a:cubicBezTo>
                  <a:cubicBezTo>
                    <a:pt x="44236" y="4741"/>
                    <a:pt x="44074" y="4741"/>
                    <a:pt x="43749" y="4374"/>
                  </a:cubicBezTo>
                  <a:lnTo>
                    <a:pt x="43749" y="4374"/>
                  </a:lnTo>
                  <a:cubicBezTo>
                    <a:pt x="43749" y="4374"/>
                    <a:pt x="43465" y="4040"/>
                    <a:pt x="43343" y="3839"/>
                  </a:cubicBezTo>
                  <a:lnTo>
                    <a:pt x="42897" y="3237"/>
                  </a:lnTo>
                  <a:cubicBezTo>
                    <a:pt x="42531" y="2669"/>
                    <a:pt x="42247" y="2636"/>
                    <a:pt x="42207" y="263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386D1F5-6042-4A05-821C-A769D919CE12}"/>
                </a:ext>
              </a:extLst>
            </p:cNvPr>
            <p:cNvSpPr/>
            <p:nvPr/>
          </p:nvSpPr>
          <p:spPr>
            <a:xfrm>
              <a:off x="5470978" y="4062935"/>
              <a:ext cx="409341" cy="152581"/>
            </a:xfrm>
            <a:custGeom>
              <a:avLst/>
              <a:gdLst>
                <a:gd name="connsiteX0" fmla="*/ 403991 w 409341"/>
                <a:gd name="connsiteY0" fmla="*/ 13159 h 152581"/>
                <a:gd name="connsiteX1" fmla="*/ 336937 w 409341"/>
                <a:gd name="connsiteY1" fmla="*/ 11120 h 152581"/>
                <a:gd name="connsiteX2" fmla="*/ 317657 w 409341"/>
                <a:gd name="connsiteY2" fmla="*/ 8614 h 152581"/>
                <a:gd name="connsiteX3" fmla="*/ 292329 w 409341"/>
                <a:gd name="connsiteY3" fmla="*/ 10819 h 152581"/>
                <a:gd name="connsiteX4" fmla="*/ 172467 w 409341"/>
                <a:gd name="connsiteY4" fmla="*/ 592 h 152581"/>
                <a:gd name="connsiteX5" fmla="*/ 50333 w 409341"/>
                <a:gd name="connsiteY5" fmla="*/ 2865 h 152581"/>
                <a:gd name="connsiteX6" fmla="*/ 15223 w 409341"/>
                <a:gd name="connsiteY6" fmla="*/ 12892 h 152581"/>
                <a:gd name="connsiteX7" fmla="*/ 3533 w 409341"/>
                <a:gd name="connsiteY7" fmla="*/ 23220 h 152581"/>
                <a:gd name="connsiteX8" fmla="*/ 16846 w 409341"/>
                <a:gd name="connsiteY8" fmla="*/ 41904 h 152581"/>
                <a:gd name="connsiteX9" fmla="*/ 34746 w 409341"/>
                <a:gd name="connsiteY9" fmla="*/ 36756 h 152581"/>
                <a:gd name="connsiteX10" fmla="*/ 50536 w 409341"/>
                <a:gd name="connsiteY10" fmla="*/ 40934 h 152581"/>
                <a:gd name="connsiteX11" fmla="*/ 69126 w 409341"/>
                <a:gd name="connsiteY11" fmla="*/ 39597 h 152581"/>
                <a:gd name="connsiteX12" fmla="*/ 90192 w 409341"/>
                <a:gd name="connsiteY12" fmla="*/ 41536 h 152581"/>
                <a:gd name="connsiteX13" fmla="*/ 99893 w 409341"/>
                <a:gd name="connsiteY13" fmla="*/ 44343 h 152581"/>
                <a:gd name="connsiteX14" fmla="*/ 79598 w 409341"/>
                <a:gd name="connsiteY14" fmla="*/ 54972 h 152581"/>
                <a:gd name="connsiteX15" fmla="*/ 83657 w 409341"/>
                <a:gd name="connsiteY15" fmla="*/ 66704 h 152581"/>
                <a:gd name="connsiteX16" fmla="*/ 79882 w 409341"/>
                <a:gd name="connsiteY16" fmla="*/ 82179 h 152581"/>
                <a:gd name="connsiteX17" fmla="*/ 66731 w 409341"/>
                <a:gd name="connsiteY17" fmla="*/ 87426 h 152581"/>
                <a:gd name="connsiteX18" fmla="*/ 80816 w 409341"/>
                <a:gd name="connsiteY18" fmla="*/ 98222 h 152581"/>
                <a:gd name="connsiteX19" fmla="*/ 72170 w 409341"/>
                <a:gd name="connsiteY19" fmla="*/ 105475 h 152581"/>
                <a:gd name="connsiteX20" fmla="*/ 83860 w 409341"/>
                <a:gd name="connsiteY20" fmla="*/ 115502 h 152581"/>
                <a:gd name="connsiteX21" fmla="*/ 70709 w 409341"/>
                <a:gd name="connsiteY21" fmla="*/ 122521 h 152581"/>
                <a:gd name="connsiteX22" fmla="*/ 73794 w 409341"/>
                <a:gd name="connsiteY22" fmla="*/ 135222 h 152581"/>
                <a:gd name="connsiteX23" fmla="*/ 116616 w 409341"/>
                <a:gd name="connsiteY23" fmla="*/ 149828 h 152581"/>
                <a:gd name="connsiteX24" fmla="*/ 148195 w 409341"/>
                <a:gd name="connsiteY24" fmla="*/ 144748 h 152581"/>
                <a:gd name="connsiteX25" fmla="*/ 165729 w 409341"/>
                <a:gd name="connsiteY25" fmla="*/ 141171 h 152581"/>
                <a:gd name="connsiteX26" fmla="*/ 202260 w 409341"/>
                <a:gd name="connsiteY26" fmla="*/ 135690 h 152581"/>
                <a:gd name="connsiteX27" fmla="*/ 231566 w 409341"/>
                <a:gd name="connsiteY27" fmla="*/ 133718 h 152581"/>
                <a:gd name="connsiteX28" fmla="*/ 254378 w 409341"/>
                <a:gd name="connsiteY28" fmla="*/ 121084 h 152581"/>
                <a:gd name="connsiteX29" fmla="*/ 279219 w 409341"/>
                <a:gd name="connsiteY29" fmla="*/ 113162 h 152581"/>
                <a:gd name="connsiteX30" fmla="*/ 285672 w 409341"/>
                <a:gd name="connsiteY30" fmla="*/ 100495 h 152581"/>
                <a:gd name="connsiteX31" fmla="*/ 300041 w 409341"/>
                <a:gd name="connsiteY31" fmla="*/ 82781 h 152581"/>
                <a:gd name="connsiteX32" fmla="*/ 325410 w 409341"/>
                <a:gd name="connsiteY32" fmla="*/ 52064 h 152581"/>
                <a:gd name="connsiteX33" fmla="*/ 333528 w 409341"/>
                <a:gd name="connsiteY33" fmla="*/ 42806 h 152581"/>
                <a:gd name="connsiteX34" fmla="*/ 370058 w 409341"/>
                <a:gd name="connsiteY34" fmla="*/ 35887 h 152581"/>
                <a:gd name="connsiteX35" fmla="*/ 404235 w 409341"/>
                <a:gd name="connsiteY35" fmla="*/ 13126 h 152581"/>
                <a:gd name="connsiteX36" fmla="*/ 403991 w 409341"/>
                <a:gd name="connsiteY36" fmla="*/ 13159 h 152581"/>
                <a:gd name="connsiteX37" fmla="*/ 408984 w 409341"/>
                <a:gd name="connsiteY37" fmla="*/ 68141 h 152581"/>
                <a:gd name="connsiteX38" fmla="*/ 381464 w 409341"/>
                <a:gd name="connsiteY38" fmla="*/ 73990 h 152581"/>
                <a:gd name="connsiteX39" fmla="*/ 408984 w 409341"/>
                <a:gd name="connsiteY39" fmla="*/ 68141 h 1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09341" h="152581">
                  <a:moveTo>
                    <a:pt x="403991" y="13159"/>
                  </a:moveTo>
                  <a:cubicBezTo>
                    <a:pt x="382519" y="13494"/>
                    <a:pt x="357476" y="15031"/>
                    <a:pt x="336937" y="11120"/>
                  </a:cubicBezTo>
                  <a:cubicBezTo>
                    <a:pt x="334664" y="10686"/>
                    <a:pt x="317373" y="3333"/>
                    <a:pt x="317657" y="8614"/>
                  </a:cubicBezTo>
                  <a:cubicBezTo>
                    <a:pt x="317941" y="13895"/>
                    <a:pt x="296672" y="11956"/>
                    <a:pt x="292329" y="10819"/>
                  </a:cubicBezTo>
                  <a:cubicBezTo>
                    <a:pt x="254499" y="-43"/>
                    <a:pt x="215574" y="-1781"/>
                    <a:pt x="172467" y="592"/>
                  </a:cubicBezTo>
                  <a:cubicBezTo>
                    <a:pt x="136505" y="2497"/>
                    <a:pt x="83170" y="9249"/>
                    <a:pt x="50333" y="2865"/>
                  </a:cubicBezTo>
                  <a:cubicBezTo>
                    <a:pt x="31783" y="-745"/>
                    <a:pt x="31580" y="11488"/>
                    <a:pt x="15223" y="12892"/>
                  </a:cubicBezTo>
                  <a:cubicBezTo>
                    <a:pt x="4507" y="13794"/>
                    <a:pt x="-5681" y="17972"/>
                    <a:pt x="3533" y="23220"/>
                  </a:cubicBezTo>
                  <a:cubicBezTo>
                    <a:pt x="14573" y="29503"/>
                    <a:pt x="17496" y="32445"/>
                    <a:pt x="16846" y="41904"/>
                  </a:cubicBezTo>
                  <a:cubicBezTo>
                    <a:pt x="21879" y="41235"/>
                    <a:pt x="30566" y="35219"/>
                    <a:pt x="34746" y="36756"/>
                  </a:cubicBezTo>
                  <a:cubicBezTo>
                    <a:pt x="42296" y="39664"/>
                    <a:pt x="37141" y="42171"/>
                    <a:pt x="50536" y="40934"/>
                  </a:cubicBezTo>
                  <a:cubicBezTo>
                    <a:pt x="57395" y="40299"/>
                    <a:pt x="63484" y="42204"/>
                    <a:pt x="69126" y="39597"/>
                  </a:cubicBezTo>
                  <a:cubicBezTo>
                    <a:pt x="80775" y="34183"/>
                    <a:pt x="83251" y="38795"/>
                    <a:pt x="90192" y="41536"/>
                  </a:cubicBezTo>
                  <a:cubicBezTo>
                    <a:pt x="92100" y="42338"/>
                    <a:pt x="100745" y="42271"/>
                    <a:pt x="99893" y="44343"/>
                  </a:cubicBezTo>
                  <a:cubicBezTo>
                    <a:pt x="97863" y="49056"/>
                    <a:pt x="84672" y="51396"/>
                    <a:pt x="79598" y="54972"/>
                  </a:cubicBezTo>
                  <a:cubicBezTo>
                    <a:pt x="74524" y="58548"/>
                    <a:pt x="82277" y="63562"/>
                    <a:pt x="83657" y="66704"/>
                  </a:cubicBezTo>
                  <a:cubicBezTo>
                    <a:pt x="86011" y="71918"/>
                    <a:pt x="78299" y="76463"/>
                    <a:pt x="79882" y="82179"/>
                  </a:cubicBezTo>
                  <a:cubicBezTo>
                    <a:pt x="81140" y="86658"/>
                    <a:pt x="71115" y="84853"/>
                    <a:pt x="66731" y="87426"/>
                  </a:cubicBezTo>
                  <a:cubicBezTo>
                    <a:pt x="61049" y="90769"/>
                    <a:pt x="77974" y="96183"/>
                    <a:pt x="80816" y="98222"/>
                  </a:cubicBezTo>
                  <a:cubicBezTo>
                    <a:pt x="84875" y="101063"/>
                    <a:pt x="74200" y="102267"/>
                    <a:pt x="72170" y="105475"/>
                  </a:cubicBezTo>
                  <a:cubicBezTo>
                    <a:pt x="68111" y="111792"/>
                    <a:pt x="78827" y="111625"/>
                    <a:pt x="83860" y="115502"/>
                  </a:cubicBezTo>
                  <a:cubicBezTo>
                    <a:pt x="87432" y="118310"/>
                    <a:pt x="73144" y="120182"/>
                    <a:pt x="70709" y="122521"/>
                  </a:cubicBezTo>
                  <a:cubicBezTo>
                    <a:pt x="66082" y="126933"/>
                    <a:pt x="68882" y="131746"/>
                    <a:pt x="73794" y="135222"/>
                  </a:cubicBezTo>
                  <a:cubicBezTo>
                    <a:pt x="98148" y="131278"/>
                    <a:pt x="102207" y="143177"/>
                    <a:pt x="116616" y="149828"/>
                  </a:cubicBezTo>
                  <a:cubicBezTo>
                    <a:pt x="132852" y="157449"/>
                    <a:pt x="133339" y="144581"/>
                    <a:pt x="148195" y="144748"/>
                  </a:cubicBezTo>
                  <a:cubicBezTo>
                    <a:pt x="154364" y="145119"/>
                    <a:pt x="160493" y="143866"/>
                    <a:pt x="165729" y="141171"/>
                  </a:cubicBezTo>
                  <a:cubicBezTo>
                    <a:pt x="176242" y="136626"/>
                    <a:pt x="189677" y="136693"/>
                    <a:pt x="202260" y="135690"/>
                  </a:cubicBezTo>
                  <a:cubicBezTo>
                    <a:pt x="211799" y="134921"/>
                    <a:pt x="222230" y="135022"/>
                    <a:pt x="231566" y="133718"/>
                  </a:cubicBezTo>
                  <a:cubicBezTo>
                    <a:pt x="245286" y="131813"/>
                    <a:pt x="244555" y="125329"/>
                    <a:pt x="254378" y="121084"/>
                  </a:cubicBezTo>
                  <a:cubicBezTo>
                    <a:pt x="261521" y="118009"/>
                    <a:pt x="275403" y="118109"/>
                    <a:pt x="279219" y="113162"/>
                  </a:cubicBezTo>
                  <a:cubicBezTo>
                    <a:pt x="283034" y="108216"/>
                    <a:pt x="278772" y="104472"/>
                    <a:pt x="285672" y="100495"/>
                  </a:cubicBezTo>
                  <a:cubicBezTo>
                    <a:pt x="298701" y="92941"/>
                    <a:pt x="305317" y="92941"/>
                    <a:pt x="300041" y="82781"/>
                  </a:cubicBezTo>
                  <a:cubicBezTo>
                    <a:pt x="292410" y="68141"/>
                    <a:pt x="309985" y="62258"/>
                    <a:pt x="325410" y="52064"/>
                  </a:cubicBezTo>
                  <a:cubicBezTo>
                    <a:pt x="329996" y="49023"/>
                    <a:pt x="326830" y="45380"/>
                    <a:pt x="333528" y="42806"/>
                  </a:cubicBezTo>
                  <a:cubicBezTo>
                    <a:pt x="344446" y="38628"/>
                    <a:pt x="358774" y="39731"/>
                    <a:pt x="370058" y="35887"/>
                  </a:cubicBezTo>
                  <a:cubicBezTo>
                    <a:pt x="386051" y="30406"/>
                    <a:pt x="408497" y="24724"/>
                    <a:pt x="404235" y="13126"/>
                  </a:cubicBezTo>
                  <a:cubicBezTo>
                    <a:pt x="392585" y="13326"/>
                    <a:pt x="406630" y="20278"/>
                    <a:pt x="403991" y="13159"/>
                  </a:cubicBezTo>
                  <a:close/>
                  <a:moveTo>
                    <a:pt x="408984" y="68141"/>
                  </a:moveTo>
                  <a:cubicBezTo>
                    <a:pt x="406264" y="59618"/>
                    <a:pt x="374442" y="71684"/>
                    <a:pt x="381464" y="73990"/>
                  </a:cubicBezTo>
                  <a:cubicBezTo>
                    <a:pt x="395792" y="78603"/>
                    <a:pt x="411663" y="76664"/>
                    <a:pt x="408984" y="6814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A18C5305-B750-4D15-9612-5065B8F3EDC0}"/>
                </a:ext>
              </a:extLst>
            </p:cNvPr>
            <p:cNvSpPr/>
            <p:nvPr/>
          </p:nvSpPr>
          <p:spPr>
            <a:xfrm>
              <a:off x="6184814" y="3979688"/>
              <a:ext cx="108851" cy="29931"/>
            </a:xfrm>
            <a:custGeom>
              <a:avLst/>
              <a:gdLst>
                <a:gd name="connsiteX0" fmla="*/ 99 w 108851"/>
                <a:gd name="connsiteY0" fmla="*/ 25950 h 29931"/>
                <a:gd name="connsiteX1" fmla="*/ 20800 w 108851"/>
                <a:gd name="connsiteY1" fmla="*/ 24746 h 29931"/>
                <a:gd name="connsiteX2" fmla="*/ 32206 w 108851"/>
                <a:gd name="connsiteY2" fmla="*/ 29459 h 29931"/>
                <a:gd name="connsiteX3" fmla="*/ 66423 w 108851"/>
                <a:gd name="connsiteY3" fmla="*/ 29125 h 29931"/>
                <a:gd name="connsiteX4" fmla="*/ 84729 w 108851"/>
                <a:gd name="connsiteY4" fmla="*/ 18262 h 29931"/>
                <a:gd name="connsiteX5" fmla="*/ 107987 w 108851"/>
                <a:gd name="connsiteY5" fmla="*/ 6698 h 29931"/>
                <a:gd name="connsiteX6" fmla="*/ 99179 w 108851"/>
                <a:gd name="connsiteY6" fmla="*/ -188 h 29931"/>
                <a:gd name="connsiteX7" fmla="*/ 54977 w 108851"/>
                <a:gd name="connsiteY7" fmla="*/ 7266 h 29931"/>
                <a:gd name="connsiteX8" fmla="*/ 15077 w 108851"/>
                <a:gd name="connsiteY8" fmla="*/ 3923 h 29931"/>
                <a:gd name="connsiteX9" fmla="*/ 1276 w 108851"/>
                <a:gd name="connsiteY9" fmla="*/ 7065 h 29931"/>
                <a:gd name="connsiteX10" fmla="*/ 99 w 108851"/>
                <a:gd name="connsiteY10" fmla="*/ 25883 h 29931"/>
                <a:gd name="connsiteX11" fmla="*/ 99 w 108851"/>
                <a:gd name="connsiteY11" fmla="*/ 25950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51" h="29931">
                  <a:moveTo>
                    <a:pt x="99" y="25950"/>
                  </a:moveTo>
                  <a:cubicBezTo>
                    <a:pt x="6797" y="24275"/>
                    <a:pt x="13859" y="23864"/>
                    <a:pt x="20800" y="24746"/>
                  </a:cubicBezTo>
                  <a:cubicBezTo>
                    <a:pt x="30014" y="26752"/>
                    <a:pt x="20353" y="30328"/>
                    <a:pt x="32206" y="29459"/>
                  </a:cubicBezTo>
                  <a:cubicBezTo>
                    <a:pt x="43571" y="28714"/>
                    <a:pt x="55017" y="28603"/>
                    <a:pt x="66423" y="29125"/>
                  </a:cubicBezTo>
                  <a:cubicBezTo>
                    <a:pt x="67681" y="29125"/>
                    <a:pt x="84201" y="19766"/>
                    <a:pt x="84729" y="18262"/>
                  </a:cubicBezTo>
                  <a:cubicBezTo>
                    <a:pt x="87083" y="11577"/>
                    <a:pt x="98326" y="10842"/>
                    <a:pt x="107987" y="6698"/>
                  </a:cubicBezTo>
                  <a:cubicBezTo>
                    <a:pt x="111234" y="5294"/>
                    <a:pt x="103928" y="-1424"/>
                    <a:pt x="99179" y="-188"/>
                  </a:cubicBezTo>
                  <a:cubicBezTo>
                    <a:pt x="85378" y="3456"/>
                    <a:pt x="69467" y="4057"/>
                    <a:pt x="54977" y="7266"/>
                  </a:cubicBezTo>
                  <a:cubicBezTo>
                    <a:pt x="44342" y="9639"/>
                    <a:pt x="26320" y="4425"/>
                    <a:pt x="15077" y="3923"/>
                  </a:cubicBezTo>
                  <a:cubicBezTo>
                    <a:pt x="5741" y="3589"/>
                    <a:pt x="2332" y="1283"/>
                    <a:pt x="1276" y="7065"/>
                  </a:cubicBezTo>
                  <a:cubicBezTo>
                    <a:pt x="59" y="13285"/>
                    <a:pt x="-307" y="19592"/>
                    <a:pt x="99" y="25883"/>
                  </a:cubicBezTo>
                  <a:cubicBezTo>
                    <a:pt x="8217" y="24379"/>
                    <a:pt x="-429" y="17861"/>
                    <a:pt x="99" y="259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C7446D32-B8DA-4E88-ACE2-2C0E3B2DD397}"/>
                </a:ext>
              </a:extLst>
            </p:cNvPr>
            <p:cNvSpPr/>
            <p:nvPr/>
          </p:nvSpPr>
          <p:spPr>
            <a:xfrm>
              <a:off x="6403305" y="4097892"/>
              <a:ext cx="204258" cy="133001"/>
            </a:xfrm>
            <a:custGeom>
              <a:avLst/>
              <a:gdLst>
                <a:gd name="connsiteX0" fmla="*/ 202118 w 204258"/>
                <a:gd name="connsiteY0" fmla="*/ 395 h 133001"/>
                <a:gd name="connsiteX1" fmla="*/ 180889 w 204258"/>
                <a:gd name="connsiteY1" fmla="*/ 6779 h 133001"/>
                <a:gd name="connsiteX2" fmla="*/ 150041 w 204258"/>
                <a:gd name="connsiteY2" fmla="*/ 4206 h 133001"/>
                <a:gd name="connsiteX3" fmla="*/ 94271 w 204258"/>
                <a:gd name="connsiteY3" fmla="*/ 1966 h 133001"/>
                <a:gd name="connsiteX4" fmla="*/ 69308 w 204258"/>
                <a:gd name="connsiteY4" fmla="*/ 7180 h 133001"/>
                <a:gd name="connsiteX5" fmla="*/ 44427 w 204258"/>
                <a:gd name="connsiteY5" fmla="*/ 11559 h 133001"/>
                <a:gd name="connsiteX6" fmla="*/ 17556 w 204258"/>
                <a:gd name="connsiteY6" fmla="*/ 21586 h 133001"/>
                <a:gd name="connsiteX7" fmla="*/ -60 w 204258"/>
                <a:gd name="connsiteY7" fmla="*/ 36660 h 133001"/>
                <a:gd name="connsiteX8" fmla="*/ 17434 w 204258"/>
                <a:gd name="connsiteY8" fmla="*/ 48459 h 133001"/>
                <a:gd name="connsiteX9" fmla="*/ 35294 w 204258"/>
                <a:gd name="connsiteY9" fmla="*/ 58486 h 133001"/>
                <a:gd name="connsiteX10" fmla="*/ 59404 w 204258"/>
                <a:gd name="connsiteY10" fmla="*/ 58285 h 133001"/>
                <a:gd name="connsiteX11" fmla="*/ 58552 w 204258"/>
                <a:gd name="connsiteY11" fmla="*/ 63499 h 133001"/>
                <a:gd name="connsiteX12" fmla="*/ 30829 w 204258"/>
                <a:gd name="connsiteY12" fmla="*/ 65705 h 133001"/>
                <a:gd name="connsiteX13" fmla="*/ 40043 w 204258"/>
                <a:gd name="connsiteY13" fmla="*/ 78373 h 133001"/>
                <a:gd name="connsiteX14" fmla="*/ 61109 w 204258"/>
                <a:gd name="connsiteY14" fmla="*/ 91742 h 133001"/>
                <a:gd name="connsiteX15" fmla="*/ 86153 w 204258"/>
                <a:gd name="connsiteY15" fmla="*/ 98427 h 133001"/>
                <a:gd name="connsiteX16" fmla="*/ 80633 w 204258"/>
                <a:gd name="connsiteY16" fmla="*/ 85492 h 133001"/>
                <a:gd name="connsiteX17" fmla="*/ 97275 w 204258"/>
                <a:gd name="connsiteY17" fmla="*/ 83787 h 133001"/>
                <a:gd name="connsiteX18" fmla="*/ 87898 w 204258"/>
                <a:gd name="connsiteY18" fmla="*/ 75164 h 133001"/>
                <a:gd name="connsiteX19" fmla="*/ 87533 w 204258"/>
                <a:gd name="connsiteY19" fmla="*/ 71454 h 133001"/>
                <a:gd name="connsiteX20" fmla="*/ 106894 w 204258"/>
                <a:gd name="connsiteY20" fmla="*/ 74128 h 133001"/>
                <a:gd name="connsiteX21" fmla="*/ 106610 w 204258"/>
                <a:gd name="connsiteY21" fmla="*/ 56848 h 133001"/>
                <a:gd name="connsiteX22" fmla="*/ 86640 w 204258"/>
                <a:gd name="connsiteY22" fmla="*/ 56848 h 133001"/>
                <a:gd name="connsiteX23" fmla="*/ 96219 w 204258"/>
                <a:gd name="connsiteY23" fmla="*/ 50163 h 133001"/>
                <a:gd name="connsiteX24" fmla="*/ 78563 w 204258"/>
                <a:gd name="connsiteY24" fmla="*/ 21619 h 133001"/>
                <a:gd name="connsiteX25" fmla="*/ 108072 w 204258"/>
                <a:gd name="connsiteY25" fmla="*/ 27936 h 133001"/>
                <a:gd name="connsiteX26" fmla="*/ 116677 w 204258"/>
                <a:gd name="connsiteY26" fmla="*/ 16238 h 133001"/>
                <a:gd name="connsiteX27" fmla="*/ 138554 w 204258"/>
                <a:gd name="connsiteY27" fmla="*/ 17575 h 133001"/>
                <a:gd name="connsiteX28" fmla="*/ 158606 w 204258"/>
                <a:gd name="connsiteY28" fmla="*/ 13765 h 133001"/>
                <a:gd name="connsiteX29" fmla="*/ 194365 w 204258"/>
                <a:gd name="connsiteY29" fmla="*/ 14634 h 133001"/>
                <a:gd name="connsiteX30" fmla="*/ 202483 w 204258"/>
                <a:gd name="connsiteY30" fmla="*/ 9720 h 133001"/>
                <a:gd name="connsiteX31" fmla="*/ 202036 w 204258"/>
                <a:gd name="connsiteY31" fmla="*/ 395 h 133001"/>
                <a:gd name="connsiteX32" fmla="*/ 202118 w 204258"/>
                <a:gd name="connsiteY32" fmla="*/ 395 h 133001"/>
                <a:gd name="connsiteX33" fmla="*/ 166033 w 204258"/>
                <a:gd name="connsiteY33" fmla="*/ 126001 h 133001"/>
                <a:gd name="connsiteX34" fmla="*/ 129746 w 204258"/>
                <a:gd name="connsiteY34" fmla="*/ 123461 h 133001"/>
                <a:gd name="connsiteX35" fmla="*/ 96422 w 204258"/>
                <a:gd name="connsiteY35" fmla="*/ 122124 h 133001"/>
                <a:gd name="connsiteX36" fmla="*/ 133968 w 204258"/>
                <a:gd name="connsiteY36" fmla="*/ 131783 h 133001"/>
                <a:gd name="connsiteX37" fmla="*/ 185435 w 204258"/>
                <a:gd name="connsiteY37" fmla="*/ 127739 h 133001"/>
                <a:gd name="connsiteX38" fmla="*/ 166033 w 204258"/>
                <a:gd name="connsiteY38" fmla="*/ 126001 h 13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4258" h="133001">
                  <a:moveTo>
                    <a:pt x="202118" y="395"/>
                  </a:moveTo>
                  <a:cubicBezTo>
                    <a:pt x="187546" y="395"/>
                    <a:pt x="190550" y="5777"/>
                    <a:pt x="180889" y="6779"/>
                  </a:cubicBezTo>
                  <a:cubicBezTo>
                    <a:pt x="171229" y="7782"/>
                    <a:pt x="159174" y="5543"/>
                    <a:pt x="150041" y="4206"/>
                  </a:cubicBezTo>
                  <a:cubicBezTo>
                    <a:pt x="133196" y="1732"/>
                    <a:pt x="108883" y="-3281"/>
                    <a:pt x="94271" y="1966"/>
                  </a:cubicBezTo>
                  <a:cubicBezTo>
                    <a:pt x="86356" y="4837"/>
                    <a:pt x="77913" y="6599"/>
                    <a:pt x="69308" y="7180"/>
                  </a:cubicBezTo>
                  <a:cubicBezTo>
                    <a:pt x="59729" y="7615"/>
                    <a:pt x="55142" y="11726"/>
                    <a:pt x="44427" y="11559"/>
                  </a:cubicBezTo>
                  <a:cubicBezTo>
                    <a:pt x="25309" y="11258"/>
                    <a:pt x="30585" y="15169"/>
                    <a:pt x="17556" y="21586"/>
                  </a:cubicBezTo>
                  <a:cubicBezTo>
                    <a:pt x="10331" y="25420"/>
                    <a:pt x="4324" y="30580"/>
                    <a:pt x="-60" y="36660"/>
                  </a:cubicBezTo>
                  <a:cubicBezTo>
                    <a:pt x="8992" y="39300"/>
                    <a:pt x="15811" y="42743"/>
                    <a:pt x="17434" y="48459"/>
                  </a:cubicBezTo>
                  <a:cubicBezTo>
                    <a:pt x="19058" y="54174"/>
                    <a:pt x="19708" y="61828"/>
                    <a:pt x="35294" y="58486"/>
                  </a:cubicBezTo>
                  <a:cubicBezTo>
                    <a:pt x="45198" y="56447"/>
                    <a:pt x="48486" y="54441"/>
                    <a:pt x="59404" y="58285"/>
                  </a:cubicBezTo>
                  <a:cubicBezTo>
                    <a:pt x="68090" y="61360"/>
                    <a:pt x="71581" y="65237"/>
                    <a:pt x="58552" y="63499"/>
                  </a:cubicBezTo>
                  <a:cubicBezTo>
                    <a:pt x="50718" y="62463"/>
                    <a:pt x="35213" y="60558"/>
                    <a:pt x="30829" y="65705"/>
                  </a:cubicBezTo>
                  <a:cubicBezTo>
                    <a:pt x="26770" y="70317"/>
                    <a:pt x="43006" y="73593"/>
                    <a:pt x="40043" y="78373"/>
                  </a:cubicBezTo>
                  <a:cubicBezTo>
                    <a:pt x="34523" y="87230"/>
                    <a:pt x="51083" y="88968"/>
                    <a:pt x="61109" y="91742"/>
                  </a:cubicBezTo>
                  <a:cubicBezTo>
                    <a:pt x="64356" y="92578"/>
                    <a:pt x="83920" y="103006"/>
                    <a:pt x="86153" y="98427"/>
                  </a:cubicBezTo>
                  <a:cubicBezTo>
                    <a:pt x="88101" y="94583"/>
                    <a:pt x="82540" y="89202"/>
                    <a:pt x="80633" y="85492"/>
                  </a:cubicBezTo>
                  <a:cubicBezTo>
                    <a:pt x="77020" y="78606"/>
                    <a:pt x="90577" y="84222"/>
                    <a:pt x="97275" y="83787"/>
                  </a:cubicBezTo>
                  <a:cubicBezTo>
                    <a:pt x="113510" y="82784"/>
                    <a:pt x="96422" y="75298"/>
                    <a:pt x="87898" y="75164"/>
                  </a:cubicBezTo>
                  <a:cubicBezTo>
                    <a:pt x="81566" y="75164"/>
                    <a:pt x="84164" y="72323"/>
                    <a:pt x="87533" y="71454"/>
                  </a:cubicBezTo>
                  <a:cubicBezTo>
                    <a:pt x="94839" y="69649"/>
                    <a:pt x="100034" y="73593"/>
                    <a:pt x="106894" y="74128"/>
                  </a:cubicBezTo>
                  <a:cubicBezTo>
                    <a:pt x="132750" y="76100"/>
                    <a:pt x="130761" y="57416"/>
                    <a:pt x="106610" y="56848"/>
                  </a:cubicBezTo>
                  <a:cubicBezTo>
                    <a:pt x="97518" y="56681"/>
                    <a:pt x="94677" y="61962"/>
                    <a:pt x="86640" y="56848"/>
                  </a:cubicBezTo>
                  <a:cubicBezTo>
                    <a:pt x="77954" y="51467"/>
                    <a:pt x="91795" y="52670"/>
                    <a:pt x="96219" y="50163"/>
                  </a:cubicBezTo>
                  <a:cubicBezTo>
                    <a:pt x="106691" y="43813"/>
                    <a:pt x="52666" y="23625"/>
                    <a:pt x="78563" y="21619"/>
                  </a:cubicBezTo>
                  <a:cubicBezTo>
                    <a:pt x="90537" y="20717"/>
                    <a:pt x="94027" y="28805"/>
                    <a:pt x="108072" y="27936"/>
                  </a:cubicBezTo>
                  <a:cubicBezTo>
                    <a:pt x="125890" y="26833"/>
                    <a:pt x="109411" y="21252"/>
                    <a:pt x="116677" y="16238"/>
                  </a:cubicBezTo>
                  <a:cubicBezTo>
                    <a:pt x="123008" y="11927"/>
                    <a:pt x="133359" y="13999"/>
                    <a:pt x="138554" y="17575"/>
                  </a:cubicBezTo>
                  <a:cubicBezTo>
                    <a:pt x="143750" y="21152"/>
                    <a:pt x="153207" y="14233"/>
                    <a:pt x="158606" y="13765"/>
                  </a:cubicBezTo>
                  <a:cubicBezTo>
                    <a:pt x="169971" y="12394"/>
                    <a:pt x="193553" y="25363"/>
                    <a:pt x="194365" y="14634"/>
                  </a:cubicBezTo>
                  <a:cubicBezTo>
                    <a:pt x="194365" y="12428"/>
                    <a:pt x="200494" y="11292"/>
                    <a:pt x="202483" y="9720"/>
                  </a:cubicBezTo>
                  <a:cubicBezTo>
                    <a:pt x="205974" y="7147"/>
                    <a:pt x="203254" y="3236"/>
                    <a:pt x="202036" y="395"/>
                  </a:cubicBezTo>
                  <a:cubicBezTo>
                    <a:pt x="194974" y="395"/>
                    <a:pt x="203051" y="2668"/>
                    <a:pt x="202118" y="395"/>
                  </a:cubicBezTo>
                  <a:close/>
                  <a:moveTo>
                    <a:pt x="166033" y="126001"/>
                  </a:moveTo>
                  <a:cubicBezTo>
                    <a:pt x="156982" y="122659"/>
                    <a:pt x="139975" y="124397"/>
                    <a:pt x="129746" y="123461"/>
                  </a:cubicBezTo>
                  <a:cubicBezTo>
                    <a:pt x="118503" y="122458"/>
                    <a:pt x="106042" y="115105"/>
                    <a:pt x="96422" y="122124"/>
                  </a:cubicBezTo>
                  <a:cubicBezTo>
                    <a:pt x="93540" y="124196"/>
                    <a:pt x="129341" y="131082"/>
                    <a:pt x="133968" y="131783"/>
                  </a:cubicBezTo>
                  <a:cubicBezTo>
                    <a:pt x="140340" y="132653"/>
                    <a:pt x="186085" y="134424"/>
                    <a:pt x="185435" y="127739"/>
                  </a:cubicBezTo>
                  <a:cubicBezTo>
                    <a:pt x="185435" y="126202"/>
                    <a:pt x="168834" y="127004"/>
                    <a:pt x="166033" y="1260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367656EB-3FBF-4AC4-B5E2-BE3E84A2D86F}"/>
                </a:ext>
              </a:extLst>
            </p:cNvPr>
            <p:cNvSpPr/>
            <p:nvPr/>
          </p:nvSpPr>
          <p:spPr>
            <a:xfrm>
              <a:off x="6772790" y="4234827"/>
              <a:ext cx="74213" cy="17814"/>
            </a:xfrm>
            <a:custGeom>
              <a:avLst/>
              <a:gdLst>
                <a:gd name="connsiteX0" fmla="*/ 49382 w 74213"/>
                <a:gd name="connsiteY0" fmla="*/ 12329 h 17814"/>
                <a:gd name="connsiteX1" fmla="*/ 74060 w 74213"/>
                <a:gd name="connsiteY1" fmla="*/ -339 h 17814"/>
                <a:gd name="connsiteX2" fmla="*/ 715 w 74213"/>
                <a:gd name="connsiteY2" fmla="*/ 7616 h 17814"/>
                <a:gd name="connsiteX3" fmla="*/ 49423 w 74213"/>
                <a:gd name="connsiteY3" fmla="*/ 12329 h 17814"/>
                <a:gd name="connsiteX4" fmla="*/ 49382 w 74213"/>
                <a:gd name="connsiteY4" fmla="*/ 12329 h 1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13" h="17814">
                  <a:moveTo>
                    <a:pt x="49382" y="12329"/>
                  </a:moveTo>
                  <a:cubicBezTo>
                    <a:pt x="47880" y="4976"/>
                    <a:pt x="75969" y="3739"/>
                    <a:pt x="74060" y="-339"/>
                  </a:cubicBezTo>
                  <a:cubicBezTo>
                    <a:pt x="75360" y="2369"/>
                    <a:pt x="4530" y="1901"/>
                    <a:pt x="715" y="7616"/>
                  </a:cubicBezTo>
                  <a:cubicBezTo>
                    <a:pt x="-7403" y="19816"/>
                    <a:pt x="51006" y="19849"/>
                    <a:pt x="49423" y="12329"/>
                  </a:cubicBezTo>
                  <a:cubicBezTo>
                    <a:pt x="48936" y="9454"/>
                    <a:pt x="50113" y="15170"/>
                    <a:pt x="49382" y="1232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4812887B-015B-4508-B26F-3698F2188E47}"/>
                </a:ext>
              </a:extLst>
            </p:cNvPr>
            <p:cNvSpPr/>
            <p:nvPr/>
          </p:nvSpPr>
          <p:spPr>
            <a:xfrm>
              <a:off x="4894682" y="3539638"/>
              <a:ext cx="369449" cy="97718"/>
            </a:xfrm>
            <a:custGeom>
              <a:avLst/>
              <a:gdLst>
                <a:gd name="connsiteX0" fmla="*/ 316361 w 369449"/>
                <a:gd name="connsiteY0" fmla="*/ 58298 h 97718"/>
                <a:gd name="connsiteX1" fmla="*/ 339862 w 369449"/>
                <a:gd name="connsiteY1" fmla="*/ 45564 h 97718"/>
                <a:gd name="connsiteX2" fmla="*/ 367585 w 369449"/>
                <a:gd name="connsiteY2" fmla="*/ 30155 h 97718"/>
                <a:gd name="connsiteX3" fmla="*/ 339172 w 369449"/>
                <a:gd name="connsiteY3" fmla="*/ 17655 h 97718"/>
                <a:gd name="connsiteX4" fmla="*/ 320095 w 369449"/>
                <a:gd name="connsiteY4" fmla="*/ 1144 h 97718"/>
                <a:gd name="connsiteX5" fmla="*/ 281819 w 369449"/>
                <a:gd name="connsiteY5" fmla="*/ 2146 h 97718"/>
                <a:gd name="connsiteX6" fmla="*/ 259292 w 369449"/>
                <a:gd name="connsiteY6" fmla="*/ 7528 h 97718"/>
                <a:gd name="connsiteX7" fmla="*/ 238753 w 369449"/>
                <a:gd name="connsiteY7" fmla="*/ 12942 h 97718"/>
                <a:gd name="connsiteX8" fmla="*/ 205064 w 369449"/>
                <a:gd name="connsiteY8" fmla="*/ 18123 h 97718"/>
                <a:gd name="connsiteX9" fmla="*/ 168127 w 369449"/>
                <a:gd name="connsiteY9" fmla="*/ 21465 h 97718"/>
                <a:gd name="connsiteX10" fmla="*/ 150227 w 369449"/>
                <a:gd name="connsiteY10" fmla="*/ 25276 h 97718"/>
                <a:gd name="connsiteX11" fmla="*/ 138050 w 369449"/>
                <a:gd name="connsiteY11" fmla="*/ 35303 h 97718"/>
                <a:gd name="connsiteX12" fmla="*/ 109921 w 369449"/>
                <a:gd name="connsiteY12" fmla="*/ 47937 h 97718"/>
                <a:gd name="connsiteX13" fmla="*/ 95512 w 369449"/>
                <a:gd name="connsiteY13" fmla="*/ 37509 h 97718"/>
                <a:gd name="connsiteX14" fmla="*/ 86054 w 369449"/>
                <a:gd name="connsiteY14" fmla="*/ 28685 h 97718"/>
                <a:gd name="connsiteX15" fmla="*/ 46399 w 369449"/>
                <a:gd name="connsiteY15" fmla="*/ 24407 h 97718"/>
                <a:gd name="connsiteX16" fmla="*/ 52852 w 369449"/>
                <a:gd name="connsiteY16" fmla="*/ 35002 h 97718"/>
                <a:gd name="connsiteX17" fmla="*/ 25170 w 369449"/>
                <a:gd name="connsiteY17" fmla="*/ 35002 h 97718"/>
                <a:gd name="connsiteX18" fmla="*/ 1222 w 369449"/>
                <a:gd name="connsiteY18" fmla="*/ 56928 h 97718"/>
                <a:gd name="connsiteX19" fmla="*/ 69494 w 369449"/>
                <a:gd name="connsiteY19" fmla="*/ 56393 h 97718"/>
                <a:gd name="connsiteX20" fmla="*/ 63081 w 369449"/>
                <a:gd name="connsiteY20" fmla="*/ 64749 h 97718"/>
                <a:gd name="connsiteX21" fmla="*/ 14373 w 369449"/>
                <a:gd name="connsiteY21" fmla="*/ 75879 h 97718"/>
                <a:gd name="connsiteX22" fmla="*/ 46439 w 369449"/>
                <a:gd name="connsiteY22" fmla="*/ 71901 h 97718"/>
                <a:gd name="connsiteX23" fmla="*/ 67140 w 369449"/>
                <a:gd name="connsiteY23" fmla="*/ 75411 h 97718"/>
                <a:gd name="connsiteX24" fmla="*/ 86542 w 369449"/>
                <a:gd name="connsiteY24" fmla="*/ 78753 h 97718"/>
                <a:gd name="connsiteX25" fmla="*/ 69981 w 369449"/>
                <a:gd name="connsiteY25" fmla="*/ 90351 h 97718"/>
                <a:gd name="connsiteX26" fmla="*/ 76841 w 369449"/>
                <a:gd name="connsiteY26" fmla="*/ 97036 h 97718"/>
                <a:gd name="connsiteX27" fmla="*/ 136711 w 369449"/>
                <a:gd name="connsiteY27" fmla="*/ 91187 h 97718"/>
                <a:gd name="connsiteX28" fmla="*/ 185946 w 369449"/>
                <a:gd name="connsiteY28" fmla="*/ 95766 h 97718"/>
                <a:gd name="connsiteX29" fmla="*/ 228971 w 369449"/>
                <a:gd name="connsiteY29" fmla="*/ 83065 h 97718"/>
                <a:gd name="connsiteX30" fmla="*/ 266030 w 369449"/>
                <a:gd name="connsiteY30" fmla="*/ 73439 h 97718"/>
                <a:gd name="connsiteX31" fmla="*/ 315996 w 369449"/>
                <a:gd name="connsiteY31" fmla="*/ 58632 h 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9449" h="97718">
                  <a:moveTo>
                    <a:pt x="316361" y="58298"/>
                  </a:moveTo>
                  <a:cubicBezTo>
                    <a:pt x="332353" y="56426"/>
                    <a:pt x="329715" y="49775"/>
                    <a:pt x="339862" y="45564"/>
                  </a:cubicBezTo>
                  <a:cubicBezTo>
                    <a:pt x="352039" y="40617"/>
                    <a:pt x="360888" y="38244"/>
                    <a:pt x="367585" y="30155"/>
                  </a:cubicBezTo>
                  <a:cubicBezTo>
                    <a:pt x="376352" y="19493"/>
                    <a:pt x="350943" y="18858"/>
                    <a:pt x="339172" y="17655"/>
                  </a:cubicBezTo>
                  <a:cubicBezTo>
                    <a:pt x="330283" y="16719"/>
                    <a:pt x="319730" y="5723"/>
                    <a:pt x="320095" y="1144"/>
                  </a:cubicBezTo>
                  <a:cubicBezTo>
                    <a:pt x="320095" y="2046"/>
                    <a:pt x="287948" y="3684"/>
                    <a:pt x="281819" y="2146"/>
                  </a:cubicBezTo>
                  <a:cubicBezTo>
                    <a:pt x="268221" y="-1196"/>
                    <a:pt x="256491" y="-2633"/>
                    <a:pt x="259292" y="7528"/>
                  </a:cubicBezTo>
                  <a:cubicBezTo>
                    <a:pt x="261403" y="15315"/>
                    <a:pt x="238185" y="8931"/>
                    <a:pt x="238753" y="12942"/>
                  </a:cubicBezTo>
                  <a:cubicBezTo>
                    <a:pt x="239971" y="20964"/>
                    <a:pt x="201695" y="7996"/>
                    <a:pt x="205064" y="18123"/>
                  </a:cubicBezTo>
                  <a:cubicBezTo>
                    <a:pt x="205064" y="18390"/>
                    <a:pt x="175961" y="15349"/>
                    <a:pt x="168127" y="21465"/>
                  </a:cubicBezTo>
                  <a:cubicBezTo>
                    <a:pt x="160293" y="27582"/>
                    <a:pt x="165854" y="35403"/>
                    <a:pt x="150227" y="25276"/>
                  </a:cubicBezTo>
                  <a:cubicBezTo>
                    <a:pt x="135371" y="15616"/>
                    <a:pt x="136183" y="31659"/>
                    <a:pt x="138050" y="35303"/>
                  </a:cubicBezTo>
                  <a:cubicBezTo>
                    <a:pt x="141622" y="41753"/>
                    <a:pt x="117106" y="40684"/>
                    <a:pt x="109921" y="47937"/>
                  </a:cubicBezTo>
                  <a:cubicBezTo>
                    <a:pt x="106228" y="51613"/>
                    <a:pt x="92874" y="41052"/>
                    <a:pt x="95512" y="37509"/>
                  </a:cubicBezTo>
                  <a:cubicBezTo>
                    <a:pt x="99571" y="31860"/>
                    <a:pt x="98475" y="31325"/>
                    <a:pt x="86054" y="28685"/>
                  </a:cubicBezTo>
                  <a:cubicBezTo>
                    <a:pt x="73147" y="25784"/>
                    <a:pt x="59793" y="24343"/>
                    <a:pt x="46399" y="24407"/>
                  </a:cubicBezTo>
                  <a:cubicBezTo>
                    <a:pt x="18919" y="25142"/>
                    <a:pt x="51716" y="32930"/>
                    <a:pt x="52852" y="35002"/>
                  </a:cubicBezTo>
                  <a:cubicBezTo>
                    <a:pt x="53664" y="36439"/>
                    <a:pt x="27930" y="33899"/>
                    <a:pt x="25170" y="35002"/>
                  </a:cubicBezTo>
                  <a:cubicBezTo>
                    <a:pt x="18838" y="37141"/>
                    <a:pt x="-5922" y="54120"/>
                    <a:pt x="1222" y="56928"/>
                  </a:cubicBezTo>
                  <a:cubicBezTo>
                    <a:pt x="10923" y="60705"/>
                    <a:pt x="96568" y="40517"/>
                    <a:pt x="69494" y="56393"/>
                  </a:cubicBezTo>
                  <a:cubicBezTo>
                    <a:pt x="63122" y="60103"/>
                    <a:pt x="84350" y="61573"/>
                    <a:pt x="63081" y="64749"/>
                  </a:cubicBezTo>
                  <a:cubicBezTo>
                    <a:pt x="59428" y="65250"/>
                    <a:pt x="7391" y="70999"/>
                    <a:pt x="14373" y="75879"/>
                  </a:cubicBezTo>
                  <a:cubicBezTo>
                    <a:pt x="18432" y="78453"/>
                    <a:pt x="41325" y="72771"/>
                    <a:pt x="46439" y="71901"/>
                  </a:cubicBezTo>
                  <a:cubicBezTo>
                    <a:pt x="64258" y="68793"/>
                    <a:pt x="59590" y="69762"/>
                    <a:pt x="67140" y="75411"/>
                  </a:cubicBezTo>
                  <a:cubicBezTo>
                    <a:pt x="73350" y="80057"/>
                    <a:pt x="80412" y="71333"/>
                    <a:pt x="86542" y="78753"/>
                  </a:cubicBezTo>
                  <a:cubicBezTo>
                    <a:pt x="92671" y="86173"/>
                    <a:pt x="90195" y="86407"/>
                    <a:pt x="69981" y="90351"/>
                  </a:cubicBezTo>
                  <a:cubicBezTo>
                    <a:pt x="51838" y="93928"/>
                    <a:pt x="63243" y="98707"/>
                    <a:pt x="76841" y="97036"/>
                  </a:cubicBezTo>
                  <a:cubicBezTo>
                    <a:pt x="100789" y="93694"/>
                    <a:pt x="112641" y="87845"/>
                    <a:pt x="136711" y="91187"/>
                  </a:cubicBezTo>
                  <a:cubicBezTo>
                    <a:pt x="152500" y="93426"/>
                    <a:pt x="168127" y="97471"/>
                    <a:pt x="185946" y="95766"/>
                  </a:cubicBezTo>
                  <a:cubicBezTo>
                    <a:pt x="197798" y="94629"/>
                    <a:pt x="224790" y="90284"/>
                    <a:pt x="228971" y="83065"/>
                  </a:cubicBezTo>
                  <a:cubicBezTo>
                    <a:pt x="232381" y="77149"/>
                    <a:pt x="257059" y="75912"/>
                    <a:pt x="266030" y="73439"/>
                  </a:cubicBezTo>
                  <a:cubicBezTo>
                    <a:pt x="283930" y="68526"/>
                    <a:pt x="295092" y="61106"/>
                    <a:pt x="315996" y="5863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04FA0CF4-7469-468F-AA00-D342CE3E9F7D}"/>
                </a:ext>
              </a:extLst>
            </p:cNvPr>
            <p:cNvSpPr/>
            <p:nvPr/>
          </p:nvSpPr>
          <p:spPr>
            <a:xfrm>
              <a:off x="5413047" y="3811841"/>
              <a:ext cx="137872" cy="87325"/>
            </a:xfrm>
            <a:custGeom>
              <a:avLst/>
              <a:gdLst>
                <a:gd name="connsiteX0" fmla="*/ 126488 w 137872"/>
                <a:gd name="connsiteY0" fmla="*/ 22099 h 87325"/>
                <a:gd name="connsiteX1" fmla="*/ 99253 w 137872"/>
                <a:gd name="connsiteY1" fmla="*/ 16450 h 87325"/>
                <a:gd name="connsiteX2" fmla="*/ 85249 w 137872"/>
                <a:gd name="connsiteY2" fmla="*/ 22801 h 87325"/>
                <a:gd name="connsiteX3" fmla="*/ 89511 w 137872"/>
                <a:gd name="connsiteY3" fmla="*/ 374 h 87325"/>
                <a:gd name="connsiteX4" fmla="*/ 57486 w 137872"/>
                <a:gd name="connsiteY4" fmla="*/ 1343 h 87325"/>
                <a:gd name="connsiteX5" fmla="*/ 62478 w 137872"/>
                <a:gd name="connsiteY5" fmla="*/ 10635 h 87325"/>
                <a:gd name="connsiteX6" fmla="*/ 56552 w 137872"/>
                <a:gd name="connsiteY6" fmla="*/ 17821 h 87325"/>
                <a:gd name="connsiteX7" fmla="*/ 35486 w 137872"/>
                <a:gd name="connsiteY7" fmla="*/ 23670 h 87325"/>
                <a:gd name="connsiteX8" fmla="*/ 13892 w 137872"/>
                <a:gd name="connsiteY8" fmla="*/ 23369 h 87325"/>
                <a:gd name="connsiteX9" fmla="*/ 9833 w 137872"/>
                <a:gd name="connsiteY9" fmla="*/ 30622 h 87325"/>
                <a:gd name="connsiteX10" fmla="*/ 9833 w 137872"/>
                <a:gd name="connsiteY10" fmla="*/ 42655 h 87325"/>
                <a:gd name="connsiteX11" fmla="*/ 33619 w 137872"/>
                <a:gd name="connsiteY11" fmla="*/ 52114 h 87325"/>
                <a:gd name="connsiteX12" fmla="*/ 25014 w 137872"/>
                <a:gd name="connsiteY12" fmla="*/ 58063 h 87325"/>
                <a:gd name="connsiteX13" fmla="*/ 20143 w 137872"/>
                <a:gd name="connsiteY13" fmla="*/ 66085 h 87325"/>
                <a:gd name="connsiteX14" fmla="*/ 376 w 137872"/>
                <a:gd name="connsiteY14" fmla="*/ 75811 h 87325"/>
                <a:gd name="connsiteX15" fmla="*/ 19737 w 137872"/>
                <a:gd name="connsiteY15" fmla="*/ 86139 h 87325"/>
                <a:gd name="connsiteX16" fmla="*/ 90526 w 137872"/>
                <a:gd name="connsiteY16" fmla="*/ 70998 h 87325"/>
                <a:gd name="connsiteX17" fmla="*/ 137813 w 137872"/>
                <a:gd name="connsiteY17" fmla="*/ 52982 h 87325"/>
                <a:gd name="connsiteX18" fmla="*/ 134200 w 137872"/>
                <a:gd name="connsiteY18" fmla="*/ 36271 h 87325"/>
                <a:gd name="connsiteX19" fmla="*/ 126082 w 137872"/>
                <a:gd name="connsiteY19" fmla="*/ 22032 h 87325"/>
                <a:gd name="connsiteX20" fmla="*/ 126488 w 137872"/>
                <a:gd name="connsiteY20" fmla="*/ 22099 h 87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7872" h="87325">
                  <a:moveTo>
                    <a:pt x="126488" y="22099"/>
                  </a:moveTo>
                  <a:cubicBezTo>
                    <a:pt x="120765" y="20294"/>
                    <a:pt x="106193" y="11069"/>
                    <a:pt x="99253" y="16450"/>
                  </a:cubicBezTo>
                  <a:cubicBezTo>
                    <a:pt x="93733" y="20729"/>
                    <a:pt x="98075" y="25542"/>
                    <a:pt x="85249" y="22801"/>
                  </a:cubicBezTo>
                  <a:cubicBezTo>
                    <a:pt x="60327" y="17487"/>
                    <a:pt x="85817" y="11404"/>
                    <a:pt x="89511" y="374"/>
                  </a:cubicBezTo>
                  <a:cubicBezTo>
                    <a:pt x="78511" y="1009"/>
                    <a:pt x="68567" y="-2167"/>
                    <a:pt x="57486" y="1343"/>
                  </a:cubicBezTo>
                  <a:cubicBezTo>
                    <a:pt x="46405" y="4853"/>
                    <a:pt x="53995" y="9732"/>
                    <a:pt x="62478" y="10635"/>
                  </a:cubicBezTo>
                  <a:cubicBezTo>
                    <a:pt x="76319" y="12139"/>
                    <a:pt x="62925" y="16517"/>
                    <a:pt x="56552" y="17821"/>
                  </a:cubicBezTo>
                  <a:cubicBezTo>
                    <a:pt x="49571" y="19292"/>
                    <a:pt x="42670" y="22834"/>
                    <a:pt x="35486" y="23670"/>
                  </a:cubicBezTo>
                  <a:cubicBezTo>
                    <a:pt x="28302" y="24506"/>
                    <a:pt x="21239" y="22901"/>
                    <a:pt x="13892" y="23369"/>
                  </a:cubicBezTo>
                  <a:cubicBezTo>
                    <a:pt x="457" y="24272"/>
                    <a:pt x="4151" y="27681"/>
                    <a:pt x="9833" y="30622"/>
                  </a:cubicBezTo>
                  <a:cubicBezTo>
                    <a:pt x="18316" y="34967"/>
                    <a:pt x="4841" y="39011"/>
                    <a:pt x="9833" y="42655"/>
                  </a:cubicBezTo>
                  <a:cubicBezTo>
                    <a:pt x="14826" y="46298"/>
                    <a:pt x="35648" y="46766"/>
                    <a:pt x="33619" y="52114"/>
                  </a:cubicBezTo>
                  <a:cubicBezTo>
                    <a:pt x="32767" y="54420"/>
                    <a:pt x="27652" y="56325"/>
                    <a:pt x="25014" y="58063"/>
                  </a:cubicBezTo>
                  <a:cubicBezTo>
                    <a:pt x="20955" y="60837"/>
                    <a:pt x="22781" y="63177"/>
                    <a:pt x="20143" y="66085"/>
                  </a:cubicBezTo>
                  <a:cubicBezTo>
                    <a:pt x="16084" y="70563"/>
                    <a:pt x="3664" y="71165"/>
                    <a:pt x="376" y="75811"/>
                  </a:cubicBezTo>
                  <a:cubicBezTo>
                    <a:pt x="-2912" y="80457"/>
                    <a:pt x="13283" y="85036"/>
                    <a:pt x="19737" y="86139"/>
                  </a:cubicBezTo>
                  <a:cubicBezTo>
                    <a:pt x="42508" y="89982"/>
                    <a:pt x="74818" y="80022"/>
                    <a:pt x="90526" y="70998"/>
                  </a:cubicBezTo>
                  <a:cubicBezTo>
                    <a:pt x="108142" y="60971"/>
                    <a:pt x="137123" y="70998"/>
                    <a:pt x="137813" y="52982"/>
                  </a:cubicBezTo>
                  <a:cubicBezTo>
                    <a:pt x="137813" y="47280"/>
                    <a:pt x="136595" y="41618"/>
                    <a:pt x="134200" y="36271"/>
                  </a:cubicBezTo>
                  <a:cubicBezTo>
                    <a:pt x="132861" y="32928"/>
                    <a:pt x="124621" y="25441"/>
                    <a:pt x="126082" y="22032"/>
                  </a:cubicBezTo>
                  <a:cubicBezTo>
                    <a:pt x="122429" y="20762"/>
                    <a:pt x="126123" y="22834"/>
                    <a:pt x="126488" y="2209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B4B6A2D-A0BB-427A-83A6-1A3697AFDD92}"/>
                </a:ext>
              </a:extLst>
            </p:cNvPr>
            <p:cNvSpPr/>
            <p:nvPr/>
          </p:nvSpPr>
          <p:spPr>
            <a:xfrm>
              <a:off x="5485393" y="3660260"/>
              <a:ext cx="332681" cy="264004"/>
            </a:xfrm>
            <a:custGeom>
              <a:avLst/>
              <a:gdLst>
                <a:gd name="connsiteX0" fmla="*/ 58729 w 332681"/>
                <a:gd name="connsiteY0" fmla="*/ 145939 h 264004"/>
                <a:gd name="connsiteX1" fmla="*/ 22929 w 332681"/>
                <a:gd name="connsiteY1" fmla="*/ 151086 h 264004"/>
                <a:gd name="connsiteX2" fmla="*/ 117 w 332681"/>
                <a:gd name="connsiteY2" fmla="*/ 169469 h 264004"/>
                <a:gd name="connsiteX3" fmla="*/ 23619 w 332681"/>
                <a:gd name="connsiteY3" fmla="*/ 173513 h 264004"/>
                <a:gd name="connsiteX4" fmla="*/ 54143 w 332681"/>
                <a:gd name="connsiteY4" fmla="*/ 173680 h 264004"/>
                <a:gd name="connsiteX5" fmla="*/ 79146 w 332681"/>
                <a:gd name="connsiteY5" fmla="*/ 163954 h 264004"/>
                <a:gd name="connsiteX6" fmla="*/ 58851 w 332681"/>
                <a:gd name="connsiteY6" fmla="*/ 145939 h 264004"/>
                <a:gd name="connsiteX7" fmla="*/ 332548 w 332681"/>
                <a:gd name="connsiteY7" fmla="*/ 196074 h 264004"/>
                <a:gd name="connsiteX8" fmla="*/ 313511 w 332681"/>
                <a:gd name="connsiteY8" fmla="*/ 187384 h 264004"/>
                <a:gd name="connsiteX9" fmla="*/ 292851 w 332681"/>
                <a:gd name="connsiteY9" fmla="*/ 191128 h 264004"/>
                <a:gd name="connsiteX10" fmla="*/ 281608 w 332681"/>
                <a:gd name="connsiteY10" fmla="*/ 179697 h 264004"/>
                <a:gd name="connsiteX11" fmla="*/ 268619 w 332681"/>
                <a:gd name="connsiteY11" fmla="*/ 168500 h 264004"/>
                <a:gd name="connsiteX12" fmla="*/ 256888 w 332681"/>
                <a:gd name="connsiteY12" fmla="*/ 155130 h 264004"/>
                <a:gd name="connsiteX13" fmla="*/ 231885 w 332681"/>
                <a:gd name="connsiteY13" fmla="*/ 147309 h 264004"/>
                <a:gd name="connsiteX14" fmla="*/ 219708 w 332681"/>
                <a:gd name="connsiteY14" fmla="*/ 132971 h 264004"/>
                <a:gd name="connsiteX15" fmla="*/ 195355 w 332681"/>
                <a:gd name="connsiteY15" fmla="*/ 122943 h 264004"/>
                <a:gd name="connsiteX16" fmla="*/ 164872 w 332681"/>
                <a:gd name="connsiteY16" fmla="*/ 121874 h 264004"/>
                <a:gd name="connsiteX17" fmla="*/ 176034 w 332681"/>
                <a:gd name="connsiteY17" fmla="*/ 110209 h 264004"/>
                <a:gd name="connsiteX18" fmla="*/ 199901 w 332681"/>
                <a:gd name="connsiteY18" fmla="*/ 79326 h 264004"/>
                <a:gd name="connsiteX19" fmla="*/ 144536 w 332681"/>
                <a:gd name="connsiteY19" fmla="*/ 79326 h 264004"/>
                <a:gd name="connsiteX20" fmla="*/ 122374 w 332681"/>
                <a:gd name="connsiteY20" fmla="*/ 77889 h 264004"/>
                <a:gd name="connsiteX21" fmla="*/ 147012 w 332681"/>
                <a:gd name="connsiteY21" fmla="*/ 64519 h 264004"/>
                <a:gd name="connsiteX22" fmla="*/ 142953 w 332681"/>
                <a:gd name="connsiteY22" fmla="*/ 55428 h 264004"/>
                <a:gd name="connsiteX23" fmla="*/ 83326 w 332681"/>
                <a:gd name="connsiteY23" fmla="*/ 72908 h 264004"/>
                <a:gd name="connsiteX24" fmla="*/ 71637 w 332681"/>
                <a:gd name="connsiteY24" fmla="*/ 83871 h 264004"/>
                <a:gd name="connsiteX25" fmla="*/ 61246 w 332681"/>
                <a:gd name="connsiteY25" fmla="*/ 92996 h 264004"/>
                <a:gd name="connsiteX26" fmla="*/ 38110 w 332681"/>
                <a:gd name="connsiteY26" fmla="*/ 92729 h 264004"/>
                <a:gd name="connsiteX27" fmla="*/ 69364 w 332681"/>
                <a:gd name="connsiteY27" fmla="*/ 99413 h 264004"/>
                <a:gd name="connsiteX28" fmla="*/ 67253 w 332681"/>
                <a:gd name="connsiteY28" fmla="*/ 117696 h 264004"/>
                <a:gd name="connsiteX29" fmla="*/ 47689 w 332681"/>
                <a:gd name="connsiteY29" fmla="*/ 134007 h 264004"/>
                <a:gd name="connsiteX30" fmla="*/ 69729 w 332681"/>
                <a:gd name="connsiteY30" fmla="*/ 126887 h 264004"/>
                <a:gd name="connsiteX31" fmla="*/ 74438 w 332681"/>
                <a:gd name="connsiteY31" fmla="*/ 134508 h 264004"/>
                <a:gd name="connsiteX32" fmla="*/ 102850 w 332681"/>
                <a:gd name="connsiteY32" fmla="*/ 121974 h 264004"/>
                <a:gd name="connsiteX33" fmla="*/ 107478 w 332681"/>
                <a:gd name="connsiteY33" fmla="*/ 136413 h 264004"/>
                <a:gd name="connsiteX34" fmla="*/ 95828 w 332681"/>
                <a:gd name="connsiteY34" fmla="*/ 151420 h 264004"/>
                <a:gd name="connsiteX35" fmla="*/ 143603 w 332681"/>
                <a:gd name="connsiteY35" fmla="*/ 146574 h 264004"/>
                <a:gd name="connsiteX36" fmla="*/ 152897 w 332681"/>
                <a:gd name="connsiteY36" fmla="*/ 151153 h 264004"/>
                <a:gd name="connsiteX37" fmla="*/ 165399 w 332681"/>
                <a:gd name="connsiteY37" fmla="*/ 162283 h 264004"/>
                <a:gd name="connsiteX38" fmla="*/ 166820 w 332681"/>
                <a:gd name="connsiteY38" fmla="*/ 175151 h 264004"/>
                <a:gd name="connsiteX39" fmla="*/ 149325 w 332681"/>
                <a:gd name="connsiteY39" fmla="*/ 186382 h 264004"/>
                <a:gd name="connsiteX40" fmla="*/ 130167 w 332681"/>
                <a:gd name="connsiteY40" fmla="*/ 184276 h 264004"/>
                <a:gd name="connsiteX41" fmla="*/ 119086 w 332681"/>
                <a:gd name="connsiteY41" fmla="*/ 194303 h 264004"/>
                <a:gd name="connsiteX42" fmla="*/ 119086 w 332681"/>
                <a:gd name="connsiteY42" fmla="*/ 214357 h 264004"/>
                <a:gd name="connsiteX43" fmla="*/ 97574 w 332681"/>
                <a:gd name="connsiteY43" fmla="*/ 223916 h 264004"/>
                <a:gd name="connsiteX44" fmla="*/ 120142 w 332681"/>
                <a:gd name="connsiteY44" fmla="*/ 223716 h 264004"/>
                <a:gd name="connsiteX45" fmla="*/ 142953 w 332681"/>
                <a:gd name="connsiteY45" fmla="*/ 226323 h 264004"/>
                <a:gd name="connsiteX46" fmla="*/ 162883 w 332681"/>
                <a:gd name="connsiteY46" fmla="*/ 228094 h 264004"/>
                <a:gd name="connsiteX47" fmla="*/ 180823 w 332681"/>
                <a:gd name="connsiteY47" fmla="*/ 225487 h 264004"/>
                <a:gd name="connsiteX48" fmla="*/ 166982 w 332681"/>
                <a:gd name="connsiteY48" fmla="*/ 233041 h 264004"/>
                <a:gd name="connsiteX49" fmla="*/ 134998 w 332681"/>
                <a:gd name="connsiteY49" fmla="*/ 236383 h 264004"/>
                <a:gd name="connsiteX50" fmla="*/ 98467 w 332681"/>
                <a:gd name="connsiteY50" fmla="*/ 259780 h 264004"/>
                <a:gd name="connsiteX51" fmla="*/ 134024 w 332681"/>
                <a:gd name="connsiteY51" fmla="*/ 254900 h 264004"/>
                <a:gd name="connsiteX52" fmla="*/ 152654 w 332681"/>
                <a:gd name="connsiteY52" fmla="*/ 254332 h 264004"/>
                <a:gd name="connsiteX53" fmla="*/ 170027 w 332681"/>
                <a:gd name="connsiteY53" fmla="*/ 247647 h 264004"/>
                <a:gd name="connsiteX54" fmla="*/ 204731 w 332681"/>
                <a:gd name="connsiteY54" fmla="*/ 243202 h 264004"/>
                <a:gd name="connsiteX55" fmla="*/ 228273 w 332681"/>
                <a:gd name="connsiteY55" fmla="*/ 243001 h 264004"/>
                <a:gd name="connsiteX56" fmla="*/ 283434 w 332681"/>
                <a:gd name="connsiteY56" fmla="*/ 236951 h 264004"/>
                <a:gd name="connsiteX57" fmla="*/ 303729 w 332681"/>
                <a:gd name="connsiteY57" fmla="*/ 223749 h 264004"/>
                <a:gd name="connsiteX58" fmla="*/ 311035 w 332681"/>
                <a:gd name="connsiteY58" fmla="*/ 210981 h 264004"/>
                <a:gd name="connsiteX59" fmla="*/ 332264 w 332681"/>
                <a:gd name="connsiteY59" fmla="*/ 196308 h 264004"/>
                <a:gd name="connsiteX60" fmla="*/ 332548 w 332681"/>
                <a:gd name="connsiteY60" fmla="*/ 195907 h 264004"/>
                <a:gd name="connsiteX61" fmla="*/ 26014 w 332681"/>
                <a:gd name="connsiteY61" fmla="*/ 83905 h 264004"/>
                <a:gd name="connsiteX62" fmla="*/ 47121 w 332681"/>
                <a:gd name="connsiteY62" fmla="*/ 67427 h 264004"/>
                <a:gd name="connsiteX63" fmla="*/ 26014 w 332681"/>
                <a:gd name="connsiteY63" fmla="*/ 83738 h 264004"/>
                <a:gd name="connsiteX64" fmla="*/ 215974 w 332681"/>
                <a:gd name="connsiteY64" fmla="*/ 18996 h 264004"/>
                <a:gd name="connsiteX65" fmla="*/ 220317 w 332681"/>
                <a:gd name="connsiteY65" fmla="*/ -122 h 264004"/>
                <a:gd name="connsiteX66" fmla="*/ 215974 w 332681"/>
                <a:gd name="connsiteY66" fmla="*/ 18829 h 2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32681" h="264004">
                  <a:moveTo>
                    <a:pt x="58729" y="145939"/>
                  </a:moveTo>
                  <a:cubicBezTo>
                    <a:pt x="47364" y="141293"/>
                    <a:pt x="33645" y="148713"/>
                    <a:pt x="22929" y="151086"/>
                  </a:cubicBezTo>
                  <a:cubicBezTo>
                    <a:pt x="17856" y="152223"/>
                    <a:pt x="2635" y="165024"/>
                    <a:pt x="117" y="169469"/>
                  </a:cubicBezTo>
                  <a:cubicBezTo>
                    <a:pt x="-2399" y="173914"/>
                    <a:pt x="22726" y="177190"/>
                    <a:pt x="23619" y="173513"/>
                  </a:cubicBezTo>
                  <a:cubicBezTo>
                    <a:pt x="26501" y="160512"/>
                    <a:pt x="43386" y="170171"/>
                    <a:pt x="54143" y="173680"/>
                  </a:cubicBezTo>
                  <a:cubicBezTo>
                    <a:pt x="56294" y="169235"/>
                    <a:pt x="73504" y="167297"/>
                    <a:pt x="79146" y="163954"/>
                  </a:cubicBezTo>
                  <a:cubicBezTo>
                    <a:pt x="90511" y="157270"/>
                    <a:pt x="66360" y="149081"/>
                    <a:pt x="58851" y="145939"/>
                  </a:cubicBezTo>
                  <a:close/>
                  <a:moveTo>
                    <a:pt x="332548" y="196074"/>
                  </a:moveTo>
                  <a:cubicBezTo>
                    <a:pt x="332954" y="191128"/>
                    <a:pt x="321061" y="188420"/>
                    <a:pt x="313511" y="187384"/>
                  </a:cubicBezTo>
                  <a:cubicBezTo>
                    <a:pt x="299873" y="185579"/>
                    <a:pt x="302633" y="188821"/>
                    <a:pt x="292851" y="191128"/>
                  </a:cubicBezTo>
                  <a:cubicBezTo>
                    <a:pt x="277630" y="194737"/>
                    <a:pt x="281121" y="182705"/>
                    <a:pt x="281608" y="179697"/>
                  </a:cubicBezTo>
                  <a:cubicBezTo>
                    <a:pt x="281608" y="178694"/>
                    <a:pt x="269431" y="171909"/>
                    <a:pt x="268619" y="168500"/>
                  </a:cubicBezTo>
                  <a:cubicBezTo>
                    <a:pt x="266589" y="163102"/>
                    <a:pt x="262490" y="158403"/>
                    <a:pt x="256888" y="155130"/>
                  </a:cubicBezTo>
                  <a:cubicBezTo>
                    <a:pt x="249866" y="150618"/>
                    <a:pt x="239232" y="151086"/>
                    <a:pt x="231885" y="147309"/>
                  </a:cubicBezTo>
                  <a:cubicBezTo>
                    <a:pt x="224538" y="143532"/>
                    <a:pt x="222266" y="137951"/>
                    <a:pt x="219708" y="132971"/>
                  </a:cubicBezTo>
                  <a:cubicBezTo>
                    <a:pt x="215650" y="124715"/>
                    <a:pt x="204649" y="128124"/>
                    <a:pt x="195355" y="122943"/>
                  </a:cubicBezTo>
                  <a:cubicBezTo>
                    <a:pt x="187237" y="118130"/>
                    <a:pt x="175384" y="120972"/>
                    <a:pt x="164872" y="121874"/>
                  </a:cubicBezTo>
                  <a:cubicBezTo>
                    <a:pt x="154359" y="122776"/>
                    <a:pt x="174491" y="110811"/>
                    <a:pt x="176034" y="110209"/>
                  </a:cubicBezTo>
                  <a:cubicBezTo>
                    <a:pt x="189631" y="104861"/>
                    <a:pt x="200388" y="87548"/>
                    <a:pt x="199901" y="79326"/>
                  </a:cubicBezTo>
                  <a:cubicBezTo>
                    <a:pt x="199535" y="73777"/>
                    <a:pt x="150868" y="78557"/>
                    <a:pt x="144536" y="79326"/>
                  </a:cubicBezTo>
                  <a:cubicBezTo>
                    <a:pt x="138204" y="80094"/>
                    <a:pt x="122049" y="84172"/>
                    <a:pt x="122374" y="77889"/>
                  </a:cubicBezTo>
                  <a:cubicBezTo>
                    <a:pt x="122374" y="75148"/>
                    <a:pt x="143359" y="67561"/>
                    <a:pt x="147012" y="64519"/>
                  </a:cubicBezTo>
                  <a:cubicBezTo>
                    <a:pt x="155130" y="57834"/>
                    <a:pt x="157403" y="42025"/>
                    <a:pt x="142953" y="55428"/>
                  </a:cubicBezTo>
                  <a:cubicBezTo>
                    <a:pt x="128503" y="68831"/>
                    <a:pt x="86493" y="50782"/>
                    <a:pt x="83326" y="72908"/>
                  </a:cubicBezTo>
                  <a:cubicBezTo>
                    <a:pt x="82556" y="78356"/>
                    <a:pt x="78578" y="79593"/>
                    <a:pt x="71637" y="83871"/>
                  </a:cubicBezTo>
                  <a:cubicBezTo>
                    <a:pt x="68552" y="85743"/>
                    <a:pt x="71353" y="96840"/>
                    <a:pt x="61246" y="92996"/>
                  </a:cubicBezTo>
                  <a:cubicBezTo>
                    <a:pt x="57471" y="91559"/>
                    <a:pt x="38556" y="84272"/>
                    <a:pt x="38110" y="92729"/>
                  </a:cubicBezTo>
                  <a:cubicBezTo>
                    <a:pt x="37744" y="99848"/>
                    <a:pt x="63275" y="96940"/>
                    <a:pt x="69364" y="99413"/>
                  </a:cubicBezTo>
                  <a:cubicBezTo>
                    <a:pt x="75452" y="101887"/>
                    <a:pt x="36527" y="113718"/>
                    <a:pt x="67253" y="117696"/>
                  </a:cubicBezTo>
                  <a:cubicBezTo>
                    <a:pt x="91323" y="120804"/>
                    <a:pt x="36648" y="131667"/>
                    <a:pt x="47689" y="134007"/>
                  </a:cubicBezTo>
                  <a:cubicBezTo>
                    <a:pt x="53372" y="135210"/>
                    <a:pt x="65346" y="128358"/>
                    <a:pt x="69729" y="126887"/>
                  </a:cubicBezTo>
                  <a:cubicBezTo>
                    <a:pt x="74113" y="125417"/>
                    <a:pt x="73545" y="133405"/>
                    <a:pt x="74438" y="134508"/>
                  </a:cubicBezTo>
                  <a:cubicBezTo>
                    <a:pt x="84382" y="146540"/>
                    <a:pt x="102850" y="121974"/>
                    <a:pt x="102850" y="121974"/>
                  </a:cubicBezTo>
                  <a:cubicBezTo>
                    <a:pt x="104474" y="121974"/>
                    <a:pt x="107680" y="134909"/>
                    <a:pt x="107478" y="136413"/>
                  </a:cubicBezTo>
                  <a:cubicBezTo>
                    <a:pt x="106828" y="141393"/>
                    <a:pt x="94164" y="146674"/>
                    <a:pt x="95828" y="151420"/>
                  </a:cubicBezTo>
                  <a:cubicBezTo>
                    <a:pt x="98223" y="158105"/>
                    <a:pt x="138448" y="149649"/>
                    <a:pt x="143603" y="146574"/>
                  </a:cubicBezTo>
                  <a:cubicBezTo>
                    <a:pt x="153425" y="140625"/>
                    <a:pt x="160326" y="146306"/>
                    <a:pt x="152897" y="151153"/>
                  </a:cubicBezTo>
                  <a:cubicBezTo>
                    <a:pt x="142344" y="158038"/>
                    <a:pt x="155008" y="160578"/>
                    <a:pt x="165399" y="162283"/>
                  </a:cubicBezTo>
                  <a:cubicBezTo>
                    <a:pt x="174329" y="163787"/>
                    <a:pt x="166373" y="171341"/>
                    <a:pt x="166820" y="175151"/>
                  </a:cubicBezTo>
                  <a:cubicBezTo>
                    <a:pt x="167713" y="183072"/>
                    <a:pt x="165318" y="185512"/>
                    <a:pt x="149325" y="186382"/>
                  </a:cubicBezTo>
                  <a:cubicBezTo>
                    <a:pt x="140640" y="186883"/>
                    <a:pt x="136743" y="184610"/>
                    <a:pt x="130167" y="184276"/>
                  </a:cubicBezTo>
                  <a:cubicBezTo>
                    <a:pt x="119777" y="183774"/>
                    <a:pt x="123429" y="191228"/>
                    <a:pt x="119086" y="194303"/>
                  </a:cubicBezTo>
                  <a:cubicBezTo>
                    <a:pt x="103175" y="205199"/>
                    <a:pt x="155901" y="202358"/>
                    <a:pt x="119086" y="214357"/>
                  </a:cubicBezTo>
                  <a:cubicBezTo>
                    <a:pt x="114743" y="215761"/>
                    <a:pt x="89618" y="219705"/>
                    <a:pt x="97574" y="223916"/>
                  </a:cubicBezTo>
                  <a:cubicBezTo>
                    <a:pt x="105529" y="228128"/>
                    <a:pt x="111659" y="224651"/>
                    <a:pt x="120142" y="223716"/>
                  </a:cubicBezTo>
                  <a:cubicBezTo>
                    <a:pt x="123673" y="223315"/>
                    <a:pt x="138813" y="225955"/>
                    <a:pt x="142953" y="226323"/>
                  </a:cubicBezTo>
                  <a:cubicBezTo>
                    <a:pt x="149529" y="227409"/>
                    <a:pt x="156185" y="228000"/>
                    <a:pt x="162883" y="228094"/>
                  </a:cubicBezTo>
                  <a:cubicBezTo>
                    <a:pt x="166942" y="227860"/>
                    <a:pt x="176764" y="224417"/>
                    <a:pt x="180823" y="225487"/>
                  </a:cubicBezTo>
                  <a:cubicBezTo>
                    <a:pt x="185897" y="226857"/>
                    <a:pt x="168240" y="232807"/>
                    <a:pt x="166982" y="233041"/>
                  </a:cubicBezTo>
                  <a:cubicBezTo>
                    <a:pt x="156388" y="234779"/>
                    <a:pt x="144414" y="232372"/>
                    <a:pt x="134998" y="236383"/>
                  </a:cubicBezTo>
                  <a:cubicBezTo>
                    <a:pt x="121075" y="242366"/>
                    <a:pt x="105489" y="250989"/>
                    <a:pt x="98467" y="259780"/>
                  </a:cubicBezTo>
                  <a:cubicBezTo>
                    <a:pt x="88969" y="271177"/>
                    <a:pt x="125581" y="253763"/>
                    <a:pt x="134024" y="254900"/>
                  </a:cubicBezTo>
                  <a:cubicBezTo>
                    <a:pt x="141046" y="255836"/>
                    <a:pt x="147743" y="259780"/>
                    <a:pt x="152654" y="254332"/>
                  </a:cubicBezTo>
                  <a:cubicBezTo>
                    <a:pt x="157565" y="248883"/>
                    <a:pt x="159960" y="249886"/>
                    <a:pt x="170027" y="247647"/>
                  </a:cubicBezTo>
                  <a:cubicBezTo>
                    <a:pt x="181676" y="244973"/>
                    <a:pt x="193650" y="247212"/>
                    <a:pt x="204731" y="243202"/>
                  </a:cubicBezTo>
                  <a:cubicBezTo>
                    <a:pt x="214513" y="239659"/>
                    <a:pt x="217760" y="241029"/>
                    <a:pt x="228273" y="243001"/>
                  </a:cubicBezTo>
                  <a:cubicBezTo>
                    <a:pt x="238785" y="244973"/>
                    <a:pt x="272150" y="239057"/>
                    <a:pt x="283434" y="236951"/>
                  </a:cubicBezTo>
                  <a:cubicBezTo>
                    <a:pt x="294718" y="234846"/>
                    <a:pt x="340706" y="219638"/>
                    <a:pt x="303729" y="223749"/>
                  </a:cubicBezTo>
                  <a:cubicBezTo>
                    <a:pt x="287128" y="225654"/>
                    <a:pt x="307788" y="212385"/>
                    <a:pt x="311035" y="210981"/>
                  </a:cubicBezTo>
                  <a:cubicBezTo>
                    <a:pt x="319722" y="207037"/>
                    <a:pt x="331736" y="202826"/>
                    <a:pt x="332264" y="196308"/>
                  </a:cubicBezTo>
                  <a:cubicBezTo>
                    <a:pt x="333197" y="188320"/>
                    <a:pt x="331939" y="203494"/>
                    <a:pt x="332548" y="195907"/>
                  </a:cubicBezTo>
                  <a:close/>
                  <a:moveTo>
                    <a:pt x="26014" y="83905"/>
                  </a:moveTo>
                  <a:cubicBezTo>
                    <a:pt x="39449" y="82802"/>
                    <a:pt x="53899" y="70301"/>
                    <a:pt x="47121" y="67427"/>
                  </a:cubicBezTo>
                  <a:cubicBezTo>
                    <a:pt x="40342" y="64553"/>
                    <a:pt x="15948" y="84573"/>
                    <a:pt x="26014" y="83738"/>
                  </a:cubicBezTo>
                  <a:close/>
                  <a:moveTo>
                    <a:pt x="215974" y="18996"/>
                  </a:moveTo>
                  <a:cubicBezTo>
                    <a:pt x="224092" y="14350"/>
                    <a:pt x="233347" y="-2428"/>
                    <a:pt x="220317" y="-122"/>
                  </a:cubicBezTo>
                  <a:cubicBezTo>
                    <a:pt x="207288" y="2184"/>
                    <a:pt x="212443" y="20868"/>
                    <a:pt x="215974" y="1882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01E4A08-8EBB-4DB6-BBEA-F4C142C60E72}"/>
                </a:ext>
              </a:extLst>
            </p:cNvPr>
            <p:cNvSpPr/>
            <p:nvPr/>
          </p:nvSpPr>
          <p:spPr>
            <a:xfrm>
              <a:off x="6025946" y="3726809"/>
              <a:ext cx="155655" cy="75462"/>
            </a:xfrm>
            <a:custGeom>
              <a:avLst/>
              <a:gdLst>
                <a:gd name="connsiteX0" fmla="*/ 78924 w 155655"/>
                <a:gd name="connsiteY0" fmla="*/ 27249 h 75462"/>
                <a:gd name="connsiteX1" fmla="*/ 67803 w 155655"/>
                <a:gd name="connsiteY1" fmla="*/ 845 h 75462"/>
                <a:gd name="connsiteX2" fmla="*/ 45275 w 155655"/>
                <a:gd name="connsiteY2" fmla="*/ 12509 h 75462"/>
                <a:gd name="connsiteX3" fmla="*/ 35006 w 155655"/>
                <a:gd name="connsiteY3" fmla="*/ 21333 h 75462"/>
                <a:gd name="connsiteX4" fmla="*/ 10084 w 155655"/>
                <a:gd name="connsiteY4" fmla="*/ 18726 h 75462"/>
                <a:gd name="connsiteX5" fmla="*/ 1113 w 155655"/>
                <a:gd name="connsiteY5" fmla="*/ 43627 h 75462"/>
                <a:gd name="connsiteX6" fmla="*/ 8947 w 155655"/>
                <a:gd name="connsiteY6" fmla="*/ 53654 h 75462"/>
                <a:gd name="connsiteX7" fmla="*/ 16253 w 155655"/>
                <a:gd name="connsiteY7" fmla="*/ 65686 h 75462"/>
                <a:gd name="connsiteX8" fmla="*/ 63744 w 155655"/>
                <a:gd name="connsiteY8" fmla="*/ 70633 h 75462"/>
                <a:gd name="connsiteX9" fmla="*/ 53677 w 155655"/>
                <a:gd name="connsiteY9" fmla="*/ 59770 h 75462"/>
                <a:gd name="connsiteX10" fmla="*/ 78599 w 155655"/>
                <a:gd name="connsiteY10" fmla="*/ 65486 h 75462"/>
                <a:gd name="connsiteX11" fmla="*/ 83713 w 155655"/>
                <a:gd name="connsiteY11" fmla="*/ 52117 h 75462"/>
                <a:gd name="connsiteX12" fmla="*/ 64109 w 155655"/>
                <a:gd name="connsiteY12" fmla="*/ 51381 h 75462"/>
                <a:gd name="connsiteX13" fmla="*/ 73525 w 155655"/>
                <a:gd name="connsiteY13" fmla="*/ 40819 h 75462"/>
                <a:gd name="connsiteX14" fmla="*/ 91953 w 155655"/>
                <a:gd name="connsiteY14" fmla="*/ 36474 h 75462"/>
                <a:gd name="connsiteX15" fmla="*/ 78924 w 155655"/>
                <a:gd name="connsiteY15" fmla="*/ 27015 h 75462"/>
                <a:gd name="connsiteX16" fmla="*/ 154096 w 155655"/>
                <a:gd name="connsiteY16" fmla="*/ 42858 h 75462"/>
                <a:gd name="connsiteX17" fmla="*/ 140377 w 155655"/>
                <a:gd name="connsiteY17" fmla="*/ 46200 h 75462"/>
                <a:gd name="connsiteX18" fmla="*/ 132259 w 155655"/>
                <a:gd name="connsiteY18" fmla="*/ 41087 h 75462"/>
                <a:gd name="connsiteX19" fmla="*/ 120529 w 155655"/>
                <a:gd name="connsiteY19" fmla="*/ 44262 h 75462"/>
                <a:gd name="connsiteX20" fmla="*/ 106484 w 155655"/>
                <a:gd name="connsiteY20" fmla="*/ 54022 h 75462"/>
                <a:gd name="connsiteX21" fmla="*/ 121949 w 155655"/>
                <a:gd name="connsiteY21" fmla="*/ 62946 h 75462"/>
                <a:gd name="connsiteX22" fmla="*/ 108270 w 155655"/>
                <a:gd name="connsiteY22" fmla="*/ 69363 h 75462"/>
                <a:gd name="connsiteX23" fmla="*/ 145532 w 155655"/>
                <a:gd name="connsiteY23" fmla="*/ 62678 h 75462"/>
                <a:gd name="connsiteX24" fmla="*/ 153893 w 155655"/>
                <a:gd name="connsiteY24" fmla="*/ 42624 h 75462"/>
                <a:gd name="connsiteX25" fmla="*/ 154096 w 155655"/>
                <a:gd name="connsiteY25" fmla="*/ 42858 h 7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5655" h="75462">
                  <a:moveTo>
                    <a:pt x="78924" y="27249"/>
                  </a:moveTo>
                  <a:cubicBezTo>
                    <a:pt x="64636" y="23706"/>
                    <a:pt x="101817" y="-6642"/>
                    <a:pt x="67803" y="845"/>
                  </a:cubicBezTo>
                  <a:cubicBezTo>
                    <a:pt x="55382" y="3585"/>
                    <a:pt x="59685" y="12142"/>
                    <a:pt x="45275" y="12509"/>
                  </a:cubicBezTo>
                  <a:cubicBezTo>
                    <a:pt x="29770" y="12944"/>
                    <a:pt x="44545" y="22169"/>
                    <a:pt x="35006" y="21333"/>
                  </a:cubicBezTo>
                  <a:cubicBezTo>
                    <a:pt x="26888" y="20631"/>
                    <a:pt x="18770" y="10705"/>
                    <a:pt x="10084" y="18726"/>
                  </a:cubicBezTo>
                  <a:cubicBezTo>
                    <a:pt x="1398" y="26748"/>
                    <a:pt x="-2093" y="34536"/>
                    <a:pt x="1113" y="43627"/>
                  </a:cubicBezTo>
                  <a:cubicBezTo>
                    <a:pt x="2169" y="47631"/>
                    <a:pt x="4970" y="51187"/>
                    <a:pt x="8947" y="53654"/>
                  </a:cubicBezTo>
                  <a:cubicBezTo>
                    <a:pt x="16010" y="58300"/>
                    <a:pt x="12276" y="60974"/>
                    <a:pt x="16253" y="65686"/>
                  </a:cubicBezTo>
                  <a:cubicBezTo>
                    <a:pt x="21084" y="71402"/>
                    <a:pt x="51120" y="71536"/>
                    <a:pt x="63744" y="70633"/>
                  </a:cubicBezTo>
                  <a:cubicBezTo>
                    <a:pt x="62891" y="69898"/>
                    <a:pt x="42434" y="60305"/>
                    <a:pt x="53677" y="59770"/>
                  </a:cubicBezTo>
                  <a:cubicBezTo>
                    <a:pt x="62729" y="59336"/>
                    <a:pt x="69466" y="64851"/>
                    <a:pt x="78599" y="65486"/>
                  </a:cubicBezTo>
                  <a:cubicBezTo>
                    <a:pt x="95119" y="66656"/>
                    <a:pt x="95972" y="54289"/>
                    <a:pt x="83713" y="52117"/>
                  </a:cubicBezTo>
                  <a:cubicBezTo>
                    <a:pt x="75596" y="50679"/>
                    <a:pt x="71131" y="56395"/>
                    <a:pt x="64109" y="51381"/>
                  </a:cubicBezTo>
                  <a:cubicBezTo>
                    <a:pt x="60293" y="48640"/>
                    <a:pt x="71983" y="43293"/>
                    <a:pt x="73525" y="40819"/>
                  </a:cubicBezTo>
                  <a:cubicBezTo>
                    <a:pt x="75677" y="37310"/>
                    <a:pt x="86758" y="37811"/>
                    <a:pt x="91953" y="36474"/>
                  </a:cubicBezTo>
                  <a:cubicBezTo>
                    <a:pt x="103359" y="33600"/>
                    <a:pt x="83105" y="28051"/>
                    <a:pt x="78924" y="27015"/>
                  </a:cubicBezTo>
                  <a:close/>
                  <a:moveTo>
                    <a:pt x="154096" y="42858"/>
                  </a:moveTo>
                  <a:cubicBezTo>
                    <a:pt x="148698" y="41087"/>
                    <a:pt x="145653" y="48975"/>
                    <a:pt x="140377" y="46200"/>
                  </a:cubicBezTo>
                  <a:cubicBezTo>
                    <a:pt x="139362" y="45699"/>
                    <a:pt x="134167" y="40452"/>
                    <a:pt x="132259" y="41087"/>
                  </a:cubicBezTo>
                  <a:cubicBezTo>
                    <a:pt x="125440" y="43560"/>
                    <a:pt x="131447" y="44696"/>
                    <a:pt x="120529" y="44262"/>
                  </a:cubicBezTo>
                  <a:cubicBezTo>
                    <a:pt x="110868" y="43894"/>
                    <a:pt x="104293" y="49710"/>
                    <a:pt x="106484" y="54022"/>
                  </a:cubicBezTo>
                  <a:cubicBezTo>
                    <a:pt x="108676" y="58333"/>
                    <a:pt x="115577" y="60706"/>
                    <a:pt x="121949" y="62946"/>
                  </a:cubicBezTo>
                  <a:cubicBezTo>
                    <a:pt x="134126" y="66990"/>
                    <a:pt x="107134" y="66622"/>
                    <a:pt x="108270" y="69363"/>
                  </a:cubicBezTo>
                  <a:cubicBezTo>
                    <a:pt x="113709" y="82732"/>
                    <a:pt x="142244" y="69564"/>
                    <a:pt x="145532" y="62678"/>
                  </a:cubicBezTo>
                  <a:cubicBezTo>
                    <a:pt x="146831" y="59938"/>
                    <a:pt x="157709" y="43861"/>
                    <a:pt x="153893" y="42624"/>
                  </a:cubicBezTo>
                  <a:cubicBezTo>
                    <a:pt x="150078" y="41387"/>
                    <a:pt x="158967" y="44195"/>
                    <a:pt x="154096" y="4285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D670789C-3834-469E-8B87-527F52BBFDB0}"/>
                </a:ext>
              </a:extLst>
            </p:cNvPr>
            <p:cNvSpPr/>
            <p:nvPr/>
          </p:nvSpPr>
          <p:spPr>
            <a:xfrm>
              <a:off x="6133094" y="3422086"/>
              <a:ext cx="437081" cy="362666"/>
            </a:xfrm>
            <a:custGeom>
              <a:avLst/>
              <a:gdLst>
                <a:gd name="connsiteX0" fmla="*/ 432347 w 437081"/>
                <a:gd name="connsiteY0" fmla="*/ 89049 h 362666"/>
                <a:gd name="connsiteX1" fmla="*/ 432103 w 437081"/>
                <a:gd name="connsiteY1" fmla="*/ 77652 h 362666"/>
                <a:gd name="connsiteX2" fmla="*/ 425447 w 437081"/>
                <a:gd name="connsiteY2" fmla="*/ 63414 h 362666"/>
                <a:gd name="connsiteX3" fmla="*/ 424838 w 437081"/>
                <a:gd name="connsiteY3" fmla="*/ 54322 h 362666"/>
                <a:gd name="connsiteX4" fmla="*/ 418060 w 437081"/>
                <a:gd name="connsiteY4" fmla="*/ 47404 h 362666"/>
                <a:gd name="connsiteX5" fmla="*/ 412986 w 437081"/>
                <a:gd name="connsiteY5" fmla="*/ 27650 h 362666"/>
                <a:gd name="connsiteX6" fmla="*/ 371381 w 437081"/>
                <a:gd name="connsiteY6" fmla="*/ 16788 h 362666"/>
                <a:gd name="connsiteX7" fmla="*/ 330102 w 437081"/>
                <a:gd name="connsiteY7" fmla="*/ 744 h 362666"/>
                <a:gd name="connsiteX8" fmla="*/ 309807 w 437081"/>
                <a:gd name="connsiteY8" fmla="*/ 10069 h 362666"/>
                <a:gd name="connsiteX9" fmla="*/ 279486 w 437081"/>
                <a:gd name="connsiteY9" fmla="*/ 13813 h 362666"/>
                <a:gd name="connsiteX10" fmla="*/ 240561 w 437081"/>
                <a:gd name="connsiteY10" fmla="*/ 11239 h 362666"/>
                <a:gd name="connsiteX11" fmla="*/ 238085 w 437081"/>
                <a:gd name="connsiteY11" fmla="*/ 25578 h 362666"/>
                <a:gd name="connsiteX12" fmla="*/ 199159 w 437081"/>
                <a:gd name="connsiteY12" fmla="*/ 28920 h 362666"/>
                <a:gd name="connsiteX13" fmla="*/ 174805 w 437081"/>
                <a:gd name="connsiteY13" fmla="*/ 46602 h 362666"/>
                <a:gd name="connsiteX14" fmla="*/ 173344 w 437081"/>
                <a:gd name="connsiteY14" fmla="*/ 54757 h 362666"/>
                <a:gd name="connsiteX15" fmla="*/ 159016 w 437081"/>
                <a:gd name="connsiteY15" fmla="*/ 62110 h 362666"/>
                <a:gd name="connsiteX16" fmla="*/ 146108 w 437081"/>
                <a:gd name="connsiteY16" fmla="*/ 77117 h 362666"/>
                <a:gd name="connsiteX17" fmla="*/ 112662 w 437081"/>
                <a:gd name="connsiteY17" fmla="*/ 84838 h 362666"/>
                <a:gd name="connsiteX18" fmla="*/ 95452 w 437081"/>
                <a:gd name="connsiteY18" fmla="*/ 115454 h 362666"/>
                <a:gd name="connsiteX19" fmla="*/ 97482 w 437081"/>
                <a:gd name="connsiteY19" fmla="*/ 128456 h 362666"/>
                <a:gd name="connsiteX20" fmla="*/ 79866 w 437081"/>
                <a:gd name="connsiteY20" fmla="*/ 139720 h 362666"/>
                <a:gd name="connsiteX21" fmla="*/ 45040 w 437081"/>
                <a:gd name="connsiteY21" fmla="*/ 146204 h 362666"/>
                <a:gd name="connsiteX22" fmla="*/ 36516 w 437081"/>
                <a:gd name="connsiteY22" fmla="*/ 169400 h 362666"/>
                <a:gd name="connsiteX23" fmla="*/ 33147 w 437081"/>
                <a:gd name="connsiteY23" fmla="*/ 179427 h 362666"/>
                <a:gd name="connsiteX24" fmla="*/ 38383 w 437081"/>
                <a:gd name="connsiteY24" fmla="*/ 191259 h 362666"/>
                <a:gd name="connsiteX25" fmla="*/ 45567 w 437081"/>
                <a:gd name="connsiteY25" fmla="*/ 206233 h 362666"/>
                <a:gd name="connsiteX26" fmla="*/ 48855 w 437081"/>
                <a:gd name="connsiteY26" fmla="*/ 220772 h 362666"/>
                <a:gd name="connsiteX27" fmla="*/ 49424 w 437081"/>
                <a:gd name="connsiteY27" fmla="*/ 233540 h 362666"/>
                <a:gd name="connsiteX28" fmla="*/ 39195 w 437081"/>
                <a:gd name="connsiteY28" fmla="*/ 247110 h 362666"/>
                <a:gd name="connsiteX29" fmla="*/ 22269 w 437081"/>
                <a:gd name="connsiteY29" fmla="*/ 256669 h 362666"/>
                <a:gd name="connsiteX30" fmla="*/ 16058 w 437081"/>
                <a:gd name="connsiteY30" fmla="*/ 273380 h 362666"/>
                <a:gd name="connsiteX31" fmla="*/ 2340 w 437081"/>
                <a:gd name="connsiteY31" fmla="*/ 282773 h 362666"/>
                <a:gd name="connsiteX32" fmla="*/ 22269 w 437081"/>
                <a:gd name="connsiteY32" fmla="*/ 302526 h 362666"/>
                <a:gd name="connsiteX33" fmla="*/ 44269 w 437081"/>
                <a:gd name="connsiteY33" fmla="*/ 325622 h 362666"/>
                <a:gd name="connsiteX34" fmla="*/ 52387 w 437081"/>
                <a:gd name="connsiteY34" fmla="*/ 342801 h 362666"/>
                <a:gd name="connsiteX35" fmla="*/ 60910 w 437081"/>
                <a:gd name="connsiteY35" fmla="*/ 360783 h 362666"/>
                <a:gd name="connsiteX36" fmla="*/ 94559 w 437081"/>
                <a:gd name="connsiteY36" fmla="*/ 360148 h 362666"/>
                <a:gd name="connsiteX37" fmla="*/ 104504 w 437081"/>
                <a:gd name="connsiteY37" fmla="*/ 347447 h 362666"/>
                <a:gd name="connsiteX38" fmla="*/ 138234 w 437081"/>
                <a:gd name="connsiteY38" fmla="*/ 344506 h 362666"/>
                <a:gd name="connsiteX39" fmla="*/ 160112 w 437081"/>
                <a:gd name="connsiteY39" fmla="*/ 334713 h 362666"/>
                <a:gd name="connsiteX40" fmla="*/ 175130 w 437081"/>
                <a:gd name="connsiteY40" fmla="*/ 337721 h 362666"/>
                <a:gd name="connsiteX41" fmla="*/ 190514 w 437081"/>
                <a:gd name="connsiteY41" fmla="*/ 319538 h 362666"/>
                <a:gd name="connsiteX42" fmla="*/ 171152 w 437081"/>
                <a:gd name="connsiteY42" fmla="*/ 326223 h 362666"/>
                <a:gd name="connsiteX43" fmla="*/ 178499 w 437081"/>
                <a:gd name="connsiteY43" fmla="*/ 310648 h 362666"/>
                <a:gd name="connsiteX44" fmla="*/ 183167 w 437081"/>
                <a:gd name="connsiteY44" fmla="*/ 288956 h 362666"/>
                <a:gd name="connsiteX45" fmla="*/ 215638 w 437081"/>
                <a:gd name="connsiteY45" fmla="*/ 276455 h 362666"/>
                <a:gd name="connsiteX46" fmla="*/ 236583 w 437081"/>
                <a:gd name="connsiteY46" fmla="*/ 261682 h 362666"/>
                <a:gd name="connsiteX47" fmla="*/ 253671 w 437081"/>
                <a:gd name="connsiteY47" fmla="*/ 250485 h 362666"/>
                <a:gd name="connsiteX48" fmla="*/ 225989 w 437081"/>
                <a:gd name="connsiteY48" fmla="*/ 234542 h 362666"/>
                <a:gd name="connsiteX49" fmla="*/ 199037 w 437081"/>
                <a:gd name="connsiteY49" fmla="*/ 227523 h 362666"/>
                <a:gd name="connsiteX50" fmla="*/ 199037 w 437081"/>
                <a:gd name="connsiteY50" fmla="*/ 203592 h 362666"/>
                <a:gd name="connsiteX51" fmla="*/ 212513 w 437081"/>
                <a:gd name="connsiteY51" fmla="*/ 182903 h 362666"/>
                <a:gd name="connsiteX52" fmla="*/ 243686 w 437081"/>
                <a:gd name="connsiteY52" fmla="*/ 170269 h 362666"/>
                <a:gd name="connsiteX53" fmla="*/ 327829 w 437081"/>
                <a:gd name="connsiteY53" fmla="*/ 142895 h 362666"/>
                <a:gd name="connsiteX54" fmla="*/ 345891 w 437081"/>
                <a:gd name="connsiteY54" fmla="*/ 129960 h 362666"/>
                <a:gd name="connsiteX55" fmla="*/ 352426 w 437081"/>
                <a:gd name="connsiteY55" fmla="*/ 111677 h 362666"/>
                <a:gd name="connsiteX56" fmla="*/ 437015 w 437081"/>
                <a:gd name="connsiteY56" fmla="*/ 97706 h 362666"/>
                <a:gd name="connsiteX57" fmla="*/ 432672 w 437081"/>
                <a:gd name="connsiteY57" fmla="*/ 89116 h 362666"/>
                <a:gd name="connsiteX58" fmla="*/ 248638 w 437081"/>
                <a:gd name="connsiteY58" fmla="*/ 304531 h 362666"/>
                <a:gd name="connsiteX59" fmla="*/ 224812 w 437081"/>
                <a:gd name="connsiteY59" fmla="*/ 326123 h 362666"/>
                <a:gd name="connsiteX60" fmla="*/ 248638 w 437081"/>
                <a:gd name="connsiteY60" fmla="*/ 304531 h 3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37081" h="362666">
                  <a:moveTo>
                    <a:pt x="432347" y="89049"/>
                  </a:moveTo>
                  <a:cubicBezTo>
                    <a:pt x="418669" y="81596"/>
                    <a:pt x="426665" y="82899"/>
                    <a:pt x="432103" y="77652"/>
                  </a:cubicBezTo>
                  <a:cubicBezTo>
                    <a:pt x="439085" y="70967"/>
                    <a:pt x="430034" y="68828"/>
                    <a:pt x="425447" y="63414"/>
                  </a:cubicBezTo>
                  <a:cubicBezTo>
                    <a:pt x="423052" y="60539"/>
                    <a:pt x="424838" y="57197"/>
                    <a:pt x="424838" y="54322"/>
                  </a:cubicBezTo>
                  <a:cubicBezTo>
                    <a:pt x="424838" y="50579"/>
                    <a:pt x="420414" y="50545"/>
                    <a:pt x="418060" y="47404"/>
                  </a:cubicBezTo>
                  <a:cubicBezTo>
                    <a:pt x="412458" y="39984"/>
                    <a:pt x="428857" y="33433"/>
                    <a:pt x="412986" y="27650"/>
                  </a:cubicBezTo>
                  <a:cubicBezTo>
                    <a:pt x="400322" y="23038"/>
                    <a:pt x="385141" y="20397"/>
                    <a:pt x="371381" y="16788"/>
                  </a:cubicBezTo>
                  <a:cubicBezTo>
                    <a:pt x="355470" y="12676"/>
                    <a:pt x="345201" y="5323"/>
                    <a:pt x="330102" y="744"/>
                  </a:cubicBezTo>
                  <a:cubicBezTo>
                    <a:pt x="316463" y="-3400"/>
                    <a:pt x="310984" y="5357"/>
                    <a:pt x="309807" y="10069"/>
                  </a:cubicBezTo>
                  <a:cubicBezTo>
                    <a:pt x="306560" y="22436"/>
                    <a:pt x="296493" y="16520"/>
                    <a:pt x="279486" y="13813"/>
                  </a:cubicBezTo>
                  <a:cubicBezTo>
                    <a:pt x="274534" y="12977"/>
                    <a:pt x="242712" y="9969"/>
                    <a:pt x="240561" y="11239"/>
                  </a:cubicBezTo>
                  <a:cubicBezTo>
                    <a:pt x="233944" y="15050"/>
                    <a:pt x="245147" y="22002"/>
                    <a:pt x="238085" y="25578"/>
                  </a:cubicBezTo>
                  <a:cubicBezTo>
                    <a:pt x="229439" y="29923"/>
                    <a:pt x="210200" y="26514"/>
                    <a:pt x="199159" y="28920"/>
                  </a:cubicBezTo>
                  <a:cubicBezTo>
                    <a:pt x="189458" y="31093"/>
                    <a:pt x="177241" y="41521"/>
                    <a:pt x="174805" y="46602"/>
                  </a:cubicBezTo>
                  <a:cubicBezTo>
                    <a:pt x="172938" y="50211"/>
                    <a:pt x="180569" y="51080"/>
                    <a:pt x="173344" y="54757"/>
                  </a:cubicBezTo>
                  <a:cubicBezTo>
                    <a:pt x="168270" y="56812"/>
                    <a:pt x="163481" y="59276"/>
                    <a:pt x="159016" y="62110"/>
                  </a:cubicBezTo>
                  <a:cubicBezTo>
                    <a:pt x="151831" y="67658"/>
                    <a:pt x="150898" y="71636"/>
                    <a:pt x="146108" y="77117"/>
                  </a:cubicBezTo>
                  <a:cubicBezTo>
                    <a:pt x="140304" y="84036"/>
                    <a:pt x="114610" y="77786"/>
                    <a:pt x="112662" y="84838"/>
                  </a:cubicBezTo>
                  <a:cubicBezTo>
                    <a:pt x="109131" y="97338"/>
                    <a:pt x="111688" y="104458"/>
                    <a:pt x="95452" y="115454"/>
                  </a:cubicBezTo>
                  <a:cubicBezTo>
                    <a:pt x="86928" y="121236"/>
                    <a:pt x="80596" y="125481"/>
                    <a:pt x="97482" y="128456"/>
                  </a:cubicBezTo>
                  <a:cubicBezTo>
                    <a:pt x="110146" y="130695"/>
                    <a:pt x="95168" y="142360"/>
                    <a:pt x="79866" y="139720"/>
                  </a:cubicBezTo>
                  <a:cubicBezTo>
                    <a:pt x="67689" y="137905"/>
                    <a:pt x="55106" y="140244"/>
                    <a:pt x="45040" y="146204"/>
                  </a:cubicBezTo>
                  <a:cubicBezTo>
                    <a:pt x="28520" y="155295"/>
                    <a:pt x="39195" y="160008"/>
                    <a:pt x="36516" y="169400"/>
                  </a:cubicBezTo>
                  <a:cubicBezTo>
                    <a:pt x="35501" y="172742"/>
                    <a:pt x="32457" y="175750"/>
                    <a:pt x="33147" y="179427"/>
                  </a:cubicBezTo>
                  <a:cubicBezTo>
                    <a:pt x="33837" y="183103"/>
                    <a:pt x="40534" y="186914"/>
                    <a:pt x="38383" y="191259"/>
                  </a:cubicBezTo>
                  <a:cubicBezTo>
                    <a:pt x="35014" y="197943"/>
                    <a:pt x="30712" y="202188"/>
                    <a:pt x="45567" y="206233"/>
                  </a:cubicBezTo>
                  <a:cubicBezTo>
                    <a:pt x="55918" y="209074"/>
                    <a:pt x="64442" y="217764"/>
                    <a:pt x="48855" y="220772"/>
                  </a:cubicBezTo>
                  <a:cubicBezTo>
                    <a:pt x="30590" y="224281"/>
                    <a:pt x="47597" y="227189"/>
                    <a:pt x="49424" y="233540"/>
                  </a:cubicBezTo>
                  <a:cubicBezTo>
                    <a:pt x="50722" y="238252"/>
                    <a:pt x="51534" y="246642"/>
                    <a:pt x="39195" y="247110"/>
                  </a:cubicBezTo>
                  <a:cubicBezTo>
                    <a:pt x="21538" y="247745"/>
                    <a:pt x="26774" y="248781"/>
                    <a:pt x="22269" y="256669"/>
                  </a:cubicBezTo>
                  <a:cubicBezTo>
                    <a:pt x="19265" y="261983"/>
                    <a:pt x="20645" y="268434"/>
                    <a:pt x="16058" y="273380"/>
                  </a:cubicBezTo>
                  <a:cubicBezTo>
                    <a:pt x="11472" y="278327"/>
                    <a:pt x="-6469" y="268634"/>
                    <a:pt x="2340" y="282773"/>
                  </a:cubicBezTo>
                  <a:cubicBezTo>
                    <a:pt x="7373" y="290828"/>
                    <a:pt x="20767" y="293635"/>
                    <a:pt x="22269" y="302526"/>
                  </a:cubicBezTo>
                  <a:cubicBezTo>
                    <a:pt x="23324" y="308709"/>
                    <a:pt x="34771" y="321444"/>
                    <a:pt x="44269" y="325622"/>
                  </a:cubicBezTo>
                  <a:cubicBezTo>
                    <a:pt x="56648" y="331070"/>
                    <a:pt x="45080" y="339893"/>
                    <a:pt x="52387" y="342801"/>
                  </a:cubicBezTo>
                  <a:cubicBezTo>
                    <a:pt x="66349" y="348350"/>
                    <a:pt x="53726" y="353330"/>
                    <a:pt x="60910" y="360783"/>
                  </a:cubicBezTo>
                  <a:cubicBezTo>
                    <a:pt x="64076" y="364126"/>
                    <a:pt x="89729" y="361151"/>
                    <a:pt x="94559" y="360148"/>
                  </a:cubicBezTo>
                  <a:cubicBezTo>
                    <a:pt x="105518" y="357875"/>
                    <a:pt x="93707" y="349219"/>
                    <a:pt x="104504" y="347447"/>
                  </a:cubicBezTo>
                  <a:cubicBezTo>
                    <a:pt x="117614" y="345275"/>
                    <a:pt x="121024" y="340462"/>
                    <a:pt x="138234" y="344506"/>
                  </a:cubicBezTo>
                  <a:cubicBezTo>
                    <a:pt x="158001" y="349252"/>
                    <a:pt x="150411" y="336016"/>
                    <a:pt x="160112" y="334713"/>
                  </a:cubicBezTo>
                  <a:cubicBezTo>
                    <a:pt x="167824" y="333677"/>
                    <a:pt x="166525" y="343670"/>
                    <a:pt x="175130" y="337721"/>
                  </a:cubicBezTo>
                  <a:cubicBezTo>
                    <a:pt x="177646" y="335983"/>
                    <a:pt x="195628" y="321210"/>
                    <a:pt x="190514" y="319538"/>
                  </a:cubicBezTo>
                  <a:cubicBezTo>
                    <a:pt x="186170" y="318168"/>
                    <a:pt x="173669" y="328329"/>
                    <a:pt x="171152" y="326223"/>
                  </a:cubicBezTo>
                  <a:cubicBezTo>
                    <a:pt x="166687" y="322212"/>
                    <a:pt x="176632" y="314525"/>
                    <a:pt x="178499" y="310648"/>
                  </a:cubicBezTo>
                  <a:cubicBezTo>
                    <a:pt x="181909" y="303562"/>
                    <a:pt x="179920" y="296008"/>
                    <a:pt x="183167" y="288956"/>
                  </a:cubicBezTo>
                  <a:cubicBezTo>
                    <a:pt x="187510" y="279597"/>
                    <a:pt x="201635" y="280567"/>
                    <a:pt x="215638" y="276455"/>
                  </a:cubicBezTo>
                  <a:cubicBezTo>
                    <a:pt x="230616" y="272077"/>
                    <a:pt x="227815" y="266729"/>
                    <a:pt x="236583" y="261682"/>
                  </a:cubicBezTo>
                  <a:cubicBezTo>
                    <a:pt x="241210" y="259042"/>
                    <a:pt x="257487" y="254998"/>
                    <a:pt x="253671" y="250485"/>
                  </a:cubicBezTo>
                  <a:cubicBezTo>
                    <a:pt x="248475" y="244402"/>
                    <a:pt x="236015" y="238720"/>
                    <a:pt x="225989" y="234542"/>
                  </a:cubicBezTo>
                  <a:cubicBezTo>
                    <a:pt x="217303" y="230932"/>
                    <a:pt x="198834" y="233640"/>
                    <a:pt x="199037" y="227523"/>
                  </a:cubicBezTo>
                  <a:cubicBezTo>
                    <a:pt x="199281" y="219769"/>
                    <a:pt x="190635" y="210578"/>
                    <a:pt x="199037" y="203592"/>
                  </a:cubicBezTo>
                  <a:cubicBezTo>
                    <a:pt x="206465" y="197342"/>
                    <a:pt x="204476" y="188117"/>
                    <a:pt x="212513" y="182903"/>
                  </a:cubicBezTo>
                  <a:cubicBezTo>
                    <a:pt x="220550" y="177689"/>
                    <a:pt x="236867" y="175483"/>
                    <a:pt x="243686" y="170269"/>
                  </a:cubicBezTo>
                  <a:cubicBezTo>
                    <a:pt x="262235" y="155897"/>
                    <a:pt x="299538" y="152253"/>
                    <a:pt x="327829" y="142895"/>
                  </a:cubicBezTo>
                  <a:cubicBezTo>
                    <a:pt x="335947" y="140221"/>
                    <a:pt x="351817" y="135943"/>
                    <a:pt x="345891" y="129960"/>
                  </a:cubicBezTo>
                  <a:cubicBezTo>
                    <a:pt x="334648" y="118529"/>
                    <a:pt x="349585" y="122005"/>
                    <a:pt x="352426" y="111677"/>
                  </a:cubicBezTo>
                  <a:cubicBezTo>
                    <a:pt x="356932" y="94965"/>
                    <a:pt x="409252" y="93127"/>
                    <a:pt x="437015" y="97706"/>
                  </a:cubicBezTo>
                  <a:cubicBezTo>
                    <a:pt x="437137" y="94457"/>
                    <a:pt x="435554" y="91322"/>
                    <a:pt x="432672" y="89116"/>
                  </a:cubicBezTo>
                  <a:close/>
                  <a:moveTo>
                    <a:pt x="248638" y="304531"/>
                  </a:moveTo>
                  <a:cubicBezTo>
                    <a:pt x="229561" y="304297"/>
                    <a:pt x="220225" y="322914"/>
                    <a:pt x="224812" y="326123"/>
                  </a:cubicBezTo>
                  <a:cubicBezTo>
                    <a:pt x="228668" y="328730"/>
                    <a:pt x="267634" y="304799"/>
                    <a:pt x="248638" y="30453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39C09FF-9866-42C2-8148-ADDBB9CC5AE4}"/>
                </a:ext>
              </a:extLst>
            </p:cNvPr>
            <p:cNvSpPr/>
            <p:nvPr/>
          </p:nvSpPr>
          <p:spPr>
            <a:xfrm>
              <a:off x="6485433" y="3690407"/>
              <a:ext cx="205999" cy="54197"/>
            </a:xfrm>
            <a:custGeom>
              <a:avLst/>
              <a:gdLst>
                <a:gd name="connsiteX0" fmla="*/ 195730 w 205999"/>
                <a:gd name="connsiteY0" fmla="*/ 16591 h 54197"/>
                <a:gd name="connsiteX1" fmla="*/ 203604 w 205999"/>
                <a:gd name="connsiteY1" fmla="*/ 5795 h 54197"/>
                <a:gd name="connsiteX2" fmla="*/ 138376 w 205999"/>
                <a:gd name="connsiteY2" fmla="*/ 414 h 54197"/>
                <a:gd name="connsiteX3" fmla="*/ 71444 w 205999"/>
                <a:gd name="connsiteY3" fmla="*/ 2587 h 54197"/>
                <a:gd name="connsiteX4" fmla="*/ 46157 w 205999"/>
                <a:gd name="connsiteY4" fmla="*/ 9271 h 54197"/>
                <a:gd name="connsiteX5" fmla="*/ 50581 w 205999"/>
                <a:gd name="connsiteY5" fmla="*/ 20502 h 54197"/>
                <a:gd name="connsiteX6" fmla="*/ 78994 w 205999"/>
                <a:gd name="connsiteY6" fmla="*/ 37815 h 54197"/>
                <a:gd name="connsiteX7" fmla="*/ 131314 w 205999"/>
                <a:gd name="connsiteY7" fmla="*/ 46037 h 54197"/>
                <a:gd name="connsiteX8" fmla="*/ 180914 w 205999"/>
                <a:gd name="connsiteY8" fmla="*/ 53858 h 54197"/>
                <a:gd name="connsiteX9" fmla="*/ 188140 w 205999"/>
                <a:gd name="connsiteY9" fmla="*/ 40823 h 54197"/>
                <a:gd name="connsiteX10" fmla="*/ 195852 w 205999"/>
                <a:gd name="connsiteY10" fmla="*/ 16625 h 54197"/>
                <a:gd name="connsiteX11" fmla="*/ 17135 w 205999"/>
                <a:gd name="connsiteY11" fmla="*/ 20234 h 54197"/>
                <a:gd name="connsiteX12" fmla="*/ 12791 w 205999"/>
                <a:gd name="connsiteY12" fmla="*/ 33035 h 54197"/>
                <a:gd name="connsiteX13" fmla="*/ 17135 w 205999"/>
                <a:gd name="connsiteY13" fmla="*/ 20234 h 54197"/>
                <a:gd name="connsiteX14" fmla="*/ 32640 w 205999"/>
                <a:gd name="connsiteY14" fmla="*/ 13550 h 54197"/>
                <a:gd name="connsiteX15" fmla="*/ 10965 w 205999"/>
                <a:gd name="connsiteY15" fmla="*/ 13984 h 54197"/>
                <a:gd name="connsiteX16" fmla="*/ 32559 w 205999"/>
                <a:gd name="connsiteY16" fmla="*/ 13516 h 5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5999" h="54197">
                  <a:moveTo>
                    <a:pt x="195730" y="16591"/>
                  </a:moveTo>
                  <a:cubicBezTo>
                    <a:pt x="200113" y="12447"/>
                    <a:pt x="210586" y="11678"/>
                    <a:pt x="203604" y="5795"/>
                  </a:cubicBezTo>
                  <a:cubicBezTo>
                    <a:pt x="187368" y="11477"/>
                    <a:pt x="156398" y="1316"/>
                    <a:pt x="138376" y="414"/>
                  </a:cubicBezTo>
                  <a:cubicBezTo>
                    <a:pt x="119299" y="-555"/>
                    <a:pt x="88654" y="-1224"/>
                    <a:pt x="71444" y="2587"/>
                  </a:cubicBezTo>
                  <a:cubicBezTo>
                    <a:pt x="62798" y="4258"/>
                    <a:pt x="54356" y="6491"/>
                    <a:pt x="46157" y="9271"/>
                  </a:cubicBezTo>
                  <a:cubicBezTo>
                    <a:pt x="43924" y="10140"/>
                    <a:pt x="50216" y="18095"/>
                    <a:pt x="50581" y="20502"/>
                  </a:cubicBezTo>
                  <a:cubicBezTo>
                    <a:pt x="52732" y="31498"/>
                    <a:pt x="96041" y="29493"/>
                    <a:pt x="78994" y="37815"/>
                  </a:cubicBezTo>
                  <a:cubicBezTo>
                    <a:pt x="103916" y="37815"/>
                    <a:pt x="112236" y="38417"/>
                    <a:pt x="131314" y="46037"/>
                  </a:cubicBezTo>
                  <a:cubicBezTo>
                    <a:pt x="146535" y="52120"/>
                    <a:pt x="162690" y="51652"/>
                    <a:pt x="180914" y="53858"/>
                  </a:cubicBezTo>
                  <a:cubicBezTo>
                    <a:pt x="175476" y="45503"/>
                    <a:pt x="199058" y="51051"/>
                    <a:pt x="188140" y="40823"/>
                  </a:cubicBezTo>
                  <a:cubicBezTo>
                    <a:pt x="177221" y="30596"/>
                    <a:pt x="187449" y="24512"/>
                    <a:pt x="195852" y="16625"/>
                  </a:cubicBezTo>
                  <a:close/>
                  <a:moveTo>
                    <a:pt x="17135" y="20234"/>
                  </a:moveTo>
                  <a:cubicBezTo>
                    <a:pt x="1427" y="21805"/>
                    <a:pt x="-10020" y="38651"/>
                    <a:pt x="12791" y="33035"/>
                  </a:cubicBezTo>
                  <a:cubicBezTo>
                    <a:pt x="29271" y="29025"/>
                    <a:pt x="56304" y="16324"/>
                    <a:pt x="17135" y="20234"/>
                  </a:cubicBezTo>
                  <a:close/>
                  <a:moveTo>
                    <a:pt x="32640" y="13550"/>
                  </a:moveTo>
                  <a:cubicBezTo>
                    <a:pt x="36943" y="9940"/>
                    <a:pt x="3740" y="10207"/>
                    <a:pt x="10965" y="13984"/>
                  </a:cubicBezTo>
                  <a:cubicBezTo>
                    <a:pt x="16283" y="16691"/>
                    <a:pt x="28256" y="17126"/>
                    <a:pt x="32559" y="1351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1DD24637-37B8-4A8B-800F-97AE7FC1486D}"/>
                </a:ext>
              </a:extLst>
            </p:cNvPr>
            <p:cNvSpPr/>
            <p:nvPr/>
          </p:nvSpPr>
          <p:spPr>
            <a:xfrm>
              <a:off x="6740807" y="4790963"/>
              <a:ext cx="238344" cy="176141"/>
            </a:xfrm>
            <a:custGeom>
              <a:avLst/>
              <a:gdLst>
                <a:gd name="connsiteX0" fmla="*/ 208168 w 238344"/>
                <a:gd name="connsiteY0" fmla="*/ 52804 h 176141"/>
                <a:gd name="connsiteX1" fmla="*/ 238285 w 238344"/>
                <a:gd name="connsiteY1" fmla="*/ 31614 h 176141"/>
                <a:gd name="connsiteX2" fmla="*/ 213526 w 238344"/>
                <a:gd name="connsiteY2" fmla="*/ 30410 h 176141"/>
                <a:gd name="connsiteX3" fmla="*/ 192216 w 238344"/>
                <a:gd name="connsiteY3" fmla="*/ 27068 h 176141"/>
                <a:gd name="connsiteX4" fmla="*/ 167862 w 238344"/>
                <a:gd name="connsiteY4" fmla="*/ 35691 h 176141"/>
                <a:gd name="connsiteX5" fmla="*/ 147567 w 238344"/>
                <a:gd name="connsiteY5" fmla="*/ 31213 h 176141"/>
                <a:gd name="connsiteX6" fmla="*/ 102350 w 238344"/>
                <a:gd name="connsiteY6" fmla="*/ 14768 h 176141"/>
                <a:gd name="connsiteX7" fmla="*/ 77063 w 238344"/>
                <a:gd name="connsiteY7" fmla="*/ 9688 h 176141"/>
                <a:gd name="connsiteX8" fmla="*/ 53967 w 238344"/>
                <a:gd name="connsiteY8" fmla="*/ 764 h 176141"/>
                <a:gd name="connsiteX9" fmla="*/ 13661 w 238344"/>
                <a:gd name="connsiteY9" fmla="*/ 9788 h 176141"/>
                <a:gd name="connsiteX10" fmla="*/ 24864 w 238344"/>
                <a:gd name="connsiteY10" fmla="*/ 17242 h 176141"/>
                <a:gd name="connsiteX11" fmla="*/ 26853 w 238344"/>
                <a:gd name="connsiteY11" fmla="*/ 27035 h 176141"/>
                <a:gd name="connsiteX12" fmla="*/ 34241 w 238344"/>
                <a:gd name="connsiteY12" fmla="*/ 34789 h 176141"/>
                <a:gd name="connsiteX13" fmla="*/ 36351 w 238344"/>
                <a:gd name="connsiteY13" fmla="*/ 45986 h 176141"/>
                <a:gd name="connsiteX14" fmla="*/ 4326 w 238344"/>
                <a:gd name="connsiteY14" fmla="*/ 79410 h 176141"/>
                <a:gd name="connsiteX15" fmla="*/ 2702 w 238344"/>
                <a:gd name="connsiteY15" fmla="*/ 98962 h 176141"/>
                <a:gd name="connsiteX16" fmla="*/ 55469 w 238344"/>
                <a:gd name="connsiteY16" fmla="*/ 121189 h 176141"/>
                <a:gd name="connsiteX17" fmla="*/ 101173 w 238344"/>
                <a:gd name="connsiteY17" fmla="*/ 140876 h 176141"/>
                <a:gd name="connsiteX18" fmla="*/ 99387 w 238344"/>
                <a:gd name="connsiteY18" fmla="*/ 151738 h 176141"/>
                <a:gd name="connsiteX19" fmla="*/ 142006 w 238344"/>
                <a:gd name="connsiteY19" fmla="*/ 175803 h 176141"/>
                <a:gd name="connsiteX20" fmla="*/ 167943 w 238344"/>
                <a:gd name="connsiteY20" fmla="*/ 147460 h 176141"/>
                <a:gd name="connsiteX21" fmla="*/ 193271 w 238344"/>
                <a:gd name="connsiteY21" fmla="*/ 134625 h 176141"/>
                <a:gd name="connsiteX22" fmla="*/ 211536 w 238344"/>
                <a:gd name="connsiteY22" fmla="*/ 127740 h 176141"/>
                <a:gd name="connsiteX23" fmla="*/ 200374 w 238344"/>
                <a:gd name="connsiteY23" fmla="*/ 113468 h 176141"/>
                <a:gd name="connsiteX24" fmla="*/ 208168 w 238344"/>
                <a:gd name="connsiteY24" fmla="*/ 52804 h 17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8344" h="176141">
                  <a:moveTo>
                    <a:pt x="208168" y="52804"/>
                  </a:moveTo>
                  <a:cubicBezTo>
                    <a:pt x="218031" y="45618"/>
                    <a:pt x="228016" y="38566"/>
                    <a:pt x="238285" y="31614"/>
                  </a:cubicBezTo>
                  <a:cubicBezTo>
                    <a:pt x="230857" y="31814"/>
                    <a:pt x="220101" y="34288"/>
                    <a:pt x="213526" y="30410"/>
                  </a:cubicBezTo>
                  <a:cubicBezTo>
                    <a:pt x="205773" y="25831"/>
                    <a:pt x="203784" y="25163"/>
                    <a:pt x="192216" y="27068"/>
                  </a:cubicBezTo>
                  <a:cubicBezTo>
                    <a:pt x="182149" y="28639"/>
                    <a:pt x="177035" y="33753"/>
                    <a:pt x="167862" y="35691"/>
                  </a:cubicBezTo>
                  <a:cubicBezTo>
                    <a:pt x="164493" y="36427"/>
                    <a:pt x="151139" y="31881"/>
                    <a:pt x="147567" y="31213"/>
                  </a:cubicBezTo>
                  <a:cubicBezTo>
                    <a:pt x="129383" y="27870"/>
                    <a:pt x="115826" y="23893"/>
                    <a:pt x="102350" y="14768"/>
                  </a:cubicBezTo>
                  <a:cubicBezTo>
                    <a:pt x="96465" y="10758"/>
                    <a:pt x="84775" y="11025"/>
                    <a:pt x="77063" y="9688"/>
                  </a:cubicBezTo>
                  <a:cubicBezTo>
                    <a:pt x="68052" y="8117"/>
                    <a:pt x="62166" y="2602"/>
                    <a:pt x="53967" y="764"/>
                  </a:cubicBezTo>
                  <a:cubicBezTo>
                    <a:pt x="35742" y="-3314"/>
                    <a:pt x="25798" y="4875"/>
                    <a:pt x="13661" y="9788"/>
                  </a:cubicBezTo>
                  <a:cubicBezTo>
                    <a:pt x="13661" y="11392"/>
                    <a:pt x="22916" y="15938"/>
                    <a:pt x="24864" y="17242"/>
                  </a:cubicBezTo>
                  <a:cubicBezTo>
                    <a:pt x="27746" y="19180"/>
                    <a:pt x="26569" y="24628"/>
                    <a:pt x="26853" y="27035"/>
                  </a:cubicBezTo>
                  <a:cubicBezTo>
                    <a:pt x="27300" y="30979"/>
                    <a:pt x="29451" y="31681"/>
                    <a:pt x="34241" y="34789"/>
                  </a:cubicBezTo>
                  <a:cubicBezTo>
                    <a:pt x="39842" y="38432"/>
                    <a:pt x="37569" y="41106"/>
                    <a:pt x="36351" y="45986"/>
                  </a:cubicBezTo>
                  <a:cubicBezTo>
                    <a:pt x="32779" y="60458"/>
                    <a:pt x="13864" y="67043"/>
                    <a:pt x="4326" y="79410"/>
                  </a:cubicBezTo>
                  <a:cubicBezTo>
                    <a:pt x="49340" y="89971"/>
                    <a:pt x="-13574" y="92177"/>
                    <a:pt x="2702" y="98962"/>
                  </a:cubicBezTo>
                  <a:cubicBezTo>
                    <a:pt x="20318" y="106315"/>
                    <a:pt x="37894" y="113725"/>
                    <a:pt x="55469" y="121189"/>
                  </a:cubicBezTo>
                  <a:cubicBezTo>
                    <a:pt x="70771" y="127717"/>
                    <a:pt x="85993" y="134281"/>
                    <a:pt x="101173" y="140876"/>
                  </a:cubicBezTo>
                  <a:cubicBezTo>
                    <a:pt x="104014" y="142112"/>
                    <a:pt x="96181" y="149900"/>
                    <a:pt x="99387" y="151738"/>
                  </a:cubicBezTo>
                  <a:cubicBezTo>
                    <a:pt x="113513" y="159827"/>
                    <a:pt x="127719" y="167848"/>
                    <a:pt x="142006" y="175803"/>
                  </a:cubicBezTo>
                  <a:cubicBezTo>
                    <a:pt x="150124" y="166144"/>
                    <a:pt x="158648" y="156651"/>
                    <a:pt x="167943" y="147460"/>
                  </a:cubicBezTo>
                  <a:cubicBezTo>
                    <a:pt x="174965" y="140575"/>
                    <a:pt x="184504" y="139739"/>
                    <a:pt x="193271" y="134625"/>
                  </a:cubicBezTo>
                  <a:cubicBezTo>
                    <a:pt x="196072" y="132987"/>
                    <a:pt x="215799" y="133088"/>
                    <a:pt x="211536" y="127740"/>
                  </a:cubicBezTo>
                  <a:cubicBezTo>
                    <a:pt x="208898" y="124398"/>
                    <a:pt x="199928" y="116944"/>
                    <a:pt x="200374" y="113468"/>
                  </a:cubicBezTo>
                  <a:cubicBezTo>
                    <a:pt x="202972" y="93237"/>
                    <a:pt x="205570" y="73015"/>
                    <a:pt x="208168" y="5280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DC5AC8AC-F577-49F8-B1A6-C22DC197E408}"/>
                </a:ext>
              </a:extLst>
            </p:cNvPr>
            <p:cNvSpPr/>
            <p:nvPr/>
          </p:nvSpPr>
          <p:spPr>
            <a:xfrm>
              <a:off x="6618227" y="4801043"/>
              <a:ext cx="160371" cy="86995"/>
            </a:xfrm>
            <a:custGeom>
              <a:avLst/>
              <a:gdLst>
                <a:gd name="connsiteX0" fmla="*/ 149919 w 160371"/>
                <a:gd name="connsiteY0" fmla="*/ 20097 h 86995"/>
                <a:gd name="connsiteX1" fmla="*/ 147565 w 160371"/>
                <a:gd name="connsiteY1" fmla="*/ 7095 h 86995"/>
                <a:gd name="connsiteX2" fmla="*/ 137255 w 160371"/>
                <a:gd name="connsiteY2" fmla="*/ 243 h 86995"/>
                <a:gd name="connsiteX3" fmla="*/ 123699 w 160371"/>
                <a:gd name="connsiteY3" fmla="*/ 5691 h 86995"/>
                <a:gd name="connsiteX4" fmla="*/ 87168 w 160371"/>
                <a:gd name="connsiteY4" fmla="*/ 6460 h 86995"/>
                <a:gd name="connsiteX5" fmla="*/ 73935 w 160371"/>
                <a:gd name="connsiteY5" fmla="*/ 2215 h 86995"/>
                <a:gd name="connsiteX6" fmla="*/ 54087 w 160371"/>
                <a:gd name="connsiteY6" fmla="*/ 2950 h 86995"/>
                <a:gd name="connsiteX7" fmla="*/ 44305 w 160371"/>
                <a:gd name="connsiteY7" fmla="*/ 18292 h 86995"/>
                <a:gd name="connsiteX8" fmla="*/ 52870 w 160371"/>
                <a:gd name="connsiteY8" fmla="*/ 27216 h 86995"/>
                <a:gd name="connsiteX9" fmla="*/ 41707 w 160371"/>
                <a:gd name="connsiteY9" fmla="*/ 37243 h 86995"/>
                <a:gd name="connsiteX10" fmla="*/ 15405 w 160371"/>
                <a:gd name="connsiteY10" fmla="*/ 53286 h 86995"/>
                <a:gd name="connsiteX11" fmla="*/ 6800 w 160371"/>
                <a:gd name="connsiteY11" fmla="*/ 69196 h 86995"/>
                <a:gd name="connsiteX12" fmla="*/ -60 w 160371"/>
                <a:gd name="connsiteY12" fmla="*/ 86309 h 86995"/>
                <a:gd name="connsiteX13" fmla="*/ 44346 w 160371"/>
                <a:gd name="connsiteY13" fmla="*/ 82365 h 86995"/>
                <a:gd name="connsiteX14" fmla="*/ 65128 w 160371"/>
                <a:gd name="connsiteY14" fmla="*/ 82766 h 86995"/>
                <a:gd name="connsiteX15" fmla="*/ 89482 w 160371"/>
                <a:gd name="connsiteY15" fmla="*/ 65887 h 86995"/>
                <a:gd name="connsiteX16" fmla="*/ 126743 w 160371"/>
                <a:gd name="connsiteY16" fmla="*/ 69229 h 86995"/>
                <a:gd name="connsiteX17" fmla="*/ 148824 w 160371"/>
                <a:gd name="connsiteY17" fmla="*/ 51247 h 86995"/>
                <a:gd name="connsiteX18" fmla="*/ 160270 w 160371"/>
                <a:gd name="connsiteY18" fmla="*/ 28252 h 86995"/>
                <a:gd name="connsiteX19" fmla="*/ 149919 w 160371"/>
                <a:gd name="connsiteY19" fmla="*/ 20097 h 8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0371" h="86995">
                  <a:moveTo>
                    <a:pt x="149919" y="20097"/>
                  </a:moveTo>
                  <a:cubicBezTo>
                    <a:pt x="149554" y="16955"/>
                    <a:pt x="151137" y="9501"/>
                    <a:pt x="147565" y="7095"/>
                  </a:cubicBezTo>
                  <a:lnTo>
                    <a:pt x="137255" y="243"/>
                  </a:lnTo>
                  <a:cubicBezTo>
                    <a:pt x="133196" y="-2464"/>
                    <a:pt x="127230" y="5123"/>
                    <a:pt x="123699" y="5691"/>
                  </a:cubicBezTo>
                  <a:cubicBezTo>
                    <a:pt x="112131" y="7563"/>
                    <a:pt x="97600" y="-1261"/>
                    <a:pt x="87168" y="6460"/>
                  </a:cubicBezTo>
                  <a:cubicBezTo>
                    <a:pt x="84814" y="8231"/>
                    <a:pt x="75884" y="2850"/>
                    <a:pt x="73935" y="2215"/>
                  </a:cubicBezTo>
                  <a:cubicBezTo>
                    <a:pt x="68172" y="310"/>
                    <a:pt x="59770" y="2215"/>
                    <a:pt x="54087" y="2950"/>
                  </a:cubicBezTo>
                  <a:cubicBezTo>
                    <a:pt x="44102" y="4287"/>
                    <a:pt x="44874" y="12510"/>
                    <a:pt x="44305" y="18292"/>
                  </a:cubicBezTo>
                  <a:cubicBezTo>
                    <a:pt x="43899" y="22370"/>
                    <a:pt x="53235" y="23439"/>
                    <a:pt x="52870" y="27216"/>
                  </a:cubicBezTo>
                  <a:cubicBezTo>
                    <a:pt x="52585" y="29723"/>
                    <a:pt x="44995" y="35672"/>
                    <a:pt x="41707" y="37243"/>
                  </a:cubicBezTo>
                  <a:cubicBezTo>
                    <a:pt x="31316" y="42156"/>
                    <a:pt x="19342" y="43928"/>
                    <a:pt x="15405" y="53286"/>
                  </a:cubicBezTo>
                  <a:cubicBezTo>
                    <a:pt x="13132" y="58734"/>
                    <a:pt x="8627" y="63648"/>
                    <a:pt x="6800" y="69196"/>
                  </a:cubicBezTo>
                  <a:cubicBezTo>
                    <a:pt x="4974" y="74744"/>
                    <a:pt x="6800" y="81997"/>
                    <a:pt x="-60" y="86309"/>
                  </a:cubicBezTo>
                  <a:cubicBezTo>
                    <a:pt x="14634" y="88147"/>
                    <a:pt x="29409" y="82097"/>
                    <a:pt x="44346" y="82365"/>
                  </a:cubicBezTo>
                  <a:lnTo>
                    <a:pt x="65128" y="82766"/>
                  </a:lnTo>
                  <a:cubicBezTo>
                    <a:pt x="70729" y="82766"/>
                    <a:pt x="78400" y="67057"/>
                    <a:pt x="89482" y="65887"/>
                  </a:cubicBezTo>
                  <a:cubicBezTo>
                    <a:pt x="102064" y="65005"/>
                    <a:pt x="114688" y="66141"/>
                    <a:pt x="126743" y="69229"/>
                  </a:cubicBezTo>
                  <a:cubicBezTo>
                    <a:pt x="132507" y="61742"/>
                    <a:pt x="140990" y="57665"/>
                    <a:pt x="148824" y="51247"/>
                  </a:cubicBezTo>
                  <a:cubicBezTo>
                    <a:pt x="156657" y="44830"/>
                    <a:pt x="159012" y="36708"/>
                    <a:pt x="160270" y="28252"/>
                  </a:cubicBezTo>
                  <a:cubicBezTo>
                    <a:pt x="160960" y="25511"/>
                    <a:pt x="153045" y="22136"/>
                    <a:pt x="149919" y="2009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CD04020-96F4-40A4-86CC-CED38BBD4BD5}"/>
                </a:ext>
              </a:extLst>
            </p:cNvPr>
            <p:cNvSpPr/>
            <p:nvPr/>
          </p:nvSpPr>
          <p:spPr>
            <a:xfrm>
              <a:off x="7543958" y="4132244"/>
              <a:ext cx="538747" cy="228958"/>
            </a:xfrm>
            <a:custGeom>
              <a:avLst/>
              <a:gdLst>
                <a:gd name="connsiteX0" fmla="*/ 535157 w 538747"/>
                <a:gd name="connsiteY0" fmla="*/ 187074 h 228958"/>
                <a:gd name="connsiteX1" fmla="*/ 506460 w 538747"/>
                <a:gd name="connsiteY1" fmla="*/ 169460 h 228958"/>
                <a:gd name="connsiteX2" fmla="*/ 486733 w 538747"/>
                <a:gd name="connsiteY2" fmla="*/ 168557 h 228958"/>
                <a:gd name="connsiteX3" fmla="*/ 465789 w 538747"/>
                <a:gd name="connsiteY3" fmla="*/ 157461 h 228958"/>
                <a:gd name="connsiteX4" fmla="*/ 425199 w 538747"/>
                <a:gd name="connsiteY4" fmla="*/ 152648 h 228958"/>
                <a:gd name="connsiteX5" fmla="*/ 404174 w 538747"/>
                <a:gd name="connsiteY5" fmla="*/ 160068 h 228958"/>
                <a:gd name="connsiteX6" fmla="*/ 385868 w 538747"/>
                <a:gd name="connsiteY6" fmla="*/ 151478 h 228958"/>
                <a:gd name="connsiteX7" fmla="*/ 354613 w 538747"/>
                <a:gd name="connsiteY7" fmla="*/ 140883 h 228958"/>
                <a:gd name="connsiteX8" fmla="*/ 333872 w 538747"/>
                <a:gd name="connsiteY8" fmla="*/ 122466 h 228958"/>
                <a:gd name="connsiteX9" fmla="*/ 332046 w 538747"/>
                <a:gd name="connsiteY9" fmla="*/ 102746 h 228958"/>
                <a:gd name="connsiteX10" fmla="*/ 309477 w 538747"/>
                <a:gd name="connsiteY10" fmla="*/ 84263 h 228958"/>
                <a:gd name="connsiteX11" fmla="*/ 251516 w 538747"/>
                <a:gd name="connsiteY11" fmla="*/ 71696 h 228958"/>
                <a:gd name="connsiteX12" fmla="*/ 204472 w 538747"/>
                <a:gd name="connsiteY12" fmla="*/ 65011 h 228958"/>
                <a:gd name="connsiteX13" fmla="*/ 168753 w 538747"/>
                <a:gd name="connsiteY13" fmla="*/ 34930 h 228958"/>
                <a:gd name="connsiteX14" fmla="*/ 117691 w 538747"/>
                <a:gd name="connsiteY14" fmla="*/ 33426 h 228958"/>
                <a:gd name="connsiteX15" fmla="*/ 119396 w 538747"/>
                <a:gd name="connsiteY15" fmla="*/ 6052 h 228958"/>
                <a:gd name="connsiteX16" fmla="*/ 105149 w 538747"/>
                <a:gd name="connsiteY16" fmla="*/ 27577 h 228958"/>
                <a:gd name="connsiteX17" fmla="*/ 104824 w 538747"/>
                <a:gd name="connsiteY17" fmla="*/ 1439 h 228958"/>
                <a:gd name="connsiteX18" fmla="*/ 41382 w 538747"/>
                <a:gd name="connsiteY18" fmla="*/ -64 h 228958"/>
                <a:gd name="connsiteX19" fmla="*/ 18936 w 538747"/>
                <a:gd name="connsiteY19" fmla="*/ 8358 h 228958"/>
                <a:gd name="connsiteX20" fmla="*/ 7084 w 538747"/>
                <a:gd name="connsiteY20" fmla="*/ 49402 h 228958"/>
                <a:gd name="connsiteX21" fmla="*/ -60 w 538747"/>
                <a:gd name="connsiteY21" fmla="*/ 73100 h 228958"/>
                <a:gd name="connsiteX22" fmla="*/ 32128 w 538747"/>
                <a:gd name="connsiteY22" fmla="*/ 78581 h 228958"/>
                <a:gd name="connsiteX23" fmla="*/ 46619 w 538747"/>
                <a:gd name="connsiteY23" fmla="*/ 68019 h 228958"/>
                <a:gd name="connsiteX24" fmla="*/ 68699 w 538747"/>
                <a:gd name="connsiteY24" fmla="*/ 65479 h 228958"/>
                <a:gd name="connsiteX25" fmla="*/ 88994 w 538747"/>
                <a:gd name="connsiteY25" fmla="*/ 61802 h 228958"/>
                <a:gd name="connsiteX26" fmla="*/ 111643 w 538747"/>
                <a:gd name="connsiteY26" fmla="*/ 71328 h 228958"/>
                <a:gd name="connsiteX27" fmla="*/ 136443 w 538747"/>
                <a:gd name="connsiteY27" fmla="*/ 84063 h 228958"/>
                <a:gd name="connsiteX28" fmla="*/ 160229 w 538747"/>
                <a:gd name="connsiteY28" fmla="*/ 103883 h 228958"/>
                <a:gd name="connsiteX29" fmla="*/ 182756 w 538747"/>
                <a:gd name="connsiteY29" fmla="*/ 108395 h 228958"/>
                <a:gd name="connsiteX30" fmla="*/ 198992 w 538747"/>
                <a:gd name="connsiteY30" fmla="*/ 130321 h 228958"/>
                <a:gd name="connsiteX31" fmla="*/ 238405 w 538747"/>
                <a:gd name="connsiteY31" fmla="*/ 161973 h 228958"/>
                <a:gd name="connsiteX32" fmla="*/ 269213 w 538747"/>
                <a:gd name="connsiteY32" fmla="*/ 176947 h 228958"/>
                <a:gd name="connsiteX33" fmla="*/ 296733 w 538747"/>
                <a:gd name="connsiteY33" fmla="*/ 192556 h 228958"/>
                <a:gd name="connsiteX34" fmla="*/ 317312 w 538747"/>
                <a:gd name="connsiteY34" fmla="*/ 213145 h 228958"/>
                <a:gd name="connsiteX35" fmla="*/ 355628 w 538747"/>
                <a:gd name="connsiteY35" fmla="*/ 228620 h 228958"/>
                <a:gd name="connsiteX36" fmla="*/ 369672 w 538747"/>
                <a:gd name="connsiteY36" fmla="*/ 214883 h 228958"/>
                <a:gd name="connsiteX37" fmla="*/ 374381 w 538747"/>
                <a:gd name="connsiteY37" fmla="*/ 198505 h 228958"/>
                <a:gd name="connsiteX38" fmla="*/ 358997 w 538747"/>
                <a:gd name="connsiteY38" fmla="*/ 183799 h 228958"/>
                <a:gd name="connsiteX39" fmla="*/ 384894 w 538747"/>
                <a:gd name="connsiteY39" fmla="*/ 181793 h 228958"/>
                <a:gd name="connsiteX40" fmla="*/ 402996 w 538747"/>
                <a:gd name="connsiteY40" fmla="*/ 174774 h 228958"/>
                <a:gd name="connsiteX41" fmla="*/ 428487 w 538747"/>
                <a:gd name="connsiteY41" fmla="*/ 168491 h 228958"/>
                <a:gd name="connsiteX42" fmla="*/ 463962 w 538747"/>
                <a:gd name="connsiteY42" fmla="*/ 171365 h 228958"/>
                <a:gd name="connsiteX43" fmla="*/ 451785 w 538747"/>
                <a:gd name="connsiteY43" fmla="*/ 184367 h 228958"/>
                <a:gd name="connsiteX44" fmla="*/ 497124 w 538747"/>
                <a:gd name="connsiteY44" fmla="*/ 190082 h 228958"/>
                <a:gd name="connsiteX45" fmla="*/ 518759 w 538747"/>
                <a:gd name="connsiteY45" fmla="*/ 192455 h 228958"/>
                <a:gd name="connsiteX46" fmla="*/ 538688 w 538747"/>
                <a:gd name="connsiteY46" fmla="*/ 191419 h 228958"/>
                <a:gd name="connsiteX47" fmla="*/ 534994 w 538747"/>
                <a:gd name="connsiteY47" fmla="*/ 186974 h 22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8747" h="228958">
                  <a:moveTo>
                    <a:pt x="535157" y="187074"/>
                  </a:moveTo>
                  <a:cubicBezTo>
                    <a:pt x="526552" y="180219"/>
                    <a:pt x="516892" y="174300"/>
                    <a:pt x="506460" y="169460"/>
                  </a:cubicBezTo>
                  <a:cubicBezTo>
                    <a:pt x="495866" y="164680"/>
                    <a:pt x="496759" y="169460"/>
                    <a:pt x="486733" y="168557"/>
                  </a:cubicBezTo>
                  <a:cubicBezTo>
                    <a:pt x="474556" y="167388"/>
                    <a:pt x="471999" y="162541"/>
                    <a:pt x="465789" y="157461"/>
                  </a:cubicBezTo>
                  <a:cubicBezTo>
                    <a:pt x="456250" y="149707"/>
                    <a:pt x="436727" y="151411"/>
                    <a:pt x="425199" y="152648"/>
                  </a:cubicBezTo>
                  <a:cubicBezTo>
                    <a:pt x="413672" y="153885"/>
                    <a:pt x="411723" y="156726"/>
                    <a:pt x="404174" y="160068"/>
                  </a:cubicBezTo>
                  <a:cubicBezTo>
                    <a:pt x="391997" y="165482"/>
                    <a:pt x="392281" y="155322"/>
                    <a:pt x="385868" y="151478"/>
                  </a:cubicBezTo>
                  <a:cubicBezTo>
                    <a:pt x="376329" y="146381"/>
                    <a:pt x="365735" y="142788"/>
                    <a:pt x="354613" y="140883"/>
                  </a:cubicBezTo>
                  <a:cubicBezTo>
                    <a:pt x="339677" y="137808"/>
                    <a:pt x="339960" y="129820"/>
                    <a:pt x="333872" y="122466"/>
                  </a:cubicBezTo>
                  <a:cubicBezTo>
                    <a:pt x="327784" y="115113"/>
                    <a:pt x="332533" y="110100"/>
                    <a:pt x="332046" y="102746"/>
                  </a:cubicBezTo>
                  <a:cubicBezTo>
                    <a:pt x="331802" y="98702"/>
                    <a:pt x="315201" y="87672"/>
                    <a:pt x="309477" y="84263"/>
                  </a:cubicBezTo>
                  <a:cubicBezTo>
                    <a:pt x="298356" y="77579"/>
                    <a:pt x="265925" y="74905"/>
                    <a:pt x="251516" y="71696"/>
                  </a:cubicBezTo>
                  <a:cubicBezTo>
                    <a:pt x="235767" y="68153"/>
                    <a:pt x="219855" y="68354"/>
                    <a:pt x="204472" y="65011"/>
                  </a:cubicBezTo>
                  <a:cubicBezTo>
                    <a:pt x="194122" y="62705"/>
                    <a:pt x="177074" y="40712"/>
                    <a:pt x="168753" y="34930"/>
                  </a:cubicBezTo>
                  <a:cubicBezTo>
                    <a:pt x="162827" y="42016"/>
                    <a:pt x="112414" y="46695"/>
                    <a:pt x="117691" y="33426"/>
                  </a:cubicBezTo>
                  <a:cubicBezTo>
                    <a:pt x="118016" y="32624"/>
                    <a:pt x="140096" y="2008"/>
                    <a:pt x="119396" y="6052"/>
                  </a:cubicBezTo>
                  <a:cubicBezTo>
                    <a:pt x="106610" y="8559"/>
                    <a:pt x="114728" y="23198"/>
                    <a:pt x="105149" y="27577"/>
                  </a:cubicBezTo>
                  <a:cubicBezTo>
                    <a:pt x="96544" y="31521"/>
                    <a:pt x="101090" y="4749"/>
                    <a:pt x="104824" y="1439"/>
                  </a:cubicBezTo>
                  <a:cubicBezTo>
                    <a:pt x="83636" y="871"/>
                    <a:pt x="62530" y="370"/>
                    <a:pt x="41382" y="-64"/>
                  </a:cubicBezTo>
                  <a:cubicBezTo>
                    <a:pt x="21371" y="-465"/>
                    <a:pt x="21818" y="-1736"/>
                    <a:pt x="18936" y="8358"/>
                  </a:cubicBezTo>
                  <a:cubicBezTo>
                    <a:pt x="14958" y="22062"/>
                    <a:pt x="11021" y="35742"/>
                    <a:pt x="7084" y="49402"/>
                  </a:cubicBezTo>
                  <a:cubicBezTo>
                    <a:pt x="6029" y="53246"/>
                    <a:pt x="5907" y="71161"/>
                    <a:pt x="-60" y="73100"/>
                  </a:cubicBezTo>
                  <a:cubicBezTo>
                    <a:pt x="6029" y="75807"/>
                    <a:pt x="26567" y="83127"/>
                    <a:pt x="32128" y="78581"/>
                  </a:cubicBezTo>
                  <a:cubicBezTo>
                    <a:pt x="37689" y="74036"/>
                    <a:pt x="34239" y="69991"/>
                    <a:pt x="46619" y="68019"/>
                  </a:cubicBezTo>
                  <a:cubicBezTo>
                    <a:pt x="55102" y="66682"/>
                    <a:pt x="63991" y="70292"/>
                    <a:pt x="68699" y="65479"/>
                  </a:cubicBezTo>
                  <a:cubicBezTo>
                    <a:pt x="70688" y="63440"/>
                    <a:pt x="84367" y="61435"/>
                    <a:pt x="88994" y="61802"/>
                  </a:cubicBezTo>
                  <a:cubicBezTo>
                    <a:pt x="99060" y="62672"/>
                    <a:pt x="104297" y="68019"/>
                    <a:pt x="111643" y="71328"/>
                  </a:cubicBezTo>
                  <a:cubicBezTo>
                    <a:pt x="121994" y="75941"/>
                    <a:pt x="133805" y="76241"/>
                    <a:pt x="136443" y="84063"/>
                  </a:cubicBezTo>
                  <a:cubicBezTo>
                    <a:pt x="140868" y="97432"/>
                    <a:pt x="133034" y="98401"/>
                    <a:pt x="160229" y="103883"/>
                  </a:cubicBezTo>
                  <a:cubicBezTo>
                    <a:pt x="167657" y="105353"/>
                    <a:pt x="175531" y="106490"/>
                    <a:pt x="182756" y="108395"/>
                  </a:cubicBezTo>
                  <a:cubicBezTo>
                    <a:pt x="189981" y="110300"/>
                    <a:pt x="197085" y="126644"/>
                    <a:pt x="198992" y="130321"/>
                  </a:cubicBezTo>
                  <a:cubicBezTo>
                    <a:pt x="205568" y="141852"/>
                    <a:pt x="222981" y="152548"/>
                    <a:pt x="238405" y="161973"/>
                  </a:cubicBezTo>
                  <a:cubicBezTo>
                    <a:pt x="247741" y="167655"/>
                    <a:pt x="259877" y="171365"/>
                    <a:pt x="269213" y="176947"/>
                  </a:cubicBezTo>
                  <a:cubicBezTo>
                    <a:pt x="279401" y="182996"/>
                    <a:pt x="283866" y="188545"/>
                    <a:pt x="296733" y="192556"/>
                  </a:cubicBezTo>
                  <a:cubicBezTo>
                    <a:pt x="318002" y="199240"/>
                    <a:pt x="318164" y="202014"/>
                    <a:pt x="317312" y="213145"/>
                  </a:cubicBezTo>
                  <a:cubicBezTo>
                    <a:pt x="329935" y="214448"/>
                    <a:pt x="346252" y="222871"/>
                    <a:pt x="355628" y="228620"/>
                  </a:cubicBezTo>
                  <a:cubicBezTo>
                    <a:pt x="356805" y="222232"/>
                    <a:pt x="362244" y="216928"/>
                    <a:pt x="369672" y="214883"/>
                  </a:cubicBezTo>
                  <a:cubicBezTo>
                    <a:pt x="383473" y="210805"/>
                    <a:pt x="369672" y="205357"/>
                    <a:pt x="374381" y="198505"/>
                  </a:cubicBezTo>
                  <a:cubicBezTo>
                    <a:pt x="377709" y="193659"/>
                    <a:pt x="361757" y="188478"/>
                    <a:pt x="358997" y="183799"/>
                  </a:cubicBezTo>
                  <a:cubicBezTo>
                    <a:pt x="354938" y="177114"/>
                    <a:pt x="380144" y="181392"/>
                    <a:pt x="384894" y="181793"/>
                  </a:cubicBezTo>
                  <a:cubicBezTo>
                    <a:pt x="395731" y="182662"/>
                    <a:pt x="395771" y="173270"/>
                    <a:pt x="402996" y="174774"/>
                  </a:cubicBezTo>
                  <a:cubicBezTo>
                    <a:pt x="417040" y="177682"/>
                    <a:pt x="415945" y="165783"/>
                    <a:pt x="428487" y="168491"/>
                  </a:cubicBezTo>
                  <a:cubicBezTo>
                    <a:pt x="441029" y="171198"/>
                    <a:pt x="453287" y="168190"/>
                    <a:pt x="463962" y="171365"/>
                  </a:cubicBezTo>
                  <a:cubicBezTo>
                    <a:pt x="474637" y="174540"/>
                    <a:pt x="454789" y="182829"/>
                    <a:pt x="451785" y="184367"/>
                  </a:cubicBezTo>
                  <a:cubicBezTo>
                    <a:pt x="465505" y="187041"/>
                    <a:pt x="484988" y="186205"/>
                    <a:pt x="497124" y="190082"/>
                  </a:cubicBezTo>
                  <a:cubicBezTo>
                    <a:pt x="503862" y="192221"/>
                    <a:pt x="513360" y="195865"/>
                    <a:pt x="518759" y="192455"/>
                  </a:cubicBezTo>
                  <a:cubicBezTo>
                    <a:pt x="524157" y="189046"/>
                    <a:pt x="534994" y="193558"/>
                    <a:pt x="538688" y="191419"/>
                  </a:cubicBezTo>
                  <a:cubicBezTo>
                    <a:pt x="538688" y="189815"/>
                    <a:pt x="537592" y="188344"/>
                    <a:pt x="534994" y="1869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ECE48954-CB8B-4300-BC20-4AB03EF9F32A}"/>
                </a:ext>
              </a:extLst>
            </p:cNvPr>
            <p:cNvSpPr/>
            <p:nvPr/>
          </p:nvSpPr>
          <p:spPr>
            <a:xfrm>
              <a:off x="5919452" y="3026621"/>
              <a:ext cx="906744" cy="691640"/>
            </a:xfrm>
            <a:custGeom>
              <a:avLst/>
              <a:gdLst>
                <a:gd name="connsiteX0" fmla="*/ 879299 w 906744"/>
                <a:gd name="connsiteY0" fmla="*/ 389425 h 691640"/>
                <a:gd name="connsiteX1" fmla="*/ 862333 w 906744"/>
                <a:gd name="connsiteY1" fmla="*/ 385748 h 691640"/>
                <a:gd name="connsiteX2" fmla="*/ 841307 w 906744"/>
                <a:gd name="connsiteY2" fmla="*/ 377626 h 691640"/>
                <a:gd name="connsiteX3" fmla="*/ 870492 w 906744"/>
                <a:gd name="connsiteY3" fmla="*/ 380969 h 691640"/>
                <a:gd name="connsiteX4" fmla="*/ 883115 w 906744"/>
                <a:gd name="connsiteY4" fmla="*/ 377626 h 691640"/>
                <a:gd name="connsiteX5" fmla="*/ 904465 w 906744"/>
                <a:gd name="connsiteY5" fmla="*/ 376222 h 691640"/>
                <a:gd name="connsiteX6" fmla="*/ 863876 w 906744"/>
                <a:gd name="connsiteY6" fmla="*/ 358876 h 691640"/>
                <a:gd name="connsiteX7" fmla="*/ 816548 w 906744"/>
                <a:gd name="connsiteY7" fmla="*/ 360747 h 691640"/>
                <a:gd name="connsiteX8" fmla="*/ 807943 w 906744"/>
                <a:gd name="connsiteY8" fmla="*/ 361750 h 691640"/>
                <a:gd name="connsiteX9" fmla="*/ 808470 w 906744"/>
                <a:gd name="connsiteY9" fmla="*/ 353661 h 691640"/>
                <a:gd name="connsiteX10" fmla="*/ 818496 w 906744"/>
                <a:gd name="connsiteY10" fmla="*/ 349885 h 691640"/>
                <a:gd name="connsiteX11" fmla="*/ 776121 w 906744"/>
                <a:gd name="connsiteY11" fmla="*/ 350319 h 691640"/>
                <a:gd name="connsiteX12" fmla="*/ 752781 w 906744"/>
                <a:gd name="connsiteY12" fmla="*/ 355266 h 691640"/>
                <a:gd name="connsiteX13" fmla="*/ 718320 w 906744"/>
                <a:gd name="connsiteY13" fmla="*/ 359644 h 691640"/>
                <a:gd name="connsiteX14" fmla="*/ 693642 w 906744"/>
                <a:gd name="connsiteY14" fmla="*/ 366697 h 691640"/>
                <a:gd name="connsiteX15" fmla="*/ 710162 w 906744"/>
                <a:gd name="connsiteY15" fmla="*/ 354731 h 691640"/>
                <a:gd name="connsiteX16" fmla="*/ 728306 w 906744"/>
                <a:gd name="connsiteY16" fmla="*/ 344704 h 691640"/>
                <a:gd name="connsiteX17" fmla="*/ 717874 w 906744"/>
                <a:gd name="connsiteY17" fmla="*/ 337652 h 691640"/>
                <a:gd name="connsiteX18" fmla="*/ 701029 w 906744"/>
                <a:gd name="connsiteY18" fmla="*/ 344804 h 691640"/>
                <a:gd name="connsiteX19" fmla="*/ 679232 w 906744"/>
                <a:gd name="connsiteY19" fmla="*/ 341830 h 691640"/>
                <a:gd name="connsiteX20" fmla="*/ 674118 w 906744"/>
                <a:gd name="connsiteY20" fmla="*/ 344203 h 691640"/>
                <a:gd name="connsiteX21" fmla="*/ 674118 w 906744"/>
                <a:gd name="connsiteY21" fmla="*/ 350887 h 691640"/>
                <a:gd name="connsiteX22" fmla="*/ 652606 w 906744"/>
                <a:gd name="connsiteY22" fmla="*/ 348247 h 691640"/>
                <a:gd name="connsiteX23" fmla="*/ 628252 w 906744"/>
                <a:gd name="connsiteY23" fmla="*/ 358274 h 691640"/>
                <a:gd name="connsiteX24" fmla="*/ 622854 w 906744"/>
                <a:gd name="connsiteY24" fmla="*/ 368669 h 691640"/>
                <a:gd name="connsiteX25" fmla="*/ 616197 w 906744"/>
                <a:gd name="connsiteY25" fmla="*/ 357873 h 691640"/>
                <a:gd name="connsiteX26" fmla="*/ 616197 w 906744"/>
                <a:gd name="connsiteY26" fmla="*/ 351823 h 691640"/>
                <a:gd name="connsiteX27" fmla="*/ 640551 w 906744"/>
                <a:gd name="connsiteY27" fmla="*/ 344771 h 691640"/>
                <a:gd name="connsiteX28" fmla="*/ 628374 w 906744"/>
                <a:gd name="connsiteY28" fmla="*/ 344203 h 691640"/>
                <a:gd name="connsiteX29" fmla="*/ 594562 w 906744"/>
                <a:gd name="connsiteY29" fmla="*/ 354698 h 691640"/>
                <a:gd name="connsiteX30" fmla="*/ 562090 w 906744"/>
                <a:gd name="connsiteY30" fmla="*/ 360480 h 691640"/>
                <a:gd name="connsiteX31" fmla="*/ 583116 w 906744"/>
                <a:gd name="connsiteY31" fmla="*/ 368903 h 691640"/>
                <a:gd name="connsiteX32" fmla="*/ 556124 w 906744"/>
                <a:gd name="connsiteY32" fmla="*/ 366429 h 691640"/>
                <a:gd name="connsiteX33" fmla="*/ 542689 w 906744"/>
                <a:gd name="connsiteY33" fmla="*/ 359444 h 691640"/>
                <a:gd name="connsiteX34" fmla="*/ 532419 w 906744"/>
                <a:gd name="connsiteY34" fmla="*/ 362987 h 691640"/>
                <a:gd name="connsiteX35" fmla="*/ 544921 w 906744"/>
                <a:gd name="connsiteY35" fmla="*/ 369504 h 691640"/>
                <a:gd name="connsiteX36" fmla="*/ 538508 w 906744"/>
                <a:gd name="connsiteY36" fmla="*/ 377693 h 691640"/>
                <a:gd name="connsiteX37" fmla="*/ 531689 w 906744"/>
                <a:gd name="connsiteY37" fmla="*/ 368836 h 691640"/>
                <a:gd name="connsiteX38" fmla="*/ 508349 w 906744"/>
                <a:gd name="connsiteY38" fmla="*/ 370540 h 691640"/>
                <a:gd name="connsiteX39" fmla="*/ 509730 w 906744"/>
                <a:gd name="connsiteY39" fmla="*/ 360146 h 691640"/>
                <a:gd name="connsiteX40" fmla="*/ 473199 w 906744"/>
                <a:gd name="connsiteY40" fmla="*/ 361583 h 691640"/>
                <a:gd name="connsiteX41" fmla="*/ 471332 w 906744"/>
                <a:gd name="connsiteY41" fmla="*/ 372680 h 691640"/>
                <a:gd name="connsiteX42" fmla="*/ 449454 w 906744"/>
                <a:gd name="connsiteY42" fmla="*/ 378863 h 691640"/>
                <a:gd name="connsiteX43" fmla="*/ 427251 w 906744"/>
                <a:gd name="connsiteY43" fmla="*/ 375888 h 691640"/>
                <a:gd name="connsiteX44" fmla="*/ 404034 w 906744"/>
                <a:gd name="connsiteY44" fmla="*/ 389057 h 691640"/>
                <a:gd name="connsiteX45" fmla="*/ 430539 w 906744"/>
                <a:gd name="connsiteY45" fmla="*/ 390127 h 691640"/>
                <a:gd name="connsiteX46" fmla="*/ 432122 w 906744"/>
                <a:gd name="connsiteY46" fmla="*/ 400455 h 691640"/>
                <a:gd name="connsiteX47" fmla="*/ 409473 w 906744"/>
                <a:gd name="connsiteY47" fmla="*/ 399987 h 691640"/>
                <a:gd name="connsiteX48" fmla="*/ 387554 w 906744"/>
                <a:gd name="connsiteY48" fmla="*/ 395107 h 691640"/>
                <a:gd name="connsiteX49" fmla="*/ 380127 w 906744"/>
                <a:gd name="connsiteY49" fmla="*/ 384177 h 691640"/>
                <a:gd name="connsiteX50" fmla="*/ 354393 w 906744"/>
                <a:gd name="connsiteY50" fmla="*/ 395809 h 691640"/>
                <a:gd name="connsiteX51" fmla="*/ 338157 w 906744"/>
                <a:gd name="connsiteY51" fmla="*/ 399719 h 691640"/>
                <a:gd name="connsiteX52" fmla="*/ 337142 w 906744"/>
                <a:gd name="connsiteY52" fmla="*/ 404098 h 691640"/>
                <a:gd name="connsiteX53" fmla="*/ 310272 w 906744"/>
                <a:gd name="connsiteY53" fmla="*/ 414827 h 691640"/>
                <a:gd name="connsiteX54" fmla="*/ 274431 w 906744"/>
                <a:gd name="connsiteY54" fmla="*/ 424553 h 691640"/>
                <a:gd name="connsiteX55" fmla="*/ 318471 w 906744"/>
                <a:gd name="connsiteY55" fmla="*/ 415729 h 691640"/>
                <a:gd name="connsiteX56" fmla="*/ 353094 w 906744"/>
                <a:gd name="connsiteY56" fmla="*/ 410114 h 691640"/>
                <a:gd name="connsiteX57" fmla="*/ 381506 w 906744"/>
                <a:gd name="connsiteY57" fmla="*/ 406237 h 691640"/>
                <a:gd name="connsiteX58" fmla="*/ 395551 w 906744"/>
                <a:gd name="connsiteY58" fmla="*/ 411785 h 691640"/>
                <a:gd name="connsiteX59" fmla="*/ 392831 w 906744"/>
                <a:gd name="connsiteY59" fmla="*/ 421311 h 691640"/>
                <a:gd name="connsiteX60" fmla="*/ 374160 w 906744"/>
                <a:gd name="connsiteY60" fmla="*/ 415361 h 691640"/>
                <a:gd name="connsiteX61" fmla="*/ 346884 w 906744"/>
                <a:gd name="connsiteY61" fmla="*/ 424586 h 691640"/>
                <a:gd name="connsiteX62" fmla="*/ 336330 w 906744"/>
                <a:gd name="connsiteY62" fmla="*/ 437956 h 691640"/>
                <a:gd name="connsiteX63" fmla="*/ 322733 w 906744"/>
                <a:gd name="connsiteY63" fmla="*/ 443671 h 691640"/>
                <a:gd name="connsiteX64" fmla="*/ 291966 w 906744"/>
                <a:gd name="connsiteY64" fmla="*/ 461854 h 691640"/>
                <a:gd name="connsiteX65" fmla="*/ 286121 w 906744"/>
                <a:gd name="connsiteY65" fmla="*/ 474387 h 691640"/>
                <a:gd name="connsiteX66" fmla="*/ 263228 w 906744"/>
                <a:gd name="connsiteY66" fmla="*/ 476025 h 691640"/>
                <a:gd name="connsiteX67" fmla="*/ 257302 w 906744"/>
                <a:gd name="connsiteY67" fmla="*/ 486988 h 691640"/>
                <a:gd name="connsiteX68" fmla="*/ 253893 w 906744"/>
                <a:gd name="connsiteY68" fmla="*/ 492102 h 691640"/>
                <a:gd name="connsiteX69" fmla="*/ 253893 w 906744"/>
                <a:gd name="connsiteY69" fmla="*/ 503700 h 691640"/>
                <a:gd name="connsiteX70" fmla="*/ 234369 w 906744"/>
                <a:gd name="connsiteY70" fmla="*/ 503967 h 691640"/>
                <a:gd name="connsiteX71" fmla="*/ 218133 w 906744"/>
                <a:gd name="connsiteY71" fmla="*/ 508212 h 691640"/>
                <a:gd name="connsiteX72" fmla="*/ 215048 w 906744"/>
                <a:gd name="connsiteY72" fmla="*/ 514496 h 691640"/>
                <a:gd name="connsiteX73" fmla="*/ 202871 w 906744"/>
                <a:gd name="connsiteY73" fmla="*/ 522952 h 691640"/>
                <a:gd name="connsiteX74" fmla="*/ 175839 w 906744"/>
                <a:gd name="connsiteY74" fmla="*/ 532143 h 691640"/>
                <a:gd name="connsiteX75" fmla="*/ 159278 w 906744"/>
                <a:gd name="connsiteY75" fmla="*/ 539530 h 691640"/>
                <a:gd name="connsiteX76" fmla="*/ 147426 w 906744"/>
                <a:gd name="connsiteY76" fmla="*/ 551629 h 691640"/>
                <a:gd name="connsiteX77" fmla="*/ 133666 w 906744"/>
                <a:gd name="connsiteY77" fmla="*/ 545246 h 691640"/>
                <a:gd name="connsiteX78" fmla="*/ 119946 w 906744"/>
                <a:gd name="connsiteY78" fmla="*/ 550326 h 691640"/>
                <a:gd name="connsiteX79" fmla="*/ 115319 w 906744"/>
                <a:gd name="connsiteY79" fmla="*/ 557579 h 691640"/>
                <a:gd name="connsiteX80" fmla="*/ 74080 w 906744"/>
                <a:gd name="connsiteY80" fmla="*/ 569210 h 691640"/>
                <a:gd name="connsiteX81" fmla="*/ 90600 w 906744"/>
                <a:gd name="connsiteY81" fmla="*/ 574224 h 691640"/>
                <a:gd name="connsiteX82" fmla="*/ 61334 w 906744"/>
                <a:gd name="connsiteY82" fmla="*/ 573689 h 691640"/>
                <a:gd name="connsiteX83" fmla="*/ 43110 w 906744"/>
                <a:gd name="connsiteY83" fmla="*/ 580006 h 691640"/>
                <a:gd name="connsiteX84" fmla="*/ 29593 w 906744"/>
                <a:gd name="connsiteY84" fmla="*/ 590033 h 691640"/>
                <a:gd name="connsiteX85" fmla="*/ 1708 w 906744"/>
                <a:gd name="connsiteY85" fmla="*/ 594478 h 691640"/>
                <a:gd name="connsiteX86" fmla="*/ 12749 w 906744"/>
                <a:gd name="connsiteY86" fmla="*/ 606143 h 691640"/>
                <a:gd name="connsiteX87" fmla="*/ 5564 w 906744"/>
                <a:gd name="connsiteY87" fmla="*/ 611458 h 691640"/>
                <a:gd name="connsiteX88" fmla="*/ 11125 w 906744"/>
                <a:gd name="connsiteY88" fmla="*/ 616805 h 691640"/>
                <a:gd name="connsiteX89" fmla="*/ 1586 w 906744"/>
                <a:gd name="connsiteY89" fmla="*/ 623490 h 691640"/>
                <a:gd name="connsiteX90" fmla="*/ 2520 w 906744"/>
                <a:gd name="connsiteY90" fmla="*/ 632247 h 691640"/>
                <a:gd name="connsiteX91" fmla="*/ 18756 w 906744"/>
                <a:gd name="connsiteY91" fmla="*/ 638364 h 691640"/>
                <a:gd name="connsiteX92" fmla="*/ 30527 w 906744"/>
                <a:gd name="connsiteY92" fmla="*/ 640770 h 691640"/>
                <a:gd name="connsiteX93" fmla="*/ 50294 w 906744"/>
                <a:gd name="connsiteY93" fmla="*/ 633317 h 691640"/>
                <a:gd name="connsiteX94" fmla="*/ 56464 w 906744"/>
                <a:gd name="connsiteY94" fmla="*/ 637495 h 691640"/>
                <a:gd name="connsiteX95" fmla="*/ 44693 w 906744"/>
                <a:gd name="connsiteY95" fmla="*/ 640402 h 691640"/>
                <a:gd name="connsiteX96" fmla="*/ 21881 w 906744"/>
                <a:gd name="connsiteY96" fmla="*/ 648491 h 691640"/>
                <a:gd name="connsiteX97" fmla="*/ 15955 w 906744"/>
                <a:gd name="connsiteY97" fmla="*/ 643812 h 691640"/>
                <a:gd name="connsiteX98" fmla="*/ 7310 w 906744"/>
                <a:gd name="connsiteY98" fmla="*/ 648926 h 691640"/>
                <a:gd name="connsiteX99" fmla="*/ 10476 w 906744"/>
                <a:gd name="connsiteY99" fmla="*/ 656145 h 691640"/>
                <a:gd name="connsiteX100" fmla="*/ 8974 w 906744"/>
                <a:gd name="connsiteY100" fmla="*/ 663131 h 691640"/>
                <a:gd name="connsiteX101" fmla="*/ 40350 w 906744"/>
                <a:gd name="connsiteY101" fmla="*/ 657749 h 691640"/>
                <a:gd name="connsiteX102" fmla="*/ 42541 w 906744"/>
                <a:gd name="connsiteY102" fmla="*/ 662830 h 691640"/>
                <a:gd name="connsiteX103" fmla="*/ 34423 w 906744"/>
                <a:gd name="connsiteY103" fmla="*/ 669849 h 691640"/>
                <a:gd name="connsiteX104" fmla="*/ 25940 w 906744"/>
                <a:gd name="connsiteY104" fmla="*/ 678071 h 691640"/>
                <a:gd name="connsiteX105" fmla="*/ 57682 w 906744"/>
                <a:gd name="connsiteY105" fmla="*/ 686260 h 691640"/>
                <a:gd name="connsiteX106" fmla="*/ 97419 w 906744"/>
                <a:gd name="connsiteY106" fmla="*/ 691039 h 691640"/>
                <a:gd name="connsiteX107" fmla="*/ 137400 w 906744"/>
                <a:gd name="connsiteY107" fmla="*/ 678405 h 691640"/>
                <a:gd name="connsiteX108" fmla="*/ 160414 w 906744"/>
                <a:gd name="connsiteY108" fmla="*/ 667075 h 691640"/>
                <a:gd name="connsiteX109" fmla="*/ 188827 w 906744"/>
                <a:gd name="connsiteY109" fmla="*/ 659253 h 691640"/>
                <a:gd name="connsiteX110" fmla="*/ 201004 w 906744"/>
                <a:gd name="connsiteY110" fmla="*/ 657281 h 691640"/>
                <a:gd name="connsiteX111" fmla="*/ 210461 w 906744"/>
                <a:gd name="connsiteY111" fmla="*/ 662729 h 691640"/>
                <a:gd name="connsiteX112" fmla="*/ 214520 w 906744"/>
                <a:gd name="connsiteY112" fmla="*/ 669180 h 691640"/>
                <a:gd name="connsiteX113" fmla="*/ 225155 w 906744"/>
                <a:gd name="connsiteY113" fmla="*/ 669949 h 691640"/>
                <a:gd name="connsiteX114" fmla="*/ 242690 w 906744"/>
                <a:gd name="connsiteY114" fmla="*/ 642776 h 691640"/>
                <a:gd name="connsiteX115" fmla="*/ 263472 w 906744"/>
                <a:gd name="connsiteY115" fmla="*/ 635656 h 691640"/>
                <a:gd name="connsiteX116" fmla="*/ 254501 w 906744"/>
                <a:gd name="connsiteY116" fmla="*/ 617641 h 691640"/>
                <a:gd name="connsiteX117" fmla="*/ 268911 w 906744"/>
                <a:gd name="connsiteY117" fmla="*/ 605074 h 691640"/>
                <a:gd name="connsiteX118" fmla="*/ 248616 w 906744"/>
                <a:gd name="connsiteY118" fmla="*/ 592105 h 691640"/>
                <a:gd name="connsiteX119" fmla="*/ 252675 w 906744"/>
                <a:gd name="connsiteY119" fmla="*/ 583516 h 691640"/>
                <a:gd name="connsiteX120" fmla="*/ 247358 w 906744"/>
                <a:gd name="connsiteY120" fmla="*/ 570982 h 691640"/>
                <a:gd name="connsiteX121" fmla="*/ 248941 w 906744"/>
                <a:gd name="connsiteY121" fmla="*/ 549791 h 691640"/>
                <a:gd name="connsiteX122" fmla="*/ 284010 w 906744"/>
                <a:gd name="connsiteY122" fmla="*/ 534149 h 691640"/>
                <a:gd name="connsiteX123" fmla="*/ 314655 w 906744"/>
                <a:gd name="connsiteY123" fmla="*/ 529135 h 691640"/>
                <a:gd name="connsiteX124" fmla="*/ 299799 w 906744"/>
                <a:gd name="connsiteY124" fmla="*/ 518206 h 691640"/>
                <a:gd name="connsiteX125" fmla="*/ 327197 w 906744"/>
                <a:gd name="connsiteY125" fmla="*/ 488125 h 691640"/>
                <a:gd name="connsiteX126" fmla="*/ 355610 w 906744"/>
                <a:gd name="connsiteY126" fmla="*/ 474989 h 691640"/>
                <a:gd name="connsiteX127" fmla="*/ 373145 w 906744"/>
                <a:gd name="connsiteY127" fmla="*/ 457509 h 691640"/>
                <a:gd name="connsiteX128" fmla="*/ 387474 w 906744"/>
                <a:gd name="connsiteY128" fmla="*/ 450155 h 691640"/>
                <a:gd name="connsiteX129" fmla="*/ 391248 w 906744"/>
                <a:gd name="connsiteY129" fmla="*/ 440128 h 691640"/>
                <a:gd name="connsiteX130" fmla="*/ 427251 w 906744"/>
                <a:gd name="connsiteY130" fmla="*/ 423015 h 691640"/>
                <a:gd name="connsiteX131" fmla="*/ 453472 w 906744"/>
                <a:gd name="connsiteY131" fmla="*/ 413657 h 691640"/>
                <a:gd name="connsiteX132" fmla="*/ 486999 w 906744"/>
                <a:gd name="connsiteY132" fmla="*/ 408777 h 691640"/>
                <a:gd name="connsiteX133" fmla="*/ 523530 w 906744"/>
                <a:gd name="connsiteY133" fmla="*/ 408576 h 691640"/>
                <a:gd name="connsiteX134" fmla="*/ 547884 w 906744"/>
                <a:gd name="connsiteY134" fmla="*/ 397413 h 691640"/>
                <a:gd name="connsiteX135" fmla="*/ 592086 w 906744"/>
                <a:gd name="connsiteY135" fmla="*/ 398616 h 691640"/>
                <a:gd name="connsiteX136" fmla="*/ 619728 w 906744"/>
                <a:gd name="connsiteY136" fmla="*/ 406638 h 691640"/>
                <a:gd name="connsiteX137" fmla="*/ 637344 w 906744"/>
                <a:gd name="connsiteY137" fmla="*/ 409044 h 691640"/>
                <a:gd name="connsiteX138" fmla="*/ 652241 w 906744"/>
                <a:gd name="connsiteY138" fmla="*/ 406437 h 691640"/>
                <a:gd name="connsiteX139" fmla="*/ 687635 w 906744"/>
                <a:gd name="connsiteY139" fmla="*/ 414526 h 691640"/>
                <a:gd name="connsiteX140" fmla="*/ 700299 w 906744"/>
                <a:gd name="connsiteY140" fmla="*/ 407641 h 691640"/>
                <a:gd name="connsiteX141" fmla="*/ 716535 w 906744"/>
                <a:gd name="connsiteY141" fmla="*/ 404064 h 691640"/>
                <a:gd name="connsiteX142" fmla="*/ 724652 w 906744"/>
                <a:gd name="connsiteY142" fmla="*/ 385715 h 691640"/>
                <a:gd name="connsiteX143" fmla="*/ 763659 w 906744"/>
                <a:gd name="connsiteY143" fmla="*/ 378194 h 691640"/>
                <a:gd name="connsiteX144" fmla="*/ 809201 w 906744"/>
                <a:gd name="connsiteY144" fmla="*/ 381303 h 691640"/>
                <a:gd name="connsiteX145" fmla="*/ 841064 w 906744"/>
                <a:gd name="connsiteY145" fmla="*/ 403028 h 691640"/>
                <a:gd name="connsiteX146" fmla="*/ 893425 w 906744"/>
                <a:gd name="connsiteY146" fmla="*/ 396343 h 691640"/>
                <a:gd name="connsiteX147" fmla="*/ 879827 w 906744"/>
                <a:gd name="connsiteY147" fmla="*/ 389659 h 691640"/>
                <a:gd name="connsiteX148" fmla="*/ 879299 w 906744"/>
                <a:gd name="connsiteY148" fmla="*/ 389425 h 691640"/>
                <a:gd name="connsiteX149" fmla="*/ 245450 w 906744"/>
                <a:gd name="connsiteY149" fmla="*/ 43892 h 691640"/>
                <a:gd name="connsiteX150" fmla="*/ 225885 w 906744"/>
                <a:gd name="connsiteY150" fmla="*/ 65717 h 691640"/>
                <a:gd name="connsiteX151" fmla="*/ 295335 w 906744"/>
                <a:gd name="connsiteY151" fmla="*/ 83499 h 691640"/>
                <a:gd name="connsiteX152" fmla="*/ 320744 w 906744"/>
                <a:gd name="connsiteY152" fmla="*/ 76647 h 691640"/>
                <a:gd name="connsiteX153" fmla="*/ 329389 w 906744"/>
                <a:gd name="connsiteY153" fmla="*/ 68993 h 691640"/>
                <a:gd name="connsiteX154" fmla="*/ 344245 w 906744"/>
                <a:gd name="connsiteY154" fmla="*/ 66586 h 691640"/>
                <a:gd name="connsiteX155" fmla="*/ 362308 w 906744"/>
                <a:gd name="connsiteY155" fmla="*/ 62509 h 691640"/>
                <a:gd name="connsiteX156" fmla="*/ 360156 w 906744"/>
                <a:gd name="connsiteY156" fmla="*/ 75076 h 691640"/>
                <a:gd name="connsiteX157" fmla="*/ 396159 w 906744"/>
                <a:gd name="connsiteY157" fmla="*/ 68057 h 691640"/>
                <a:gd name="connsiteX158" fmla="*/ 396159 w 906744"/>
                <a:gd name="connsiteY158" fmla="*/ 79254 h 691640"/>
                <a:gd name="connsiteX159" fmla="*/ 363363 w 906744"/>
                <a:gd name="connsiteY159" fmla="*/ 82997 h 691640"/>
                <a:gd name="connsiteX160" fmla="*/ 326832 w 906744"/>
                <a:gd name="connsiteY160" fmla="*/ 89014 h 691640"/>
                <a:gd name="connsiteX161" fmla="*/ 325493 w 906744"/>
                <a:gd name="connsiteY161" fmla="*/ 100311 h 691640"/>
                <a:gd name="connsiteX162" fmla="*/ 411584 w 906744"/>
                <a:gd name="connsiteY162" fmla="*/ 100311 h 691640"/>
                <a:gd name="connsiteX163" fmla="*/ 344002 w 906744"/>
                <a:gd name="connsiteY163" fmla="*/ 105592 h 691640"/>
                <a:gd name="connsiteX164" fmla="*/ 337426 w 906744"/>
                <a:gd name="connsiteY164" fmla="*/ 109402 h 691640"/>
                <a:gd name="connsiteX165" fmla="*/ 310718 w 906744"/>
                <a:gd name="connsiteY165" fmla="*/ 108800 h 691640"/>
                <a:gd name="connsiteX166" fmla="*/ 335518 w 906744"/>
                <a:gd name="connsiteY166" fmla="*/ 122905 h 691640"/>
                <a:gd name="connsiteX167" fmla="*/ 351024 w 906744"/>
                <a:gd name="connsiteY167" fmla="*/ 127751 h 691640"/>
                <a:gd name="connsiteX168" fmla="*/ 379843 w 906744"/>
                <a:gd name="connsiteY168" fmla="*/ 128955 h 691640"/>
                <a:gd name="connsiteX169" fmla="*/ 360075 w 906744"/>
                <a:gd name="connsiteY169" fmla="*/ 135038 h 691640"/>
                <a:gd name="connsiteX170" fmla="*/ 389706 w 906744"/>
                <a:gd name="connsiteY170" fmla="*/ 142993 h 691640"/>
                <a:gd name="connsiteX171" fmla="*/ 430580 w 906744"/>
                <a:gd name="connsiteY171" fmla="*/ 121033 h 691640"/>
                <a:gd name="connsiteX172" fmla="*/ 466136 w 906744"/>
                <a:gd name="connsiteY172" fmla="*/ 108800 h 691640"/>
                <a:gd name="connsiteX173" fmla="*/ 472184 w 906744"/>
                <a:gd name="connsiteY173" fmla="*/ 96333 h 691640"/>
                <a:gd name="connsiteX174" fmla="*/ 489678 w 906744"/>
                <a:gd name="connsiteY174" fmla="*/ 90350 h 691640"/>
                <a:gd name="connsiteX175" fmla="*/ 517807 w 906744"/>
                <a:gd name="connsiteY175" fmla="*/ 73104 h 691640"/>
                <a:gd name="connsiteX176" fmla="*/ 563064 w 906744"/>
                <a:gd name="connsiteY176" fmla="*/ 71132 h 691640"/>
                <a:gd name="connsiteX177" fmla="*/ 545895 w 906744"/>
                <a:gd name="connsiteY177" fmla="*/ 77817 h 691640"/>
                <a:gd name="connsiteX178" fmla="*/ 577068 w 906744"/>
                <a:gd name="connsiteY178" fmla="*/ 104555 h 691640"/>
                <a:gd name="connsiteX179" fmla="*/ 565987 w 906744"/>
                <a:gd name="connsiteY179" fmla="*/ 117724 h 691640"/>
                <a:gd name="connsiteX180" fmla="*/ 615060 w 906744"/>
                <a:gd name="connsiteY180" fmla="*/ 115017 h 691640"/>
                <a:gd name="connsiteX181" fmla="*/ 618875 w 906744"/>
                <a:gd name="connsiteY181" fmla="*/ 123841 h 691640"/>
                <a:gd name="connsiteX182" fmla="*/ 661657 w 906744"/>
                <a:gd name="connsiteY182" fmla="*/ 119997 h 691640"/>
                <a:gd name="connsiteX183" fmla="*/ 699365 w 906744"/>
                <a:gd name="connsiteY183" fmla="*/ 110371 h 691640"/>
                <a:gd name="connsiteX184" fmla="*/ 668801 w 906744"/>
                <a:gd name="connsiteY184" fmla="*/ 105124 h 691640"/>
                <a:gd name="connsiteX185" fmla="*/ 644447 w 906744"/>
                <a:gd name="connsiteY185" fmla="*/ 99943 h 691640"/>
                <a:gd name="connsiteX186" fmla="*/ 616968 w 906744"/>
                <a:gd name="connsiteY186" fmla="*/ 91119 h 691640"/>
                <a:gd name="connsiteX187" fmla="*/ 612909 w 906744"/>
                <a:gd name="connsiteY187" fmla="*/ 83365 h 691640"/>
                <a:gd name="connsiteX188" fmla="*/ 581817 w 906744"/>
                <a:gd name="connsiteY188" fmla="*/ 73104 h 691640"/>
                <a:gd name="connsiteX189" fmla="*/ 568017 w 906744"/>
                <a:gd name="connsiteY189" fmla="*/ 61205 h 691640"/>
                <a:gd name="connsiteX190" fmla="*/ 548980 w 906744"/>
                <a:gd name="connsiteY190" fmla="*/ 54821 h 691640"/>
                <a:gd name="connsiteX191" fmla="*/ 523489 w 906744"/>
                <a:gd name="connsiteY191" fmla="*/ 52816 h 691640"/>
                <a:gd name="connsiteX192" fmla="*/ 488948 w 906744"/>
                <a:gd name="connsiteY192" fmla="*/ 48805 h 691640"/>
                <a:gd name="connsiteX193" fmla="*/ 474579 w 906744"/>
                <a:gd name="connsiteY193" fmla="*/ 35202 h 691640"/>
                <a:gd name="connsiteX194" fmla="*/ 441580 w 906744"/>
                <a:gd name="connsiteY194" fmla="*/ 39346 h 691640"/>
                <a:gd name="connsiteX195" fmla="*/ 452133 w 906744"/>
                <a:gd name="connsiteY195" fmla="*/ 25810 h 691640"/>
                <a:gd name="connsiteX196" fmla="*/ 421447 w 906744"/>
                <a:gd name="connsiteY196" fmla="*/ 20328 h 691640"/>
                <a:gd name="connsiteX197" fmla="*/ 403506 w 906744"/>
                <a:gd name="connsiteY197" fmla="*/ 17153 h 691640"/>
                <a:gd name="connsiteX198" fmla="*/ 386337 w 906744"/>
                <a:gd name="connsiteY198" fmla="*/ 21598 h 691640"/>
                <a:gd name="connsiteX199" fmla="*/ 388407 w 906744"/>
                <a:gd name="connsiteY199" fmla="*/ 33430 h 691640"/>
                <a:gd name="connsiteX200" fmla="*/ 403141 w 906744"/>
                <a:gd name="connsiteY200" fmla="*/ 52080 h 691640"/>
                <a:gd name="connsiteX201" fmla="*/ 366285 w 906744"/>
                <a:gd name="connsiteY201" fmla="*/ 37942 h 691640"/>
                <a:gd name="connsiteX202" fmla="*/ 345990 w 906744"/>
                <a:gd name="connsiteY202" fmla="*/ 22367 h 691640"/>
                <a:gd name="connsiteX203" fmla="*/ 321840 w 906744"/>
                <a:gd name="connsiteY203" fmla="*/ 34667 h 691640"/>
                <a:gd name="connsiteX204" fmla="*/ 320541 w 906744"/>
                <a:gd name="connsiteY204" fmla="*/ 42521 h 691640"/>
                <a:gd name="connsiteX205" fmla="*/ 312423 w 906744"/>
                <a:gd name="connsiteY205" fmla="*/ 40650 h 691640"/>
                <a:gd name="connsiteX206" fmla="*/ 283320 w 906744"/>
                <a:gd name="connsiteY206" fmla="*/ 29820 h 691640"/>
                <a:gd name="connsiteX207" fmla="*/ 307674 w 906744"/>
                <a:gd name="connsiteY207" fmla="*/ 20629 h 691640"/>
                <a:gd name="connsiteX208" fmla="*/ 244597 w 906744"/>
                <a:gd name="connsiteY208" fmla="*/ 23637 h 691640"/>
                <a:gd name="connsiteX209" fmla="*/ 198609 w 906744"/>
                <a:gd name="connsiteY209" fmla="*/ 32762 h 691640"/>
                <a:gd name="connsiteX210" fmla="*/ 217402 w 906744"/>
                <a:gd name="connsiteY210" fmla="*/ 48972 h 691640"/>
                <a:gd name="connsiteX211" fmla="*/ 245490 w 906744"/>
                <a:gd name="connsiteY211" fmla="*/ 43959 h 691640"/>
                <a:gd name="connsiteX212" fmla="*/ 211557 w 906744"/>
                <a:gd name="connsiteY212" fmla="*/ 74441 h 691640"/>
                <a:gd name="connsiteX213" fmla="*/ 237819 w 906744"/>
                <a:gd name="connsiteY213" fmla="*/ 82830 h 691640"/>
                <a:gd name="connsiteX214" fmla="*/ 200517 w 906744"/>
                <a:gd name="connsiteY214" fmla="*/ 60035 h 691640"/>
                <a:gd name="connsiteX215" fmla="*/ 185661 w 906744"/>
                <a:gd name="connsiteY215" fmla="*/ 63846 h 691640"/>
                <a:gd name="connsiteX216" fmla="*/ 211557 w 906744"/>
                <a:gd name="connsiteY216" fmla="*/ 74441 h 691640"/>
                <a:gd name="connsiteX217" fmla="*/ 475391 w 906744"/>
                <a:gd name="connsiteY217" fmla="*/ 16618 h 691640"/>
                <a:gd name="connsiteX218" fmla="*/ 474579 w 906744"/>
                <a:gd name="connsiteY218" fmla="*/ 24372 h 691640"/>
                <a:gd name="connsiteX219" fmla="*/ 509324 w 906744"/>
                <a:gd name="connsiteY219" fmla="*/ 28717 h 691640"/>
                <a:gd name="connsiteX220" fmla="*/ 593020 w 906744"/>
                <a:gd name="connsiteY220" fmla="*/ 28049 h 691640"/>
                <a:gd name="connsiteX221" fmla="*/ 587987 w 906744"/>
                <a:gd name="connsiteY221" fmla="*/ 32394 h 691640"/>
                <a:gd name="connsiteX222" fmla="*/ 529619 w 906744"/>
                <a:gd name="connsiteY222" fmla="*/ 37341 h 691640"/>
                <a:gd name="connsiteX223" fmla="*/ 578326 w 906744"/>
                <a:gd name="connsiteY223" fmla="*/ 45997 h 691640"/>
                <a:gd name="connsiteX224" fmla="*/ 630646 w 906744"/>
                <a:gd name="connsiteY224" fmla="*/ 49340 h 691640"/>
                <a:gd name="connsiteX225" fmla="*/ 711096 w 906744"/>
                <a:gd name="connsiteY225" fmla="*/ 52381 h 691640"/>
                <a:gd name="connsiteX226" fmla="*/ 776364 w 906744"/>
                <a:gd name="connsiteY226" fmla="*/ 39012 h 691640"/>
                <a:gd name="connsiteX227" fmla="*/ 781843 w 906744"/>
                <a:gd name="connsiteY227" fmla="*/ 22935 h 691640"/>
                <a:gd name="connsiteX228" fmla="*/ 739833 w 906744"/>
                <a:gd name="connsiteY228" fmla="*/ 20428 h 691640"/>
                <a:gd name="connsiteX229" fmla="*/ 703302 w 906744"/>
                <a:gd name="connsiteY229" fmla="*/ 13409 h 691640"/>
                <a:gd name="connsiteX230" fmla="*/ 669816 w 906744"/>
                <a:gd name="connsiteY230" fmla="*/ 16752 h 691640"/>
                <a:gd name="connsiteX231" fmla="*/ 651672 w 906744"/>
                <a:gd name="connsiteY231" fmla="*/ 11872 h 691640"/>
                <a:gd name="connsiteX232" fmla="*/ 625979 w 906744"/>
                <a:gd name="connsiteY232" fmla="*/ 6858 h 691640"/>
                <a:gd name="connsiteX233" fmla="*/ 626222 w 906744"/>
                <a:gd name="connsiteY233" fmla="*/ 20896 h 691640"/>
                <a:gd name="connsiteX234" fmla="*/ 598337 w 906744"/>
                <a:gd name="connsiteY234" fmla="*/ 15782 h 691640"/>
                <a:gd name="connsiteX235" fmla="*/ 576013 w 906744"/>
                <a:gd name="connsiteY235" fmla="*/ 13376 h 691640"/>
                <a:gd name="connsiteX236" fmla="*/ 553080 w 906744"/>
                <a:gd name="connsiteY236" fmla="*/ 4652 h 691640"/>
                <a:gd name="connsiteX237" fmla="*/ 523287 w 906744"/>
                <a:gd name="connsiteY237" fmla="*/ 341 h 691640"/>
                <a:gd name="connsiteX238" fmla="*/ 511110 w 906744"/>
                <a:gd name="connsiteY238" fmla="*/ 5455 h 691640"/>
                <a:gd name="connsiteX239" fmla="*/ 500962 w 906744"/>
                <a:gd name="connsiteY239" fmla="*/ 10234 h 691640"/>
                <a:gd name="connsiteX240" fmla="*/ 482453 w 906744"/>
                <a:gd name="connsiteY240" fmla="*/ 5154 h 691640"/>
                <a:gd name="connsiteX241" fmla="*/ 466217 w 906744"/>
                <a:gd name="connsiteY241" fmla="*/ 3382 h 691640"/>
                <a:gd name="connsiteX242" fmla="*/ 454527 w 906744"/>
                <a:gd name="connsiteY242" fmla="*/ 9265 h 691640"/>
                <a:gd name="connsiteX243" fmla="*/ 475269 w 906744"/>
                <a:gd name="connsiteY243" fmla="*/ 16652 h 69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</a:cxnLst>
              <a:rect l="l" t="t" r="r" b="b"/>
              <a:pathLst>
                <a:path w="906744" h="691640">
                  <a:moveTo>
                    <a:pt x="879299" y="389425"/>
                  </a:moveTo>
                  <a:cubicBezTo>
                    <a:pt x="874429" y="396611"/>
                    <a:pt x="864647" y="387319"/>
                    <a:pt x="862333" y="385748"/>
                  </a:cubicBezTo>
                  <a:cubicBezTo>
                    <a:pt x="858274" y="382941"/>
                    <a:pt x="842809" y="380601"/>
                    <a:pt x="841307" y="377626"/>
                  </a:cubicBezTo>
                  <a:cubicBezTo>
                    <a:pt x="840211" y="375287"/>
                    <a:pt x="866960" y="381303"/>
                    <a:pt x="870492" y="380969"/>
                  </a:cubicBezTo>
                  <a:cubicBezTo>
                    <a:pt x="874875" y="380367"/>
                    <a:pt x="879137" y="379241"/>
                    <a:pt x="883115" y="377626"/>
                  </a:cubicBezTo>
                  <a:cubicBezTo>
                    <a:pt x="890056" y="375053"/>
                    <a:pt x="896794" y="376958"/>
                    <a:pt x="904465" y="376222"/>
                  </a:cubicBezTo>
                  <a:cubicBezTo>
                    <a:pt x="916642" y="375053"/>
                    <a:pt x="875281" y="358608"/>
                    <a:pt x="863876" y="358876"/>
                  </a:cubicBezTo>
                  <a:cubicBezTo>
                    <a:pt x="851699" y="359143"/>
                    <a:pt x="818131" y="343033"/>
                    <a:pt x="816548" y="360747"/>
                  </a:cubicBezTo>
                  <a:cubicBezTo>
                    <a:pt x="816020" y="366931"/>
                    <a:pt x="803356" y="364925"/>
                    <a:pt x="807943" y="361750"/>
                  </a:cubicBezTo>
                  <a:cubicBezTo>
                    <a:pt x="812002" y="359076"/>
                    <a:pt x="806075" y="356269"/>
                    <a:pt x="808470" y="353661"/>
                  </a:cubicBezTo>
                  <a:cubicBezTo>
                    <a:pt x="810865" y="351054"/>
                    <a:pt x="818252" y="353127"/>
                    <a:pt x="818496" y="349885"/>
                  </a:cubicBezTo>
                  <a:cubicBezTo>
                    <a:pt x="819470" y="336515"/>
                    <a:pt x="762929" y="342197"/>
                    <a:pt x="776121" y="350319"/>
                  </a:cubicBezTo>
                  <a:cubicBezTo>
                    <a:pt x="782736" y="354363"/>
                    <a:pt x="743649" y="371911"/>
                    <a:pt x="752781" y="355266"/>
                  </a:cubicBezTo>
                  <a:cubicBezTo>
                    <a:pt x="763619" y="335513"/>
                    <a:pt x="729239" y="354297"/>
                    <a:pt x="718320" y="359644"/>
                  </a:cubicBezTo>
                  <a:cubicBezTo>
                    <a:pt x="714951" y="361282"/>
                    <a:pt x="700704" y="369671"/>
                    <a:pt x="693642" y="366697"/>
                  </a:cubicBezTo>
                  <a:cubicBezTo>
                    <a:pt x="682602" y="362184"/>
                    <a:pt x="706468" y="356369"/>
                    <a:pt x="710162" y="354731"/>
                  </a:cubicBezTo>
                  <a:cubicBezTo>
                    <a:pt x="714951" y="352592"/>
                    <a:pt x="720106" y="344303"/>
                    <a:pt x="728306" y="344704"/>
                  </a:cubicBezTo>
                  <a:cubicBezTo>
                    <a:pt x="741781" y="345406"/>
                    <a:pt x="729199" y="336549"/>
                    <a:pt x="717874" y="337652"/>
                  </a:cubicBezTo>
                  <a:cubicBezTo>
                    <a:pt x="709756" y="338387"/>
                    <a:pt x="708741" y="345272"/>
                    <a:pt x="701029" y="344804"/>
                  </a:cubicBezTo>
                  <a:cubicBezTo>
                    <a:pt x="699081" y="344804"/>
                    <a:pt x="679111" y="341061"/>
                    <a:pt x="679232" y="341830"/>
                  </a:cubicBezTo>
                  <a:cubicBezTo>
                    <a:pt x="677974" y="343136"/>
                    <a:pt x="676148" y="343989"/>
                    <a:pt x="674118" y="344203"/>
                  </a:cubicBezTo>
                  <a:cubicBezTo>
                    <a:pt x="668192" y="346208"/>
                    <a:pt x="674443" y="348147"/>
                    <a:pt x="674118" y="350887"/>
                  </a:cubicBezTo>
                  <a:cubicBezTo>
                    <a:pt x="673306" y="355700"/>
                    <a:pt x="659100" y="347244"/>
                    <a:pt x="652606" y="348247"/>
                  </a:cubicBezTo>
                  <a:cubicBezTo>
                    <a:pt x="648547" y="348848"/>
                    <a:pt x="628536" y="356135"/>
                    <a:pt x="628252" y="358274"/>
                  </a:cubicBezTo>
                  <a:cubicBezTo>
                    <a:pt x="628252" y="356970"/>
                    <a:pt x="638805" y="375587"/>
                    <a:pt x="622854" y="368669"/>
                  </a:cubicBezTo>
                  <a:cubicBezTo>
                    <a:pt x="616643" y="365995"/>
                    <a:pt x="621311" y="360747"/>
                    <a:pt x="616197" y="357873"/>
                  </a:cubicBezTo>
                  <a:cubicBezTo>
                    <a:pt x="612787" y="355968"/>
                    <a:pt x="604994" y="354865"/>
                    <a:pt x="616197" y="351823"/>
                  </a:cubicBezTo>
                  <a:cubicBezTo>
                    <a:pt x="625573" y="349216"/>
                    <a:pt x="634827" y="350553"/>
                    <a:pt x="640551" y="344771"/>
                  </a:cubicBezTo>
                  <a:cubicBezTo>
                    <a:pt x="644366" y="340827"/>
                    <a:pt x="628780" y="339590"/>
                    <a:pt x="628374" y="344203"/>
                  </a:cubicBezTo>
                  <a:cubicBezTo>
                    <a:pt x="628008" y="350052"/>
                    <a:pt x="569113" y="340860"/>
                    <a:pt x="594562" y="354698"/>
                  </a:cubicBezTo>
                  <a:cubicBezTo>
                    <a:pt x="629429" y="373549"/>
                    <a:pt x="559330" y="350119"/>
                    <a:pt x="562090" y="360480"/>
                  </a:cubicBezTo>
                  <a:cubicBezTo>
                    <a:pt x="563186" y="364524"/>
                    <a:pt x="581533" y="364992"/>
                    <a:pt x="583116" y="368903"/>
                  </a:cubicBezTo>
                  <a:cubicBezTo>
                    <a:pt x="582710" y="367800"/>
                    <a:pt x="559330" y="367365"/>
                    <a:pt x="556124" y="366429"/>
                  </a:cubicBezTo>
                  <a:cubicBezTo>
                    <a:pt x="550482" y="364791"/>
                    <a:pt x="549102" y="359377"/>
                    <a:pt x="542689" y="359444"/>
                  </a:cubicBezTo>
                  <a:cubicBezTo>
                    <a:pt x="540497" y="359444"/>
                    <a:pt x="529375" y="360848"/>
                    <a:pt x="532419" y="362987"/>
                  </a:cubicBezTo>
                  <a:cubicBezTo>
                    <a:pt x="536803" y="366028"/>
                    <a:pt x="545408" y="364457"/>
                    <a:pt x="544921" y="369504"/>
                  </a:cubicBezTo>
                  <a:cubicBezTo>
                    <a:pt x="544921" y="371309"/>
                    <a:pt x="545652" y="378829"/>
                    <a:pt x="538508" y="377693"/>
                  </a:cubicBezTo>
                  <a:cubicBezTo>
                    <a:pt x="527589" y="376022"/>
                    <a:pt x="535910" y="371543"/>
                    <a:pt x="531689" y="368836"/>
                  </a:cubicBezTo>
                  <a:cubicBezTo>
                    <a:pt x="525681" y="365025"/>
                    <a:pt x="514154" y="371276"/>
                    <a:pt x="508349" y="370540"/>
                  </a:cubicBezTo>
                  <a:cubicBezTo>
                    <a:pt x="506807" y="370340"/>
                    <a:pt x="511069" y="361583"/>
                    <a:pt x="509730" y="360146"/>
                  </a:cubicBezTo>
                  <a:cubicBezTo>
                    <a:pt x="506239" y="356269"/>
                    <a:pt x="478760" y="359945"/>
                    <a:pt x="473199" y="361583"/>
                  </a:cubicBezTo>
                  <a:cubicBezTo>
                    <a:pt x="469789" y="362552"/>
                    <a:pt x="488948" y="374651"/>
                    <a:pt x="471332" y="372680"/>
                  </a:cubicBezTo>
                  <a:cubicBezTo>
                    <a:pt x="456719" y="371075"/>
                    <a:pt x="460495" y="382707"/>
                    <a:pt x="449454" y="378863"/>
                  </a:cubicBezTo>
                  <a:cubicBezTo>
                    <a:pt x="441336" y="376089"/>
                    <a:pt x="440200" y="372178"/>
                    <a:pt x="427251" y="375888"/>
                  </a:cubicBezTo>
                  <a:cubicBezTo>
                    <a:pt x="420798" y="377693"/>
                    <a:pt x="402897" y="385046"/>
                    <a:pt x="404034" y="389057"/>
                  </a:cubicBezTo>
                  <a:cubicBezTo>
                    <a:pt x="405495" y="393837"/>
                    <a:pt x="425425" y="384879"/>
                    <a:pt x="430539" y="390127"/>
                  </a:cubicBezTo>
                  <a:cubicBezTo>
                    <a:pt x="431595" y="391196"/>
                    <a:pt x="434598" y="400154"/>
                    <a:pt x="432122" y="400455"/>
                  </a:cubicBezTo>
                  <a:cubicBezTo>
                    <a:pt x="425587" y="400922"/>
                    <a:pt x="412355" y="391330"/>
                    <a:pt x="409473" y="399987"/>
                  </a:cubicBezTo>
                  <a:cubicBezTo>
                    <a:pt x="407322" y="406671"/>
                    <a:pt x="394901" y="391965"/>
                    <a:pt x="387554" y="395107"/>
                  </a:cubicBezTo>
                  <a:cubicBezTo>
                    <a:pt x="356057" y="408476"/>
                    <a:pt x="392709" y="385080"/>
                    <a:pt x="380127" y="384177"/>
                  </a:cubicBezTo>
                  <a:cubicBezTo>
                    <a:pt x="373876" y="383743"/>
                    <a:pt x="360116" y="394204"/>
                    <a:pt x="354393" y="395809"/>
                  </a:cubicBezTo>
                  <a:cubicBezTo>
                    <a:pt x="351267" y="396678"/>
                    <a:pt x="340186" y="397914"/>
                    <a:pt x="338157" y="399719"/>
                  </a:cubicBezTo>
                  <a:cubicBezTo>
                    <a:pt x="336127" y="401524"/>
                    <a:pt x="343840" y="401791"/>
                    <a:pt x="337142" y="404098"/>
                  </a:cubicBezTo>
                  <a:cubicBezTo>
                    <a:pt x="327116" y="407440"/>
                    <a:pt x="321880" y="412520"/>
                    <a:pt x="310272" y="414827"/>
                  </a:cubicBezTo>
                  <a:cubicBezTo>
                    <a:pt x="306213" y="415562"/>
                    <a:pt x="270412" y="421511"/>
                    <a:pt x="274431" y="424553"/>
                  </a:cubicBezTo>
                  <a:cubicBezTo>
                    <a:pt x="276826" y="426425"/>
                    <a:pt x="313559" y="417133"/>
                    <a:pt x="318471" y="415729"/>
                  </a:cubicBezTo>
                  <a:cubicBezTo>
                    <a:pt x="324925" y="413824"/>
                    <a:pt x="344692" y="407139"/>
                    <a:pt x="353094" y="410114"/>
                  </a:cubicBezTo>
                  <a:cubicBezTo>
                    <a:pt x="366813" y="415027"/>
                    <a:pt x="370142" y="407908"/>
                    <a:pt x="381506" y="406237"/>
                  </a:cubicBezTo>
                  <a:cubicBezTo>
                    <a:pt x="387554" y="405301"/>
                    <a:pt x="402410" y="408209"/>
                    <a:pt x="395551" y="411785"/>
                  </a:cubicBezTo>
                  <a:cubicBezTo>
                    <a:pt x="388691" y="415361"/>
                    <a:pt x="397621" y="419807"/>
                    <a:pt x="392831" y="421311"/>
                  </a:cubicBezTo>
                  <a:cubicBezTo>
                    <a:pt x="381669" y="424921"/>
                    <a:pt x="383374" y="415930"/>
                    <a:pt x="374160" y="415361"/>
                  </a:cubicBezTo>
                  <a:cubicBezTo>
                    <a:pt x="372577" y="415361"/>
                    <a:pt x="349806" y="423450"/>
                    <a:pt x="346884" y="424586"/>
                  </a:cubicBezTo>
                  <a:cubicBezTo>
                    <a:pt x="337873" y="428263"/>
                    <a:pt x="342825" y="434613"/>
                    <a:pt x="336330" y="437956"/>
                  </a:cubicBezTo>
                  <a:cubicBezTo>
                    <a:pt x="329836" y="441298"/>
                    <a:pt x="328212" y="437722"/>
                    <a:pt x="322733" y="443671"/>
                  </a:cubicBezTo>
                  <a:cubicBezTo>
                    <a:pt x="316279" y="450724"/>
                    <a:pt x="303290" y="456640"/>
                    <a:pt x="291966" y="461854"/>
                  </a:cubicBezTo>
                  <a:cubicBezTo>
                    <a:pt x="280641" y="467068"/>
                    <a:pt x="291641" y="469407"/>
                    <a:pt x="286121" y="474387"/>
                  </a:cubicBezTo>
                  <a:cubicBezTo>
                    <a:pt x="282062" y="478064"/>
                    <a:pt x="269885" y="475992"/>
                    <a:pt x="263228" y="476025"/>
                  </a:cubicBezTo>
                  <a:cubicBezTo>
                    <a:pt x="252350" y="476025"/>
                    <a:pt x="257424" y="483746"/>
                    <a:pt x="257302" y="486988"/>
                  </a:cubicBezTo>
                  <a:cubicBezTo>
                    <a:pt x="257505" y="489101"/>
                    <a:pt x="256165" y="491116"/>
                    <a:pt x="253893" y="492102"/>
                  </a:cubicBezTo>
                  <a:cubicBezTo>
                    <a:pt x="246018" y="495444"/>
                    <a:pt x="253893" y="499923"/>
                    <a:pt x="253893" y="503700"/>
                  </a:cubicBezTo>
                  <a:cubicBezTo>
                    <a:pt x="253893" y="506608"/>
                    <a:pt x="237657" y="503433"/>
                    <a:pt x="234369" y="503967"/>
                  </a:cubicBezTo>
                  <a:cubicBezTo>
                    <a:pt x="228037" y="504937"/>
                    <a:pt x="227306" y="507811"/>
                    <a:pt x="218133" y="508212"/>
                  </a:cubicBezTo>
                  <a:cubicBezTo>
                    <a:pt x="205347" y="508780"/>
                    <a:pt x="205022" y="510117"/>
                    <a:pt x="215048" y="514496"/>
                  </a:cubicBezTo>
                  <a:cubicBezTo>
                    <a:pt x="244192" y="527297"/>
                    <a:pt x="216469" y="518741"/>
                    <a:pt x="202871" y="522952"/>
                  </a:cubicBezTo>
                  <a:cubicBezTo>
                    <a:pt x="194307" y="525592"/>
                    <a:pt x="181074" y="527598"/>
                    <a:pt x="175839" y="532143"/>
                  </a:cubicBezTo>
                  <a:cubicBezTo>
                    <a:pt x="169750" y="537424"/>
                    <a:pt x="168086" y="536188"/>
                    <a:pt x="159278" y="539530"/>
                  </a:cubicBezTo>
                  <a:cubicBezTo>
                    <a:pt x="151647" y="542471"/>
                    <a:pt x="155219" y="548722"/>
                    <a:pt x="147426" y="551629"/>
                  </a:cubicBezTo>
                  <a:cubicBezTo>
                    <a:pt x="141297" y="553936"/>
                    <a:pt x="137603" y="546549"/>
                    <a:pt x="133666" y="545246"/>
                  </a:cubicBezTo>
                  <a:cubicBezTo>
                    <a:pt x="125548" y="542572"/>
                    <a:pt x="115928" y="545647"/>
                    <a:pt x="119946" y="550326"/>
                  </a:cubicBezTo>
                  <a:cubicBezTo>
                    <a:pt x="125020" y="556242"/>
                    <a:pt x="129485" y="556409"/>
                    <a:pt x="115319" y="557579"/>
                  </a:cubicBezTo>
                  <a:cubicBezTo>
                    <a:pt x="108338" y="558147"/>
                    <a:pt x="67220" y="567372"/>
                    <a:pt x="74080" y="569210"/>
                  </a:cubicBezTo>
                  <a:cubicBezTo>
                    <a:pt x="75500" y="569611"/>
                    <a:pt x="95187" y="572285"/>
                    <a:pt x="90600" y="574224"/>
                  </a:cubicBezTo>
                  <a:cubicBezTo>
                    <a:pt x="84633" y="576664"/>
                    <a:pt x="67869" y="574224"/>
                    <a:pt x="61334" y="573689"/>
                  </a:cubicBezTo>
                  <a:cubicBezTo>
                    <a:pt x="50659" y="572653"/>
                    <a:pt x="53216" y="580842"/>
                    <a:pt x="43110" y="580006"/>
                  </a:cubicBezTo>
                  <a:cubicBezTo>
                    <a:pt x="21678" y="578268"/>
                    <a:pt x="31664" y="586691"/>
                    <a:pt x="29593" y="590033"/>
                  </a:cubicBezTo>
                  <a:cubicBezTo>
                    <a:pt x="27929" y="593008"/>
                    <a:pt x="7959" y="587660"/>
                    <a:pt x="1708" y="594478"/>
                  </a:cubicBezTo>
                  <a:cubicBezTo>
                    <a:pt x="-5963" y="602901"/>
                    <a:pt x="13885" y="601163"/>
                    <a:pt x="12749" y="606143"/>
                  </a:cubicBezTo>
                  <a:cubicBezTo>
                    <a:pt x="12302" y="608182"/>
                    <a:pt x="5118" y="609486"/>
                    <a:pt x="5564" y="611458"/>
                  </a:cubicBezTo>
                  <a:cubicBezTo>
                    <a:pt x="6092" y="614131"/>
                    <a:pt x="19162" y="612293"/>
                    <a:pt x="11125" y="616805"/>
                  </a:cubicBezTo>
                  <a:cubicBezTo>
                    <a:pt x="7066" y="619078"/>
                    <a:pt x="-1052" y="619613"/>
                    <a:pt x="1586" y="623490"/>
                  </a:cubicBezTo>
                  <a:cubicBezTo>
                    <a:pt x="5199" y="628804"/>
                    <a:pt x="8771" y="627401"/>
                    <a:pt x="2520" y="632247"/>
                  </a:cubicBezTo>
                  <a:cubicBezTo>
                    <a:pt x="-7100" y="639767"/>
                    <a:pt x="14413" y="637829"/>
                    <a:pt x="18756" y="638364"/>
                  </a:cubicBezTo>
                  <a:cubicBezTo>
                    <a:pt x="24682" y="639099"/>
                    <a:pt x="21759" y="643110"/>
                    <a:pt x="30527" y="640770"/>
                  </a:cubicBezTo>
                  <a:cubicBezTo>
                    <a:pt x="37224" y="638999"/>
                    <a:pt x="42704" y="634085"/>
                    <a:pt x="50294" y="633317"/>
                  </a:cubicBezTo>
                  <a:cubicBezTo>
                    <a:pt x="54962" y="632949"/>
                    <a:pt x="56870" y="635723"/>
                    <a:pt x="56464" y="637495"/>
                  </a:cubicBezTo>
                  <a:cubicBezTo>
                    <a:pt x="55733" y="640670"/>
                    <a:pt x="48995" y="639767"/>
                    <a:pt x="44693" y="640402"/>
                  </a:cubicBezTo>
                  <a:cubicBezTo>
                    <a:pt x="36210" y="641672"/>
                    <a:pt x="31460" y="655443"/>
                    <a:pt x="21881" y="648491"/>
                  </a:cubicBezTo>
                  <a:cubicBezTo>
                    <a:pt x="20014" y="647154"/>
                    <a:pt x="21678" y="643010"/>
                    <a:pt x="15955" y="643812"/>
                  </a:cubicBezTo>
                  <a:cubicBezTo>
                    <a:pt x="11896" y="644380"/>
                    <a:pt x="7432" y="646686"/>
                    <a:pt x="7310" y="648926"/>
                  </a:cubicBezTo>
                  <a:cubicBezTo>
                    <a:pt x="7310" y="651934"/>
                    <a:pt x="13641" y="652736"/>
                    <a:pt x="10476" y="656145"/>
                  </a:cubicBezTo>
                  <a:cubicBezTo>
                    <a:pt x="8933" y="657816"/>
                    <a:pt x="3494" y="661660"/>
                    <a:pt x="8974" y="663131"/>
                  </a:cubicBezTo>
                  <a:cubicBezTo>
                    <a:pt x="22166" y="666673"/>
                    <a:pt x="28051" y="652602"/>
                    <a:pt x="40350" y="657749"/>
                  </a:cubicBezTo>
                  <a:cubicBezTo>
                    <a:pt x="42339" y="658551"/>
                    <a:pt x="47372" y="661794"/>
                    <a:pt x="42541" y="662830"/>
                  </a:cubicBezTo>
                  <a:cubicBezTo>
                    <a:pt x="34180" y="664668"/>
                    <a:pt x="39294" y="667208"/>
                    <a:pt x="34423" y="669849"/>
                  </a:cubicBezTo>
                  <a:cubicBezTo>
                    <a:pt x="29553" y="672489"/>
                    <a:pt x="12830" y="672222"/>
                    <a:pt x="25940" y="678071"/>
                  </a:cubicBezTo>
                  <a:cubicBezTo>
                    <a:pt x="35885" y="682225"/>
                    <a:pt x="46641" y="684993"/>
                    <a:pt x="57682" y="686260"/>
                  </a:cubicBezTo>
                  <a:cubicBezTo>
                    <a:pt x="72172" y="687830"/>
                    <a:pt x="81224" y="692443"/>
                    <a:pt x="97419" y="691039"/>
                  </a:cubicBezTo>
                  <a:cubicBezTo>
                    <a:pt x="112315" y="689736"/>
                    <a:pt x="126400" y="683185"/>
                    <a:pt x="137400" y="678405"/>
                  </a:cubicBezTo>
                  <a:cubicBezTo>
                    <a:pt x="145477" y="675213"/>
                    <a:pt x="153189" y="671420"/>
                    <a:pt x="160414" y="667075"/>
                  </a:cubicBezTo>
                  <a:cubicBezTo>
                    <a:pt x="168532" y="661760"/>
                    <a:pt x="185864" y="669481"/>
                    <a:pt x="188827" y="659253"/>
                  </a:cubicBezTo>
                  <a:cubicBezTo>
                    <a:pt x="190653" y="652769"/>
                    <a:pt x="194266" y="649494"/>
                    <a:pt x="201004" y="657281"/>
                  </a:cubicBezTo>
                  <a:cubicBezTo>
                    <a:pt x="203805" y="660624"/>
                    <a:pt x="205915" y="660457"/>
                    <a:pt x="210461" y="662729"/>
                  </a:cubicBezTo>
                  <a:cubicBezTo>
                    <a:pt x="213181" y="664070"/>
                    <a:pt x="214764" y="666570"/>
                    <a:pt x="214520" y="669180"/>
                  </a:cubicBezTo>
                  <a:cubicBezTo>
                    <a:pt x="218092" y="668769"/>
                    <a:pt x="221745" y="669033"/>
                    <a:pt x="225155" y="669949"/>
                  </a:cubicBezTo>
                  <a:cubicBezTo>
                    <a:pt x="230553" y="672021"/>
                    <a:pt x="237007" y="643210"/>
                    <a:pt x="242690" y="642776"/>
                  </a:cubicBezTo>
                  <a:cubicBezTo>
                    <a:pt x="255272" y="641840"/>
                    <a:pt x="261767" y="643244"/>
                    <a:pt x="263472" y="635656"/>
                  </a:cubicBezTo>
                  <a:cubicBezTo>
                    <a:pt x="264730" y="630275"/>
                    <a:pt x="250808" y="621117"/>
                    <a:pt x="254501" y="617641"/>
                  </a:cubicBezTo>
                  <a:cubicBezTo>
                    <a:pt x="258195" y="614165"/>
                    <a:pt x="281900" y="613931"/>
                    <a:pt x="268911" y="605074"/>
                  </a:cubicBezTo>
                  <a:cubicBezTo>
                    <a:pt x="261645" y="600094"/>
                    <a:pt x="244841" y="600328"/>
                    <a:pt x="248616" y="592105"/>
                  </a:cubicBezTo>
                  <a:cubicBezTo>
                    <a:pt x="250036" y="589131"/>
                    <a:pt x="253689" y="586758"/>
                    <a:pt x="252675" y="583516"/>
                  </a:cubicBezTo>
                  <a:cubicBezTo>
                    <a:pt x="251498" y="578970"/>
                    <a:pt x="245693" y="575795"/>
                    <a:pt x="247358" y="570982"/>
                  </a:cubicBezTo>
                  <a:cubicBezTo>
                    <a:pt x="249834" y="563929"/>
                    <a:pt x="243948" y="556409"/>
                    <a:pt x="248941" y="549791"/>
                  </a:cubicBezTo>
                  <a:cubicBezTo>
                    <a:pt x="253933" y="543173"/>
                    <a:pt x="268099" y="535285"/>
                    <a:pt x="284010" y="534149"/>
                  </a:cubicBezTo>
                  <a:cubicBezTo>
                    <a:pt x="298135" y="533146"/>
                    <a:pt x="309865" y="540366"/>
                    <a:pt x="314655" y="529135"/>
                  </a:cubicBezTo>
                  <a:cubicBezTo>
                    <a:pt x="317700" y="521949"/>
                    <a:pt x="297242" y="524289"/>
                    <a:pt x="299799" y="518206"/>
                  </a:cubicBezTo>
                  <a:cubicBezTo>
                    <a:pt x="304589" y="506842"/>
                    <a:pt x="328212" y="501494"/>
                    <a:pt x="327197" y="488125"/>
                  </a:cubicBezTo>
                  <a:cubicBezTo>
                    <a:pt x="326021" y="473151"/>
                    <a:pt x="335802" y="481039"/>
                    <a:pt x="355610" y="474989"/>
                  </a:cubicBezTo>
                  <a:cubicBezTo>
                    <a:pt x="361780" y="473084"/>
                    <a:pt x="368193" y="461285"/>
                    <a:pt x="373145" y="457509"/>
                  </a:cubicBezTo>
                  <a:cubicBezTo>
                    <a:pt x="377610" y="454674"/>
                    <a:pt x="382400" y="452211"/>
                    <a:pt x="387474" y="450155"/>
                  </a:cubicBezTo>
                  <a:cubicBezTo>
                    <a:pt x="394861" y="446412"/>
                    <a:pt x="385565" y="443471"/>
                    <a:pt x="391248" y="440128"/>
                  </a:cubicBezTo>
                  <a:cubicBezTo>
                    <a:pt x="402248" y="433076"/>
                    <a:pt x="403101" y="422481"/>
                    <a:pt x="427251" y="423015"/>
                  </a:cubicBezTo>
                  <a:cubicBezTo>
                    <a:pt x="444786" y="423383"/>
                    <a:pt x="455258" y="423015"/>
                    <a:pt x="453472" y="413657"/>
                  </a:cubicBezTo>
                  <a:cubicBezTo>
                    <a:pt x="451199" y="402025"/>
                    <a:pt x="469992" y="408242"/>
                    <a:pt x="486999" y="408777"/>
                  </a:cubicBezTo>
                  <a:cubicBezTo>
                    <a:pt x="496822" y="409044"/>
                    <a:pt x="523043" y="420074"/>
                    <a:pt x="523530" y="408576"/>
                  </a:cubicBezTo>
                  <a:cubicBezTo>
                    <a:pt x="523855" y="401624"/>
                    <a:pt x="529984" y="391296"/>
                    <a:pt x="547884" y="397413"/>
                  </a:cubicBezTo>
                  <a:cubicBezTo>
                    <a:pt x="560061" y="385280"/>
                    <a:pt x="578083" y="390728"/>
                    <a:pt x="592086" y="398616"/>
                  </a:cubicBezTo>
                  <a:cubicBezTo>
                    <a:pt x="600204" y="403329"/>
                    <a:pt x="607876" y="404766"/>
                    <a:pt x="619728" y="406638"/>
                  </a:cubicBezTo>
                  <a:cubicBezTo>
                    <a:pt x="625532" y="407684"/>
                    <a:pt x="631418" y="408486"/>
                    <a:pt x="637344" y="409044"/>
                  </a:cubicBezTo>
                  <a:cubicBezTo>
                    <a:pt x="645746" y="409646"/>
                    <a:pt x="645462" y="406671"/>
                    <a:pt x="652241" y="406437"/>
                  </a:cubicBezTo>
                  <a:cubicBezTo>
                    <a:pt x="666203" y="405936"/>
                    <a:pt x="678056" y="411217"/>
                    <a:pt x="687635" y="414526"/>
                  </a:cubicBezTo>
                  <a:cubicBezTo>
                    <a:pt x="693966" y="416698"/>
                    <a:pt x="699812" y="409479"/>
                    <a:pt x="700299" y="407641"/>
                  </a:cubicBezTo>
                  <a:cubicBezTo>
                    <a:pt x="702206" y="401691"/>
                    <a:pt x="707239" y="405401"/>
                    <a:pt x="716535" y="404064"/>
                  </a:cubicBezTo>
                  <a:cubicBezTo>
                    <a:pt x="729158" y="402293"/>
                    <a:pt x="711989" y="389458"/>
                    <a:pt x="724652" y="385715"/>
                  </a:cubicBezTo>
                  <a:cubicBezTo>
                    <a:pt x="740888" y="381035"/>
                    <a:pt x="743121" y="377125"/>
                    <a:pt x="763659" y="378194"/>
                  </a:cubicBezTo>
                  <a:cubicBezTo>
                    <a:pt x="785862" y="379331"/>
                    <a:pt x="789068" y="371510"/>
                    <a:pt x="809201" y="381303"/>
                  </a:cubicBezTo>
                  <a:cubicBezTo>
                    <a:pt x="829334" y="391096"/>
                    <a:pt x="842687" y="387352"/>
                    <a:pt x="841064" y="403028"/>
                  </a:cubicBezTo>
                  <a:cubicBezTo>
                    <a:pt x="851617" y="398817"/>
                    <a:pt x="879584" y="395608"/>
                    <a:pt x="893425" y="396343"/>
                  </a:cubicBezTo>
                  <a:cubicBezTo>
                    <a:pt x="925125" y="397814"/>
                    <a:pt x="886362" y="380066"/>
                    <a:pt x="879827" y="389659"/>
                  </a:cubicBezTo>
                  <a:cubicBezTo>
                    <a:pt x="876823" y="393068"/>
                    <a:pt x="881573" y="386149"/>
                    <a:pt x="879299" y="389425"/>
                  </a:cubicBezTo>
                  <a:close/>
                  <a:moveTo>
                    <a:pt x="245450" y="43892"/>
                  </a:moveTo>
                  <a:cubicBezTo>
                    <a:pt x="255394" y="44861"/>
                    <a:pt x="217362" y="59333"/>
                    <a:pt x="225885" y="65717"/>
                  </a:cubicBezTo>
                  <a:cubicBezTo>
                    <a:pt x="238874" y="75410"/>
                    <a:pt x="270818" y="84267"/>
                    <a:pt x="295335" y="83499"/>
                  </a:cubicBezTo>
                  <a:cubicBezTo>
                    <a:pt x="306821" y="83164"/>
                    <a:pt x="316360" y="81928"/>
                    <a:pt x="320744" y="76647"/>
                  </a:cubicBezTo>
                  <a:cubicBezTo>
                    <a:pt x="322773" y="74207"/>
                    <a:pt x="324113" y="70530"/>
                    <a:pt x="329389" y="68993"/>
                  </a:cubicBezTo>
                  <a:cubicBezTo>
                    <a:pt x="334666" y="67455"/>
                    <a:pt x="341039" y="69461"/>
                    <a:pt x="344245" y="66586"/>
                  </a:cubicBezTo>
                  <a:cubicBezTo>
                    <a:pt x="346396" y="64648"/>
                    <a:pt x="356828" y="56559"/>
                    <a:pt x="362308" y="62509"/>
                  </a:cubicBezTo>
                  <a:cubicBezTo>
                    <a:pt x="366367" y="66586"/>
                    <a:pt x="346559" y="74508"/>
                    <a:pt x="360156" y="75076"/>
                  </a:cubicBezTo>
                  <a:cubicBezTo>
                    <a:pt x="376068" y="75778"/>
                    <a:pt x="383130" y="70230"/>
                    <a:pt x="396159" y="68057"/>
                  </a:cubicBezTo>
                  <a:cubicBezTo>
                    <a:pt x="408336" y="66052"/>
                    <a:pt x="406023" y="77650"/>
                    <a:pt x="396159" y="79254"/>
                  </a:cubicBezTo>
                  <a:cubicBezTo>
                    <a:pt x="385565" y="80992"/>
                    <a:pt x="373186" y="80123"/>
                    <a:pt x="363363" y="82997"/>
                  </a:cubicBezTo>
                  <a:cubicBezTo>
                    <a:pt x="351754" y="86908"/>
                    <a:pt x="339374" y="88950"/>
                    <a:pt x="326832" y="89014"/>
                  </a:cubicBezTo>
                  <a:cubicBezTo>
                    <a:pt x="294360" y="90183"/>
                    <a:pt x="286242" y="102182"/>
                    <a:pt x="325493" y="100311"/>
                  </a:cubicBezTo>
                  <a:cubicBezTo>
                    <a:pt x="341404" y="99509"/>
                    <a:pt x="399731" y="93225"/>
                    <a:pt x="411584" y="100311"/>
                  </a:cubicBezTo>
                  <a:cubicBezTo>
                    <a:pt x="411056" y="99943"/>
                    <a:pt x="349847" y="102851"/>
                    <a:pt x="344002" y="105592"/>
                  </a:cubicBezTo>
                  <a:cubicBezTo>
                    <a:pt x="340552" y="107163"/>
                    <a:pt x="343352" y="109502"/>
                    <a:pt x="337426" y="109402"/>
                  </a:cubicBezTo>
                  <a:cubicBezTo>
                    <a:pt x="328740" y="109235"/>
                    <a:pt x="319283" y="107564"/>
                    <a:pt x="310718" y="108800"/>
                  </a:cubicBezTo>
                  <a:cubicBezTo>
                    <a:pt x="288678" y="112143"/>
                    <a:pt x="331256" y="121702"/>
                    <a:pt x="335518" y="122905"/>
                  </a:cubicBezTo>
                  <a:cubicBezTo>
                    <a:pt x="341648" y="124610"/>
                    <a:pt x="343231" y="127417"/>
                    <a:pt x="351024" y="127751"/>
                  </a:cubicBezTo>
                  <a:cubicBezTo>
                    <a:pt x="353703" y="127751"/>
                    <a:pt x="380410" y="126615"/>
                    <a:pt x="379843" y="128955"/>
                  </a:cubicBezTo>
                  <a:cubicBezTo>
                    <a:pt x="379356" y="130726"/>
                    <a:pt x="356666" y="133433"/>
                    <a:pt x="360075" y="135038"/>
                  </a:cubicBezTo>
                  <a:cubicBezTo>
                    <a:pt x="367868" y="138681"/>
                    <a:pt x="383820" y="138213"/>
                    <a:pt x="389706" y="142993"/>
                  </a:cubicBezTo>
                  <a:cubicBezTo>
                    <a:pt x="405455" y="155727"/>
                    <a:pt x="426236" y="123774"/>
                    <a:pt x="430580" y="121033"/>
                  </a:cubicBezTo>
                  <a:cubicBezTo>
                    <a:pt x="440605" y="114349"/>
                    <a:pt x="451483" y="112477"/>
                    <a:pt x="466136" y="108800"/>
                  </a:cubicBezTo>
                  <a:cubicBezTo>
                    <a:pt x="477623" y="105892"/>
                    <a:pt x="469627" y="101013"/>
                    <a:pt x="472184" y="96333"/>
                  </a:cubicBezTo>
                  <a:cubicBezTo>
                    <a:pt x="474742" y="91654"/>
                    <a:pt x="493778" y="94395"/>
                    <a:pt x="489678" y="90350"/>
                  </a:cubicBezTo>
                  <a:cubicBezTo>
                    <a:pt x="481804" y="82630"/>
                    <a:pt x="502505" y="74140"/>
                    <a:pt x="517807" y="73104"/>
                  </a:cubicBezTo>
                  <a:cubicBezTo>
                    <a:pt x="528442" y="72369"/>
                    <a:pt x="553648" y="69461"/>
                    <a:pt x="563064" y="71132"/>
                  </a:cubicBezTo>
                  <a:cubicBezTo>
                    <a:pt x="578286" y="73806"/>
                    <a:pt x="547275" y="76413"/>
                    <a:pt x="545895" y="77817"/>
                  </a:cubicBezTo>
                  <a:cubicBezTo>
                    <a:pt x="535017" y="88111"/>
                    <a:pt x="590097" y="92389"/>
                    <a:pt x="577068" y="104555"/>
                  </a:cubicBezTo>
                  <a:cubicBezTo>
                    <a:pt x="574470" y="106962"/>
                    <a:pt x="551253" y="115886"/>
                    <a:pt x="565987" y="117724"/>
                  </a:cubicBezTo>
                  <a:cubicBezTo>
                    <a:pt x="583238" y="119897"/>
                    <a:pt x="598459" y="113847"/>
                    <a:pt x="615060" y="115017"/>
                  </a:cubicBezTo>
                  <a:cubicBezTo>
                    <a:pt x="623178" y="115585"/>
                    <a:pt x="617455" y="121535"/>
                    <a:pt x="618875" y="123841"/>
                  </a:cubicBezTo>
                  <a:cubicBezTo>
                    <a:pt x="624274" y="132464"/>
                    <a:pt x="655406" y="122370"/>
                    <a:pt x="661657" y="119997"/>
                  </a:cubicBezTo>
                  <a:cubicBezTo>
                    <a:pt x="672657" y="115752"/>
                    <a:pt x="689745" y="114382"/>
                    <a:pt x="699365" y="110371"/>
                  </a:cubicBezTo>
                  <a:cubicBezTo>
                    <a:pt x="713653" y="104355"/>
                    <a:pt x="670952" y="105023"/>
                    <a:pt x="668801" y="105124"/>
                  </a:cubicBezTo>
                  <a:cubicBezTo>
                    <a:pt x="665351" y="105124"/>
                    <a:pt x="633934" y="103854"/>
                    <a:pt x="644447" y="99943"/>
                  </a:cubicBezTo>
                  <a:cubicBezTo>
                    <a:pt x="665229" y="92256"/>
                    <a:pt x="626709" y="92623"/>
                    <a:pt x="616968" y="91119"/>
                  </a:cubicBezTo>
                  <a:cubicBezTo>
                    <a:pt x="596389" y="87777"/>
                    <a:pt x="617820" y="87944"/>
                    <a:pt x="612909" y="83365"/>
                  </a:cubicBezTo>
                  <a:cubicBezTo>
                    <a:pt x="606983" y="78051"/>
                    <a:pt x="582791" y="77883"/>
                    <a:pt x="581817" y="73104"/>
                  </a:cubicBezTo>
                  <a:cubicBezTo>
                    <a:pt x="580356" y="65784"/>
                    <a:pt x="585227" y="64547"/>
                    <a:pt x="568017" y="61205"/>
                  </a:cubicBezTo>
                  <a:cubicBezTo>
                    <a:pt x="556368" y="58966"/>
                    <a:pt x="559452" y="55924"/>
                    <a:pt x="548980" y="54821"/>
                  </a:cubicBezTo>
                  <a:cubicBezTo>
                    <a:pt x="541390" y="53986"/>
                    <a:pt x="523124" y="60871"/>
                    <a:pt x="523489" y="52816"/>
                  </a:cubicBezTo>
                  <a:cubicBezTo>
                    <a:pt x="523733" y="47501"/>
                    <a:pt x="495280" y="48738"/>
                    <a:pt x="488948" y="48805"/>
                  </a:cubicBezTo>
                  <a:cubicBezTo>
                    <a:pt x="479653" y="48805"/>
                    <a:pt x="481195" y="37675"/>
                    <a:pt x="474579" y="35202"/>
                  </a:cubicBezTo>
                  <a:cubicBezTo>
                    <a:pt x="467963" y="32728"/>
                    <a:pt x="441863" y="42354"/>
                    <a:pt x="441580" y="39346"/>
                  </a:cubicBezTo>
                  <a:cubicBezTo>
                    <a:pt x="441133" y="34934"/>
                    <a:pt x="460535" y="29987"/>
                    <a:pt x="452133" y="25810"/>
                  </a:cubicBezTo>
                  <a:cubicBezTo>
                    <a:pt x="442594" y="21942"/>
                    <a:pt x="432082" y="20061"/>
                    <a:pt x="421447" y="20328"/>
                  </a:cubicBezTo>
                  <a:cubicBezTo>
                    <a:pt x="409270" y="20729"/>
                    <a:pt x="413329" y="24172"/>
                    <a:pt x="403506" y="17153"/>
                  </a:cubicBezTo>
                  <a:cubicBezTo>
                    <a:pt x="388772" y="6758"/>
                    <a:pt x="395023" y="20863"/>
                    <a:pt x="386337" y="21598"/>
                  </a:cubicBezTo>
                  <a:cubicBezTo>
                    <a:pt x="365433" y="23370"/>
                    <a:pt x="382927" y="29286"/>
                    <a:pt x="388407" y="33430"/>
                  </a:cubicBezTo>
                  <a:cubicBezTo>
                    <a:pt x="395185" y="38504"/>
                    <a:pt x="400259" y="44924"/>
                    <a:pt x="403141" y="52080"/>
                  </a:cubicBezTo>
                  <a:cubicBezTo>
                    <a:pt x="407200" y="62408"/>
                    <a:pt x="369898" y="41117"/>
                    <a:pt x="366285" y="37942"/>
                  </a:cubicBezTo>
                  <a:cubicBezTo>
                    <a:pt x="360359" y="32695"/>
                    <a:pt x="361658" y="24339"/>
                    <a:pt x="345990" y="22367"/>
                  </a:cubicBezTo>
                  <a:cubicBezTo>
                    <a:pt x="338685" y="21431"/>
                    <a:pt x="323260" y="31625"/>
                    <a:pt x="321840" y="34667"/>
                  </a:cubicBezTo>
                  <a:cubicBezTo>
                    <a:pt x="320419" y="37708"/>
                    <a:pt x="325899" y="40382"/>
                    <a:pt x="320541" y="42521"/>
                  </a:cubicBezTo>
                  <a:cubicBezTo>
                    <a:pt x="316807" y="44059"/>
                    <a:pt x="312423" y="42856"/>
                    <a:pt x="312423" y="40650"/>
                  </a:cubicBezTo>
                  <a:cubicBezTo>
                    <a:pt x="312423" y="37575"/>
                    <a:pt x="289043" y="27715"/>
                    <a:pt x="283320" y="29820"/>
                  </a:cubicBezTo>
                  <a:cubicBezTo>
                    <a:pt x="287379" y="28350"/>
                    <a:pt x="341648" y="22534"/>
                    <a:pt x="307674" y="20629"/>
                  </a:cubicBezTo>
                  <a:cubicBezTo>
                    <a:pt x="286526" y="19459"/>
                    <a:pt x="263025" y="27314"/>
                    <a:pt x="244597" y="23637"/>
                  </a:cubicBezTo>
                  <a:cubicBezTo>
                    <a:pt x="233395" y="21398"/>
                    <a:pt x="199665" y="26979"/>
                    <a:pt x="198609" y="32762"/>
                  </a:cubicBezTo>
                  <a:cubicBezTo>
                    <a:pt x="197757" y="37307"/>
                    <a:pt x="203886" y="49106"/>
                    <a:pt x="217402" y="48972"/>
                  </a:cubicBezTo>
                  <a:cubicBezTo>
                    <a:pt x="227956" y="48972"/>
                    <a:pt x="233922" y="42789"/>
                    <a:pt x="245490" y="43959"/>
                  </a:cubicBezTo>
                  <a:close/>
                  <a:moveTo>
                    <a:pt x="211557" y="74441"/>
                  </a:moveTo>
                  <a:cubicBezTo>
                    <a:pt x="221543" y="75611"/>
                    <a:pt x="226941" y="83231"/>
                    <a:pt x="237819" y="82830"/>
                  </a:cubicBezTo>
                  <a:cubicBezTo>
                    <a:pt x="234125" y="82830"/>
                    <a:pt x="206443" y="62408"/>
                    <a:pt x="200517" y="60035"/>
                  </a:cubicBezTo>
                  <a:cubicBezTo>
                    <a:pt x="193779" y="57294"/>
                    <a:pt x="180750" y="59367"/>
                    <a:pt x="185661" y="63846"/>
                  </a:cubicBezTo>
                  <a:cubicBezTo>
                    <a:pt x="192845" y="69387"/>
                    <a:pt x="201856" y="73074"/>
                    <a:pt x="211557" y="74441"/>
                  </a:cubicBezTo>
                  <a:close/>
                  <a:moveTo>
                    <a:pt x="475391" y="16618"/>
                  </a:moveTo>
                  <a:cubicBezTo>
                    <a:pt x="481317" y="18891"/>
                    <a:pt x="461590" y="19960"/>
                    <a:pt x="474579" y="24372"/>
                  </a:cubicBezTo>
                  <a:cubicBezTo>
                    <a:pt x="484442" y="27715"/>
                    <a:pt x="497796" y="28316"/>
                    <a:pt x="509324" y="28717"/>
                  </a:cubicBezTo>
                  <a:cubicBezTo>
                    <a:pt x="537412" y="29720"/>
                    <a:pt x="565054" y="27782"/>
                    <a:pt x="593020" y="28049"/>
                  </a:cubicBezTo>
                  <a:cubicBezTo>
                    <a:pt x="617374" y="28283"/>
                    <a:pt x="602193" y="31391"/>
                    <a:pt x="587987" y="32394"/>
                  </a:cubicBezTo>
                  <a:cubicBezTo>
                    <a:pt x="571223" y="33464"/>
                    <a:pt x="543622" y="32695"/>
                    <a:pt x="529619" y="37341"/>
                  </a:cubicBezTo>
                  <a:cubicBezTo>
                    <a:pt x="522028" y="39814"/>
                    <a:pt x="573983" y="45596"/>
                    <a:pt x="578326" y="45997"/>
                  </a:cubicBezTo>
                  <a:cubicBezTo>
                    <a:pt x="595496" y="47334"/>
                    <a:pt x="616765" y="44961"/>
                    <a:pt x="630646" y="49340"/>
                  </a:cubicBezTo>
                  <a:cubicBezTo>
                    <a:pt x="660358" y="58832"/>
                    <a:pt x="680735" y="52949"/>
                    <a:pt x="711096" y="52381"/>
                  </a:cubicBezTo>
                  <a:cubicBezTo>
                    <a:pt x="740564" y="51813"/>
                    <a:pt x="751360" y="43323"/>
                    <a:pt x="776364" y="39012"/>
                  </a:cubicBezTo>
                  <a:cubicBezTo>
                    <a:pt x="797430" y="35335"/>
                    <a:pt x="819064" y="26211"/>
                    <a:pt x="781843" y="22935"/>
                  </a:cubicBezTo>
                  <a:cubicBezTo>
                    <a:pt x="767881" y="21732"/>
                    <a:pt x="753756" y="21765"/>
                    <a:pt x="739833" y="20428"/>
                  </a:cubicBezTo>
                  <a:cubicBezTo>
                    <a:pt x="727291" y="19192"/>
                    <a:pt x="715885" y="15181"/>
                    <a:pt x="703302" y="13409"/>
                  </a:cubicBezTo>
                  <a:cubicBezTo>
                    <a:pt x="685483" y="10802"/>
                    <a:pt x="681668" y="11905"/>
                    <a:pt x="669816" y="16752"/>
                  </a:cubicBezTo>
                  <a:cubicBezTo>
                    <a:pt x="657963" y="21598"/>
                    <a:pt x="652809" y="16752"/>
                    <a:pt x="651672" y="11872"/>
                  </a:cubicBezTo>
                  <a:cubicBezTo>
                    <a:pt x="650170" y="5555"/>
                    <a:pt x="637506" y="3015"/>
                    <a:pt x="625979" y="6858"/>
                  </a:cubicBezTo>
                  <a:cubicBezTo>
                    <a:pt x="615385" y="10401"/>
                    <a:pt x="625654" y="16384"/>
                    <a:pt x="626222" y="20896"/>
                  </a:cubicBezTo>
                  <a:cubicBezTo>
                    <a:pt x="626791" y="25408"/>
                    <a:pt x="600610" y="17286"/>
                    <a:pt x="598337" y="15782"/>
                  </a:cubicBezTo>
                  <a:cubicBezTo>
                    <a:pt x="590219" y="10334"/>
                    <a:pt x="590219" y="11905"/>
                    <a:pt x="576013" y="13376"/>
                  </a:cubicBezTo>
                  <a:cubicBezTo>
                    <a:pt x="564526" y="14579"/>
                    <a:pt x="561928" y="7427"/>
                    <a:pt x="553080" y="4652"/>
                  </a:cubicBezTo>
                  <a:cubicBezTo>
                    <a:pt x="551415" y="4151"/>
                    <a:pt x="522028" y="-2433"/>
                    <a:pt x="523287" y="341"/>
                  </a:cubicBezTo>
                  <a:cubicBezTo>
                    <a:pt x="525966" y="6290"/>
                    <a:pt x="529497" y="10368"/>
                    <a:pt x="511110" y="5455"/>
                  </a:cubicBezTo>
                  <a:cubicBezTo>
                    <a:pt x="494102" y="1009"/>
                    <a:pt x="499623" y="4218"/>
                    <a:pt x="500962" y="10234"/>
                  </a:cubicBezTo>
                  <a:cubicBezTo>
                    <a:pt x="502464" y="17119"/>
                    <a:pt x="484726" y="6156"/>
                    <a:pt x="482453" y="5154"/>
                  </a:cubicBezTo>
                  <a:cubicBezTo>
                    <a:pt x="478394" y="3382"/>
                    <a:pt x="471575" y="1277"/>
                    <a:pt x="466217" y="3382"/>
                  </a:cubicBezTo>
                  <a:cubicBezTo>
                    <a:pt x="466217" y="3382"/>
                    <a:pt x="455299" y="10368"/>
                    <a:pt x="454527" y="9265"/>
                  </a:cubicBezTo>
                  <a:cubicBezTo>
                    <a:pt x="456598" y="12206"/>
                    <a:pt x="470276" y="14713"/>
                    <a:pt x="475269" y="1665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E7A0D6E-15FC-4566-BD6E-95305216612B}"/>
                </a:ext>
              </a:extLst>
            </p:cNvPr>
            <p:cNvSpPr/>
            <p:nvPr/>
          </p:nvSpPr>
          <p:spPr>
            <a:xfrm>
              <a:off x="11777845" y="5475123"/>
              <a:ext cx="77660" cy="70717"/>
            </a:xfrm>
            <a:custGeom>
              <a:avLst/>
              <a:gdLst>
                <a:gd name="connsiteX0" fmla="*/ 38856 w 77660"/>
                <a:gd name="connsiteY0" fmla="*/ 23613 h 70717"/>
                <a:gd name="connsiteX1" fmla="*/ 214 w 77660"/>
                <a:gd name="connsiteY1" fmla="*/ 16 h 70717"/>
                <a:gd name="connsiteX2" fmla="*/ 43726 w 77660"/>
                <a:gd name="connsiteY2" fmla="*/ 46809 h 70717"/>
                <a:gd name="connsiteX3" fmla="*/ 74128 w 77660"/>
                <a:gd name="connsiteY3" fmla="*/ 61782 h 70717"/>
                <a:gd name="connsiteX4" fmla="*/ 38856 w 77660"/>
                <a:gd name="connsiteY4" fmla="*/ 23746 h 7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60" h="70717">
                  <a:moveTo>
                    <a:pt x="38856" y="23613"/>
                  </a:moveTo>
                  <a:cubicBezTo>
                    <a:pt x="32889" y="21507"/>
                    <a:pt x="3055" y="-3594"/>
                    <a:pt x="214" y="16"/>
                  </a:cubicBezTo>
                  <a:cubicBezTo>
                    <a:pt x="-3845" y="5297"/>
                    <a:pt x="38490" y="38186"/>
                    <a:pt x="43726" y="46809"/>
                  </a:cubicBezTo>
                  <a:cubicBezTo>
                    <a:pt x="51033" y="58440"/>
                    <a:pt x="89146" y="83575"/>
                    <a:pt x="74128" y="61782"/>
                  </a:cubicBezTo>
                  <a:cubicBezTo>
                    <a:pt x="68771" y="53961"/>
                    <a:pt x="50262" y="27691"/>
                    <a:pt x="38856" y="2374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26E02445-8E1D-403F-BFCE-34148271BA46}"/>
                </a:ext>
              </a:extLst>
            </p:cNvPr>
            <p:cNvSpPr/>
            <p:nvPr/>
          </p:nvSpPr>
          <p:spPr>
            <a:xfrm>
              <a:off x="11775862" y="5473516"/>
              <a:ext cx="81478" cy="73590"/>
            </a:xfrm>
            <a:custGeom>
              <a:avLst/>
              <a:gdLst>
                <a:gd name="connsiteX0" fmla="*/ 55613 w 81478"/>
                <a:gd name="connsiteY0" fmla="*/ 60147 h 73590"/>
                <a:gd name="connsiteX1" fmla="*/ 44005 w 81478"/>
                <a:gd name="connsiteY1" fmla="*/ 48248 h 73590"/>
                <a:gd name="connsiteX2" fmla="*/ 26836 w 81478"/>
                <a:gd name="connsiteY2" fmla="*/ 31269 h 73590"/>
                <a:gd name="connsiteX3" fmla="*/ 371 w 81478"/>
                <a:gd name="connsiteY3" fmla="*/ 352 h 73590"/>
                <a:gd name="connsiteX4" fmla="*/ 2766 w 81478"/>
                <a:gd name="connsiteY4" fmla="*/ -249 h 73590"/>
                <a:gd name="connsiteX5" fmla="*/ 26795 w 81478"/>
                <a:gd name="connsiteY5" fmla="*/ 14424 h 73590"/>
                <a:gd name="connsiteX6" fmla="*/ 40595 w 81478"/>
                <a:gd name="connsiteY6" fmla="*/ 23749 h 73590"/>
                <a:gd name="connsiteX7" fmla="*/ 40595 w 81478"/>
                <a:gd name="connsiteY7" fmla="*/ 23749 h 73590"/>
                <a:gd name="connsiteX8" fmla="*/ 42219 w 81478"/>
                <a:gd name="connsiteY8" fmla="*/ 24317 h 73590"/>
                <a:gd name="connsiteX9" fmla="*/ 42665 w 81478"/>
                <a:gd name="connsiteY9" fmla="*/ 24317 h 73590"/>
                <a:gd name="connsiteX10" fmla="*/ 42665 w 81478"/>
                <a:gd name="connsiteY10" fmla="*/ 24317 h 73590"/>
                <a:gd name="connsiteX11" fmla="*/ 43883 w 81478"/>
                <a:gd name="connsiteY11" fmla="*/ 24986 h 73590"/>
                <a:gd name="connsiteX12" fmla="*/ 44613 w 81478"/>
                <a:gd name="connsiteY12" fmla="*/ 25587 h 73590"/>
                <a:gd name="connsiteX13" fmla="*/ 77613 w 81478"/>
                <a:gd name="connsiteY13" fmla="*/ 62988 h 73590"/>
                <a:gd name="connsiteX14" fmla="*/ 80048 w 81478"/>
                <a:gd name="connsiteY14" fmla="*/ 73015 h 73590"/>
                <a:gd name="connsiteX15" fmla="*/ 55613 w 81478"/>
                <a:gd name="connsiteY15" fmla="*/ 60147 h 73590"/>
                <a:gd name="connsiteX16" fmla="*/ 36414 w 81478"/>
                <a:gd name="connsiteY16" fmla="*/ 24150 h 73590"/>
                <a:gd name="connsiteX17" fmla="*/ 25252 w 81478"/>
                <a:gd name="connsiteY17" fmla="*/ 16296 h 73590"/>
                <a:gd name="connsiteX18" fmla="*/ 4308 w 81478"/>
                <a:gd name="connsiteY18" fmla="*/ 2926 h 73590"/>
                <a:gd name="connsiteX19" fmla="*/ 29068 w 81478"/>
                <a:gd name="connsiteY19" fmla="*/ 30033 h 73590"/>
                <a:gd name="connsiteX20" fmla="*/ 47415 w 81478"/>
                <a:gd name="connsiteY20" fmla="*/ 48349 h 73590"/>
                <a:gd name="connsiteX21" fmla="*/ 57481 w 81478"/>
                <a:gd name="connsiteY21" fmla="*/ 58610 h 73590"/>
                <a:gd name="connsiteX22" fmla="*/ 77288 w 81478"/>
                <a:gd name="connsiteY22" fmla="*/ 70275 h 73590"/>
                <a:gd name="connsiteX23" fmla="*/ 74488 w 81478"/>
                <a:gd name="connsiteY23" fmla="*/ 63356 h 73590"/>
                <a:gd name="connsiteX24" fmla="*/ 46846 w 81478"/>
                <a:gd name="connsiteY24" fmla="*/ 30266 h 73590"/>
                <a:gd name="connsiteX25" fmla="*/ 41407 w 81478"/>
                <a:gd name="connsiteY25" fmla="*/ 26924 h 73590"/>
                <a:gd name="connsiteX26" fmla="*/ 38931 w 81478"/>
                <a:gd name="connsiteY26" fmla="*/ 26055 h 73590"/>
                <a:gd name="connsiteX27" fmla="*/ 38931 w 81478"/>
                <a:gd name="connsiteY27" fmla="*/ 26055 h 73590"/>
                <a:gd name="connsiteX28" fmla="*/ 37632 w 81478"/>
                <a:gd name="connsiteY28" fmla="*/ 25353 h 73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1478" h="73590">
                  <a:moveTo>
                    <a:pt x="55613" y="60147"/>
                  </a:moveTo>
                  <a:cubicBezTo>
                    <a:pt x="51068" y="56671"/>
                    <a:pt x="47171" y="52660"/>
                    <a:pt x="44005" y="48248"/>
                  </a:cubicBezTo>
                  <a:cubicBezTo>
                    <a:pt x="38809" y="42232"/>
                    <a:pt x="33087" y="36550"/>
                    <a:pt x="26836" y="31269"/>
                  </a:cubicBezTo>
                  <a:cubicBezTo>
                    <a:pt x="11655" y="17398"/>
                    <a:pt x="-2755" y="4363"/>
                    <a:pt x="371" y="352"/>
                  </a:cubicBezTo>
                  <a:cubicBezTo>
                    <a:pt x="939" y="-249"/>
                    <a:pt x="1913" y="-483"/>
                    <a:pt x="2766" y="-249"/>
                  </a:cubicBezTo>
                  <a:cubicBezTo>
                    <a:pt x="6825" y="319"/>
                    <a:pt x="14943" y="5901"/>
                    <a:pt x="26795" y="14424"/>
                  </a:cubicBezTo>
                  <a:cubicBezTo>
                    <a:pt x="31138" y="17799"/>
                    <a:pt x="35724" y="20908"/>
                    <a:pt x="40595" y="23749"/>
                  </a:cubicBezTo>
                  <a:lnTo>
                    <a:pt x="40595" y="23749"/>
                  </a:lnTo>
                  <a:lnTo>
                    <a:pt x="42219" y="24317"/>
                  </a:lnTo>
                  <a:lnTo>
                    <a:pt x="42665" y="24317"/>
                  </a:lnTo>
                  <a:lnTo>
                    <a:pt x="42665" y="24317"/>
                  </a:lnTo>
                  <a:cubicBezTo>
                    <a:pt x="43112" y="24451"/>
                    <a:pt x="43558" y="24685"/>
                    <a:pt x="43883" y="24986"/>
                  </a:cubicBezTo>
                  <a:lnTo>
                    <a:pt x="44613" y="25587"/>
                  </a:lnTo>
                  <a:cubicBezTo>
                    <a:pt x="53016" y="30801"/>
                    <a:pt x="64015" y="43268"/>
                    <a:pt x="77613" y="62988"/>
                  </a:cubicBezTo>
                  <a:cubicBezTo>
                    <a:pt x="81672" y="68904"/>
                    <a:pt x="82484" y="72313"/>
                    <a:pt x="80048" y="73015"/>
                  </a:cubicBezTo>
                  <a:cubicBezTo>
                    <a:pt x="75746" y="74787"/>
                    <a:pt x="63204" y="66230"/>
                    <a:pt x="55613" y="60147"/>
                  </a:cubicBezTo>
                  <a:close/>
                  <a:moveTo>
                    <a:pt x="36414" y="24150"/>
                  </a:moveTo>
                  <a:cubicBezTo>
                    <a:pt x="33654" y="22345"/>
                    <a:pt x="29961" y="19671"/>
                    <a:pt x="25252" y="16296"/>
                  </a:cubicBezTo>
                  <a:cubicBezTo>
                    <a:pt x="18108" y="11115"/>
                    <a:pt x="7271" y="3294"/>
                    <a:pt x="4308" y="2926"/>
                  </a:cubicBezTo>
                  <a:cubicBezTo>
                    <a:pt x="2116" y="5466"/>
                    <a:pt x="18352" y="20206"/>
                    <a:pt x="29068" y="30033"/>
                  </a:cubicBezTo>
                  <a:cubicBezTo>
                    <a:pt x="35806" y="35681"/>
                    <a:pt x="41975" y="41798"/>
                    <a:pt x="47415" y="48349"/>
                  </a:cubicBezTo>
                  <a:cubicBezTo>
                    <a:pt x="50175" y="52125"/>
                    <a:pt x="53584" y="55602"/>
                    <a:pt x="57481" y="58610"/>
                  </a:cubicBezTo>
                  <a:cubicBezTo>
                    <a:pt x="66411" y="65896"/>
                    <a:pt x="75462" y="70876"/>
                    <a:pt x="77288" y="70275"/>
                  </a:cubicBezTo>
                  <a:cubicBezTo>
                    <a:pt x="78019" y="70007"/>
                    <a:pt x="77735" y="68069"/>
                    <a:pt x="74488" y="63356"/>
                  </a:cubicBezTo>
                  <a:cubicBezTo>
                    <a:pt x="60606" y="43302"/>
                    <a:pt x="51757" y="34277"/>
                    <a:pt x="46846" y="30266"/>
                  </a:cubicBezTo>
                  <a:cubicBezTo>
                    <a:pt x="45263" y="28930"/>
                    <a:pt x="43396" y="27793"/>
                    <a:pt x="41407" y="26924"/>
                  </a:cubicBezTo>
                  <a:lnTo>
                    <a:pt x="38931" y="26055"/>
                  </a:lnTo>
                  <a:lnTo>
                    <a:pt x="38931" y="26055"/>
                  </a:lnTo>
                  <a:cubicBezTo>
                    <a:pt x="38403" y="25922"/>
                    <a:pt x="37957" y="25687"/>
                    <a:pt x="37632" y="2535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9487A12F-A752-40E8-BE8D-57EC7E30D045}"/>
                </a:ext>
              </a:extLst>
            </p:cNvPr>
            <p:cNvSpPr/>
            <p:nvPr/>
          </p:nvSpPr>
          <p:spPr>
            <a:xfrm>
              <a:off x="9654605" y="4966909"/>
              <a:ext cx="618513" cy="154301"/>
            </a:xfrm>
            <a:custGeom>
              <a:avLst/>
              <a:gdLst>
                <a:gd name="connsiteX0" fmla="*/ 589973 w 618513"/>
                <a:gd name="connsiteY0" fmla="*/ 78168 h 154301"/>
                <a:gd name="connsiteX1" fmla="*/ 556285 w 618513"/>
                <a:gd name="connsiteY1" fmla="*/ 65033 h 154301"/>
                <a:gd name="connsiteX2" fmla="*/ 528643 w 618513"/>
                <a:gd name="connsiteY2" fmla="*/ 34617 h 154301"/>
                <a:gd name="connsiteX3" fmla="*/ 512407 w 618513"/>
                <a:gd name="connsiteY3" fmla="*/ 6241 h 154301"/>
                <a:gd name="connsiteX4" fmla="*/ 495197 w 618513"/>
                <a:gd name="connsiteY4" fmla="*/ 291 h 154301"/>
                <a:gd name="connsiteX5" fmla="*/ 493208 w 618513"/>
                <a:gd name="connsiteY5" fmla="*/ 12157 h 154301"/>
                <a:gd name="connsiteX6" fmla="*/ 469991 w 618513"/>
                <a:gd name="connsiteY6" fmla="*/ 24824 h 154301"/>
                <a:gd name="connsiteX7" fmla="*/ 440604 w 618513"/>
                <a:gd name="connsiteY7" fmla="*/ 24022 h 154301"/>
                <a:gd name="connsiteX8" fmla="*/ 426640 w 618513"/>
                <a:gd name="connsiteY8" fmla="*/ 23821 h 154301"/>
                <a:gd name="connsiteX9" fmla="*/ 406345 w 618513"/>
                <a:gd name="connsiteY9" fmla="*/ 23821 h 154301"/>
                <a:gd name="connsiteX10" fmla="*/ 407401 w 618513"/>
                <a:gd name="connsiteY10" fmla="*/ 33849 h 154301"/>
                <a:gd name="connsiteX11" fmla="*/ 397091 w 618513"/>
                <a:gd name="connsiteY11" fmla="*/ 43876 h 154301"/>
                <a:gd name="connsiteX12" fmla="*/ 420187 w 618513"/>
                <a:gd name="connsiteY12" fmla="*/ 47218 h 154301"/>
                <a:gd name="connsiteX13" fmla="*/ 431268 w 618513"/>
                <a:gd name="connsiteY13" fmla="*/ 50059 h 154301"/>
                <a:gd name="connsiteX14" fmla="*/ 433581 w 618513"/>
                <a:gd name="connsiteY14" fmla="*/ 37458 h 154301"/>
                <a:gd name="connsiteX15" fmla="*/ 480503 w 618513"/>
                <a:gd name="connsiteY15" fmla="*/ 65334 h 154301"/>
                <a:gd name="connsiteX16" fmla="*/ 515004 w 618513"/>
                <a:gd name="connsiteY16" fmla="*/ 74759 h 154301"/>
                <a:gd name="connsiteX17" fmla="*/ 570774 w 618513"/>
                <a:gd name="connsiteY17" fmla="*/ 94646 h 154301"/>
                <a:gd name="connsiteX18" fmla="*/ 573737 w 618513"/>
                <a:gd name="connsiteY18" fmla="*/ 89465 h 154301"/>
                <a:gd name="connsiteX19" fmla="*/ 584494 w 618513"/>
                <a:gd name="connsiteY19" fmla="*/ 87694 h 154301"/>
                <a:gd name="connsiteX20" fmla="*/ 618427 w 618513"/>
                <a:gd name="connsiteY20" fmla="*/ 88195 h 154301"/>
                <a:gd name="connsiteX21" fmla="*/ 589731 w 618513"/>
                <a:gd name="connsiteY21" fmla="*/ 78168 h 154301"/>
                <a:gd name="connsiteX22" fmla="*/ 392545 w 618513"/>
                <a:gd name="connsiteY22" fmla="*/ 56877 h 154301"/>
                <a:gd name="connsiteX23" fmla="*/ 373995 w 618513"/>
                <a:gd name="connsiteY23" fmla="*/ 76063 h 154301"/>
                <a:gd name="connsiteX24" fmla="*/ 355771 w 618513"/>
                <a:gd name="connsiteY24" fmla="*/ 80809 h 154301"/>
                <a:gd name="connsiteX25" fmla="*/ 338074 w 618513"/>
                <a:gd name="connsiteY25" fmla="*/ 89933 h 154301"/>
                <a:gd name="connsiteX26" fmla="*/ 291964 w 618513"/>
                <a:gd name="connsiteY26" fmla="*/ 89933 h 154301"/>
                <a:gd name="connsiteX27" fmla="*/ 266108 w 618513"/>
                <a:gd name="connsiteY27" fmla="*/ 79505 h 154301"/>
                <a:gd name="connsiteX28" fmla="*/ 266636 w 618513"/>
                <a:gd name="connsiteY28" fmla="*/ 72820 h 154301"/>
                <a:gd name="connsiteX29" fmla="*/ 229456 w 618513"/>
                <a:gd name="connsiteY29" fmla="*/ 81377 h 154301"/>
                <a:gd name="connsiteX30" fmla="*/ 212124 w 618513"/>
                <a:gd name="connsiteY30" fmla="*/ 81377 h 154301"/>
                <a:gd name="connsiteX31" fmla="*/ 201976 w 618513"/>
                <a:gd name="connsiteY31" fmla="*/ 84452 h 154301"/>
                <a:gd name="connsiteX32" fmla="*/ 192884 w 618513"/>
                <a:gd name="connsiteY32" fmla="*/ 76163 h 154301"/>
                <a:gd name="connsiteX33" fmla="*/ 166217 w 618513"/>
                <a:gd name="connsiteY33" fmla="*/ 65902 h 154301"/>
                <a:gd name="connsiteX34" fmla="*/ 109025 w 618513"/>
                <a:gd name="connsiteY34" fmla="*/ 45647 h 154301"/>
                <a:gd name="connsiteX35" fmla="*/ 72982 w 618513"/>
                <a:gd name="connsiteY35" fmla="*/ 45146 h 154301"/>
                <a:gd name="connsiteX36" fmla="*/ 49318 w 618513"/>
                <a:gd name="connsiteY36" fmla="*/ 43307 h 154301"/>
                <a:gd name="connsiteX37" fmla="*/ 87432 w 618513"/>
                <a:gd name="connsiteY37" fmla="*/ 61456 h 154301"/>
                <a:gd name="connsiteX38" fmla="*/ 144258 w 618513"/>
                <a:gd name="connsiteY38" fmla="*/ 77399 h 154301"/>
                <a:gd name="connsiteX39" fmla="*/ 170032 w 618513"/>
                <a:gd name="connsiteY39" fmla="*/ 99994 h 154301"/>
                <a:gd name="connsiteX40" fmla="*/ 199459 w 618513"/>
                <a:gd name="connsiteY40" fmla="*/ 119212 h 154301"/>
                <a:gd name="connsiteX41" fmla="*/ 216466 w 618513"/>
                <a:gd name="connsiteY41" fmla="*/ 114032 h 154301"/>
                <a:gd name="connsiteX42" fmla="*/ 226249 w 618513"/>
                <a:gd name="connsiteY42" fmla="*/ 115903 h 154301"/>
                <a:gd name="connsiteX43" fmla="*/ 245853 w 618513"/>
                <a:gd name="connsiteY43" fmla="*/ 130376 h 154301"/>
                <a:gd name="connsiteX44" fmla="*/ 271101 w 618513"/>
                <a:gd name="connsiteY44" fmla="*/ 132615 h 154301"/>
                <a:gd name="connsiteX45" fmla="*/ 286078 w 618513"/>
                <a:gd name="connsiteY45" fmla="*/ 144113 h 154301"/>
                <a:gd name="connsiteX46" fmla="*/ 305033 w 618513"/>
                <a:gd name="connsiteY46" fmla="*/ 141406 h 154301"/>
                <a:gd name="connsiteX47" fmla="*/ 307672 w 618513"/>
                <a:gd name="connsiteY47" fmla="*/ 148090 h 154301"/>
                <a:gd name="connsiteX48" fmla="*/ 332472 w 618513"/>
                <a:gd name="connsiteY48" fmla="*/ 153906 h 154301"/>
                <a:gd name="connsiteX49" fmla="*/ 355284 w 618513"/>
                <a:gd name="connsiteY49" fmla="*/ 137194 h 154301"/>
                <a:gd name="connsiteX50" fmla="*/ 378623 w 618513"/>
                <a:gd name="connsiteY50" fmla="*/ 118243 h 154301"/>
                <a:gd name="connsiteX51" fmla="*/ 410201 w 618513"/>
                <a:gd name="connsiteY51" fmla="*/ 115135 h 154301"/>
                <a:gd name="connsiteX52" fmla="*/ 429644 w 618513"/>
                <a:gd name="connsiteY52" fmla="*/ 79973 h 154301"/>
                <a:gd name="connsiteX53" fmla="*/ 427655 w 618513"/>
                <a:gd name="connsiteY53" fmla="*/ 64197 h 154301"/>
                <a:gd name="connsiteX54" fmla="*/ 392586 w 618513"/>
                <a:gd name="connsiteY54" fmla="*/ 57145 h 154301"/>
                <a:gd name="connsiteX55" fmla="*/ 129239 w 618513"/>
                <a:gd name="connsiteY55" fmla="*/ 80040 h 154301"/>
                <a:gd name="connsiteX56" fmla="*/ 83941 w 618513"/>
                <a:gd name="connsiteY56" fmla="*/ 75127 h 154301"/>
                <a:gd name="connsiteX57" fmla="*/ 100665 w 618513"/>
                <a:gd name="connsiteY57" fmla="*/ 92707 h 154301"/>
                <a:gd name="connsiteX58" fmla="*/ 127819 w 618513"/>
                <a:gd name="connsiteY58" fmla="*/ 99192 h 154301"/>
                <a:gd name="connsiteX59" fmla="*/ 152700 w 618513"/>
                <a:gd name="connsiteY59" fmla="*/ 98156 h 154301"/>
                <a:gd name="connsiteX60" fmla="*/ 129239 w 618513"/>
                <a:gd name="connsiteY60" fmla="*/ 80040 h 154301"/>
                <a:gd name="connsiteX61" fmla="*/ 60561 w 618513"/>
                <a:gd name="connsiteY61" fmla="*/ 70381 h 154301"/>
                <a:gd name="connsiteX62" fmla="*/ 46761 w 618513"/>
                <a:gd name="connsiteY62" fmla="*/ 54103 h 154301"/>
                <a:gd name="connsiteX63" fmla="*/ 5197 w 618513"/>
                <a:gd name="connsiteY63" fmla="*/ 44845 h 154301"/>
                <a:gd name="connsiteX64" fmla="*/ 13558 w 618513"/>
                <a:gd name="connsiteY64" fmla="*/ 55407 h 154301"/>
                <a:gd name="connsiteX65" fmla="*/ 20256 w 618513"/>
                <a:gd name="connsiteY65" fmla="*/ 65434 h 154301"/>
                <a:gd name="connsiteX66" fmla="*/ 3614 w 618513"/>
                <a:gd name="connsiteY66" fmla="*/ 84352 h 154301"/>
                <a:gd name="connsiteX67" fmla="*/ 26994 w 618513"/>
                <a:gd name="connsiteY67" fmla="*/ 91705 h 154301"/>
                <a:gd name="connsiteX68" fmla="*/ 64824 w 618513"/>
                <a:gd name="connsiteY68" fmla="*/ 81678 h 154301"/>
                <a:gd name="connsiteX69" fmla="*/ 60561 w 618513"/>
                <a:gd name="connsiteY69" fmla="*/ 70381 h 1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18513" h="154301">
                  <a:moveTo>
                    <a:pt x="589973" y="78168"/>
                  </a:moveTo>
                  <a:cubicBezTo>
                    <a:pt x="586767" y="70280"/>
                    <a:pt x="564199" y="69946"/>
                    <a:pt x="556285" y="65033"/>
                  </a:cubicBezTo>
                  <a:cubicBezTo>
                    <a:pt x="543701" y="57178"/>
                    <a:pt x="535137" y="43942"/>
                    <a:pt x="528643" y="34617"/>
                  </a:cubicBezTo>
                  <a:cubicBezTo>
                    <a:pt x="522148" y="25292"/>
                    <a:pt x="519754" y="14931"/>
                    <a:pt x="512407" y="6241"/>
                  </a:cubicBezTo>
                  <a:cubicBezTo>
                    <a:pt x="508348" y="1662"/>
                    <a:pt x="500027" y="-1815"/>
                    <a:pt x="495197" y="291"/>
                  </a:cubicBezTo>
                  <a:cubicBezTo>
                    <a:pt x="490366" y="2397"/>
                    <a:pt x="496536" y="8981"/>
                    <a:pt x="493208" y="12157"/>
                  </a:cubicBezTo>
                  <a:cubicBezTo>
                    <a:pt x="488580" y="16602"/>
                    <a:pt x="478595" y="23788"/>
                    <a:pt x="469991" y="24824"/>
                  </a:cubicBezTo>
                  <a:cubicBezTo>
                    <a:pt x="455825" y="26562"/>
                    <a:pt x="461426" y="33414"/>
                    <a:pt x="440604" y="24022"/>
                  </a:cubicBezTo>
                  <a:cubicBezTo>
                    <a:pt x="431998" y="20145"/>
                    <a:pt x="430294" y="20212"/>
                    <a:pt x="426640" y="23821"/>
                  </a:cubicBezTo>
                  <a:cubicBezTo>
                    <a:pt x="422988" y="27431"/>
                    <a:pt x="412271" y="22050"/>
                    <a:pt x="406345" y="23821"/>
                  </a:cubicBezTo>
                  <a:cubicBezTo>
                    <a:pt x="400419" y="25593"/>
                    <a:pt x="408132" y="30306"/>
                    <a:pt x="407401" y="33849"/>
                  </a:cubicBezTo>
                  <a:cubicBezTo>
                    <a:pt x="406914" y="36121"/>
                    <a:pt x="394940" y="41603"/>
                    <a:pt x="397091" y="43876"/>
                  </a:cubicBezTo>
                  <a:cubicBezTo>
                    <a:pt x="401637" y="48388"/>
                    <a:pt x="414504" y="44611"/>
                    <a:pt x="420187" y="47218"/>
                  </a:cubicBezTo>
                  <a:cubicBezTo>
                    <a:pt x="423069" y="48555"/>
                    <a:pt x="431998" y="56443"/>
                    <a:pt x="431268" y="50059"/>
                  </a:cubicBezTo>
                  <a:cubicBezTo>
                    <a:pt x="430821" y="45781"/>
                    <a:pt x="410404" y="21816"/>
                    <a:pt x="433581" y="37458"/>
                  </a:cubicBezTo>
                  <a:cubicBezTo>
                    <a:pt x="450061" y="48622"/>
                    <a:pt x="466581" y="49858"/>
                    <a:pt x="480503" y="65334"/>
                  </a:cubicBezTo>
                  <a:cubicBezTo>
                    <a:pt x="501163" y="88396"/>
                    <a:pt x="491341" y="73288"/>
                    <a:pt x="515004" y="74759"/>
                  </a:cubicBezTo>
                  <a:cubicBezTo>
                    <a:pt x="534447" y="75962"/>
                    <a:pt x="553524" y="93543"/>
                    <a:pt x="570774" y="94646"/>
                  </a:cubicBezTo>
                  <a:cubicBezTo>
                    <a:pt x="575118" y="94913"/>
                    <a:pt x="576092" y="92407"/>
                    <a:pt x="573737" y="89465"/>
                  </a:cubicBezTo>
                  <a:cubicBezTo>
                    <a:pt x="571384" y="86524"/>
                    <a:pt x="582992" y="87627"/>
                    <a:pt x="584494" y="87694"/>
                  </a:cubicBezTo>
                  <a:cubicBezTo>
                    <a:pt x="590907" y="87961"/>
                    <a:pt x="616316" y="92473"/>
                    <a:pt x="618427" y="88195"/>
                  </a:cubicBezTo>
                  <a:cubicBezTo>
                    <a:pt x="619442" y="86056"/>
                    <a:pt x="591962" y="83683"/>
                    <a:pt x="589731" y="78168"/>
                  </a:cubicBezTo>
                  <a:close/>
                  <a:moveTo>
                    <a:pt x="392545" y="56877"/>
                  </a:moveTo>
                  <a:cubicBezTo>
                    <a:pt x="372250" y="52666"/>
                    <a:pt x="375213" y="68876"/>
                    <a:pt x="373995" y="76063"/>
                  </a:cubicBezTo>
                  <a:cubicBezTo>
                    <a:pt x="373265" y="80274"/>
                    <a:pt x="360641" y="79940"/>
                    <a:pt x="355771" y="80809"/>
                  </a:cubicBezTo>
                  <a:cubicBezTo>
                    <a:pt x="347409" y="82313"/>
                    <a:pt x="345989" y="88663"/>
                    <a:pt x="338074" y="89933"/>
                  </a:cubicBezTo>
                  <a:cubicBezTo>
                    <a:pt x="322853" y="92497"/>
                    <a:pt x="307185" y="92497"/>
                    <a:pt x="291964" y="89933"/>
                  </a:cubicBezTo>
                  <a:cubicBezTo>
                    <a:pt x="284293" y="88697"/>
                    <a:pt x="266879" y="88329"/>
                    <a:pt x="266108" y="79505"/>
                  </a:cubicBezTo>
                  <a:cubicBezTo>
                    <a:pt x="265905" y="76965"/>
                    <a:pt x="273333" y="74592"/>
                    <a:pt x="266636" y="72820"/>
                  </a:cubicBezTo>
                  <a:cubicBezTo>
                    <a:pt x="244352" y="66437"/>
                    <a:pt x="245042" y="80909"/>
                    <a:pt x="229456" y="81377"/>
                  </a:cubicBezTo>
                  <a:cubicBezTo>
                    <a:pt x="225397" y="81377"/>
                    <a:pt x="214072" y="78903"/>
                    <a:pt x="212124" y="81377"/>
                  </a:cubicBezTo>
                  <a:cubicBezTo>
                    <a:pt x="209566" y="84719"/>
                    <a:pt x="211799" y="87594"/>
                    <a:pt x="201976" y="84452"/>
                  </a:cubicBezTo>
                  <a:cubicBezTo>
                    <a:pt x="192153" y="81310"/>
                    <a:pt x="195036" y="80441"/>
                    <a:pt x="192884" y="76163"/>
                  </a:cubicBezTo>
                  <a:cubicBezTo>
                    <a:pt x="190408" y="71183"/>
                    <a:pt x="171331" y="67205"/>
                    <a:pt x="166217" y="65902"/>
                  </a:cubicBezTo>
                  <a:cubicBezTo>
                    <a:pt x="145232" y="60487"/>
                    <a:pt x="128265" y="44811"/>
                    <a:pt x="109025" y="45647"/>
                  </a:cubicBezTo>
                  <a:cubicBezTo>
                    <a:pt x="97011" y="46476"/>
                    <a:pt x="84956" y="46309"/>
                    <a:pt x="72982" y="45146"/>
                  </a:cubicBezTo>
                  <a:cubicBezTo>
                    <a:pt x="65960" y="44277"/>
                    <a:pt x="52118" y="38227"/>
                    <a:pt x="49318" y="43307"/>
                  </a:cubicBezTo>
                  <a:cubicBezTo>
                    <a:pt x="45259" y="50694"/>
                    <a:pt x="80004" y="63027"/>
                    <a:pt x="87432" y="61456"/>
                  </a:cubicBezTo>
                  <a:cubicBezTo>
                    <a:pt x="99609" y="58849"/>
                    <a:pt x="131268" y="72386"/>
                    <a:pt x="144258" y="77399"/>
                  </a:cubicBezTo>
                  <a:cubicBezTo>
                    <a:pt x="161873" y="84084"/>
                    <a:pt x="183345" y="91003"/>
                    <a:pt x="170032" y="99994"/>
                  </a:cubicBezTo>
                  <a:cubicBezTo>
                    <a:pt x="155825" y="109586"/>
                    <a:pt x="184482" y="120449"/>
                    <a:pt x="199459" y="119212"/>
                  </a:cubicBezTo>
                  <a:cubicBezTo>
                    <a:pt x="206481" y="118577"/>
                    <a:pt x="222717" y="122555"/>
                    <a:pt x="216466" y="114032"/>
                  </a:cubicBezTo>
                  <a:cubicBezTo>
                    <a:pt x="210216" y="105509"/>
                    <a:pt x="223854" y="108617"/>
                    <a:pt x="226249" y="115903"/>
                  </a:cubicBezTo>
                  <a:cubicBezTo>
                    <a:pt x="228197" y="121853"/>
                    <a:pt x="237614" y="127602"/>
                    <a:pt x="245853" y="130376"/>
                  </a:cubicBezTo>
                  <a:cubicBezTo>
                    <a:pt x="252997" y="132749"/>
                    <a:pt x="266473" y="129674"/>
                    <a:pt x="271101" y="132615"/>
                  </a:cubicBezTo>
                  <a:cubicBezTo>
                    <a:pt x="276946" y="136325"/>
                    <a:pt x="276621" y="142976"/>
                    <a:pt x="286078" y="144113"/>
                  </a:cubicBezTo>
                  <a:cubicBezTo>
                    <a:pt x="292451" y="143565"/>
                    <a:pt x="298782" y="142662"/>
                    <a:pt x="305033" y="141406"/>
                  </a:cubicBezTo>
                  <a:cubicBezTo>
                    <a:pt x="307063" y="143979"/>
                    <a:pt x="302720" y="144748"/>
                    <a:pt x="307672" y="148090"/>
                  </a:cubicBezTo>
                  <a:cubicBezTo>
                    <a:pt x="314896" y="152288"/>
                    <a:pt x="323665" y="154337"/>
                    <a:pt x="332472" y="153906"/>
                  </a:cubicBezTo>
                  <a:cubicBezTo>
                    <a:pt x="347085" y="153304"/>
                    <a:pt x="342945" y="139233"/>
                    <a:pt x="355284" y="137194"/>
                  </a:cubicBezTo>
                  <a:cubicBezTo>
                    <a:pt x="367623" y="135155"/>
                    <a:pt x="380409" y="128370"/>
                    <a:pt x="378623" y="118243"/>
                  </a:cubicBezTo>
                  <a:cubicBezTo>
                    <a:pt x="376958" y="108751"/>
                    <a:pt x="400948" y="114199"/>
                    <a:pt x="410201" y="115135"/>
                  </a:cubicBezTo>
                  <a:cubicBezTo>
                    <a:pt x="432647" y="117341"/>
                    <a:pt x="428224" y="90969"/>
                    <a:pt x="429644" y="79973"/>
                  </a:cubicBezTo>
                  <a:cubicBezTo>
                    <a:pt x="430131" y="76196"/>
                    <a:pt x="436382" y="67840"/>
                    <a:pt x="427655" y="64197"/>
                  </a:cubicBezTo>
                  <a:cubicBezTo>
                    <a:pt x="416169" y="59417"/>
                    <a:pt x="403951" y="59518"/>
                    <a:pt x="392586" y="57145"/>
                  </a:cubicBezTo>
                  <a:close/>
                  <a:moveTo>
                    <a:pt x="129239" y="80040"/>
                  </a:moveTo>
                  <a:cubicBezTo>
                    <a:pt x="117062" y="85922"/>
                    <a:pt x="96767" y="63094"/>
                    <a:pt x="83941" y="75127"/>
                  </a:cubicBezTo>
                  <a:cubicBezTo>
                    <a:pt x="76838" y="81811"/>
                    <a:pt x="87189" y="101865"/>
                    <a:pt x="100665" y="92707"/>
                  </a:cubicBezTo>
                  <a:cubicBezTo>
                    <a:pt x="106793" y="88596"/>
                    <a:pt x="120959" y="93042"/>
                    <a:pt x="127819" y="99192"/>
                  </a:cubicBezTo>
                  <a:cubicBezTo>
                    <a:pt x="135327" y="106077"/>
                    <a:pt x="148925" y="100662"/>
                    <a:pt x="152700" y="98156"/>
                  </a:cubicBezTo>
                  <a:cubicBezTo>
                    <a:pt x="162929" y="91471"/>
                    <a:pt x="139265" y="75160"/>
                    <a:pt x="129239" y="80040"/>
                  </a:cubicBezTo>
                  <a:close/>
                  <a:moveTo>
                    <a:pt x="60561" y="70381"/>
                  </a:moveTo>
                  <a:cubicBezTo>
                    <a:pt x="64093" y="65267"/>
                    <a:pt x="44325" y="59250"/>
                    <a:pt x="46761" y="54103"/>
                  </a:cubicBezTo>
                  <a:cubicBezTo>
                    <a:pt x="50048" y="46349"/>
                    <a:pt x="9784" y="44577"/>
                    <a:pt x="5197" y="44845"/>
                  </a:cubicBezTo>
                  <a:cubicBezTo>
                    <a:pt x="-5275" y="45346"/>
                    <a:pt x="1138" y="58214"/>
                    <a:pt x="13558" y="55407"/>
                  </a:cubicBezTo>
                  <a:cubicBezTo>
                    <a:pt x="26994" y="52265"/>
                    <a:pt x="25735" y="58749"/>
                    <a:pt x="20256" y="65434"/>
                  </a:cubicBezTo>
                  <a:cubicBezTo>
                    <a:pt x="14776" y="72119"/>
                    <a:pt x="1991" y="73723"/>
                    <a:pt x="3614" y="84352"/>
                  </a:cubicBezTo>
                  <a:cubicBezTo>
                    <a:pt x="5359" y="95649"/>
                    <a:pt x="18348" y="94111"/>
                    <a:pt x="26994" y="91705"/>
                  </a:cubicBezTo>
                  <a:cubicBezTo>
                    <a:pt x="39171" y="88362"/>
                    <a:pt x="53255" y="85655"/>
                    <a:pt x="64824" y="81678"/>
                  </a:cubicBezTo>
                  <a:cubicBezTo>
                    <a:pt x="72738" y="78937"/>
                    <a:pt x="57923" y="74224"/>
                    <a:pt x="60561" y="7038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F562C0D2-2D9D-43E2-B8C5-5254A22FAE87}"/>
                </a:ext>
              </a:extLst>
            </p:cNvPr>
            <p:cNvSpPr/>
            <p:nvPr/>
          </p:nvSpPr>
          <p:spPr>
            <a:xfrm>
              <a:off x="8095516" y="4254715"/>
              <a:ext cx="1885653" cy="828110"/>
            </a:xfrm>
            <a:custGeom>
              <a:avLst/>
              <a:gdLst>
                <a:gd name="connsiteX0" fmla="*/ 1884214 w 1885653"/>
                <a:gd name="connsiteY0" fmla="*/ 558738 h 828110"/>
                <a:gd name="connsiteX1" fmla="*/ 1853407 w 1885653"/>
                <a:gd name="connsiteY1" fmla="*/ 541491 h 828110"/>
                <a:gd name="connsiteX2" fmla="*/ 1825928 w 1885653"/>
                <a:gd name="connsiteY2" fmla="*/ 536912 h 828110"/>
                <a:gd name="connsiteX3" fmla="*/ 1796541 w 1885653"/>
                <a:gd name="connsiteY3" fmla="*/ 524412 h 828110"/>
                <a:gd name="connsiteX4" fmla="*/ 1780994 w 1885653"/>
                <a:gd name="connsiteY4" fmla="*/ 492693 h 828110"/>
                <a:gd name="connsiteX5" fmla="*/ 1742597 w 1885653"/>
                <a:gd name="connsiteY5" fmla="*/ 457063 h 828110"/>
                <a:gd name="connsiteX6" fmla="*/ 1704889 w 1885653"/>
                <a:gd name="connsiteY6" fmla="*/ 430324 h 828110"/>
                <a:gd name="connsiteX7" fmla="*/ 1709435 w 1885653"/>
                <a:gd name="connsiteY7" fmla="*/ 419194 h 828110"/>
                <a:gd name="connsiteX8" fmla="*/ 1705376 w 1885653"/>
                <a:gd name="connsiteY8" fmla="*/ 399140 h 828110"/>
                <a:gd name="connsiteX9" fmla="*/ 1700667 w 1885653"/>
                <a:gd name="connsiteY9" fmla="*/ 387241 h 828110"/>
                <a:gd name="connsiteX10" fmla="*/ 1698922 w 1885653"/>
                <a:gd name="connsiteY10" fmla="*/ 365315 h 828110"/>
                <a:gd name="connsiteX11" fmla="*/ 1692671 w 1885653"/>
                <a:gd name="connsiteY11" fmla="*/ 355021 h 828110"/>
                <a:gd name="connsiteX12" fmla="*/ 1687354 w 1885653"/>
                <a:gd name="connsiteY12" fmla="*/ 340248 h 828110"/>
                <a:gd name="connsiteX13" fmla="*/ 1581212 w 1885653"/>
                <a:gd name="connsiteY13" fmla="*/ 281690 h 828110"/>
                <a:gd name="connsiteX14" fmla="*/ 1541393 w 1885653"/>
                <a:gd name="connsiteY14" fmla="*/ 268320 h 828110"/>
                <a:gd name="connsiteX15" fmla="*/ 1517932 w 1885653"/>
                <a:gd name="connsiteY15" fmla="*/ 273467 h 828110"/>
                <a:gd name="connsiteX16" fmla="*/ 1528851 w 1885653"/>
                <a:gd name="connsiteY16" fmla="*/ 282826 h 828110"/>
                <a:gd name="connsiteX17" fmla="*/ 1502751 w 1885653"/>
                <a:gd name="connsiteY17" fmla="*/ 294691 h 828110"/>
                <a:gd name="connsiteX18" fmla="*/ 1462446 w 1885653"/>
                <a:gd name="connsiteY18" fmla="*/ 307760 h 828110"/>
                <a:gd name="connsiteX19" fmla="*/ 1440933 w 1885653"/>
                <a:gd name="connsiteY19" fmla="*/ 312305 h 828110"/>
                <a:gd name="connsiteX20" fmla="*/ 1411871 w 1885653"/>
                <a:gd name="connsiteY20" fmla="*/ 308963 h 828110"/>
                <a:gd name="connsiteX21" fmla="*/ 1375341 w 1885653"/>
                <a:gd name="connsiteY21" fmla="*/ 287305 h 828110"/>
                <a:gd name="connsiteX22" fmla="*/ 1340839 w 1885653"/>
                <a:gd name="connsiteY22" fmla="*/ 300674 h 828110"/>
                <a:gd name="connsiteX23" fmla="*/ 1332721 w 1885653"/>
                <a:gd name="connsiteY23" fmla="*/ 306891 h 828110"/>
                <a:gd name="connsiteX24" fmla="*/ 1319733 w 1885653"/>
                <a:gd name="connsiteY24" fmla="*/ 311704 h 828110"/>
                <a:gd name="connsiteX25" fmla="*/ 1344655 w 1885653"/>
                <a:gd name="connsiteY25" fmla="*/ 326377 h 828110"/>
                <a:gd name="connsiteX26" fmla="*/ 1374772 w 1885653"/>
                <a:gd name="connsiteY26" fmla="*/ 342587 h 828110"/>
                <a:gd name="connsiteX27" fmla="*/ 1401318 w 1885653"/>
                <a:gd name="connsiteY27" fmla="*/ 344626 h 828110"/>
                <a:gd name="connsiteX28" fmla="*/ 1425672 w 1885653"/>
                <a:gd name="connsiteY28" fmla="*/ 370563 h 828110"/>
                <a:gd name="connsiteX29" fmla="*/ 1436307 w 1885653"/>
                <a:gd name="connsiteY29" fmla="*/ 388645 h 828110"/>
                <a:gd name="connsiteX30" fmla="*/ 1404443 w 1885653"/>
                <a:gd name="connsiteY30" fmla="*/ 378050 h 828110"/>
                <a:gd name="connsiteX31" fmla="*/ 1363650 w 1885653"/>
                <a:gd name="connsiteY31" fmla="*/ 366519 h 828110"/>
                <a:gd name="connsiteX32" fmla="*/ 1310884 w 1885653"/>
                <a:gd name="connsiteY32" fmla="*/ 362374 h 828110"/>
                <a:gd name="connsiteX33" fmla="*/ 1274800 w 1885653"/>
                <a:gd name="connsiteY33" fmla="*/ 357695 h 828110"/>
                <a:gd name="connsiteX34" fmla="*/ 1230151 w 1885653"/>
                <a:gd name="connsiteY34" fmla="*/ 351010 h 828110"/>
                <a:gd name="connsiteX35" fmla="*/ 1190576 w 1885653"/>
                <a:gd name="connsiteY35" fmla="*/ 335435 h 828110"/>
                <a:gd name="connsiteX36" fmla="*/ 1155953 w 1885653"/>
                <a:gd name="connsiteY36" fmla="*/ 330622 h 828110"/>
                <a:gd name="connsiteX37" fmla="*/ 1157130 w 1885653"/>
                <a:gd name="connsiteY37" fmla="*/ 349439 h 828110"/>
                <a:gd name="connsiteX38" fmla="*/ 1127052 w 1885653"/>
                <a:gd name="connsiteY38" fmla="*/ 350275 h 828110"/>
                <a:gd name="connsiteX39" fmla="*/ 1083094 w 1885653"/>
                <a:gd name="connsiteY39" fmla="*/ 351010 h 828110"/>
                <a:gd name="connsiteX40" fmla="*/ 1041490 w 1885653"/>
                <a:gd name="connsiteY40" fmla="*/ 338309 h 828110"/>
                <a:gd name="connsiteX41" fmla="*/ 943871 w 1885653"/>
                <a:gd name="connsiteY41" fmla="*/ 318790 h 828110"/>
                <a:gd name="connsiteX42" fmla="*/ 917691 w 1885653"/>
                <a:gd name="connsiteY42" fmla="*/ 310467 h 828110"/>
                <a:gd name="connsiteX43" fmla="*/ 880430 w 1885653"/>
                <a:gd name="connsiteY43" fmla="*/ 291215 h 828110"/>
                <a:gd name="connsiteX44" fmla="*/ 850718 w 1885653"/>
                <a:gd name="connsiteY44" fmla="*/ 277111 h 828110"/>
                <a:gd name="connsiteX45" fmla="*/ 815080 w 1885653"/>
                <a:gd name="connsiteY45" fmla="*/ 256789 h 828110"/>
                <a:gd name="connsiteX46" fmla="*/ 742018 w 1885653"/>
                <a:gd name="connsiteY46" fmla="*/ 231487 h 828110"/>
                <a:gd name="connsiteX47" fmla="*/ 682270 w 1885653"/>
                <a:gd name="connsiteY47" fmla="*/ 207523 h 828110"/>
                <a:gd name="connsiteX48" fmla="*/ 672367 w 1885653"/>
                <a:gd name="connsiteY48" fmla="*/ 183290 h 828110"/>
                <a:gd name="connsiteX49" fmla="*/ 646673 w 1885653"/>
                <a:gd name="connsiteY49" fmla="*/ 160696 h 828110"/>
                <a:gd name="connsiteX50" fmla="*/ 588752 w 1885653"/>
                <a:gd name="connsiteY50" fmla="*/ 129378 h 828110"/>
                <a:gd name="connsiteX51" fmla="*/ 554981 w 1885653"/>
                <a:gd name="connsiteY51" fmla="*/ 112666 h 828110"/>
                <a:gd name="connsiteX52" fmla="*/ 571582 w 1885653"/>
                <a:gd name="connsiteY52" fmla="*/ 92612 h 828110"/>
                <a:gd name="connsiteX53" fmla="*/ 563464 w 1885653"/>
                <a:gd name="connsiteY53" fmla="*/ 66943 h 828110"/>
                <a:gd name="connsiteX54" fmla="*/ 534362 w 1885653"/>
                <a:gd name="connsiteY54" fmla="*/ 45184 h 828110"/>
                <a:gd name="connsiteX55" fmla="*/ 503960 w 1885653"/>
                <a:gd name="connsiteY55" fmla="*/ 22155 h 828110"/>
                <a:gd name="connsiteX56" fmla="*/ 499901 w 1885653"/>
                <a:gd name="connsiteY56" fmla="*/ 8786 h 828110"/>
                <a:gd name="connsiteX57" fmla="*/ 481107 w 1885653"/>
                <a:gd name="connsiteY57" fmla="*/ -339 h 828110"/>
                <a:gd name="connsiteX58" fmla="*/ 465967 w 1885653"/>
                <a:gd name="connsiteY58" fmla="*/ 7081 h 828110"/>
                <a:gd name="connsiteX59" fmla="*/ 443684 w 1885653"/>
                <a:gd name="connsiteY59" fmla="*/ 11293 h 828110"/>
                <a:gd name="connsiteX60" fmla="*/ 423389 w 1885653"/>
                <a:gd name="connsiteY60" fmla="*/ 19013 h 828110"/>
                <a:gd name="connsiteX61" fmla="*/ 422699 w 1885653"/>
                <a:gd name="connsiteY61" fmla="*/ 33152 h 828110"/>
                <a:gd name="connsiteX62" fmla="*/ 370541 w 1885653"/>
                <a:gd name="connsiteY62" fmla="*/ 24261 h 828110"/>
                <a:gd name="connsiteX63" fmla="*/ 345132 w 1885653"/>
                <a:gd name="connsiteY63" fmla="*/ 14234 h 828110"/>
                <a:gd name="connsiteX64" fmla="*/ 331007 w 1885653"/>
                <a:gd name="connsiteY64" fmla="*/ 24528 h 828110"/>
                <a:gd name="connsiteX65" fmla="*/ 310346 w 1885653"/>
                <a:gd name="connsiteY65" fmla="*/ 42744 h 828110"/>
                <a:gd name="connsiteX66" fmla="*/ 298778 w 1885653"/>
                <a:gd name="connsiteY66" fmla="*/ 47892 h 828110"/>
                <a:gd name="connsiteX67" fmla="*/ 269837 w 1885653"/>
                <a:gd name="connsiteY67" fmla="*/ 39034 h 828110"/>
                <a:gd name="connsiteX68" fmla="*/ 238178 w 1885653"/>
                <a:gd name="connsiteY68" fmla="*/ 41775 h 828110"/>
                <a:gd name="connsiteX69" fmla="*/ 237244 w 1885653"/>
                <a:gd name="connsiteY69" fmla="*/ 57116 h 828110"/>
                <a:gd name="connsiteX70" fmla="*/ 243739 w 1885653"/>
                <a:gd name="connsiteY70" fmla="*/ 74229 h 828110"/>
                <a:gd name="connsiteX71" fmla="*/ 228761 w 1885653"/>
                <a:gd name="connsiteY71" fmla="*/ 80246 h 828110"/>
                <a:gd name="connsiteX72" fmla="*/ 215935 w 1885653"/>
                <a:gd name="connsiteY72" fmla="*/ 93916 h 828110"/>
                <a:gd name="connsiteX73" fmla="*/ 155618 w 1885653"/>
                <a:gd name="connsiteY73" fmla="*/ 97559 h 828110"/>
                <a:gd name="connsiteX74" fmla="*/ 102405 w 1885653"/>
                <a:gd name="connsiteY74" fmla="*/ 94685 h 828110"/>
                <a:gd name="connsiteX75" fmla="*/ 81663 w 1885653"/>
                <a:gd name="connsiteY75" fmla="*/ 96857 h 828110"/>
                <a:gd name="connsiteX76" fmla="*/ 57310 w 1885653"/>
                <a:gd name="connsiteY76" fmla="*/ 88100 h 828110"/>
                <a:gd name="connsiteX77" fmla="*/ 31698 w 1885653"/>
                <a:gd name="connsiteY77" fmla="*/ 89470 h 828110"/>
                <a:gd name="connsiteX78" fmla="*/ 7059 w 1885653"/>
                <a:gd name="connsiteY78" fmla="*/ 95253 h 828110"/>
                <a:gd name="connsiteX79" fmla="*/ 1945 w 1885653"/>
                <a:gd name="connsiteY79" fmla="*/ 113703 h 828110"/>
                <a:gd name="connsiteX80" fmla="*/ 28735 w 1885653"/>
                <a:gd name="connsiteY80" fmla="*/ 130982 h 828110"/>
                <a:gd name="connsiteX81" fmla="*/ 26380 w 1885653"/>
                <a:gd name="connsiteY81" fmla="*/ 154379 h 828110"/>
                <a:gd name="connsiteX82" fmla="*/ 49192 w 1885653"/>
                <a:gd name="connsiteY82" fmla="*/ 171458 h 828110"/>
                <a:gd name="connsiteX83" fmla="*/ 55848 w 1885653"/>
                <a:gd name="connsiteY83" fmla="*/ 185530 h 828110"/>
                <a:gd name="connsiteX84" fmla="*/ 84261 w 1885653"/>
                <a:gd name="connsiteY84" fmla="*/ 200136 h 828110"/>
                <a:gd name="connsiteX85" fmla="*/ 102161 w 1885653"/>
                <a:gd name="connsiteY85" fmla="*/ 207155 h 828110"/>
                <a:gd name="connsiteX86" fmla="*/ 169540 w 1885653"/>
                <a:gd name="connsiteY86" fmla="*/ 229114 h 828110"/>
                <a:gd name="connsiteX87" fmla="*/ 135770 w 1885653"/>
                <a:gd name="connsiteY87" fmla="*/ 241147 h 828110"/>
                <a:gd name="connsiteX88" fmla="*/ 116692 w 1885653"/>
                <a:gd name="connsiteY88" fmla="*/ 241782 h 828110"/>
                <a:gd name="connsiteX89" fmla="*/ 123877 w 1885653"/>
                <a:gd name="connsiteY89" fmla="*/ 257992 h 828110"/>
                <a:gd name="connsiteX90" fmla="*/ 120711 w 1885653"/>
                <a:gd name="connsiteY90" fmla="*/ 268019 h 828110"/>
                <a:gd name="connsiteX91" fmla="*/ 102770 w 1885653"/>
                <a:gd name="connsiteY91" fmla="*/ 261702 h 828110"/>
                <a:gd name="connsiteX92" fmla="*/ 100091 w 1885653"/>
                <a:gd name="connsiteY92" fmla="*/ 282926 h 828110"/>
                <a:gd name="connsiteX93" fmla="*/ 148149 w 1885653"/>
                <a:gd name="connsiteY93" fmla="*/ 324405 h 828110"/>
                <a:gd name="connsiteX94" fmla="*/ 174411 w 1885653"/>
                <a:gd name="connsiteY94" fmla="*/ 325875 h 828110"/>
                <a:gd name="connsiteX95" fmla="*/ 198765 w 1885653"/>
                <a:gd name="connsiteY95" fmla="*/ 341752 h 828110"/>
                <a:gd name="connsiteX96" fmla="*/ 249908 w 1885653"/>
                <a:gd name="connsiteY96" fmla="*/ 380824 h 828110"/>
                <a:gd name="connsiteX97" fmla="*/ 315096 w 1885653"/>
                <a:gd name="connsiteY97" fmla="*/ 411707 h 828110"/>
                <a:gd name="connsiteX98" fmla="*/ 336405 w 1885653"/>
                <a:gd name="connsiteY98" fmla="*/ 418793 h 828110"/>
                <a:gd name="connsiteX99" fmla="*/ 350976 w 1885653"/>
                <a:gd name="connsiteY99" fmla="*/ 417189 h 828110"/>
                <a:gd name="connsiteX100" fmla="*/ 352072 w 1885653"/>
                <a:gd name="connsiteY100" fmla="*/ 435873 h 828110"/>
                <a:gd name="connsiteX101" fmla="*/ 382109 w 1885653"/>
                <a:gd name="connsiteY101" fmla="*/ 426982 h 828110"/>
                <a:gd name="connsiteX102" fmla="*/ 413769 w 1885653"/>
                <a:gd name="connsiteY102" fmla="*/ 438078 h 828110"/>
                <a:gd name="connsiteX103" fmla="*/ 441005 w 1885653"/>
                <a:gd name="connsiteY103" fmla="*/ 450746 h 828110"/>
                <a:gd name="connsiteX104" fmla="*/ 478104 w 1885653"/>
                <a:gd name="connsiteY104" fmla="*/ 445231 h 828110"/>
                <a:gd name="connsiteX105" fmla="*/ 491458 w 1885653"/>
                <a:gd name="connsiteY105" fmla="*/ 446702 h 828110"/>
                <a:gd name="connsiteX106" fmla="*/ 512443 w 1885653"/>
                <a:gd name="connsiteY106" fmla="*/ 444763 h 828110"/>
                <a:gd name="connsiteX107" fmla="*/ 547269 w 1885653"/>
                <a:gd name="connsiteY107" fmla="*/ 454790 h 828110"/>
                <a:gd name="connsiteX108" fmla="*/ 567928 w 1885653"/>
                <a:gd name="connsiteY108" fmla="*/ 468728 h 828110"/>
                <a:gd name="connsiteX109" fmla="*/ 575844 w 1885653"/>
                <a:gd name="connsiteY109" fmla="*/ 478588 h 828110"/>
                <a:gd name="connsiteX110" fmla="*/ 594556 w 1885653"/>
                <a:gd name="connsiteY110" fmla="*/ 483000 h 828110"/>
                <a:gd name="connsiteX111" fmla="*/ 605231 w 1885653"/>
                <a:gd name="connsiteY111" fmla="*/ 501349 h 828110"/>
                <a:gd name="connsiteX112" fmla="*/ 616677 w 1885653"/>
                <a:gd name="connsiteY112" fmla="*/ 515487 h 828110"/>
                <a:gd name="connsiteX113" fmla="*/ 598736 w 1885653"/>
                <a:gd name="connsiteY113" fmla="*/ 536511 h 828110"/>
                <a:gd name="connsiteX114" fmla="*/ 565372 w 1885653"/>
                <a:gd name="connsiteY114" fmla="*/ 549546 h 828110"/>
                <a:gd name="connsiteX115" fmla="*/ 591471 w 1885653"/>
                <a:gd name="connsiteY115" fmla="*/ 570570 h 828110"/>
                <a:gd name="connsiteX116" fmla="*/ 590293 w 1885653"/>
                <a:gd name="connsiteY116" fmla="*/ 585543 h 828110"/>
                <a:gd name="connsiteX117" fmla="*/ 602024 w 1885653"/>
                <a:gd name="connsiteY117" fmla="*/ 592696 h 828110"/>
                <a:gd name="connsiteX118" fmla="*/ 594191 w 1885653"/>
                <a:gd name="connsiteY118" fmla="*/ 603826 h 828110"/>
                <a:gd name="connsiteX119" fmla="*/ 609655 w 1885653"/>
                <a:gd name="connsiteY119" fmla="*/ 617998 h 828110"/>
                <a:gd name="connsiteX120" fmla="*/ 631615 w 1885653"/>
                <a:gd name="connsiteY120" fmla="*/ 629529 h 828110"/>
                <a:gd name="connsiteX121" fmla="*/ 644766 w 1885653"/>
                <a:gd name="connsiteY121" fmla="*/ 641060 h 828110"/>
                <a:gd name="connsiteX122" fmla="*/ 656455 w 1885653"/>
                <a:gd name="connsiteY122" fmla="*/ 633406 h 828110"/>
                <a:gd name="connsiteX123" fmla="*/ 664086 w 1885653"/>
                <a:gd name="connsiteY123" fmla="*/ 624950 h 828110"/>
                <a:gd name="connsiteX124" fmla="*/ 693919 w 1885653"/>
                <a:gd name="connsiteY124" fmla="*/ 629596 h 828110"/>
                <a:gd name="connsiteX125" fmla="*/ 719572 w 1885653"/>
                <a:gd name="connsiteY125" fmla="*/ 637818 h 828110"/>
                <a:gd name="connsiteX126" fmla="*/ 751192 w 1885653"/>
                <a:gd name="connsiteY126" fmla="*/ 646341 h 828110"/>
                <a:gd name="connsiteX127" fmla="*/ 797464 w 1885653"/>
                <a:gd name="connsiteY127" fmla="*/ 660947 h 828110"/>
                <a:gd name="connsiteX128" fmla="*/ 800427 w 1885653"/>
                <a:gd name="connsiteY128" fmla="*/ 672979 h 828110"/>
                <a:gd name="connsiteX129" fmla="*/ 818855 w 1885653"/>
                <a:gd name="connsiteY129" fmla="*/ 692733 h 828110"/>
                <a:gd name="connsiteX130" fmla="*/ 841098 w 1885653"/>
                <a:gd name="connsiteY130" fmla="*/ 703395 h 828110"/>
                <a:gd name="connsiteX131" fmla="*/ 853275 w 1885653"/>
                <a:gd name="connsiteY131" fmla="*/ 702659 h 828110"/>
                <a:gd name="connsiteX132" fmla="*/ 861393 w 1885653"/>
                <a:gd name="connsiteY132" fmla="*/ 711751 h 828110"/>
                <a:gd name="connsiteX133" fmla="*/ 883920 w 1885653"/>
                <a:gd name="connsiteY133" fmla="*/ 718435 h 828110"/>
                <a:gd name="connsiteX134" fmla="*/ 875802 w 1885653"/>
                <a:gd name="connsiteY134" fmla="*/ 735147 h 828110"/>
                <a:gd name="connsiteX135" fmla="*/ 889441 w 1885653"/>
                <a:gd name="connsiteY135" fmla="*/ 735481 h 828110"/>
                <a:gd name="connsiteX136" fmla="*/ 918381 w 1885653"/>
                <a:gd name="connsiteY136" fmla="*/ 734178 h 828110"/>
                <a:gd name="connsiteX137" fmla="*/ 974395 w 1885653"/>
                <a:gd name="connsiteY137" fmla="*/ 740863 h 828110"/>
                <a:gd name="connsiteX138" fmla="*/ 1001265 w 1885653"/>
                <a:gd name="connsiteY138" fmla="*/ 739760 h 828110"/>
                <a:gd name="connsiteX139" fmla="*/ 1026674 w 1885653"/>
                <a:gd name="connsiteY139" fmla="*/ 750689 h 828110"/>
                <a:gd name="connsiteX140" fmla="*/ 1064626 w 1885653"/>
                <a:gd name="connsiteY140" fmla="*/ 760716 h 828110"/>
                <a:gd name="connsiteX141" fmla="*/ 1098234 w 1885653"/>
                <a:gd name="connsiteY141" fmla="*/ 763791 h 828110"/>
                <a:gd name="connsiteX142" fmla="*/ 1137850 w 1885653"/>
                <a:gd name="connsiteY142" fmla="*/ 762053 h 828110"/>
                <a:gd name="connsiteX143" fmla="*/ 1160864 w 1885653"/>
                <a:gd name="connsiteY143" fmla="*/ 762053 h 828110"/>
                <a:gd name="connsiteX144" fmla="*/ 1184203 w 1885653"/>
                <a:gd name="connsiteY144" fmla="*/ 758109 h 828110"/>
                <a:gd name="connsiteX145" fmla="*/ 1196989 w 1885653"/>
                <a:gd name="connsiteY145" fmla="*/ 758811 h 828110"/>
                <a:gd name="connsiteX146" fmla="*/ 1204335 w 1885653"/>
                <a:gd name="connsiteY146" fmla="*/ 748784 h 828110"/>
                <a:gd name="connsiteX147" fmla="*/ 1210871 w 1885653"/>
                <a:gd name="connsiteY147" fmla="*/ 745442 h 828110"/>
                <a:gd name="connsiteX148" fmla="*/ 1213956 w 1885653"/>
                <a:gd name="connsiteY148" fmla="*/ 739225 h 828110"/>
                <a:gd name="connsiteX149" fmla="*/ 1246753 w 1885653"/>
                <a:gd name="connsiteY149" fmla="*/ 739559 h 828110"/>
                <a:gd name="connsiteX150" fmla="*/ 1258483 w 1885653"/>
                <a:gd name="connsiteY150" fmla="*/ 734546 h 828110"/>
                <a:gd name="connsiteX151" fmla="*/ 1278452 w 1885653"/>
                <a:gd name="connsiteY151" fmla="*/ 735147 h 828110"/>
                <a:gd name="connsiteX152" fmla="*/ 1287423 w 1885653"/>
                <a:gd name="connsiteY152" fmla="*/ 725488 h 828110"/>
                <a:gd name="connsiteX153" fmla="*/ 1296312 w 1885653"/>
                <a:gd name="connsiteY153" fmla="*/ 722948 h 828110"/>
                <a:gd name="connsiteX154" fmla="*/ 1297083 w 1885653"/>
                <a:gd name="connsiteY154" fmla="*/ 717533 h 828110"/>
                <a:gd name="connsiteX155" fmla="*/ 1317053 w 1885653"/>
                <a:gd name="connsiteY155" fmla="*/ 717533 h 828110"/>
                <a:gd name="connsiteX156" fmla="*/ 1302806 w 1885653"/>
                <a:gd name="connsiteY156" fmla="*/ 710548 h 828110"/>
                <a:gd name="connsiteX157" fmla="*/ 1291563 w 1885653"/>
                <a:gd name="connsiteY157" fmla="*/ 700888 h 828110"/>
                <a:gd name="connsiteX158" fmla="*/ 1278169 w 1885653"/>
                <a:gd name="connsiteY158" fmla="*/ 696443 h 828110"/>
                <a:gd name="connsiteX159" fmla="*/ 1292254 w 1885653"/>
                <a:gd name="connsiteY159" fmla="*/ 695306 h 828110"/>
                <a:gd name="connsiteX160" fmla="*/ 1310031 w 1885653"/>
                <a:gd name="connsiteY160" fmla="*/ 686951 h 828110"/>
                <a:gd name="connsiteX161" fmla="*/ 1294688 w 1885653"/>
                <a:gd name="connsiteY161" fmla="*/ 674082 h 828110"/>
                <a:gd name="connsiteX162" fmla="*/ 1281619 w 1885653"/>
                <a:gd name="connsiteY162" fmla="*/ 660713 h 828110"/>
                <a:gd name="connsiteX163" fmla="*/ 1320219 w 1885653"/>
                <a:gd name="connsiteY163" fmla="*/ 671342 h 828110"/>
                <a:gd name="connsiteX164" fmla="*/ 1308042 w 1885653"/>
                <a:gd name="connsiteY164" fmla="*/ 650352 h 828110"/>
                <a:gd name="connsiteX165" fmla="*/ 1303131 w 1885653"/>
                <a:gd name="connsiteY165" fmla="*/ 626955 h 828110"/>
                <a:gd name="connsiteX166" fmla="*/ 1288681 w 1885653"/>
                <a:gd name="connsiteY166" fmla="*/ 605664 h 828110"/>
                <a:gd name="connsiteX167" fmla="*/ 1291928 w 1885653"/>
                <a:gd name="connsiteY167" fmla="*/ 591025 h 828110"/>
                <a:gd name="connsiteX168" fmla="*/ 1311939 w 1885653"/>
                <a:gd name="connsiteY168" fmla="*/ 591392 h 828110"/>
                <a:gd name="connsiteX169" fmla="*/ 1320707 w 1885653"/>
                <a:gd name="connsiteY169" fmla="*/ 587749 h 828110"/>
                <a:gd name="connsiteX170" fmla="*/ 1332071 w 1885653"/>
                <a:gd name="connsiteY170" fmla="*/ 591092 h 828110"/>
                <a:gd name="connsiteX171" fmla="*/ 1353301 w 1885653"/>
                <a:gd name="connsiteY171" fmla="*/ 589354 h 828110"/>
                <a:gd name="connsiteX172" fmla="*/ 1401683 w 1885653"/>
                <a:gd name="connsiteY172" fmla="*/ 594568 h 828110"/>
                <a:gd name="connsiteX173" fmla="*/ 1376030 w 1885653"/>
                <a:gd name="connsiteY173" fmla="*/ 578357 h 828110"/>
                <a:gd name="connsiteX174" fmla="*/ 1350459 w 1885653"/>
                <a:gd name="connsiteY174" fmla="*/ 561813 h 828110"/>
                <a:gd name="connsiteX175" fmla="*/ 1303902 w 1885653"/>
                <a:gd name="connsiteY175" fmla="*/ 545870 h 828110"/>
                <a:gd name="connsiteX176" fmla="*/ 1272081 w 1885653"/>
                <a:gd name="connsiteY176" fmla="*/ 514585 h 828110"/>
                <a:gd name="connsiteX177" fmla="*/ 1314902 w 1885653"/>
                <a:gd name="connsiteY177" fmla="*/ 517627 h 828110"/>
                <a:gd name="connsiteX178" fmla="*/ 1343843 w 1885653"/>
                <a:gd name="connsiteY178" fmla="*/ 513482 h 828110"/>
                <a:gd name="connsiteX179" fmla="*/ 1388492 w 1885653"/>
                <a:gd name="connsiteY179" fmla="*/ 515955 h 828110"/>
                <a:gd name="connsiteX180" fmla="*/ 1412846 w 1885653"/>
                <a:gd name="connsiteY180" fmla="*/ 537647 h 828110"/>
                <a:gd name="connsiteX181" fmla="*/ 1390237 w 1885653"/>
                <a:gd name="connsiteY181" fmla="*/ 546271 h 828110"/>
                <a:gd name="connsiteX182" fmla="*/ 1394296 w 1885653"/>
                <a:gd name="connsiteY182" fmla="*/ 557267 h 828110"/>
                <a:gd name="connsiteX183" fmla="*/ 1449701 w 1885653"/>
                <a:gd name="connsiteY183" fmla="*/ 562548 h 828110"/>
                <a:gd name="connsiteX184" fmla="*/ 1474055 w 1885653"/>
                <a:gd name="connsiteY184" fmla="*/ 567294 h 828110"/>
                <a:gd name="connsiteX185" fmla="*/ 1493619 w 1885653"/>
                <a:gd name="connsiteY185" fmla="*/ 567294 h 828110"/>
                <a:gd name="connsiteX186" fmla="*/ 1562621 w 1885653"/>
                <a:gd name="connsiteY186" fmla="*/ 574179 h 828110"/>
                <a:gd name="connsiteX187" fmla="*/ 1589736 w 1885653"/>
                <a:gd name="connsiteY187" fmla="*/ 578324 h 828110"/>
                <a:gd name="connsiteX188" fmla="*/ 1619488 w 1885653"/>
                <a:gd name="connsiteY188" fmla="*/ 593164 h 828110"/>
                <a:gd name="connsiteX189" fmla="*/ 1634628 w 1885653"/>
                <a:gd name="connsiteY189" fmla="*/ 589654 h 828110"/>
                <a:gd name="connsiteX190" fmla="*/ 1663974 w 1885653"/>
                <a:gd name="connsiteY190" fmla="*/ 592128 h 828110"/>
                <a:gd name="connsiteX191" fmla="*/ 1689221 w 1885653"/>
                <a:gd name="connsiteY191" fmla="*/ 590289 h 828110"/>
                <a:gd name="connsiteX192" fmla="*/ 1727010 w 1885653"/>
                <a:gd name="connsiteY192" fmla="*/ 599414 h 828110"/>
                <a:gd name="connsiteX193" fmla="*/ 1736954 w 1885653"/>
                <a:gd name="connsiteY193" fmla="*/ 577020 h 828110"/>
                <a:gd name="connsiteX194" fmla="*/ 1767113 w 1885653"/>
                <a:gd name="connsiteY194" fmla="*/ 572775 h 828110"/>
                <a:gd name="connsiteX195" fmla="*/ 1798894 w 1885653"/>
                <a:gd name="connsiteY195" fmla="*/ 589487 h 828110"/>
                <a:gd name="connsiteX196" fmla="*/ 1831123 w 1885653"/>
                <a:gd name="connsiteY196" fmla="*/ 583337 h 828110"/>
                <a:gd name="connsiteX197" fmla="*/ 1866233 w 1885653"/>
                <a:gd name="connsiteY197" fmla="*/ 571773 h 828110"/>
                <a:gd name="connsiteX198" fmla="*/ 1880642 w 1885653"/>
                <a:gd name="connsiteY198" fmla="*/ 569868 h 828110"/>
                <a:gd name="connsiteX199" fmla="*/ 1883199 w 1885653"/>
                <a:gd name="connsiteY199" fmla="*/ 558203 h 828110"/>
                <a:gd name="connsiteX200" fmla="*/ 1197476 w 1885653"/>
                <a:gd name="connsiteY200" fmla="*/ 795577 h 828110"/>
                <a:gd name="connsiteX201" fmla="*/ 1196218 w 1885653"/>
                <a:gd name="connsiteY201" fmla="*/ 827764 h 828110"/>
                <a:gd name="connsiteX202" fmla="*/ 1236807 w 1885653"/>
                <a:gd name="connsiteY202" fmla="*/ 812690 h 828110"/>
                <a:gd name="connsiteX203" fmla="*/ 1258158 w 1885653"/>
                <a:gd name="connsiteY203" fmla="*/ 793037 h 828110"/>
                <a:gd name="connsiteX204" fmla="*/ 1197517 w 1885653"/>
                <a:gd name="connsiteY204" fmla="*/ 795577 h 828110"/>
                <a:gd name="connsiteX205" fmla="*/ 869795 w 1885653"/>
                <a:gd name="connsiteY205" fmla="*/ 744004 h 828110"/>
                <a:gd name="connsiteX206" fmla="*/ 862489 w 1885653"/>
                <a:gd name="connsiteY206" fmla="*/ 772582 h 828110"/>
                <a:gd name="connsiteX207" fmla="*/ 894960 w 1885653"/>
                <a:gd name="connsiteY207" fmla="*/ 763591 h 828110"/>
                <a:gd name="connsiteX208" fmla="*/ 869795 w 1885653"/>
                <a:gd name="connsiteY208" fmla="*/ 744004 h 82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885653" h="828110">
                  <a:moveTo>
                    <a:pt x="1884214" y="558738"/>
                  </a:moveTo>
                  <a:cubicBezTo>
                    <a:pt x="1892332" y="549145"/>
                    <a:pt x="1862377" y="545101"/>
                    <a:pt x="1853407" y="541491"/>
                  </a:cubicBezTo>
                  <a:cubicBezTo>
                    <a:pt x="1839931" y="536010"/>
                    <a:pt x="1837739" y="537881"/>
                    <a:pt x="1825928" y="536912"/>
                  </a:cubicBezTo>
                  <a:cubicBezTo>
                    <a:pt x="1818621" y="536310"/>
                    <a:pt x="1803319" y="527754"/>
                    <a:pt x="1796541" y="524412"/>
                  </a:cubicBezTo>
                  <a:cubicBezTo>
                    <a:pt x="1777666" y="515220"/>
                    <a:pt x="1772673" y="501550"/>
                    <a:pt x="1780994" y="492693"/>
                  </a:cubicBezTo>
                  <a:cubicBezTo>
                    <a:pt x="1784282" y="489350"/>
                    <a:pt x="1750511" y="461141"/>
                    <a:pt x="1742597" y="457063"/>
                  </a:cubicBezTo>
                  <a:cubicBezTo>
                    <a:pt x="1734682" y="452985"/>
                    <a:pt x="1707243" y="435405"/>
                    <a:pt x="1704889" y="430324"/>
                  </a:cubicBezTo>
                  <a:cubicBezTo>
                    <a:pt x="1702534" y="425244"/>
                    <a:pt x="1710044" y="423639"/>
                    <a:pt x="1709435" y="419194"/>
                  </a:cubicBezTo>
                  <a:cubicBezTo>
                    <a:pt x="1708541" y="412509"/>
                    <a:pt x="1704685" y="405290"/>
                    <a:pt x="1705376" y="399140"/>
                  </a:cubicBezTo>
                  <a:cubicBezTo>
                    <a:pt x="1705863" y="395463"/>
                    <a:pt x="1702453" y="391218"/>
                    <a:pt x="1700667" y="387241"/>
                  </a:cubicBezTo>
                  <a:cubicBezTo>
                    <a:pt x="1697014" y="379153"/>
                    <a:pt x="1701885" y="373136"/>
                    <a:pt x="1698922" y="365315"/>
                  </a:cubicBezTo>
                  <a:cubicBezTo>
                    <a:pt x="1697826" y="362374"/>
                    <a:pt x="1691656" y="357528"/>
                    <a:pt x="1692671" y="355021"/>
                  </a:cubicBezTo>
                  <a:cubicBezTo>
                    <a:pt x="1694944" y="349339"/>
                    <a:pt x="1694822" y="347501"/>
                    <a:pt x="1687354" y="340248"/>
                  </a:cubicBezTo>
                  <a:cubicBezTo>
                    <a:pt x="1663447" y="316851"/>
                    <a:pt x="1620056" y="293889"/>
                    <a:pt x="1581212" y="281690"/>
                  </a:cubicBezTo>
                  <a:cubicBezTo>
                    <a:pt x="1567898" y="277512"/>
                    <a:pt x="1554991" y="270192"/>
                    <a:pt x="1541393" y="268320"/>
                  </a:cubicBezTo>
                  <a:cubicBezTo>
                    <a:pt x="1535711" y="267518"/>
                    <a:pt x="1514361" y="267685"/>
                    <a:pt x="1517932" y="273467"/>
                  </a:cubicBezTo>
                  <a:cubicBezTo>
                    <a:pt x="1520652" y="277946"/>
                    <a:pt x="1528120" y="276810"/>
                    <a:pt x="1528851" y="282826"/>
                  </a:cubicBezTo>
                  <a:cubicBezTo>
                    <a:pt x="1530637" y="296997"/>
                    <a:pt x="1518298" y="292184"/>
                    <a:pt x="1502751" y="294691"/>
                  </a:cubicBezTo>
                  <a:cubicBezTo>
                    <a:pt x="1488667" y="297542"/>
                    <a:pt x="1475110" y="301937"/>
                    <a:pt x="1462446" y="307760"/>
                  </a:cubicBezTo>
                  <a:cubicBezTo>
                    <a:pt x="1455424" y="310701"/>
                    <a:pt x="1455302" y="316884"/>
                    <a:pt x="1440933" y="312305"/>
                  </a:cubicBezTo>
                  <a:cubicBezTo>
                    <a:pt x="1431719" y="309364"/>
                    <a:pt x="1420638" y="309966"/>
                    <a:pt x="1411871" y="308963"/>
                  </a:cubicBezTo>
                  <a:cubicBezTo>
                    <a:pt x="1392997" y="306991"/>
                    <a:pt x="1386625" y="294959"/>
                    <a:pt x="1375341" y="287305"/>
                  </a:cubicBezTo>
                  <a:cubicBezTo>
                    <a:pt x="1363813" y="291760"/>
                    <a:pt x="1352326" y="296219"/>
                    <a:pt x="1340839" y="300674"/>
                  </a:cubicBezTo>
                  <a:cubicBezTo>
                    <a:pt x="1337470" y="302085"/>
                    <a:pt x="1334670" y="304237"/>
                    <a:pt x="1332721" y="306891"/>
                  </a:cubicBezTo>
                  <a:cubicBezTo>
                    <a:pt x="1329921" y="309932"/>
                    <a:pt x="1318961" y="307091"/>
                    <a:pt x="1319733" y="311704"/>
                  </a:cubicBezTo>
                  <a:cubicBezTo>
                    <a:pt x="1321356" y="321062"/>
                    <a:pt x="1333249" y="323135"/>
                    <a:pt x="1344655" y="326377"/>
                  </a:cubicBezTo>
                  <a:cubicBezTo>
                    <a:pt x="1358617" y="330388"/>
                    <a:pt x="1363367" y="337340"/>
                    <a:pt x="1374772" y="342587"/>
                  </a:cubicBezTo>
                  <a:cubicBezTo>
                    <a:pt x="1381551" y="345696"/>
                    <a:pt x="1389871" y="339044"/>
                    <a:pt x="1401318" y="344626"/>
                  </a:cubicBezTo>
                  <a:cubicBezTo>
                    <a:pt x="1411709" y="349706"/>
                    <a:pt x="1419705" y="363711"/>
                    <a:pt x="1425672" y="370563"/>
                  </a:cubicBezTo>
                  <a:cubicBezTo>
                    <a:pt x="1429244" y="374641"/>
                    <a:pt x="1440366" y="385236"/>
                    <a:pt x="1436307" y="388645"/>
                  </a:cubicBezTo>
                  <a:cubicBezTo>
                    <a:pt x="1430259" y="393725"/>
                    <a:pt x="1410735" y="381960"/>
                    <a:pt x="1404443" y="378050"/>
                  </a:cubicBezTo>
                  <a:cubicBezTo>
                    <a:pt x="1392673" y="370496"/>
                    <a:pt x="1376559" y="371666"/>
                    <a:pt x="1363650" y="366519"/>
                  </a:cubicBezTo>
                  <a:cubicBezTo>
                    <a:pt x="1344736" y="358931"/>
                    <a:pt x="1325131" y="357828"/>
                    <a:pt x="1310884" y="362374"/>
                  </a:cubicBezTo>
                  <a:cubicBezTo>
                    <a:pt x="1299154" y="366084"/>
                    <a:pt x="1289533" y="362574"/>
                    <a:pt x="1274800" y="357695"/>
                  </a:cubicBezTo>
                  <a:cubicBezTo>
                    <a:pt x="1258564" y="352280"/>
                    <a:pt x="1246102" y="353450"/>
                    <a:pt x="1230151" y="351010"/>
                  </a:cubicBezTo>
                  <a:cubicBezTo>
                    <a:pt x="1215498" y="348794"/>
                    <a:pt x="1201860" y="343420"/>
                    <a:pt x="1190576" y="335435"/>
                  </a:cubicBezTo>
                  <a:cubicBezTo>
                    <a:pt x="1180754" y="328148"/>
                    <a:pt x="1162163" y="323569"/>
                    <a:pt x="1155953" y="330622"/>
                  </a:cubicBezTo>
                  <a:cubicBezTo>
                    <a:pt x="1151488" y="335735"/>
                    <a:pt x="1161879" y="343991"/>
                    <a:pt x="1157130" y="349439"/>
                  </a:cubicBezTo>
                  <a:cubicBezTo>
                    <a:pt x="1152381" y="354887"/>
                    <a:pt x="1136835" y="350843"/>
                    <a:pt x="1127052" y="350275"/>
                  </a:cubicBezTo>
                  <a:cubicBezTo>
                    <a:pt x="1111467" y="349339"/>
                    <a:pt x="1099493" y="352948"/>
                    <a:pt x="1083094" y="351010"/>
                  </a:cubicBezTo>
                  <a:cubicBezTo>
                    <a:pt x="1068319" y="349098"/>
                    <a:pt x="1054194" y="344780"/>
                    <a:pt x="1041490" y="338309"/>
                  </a:cubicBezTo>
                  <a:cubicBezTo>
                    <a:pt x="1006542" y="321898"/>
                    <a:pt x="979509" y="319425"/>
                    <a:pt x="943871" y="318790"/>
                  </a:cubicBezTo>
                  <a:cubicBezTo>
                    <a:pt x="933277" y="318589"/>
                    <a:pt x="923861" y="318155"/>
                    <a:pt x="917691" y="310467"/>
                  </a:cubicBezTo>
                  <a:cubicBezTo>
                    <a:pt x="910344" y="301242"/>
                    <a:pt x="891754" y="299304"/>
                    <a:pt x="880430" y="291215"/>
                  </a:cubicBezTo>
                  <a:cubicBezTo>
                    <a:pt x="870972" y="284530"/>
                    <a:pt x="860378" y="283127"/>
                    <a:pt x="850718" y="277111"/>
                  </a:cubicBezTo>
                  <a:cubicBezTo>
                    <a:pt x="838216" y="269356"/>
                    <a:pt x="830423" y="262805"/>
                    <a:pt x="815080" y="256789"/>
                  </a:cubicBezTo>
                  <a:cubicBezTo>
                    <a:pt x="791092" y="247464"/>
                    <a:pt x="766779" y="239476"/>
                    <a:pt x="742018" y="231487"/>
                  </a:cubicBezTo>
                  <a:cubicBezTo>
                    <a:pt x="725133" y="225972"/>
                    <a:pt x="687871" y="218118"/>
                    <a:pt x="682270" y="207523"/>
                  </a:cubicBezTo>
                  <a:cubicBezTo>
                    <a:pt x="677927" y="199762"/>
                    <a:pt x="674598" y="191636"/>
                    <a:pt x="672367" y="183290"/>
                  </a:cubicBezTo>
                  <a:cubicBezTo>
                    <a:pt x="669565" y="172762"/>
                    <a:pt x="653898" y="169687"/>
                    <a:pt x="646673" y="160696"/>
                  </a:cubicBezTo>
                  <a:cubicBezTo>
                    <a:pt x="633968" y="144887"/>
                    <a:pt x="612497" y="138737"/>
                    <a:pt x="588752" y="129378"/>
                  </a:cubicBezTo>
                  <a:cubicBezTo>
                    <a:pt x="577671" y="125000"/>
                    <a:pt x="562531" y="119351"/>
                    <a:pt x="554981" y="112666"/>
                  </a:cubicBezTo>
                  <a:cubicBezTo>
                    <a:pt x="548446" y="106817"/>
                    <a:pt x="567157" y="97057"/>
                    <a:pt x="571582" y="92612"/>
                  </a:cubicBezTo>
                  <a:cubicBezTo>
                    <a:pt x="580715" y="83387"/>
                    <a:pt x="562043" y="77371"/>
                    <a:pt x="563464" y="66943"/>
                  </a:cubicBezTo>
                  <a:cubicBezTo>
                    <a:pt x="564763" y="57718"/>
                    <a:pt x="545604" y="50799"/>
                    <a:pt x="534362" y="45184"/>
                  </a:cubicBezTo>
                  <a:cubicBezTo>
                    <a:pt x="522793" y="38881"/>
                    <a:pt x="512564" y="31106"/>
                    <a:pt x="503960" y="22155"/>
                  </a:cubicBezTo>
                  <a:cubicBezTo>
                    <a:pt x="499901" y="17576"/>
                    <a:pt x="500591" y="13231"/>
                    <a:pt x="499901" y="8786"/>
                  </a:cubicBezTo>
                  <a:cubicBezTo>
                    <a:pt x="492837" y="6379"/>
                    <a:pt x="485248" y="3973"/>
                    <a:pt x="481107" y="-339"/>
                  </a:cubicBezTo>
                  <a:cubicBezTo>
                    <a:pt x="477536" y="2803"/>
                    <a:pt x="467550" y="3004"/>
                    <a:pt x="465967" y="7081"/>
                  </a:cubicBezTo>
                  <a:cubicBezTo>
                    <a:pt x="463045" y="14234"/>
                    <a:pt x="455332" y="12797"/>
                    <a:pt x="443684" y="11293"/>
                  </a:cubicBezTo>
                  <a:cubicBezTo>
                    <a:pt x="432725" y="9855"/>
                    <a:pt x="425825" y="14000"/>
                    <a:pt x="423389" y="19013"/>
                  </a:cubicBezTo>
                  <a:cubicBezTo>
                    <a:pt x="421644" y="22356"/>
                    <a:pt x="427732" y="31113"/>
                    <a:pt x="422699" y="33152"/>
                  </a:cubicBezTo>
                  <a:cubicBezTo>
                    <a:pt x="408290" y="39068"/>
                    <a:pt x="386168" y="28539"/>
                    <a:pt x="370541" y="24261"/>
                  </a:cubicBezTo>
                  <a:cubicBezTo>
                    <a:pt x="365873" y="22957"/>
                    <a:pt x="348542" y="13398"/>
                    <a:pt x="345132" y="14234"/>
                  </a:cubicBezTo>
                  <a:cubicBezTo>
                    <a:pt x="339531" y="15404"/>
                    <a:pt x="334659" y="22022"/>
                    <a:pt x="331007" y="24528"/>
                  </a:cubicBezTo>
                  <a:cubicBezTo>
                    <a:pt x="327354" y="27035"/>
                    <a:pt x="305313" y="38399"/>
                    <a:pt x="310346" y="42744"/>
                  </a:cubicBezTo>
                  <a:cubicBezTo>
                    <a:pt x="319601" y="50799"/>
                    <a:pt x="310022" y="51635"/>
                    <a:pt x="298778" y="47892"/>
                  </a:cubicBezTo>
                  <a:cubicBezTo>
                    <a:pt x="285262" y="43446"/>
                    <a:pt x="285140" y="39870"/>
                    <a:pt x="269837" y="39034"/>
                  </a:cubicBezTo>
                  <a:cubicBezTo>
                    <a:pt x="257093" y="38299"/>
                    <a:pt x="232292" y="31313"/>
                    <a:pt x="238178" y="41775"/>
                  </a:cubicBezTo>
                  <a:cubicBezTo>
                    <a:pt x="241385" y="47490"/>
                    <a:pt x="235824" y="51802"/>
                    <a:pt x="237244" y="57116"/>
                  </a:cubicBezTo>
                  <a:cubicBezTo>
                    <a:pt x="238665" y="62431"/>
                    <a:pt x="244022" y="68748"/>
                    <a:pt x="243739" y="74229"/>
                  </a:cubicBezTo>
                  <a:cubicBezTo>
                    <a:pt x="243495" y="78207"/>
                    <a:pt x="233591" y="78875"/>
                    <a:pt x="228761" y="80246"/>
                  </a:cubicBezTo>
                  <a:cubicBezTo>
                    <a:pt x="221211" y="82351"/>
                    <a:pt x="223038" y="94083"/>
                    <a:pt x="215935" y="93916"/>
                  </a:cubicBezTo>
                  <a:cubicBezTo>
                    <a:pt x="196533" y="93481"/>
                    <a:pt x="169703" y="91810"/>
                    <a:pt x="155618" y="97559"/>
                  </a:cubicBezTo>
                  <a:cubicBezTo>
                    <a:pt x="139382" y="104244"/>
                    <a:pt x="119859" y="88902"/>
                    <a:pt x="102405" y="94685"/>
                  </a:cubicBezTo>
                  <a:cubicBezTo>
                    <a:pt x="95342" y="97057"/>
                    <a:pt x="89092" y="95654"/>
                    <a:pt x="81663" y="96857"/>
                  </a:cubicBezTo>
                  <a:cubicBezTo>
                    <a:pt x="71475" y="98562"/>
                    <a:pt x="67863" y="88133"/>
                    <a:pt x="57310" y="88100"/>
                  </a:cubicBezTo>
                  <a:cubicBezTo>
                    <a:pt x="48745" y="87729"/>
                    <a:pt x="40140" y="88190"/>
                    <a:pt x="31698" y="89470"/>
                  </a:cubicBezTo>
                  <a:cubicBezTo>
                    <a:pt x="16517" y="92378"/>
                    <a:pt x="15827" y="86763"/>
                    <a:pt x="7059" y="95253"/>
                  </a:cubicBezTo>
                  <a:cubicBezTo>
                    <a:pt x="2595" y="99598"/>
                    <a:pt x="-3169" y="107085"/>
                    <a:pt x="1945" y="113703"/>
                  </a:cubicBezTo>
                  <a:cubicBezTo>
                    <a:pt x="6329" y="119385"/>
                    <a:pt x="29587" y="123028"/>
                    <a:pt x="28735" y="130982"/>
                  </a:cubicBezTo>
                  <a:cubicBezTo>
                    <a:pt x="28491" y="133556"/>
                    <a:pt x="27801" y="154379"/>
                    <a:pt x="26380" y="154379"/>
                  </a:cubicBezTo>
                  <a:cubicBezTo>
                    <a:pt x="33646" y="159927"/>
                    <a:pt x="43509" y="165375"/>
                    <a:pt x="49192" y="171458"/>
                  </a:cubicBezTo>
                  <a:cubicBezTo>
                    <a:pt x="53251" y="176004"/>
                    <a:pt x="49192" y="180249"/>
                    <a:pt x="55848" y="185530"/>
                  </a:cubicBezTo>
                  <a:cubicBezTo>
                    <a:pt x="64453" y="191479"/>
                    <a:pt x="73992" y="196396"/>
                    <a:pt x="84261" y="200136"/>
                  </a:cubicBezTo>
                  <a:cubicBezTo>
                    <a:pt x="93678" y="203177"/>
                    <a:pt x="96032" y="200738"/>
                    <a:pt x="102161" y="207155"/>
                  </a:cubicBezTo>
                  <a:cubicBezTo>
                    <a:pt x="118884" y="191379"/>
                    <a:pt x="182326" y="218953"/>
                    <a:pt x="169540" y="229114"/>
                  </a:cubicBezTo>
                  <a:cubicBezTo>
                    <a:pt x="159880" y="235648"/>
                    <a:pt x="148190" y="239816"/>
                    <a:pt x="135770" y="241147"/>
                  </a:cubicBezTo>
                  <a:cubicBezTo>
                    <a:pt x="126597" y="242049"/>
                    <a:pt x="121198" y="236133"/>
                    <a:pt x="116692" y="241782"/>
                  </a:cubicBezTo>
                  <a:cubicBezTo>
                    <a:pt x="112633" y="246728"/>
                    <a:pt x="119980" y="252578"/>
                    <a:pt x="123877" y="257992"/>
                  </a:cubicBezTo>
                  <a:cubicBezTo>
                    <a:pt x="126759" y="262036"/>
                    <a:pt x="130006" y="267652"/>
                    <a:pt x="120711" y="268019"/>
                  </a:cubicBezTo>
                  <a:cubicBezTo>
                    <a:pt x="111416" y="268387"/>
                    <a:pt x="110036" y="263307"/>
                    <a:pt x="102770" y="261702"/>
                  </a:cubicBezTo>
                  <a:cubicBezTo>
                    <a:pt x="92947" y="259496"/>
                    <a:pt x="97250" y="279951"/>
                    <a:pt x="100091" y="282926"/>
                  </a:cubicBezTo>
                  <a:cubicBezTo>
                    <a:pt x="104922" y="287873"/>
                    <a:pt x="157282" y="319692"/>
                    <a:pt x="148149" y="324405"/>
                  </a:cubicBezTo>
                  <a:cubicBezTo>
                    <a:pt x="157648" y="326243"/>
                    <a:pt x="167064" y="324104"/>
                    <a:pt x="174411" y="325875"/>
                  </a:cubicBezTo>
                  <a:cubicBezTo>
                    <a:pt x="185898" y="328650"/>
                    <a:pt x="191702" y="336170"/>
                    <a:pt x="198765" y="341752"/>
                  </a:cubicBezTo>
                  <a:cubicBezTo>
                    <a:pt x="215001" y="354620"/>
                    <a:pt x="231683" y="368791"/>
                    <a:pt x="249908" y="380824"/>
                  </a:cubicBezTo>
                  <a:cubicBezTo>
                    <a:pt x="269473" y="393792"/>
                    <a:pt x="292365" y="401680"/>
                    <a:pt x="315096" y="411707"/>
                  </a:cubicBezTo>
                  <a:cubicBezTo>
                    <a:pt x="322036" y="414391"/>
                    <a:pt x="329140" y="416757"/>
                    <a:pt x="336405" y="418793"/>
                  </a:cubicBezTo>
                  <a:cubicBezTo>
                    <a:pt x="341154" y="417657"/>
                    <a:pt x="346065" y="417115"/>
                    <a:pt x="350976" y="417189"/>
                  </a:cubicBezTo>
                  <a:cubicBezTo>
                    <a:pt x="360881" y="419963"/>
                    <a:pt x="350976" y="432296"/>
                    <a:pt x="352072" y="435873"/>
                  </a:cubicBezTo>
                  <a:cubicBezTo>
                    <a:pt x="362911" y="431728"/>
                    <a:pt x="366929" y="426681"/>
                    <a:pt x="382109" y="426982"/>
                  </a:cubicBezTo>
                  <a:cubicBezTo>
                    <a:pt x="398669" y="427349"/>
                    <a:pt x="399238" y="432329"/>
                    <a:pt x="413769" y="438078"/>
                  </a:cubicBezTo>
                  <a:cubicBezTo>
                    <a:pt x="425621" y="442791"/>
                    <a:pt x="432440" y="441955"/>
                    <a:pt x="441005" y="450746"/>
                  </a:cubicBezTo>
                  <a:cubicBezTo>
                    <a:pt x="458256" y="451481"/>
                    <a:pt x="463491" y="448206"/>
                    <a:pt x="478104" y="445231"/>
                  </a:cubicBezTo>
                  <a:cubicBezTo>
                    <a:pt x="481392" y="444563"/>
                    <a:pt x="487399" y="447203"/>
                    <a:pt x="491458" y="446702"/>
                  </a:cubicBezTo>
                  <a:cubicBezTo>
                    <a:pt x="498399" y="445602"/>
                    <a:pt x="505380" y="444954"/>
                    <a:pt x="512443" y="444763"/>
                  </a:cubicBezTo>
                  <a:cubicBezTo>
                    <a:pt x="524294" y="444763"/>
                    <a:pt x="537892" y="455826"/>
                    <a:pt x="547269" y="454790"/>
                  </a:cubicBezTo>
                  <a:cubicBezTo>
                    <a:pt x="564195" y="452685"/>
                    <a:pt x="563220" y="460606"/>
                    <a:pt x="567928" y="468728"/>
                  </a:cubicBezTo>
                  <a:cubicBezTo>
                    <a:pt x="570324" y="472839"/>
                    <a:pt x="569918" y="475078"/>
                    <a:pt x="575844" y="478588"/>
                  </a:cubicBezTo>
                  <a:cubicBezTo>
                    <a:pt x="584205" y="483568"/>
                    <a:pt x="585545" y="480894"/>
                    <a:pt x="594556" y="483000"/>
                  </a:cubicBezTo>
                  <a:cubicBezTo>
                    <a:pt x="612699" y="487211"/>
                    <a:pt x="601984" y="494798"/>
                    <a:pt x="605231" y="501349"/>
                  </a:cubicBezTo>
                  <a:cubicBezTo>
                    <a:pt x="608721" y="508468"/>
                    <a:pt x="621467" y="505561"/>
                    <a:pt x="616677" y="515487"/>
                  </a:cubicBezTo>
                  <a:cubicBezTo>
                    <a:pt x="612943" y="523476"/>
                    <a:pt x="613349" y="533770"/>
                    <a:pt x="598736" y="536511"/>
                  </a:cubicBezTo>
                  <a:cubicBezTo>
                    <a:pt x="587169" y="538683"/>
                    <a:pt x="570608" y="542627"/>
                    <a:pt x="565372" y="549546"/>
                  </a:cubicBezTo>
                  <a:cubicBezTo>
                    <a:pt x="552221" y="566859"/>
                    <a:pt x="585179" y="556498"/>
                    <a:pt x="591471" y="570570"/>
                  </a:cubicBezTo>
                  <a:cubicBezTo>
                    <a:pt x="593622" y="575383"/>
                    <a:pt x="583353" y="578625"/>
                    <a:pt x="590293" y="585543"/>
                  </a:cubicBezTo>
                  <a:cubicBezTo>
                    <a:pt x="593378" y="588585"/>
                    <a:pt x="599346" y="589287"/>
                    <a:pt x="602024" y="592696"/>
                  </a:cubicBezTo>
                  <a:cubicBezTo>
                    <a:pt x="605718" y="597542"/>
                    <a:pt x="596666" y="600718"/>
                    <a:pt x="594191" y="603826"/>
                  </a:cubicBezTo>
                  <a:cubicBezTo>
                    <a:pt x="588711" y="610511"/>
                    <a:pt x="615379" y="611279"/>
                    <a:pt x="609655" y="617998"/>
                  </a:cubicBezTo>
                  <a:cubicBezTo>
                    <a:pt x="602917" y="625852"/>
                    <a:pt x="623334" y="628827"/>
                    <a:pt x="631615" y="629529"/>
                  </a:cubicBezTo>
                  <a:cubicBezTo>
                    <a:pt x="642005" y="630364"/>
                    <a:pt x="640544" y="636581"/>
                    <a:pt x="644766" y="641060"/>
                  </a:cubicBezTo>
                  <a:cubicBezTo>
                    <a:pt x="653939" y="650786"/>
                    <a:pt x="657348" y="637149"/>
                    <a:pt x="656455" y="633406"/>
                  </a:cubicBezTo>
                  <a:cubicBezTo>
                    <a:pt x="656050" y="631634"/>
                    <a:pt x="660514" y="620672"/>
                    <a:pt x="664086" y="624950"/>
                  </a:cubicBezTo>
                  <a:cubicBezTo>
                    <a:pt x="669769" y="631935"/>
                    <a:pt x="685801" y="625284"/>
                    <a:pt x="693919" y="629596"/>
                  </a:cubicBezTo>
                  <a:cubicBezTo>
                    <a:pt x="704189" y="635044"/>
                    <a:pt x="709465" y="631868"/>
                    <a:pt x="719572" y="637818"/>
                  </a:cubicBezTo>
                  <a:cubicBezTo>
                    <a:pt x="723631" y="640091"/>
                    <a:pt x="747579" y="647845"/>
                    <a:pt x="751192" y="646341"/>
                  </a:cubicBezTo>
                  <a:cubicBezTo>
                    <a:pt x="774084" y="636648"/>
                    <a:pt x="778549" y="652691"/>
                    <a:pt x="797464" y="660947"/>
                  </a:cubicBezTo>
                  <a:cubicBezTo>
                    <a:pt x="811995" y="667297"/>
                    <a:pt x="803147" y="667632"/>
                    <a:pt x="800427" y="672979"/>
                  </a:cubicBezTo>
                  <a:cubicBezTo>
                    <a:pt x="798033" y="677592"/>
                    <a:pt x="813335" y="689156"/>
                    <a:pt x="818855" y="692733"/>
                  </a:cubicBezTo>
                  <a:cubicBezTo>
                    <a:pt x="825917" y="697379"/>
                    <a:pt x="830504" y="702125"/>
                    <a:pt x="841098" y="703395"/>
                  </a:cubicBezTo>
                  <a:cubicBezTo>
                    <a:pt x="846415" y="703996"/>
                    <a:pt x="846943" y="699819"/>
                    <a:pt x="853275" y="702659"/>
                  </a:cubicBezTo>
                  <a:cubicBezTo>
                    <a:pt x="859607" y="705501"/>
                    <a:pt x="858633" y="708475"/>
                    <a:pt x="861393" y="711751"/>
                  </a:cubicBezTo>
                  <a:cubicBezTo>
                    <a:pt x="867035" y="718001"/>
                    <a:pt x="882459" y="710748"/>
                    <a:pt x="883920" y="718435"/>
                  </a:cubicBezTo>
                  <a:cubicBezTo>
                    <a:pt x="885382" y="726123"/>
                    <a:pt x="871459" y="725120"/>
                    <a:pt x="875802" y="735147"/>
                  </a:cubicBezTo>
                  <a:cubicBezTo>
                    <a:pt x="880146" y="745174"/>
                    <a:pt x="888507" y="742668"/>
                    <a:pt x="889441" y="735481"/>
                  </a:cubicBezTo>
                  <a:cubicBezTo>
                    <a:pt x="890171" y="729499"/>
                    <a:pt x="912049" y="733309"/>
                    <a:pt x="918381" y="734178"/>
                  </a:cubicBezTo>
                  <a:cubicBezTo>
                    <a:pt x="936890" y="737236"/>
                    <a:pt x="955601" y="739469"/>
                    <a:pt x="974395" y="740863"/>
                  </a:cubicBezTo>
                  <a:cubicBezTo>
                    <a:pt x="979062" y="741063"/>
                    <a:pt x="997571" y="738490"/>
                    <a:pt x="1001265" y="739760"/>
                  </a:cubicBezTo>
                  <a:cubicBezTo>
                    <a:pt x="1009952" y="742701"/>
                    <a:pt x="1016445" y="750990"/>
                    <a:pt x="1026674" y="750689"/>
                  </a:cubicBezTo>
                  <a:cubicBezTo>
                    <a:pt x="1037836" y="750355"/>
                    <a:pt x="1053748" y="756772"/>
                    <a:pt x="1064626" y="760716"/>
                  </a:cubicBezTo>
                  <a:cubicBezTo>
                    <a:pt x="1081309" y="766565"/>
                    <a:pt x="1082851" y="764393"/>
                    <a:pt x="1098234" y="763791"/>
                  </a:cubicBezTo>
                  <a:cubicBezTo>
                    <a:pt x="1109396" y="763290"/>
                    <a:pt x="1129976" y="765730"/>
                    <a:pt x="1137850" y="762053"/>
                  </a:cubicBezTo>
                  <a:cubicBezTo>
                    <a:pt x="1145724" y="758377"/>
                    <a:pt x="1150554" y="762053"/>
                    <a:pt x="1160864" y="762053"/>
                  </a:cubicBezTo>
                  <a:cubicBezTo>
                    <a:pt x="1169469" y="761853"/>
                    <a:pt x="1176695" y="759112"/>
                    <a:pt x="1184203" y="758109"/>
                  </a:cubicBezTo>
                  <a:cubicBezTo>
                    <a:pt x="1188262" y="757575"/>
                    <a:pt x="1193011" y="759680"/>
                    <a:pt x="1196989" y="758811"/>
                  </a:cubicBezTo>
                  <a:cubicBezTo>
                    <a:pt x="1202550" y="757541"/>
                    <a:pt x="1200358" y="751191"/>
                    <a:pt x="1204335" y="748784"/>
                  </a:cubicBezTo>
                  <a:cubicBezTo>
                    <a:pt x="1207502" y="747013"/>
                    <a:pt x="1212453" y="750288"/>
                    <a:pt x="1210871" y="745442"/>
                  </a:cubicBezTo>
                  <a:cubicBezTo>
                    <a:pt x="1209653" y="741765"/>
                    <a:pt x="1205635" y="737554"/>
                    <a:pt x="1213956" y="739225"/>
                  </a:cubicBezTo>
                  <a:cubicBezTo>
                    <a:pt x="1226538" y="741765"/>
                    <a:pt x="1237863" y="744305"/>
                    <a:pt x="1246753" y="739559"/>
                  </a:cubicBezTo>
                  <a:cubicBezTo>
                    <a:pt x="1250812" y="737353"/>
                    <a:pt x="1252232" y="735047"/>
                    <a:pt x="1258483" y="734546"/>
                  </a:cubicBezTo>
                  <a:cubicBezTo>
                    <a:pt x="1264734" y="734044"/>
                    <a:pt x="1273582" y="736584"/>
                    <a:pt x="1278452" y="735147"/>
                  </a:cubicBezTo>
                  <a:cubicBezTo>
                    <a:pt x="1283243" y="733392"/>
                    <a:pt x="1286611" y="729753"/>
                    <a:pt x="1287423" y="725488"/>
                  </a:cubicBezTo>
                  <a:cubicBezTo>
                    <a:pt x="1288600" y="721009"/>
                    <a:pt x="1294202" y="724920"/>
                    <a:pt x="1296312" y="722948"/>
                  </a:cubicBezTo>
                  <a:cubicBezTo>
                    <a:pt x="1298423" y="720976"/>
                    <a:pt x="1292984" y="719305"/>
                    <a:pt x="1297083" y="717533"/>
                  </a:cubicBezTo>
                  <a:cubicBezTo>
                    <a:pt x="1301183" y="715762"/>
                    <a:pt x="1314415" y="719338"/>
                    <a:pt x="1317053" y="717533"/>
                  </a:cubicBezTo>
                  <a:cubicBezTo>
                    <a:pt x="1319692" y="715728"/>
                    <a:pt x="1304876" y="710514"/>
                    <a:pt x="1302806" y="710548"/>
                  </a:cubicBezTo>
                  <a:cubicBezTo>
                    <a:pt x="1296677" y="710548"/>
                    <a:pt x="1296109" y="702793"/>
                    <a:pt x="1291563" y="700888"/>
                  </a:cubicBezTo>
                  <a:cubicBezTo>
                    <a:pt x="1286246" y="698615"/>
                    <a:pt x="1283445" y="701423"/>
                    <a:pt x="1278169" y="696443"/>
                  </a:cubicBezTo>
                  <a:cubicBezTo>
                    <a:pt x="1271715" y="690092"/>
                    <a:pt x="1288437" y="694872"/>
                    <a:pt x="1292254" y="695306"/>
                  </a:cubicBezTo>
                  <a:cubicBezTo>
                    <a:pt x="1307312" y="697044"/>
                    <a:pt x="1326064" y="701256"/>
                    <a:pt x="1310031" y="686951"/>
                  </a:cubicBezTo>
                  <a:cubicBezTo>
                    <a:pt x="1304268" y="681803"/>
                    <a:pt x="1298625" y="680266"/>
                    <a:pt x="1294688" y="674082"/>
                  </a:cubicBezTo>
                  <a:cubicBezTo>
                    <a:pt x="1294039" y="673046"/>
                    <a:pt x="1281822" y="659777"/>
                    <a:pt x="1281619" y="660713"/>
                  </a:cubicBezTo>
                  <a:cubicBezTo>
                    <a:pt x="1282836" y="656000"/>
                    <a:pt x="1340352" y="699518"/>
                    <a:pt x="1320219" y="671342"/>
                  </a:cubicBezTo>
                  <a:cubicBezTo>
                    <a:pt x="1315917" y="665325"/>
                    <a:pt x="1303984" y="655499"/>
                    <a:pt x="1308042" y="650352"/>
                  </a:cubicBezTo>
                  <a:cubicBezTo>
                    <a:pt x="1312101" y="645204"/>
                    <a:pt x="1304227" y="633640"/>
                    <a:pt x="1303131" y="626955"/>
                  </a:cubicBezTo>
                  <a:cubicBezTo>
                    <a:pt x="1301588" y="617797"/>
                    <a:pt x="1299762" y="614154"/>
                    <a:pt x="1288681" y="605664"/>
                  </a:cubicBezTo>
                  <a:cubicBezTo>
                    <a:pt x="1279508" y="598612"/>
                    <a:pt x="1281862" y="593097"/>
                    <a:pt x="1291928" y="591025"/>
                  </a:cubicBezTo>
                  <a:cubicBezTo>
                    <a:pt x="1298261" y="589755"/>
                    <a:pt x="1305445" y="592027"/>
                    <a:pt x="1311939" y="591392"/>
                  </a:cubicBezTo>
                  <a:cubicBezTo>
                    <a:pt x="1315998" y="590958"/>
                    <a:pt x="1316972" y="588284"/>
                    <a:pt x="1320707" y="587749"/>
                  </a:cubicBezTo>
                  <a:cubicBezTo>
                    <a:pt x="1323182" y="587415"/>
                    <a:pt x="1328825" y="591092"/>
                    <a:pt x="1332071" y="591092"/>
                  </a:cubicBezTo>
                  <a:cubicBezTo>
                    <a:pt x="1340189" y="591559"/>
                    <a:pt x="1343802" y="586111"/>
                    <a:pt x="1353301" y="589354"/>
                  </a:cubicBezTo>
                  <a:cubicBezTo>
                    <a:pt x="1362798" y="592596"/>
                    <a:pt x="1406635" y="605430"/>
                    <a:pt x="1401683" y="594568"/>
                  </a:cubicBezTo>
                  <a:cubicBezTo>
                    <a:pt x="1397299" y="585042"/>
                    <a:pt x="1386340" y="584541"/>
                    <a:pt x="1376030" y="578357"/>
                  </a:cubicBezTo>
                  <a:cubicBezTo>
                    <a:pt x="1364219" y="571271"/>
                    <a:pt x="1366898" y="561378"/>
                    <a:pt x="1350459" y="561813"/>
                  </a:cubicBezTo>
                  <a:cubicBezTo>
                    <a:pt x="1337754" y="562147"/>
                    <a:pt x="1288519" y="565389"/>
                    <a:pt x="1303902" y="545870"/>
                  </a:cubicBezTo>
                  <a:cubicBezTo>
                    <a:pt x="1316485" y="529926"/>
                    <a:pt x="1264896" y="530194"/>
                    <a:pt x="1272081" y="514585"/>
                  </a:cubicBezTo>
                  <a:cubicBezTo>
                    <a:pt x="1279630" y="498107"/>
                    <a:pt x="1296028" y="512513"/>
                    <a:pt x="1314902" y="517627"/>
                  </a:cubicBezTo>
                  <a:cubicBezTo>
                    <a:pt x="1328703" y="521336"/>
                    <a:pt x="1330936" y="510674"/>
                    <a:pt x="1343843" y="513482"/>
                  </a:cubicBezTo>
                  <a:cubicBezTo>
                    <a:pt x="1362595" y="517593"/>
                    <a:pt x="1370835" y="516256"/>
                    <a:pt x="1388492" y="515955"/>
                  </a:cubicBezTo>
                  <a:cubicBezTo>
                    <a:pt x="1414550" y="515521"/>
                    <a:pt x="1446697" y="534405"/>
                    <a:pt x="1412846" y="537647"/>
                  </a:cubicBezTo>
                  <a:cubicBezTo>
                    <a:pt x="1402129" y="538683"/>
                    <a:pt x="1392022" y="538617"/>
                    <a:pt x="1390237" y="546271"/>
                  </a:cubicBezTo>
                  <a:cubicBezTo>
                    <a:pt x="1388978" y="551752"/>
                    <a:pt x="1367304" y="552955"/>
                    <a:pt x="1394296" y="557267"/>
                  </a:cubicBezTo>
                  <a:cubicBezTo>
                    <a:pt x="1412927" y="560208"/>
                    <a:pt x="1431152" y="560108"/>
                    <a:pt x="1449701" y="562548"/>
                  </a:cubicBezTo>
                  <a:cubicBezTo>
                    <a:pt x="1458021" y="563280"/>
                    <a:pt x="1466221" y="564874"/>
                    <a:pt x="1474055" y="567294"/>
                  </a:cubicBezTo>
                  <a:cubicBezTo>
                    <a:pt x="1486841" y="571840"/>
                    <a:pt x="1482173" y="565523"/>
                    <a:pt x="1493619" y="567294"/>
                  </a:cubicBezTo>
                  <a:cubicBezTo>
                    <a:pt x="1515010" y="570403"/>
                    <a:pt x="1545006" y="578524"/>
                    <a:pt x="1562621" y="574179"/>
                  </a:cubicBezTo>
                  <a:cubicBezTo>
                    <a:pt x="1571227" y="572040"/>
                    <a:pt x="1581658" y="568765"/>
                    <a:pt x="1589736" y="578324"/>
                  </a:cubicBezTo>
                  <a:cubicBezTo>
                    <a:pt x="1592130" y="581131"/>
                    <a:pt x="1615876" y="595871"/>
                    <a:pt x="1619488" y="593164"/>
                  </a:cubicBezTo>
                  <a:cubicBezTo>
                    <a:pt x="1626226" y="588084"/>
                    <a:pt x="1613927" y="582234"/>
                    <a:pt x="1634628" y="589654"/>
                  </a:cubicBezTo>
                  <a:cubicBezTo>
                    <a:pt x="1641000" y="591961"/>
                    <a:pt x="1657926" y="591994"/>
                    <a:pt x="1663974" y="592128"/>
                  </a:cubicBezTo>
                  <a:cubicBezTo>
                    <a:pt x="1672092" y="592128"/>
                    <a:pt x="1678546" y="580730"/>
                    <a:pt x="1689221" y="590289"/>
                  </a:cubicBezTo>
                  <a:cubicBezTo>
                    <a:pt x="1704442" y="603960"/>
                    <a:pt x="1717633" y="614120"/>
                    <a:pt x="1727010" y="599414"/>
                  </a:cubicBezTo>
                  <a:cubicBezTo>
                    <a:pt x="1731109" y="592201"/>
                    <a:pt x="1734438" y="584708"/>
                    <a:pt x="1736954" y="577020"/>
                  </a:cubicBezTo>
                  <a:cubicBezTo>
                    <a:pt x="1740120" y="568898"/>
                    <a:pt x="1753434" y="570904"/>
                    <a:pt x="1767113" y="572775"/>
                  </a:cubicBezTo>
                  <a:cubicBezTo>
                    <a:pt x="1778762" y="574346"/>
                    <a:pt x="1785460" y="589755"/>
                    <a:pt x="1798894" y="589487"/>
                  </a:cubicBezTo>
                  <a:cubicBezTo>
                    <a:pt x="1810259" y="589487"/>
                    <a:pt x="1819189" y="583204"/>
                    <a:pt x="1831123" y="583337"/>
                  </a:cubicBezTo>
                  <a:cubicBezTo>
                    <a:pt x="1849023" y="583605"/>
                    <a:pt x="1852757" y="575917"/>
                    <a:pt x="1866233" y="571773"/>
                  </a:cubicBezTo>
                  <a:cubicBezTo>
                    <a:pt x="1869318" y="570804"/>
                    <a:pt x="1879709" y="572107"/>
                    <a:pt x="1880642" y="569868"/>
                  </a:cubicBezTo>
                  <a:cubicBezTo>
                    <a:pt x="1882266" y="566024"/>
                    <a:pt x="1880155" y="561712"/>
                    <a:pt x="1883199" y="558203"/>
                  </a:cubicBezTo>
                  <a:close/>
                  <a:moveTo>
                    <a:pt x="1197476" y="795577"/>
                  </a:moveTo>
                  <a:cubicBezTo>
                    <a:pt x="1195203" y="797215"/>
                    <a:pt x="1179454" y="827396"/>
                    <a:pt x="1196218" y="827764"/>
                  </a:cubicBezTo>
                  <a:cubicBezTo>
                    <a:pt x="1211196" y="828098"/>
                    <a:pt x="1226944" y="817737"/>
                    <a:pt x="1236807" y="812690"/>
                  </a:cubicBezTo>
                  <a:cubicBezTo>
                    <a:pt x="1241962" y="810083"/>
                    <a:pt x="1266194" y="800457"/>
                    <a:pt x="1258158" y="793037"/>
                  </a:cubicBezTo>
                  <a:cubicBezTo>
                    <a:pt x="1242287" y="778431"/>
                    <a:pt x="1205838" y="789695"/>
                    <a:pt x="1197517" y="795577"/>
                  </a:cubicBezTo>
                  <a:close/>
                  <a:moveTo>
                    <a:pt x="869795" y="744004"/>
                  </a:moveTo>
                  <a:cubicBezTo>
                    <a:pt x="830139" y="729599"/>
                    <a:pt x="815161" y="766733"/>
                    <a:pt x="862489" y="772582"/>
                  </a:cubicBezTo>
                  <a:cubicBezTo>
                    <a:pt x="877750" y="774487"/>
                    <a:pt x="884083" y="767468"/>
                    <a:pt x="894960" y="763591"/>
                  </a:cubicBezTo>
                  <a:cubicBezTo>
                    <a:pt x="915743" y="756037"/>
                    <a:pt x="883758" y="749152"/>
                    <a:pt x="869795" y="74400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168D2DF0-3F49-4F89-A352-A1B0D145CEB4}"/>
                </a:ext>
              </a:extLst>
            </p:cNvPr>
            <p:cNvSpPr/>
            <p:nvPr/>
          </p:nvSpPr>
          <p:spPr>
            <a:xfrm>
              <a:off x="9067530" y="5140575"/>
              <a:ext cx="250020" cy="257086"/>
            </a:xfrm>
            <a:custGeom>
              <a:avLst/>
              <a:gdLst>
                <a:gd name="connsiteX0" fmla="*/ 181910 w 250020"/>
                <a:gd name="connsiteY0" fmla="*/ 95151 h 257086"/>
                <a:gd name="connsiteX1" fmla="*/ 205776 w 250020"/>
                <a:gd name="connsiteY1" fmla="*/ 122291 h 257086"/>
                <a:gd name="connsiteX2" fmla="*/ 199769 w 250020"/>
                <a:gd name="connsiteY2" fmla="*/ 134691 h 257086"/>
                <a:gd name="connsiteX3" fmla="*/ 214584 w 250020"/>
                <a:gd name="connsiteY3" fmla="*/ 142011 h 257086"/>
                <a:gd name="connsiteX4" fmla="*/ 207805 w 250020"/>
                <a:gd name="connsiteY4" fmla="*/ 155113 h 257086"/>
                <a:gd name="connsiteX5" fmla="*/ 213123 w 250020"/>
                <a:gd name="connsiteY5" fmla="*/ 174933 h 257086"/>
                <a:gd name="connsiteX6" fmla="*/ 224244 w 250020"/>
                <a:gd name="connsiteY6" fmla="*/ 174632 h 257086"/>
                <a:gd name="connsiteX7" fmla="*/ 241617 w 250020"/>
                <a:gd name="connsiteY7" fmla="*/ 170789 h 257086"/>
                <a:gd name="connsiteX8" fmla="*/ 238979 w 250020"/>
                <a:gd name="connsiteY8" fmla="*/ 139972 h 257086"/>
                <a:gd name="connsiteX9" fmla="*/ 223798 w 250020"/>
                <a:gd name="connsiteY9" fmla="*/ 126903 h 257086"/>
                <a:gd name="connsiteX10" fmla="*/ 219171 w 250020"/>
                <a:gd name="connsiteY10" fmla="*/ 111261 h 257086"/>
                <a:gd name="connsiteX11" fmla="*/ 186090 w 250020"/>
                <a:gd name="connsiteY11" fmla="*/ 85024 h 257086"/>
                <a:gd name="connsiteX12" fmla="*/ 173548 w 250020"/>
                <a:gd name="connsiteY12" fmla="*/ 77537 h 257086"/>
                <a:gd name="connsiteX13" fmla="*/ 174076 w 250020"/>
                <a:gd name="connsiteY13" fmla="*/ 60825 h 257086"/>
                <a:gd name="connsiteX14" fmla="*/ 216492 w 250020"/>
                <a:gd name="connsiteY14" fmla="*/ 42776 h 257086"/>
                <a:gd name="connsiteX15" fmla="*/ 220307 w 250020"/>
                <a:gd name="connsiteY15" fmla="*/ 25262 h 257086"/>
                <a:gd name="connsiteX16" fmla="*/ 216248 w 250020"/>
                <a:gd name="connsiteY16" fmla="*/ 17107 h 257086"/>
                <a:gd name="connsiteX17" fmla="*/ 176470 w 250020"/>
                <a:gd name="connsiteY17" fmla="*/ 763 h 257086"/>
                <a:gd name="connsiteX18" fmla="*/ 159585 w 250020"/>
                <a:gd name="connsiteY18" fmla="*/ 25797 h 257086"/>
                <a:gd name="connsiteX19" fmla="*/ 154593 w 250020"/>
                <a:gd name="connsiteY19" fmla="*/ 32482 h 257086"/>
                <a:gd name="connsiteX20" fmla="*/ 143796 w 250020"/>
                <a:gd name="connsiteY20" fmla="*/ 25797 h 257086"/>
                <a:gd name="connsiteX21" fmla="*/ 134866 w 250020"/>
                <a:gd name="connsiteY21" fmla="*/ 48391 h 257086"/>
                <a:gd name="connsiteX22" fmla="*/ 140224 w 250020"/>
                <a:gd name="connsiteY22" fmla="*/ 60892 h 257086"/>
                <a:gd name="connsiteX23" fmla="*/ 141157 w 250020"/>
                <a:gd name="connsiteY23" fmla="*/ 74529 h 257086"/>
                <a:gd name="connsiteX24" fmla="*/ 169245 w 250020"/>
                <a:gd name="connsiteY24" fmla="*/ 83854 h 257086"/>
                <a:gd name="connsiteX25" fmla="*/ 181950 w 250020"/>
                <a:gd name="connsiteY25" fmla="*/ 95184 h 257086"/>
                <a:gd name="connsiteX26" fmla="*/ 181910 w 250020"/>
                <a:gd name="connsiteY26" fmla="*/ 95151 h 257086"/>
                <a:gd name="connsiteX27" fmla="*/ 128940 w 250020"/>
                <a:gd name="connsiteY27" fmla="*/ 78105 h 257086"/>
                <a:gd name="connsiteX28" fmla="*/ 144242 w 250020"/>
                <a:gd name="connsiteY28" fmla="*/ 104844 h 257086"/>
                <a:gd name="connsiteX29" fmla="*/ 129143 w 250020"/>
                <a:gd name="connsiteY29" fmla="*/ 78105 h 257086"/>
                <a:gd name="connsiteX30" fmla="*/ 146109 w 250020"/>
                <a:gd name="connsiteY30" fmla="*/ 140106 h 257086"/>
                <a:gd name="connsiteX31" fmla="*/ 154755 w 250020"/>
                <a:gd name="connsiteY31" fmla="*/ 142813 h 257086"/>
                <a:gd name="connsiteX32" fmla="*/ 164132 w 250020"/>
                <a:gd name="connsiteY32" fmla="*/ 140874 h 257086"/>
                <a:gd name="connsiteX33" fmla="*/ 153862 w 250020"/>
                <a:gd name="connsiteY33" fmla="*/ 155681 h 257086"/>
                <a:gd name="connsiteX34" fmla="*/ 156825 w 250020"/>
                <a:gd name="connsiteY34" fmla="*/ 174365 h 257086"/>
                <a:gd name="connsiteX35" fmla="*/ 187876 w 250020"/>
                <a:gd name="connsiteY35" fmla="*/ 166443 h 257086"/>
                <a:gd name="connsiteX36" fmla="*/ 194452 w 250020"/>
                <a:gd name="connsiteY36" fmla="*/ 160628 h 257086"/>
                <a:gd name="connsiteX37" fmla="*/ 184669 w 250020"/>
                <a:gd name="connsiteY37" fmla="*/ 155514 h 257086"/>
                <a:gd name="connsiteX38" fmla="*/ 182518 w 250020"/>
                <a:gd name="connsiteY38" fmla="*/ 141175 h 257086"/>
                <a:gd name="connsiteX39" fmla="*/ 160397 w 250020"/>
                <a:gd name="connsiteY39" fmla="*/ 119985 h 257086"/>
                <a:gd name="connsiteX40" fmla="*/ 146109 w 250020"/>
                <a:gd name="connsiteY40" fmla="*/ 140039 h 257086"/>
                <a:gd name="connsiteX41" fmla="*/ 48694 w 250020"/>
                <a:gd name="connsiteY41" fmla="*/ 110559 h 257086"/>
                <a:gd name="connsiteX42" fmla="*/ 433 w 250020"/>
                <a:gd name="connsiteY42" fmla="*/ 121088 h 257086"/>
                <a:gd name="connsiteX43" fmla="*/ 32905 w 250020"/>
                <a:gd name="connsiteY43" fmla="*/ 120352 h 257086"/>
                <a:gd name="connsiteX44" fmla="*/ 80273 w 250020"/>
                <a:gd name="connsiteY44" fmla="*/ 109155 h 257086"/>
                <a:gd name="connsiteX45" fmla="*/ 48856 w 250020"/>
                <a:gd name="connsiteY45" fmla="*/ 110559 h 257086"/>
                <a:gd name="connsiteX46" fmla="*/ 182031 w 250020"/>
                <a:gd name="connsiteY46" fmla="*/ 177406 h 257086"/>
                <a:gd name="connsiteX47" fmla="*/ 205979 w 250020"/>
                <a:gd name="connsiteY47" fmla="*/ 178610 h 257086"/>
                <a:gd name="connsiteX48" fmla="*/ 181910 w 250020"/>
                <a:gd name="connsiteY48" fmla="*/ 177406 h 257086"/>
                <a:gd name="connsiteX49" fmla="*/ 229156 w 250020"/>
                <a:gd name="connsiteY49" fmla="*/ 242382 h 257086"/>
                <a:gd name="connsiteX50" fmla="*/ 239669 w 250020"/>
                <a:gd name="connsiteY50" fmla="*/ 225670 h 257086"/>
                <a:gd name="connsiteX51" fmla="*/ 245189 w 250020"/>
                <a:gd name="connsiteY51" fmla="*/ 200502 h 257086"/>
                <a:gd name="connsiteX52" fmla="*/ 228181 w 250020"/>
                <a:gd name="connsiteY52" fmla="*/ 193817 h 257086"/>
                <a:gd name="connsiteX53" fmla="*/ 216411 w 250020"/>
                <a:gd name="connsiteY53" fmla="*/ 198664 h 257086"/>
                <a:gd name="connsiteX54" fmla="*/ 195791 w 250020"/>
                <a:gd name="connsiteY54" fmla="*/ 199399 h 257086"/>
                <a:gd name="connsiteX55" fmla="*/ 173385 w 250020"/>
                <a:gd name="connsiteY55" fmla="*/ 193717 h 257086"/>
                <a:gd name="connsiteX56" fmla="*/ 144972 w 250020"/>
                <a:gd name="connsiteY56" fmla="*/ 184125 h 257086"/>
                <a:gd name="connsiteX57" fmla="*/ 113191 w 250020"/>
                <a:gd name="connsiteY57" fmla="*/ 186264 h 257086"/>
                <a:gd name="connsiteX58" fmla="*/ 115180 w 250020"/>
                <a:gd name="connsiteY58" fmla="*/ 196291 h 257086"/>
                <a:gd name="connsiteX59" fmla="*/ 131740 w 250020"/>
                <a:gd name="connsiteY59" fmla="*/ 196291 h 257086"/>
                <a:gd name="connsiteX60" fmla="*/ 146840 w 250020"/>
                <a:gd name="connsiteY60" fmla="*/ 199031 h 257086"/>
                <a:gd name="connsiteX61" fmla="*/ 158043 w 250020"/>
                <a:gd name="connsiteY61" fmla="*/ 227408 h 257086"/>
                <a:gd name="connsiteX62" fmla="*/ 190149 w 250020"/>
                <a:gd name="connsiteY62" fmla="*/ 256487 h 257086"/>
                <a:gd name="connsiteX63" fmla="*/ 197334 w 250020"/>
                <a:gd name="connsiteY63" fmla="*/ 237435 h 257086"/>
                <a:gd name="connsiteX64" fmla="*/ 229237 w 250020"/>
                <a:gd name="connsiteY64" fmla="*/ 242850 h 25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50020" h="257086">
                  <a:moveTo>
                    <a:pt x="181910" y="95151"/>
                  </a:moveTo>
                  <a:cubicBezTo>
                    <a:pt x="190920" y="97925"/>
                    <a:pt x="215680" y="117578"/>
                    <a:pt x="205776" y="122291"/>
                  </a:cubicBezTo>
                  <a:cubicBezTo>
                    <a:pt x="201027" y="124497"/>
                    <a:pt x="199241" y="130413"/>
                    <a:pt x="199769" y="134691"/>
                  </a:cubicBezTo>
                  <a:cubicBezTo>
                    <a:pt x="200500" y="141108"/>
                    <a:pt x="209267" y="137566"/>
                    <a:pt x="214584" y="142011"/>
                  </a:cubicBezTo>
                  <a:cubicBezTo>
                    <a:pt x="222702" y="148963"/>
                    <a:pt x="207644" y="149798"/>
                    <a:pt x="207805" y="155113"/>
                  </a:cubicBezTo>
                  <a:cubicBezTo>
                    <a:pt x="207805" y="161564"/>
                    <a:pt x="214788" y="168683"/>
                    <a:pt x="213123" y="174933"/>
                  </a:cubicBezTo>
                  <a:cubicBezTo>
                    <a:pt x="210769" y="183490"/>
                    <a:pt x="222987" y="178676"/>
                    <a:pt x="224244" y="174632"/>
                  </a:cubicBezTo>
                  <a:cubicBezTo>
                    <a:pt x="226071" y="168683"/>
                    <a:pt x="233296" y="170521"/>
                    <a:pt x="241617" y="170789"/>
                  </a:cubicBezTo>
                  <a:cubicBezTo>
                    <a:pt x="257326" y="171290"/>
                    <a:pt x="247583" y="146556"/>
                    <a:pt x="238979" y="139972"/>
                  </a:cubicBezTo>
                  <a:cubicBezTo>
                    <a:pt x="234270" y="136329"/>
                    <a:pt x="224732" y="131649"/>
                    <a:pt x="223798" y="126903"/>
                  </a:cubicBezTo>
                  <a:cubicBezTo>
                    <a:pt x="222540" y="120519"/>
                    <a:pt x="225137" y="118280"/>
                    <a:pt x="219171" y="111261"/>
                  </a:cubicBezTo>
                  <a:cubicBezTo>
                    <a:pt x="209511" y="99964"/>
                    <a:pt x="209389" y="90505"/>
                    <a:pt x="186090" y="85024"/>
                  </a:cubicBezTo>
                  <a:cubicBezTo>
                    <a:pt x="177972" y="83185"/>
                    <a:pt x="170666" y="84088"/>
                    <a:pt x="173548" y="77537"/>
                  </a:cubicBezTo>
                  <a:cubicBezTo>
                    <a:pt x="176105" y="71721"/>
                    <a:pt x="173061" y="66473"/>
                    <a:pt x="174076" y="60825"/>
                  </a:cubicBezTo>
                  <a:cubicBezTo>
                    <a:pt x="176309" y="47790"/>
                    <a:pt x="211825" y="55811"/>
                    <a:pt x="216492" y="42776"/>
                  </a:cubicBezTo>
                  <a:cubicBezTo>
                    <a:pt x="218359" y="37529"/>
                    <a:pt x="215884" y="29407"/>
                    <a:pt x="220307" y="25262"/>
                  </a:cubicBezTo>
                  <a:cubicBezTo>
                    <a:pt x="226111" y="19781"/>
                    <a:pt x="224366" y="20416"/>
                    <a:pt x="216248" y="17107"/>
                  </a:cubicBezTo>
                  <a:cubicBezTo>
                    <a:pt x="206426" y="13029"/>
                    <a:pt x="186739" y="-4919"/>
                    <a:pt x="176470" y="763"/>
                  </a:cubicBezTo>
                  <a:cubicBezTo>
                    <a:pt x="166201" y="6445"/>
                    <a:pt x="164010" y="17675"/>
                    <a:pt x="159585" y="25797"/>
                  </a:cubicBezTo>
                  <a:cubicBezTo>
                    <a:pt x="158570" y="28321"/>
                    <a:pt x="156866" y="30610"/>
                    <a:pt x="154593" y="32482"/>
                  </a:cubicBezTo>
                  <a:cubicBezTo>
                    <a:pt x="150331" y="35122"/>
                    <a:pt x="146475" y="26967"/>
                    <a:pt x="143796" y="25797"/>
                  </a:cubicBezTo>
                  <a:cubicBezTo>
                    <a:pt x="138519" y="23123"/>
                    <a:pt x="132228" y="44715"/>
                    <a:pt x="134866" y="48391"/>
                  </a:cubicBezTo>
                  <a:cubicBezTo>
                    <a:pt x="138722" y="53806"/>
                    <a:pt x="144891" y="54876"/>
                    <a:pt x="140224" y="60892"/>
                  </a:cubicBezTo>
                  <a:cubicBezTo>
                    <a:pt x="136612" y="65504"/>
                    <a:pt x="129265" y="68646"/>
                    <a:pt x="141157" y="74529"/>
                  </a:cubicBezTo>
                  <a:cubicBezTo>
                    <a:pt x="148870" y="78339"/>
                    <a:pt x="163522" y="78874"/>
                    <a:pt x="169245" y="83854"/>
                  </a:cubicBezTo>
                  <a:cubicBezTo>
                    <a:pt x="174969" y="88834"/>
                    <a:pt x="172250" y="92143"/>
                    <a:pt x="181950" y="95184"/>
                  </a:cubicBezTo>
                  <a:cubicBezTo>
                    <a:pt x="197902" y="100098"/>
                    <a:pt x="166282" y="90171"/>
                    <a:pt x="181910" y="95151"/>
                  </a:cubicBezTo>
                  <a:close/>
                  <a:moveTo>
                    <a:pt x="128940" y="78105"/>
                  </a:moveTo>
                  <a:cubicBezTo>
                    <a:pt x="127438" y="85425"/>
                    <a:pt x="124881" y="100766"/>
                    <a:pt x="144242" y="104844"/>
                  </a:cubicBezTo>
                  <a:cubicBezTo>
                    <a:pt x="163604" y="108921"/>
                    <a:pt x="130198" y="72991"/>
                    <a:pt x="129143" y="78105"/>
                  </a:cubicBezTo>
                  <a:close/>
                  <a:moveTo>
                    <a:pt x="146109" y="140106"/>
                  </a:moveTo>
                  <a:cubicBezTo>
                    <a:pt x="148950" y="141108"/>
                    <a:pt x="151833" y="142011"/>
                    <a:pt x="154755" y="142813"/>
                  </a:cubicBezTo>
                  <a:cubicBezTo>
                    <a:pt x="160356" y="144083"/>
                    <a:pt x="160681" y="140373"/>
                    <a:pt x="164132" y="140874"/>
                  </a:cubicBezTo>
                  <a:cubicBezTo>
                    <a:pt x="173102" y="142111"/>
                    <a:pt x="155201" y="155113"/>
                    <a:pt x="153862" y="155681"/>
                  </a:cubicBezTo>
                  <a:cubicBezTo>
                    <a:pt x="147490" y="158422"/>
                    <a:pt x="140549" y="173228"/>
                    <a:pt x="156825" y="174365"/>
                  </a:cubicBezTo>
                  <a:cubicBezTo>
                    <a:pt x="168637" y="175200"/>
                    <a:pt x="180124" y="170488"/>
                    <a:pt x="187876" y="166443"/>
                  </a:cubicBezTo>
                  <a:cubicBezTo>
                    <a:pt x="190190" y="165240"/>
                    <a:pt x="194736" y="163101"/>
                    <a:pt x="194452" y="160628"/>
                  </a:cubicBezTo>
                  <a:cubicBezTo>
                    <a:pt x="194005" y="156216"/>
                    <a:pt x="185441" y="157921"/>
                    <a:pt x="184669" y="155514"/>
                  </a:cubicBezTo>
                  <a:cubicBezTo>
                    <a:pt x="183046" y="150601"/>
                    <a:pt x="186902" y="147726"/>
                    <a:pt x="182518" y="141175"/>
                  </a:cubicBezTo>
                  <a:cubicBezTo>
                    <a:pt x="178135" y="134624"/>
                    <a:pt x="170341" y="124998"/>
                    <a:pt x="160397" y="119985"/>
                  </a:cubicBezTo>
                  <a:cubicBezTo>
                    <a:pt x="144161" y="111963"/>
                    <a:pt x="135556" y="137098"/>
                    <a:pt x="146109" y="140039"/>
                  </a:cubicBezTo>
                  <a:close/>
                  <a:moveTo>
                    <a:pt x="48694" y="110559"/>
                  </a:moveTo>
                  <a:cubicBezTo>
                    <a:pt x="35502" y="113634"/>
                    <a:pt x="8104" y="113267"/>
                    <a:pt x="433" y="121088"/>
                  </a:cubicBezTo>
                  <a:cubicBezTo>
                    <a:pt x="-4600" y="126101"/>
                    <a:pt x="30550" y="120753"/>
                    <a:pt x="32905" y="120352"/>
                  </a:cubicBezTo>
                  <a:cubicBezTo>
                    <a:pt x="44878" y="118013"/>
                    <a:pt x="77838" y="118046"/>
                    <a:pt x="80273" y="109155"/>
                  </a:cubicBezTo>
                  <a:cubicBezTo>
                    <a:pt x="85224" y="91040"/>
                    <a:pt x="56852" y="108687"/>
                    <a:pt x="48856" y="110559"/>
                  </a:cubicBezTo>
                  <a:close/>
                  <a:moveTo>
                    <a:pt x="182031" y="177406"/>
                  </a:moveTo>
                  <a:cubicBezTo>
                    <a:pt x="182316" y="183189"/>
                    <a:pt x="209308" y="185762"/>
                    <a:pt x="205979" y="178610"/>
                  </a:cubicBezTo>
                  <a:cubicBezTo>
                    <a:pt x="202651" y="171457"/>
                    <a:pt x="181910" y="173061"/>
                    <a:pt x="181910" y="177406"/>
                  </a:cubicBezTo>
                  <a:close/>
                  <a:moveTo>
                    <a:pt x="229156" y="242382"/>
                  </a:moveTo>
                  <a:cubicBezTo>
                    <a:pt x="238288" y="240911"/>
                    <a:pt x="238735" y="231118"/>
                    <a:pt x="239669" y="225670"/>
                  </a:cubicBezTo>
                  <a:cubicBezTo>
                    <a:pt x="240724" y="218986"/>
                    <a:pt x="248476" y="207421"/>
                    <a:pt x="245189" y="200502"/>
                  </a:cubicBezTo>
                  <a:cubicBezTo>
                    <a:pt x="243119" y="196157"/>
                    <a:pt x="233377" y="191177"/>
                    <a:pt x="228181" y="193817"/>
                  </a:cubicBezTo>
                  <a:cubicBezTo>
                    <a:pt x="220632" y="197394"/>
                    <a:pt x="231957" y="203276"/>
                    <a:pt x="216411" y="198664"/>
                  </a:cubicBezTo>
                  <a:cubicBezTo>
                    <a:pt x="206629" y="195756"/>
                    <a:pt x="206020" y="203243"/>
                    <a:pt x="195791" y="199399"/>
                  </a:cubicBezTo>
                  <a:cubicBezTo>
                    <a:pt x="183858" y="194887"/>
                    <a:pt x="185969" y="205048"/>
                    <a:pt x="173385" y="193717"/>
                  </a:cubicBezTo>
                  <a:cubicBezTo>
                    <a:pt x="162223" y="183690"/>
                    <a:pt x="160803" y="182821"/>
                    <a:pt x="144972" y="184125"/>
                  </a:cubicBezTo>
                  <a:cubicBezTo>
                    <a:pt x="133567" y="185094"/>
                    <a:pt x="121999" y="181384"/>
                    <a:pt x="113191" y="186264"/>
                  </a:cubicBezTo>
                  <a:cubicBezTo>
                    <a:pt x="108767" y="188737"/>
                    <a:pt x="102353" y="195388"/>
                    <a:pt x="115180" y="196291"/>
                  </a:cubicBezTo>
                  <a:cubicBezTo>
                    <a:pt x="120903" y="196759"/>
                    <a:pt x="125855" y="195288"/>
                    <a:pt x="131740" y="196291"/>
                  </a:cubicBezTo>
                  <a:cubicBezTo>
                    <a:pt x="137626" y="197293"/>
                    <a:pt x="140671" y="199867"/>
                    <a:pt x="146840" y="199031"/>
                  </a:cubicBezTo>
                  <a:cubicBezTo>
                    <a:pt x="171518" y="195689"/>
                    <a:pt x="158124" y="222428"/>
                    <a:pt x="158043" y="227408"/>
                  </a:cubicBezTo>
                  <a:cubicBezTo>
                    <a:pt x="157962" y="232388"/>
                    <a:pt x="186456" y="259695"/>
                    <a:pt x="190149" y="256487"/>
                  </a:cubicBezTo>
                  <a:cubicBezTo>
                    <a:pt x="195791" y="251540"/>
                    <a:pt x="192747" y="242850"/>
                    <a:pt x="197334" y="237435"/>
                  </a:cubicBezTo>
                  <a:cubicBezTo>
                    <a:pt x="200581" y="233625"/>
                    <a:pt x="221688" y="244120"/>
                    <a:pt x="229237" y="2428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86DA69A0-334F-4F54-9CBA-DB6CCDF49C82}"/>
                </a:ext>
              </a:extLst>
            </p:cNvPr>
            <p:cNvSpPr/>
            <p:nvPr/>
          </p:nvSpPr>
          <p:spPr>
            <a:xfrm>
              <a:off x="9493695" y="5705866"/>
              <a:ext cx="345044" cy="234940"/>
            </a:xfrm>
            <a:custGeom>
              <a:avLst/>
              <a:gdLst>
                <a:gd name="connsiteX0" fmla="*/ 200121 w 345044"/>
                <a:gd name="connsiteY0" fmla="*/ 222296 h 234940"/>
                <a:gd name="connsiteX1" fmla="*/ 186118 w 345044"/>
                <a:gd name="connsiteY1" fmla="*/ 195858 h 234940"/>
                <a:gd name="connsiteX2" fmla="*/ 174468 w 345044"/>
                <a:gd name="connsiteY2" fmla="*/ 162434 h 234940"/>
                <a:gd name="connsiteX3" fmla="*/ 175605 w 345044"/>
                <a:gd name="connsiteY3" fmla="*/ 140809 h 234940"/>
                <a:gd name="connsiteX4" fmla="*/ 177797 w 345044"/>
                <a:gd name="connsiteY4" fmla="*/ 122861 h 234940"/>
                <a:gd name="connsiteX5" fmla="*/ 152550 w 345044"/>
                <a:gd name="connsiteY5" fmla="*/ 95119 h 234940"/>
                <a:gd name="connsiteX6" fmla="*/ 140779 w 345044"/>
                <a:gd name="connsiteY6" fmla="*/ 69851 h 234940"/>
                <a:gd name="connsiteX7" fmla="*/ 66378 w 345044"/>
                <a:gd name="connsiteY7" fmla="*/ -339 h 234940"/>
                <a:gd name="connsiteX8" fmla="*/ 27087 w 345044"/>
                <a:gd name="connsiteY8" fmla="*/ 51869 h 234940"/>
                <a:gd name="connsiteX9" fmla="*/ 3910 w 345044"/>
                <a:gd name="connsiteY9" fmla="*/ 82619 h 234940"/>
                <a:gd name="connsiteX10" fmla="*/ 19010 w 345044"/>
                <a:gd name="connsiteY10" fmla="*/ 109358 h 234940"/>
                <a:gd name="connsiteX11" fmla="*/ 58950 w 345044"/>
                <a:gd name="connsiteY11" fmla="*/ 115508 h 234940"/>
                <a:gd name="connsiteX12" fmla="*/ 88580 w 345044"/>
                <a:gd name="connsiteY12" fmla="*/ 114204 h 234940"/>
                <a:gd name="connsiteX13" fmla="*/ 122392 w 345044"/>
                <a:gd name="connsiteY13" fmla="*/ 144686 h 234940"/>
                <a:gd name="connsiteX14" fmla="*/ 151738 w 345044"/>
                <a:gd name="connsiteY14" fmla="*/ 200504 h 234940"/>
                <a:gd name="connsiteX15" fmla="*/ 190744 w 345044"/>
                <a:gd name="connsiteY15" fmla="*/ 229716 h 234940"/>
                <a:gd name="connsiteX16" fmla="*/ 200121 w 345044"/>
                <a:gd name="connsiteY16" fmla="*/ 222463 h 234940"/>
                <a:gd name="connsiteX17" fmla="*/ 200121 w 345044"/>
                <a:gd name="connsiteY17" fmla="*/ 222296 h 234940"/>
                <a:gd name="connsiteX18" fmla="*/ 301230 w 345044"/>
                <a:gd name="connsiteY18" fmla="*/ 170490 h 234940"/>
                <a:gd name="connsiteX19" fmla="*/ 235150 w 345044"/>
                <a:gd name="connsiteY19" fmla="*/ 148229 h 234940"/>
                <a:gd name="connsiteX20" fmla="*/ 214409 w 345044"/>
                <a:gd name="connsiteY20" fmla="*/ 136731 h 234940"/>
                <a:gd name="connsiteX21" fmla="*/ 225733 w 345044"/>
                <a:gd name="connsiteY21" fmla="*/ 157120 h 234940"/>
                <a:gd name="connsiteX22" fmla="*/ 296643 w 345044"/>
                <a:gd name="connsiteY22" fmla="*/ 183224 h 234940"/>
                <a:gd name="connsiteX23" fmla="*/ 318197 w 345044"/>
                <a:gd name="connsiteY23" fmla="*/ 178043 h 234940"/>
                <a:gd name="connsiteX24" fmla="*/ 301230 w 345044"/>
                <a:gd name="connsiteY24" fmla="*/ 170490 h 234940"/>
                <a:gd name="connsiteX25" fmla="*/ 338289 w 345044"/>
                <a:gd name="connsiteY25" fmla="*/ 168317 h 234940"/>
                <a:gd name="connsiteX26" fmla="*/ 328060 w 345044"/>
                <a:gd name="connsiteY26" fmla="*/ 156385 h 234940"/>
                <a:gd name="connsiteX27" fmla="*/ 332606 w 345044"/>
                <a:gd name="connsiteY27" fmla="*/ 171158 h 234940"/>
                <a:gd name="connsiteX28" fmla="*/ 330577 w 345044"/>
                <a:gd name="connsiteY28" fmla="*/ 183792 h 234940"/>
                <a:gd name="connsiteX29" fmla="*/ 342754 w 345044"/>
                <a:gd name="connsiteY29" fmla="*/ 187435 h 234940"/>
                <a:gd name="connsiteX30" fmla="*/ 338248 w 345044"/>
                <a:gd name="connsiteY30" fmla="*/ 168317 h 23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5044" h="234940">
                  <a:moveTo>
                    <a:pt x="200121" y="222296"/>
                  </a:moveTo>
                  <a:cubicBezTo>
                    <a:pt x="191110" y="212870"/>
                    <a:pt x="195210" y="203412"/>
                    <a:pt x="186118" y="195858"/>
                  </a:cubicBezTo>
                  <a:cubicBezTo>
                    <a:pt x="167934" y="180817"/>
                    <a:pt x="174468" y="177274"/>
                    <a:pt x="174468" y="162434"/>
                  </a:cubicBezTo>
                  <a:cubicBezTo>
                    <a:pt x="174468" y="160228"/>
                    <a:pt x="156446" y="129479"/>
                    <a:pt x="175605" y="140809"/>
                  </a:cubicBezTo>
                  <a:cubicBezTo>
                    <a:pt x="198620" y="154546"/>
                    <a:pt x="185752" y="130181"/>
                    <a:pt x="177797" y="122861"/>
                  </a:cubicBezTo>
                  <a:cubicBezTo>
                    <a:pt x="169841" y="115541"/>
                    <a:pt x="152875" y="104010"/>
                    <a:pt x="152550" y="95119"/>
                  </a:cubicBezTo>
                  <a:cubicBezTo>
                    <a:pt x="152225" y="86228"/>
                    <a:pt x="148247" y="79277"/>
                    <a:pt x="140779" y="69851"/>
                  </a:cubicBezTo>
                  <a:cubicBezTo>
                    <a:pt x="120241" y="43848"/>
                    <a:pt x="93695" y="22523"/>
                    <a:pt x="66378" y="-339"/>
                  </a:cubicBezTo>
                  <a:lnTo>
                    <a:pt x="27087" y="51869"/>
                  </a:lnTo>
                  <a:lnTo>
                    <a:pt x="3910" y="82619"/>
                  </a:lnTo>
                  <a:cubicBezTo>
                    <a:pt x="-3924" y="93014"/>
                    <a:pt x="-798" y="98294"/>
                    <a:pt x="19010" y="109358"/>
                  </a:cubicBezTo>
                  <a:cubicBezTo>
                    <a:pt x="37802" y="119853"/>
                    <a:pt x="43364" y="114806"/>
                    <a:pt x="58950" y="115508"/>
                  </a:cubicBezTo>
                  <a:cubicBezTo>
                    <a:pt x="70437" y="116076"/>
                    <a:pt x="75429" y="107720"/>
                    <a:pt x="88580" y="114204"/>
                  </a:cubicBezTo>
                  <a:cubicBezTo>
                    <a:pt x="102909" y="121758"/>
                    <a:pt x="114557" y="132253"/>
                    <a:pt x="122392" y="144686"/>
                  </a:cubicBezTo>
                  <a:cubicBezTo>
                    <a:pt x="130753" y="158056"/>
                    <a:pt x="129779" y="192115"/>
                    <a:pt x="151738" y="200504"/>
                  </a:cubicBezTo>
                  <a:cubicBezTo>
                    <a:pt x="168379" y="206888"/>
                    <a:pt x="177390" y="220558"/>
                    <a:pt x="190744" y="229716"/>
                  </a:cubicBezTo>
                  <a:cubicBezTo>
                    <a:pt x="205642" y="240111"/>
                    <a:pt x="209416" y="232123"/>
                    <a:pt x="200121" y="222463"/>
                  </a:cubicBezTo>
                  <a:cubicBezTo>
                    <a:pt x="196346" y="218352"/>
                    <a:pt x="203936" y="226307"/>
                    <a:pt x="200121" y="222296"/>
                  </a:cubicBezTo>
                  <a:close/>
                  <a:moveTo>
                    <a:pt x="301230" y="170490"/>
                  </a:moveTo>
                  <a:cubicBezTo>
                    <a:pt x="292259" y="181185"/>
                    <a:pt x="245784" y="155616"/>
                    <a:pt x="235150" y="148229"/>
                  </a:cubicBezTo>
                  <a:cubicBezTo>
                    <a:pt x="230888" y="145221"/>
                    <a:pt x="220456" y="136164"/>
                    <a:pt x="214409" y="136731"/>
                  </a:cubicBezTo>
                  <a:cubicBezTo>
                    <a:pt x="205113" y="137601"/>
                    <a:pt x="222933" y="154580"/>
                    <a:pt x="225733" y="157120"/>
                  </a:cubicBezTo>
                  <a:cubicBezTo>
                    <a:pt x="244242" y="173631"/>
                    <a:pt x="272127" y="182188"/>
                    <a:pt x="296643" y="183224"/>
                  </a:cubicBezTo>
                  <a:cubicBezTo>
                    <a:pt x="303869" y="183524"/>
                    <a:pt x="312636" y="180216"/>
                    <a:pt x="318197" y="178043"/>
                  </a:cubicBezTo>
                  <a:cubicBezTo>
                    <a:pt x="329359" y="173732"/>
                    <a:pt x="306913" y="163705"/>
                    <a:pt x="301230" y="170490"/>
                  </a:cubicBezTo>
                  <a:close/>
                  <a:moveTo>
                    <a:pt x="338289" y="168317"/>
                  </a:moveTo>
                  <a:cubicBezTo>
                    <a:pt x="336625" y="166044"/>
                    <a:pt x="331916" y="157722"/>
                    <a:pt x="328060" y="156385"/>
                  </a:cubicBezTo>
                  <a:cubicBezTo>
                    <a:pt x="327167" y="156084"/>
                    <a:pt x="332485" y="170556"/>
                    <a:pt x="332606" y="171158"/>
                  </a:cubicBezTo>
                  <a:cubicBezTo>
                    <a:pt x="333581" y="176171"/>
                    <a:pt x="330617" y="179247"/>
                    <a:pt x="330577" y="183792"/>
                  </a:cubicBezTo>
                  <a:cubicBezTo>
                    <a:pt x="330577" y="187435"/>
                    <a:pt x="340481" y="188873"/>
                    <a:pt x="342754" y="187435"/>
                  </a:cubicBezTo>
                  <a:cubicBezTo>
                    <a:pt x="348436" y="184093"/>
                    <a:pt x="341901" y="173331"/>
                    <a:pt x="338248" y="16831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A083CFC-7794-40E1-AD8B-2E5C8C16421D}"/>
                </a:ext>
              </a:extLst>
            </p:cNvPr>
            <p:cNvSpPr/>
            <p:nvPr/>
          </p:nvSpPr>
          <p:spPr>
            <a:xfrm>
              <a:off x="8067306" y="4925650"/>
              <a:ext cx="57559" cy="66327"/>
            </a:xfrm>
            <a:custGeom>
              <a:avLst/>
              <a:gdLst>
                <a:gd name="connsiteX0" fmla="*/ 26706 w 57559"/>
                <a:gd name="connsiteY0" fmla="*/ -162 h 66327"/>
                <a:gd name="connsiteX1" fmla="*/ 647 w 57559"/>
                <a:gd name="connsiteY1" fmla="*/ 38209 h 66327"/>
                <a:gd name="connsiteX2" fmla="*/ 34986 w 57559"/>
                <a:gd name="connsiteY2" fmla="*/ 64246 h 66327"/>
                <a:gd name="connsiteX3" fmla="*/ 53739 w 57559"/>
                <a:gd name="connsiteY3" fmla="*/ 30822 h 66327"/>
                <a:gd name="connsiteX4" fmla="*/ 26706 w 57559"/>
                <a:gd name="connsiteY4" fmla="*/ -162 h 6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59" h="66327">
                  <a:moveTo>
                    <a:pt x="26706" y="-162"/>
                  </a:moveTo>
                  <a:cubicBezTo>
                    <a:pt x="10227" y="-3136"/>
                    <a:pt x="2109" y="32259"/>
                    <a:pt x="647" y="38209"/>
                  </a:cubicBezTo>
                  <a:cubicBezTo>
                    <a:pt x="-2762" y="52547"/>
                    <a:pt x="5762" y="71933"/>
                    <a:pt x="34986" y="64246"/>
                  </a:cubicBezTo>
                  <a:cubicBezTo>
                    <a:pt x="57189" y="58463"/>
                    <a:pt x="61938" y="46163"/>
                    <a:pt x="53739" y="30822"/>
                  </a:cubicBezTo>
                  <a:cubicBezTo>
                    <a:pt x="50735" y="25140"/>
                    <a:pt x="38477" y="1944"/>
                    <a:pt x="26706" y="-16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C3EA2CBF-36D7-40E2-97A2-B7E7FD344B8B}"/>
                </a:ext>
              </a:extLst>
            </p:cNvPr>
            <p:cNvSpPr/>
            <p:nvPr/>
          </p:nvSpPr>
          <p:spPr>
            <a:xfrm>
              <a:off x="6939174" y="5121049"/>
              <a:ext cx="212223" cy="226932"/>
            </a:xfrm>
            <a:custGeom>
              <a:avLst/>
              <a:gdLst>
                <a:gd name="connsiteX0" fmla="*/ 193875 w 212223"/>
                <a:gd name="connsiteY0" fmla="*/ 3008 h 226932"/>
                <a:gd name="connsiteX1" fmla="*/ 192413 w 212223"/>
                <a:gd name="connsiteY1" fmla="*/ -130 h 226932"/>
                <a:gd name="connsiteX2" fmla="*/ 191074 w 212223"/>
                <a:gd name="connsiteY2" fmla="*/ -334 h 226932"/>
                <a:gd name="connsiteX3" fmla="*/ 170779 w 212223"/>
                <a:gd name="connsiteY3" fmla="*/ 22795 h 226932"/>
                <a:gd name="connsiteX4" fmla="*/ 147643 w 212223"/>
                <a:gd name="connsiteY4" fmla="*/ 24299 h 226932"/>
                <a:gd name="connsiteX5" fmla="*/ 142041 w 212223"/>
                <a:gd name="connsiteY5" fmla="*/ 35462 h 226932"/>
                <a:gd name="connsiteX6" fmla="*/ 127916 w 212223"/>
                <a:gd name="connsiteY6" fmla="*/ 46091 h 226932"/>
                <a:gd name="connsiteX7" fmla="*/ 101858 w 212223"/>
                <a:gd name="connsiteY7" fmla="*/ 50470 h 226932"/>
                <a:gd name="connsiteX8" fmla="*/ 75190 w 212223"/>
                <a:gd name="connsiteY8" fmla="*/ 52943 h 226932"/>
                <a:gd name="connsiteX9" fmla="*/ 42718 w 212223"/>
                <a:gd name="connsiteY9" fmla="*/ 54982 h 226932"/>
                <a:gd name="connsiteX10" fmla="*/ 36102 w 212223"/>
                <a:gd name="connsiteY10" fmla="*/ 71694 h 226932"/>
                <a:gd name="connsiteX11" fmla="*/ 27375 w 212223"/>
                <a:gd name="connsiteY11" fmla="*/ 94422 h 226932"/>
                <a:gd name="connsiteX12" fmla="*/ 24818 w 212223"/>
                <a:gd name="connsiteY12" fmla="*/ 135967 h 226932"/>
                <a:gd name="connsiteX13" fmla="*/ 1236 w 212223"/>
                <a:gd name="connsiteY13" fmla="*/ 175607 h 226932"/>
                <a:gd name="connsiteX14" fmla="*/ 21003 w 212223"/>
                <a:gd name="connsiteY14" fmla="*/ 217688 h 226932"/>
                <a:gd name="connsiteX15" fmla="*/ 46088 w 212223"/>
                <a:gd name="connsiteY15" fmla="*/ 226345 h 226932"/>
                <a:gd name="connsiteX16" fmla="*/ 68696 w 212223"/>
                <a:gd name="connsiteY16" fmla="*/ 224272 h 226932"/>
                <a:gd name="connsiteX17" fmla="*/ 100153 w 212223"/>
                <a:gd name="connsiteY17" fmla="*/ 206792 h 226932"/>
                <a:gd name="connsiteX18" fmla="*/ 160713 w 212223"/>
                <a:gd name="connsiteY18" fmla="*/ 122999 h 226932"/>
                <a:gd name="connsiteX19" fmla="*/ 177355 w 212223"/>
                <a:gd name="connsiteY19" fmla="*/ 94255 h 226932"/>
                <a:gd name="connsiteX20" fmla="*/ 186244 w 212223"/>
                <a:gd name="connsiteY20" fmla="*/ 79615 h 226932"/>
                <a:gd name="connsiteX21" fmla="*/ 194849 w 212223"/>
                <a:gd name="connsiteY21" fmla="*/ 66446 h 226932"/>
                <a:gd name="connsiteX22" fmla="*/ 210841 w 212223"/>
                <a:gd name="connsiteY22" fmla="*/ 66446 h 226932"/>
                <a:gd name="connsiteX23" fmla="*/ 208649 w 212223"/>
                <a:gd name="connsiteY23" fmla="*/ 46760 h 226932"/>
                <a:gd name="connsiteX24" fmla="*/ 205808 w 212223"/>
                <a:gd name="connsiteY24" fmla="*/ 24399 h 226932"/>
                <a:gd name="connsiteX25" fmla="*/ 193631 w 212223"/>
                <a:gd name="connsiteY25" fmla="*/ 2807 h 226932"/>
                <a:gd name="connsiteX26" fmla="*/ 193875 w 212223"/>
                <a:gd name="connsiteY26" fmla="*/ 3008 h 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2223" h="226932">
                  <a:moveTo>
                    <a:pt x="193875" y="3008"/>
                  </a:moveTo>
                  <a:cubicBezTo>
                    <a:pt x="194524" y="1812"/>
                    <a:pt x="193875" y="408"/>
                    <a:pt x="192413" y="-130"/>
                  </a:cubicBezTo>
                  <a:cubicBezTo>
                    <a:pt x="192008" y="-287"/>
                    <a:pt x="191521" y="-358"/>
                    <a:pt x="191074" y="-334"/>
                  </a:cubicBezTo>
                  <a:cubicBezTo>
                    <a:pt x="178085" y="3911"/>
                    <a:pt x="182712" y="19386"/>
                    <a:pt x="170779" y="22795"/>
                  </a:cubicBezTo>
                  <a:cubicBezTo>
                    <a:pt x="163311" y="24934"/>
                    <a:pt x="154543" y="21190"/>
                    <a:pt x="147643" y="24299"/>
                  </a:cubicBezTo>
                  <a:cubicBezTo>
                    <a:pt x="144477" y="25736"/>
                    <a:pt x="143097" y="32889"/>
                    <a:pt x="142041" y="35462"/>
                  </a:cubicBezTo>
                  <a:cubicBezTo>
                    <a:pt x="139403" y="41779"/>
                    <a:pt x="142041" y="44988"/>
                    <a:pt x="127916" y="46091"/>
                  </a:cubicBezTo>
                  <a:cubicBezTo>
                    <a:pt x="118987" y="46355"/>
                    <a:pt x="110179" y="47836"/>
                    <a:pt x="101858" y="50470"/>
                  </a:cubicBezTo>
                  <a:cubicBezTo>
                    <a:pt x="91589" y="53812"/>
                    <a:pt x="86434" y="53077"/>
                    <a:pt x="75190" y="52943"/>
                  </a:cubicBezTo>
                  <a:cubicBezTo>
                    <a:pt x="69995" y="52943"/>
                    <a:pt x="44992" y="52442"/>
                    <a:pt x="42718" y="54982"/>
                  </a:cubicBezTo>
                  <a:cubicBezTo>
                    <a:pt x="38416" y="59795"/>
                    <a:pt x="39512" y="66480"/>
                    <a:pt x="36102" y="71694"/>
                  </a:cubicBezTo>
                  <a:cubicBezTo>
                    <a:pt x="30745" y="79849"/>
                    <a:pt x="25427" y="84729"/>
                    <a:pt x="27375" y="94422"/>
                  </a:cubicBezTo>
                  <a:cubicBezTo>
                    <a:pt x="30541" y="110030"/>
                    <a:pt x="42556" y="122932"/>
                    <a:pt x="24818" y="135967"/>
                  </a:cubicBezTo>
                  <a:cubicBezTo>
                    <a:pt x="9070" y="147532"/>
                    <a:pt x="-4366" y="158328"/>
                    <a:pt x="1236" y="175607"/>
                  </a:cubicBezTo>
                  <a:cubicBezTo>
                    <a:pt x="5538" y="188810"/>
                    <a:pt x="3752" y="208129"/>
                    <a:pt x="21003" y="217688"/>
                  </a:cubicBezTo>
                  <a:cubicBezTo>
                    <a:pt x="28553" y="221932"/>
                    <a:pt x="37117" y="224907"/>
                    <a:pt x="46088" y="226345"/>
                  </a:cubicBezTo>
                  <a:cubicBezTo>
                    <a:pt x="54936" y="227648"/>
                    <a:pt x="60213" y="223370"/>
                    <a:pt x="68696" y="224272"/>
                  </a:cubicBezTo>
                  <a:cubicBezTo>
                    <a:pt x="87367" y="226211"/>
                    <a:pt x="93050" y="216083"/>
                    <a:pt x="100153" y="206792"/>
                  </a:cubicBezTo>
                  <a:cubicBezTo>
                    <a:pt x="121057" y="179217"/>
                    <a:pt x="140743" y="150941"/>
                    <a:pt x="160713" y="122999"/>
                  </a:cubicBezTo>
                  <a:cubicBezTo>
                    <a:pt x="166436" y="114877"/>
                    <a:pt x="177598" y="103780"/>
                    <a:pt x="177355" y="94255"/>
                  </a:cubicBezTo>
                  <a:cubicBezTo>
                    <a:pt x="177355" y="88472"/>
                    <a:pt x="185473" y="85130"/>
                    <a:pt x="186244" y="79615"/>
                  </a:cubicBezTo>
                  <a:cubicBezTo>
                    <a:pt x="186244" y="78880"/>
                    <a:pt x="188071" y="55851"/>
                    <a:pt x="194849" y="66446"/>
                  </a:cubicBezTo>
                  <a:cubicBezTo>
                    <a:pt x="199192" y="73131"/>
                    <a:pt x="207472" y="73131"/>
                    <a:pt x="210841" y="66446"/>
                  </a:cubicBezTo>
                  <a:cubicBezTo>
                    <a:pt x="214210" y="59761"/>
                    <a:pt x="210273" y="53077"/>
                    <a:pt x="208649" y="46760"/>
                  </a:cubicBezTo>
                  <a:cubicBezTo>
                    <a:pt x="206701" y="39306"/>
                    <a:pt x="208649" y="31752"/>
                    <a:pt x="205808" y="24399"/>
                  </a:cubicBezTo>
                  <a:cubicBezTo>
                    <a:pt x="202967" y="17046"/>
                    <a:pt x="195376" y="10127"/>
                    <a:pt x="193631" y="2807"/>
                  </a:cubicBezTo>
                  <a:cubicBezTo>
                    <a:pt x="191926" y="-5615"/>
                    <a:pt x="195174" y="8957"/>
                    <a:pt x="193875" y="300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FFBBF7BA-BEFF-45C3-AAFE-DDCDFCD9F474}"/>
                </a:ext>
              </a:extLst>
            </p:cNvPr>
            <p:cNvSpPr/>
            <p:nvPr/>
          </p:nvSpPr>
          <p:spPr>
            <a:xfrm>
              <a:off x="7035373" y="4597804"/>
              <a:ext cx="334418" cy="132428"/>
            </a:xfrm>
            <a:custGeom>
              <a:avLst/>
              <a:gdLst>
                <a:gd name="connsiteX0" fmla="*/ 257153 w 334418"/>
                <a:gd name="connsiteY0" fmla="*/ 6484 h 132428"/>
                <a:gd name="connsiteX1" fmla="*/ 181737 w 334418"/>
                <a:gd name="connsiteY1" fmla="*/ 4712 h 132428"/>
                <a:gd name="connsiteX2" fmla="*/ 149266 w 334418"/>
                <a:gd name="connsiteY2" fmla="*/ 17313 h 132428"/>
                <a:gd name="connsiteX3" fmla="*/ 109406 w 334418"/>
                <a:gd name="connsiteY3" fmla="*/ 14205 h 132428"/>
                <a:gd name="connsiteX4" fmla="*/ 76447 w 334418"/>
                <a:gd name="connsiteY4" fmla="*/ 7185 h 132428"/>
                <a:gd name="connsiteX5" fmla="*/ 52093 w 334418"/>
                <a:gd name="connsiteY5" fmla="*/ 4111 h 132428"/>
                <a:gd name="connsiteX6" fmla="*/ 30581 w 334418"/>
                <a:gd name="connsiteY6" fmla="*/ -301 h 132428"/>
                <a:gd name="connsiteX7" fmla="*/ 9190 w 334418"/>
                <a:gd name="connsiteY7" fmla="*/ 15441 h 132428"/>
                <a:gd name="connsiteX8" fmla="*/ 2858 w 334418"/>
                <a:gd name="connsiteY8" fmla="*/ 27340 h 132428"/>
                <a:gd name="connsiteX9" fmla="*/ 1154 w 334418"/>
                <a:gd name="connsiteY9" fmla="*/ 44052 h 132428"/>
                <a:gd name="connsiteX10" fmla="*/ 11382 w 334418"/>
                <a:gd name="connsiteY10" fmla="*/ 73832 h 132428"/>
                <a:gd name="connsiteX11" fmla="*/ 34965 w 334418"/>
                <a:gd name="connsiteY11" fmla="*/ 85096 h 132428"/>
                <a:gd name="connsiteX12" fmla="*/ 86919 w 334418"/>
                <a:gd name="connsiteY12" fmla="*/ 80517 h 132428"/>
                <a:gd name="connsiteX13" fmla="*/ 134856 w 334418"/>
                <a:gd name="connsiteY13" fmla="*/ 77743 h 132428"/>
                <a:gd name="connsiteX14" fmla="*/ 172889 w 334418"/>
                <a:gd name="connsiteY14" fmla="*/ 77743 h 132428"/>
                <a:gd name="connsiteX15" fmla="*/ 195457 w 334418"/>
                <a:gd name="connsiteY15" fmla="*/ 70523 h 132428"/>
                <a:gd name="connsiteX16" fmla="*/ 220257 w 334418"/>
                <a:gd name="connsiteY16" fmla="*/ 68919 h 132428"/>
                <a:gd name="connsiteX17" fmla="*/ 278097 w 334418"/>
                <a:gd name="connsiteY17" fmla="*/ 63638 h 132428"/>
                <a:gd name="connsiteX18" fmla="*/ 285079 w 334418"/>
                <a:gd name="connsiteY18" fmla="*/ 56719 h 132428"/>
                <a:gd name="connsiteX19" fmla="*/ 313492 w 334418"/>
                <a:gd name="connsiteY19" fmla="*/ 53611 h 132428"/>
                <a:gd name="connsiteX20" fmla="*/ 293197 w 334418"/>
                <a:gd name="connsiteY20" fmla="*/ 17313 h 132428"/>
                <a:gd name="connsiteX21" fmla="*/ 286824 w 334418"/>
                <a:gd name="connsiteY21" fmla="*/ 5982 h 132428"/>
                <a:gd name="connsiteX22" fmla="*/ 257478 w 334418"/>
                <a:gd name="connsiteY22" fmla="*/ 6684 h 132428"/>
                <a:gd name="connsiteX23" fmla="*/ 257153 w 334418"/>
                <a:gd name="connsiteY23" fmla="*/ 6484 h 132428"/>
                <a:gd name="connsiteX24" fmla="*/ 304318 w 334418"/>
                <a:gd name="connsiteY24" fmla="*/ 127945 h 132428"/>
                <a:gd name="connsiteX25" fmla="*/ 334314 w 334418"/>
                <a:gd name="connsiteY25" fmla="*/ 129081 h 132428"/>
                <a:gd name="connsiteX26" fmla="*/ 304318 w 334418"/>
                <a:gd name="connsiteY26" fmla="*/ 127945 h 13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4418" h="132428">
                  <a:moveTo>
                    <a:pt x="257153" y="6484"/>
                  </a:moveTo>
                  <a:cubicBezTo>
                    <a:pt x="228740" y="6149"/>
                    <a:pt x="207390" y="-2441"/>
                    <a:pt x="181737" y="4712"/>
                  </a:cubicBezTo>
                  <a:cubicBezTo>
                    <a:pt x="171143" y="7687"/>
                    <a:pt x="155395" y="11196"/>
                    <a:pt x="149266" y="17313"/>
                  </a:cubicBezTo>
                  <a:cubicBezTo>
                    <a:pt x="139321" y="26972"/>
                    <a:pt x="123978" y="16678"/>
                    <a:pt x="109406" y="14205"/>
                  </a:cubicBezTo>
                  <a:cubicBezTo>
                    <a:pt x="97798" y="12232"/>
                    <a:pt x="87731" y="9358"/>
                    <a:pt x="76447" y="7185"/>
                  </a:cubicBezTo>
                  <a:cubicBezTo>
                    <a:pt x="68451" y="5518"/>
                    <a:pt x="60293" y="4488"/>
                    <a:pt x="52093" y="4111"/>
                  </a:cubicBezTo>
                  <a:cubicBezTo>
                    <a:pt x="44828" y="3910"/>
                    <a:pt x="37157" y="-803"/>
                    <a:pt x="30581" y="-301"/>
                  </a:cubicBezTo>
                  <a:cubicBezTo>
                    <a:pt x="10286" y="1203"/>
                    <a:pt x="23559" y="13068"/>
                    <a:pt x="9190" y="15441"/>
                  </a:cubicBezTo>
                  <a:cubicBezTo>
                    <a:pt x="-4001" y="17781"/>
                    <a:pt x="7850" y="21190"/>
                    <a:pt x="2858" y="27340"/>
                  </a:cubicBezTo>
                  <a:cubicBezTo>
                    <a:pt x="-1201" y="32086"/>
                    <a:pt x="-267" y="38704"/>
                    <a:pt x="1154" y="44052"/>
                  </a:cubicBezTo>
                  <a:cubicBezTo>
                    <a:pt x="3995" y="54647"/>
                    <a:pt x="11544" y="62869"/>
                    <a:pt x="11382" y="73832"/>
                  </a:cubicBezTo>
                  <a:cubicBezTo>
                    <a:pt x="11382" y="83291"/>
                    <a:pt x="20027" y="84093"/>
                    <a:pt x="34965" y="85096"/>
                  </a:cubicBezTo>
                  <a:cubicBezTo>
                    <a:pt x="54691" y="86433"/>
                    <a:pt x="68289" y="81286"/>
                    <a:pt x="86919" y="80517"/>
                  </a:cubicBezTo>
                  <a:cubicBezTo>
                    <a:pt x="104373" y="79815"/>
                    <a:pt x="118945" y="83258"/>
                    <a:pt x="134856" y="77743"/>
                  </a:cubicBezTo>
                  <a:cubicBezTo>
                    <a:pt x="148210" y="73164"/>
                    <a:pt x="159210" y="79046"/>
                    <a:pt x="172889" y="77743"/>
                  </a:cubicBezTo>
                  <a:cubicBezTo>
                    <a:pt x="181859" y="76773"/>
                    <a:pt x="187217" y="72228"/>
                    <a:pt x="195457" y="70523"/>
                  </a:cubicBezTo>
                  <a:cubicBezTo>
                    <a:pt x="203615" y="69240"/>
                    <a:pt x="211936" y="68702"/>
                    <a:pt x="220257" y="68919"/>
                  </a:cubicBezTo>
                  <a:cubicBezTo>
                    <a:pt x="237426" y="68651"/>
                    <a:pt x="265839" y="71392"/>
                    <a:pt x="278097" y="63638"/>
                  </a:cubicBezTo>
                  <a:cubicBezTo>
                    <a:pt x="281263" y="61633"/>
                    <a:pt x="282440" y="58925"/>
                    <a:pt x="285079" y="56719"/>
                  </a:cubicBezTo>
                  <a:cubicBezTo>
                    <a:pt x="290843" y="51873"/>
                    <a:pt x="304359" y="54313"/>
                    <a:pt x="313492" y="53611"/>
                  </a:cubicBezTo>
                  <a:lnTo>
                    <a:pt x="293197" y="17313"/>
                  </a:lnTo>
                  <a:lnTo>
                    <a:pt x="286824" y="5982"/>
                  </a:lnTo>
                  <a:cubicBezTo>
                    <a:pt x="277123" y="6283"/>
                    <a:pt x="267300" y="6818"/>
                    <a:pt x="257478" y="6684"/>
                  </a:cubicBezTo>
                  <a:cubicBezTo>
                    <a:pt x="241648" y="6316"/>
                    <a:pt x="261455" y="6550"/>
                    <a:pt x="257153" y="6484"/>
                  </a:cubicBezTo>
                  <a:close/>
                  <a:moveTo>
                    <a:pt x="304318" y="127945"/>
                  </a:moveTo>
                  <a:cubicBezTo>
                    <a:pt x="312436" y="135098"/>
                    <a:pt x="332731" y="131287"/>
                    <a:pt x="334314" y="129081"/>
                  </a:cubicBezTo>
                  <a:cubicBezTo>
                    <a:pt x="335897" y="126875"/>
                    <a:pt x="294982" y="119856"/>
                    <a:pt x="304318" y="12794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2460B95F-219C-4847-873F-F968BD765CF2}"/>
                </a:ext>
              </a:extLst>
            </p:cNvPr>
            <p:cNvSpPr/>
            <p:nvPr/>
          </p:nvSpPr>
          <p:spPr>
            <a:xfrm>
              <a:off x="7434516" y="5899842"/>
              <a:ext cx="46983" cy="25794"/>
            </a:xfrm>
            <a:custGeom>
              <a:avLst/>
              <a:gdLst>
                <a:gd name="connsiteX0" fmla="*/ 19436 w 46983"/>
                <a:gd name="connsiteY0" fmla="*/ 1380 h 25794"/>
                <a:gd name="connsiteX1" fmla="*/ 845 w 46983"/>
                <a:gd name="connsiteY1" fmla="*/ 8867 h 25794"/>
                <a:gd name="connsiteX2" fmla="*/ 24550 w 46983"/>
                <a:gd name="connsiteY2" fmla="*/ 22237 h 25794"/>
                <a:gd name="connsiteX3" fmla="*/ 45860 w 46983"/>
                <a:gd name="connsiteY3" fmla="*/ 16087 h 25794"/>
                <a:gd name="connsiteX4" fmla="*/ 19436 w 46983"/>
                <a:gd name="connsiteY4" fmla="*/ 1380 h 25794"/>
                <a:gd name="connsiteX5" fmla="*/ 19436 w 46983"/>
                <a:gd name="connsiteY5" fmla="*/ 1380 h 2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83" h="25794">
                  <a:moveTo>
                    <a:pt x="19436" y="1380"/>
                  </a:moveTo>
                  <a:cubicBezTo>
                    <a:pt x="17934" y="-4536"/>
                    <a:pt x="1860" y="6528"/>
                    <a:pt x="845" y="8867"/>
                  </a:cubicBezTo>
                  <a:cubicBezTo>
                    <a:pt x="-5040" y="21936"/>
                    <a:pt x="19517" y="17190"/>
                    <a:pt x="24550" y="22237"/>
                  </a:cubicBezTo>
                  <a:cubicBezTo>
                    <a:pt x="31328" y="28921"/>
                    <a:pt x="51786" y="24376"/>
                    <a:pt x="45860" y="16087"/>
                  </a:cubicBezTo>
                  <a:cubicBezTo>
                    <a:pt x="41232" y="9603"/>
                    <a:pt x="21181" y="8366"/>
                    <a:pt x="19436" y="1380"/>
                  </a:cubicBezTo>
                  <a:cubicBezTo>
                    <a:pt x="18015" y="-4234"/>
                    <a:pt x="20856" y="7029"/>
                    <a:pt x="19436" y="138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0AF33CAF-25CF-48FA-AD59-EF53F2F95678}"/>
                </a:ext>
              </a:extLst>
            </p:cNvPr>
            <p:cNvSpPr/>
            <p:nvPr/>
          </p:nvSpPr>
          <p:spPr>
            <a:xfrm>
              <a:off x="7433016" y="5898654"/>
              <a:ext cx="49706" cy="28125"/>
            </a:xfrm>
            <a:custGeom>
              <a:avLst/>
              <a:gdLst>
                <a:gd name="connsiteX0" fmla="*/ 31570 w 49706"/>
                <a:gd name="connsiteY0" fmla="*/ 27403 h 28125"/>
                <a:gd name="connsiteX1" fmla="*/ 31570 w 49706"/>
                <a:gd name="connsiteY1" fmla="*/ 27403 h 28125"/>
                <a:gd name="connsiteX2" fmla="*/ 24832 w 49706"/>
                <a:gd name="connsiteY2" fmla="*/ 24061 h 28125"/>
                <a:gd name="connsiteX3" fmla="*/ 20773 w 49706"/>
                <a:gd name="connsiteY3" fmla="*/ 22423 h 28125"/>
                <a:gd name="connsiteX4" fmla="*/ 15172 w 49706"/>
                <a:gd name="connsiteY4" fmla="*/ 21587 h 28125"/>
                <a:gd name="connsiteX5" fmla="*/ 8799 w 49706"/>
                <a:gd name="connsiteY5" fmla="*/ 20651 h 28125"/>
                <a:gd name="connsiteX6" fmla="*/ 1006 w 49706"/>
                <a:gd name="connsiteY6" fmla="*/ 16841 h 28125"/>
                <a:gd name="connsiteX7" fmla="*/ 1006 w 49706"/>
                <a:gd name="connsiteY7" fmla="*/ 9655 h 28125"/>
                <a:gd name="connsiteX8" fmla="*/ 19636 w 49706"/>
                <a:gd name="connsiteY8" fmla="*/ -138 h 28125"/>
                <a:gd name="connsiteX9" fmla="*/ 19880 w 49706"/>
                <a:gd name="connsiteY9" fmla="*/ -138 h 28125"/>
                <a:gd name="connsiteX10" fmla="*/ 20164 w 49706"/>
                <a:gd name="connsiteY10" fmla="*/ -339 h 28125"/>
                <a:gd name="connsiteX11" fmla="*/ 20976 w 49706"/>
                <a:gd name="connsiteY11" fmla="*/ -339 h 28125"/>
                <a:gd name="connsiteX12" fmla="*/ 22112 w 49706"/>
                <a:gd name="connsiteY12" fmla="*/ 597 h 28125"/>
                <a:gd name="connsiteX13" fmla="*/ 22112 w 49706"/>
                <a:gd name="connsiteY13" fmla="*/ 597 h 28125"/>
                <a:gd name="connsiteX14" fmla="*/ 22112 w 49706"/>
                <a:gd name="connsiteY14" fmla="*/ 1232 h 28125"/>
                <a:gd name="connsiteX15" fmla="*/ 22356 w 49706"/>
                <a:gd name="connsiteY15" fmla="*/ 2202 h 28125"/>
                <a:gd name="connsiteX16" fmla="*/ 34533 w 49706"/>
                <a:gd name="connsiteY16" fmla="*/ 9254 h 28125"/>
                <a:gd name="connsiteX17" fmla="*/ 48415 w 49706"/>
                <a:gd name="connsiteY17" fmla="*/ 16574 h 28125"/>
                <a:gd name="connsiteX18" fmla="*/ 47765 w 49706"/>
                <a:gd name="connsiteY18" fmla="*/ 23860 h 28125"/>
                <a:gd name="connsiteX19" fmla="*/ 31570 w 49706"/>
                <a:gd name="connsiteY19" fmla="*/ 27403 h 28125"/>
                <a:gd name="connsiteX20" fmla="*/ 21423 w 49706"/>
                <a:gd name="connsiteY20" fmla="*/ 20284 h 28125"/>
                <a:gd name="connsiteX21" fmla="*/ 27227 w 49706"/>
                <a:gd name="connsiteY21" fmla="*/ 22824 h 28125"/>
                <a:gd name="connsiteX22" fmla="*/ 32220 w 49706"/>
                <a:gd name="connsiteY22" fmla="*/ 25230 h 28125"/>
                <a:gd name="connsiteX23" fmla="*/ 45655 w 49706"/>
                <a:gd name="connsiteY23" fmla="*/ 22623 h 28125"/>
                <a:gd name="connsiteX24" fmla="*/ 46020 w 49706"/>
                <a:gd name="connsiteY24" fmla="*/ 17744 h 28125"/>
                <a:gd name="connsiteX25" fmla="*/ 33843 w 49706"/>
                <a:gd name="connsiteY25" fmla="*/ 11493 h 28125"/>
                <a:gd name="connsiteX26" fmla="*/ 21057 w 49706"/>
                <a:gd name="connsiteY26" fmla="*/ 5243 h 28125"/>
                <a:gd name="connsiteX27" fmla="*/ 20043 w 49706"/>
                <a:gd name="connsiteY27" fmla="*/ 4341 h 28125"/>
                <a:gd name="connsiteX28" fmla="*/ 20043 w 49706"/>
                <a:gd name="connsiteY28" fmla="*/ 4341 h 28125"/>
                <a:gd name="connsiteX29" fmla="*/ 20043 w 49706"/>
                <a:gd name="connsiteY29" fmla="*/ 3639 h 28125"/>
                <a:gd name="connsiteX30" fmla="*/ 19758 w 49706"/>
                <a:gd name="connsiteY30" fmla="*/ 2536 h 28125"/>
                <a:gd name="connsiteX31" fmla="*/ 19231 w 49706"/>
                <a:gd name="connsiteY31" fmla="*/ 2001 h 28125"/>
                <a:gd name="connsiteX32" fmla="*/ 4131 w 49706"/>
                <a:gd name="connsiteY32" fmla="*/ 10457 h 28125"/>
                <a:gd name="connsiteX33" fmla="*/ 4131 w 49706"/>
                <a:gd name="connsiteY33" fmla="*/ 15838 h 28125"/>
                <a:gd name="connsiteX34" fmla="*/ 9976 w 49706"/>
                <a:gd name="connsiteY34" fmla="*/ 18479 h 28125"/>
                <a:gd name="connsiteX35" fmla="*/ 16024 w 49706"/>
                <a:gd name="connsiteY35" fmla="*/ 19415 h 28125"/>
                <a:gd name="connsiteX36" fmla="*/ 21423 w 49706"/>
                <a:gd name="connsiteY36" fmla="*/ 20150 h 2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706" h="28125">
                  <a:moveTo>
                    <a:pt x="31570" y="27403"/>
                  </a:moveTo>
                  <a:lnTo>
                    <a:pt x="31570" y="27403"/>
                  </a:lnTo>
                  <a:cubicBezTo>
                    <a:pt x="28932" y="26902"/>
                    <a:pt x="26578" y="25732"/>
                    <a:pt x="24832" y="24061"/>
                  </a:cubicBezTo>
                  <a:cubicBezTo>
                    <a:pt x="23695" y="23192"/>
                    <a:pt x="22315" y="22623"/>
                    <a:pt x="20773" y="22423"/>
                  </a:cubicBezTo>
                  <a:cubicBezTo>
                    <a:pt x="19109" y="22088"/>
                    <a:pt x="17201" y="21855"/>
                    <a:pt x="15172" y="21587"/>
                  </a:cubicBezTo>
                  <a:cubicBezTo>
                    <a:pt x="13142" y="21320"/>
                    <a:pt x="10829" y="21052"/>
                    <a:pt x="8799" y="20651"/>
                  </a:cubicBezTo>
                  <a:cubicBezTo>
                    <a:pt x="5714" y="20250"/>
                    <a:pt x="2913" y="18880"/>
                    <a:pt x="1006" y="16841"/>
                  </a:cubicBezTo>
                  <a:cubicBezTo>
                    <a:pt x="-415" y="14602"/>
                    <a:pt x="-415" y="11894"/>
                    <a:pt x="1006" y="9655"/>
                  </a:cubicBezTo>
                  <a:cubicBezTo>
                    <a:pt x="1980" y="7482"/>
                    <a:pt x="13914" y="-1308"/>
                    <a:pt x="19636" y="-138"/>
                  </a:cubicBezTo>
                  <a:lnTo>
                    <a:pt x="19880" y="-138"/>
                  </a:lnTo>
                  <a:lnTo>
                    <a:pt x="20164" y="-339"/>
                  </a:lnTo>
                  <a:lnTo>
                    <a:pt x="20976" y="-339"/>
                  </a:lnTo>
                  <a:cubicBezTo>
                    <a:pt x="21666" y="-339"/>
                    <a:pt x="21869" y="-339"/>
                    <a:pt x="22112" y="597"/>
                  </a:cubicBezTo>
                  <a:lnTo>
                    <a:pt x="22112" y="597"/>
                  </a:lnTo>
                  <a:cubicBezTo>
                    <a:pt x="22072" y="798"/>
                    <a:pt x="22072" y="1032"/>
                    <a:pt x="22112" y="1232"/>
                  </a:cubicBezTo>
                  <a:cubicBezTo>
                    <a:pt x="22153" y="1566"/>
                    <a:pt x="22234" y="1867"/>
                    <a:pt x="22356" y="2202"/>
                  </a:cubicBezTo>
                  <a:cubicBezTo>
                    <a:pt x="23127" y="5310"/>
                    <a:pt x="28769" y="7215"/>
                    <a:pt x="34533" y="9254"/>
                  </a:cubicBezTo>
                  <a:cubicBezTo>
                    <a:pt x="40297" y="11293"/>
                    <a:pt x="45979" y="13165"/>
                    <a:pt x="48415" y="16574"/>
                  </a:cubicBezTo>
                  <a:cubicBezTo>
                    <a:pt x="50282" y="18846"/>
                    <a:pt x="49998" y="21855"/>
                    <a:pt x="47765" y="23860"/>
                  </a:cubicBezTo>
                  <a:cubicBezTo>
                    <a:pt x="43422" y="27202"/>
                    <a:pt x="37333" y="28506"/>
                    <a:pt x="31570" y="27403"/>
                  </a:cubicBezTo>
                  <a:close/>
                  <a:moveTo>
                    <a:pt x="21423" y="20284"/>
                  </a:moveTo>
                  <a:cubicBezTo>
                    <a:pt x="23655" y="20584"/>
                    <a:pt x="25684" y="21487"/>
                    <a:pt x="27227" y="22824"/>
                  </a:cubicBezTo>
                  <a:cubicBezTo>
                    <a:pt x="28526" y="24027"/>
                    <a:pt x="30271" y="24863"/>
                    <a:pt x="32220" y="25230"/>
                  </a:cubicBezTo>
                  <a:cubicBezTo>
                    <a:pt x="36928" y="26266"/>
                    <a:pt x="42001" y="25264"/>
                    <a:pt x="45655" y="22623"/>
                  </a:cubicBezTo>
                  <a:cubicBezTo>
                    <a:pt x="47197" y="21286"/>
                    <a:pt x="47360" y="19214"/>
                    <a:pt x="46020" y="17744"/>
                  </a:cubicBezTo>
                  <a:cubicBezTo>
                    <a:pt x="44112" y="15070"/>
                    <a:pt x="38795" y="13265"/>
                    <a:pt x="33843" y="11493"/>
                  </a:cubicBezTo>
                  <a:cubicBezTo>
                    <a:pt x="29013" y="10290"/>
                    <a:pt x="24629" y="8151"/>
                    <a:pt x="21057" y="5243"/>
                  </a:cubicBezTo>
                  <a:cubicBezTo>
                    <a:pt x="20489" y="5243"/>
                    <a:pt x="20286" y="5042"/>
                    <a:pt x="20043" y="4341"/>
                  </a:cubicBezTo>
                  <a:lnTo>
                    <a:pt x="20043" y="4341"/>
                  </a:lnTo>
                  <a:cubicBezTo>
                    <a:pt x="20043" y="4106"/>
                    <a:pt x="20043" y="3873"/>
                    <a:pt x="20043" y="3639"/>
                  </a:cubicBezTo>
                  <a:cubicBezTo>
                    <a:pt x="20043" y="3338"/>
                    <a:pt x="20043" y="2970"/>
                    <a:pt x="19758" y="2536"/>
                  </a:cubicBezTo>
                  <a:cubicBezTo>
                    <a:pt x="19474" y="2101"/>
                    <a:pt x="19393" y="2034"/>
                    <a:pt x="19231" y="2001"/>
                  </a:cubicBezTo>
                  <a:cubicBezTo>
                    <a:pt x="15821" y="1332"/>
                    <a:pt x="4902" y="8685"/>
                    <a:pt x="4131" y="10457"/>
                  </a:cubicBezTo>
                  <a:cubicBezTo>
                    <a:pt x="3117" y="12162"/>
                    <a:pt x="3117" y="14134"/>
                    <a:pt x="4131" y="15838"/>
                  </a:cubicBezTo>
                  <a:cubicBezTo>
                    <a:pt x="5592" y="17309"/>
                    <a:pt x="7703" y="18245"/>
                    <a:pt x="9976" y="18479"/>
                  </a:cubicBezTo>
                  <a:cubicBezTo>
                    <a:pt x="11843" y="18880"/>
                    <a:pt x="14035" y="19147"/>
                    <a:pt x="16024" y="19415"/>
                  </a:cubicBezTo>
                  <a:cubicBezTo>
                    <a:pt x="18013" y="19682"/>
                    <a:pt x="19596" y="19916"/>
                    <a:pt x="21423" y="201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E0BCBCFD-9B02-4680-8733-1958B822DD32}"/>
                </a:ext>
              </a:extLst>
            </p:cNvPr>
            <p:cNvSpPr/>
            <p:nvPr/>
          </p:nvSpPr>
          <p:spPr>
            <a:xfrm>
              <a:off x="9857354" y="5928227"/>
              <a:ext cx="116289" cy="182856"/>
            </a:xfrm>
            <a:custGeom>
              <a:avLst/>
              <a:gdLst>
                <a:gd name="connsiteX0" fmla="*/ 1581 w 116289"/>
                <a:gd name="connsiteY0" fmla="*/ -199 h 182856"/>
                <a:gd name="connsiteX1" fmla="*/ 13149 w 116289"/>
                <a:gd name="connsiteY1" fmla="*/ 37002 h 182856"/>
                <a:gd name="connsiteX2" fmla="*/ 1581 w 116289"/>
                <a:gd name="connsiteY2" fmla="*/ -199 h 182856"/>
                <a:gd name="connsiteX3" fmla="*/ 30766 w 116289"/>
                <a:gd name="connsiteY3" fmla="*/ 43252 h 182856"/>
                <a:gd name="connsiteX4" fmla="*/ 41928 w 116289"/>
                <a:gd name="connsiteY4" fmla="*/ 64409 h 182856"/>
                <a:gd name="connsiteX5" fmla="*/ 30766 w 116289"/>
                <a:gd name="connsiteY5" fmla="*/ 43118 h 182856"/>
                <a:gd name="connsiteX6" fmla="*/ 85764 w 116289"/>
                <a:gd name="connsiteY6" fmla="*/ 114076 h 182856"/>
                <a:gd name="connsiteX7" fmla="*/ 62953 w 116289"/>
                <a:gd name="connsiteY7" fmla="*/ 83995 h 182856"/>
                <a:gd name="connsiteX8" fmla="*/ 85764 w 116289"/>
                <a:gd name="connsiteY8" fmla="*/ 113943 h 182856"/>
                <a:gd name="connsiteX9" fmla="*/ 69934 w 116289"/>
                <a:gd name="connsiteY9" fmla="*/ 124638 h 182856"/>
                <a:gd name="connsiteX10" fmla="*/ 86170 w 116289"/>
                <a:gd name="connsiteY10" fmla="*/ 146531 h 182856"/>
                <a:gd name="connsiteX11" fmla="*/ 69934 w 116289"/>
                <a:gd name="connsiteY11" fmla="*/ 124505 h 182856"/>
                <a:gd name="connsiteX12" fmla="*/ 99159 w 116289"/>
                <a:gd name="connsiteY12" fmla="*/ 163544 h 182856"/>
                <a:gd name="connsiteX13" fmla="*/ 114177 w 116289"/>
                <a:gd name="connsiteY13" fmla="*/ 182461 h 182856"/>
                <a:gd name="connsiteX14" fmla="*/ 99159 w 116289"/>
                <a:gd name="connsiteY14" fmla="*/ 163410 h 182856"/>
                <a:gd name="connsiteX15" fmla="*/ 106099 w 116289"/>
                <a:gd name="connsiteY15" fmla="*/ 125675 h 182856"/>
                <a:gd name="connsiteX16" fmla="*/ 107439 w 116289"/>
                <a:gd name="connsiteY16" fmla="*/ 155421 h 182856"/>
                <a:gd name="connsiteX17" fmla="*/ 106099 w 116289"/>
                <a:gd name="connsiteY17" fmla="*/ 125541 h 18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289" h="182856">
                  <a:moveTo>
                    <a:pt x="1581" y="-199"/>
                  </a:moveTo>
                  <a:cubicBezTo>
                    <a:pt x="-2965" y="2709"/>
                    <a:pt x="2272" y="35264"/>
                    <a:pt x="13149" y="37002"/>
                  </a:cubicBezTo>
                  <a:cubicBezTo>
                    <a:pt x="33404" y="40244"/>
                    <a:pt x="6209" y="-3106"/>
                    <a:pt x="1581" y="-199"/>
                  </a:cubicBezTo>
                  <a:close/>
                  <a:moveTo>
                    <a:pt x="30766" y="43252"/>
                  </a:moveTo>
                  <a:cubicBezTo>
                    <a:pt x="28938" y="44455"/>
                    <a:pt x="37016" y="63774"/>
                    <a:pt x="41928" y="64409"/>
                  </a:cubicBezTo>
                  <a:cubicBezTo>
                    <a:pt x="46839" y="65044"/>
                    <a:pt x="34134" y="40879"/>
                    <a:pt x="30766" y="43118"/>
                  </a:cubicBezTo>
                  <a:close/>
                  <a:moveTo>
                    <a:pt x="85764" y="114076"/>
                  </a:moveTo>
                  <a:cubicBezTo>
                    <a:pt x="93314" y="115380"/>
                    <a:pt x="67093" y="80653"/>
                    <a:pt x="62953" y="83995"/>
                  </a:cubicBezTo>
                  <a:cubicBezTo>
                    <a:pt x="58813" y="87338"/>
                    <a:pt x="78296" y="112606"/>
                    <a:pt x="85764" y="113943"/>
                  </a:cubicBezTo>
                  <a:close/>
                  <a:moveTo>
                    <a:pt x="69934" y="124638"/>
                  </a:moveTo>
                  <a:cubicBezTo>
                    <a:pt x="66484" y="131958"/>
                    <a:pt x="78337" y="144893"/>
                    <a:pt x="86170" y="146531"/>
                  </a:cubicBezTo>
                  <a:cubicBezTo>
                    <a:pt x="94004" y="148169"/>
                    <a:pt x="73506" y="116918"/>
                    <a:pt x="69934" y="124505"/>
                  </a:cubicBezTo>
                  <a:close/>
                  <a:moveTo>
                    <a:pt x="99159" y="163544"/>
                  </a:moveTo>
                  <a:cubicBezTo>
                    <a:pt x="98794" y="165683"/>
                    <a:pt x="105207" y="181091"/>
                    <a:pt x="114177" y="182461"/>
                  </a:cubicBezTo>
                  <a:cubicBezTo>
                    <a:pt x="123148" y="183831"/>
                    <a:pt x="99849" y="159733"/>
                    <a:pt x="99159" y="163410"/>
                  </a:cubicBezTo>
                  <a:close/>
                  <a:moveTo>
                    <a:pt x="106099" y="125675"/>
                  </a:moveTo>
                  <a:cubicBezTo>
                    <a:pt x="94978" y="129017"/>
                    <a:pt x="104720" y="153249"/>
                    <a:pt x="107439" y="155421"/>
                  </a:cubicBezTo>
                  <a:cubicBezTo>
                    <a:pt x="110158" y="157594"/>
                    <a:pt x="114583" y="122867"/>
                    <a:pt x="106099" y="12554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7BAF2B79-E0BA-4B29-AC11-0749BDBF5CF6}"/>
                </a:ext>
              </a:extLst>
            </p:cNvPr>
            <p:cNvSpPr/>
            <p:nvPr/>
          </p:nvSpPr>
          <p:spPr>
            <a:xfrm>
              <a:off x="8607421" y="5699934"/>
              <a:ext cx="970147" cy="712612"/>
            </a:xfrm>
            <a:custGeom>
              <a:avLst/>
              <a:gdLst>
                <a:gd name="connsiteX0" fmla="*/ 942383 w 970147"/>
                <a:gd name="connsiteY0" fmla="*/ 537263 h 712612"/>
                <a:gd name="connsiteX1" fmla="*/ 945711 w 970147"/>
                <a:gd name="connsiteY1" fmla="*/ 520551 h 712612"/>
                <a:gd name="connsiteX2" fmla="*/ 970065 w 970147"/>
                <a:gd name="connsiteY2" fmla="*/ 494748 h 712612"/>
                <a:gd name="connsiteX3" fmla="*/ 955209 w 970147"/>
                <a:gd name="connsiteY3" fmla="*/ 489467 h 712612"/>
                <a:gd name="connsiteX4" fmla="*/ 956508 w 970147"/>
                <a:gd name="connsiteY4" fmla="*/ 472421 h 712612"/>
                <a:gd name="connsiteX5" fmla="*/ 954356 w 970147"/>
                <a:gd name="connsiteY5" fmla="*/ 460656 h 712612"/>
                <a:gd name="connsiteX6" fmla="*/ 944697 w 970147"/>
                <a:gd name="connsiteY6" fmla="*/ 452801 h 712612"/>
                <a:gd name="connsiteX7" fmla="*/ 945549 w 970147"/>
                <a:gd name="connsiteY7" fmla="*/ 446116 h 712612"/>
                <a:gd name="connsiteX8" fmla="*/ 937958 w 970147"/>
                <a:gd name="connsiteY8" fmla="*/ 436992 h 712612"/>
                <a:gd name="connsiteX9" fmla="*/ 948959 w 970147"/>
                <a:gd name="connsiteY9" fmla="*/ 418542 h 712612"/>
                <a:gd name="connsiteX10" fmla="*/ 934387 w 970147"/>
                <a:gd name="connsiteY10" fmla="*/ 408013 h 712612"/>
                <a:gd name="connsiteX11" fmla="*/ 930693 w 970147"/>
                <a:gd name="connsiteY11" fmla="*/ 393842 h 712612"/>
                <a:gd name="connsiteX12" fmla="*/ 929191 w 970147"/>
                <a:gd name="connsiteY12" fmla="*/ 367103 h 712612"/>
                <a:gd name="connsiteX13" fmla="*/ 911981 w 970147"/>
                <a:gd name="connsiteY13" fmla="*/ 334281 h 712612"/>
                <a:gd name="connsiteX14" fmla="*/ 896313 w 970147"/>
                <a:gd name="connsiteY14" fmla="*/ 317803 h 712612"/>
                <a:gd name="connsiteX15" fmla="*/ 896882 w 970147"/>
                <a:gd name="connsiteY15" fmla="*/ 303632 h 712612"/>
                <a:gd name="connsiteX16" fmla="*/ 906460 w 970147"/>
                <a:gd name="connsiteY16" fmla="*/ 280035 h 712612"/>
                <a:gd name="connsiteX17" fmla="*/ 903051 w 970147"/>
                <a:gd name="connsiteY17" fmla="*/ 260883 h 712612"/>
                <a:gd name="connsiteX18" fmla="*/ 915228 w 970147"/>
                <a:gd name="connsiteY18" fmla="*/ 239057 h 712612"/>
                <a:gd name="connsiteX19" fmla="*/ 906704 w 970147"/>
                <a:gd name="connsiteY19" fmla="*/ 219605 h 712612"/>
                <a:gd name="connsiteX20" fmla="*/ 884908 w 970147"/>
                <a:gd name="connsiteY20" fmla="*/ 204832 h 712612"/>
                <a:gd name="connsiteX21" fmla="*/ 899114 w 970147"/>
                <a:gd name="connsiteY21" fmla="*/ 184543 h 712612"/>
                <a:gd name="connsiteX22" fmla="*/ 898424 w 970147"/>
                <a:gd name="connsiteY22" fmla="*/ 162985 h 712612"/>
                <a:gd name="connsiteX23" fmla="*/ 901549 w 970147"/>
                <a:gd name="connsiteY23" fmla="*/ 142329 h 712612"/>
                <a:gd name="connsiteX24" fmla="*/ 880239 w 970147"/>
                <a:gd name="connsiteY24" fmla="*/ 143265 h 712612"/>
                <a:gd name="connsiteX25" fmla="*/ 872487 w 970147"/>
                <a:gd name="connsiteY25" fmla="*/ 150919 h 712612"/>
                <a:gd name="connsiteX26" fmla="*/ 861203 w 970147"/>
                <a:gd name="connsiteY26" fmla="*/ 154262 h 712612"/>
                <a:gd name="connsiteX27" fmla="*/ 848377 w 970147"/>
                <a:gd name="connsiteY27" fmla="*/ 167865 h 712612"/>
                <a:gd name="connsiteX28" fmla="*/ 831654 w 970147"/>
                <a:gd name="connsiteY28" fmla="*/ 186482 h 712612"/>
                <a:gd name="connsiteX29" fmla="*/ 786071 w 970147"/>
                <a:gd name="connsiteY29" fmla="*/ 217299 h 712612"/>
                <a:gd name="connsiteX30" fmla="*/ 754167 w 970147"/>
                <a:gd name="connsiteY30" fmla="*/ 209177 h 712612"/>
                <a:gd name="connsiteX31" fmla="*/ 743655 w 970147"/>
                <a:gd name="connsiteY31" fmla="*/ 187518 h 712612"/>
                <a:gd name="connsiteX32" fmla="*/ 723847 w 970147"/>
                <a:gd name="connsiteY32" fmla="*/ 171341 h 712612"/>
                <a:gd name="connsiteX33" fmla="*/ 703269 w 970147"/>
                <a:gd name="connsiteY33" fmla="*/ 147343 h 712612"/>
                <a:gd name="connsiteX34" fmla="*/ 694055 w 970147"/>
                <a:gd name="connsiteY34" fmla="*/ 128693 h 712612"/>
                <a:gd name="connsiteX35" fmla="*/ 685693 w 970147"/>
                <a:gd name="connsiteY35" fmla="*/ 116961 h 712612"/>
                <a:gd name="connsiteX36" fmla="*/ 701929 w 970147"/>
                <a:gd name="connsiteY36" fmla="*/ 114253 h 712612"/>
                <a:gd name="connsiteX37" fmla="*/ 713700 w 970147"/>
                <a:gd name="connsiteY37" fmla="*/ 101553 h 712612"/>
                <a:gd name="connsiteX38" fmla="*/ 732534 w 970147"/>
                <a:gd name="connsiteY38" fmla="*/ 104093 h 712612"/>
                <a:gd name="connsiteX39" fmla="*/ 737892 w 970147"/>
                <a:gd name="connsiteY39" fmla="*/ 98411 h 712612"/>
                <a:gd name="connsiteX40" fmla="*/ 748160 w 970147"/>
                <a:gd name="connsiteY40" fmla="*/ 96172 h 712612"/>
                <a:gd name="connsiteX41" fmla="*/ 737648 w 970147"/>
                <a:gd name="connsiteY41" fmla="*/ 86913 h 712612"/>
                <a:gd name="connsiteX42" fmla="*/ 726445 w 970147"/>
                <a:gd name="connsiteY42" fmla="*/ 84039 h 712612"/>
                <a:gd name="connsiteX43" fmla="*/ 714268 w 970147"/>
                <a:gd name="connsiteY43" fmla="*/ 78022 h 712612"/>
                <a:gd name="connsiteX44" fmla="*/ 697221 w 970147"/>
                <a:gd name="connsiteY44" fmla="*/ 66157 h 712612"/>
                <a:gd name="connsiteX45" fmla="*/ 670553 w 970147"/>
                <a:gd name="connsiteY45" fmla="*/ 47072 h 712612"/>
                <a:gd name="connsiteX46" fmla="*/ 651436 w 970147"/>
                <a:gd name="connsiteY46" fmla="*/ 26784 h 712612"/>
                <a:gd name="connsiteX47" fmla="*/ 646159 w 970147"/>
                <a:gd name="connsiteY47" fmla="*/ 32466 h 712612"/>
                <a:gd name="connsiteX48" fmla="*/ 639421 w 970147"/>
                <a:gd name="connsiteY48" fmla="*/ 39886 h 712612"/>
                <a:gd name="connsiteX49" fmla="*/ 612997 w 970147"/>
                <a:gd name="connsiteY49" fmla="*/ 30661 h 712612"/>
                <a:gd name="connsiteX50" fmla="*/ 603946 w 970147"/>
                <a:gd name="connsiteY50" fmla="*/ 25313 h 712612"/>
                <a:gd name="connsiteX51" fmla="*/ 600292 w 970147"/>
                <a:gd name="connsiteY51" fmla="*/ 29291 h 712612"/>
                <a:gd name="connsiteX52" fmla="*/ 589008 w 970147"/>
                <a:gd name="connsiteY52" fmla="*/ 27586 h 712612"/>
                <a:gd name="connsiteX53" fmla="*/ 575857 w 970147"/>
                <a:gd name="connsiteY53" fmla="*/ 32800 h 712612"/>
                <a:gd name="connsiteX54" fmla="*/ 549150 w 970147"/>
                <a:gd name="connsiteY54" fmla="*/ 40722 h 712612"/>
                <a:gd name="connsiteX55" fmla="*/ 546348 w 970147"/>
                <a:gd name="connsiteY55" fmla="*/ 59138 h 712612"/>
                <a:gd name="connsiteX56" fmla="*/ 523050 w 970147"/>
                <a:gd name="connsiteY56" fmla="*/ 40588 h 712612"/>
                <a:gd name="connsiteX57" fmla="*/ 509695 w 970147"/>
                <a:gd name="connsiteY57" fmla="*/ 39919 h 712612"/>
                <a:gd name="connsiteX58" fmla="*/ 503810 w 970147"/>
                <a:gd name="connsiteY58" fmla="*/ 25681 h 712612"/>
                <a:gd name="connsiteX59" fmla="*/ 492121 w 970147"/>
                <a:gd name="connsiteY59" fmla="*/ 7131 h 712612"/>
                <a:gd name="connsiteX60" fmla="*/ 463423 w 970147"/>
                <a:gd name="connsiteY60" fmla="*/ 2752 h 712612"/>
                <a:gd name="connsiteX61" fmla="*/ 445321 w 970147"/>
                <a:gd name="connsiteY61" fmla="*/ 2251 h 712612"/>
                <a:gd name="connsiteX62" fmla="*/ 431723 w 970147"/>
                <a:gd name="connsiteY62" fmla="*/ 4658 h 712612"/>
                <a:gd name="connsiteX63" fmla="*/ 410901 w 970147"/>
                <a:gd name="connsiteY63" fmla="*/ 5527 h 712612"/>
                <a:gd name="connsiteX64" fmla="*/ 396653 w 970147"/>
                <a:gd name="connsiteY64" fmla="*/ 15855 h 712612"/>
                <a:gd name="connsiteX65" fmla="*/ 382163 w 970147"/>
                <a:gd name="connsiteY65" fmla="*/ 14016 h 712612"/>
                <a:gd name="connsiteX66" fmla="*/ 370230 w 970147"/>
                <a:gd name="connsiteY66" fmla="*/ 26450 h 712612"/>
                <a:gd name="connsiteX67" fmla="*/ 367753 w 970147"/>
                <a:gd name="connsiteY67" fmla="*/ 10908 h 712612"/>
                <a:gd name="connsiteX68" fmla="*/ 337839 w 970147"/>
                <a:gd name="connsiteY68" fmla="*/ 13548 h 712612"/>
                <a:gd name="connsiteX69" fmla="*/ 330898 w 970147"/>
                <a:gd name="connsiteY69" fmla="*/ 26517 h 712612"/>
                <a:gd name="connsiteX70" fmla="*/ 301713 w 970147"/>
                <a:gd name="connsiteY70" fmla="*/ 30327 h 712612"/>
                <a:gd name="connsiteX71" fmla="*/ 269648 w 970147"/>
                <a:gd name="connsiteY71" fmla="*/ 32901 h 712612"/>
                <a:gd name="connsiteX72" fmla="*/ 238028 w 970147"/>
                <a:gd name="connsiteY72" fmla="*/ 23575 h 712612"/>
                <a:gd name="connsiteX73" fmla="*/ 212254 w 970147"/>
                <a:gd name="connsiteY73" fmla="*/ 19030 h 712612"/>
                <a:gd name="connsiteX74" fmla="*/ 192568 w 970147"/>
                <a:gd name="connsiteY74" fmla="*/ 19765 h 712612"/>
                <a:gd name="connsiteX75" fmla="*/ 169229 w 970147"/>
                <a:gd name="connsiteY75" fmla="*/ 9237 h 712612"/>
                <a:gd name="connsiteX76" fmla="*/ 123240 w 970147"/>
                <a:gd name="connsiteY76" fmla="*/ 9671 h 712612"/>
                <a:gd name="connsiteX77" fmla="*/ 107005 w 970147"/>
                <a:gd name="connsiteY77" fmla="*/ 10106 h 712612"/>
                <a:gd name="connsiteX78" fmla="*/ 97426 w 970147"/>
                <a:gd name="connsiteY78" fmla="*/ 14284 h 712612"/>
                <a:gd name="connsiteX79" fmla="*/ 101119 w 970147"/>
                <a:gd name="connsiteY79" fmla="*/ 3287 h 712612"/>
                <a:gd name="connsiteX80" fmla="*/ 80297 w 970147"/>
                <a:gd name="connsiteY80" fmla="*/ 23341 h 712612"/>
                <a:gd name="connsiteX81" fmla="*/ 54766 w 970147"/>
                <a:gd name="connsiteY81" fmla="*/ 46404 h 712612"/>
                <a:gd name="connsiteX82" fmla="*/ 58256 w 970147"/>
                <a:gd name="connsiteY82" fmla="*/ 77621 h 712612"/>
                <a:gd name="connsiteX83" fmla="*/ 48474 w 970147"/>
                <a:gd name="connsiteY83" fmla="*/ 64252 h 712612"/>
                <a:gd name="connsiteX84" fmla="*/ 49164 w 970147"/>
                <a:gd name="connsiteY84" fmla="*/ 77856 h 712612"/>
                <a:gd name="connsiteX85" fmla="*/ 41046 w 970147"/>
                <a:gd name="connsiteY85" fmla="*/ 66291 h 712612"/>
                <a:gd name="connsiteX86" fmla="*/ 36419 w 970147"/>
                <a:gd name="connsiteY86" fmla="*/ 67394 h 712612"/>
                <a:gd name="connsiteX87" fmla="*/ 41006 w 970147"/>
                <a:gd name="connsiteY87" fmla="*/ 90189 h 712612"/>
                <a:gd name="connsiteX88" fmla="*/ 45836 w 970147"/>
                <a:gd name="connsiteY88" fmla="*/ 128592 h 712612"/>
                <a:gd name="connsiteX89" fmla="*/ 41980 w 970147"/>
                <a:gd name="connsiteY89" fmla="*/ 150618 h 712612"/>
                <a:gd name="connsiteX90" fmla="*/ 42873 w 970147"/>
                <a:gd name="connsiteY90" fmla="*/ 178093 h 712612"/>
                <a:gd name="connsiteX91" fmla="*/ 42873 w 970147"/>
                <a:gd name="connsiteY91" fmla="*/ 191195 h 712612"/>
                <a:gd name="connsiteX92" fmla="*/ 26069 w 970147"/>
                <a:gd name="connsiteY92" fmla="*/ 210179 h 712612"/>
                <a:gd name="connsiteX93" fmla="*/ 4434 w 970147"/>
                <a:gd name="connsiteY93" fmla="*/ 212820 h 712612"/>
                <a:gd name="connsiteX94" fmla="*/ 11781 w 970147"/>
                <a:gd name="connsiteY94" fmla="*/ 228596 h 712612"/>
                <a:gd name="connsiteX95" fmla="*/ 25501 w 970147"/>
                <a:gd name="connsiteY95" fmla="*/ 247748 h 712612"/>
                <a:gd name="connsiteX96" fmla="*/ 54604 w 970147"/>
                <a:gd name="connsiteY96" fmla="*/ 260582 h 712612"/>
                <a:gd name="connsiteX97" fmla="*/ 76400 w 970147"/>
                <a:gd name="connsiteY97" fmla="*/ 262454 h 712612"/>
                <a:gd name="connsiteX98" fmla="*/ 106152 w 970147"/>
                <a:gd name="connsiteY98" fmla="*/ 263791 h 712612"/>
                <a:gd name="connsiteX99" fmla="*/ 170325 w 970147"/>
                <a:gd name="connsiteY99" fmla="*/ 284213 h 712612"/>
                <a:gd name="connsiteX100" fmla="*/ 203771 w 970147"/>
                <a:gd name="connsiteY100" fmla="*/ 294240 h 712612"/>
                <a:gd name="connsiteX101" fmla="*/ 227435 w 970147"/>
                <a:gd name="connsiteY101" fmla="*/ 288892 h 712612"/>
                <a:gd name="connsiteX102" fmla="*/ 257390 w 970147"/>
                <a:gd name="connsiteY102" fmla="*/ 292234 h 712612"/>
                <a:gd name="connsiteX103" fmla="*/ 281744 w 970147"/>
                <a:gd name="connsiteY103" fmla="*/ 296913 h 712612"/>
                <a:gd name="connsiteX104" fmla="*/ 320629 w 970147"/>
                <a:gd name="connsiteY104" fmla="*/ 311052 h 712612"/>
                <a:gd name="connsiteX105" fmla="*/ 361219 w 970147"/>
                <a:gd name="connsiteY105" fmla="*/ 318238 h 712612"/>
                <a:gd name="connsiteX106" fmla="*/ 411712 w 970147"/>
                <a:gd name="connsiteY106" fmla="*/ 344977 h 712612"/>
                <a:gd name="connsiteX107" fmla="*/ 453479 w 970147"/>
                <a:gd name="connsiteY107" fmla="*/ 377063 h 712612"/>
                <a:gd name="connsiteX108" fmla="*/ 449907 w 970147"/>
                <a:gd name="connsiteY108" fmla="*/ 390967 h 712612"/>
                <a:gd name="connsiteX109" fmla="*/ 460906 w 970147"/>
                <a:gd name="connsiteY109" fmla="*/ 407245 h 712612"/>
                <a:gd name="connsiteX110" fmla="*/ 471257 w 970147"/>
                <a:gd name="connsiteY110" fmla="*/ 436891 h 712612"/>
                <a:gd name="connsiteX111" fmla="*/ 493988 w 970147"/>
                <a:gd name="connsiteY111" fmla="*/ 435554 h 712612"/>
                <a:gd name="connsiteX112" fmla="*/ 507545 w 970147"/>
                <a:gd name="connsiteY112" fmla="*/ 434987 h 712612"/>
                <a:gd name="connsiteX113" fmla="*/ 536282 w 970147"/>
                <a:gd name="connsiteY113" fmla="*/ 433081 h 712612"/>
                <a:gd name="connsiteX114" fmla="*/ 515663 w 970147"/>
                <a:gd name="connsiteY114" fmla="*/ 444011 h 712612"/>
                <a:gd name="connsiteX115" fmla="*/ 492121 w 970147"/>
                <a:gd name="connsiteY115" fmla="*/ 451464 h 712612"/>
                <a:gd name="connsiteX116" fmla="*/ 499386 w 970147"/>
                <a:gd name="connsiteY116" fmla="*/ 462060 h 712612"/>
                <a:gd name="connsiteX117" fmla="*/ 521872 w 970147"/>
                <a:gd name="connsiteY117" fmla="*/ 455375 h 712612"/>
                <a:gd name="connsiteX118" fmla="*/ 512253 w 970147"/>
                <a:gd name="connsiteY118" fmla="*/ 475763 h 712612"/>
                <a:gd name="connsiteX119" fmla="*/ 532142 w 970147"/>
                <a:gd name="connsiteY119" fmla="*/ 489667 h 712612"/>
                <a:gd name="connsiteX120" fmla="*/ 528489 w 970147"/>
                <a:gd name="connsiteY120" fmla="*/ 516039 h 712612"/>
                <a:gd name="connsiteX121" fmla="*/ 532792 w 970147"/>
                <a:gd name="connsiteY121" fmla="*/ 543412 h 712612"/>
                <a:gd name="connsiteX122" fmla="*/ 579753 w 970147"/>
                <a:gd name="connsiteY122" fmla="*/ 586429 h 712612"/>
                <a:gd name="connsiteX123" fmla="*/ 612225 w 970147"/>
                <a:gd name="connsiteY123" fmla="*/ 594183 h 712612"/>
                <a:gd name="connsiteX124" fmla="*/ 625701 w 970147"/>
                <a:gd name="connsiteY124" fmla="*/ 592946 h 712612"/>
                <a:gd name="connsiteX125" fmla="*/ 623469 w 970147"/>
                <a:gd name="connsiteY125" fmla="*/ 599330 h 712612"/>
                <a:gd name="connsiteX126" fmla="*/ 620141 w 970147"/>
                <a:gd name="connsiteY126" fmla="*/ 605647 h 712612"/>
                <a:gd name="connsiteX127" fmla="*/ 629638 w 970147"/>
                <a:gd name="connsiteY127" fmla="*/ 602305 h 712612"/>
                <a:gd name="connsiteX128" fmla="*/ 641126 w 970147"/>
                <a:gd name="connsiteY128" fmla="*/ 630280 h 712612"/>
                <a:gd name="connsiteX129" fmla="*/ 658985 w 970147"/>
                <a:gd name="connsiteY129" fmla="*/ 626671 h 712612"/>
                <a:gd name="connsiteX130" fmla="*/ 686992 w 970147"/>
                <a:gd name="connsiteY130" fmla="*/ 627874 h 712612"/>
                <a:gd name="connsiteX131" fmla="*/ 729652 w 970147"/>
                <a:gd name="connsiteY131" fmla="*/ 643884 h 712612"/>
                <a:gd name="connsiteX132" fmla="*/ 751204 w 970147"/>
                <a:gd name="connsiteY132" fmla="*/ 635762 h 712612"/>
                <a:gd name="connsiteX133" fmla="*/ 765898 w 970147"/>
                <a:gd name="connsiteY133" fmla="*/ 622392 h 712612"/>
                <a:gd name="connsiteX134" fmla="*/ 791470 w 970147"/>
                <a:gd name="connsiteY134" fmla="*/ 614471 h 712612"/>
                <a:gd name="connsiteX135" fmla="*/ 832506 w 970147"/>
                <a:gd name="connsiteY135" fmla="*/ 594985 h 712612"/>
                <a:gd name="connsiteX136" fmla="*/ 847727 w 970147"/>
                <a:gd name="connsiteY136" fmla="*/ 592478 h 712612"/>
                <a:gd name="connsiteX137" fmla="*/ 872081 w 970147"/>
                <a:gd name="connsiteY137" fmla="*/ 587732 h 712612"/>
                <a:gd name="connsiteX138" fmla="*/ 896435 w 970147"/>
                <a:gd name="connsiteY138" fmla="*/ 577170 h 712612"/>
                <a:gd name="connsiteX139" fmla="*/ 916730 w 970147"/>
                <a:gd name="connsiteY139" fmla="*/ 562531 h 712612"/>
                <a:gd name="connsiteX140" fmla="*/ 931017 w 970147"/>
                <a:gd name="connsiteY140" fmla="*/ 549930 h 712612"/>
                <a:gd name="connsiteX141" fmla="*/ 942748 w 970147"/>
                <a:gd name="connsiteY141" fmla="*/ 537798 h 712612"/>
                <a:gd name="connsiteX142" fmla="*/ 623387 w 970147"/>
                <a:gd name="connsiteY142" fmla="*/ 21904 h 712612"/>
                <a:gd name="connsiteX143" fmla="*/ 589130 w 970147"/>
                <a:gd name="connsiteY143" fmla="*/ 12145 h 712612"/>
                <a:gd name="connsiteX144" fmla="*/ 623265 w 970147"/>
                <a:gd name="connsiteY144" fmla="*/ 21904 h 712612"/>
                <a:gd name="connsiteX145" fmla="*/ 466427 w 970147"/>
                <a:gd name="connsiteY145" fmla="*/ 464499 h 712612"/>
                <a:gd name="connsiteX146" fmla="*/ 494272 w 970147"/>
                <a:gd name="connsiteY146" fmla="*/ 475061 h 712612"/>
                <a:gd name="connsiteX147" fmla="*/ 466305 w 970147"/>
                <a:gd name="connsiteY147" fmla="*/ 464499 h 712612"/>
                <a:gd name="connsiteX148" fmla="*/ 613727 w 970147"/>
                <a:gd name="connsiteY148" fmla="*/ 664005 h 712612"/>
                <a:gd name="connsiteX149" fmla="*/ 582352 w 970147"/>
                <a:gd name="connsiteY149" fmla="*/ 637934 h 712612"/>
                <a:gd name="connsiteX150" fmla="*/ 577359 w 970147"/>
                <a:gd name="connsiteY150" fmla="*/ 662467 h 712612"/>
                <a:gd name="connsiteX151" fmla="*/ 566887 w 970147"/>
                <a:gd name="connsiteY151" fmla="*/ 682087 h 712612"/>
                <a:gd name="connsiteX152" fmla="*/ 587182 w 970147"/>
                <a:gd name="connsiteY152" fmla="*/ 710564 h 712612"/>
                <a:gd name="connsiteX153" fmla="*/ 591849 w 970147"/>
                <a:gd name="connsiteY153" fmla="*/ 708792 h 712612"/>
                <a:gd name="connsiteX154" fmla="*/ 600333 w 970147"/>
                <a:gd name="connsiteY154" fmla="*/ 710363 h 712612"/>
                <a:gd name="connsiteX155" fmla="*/ 610561 w 970147"/>
                <a:gd name="connsiteY155" fmla="*/ 705918 h 712612"/>
                <a:gd name="connsiteX156" fmla="*/ 633982 w 970147"/>
                <a:gd name="connsiteY156" fmla="*/ 699768 h 712612"/>
                <a:gd name="connsiteX157" fmla="*/ 652166 w 970147"/>
                <a:gd name="connsiteY157" fmla="*/ 680516 h 712612"/>
                <a:gd name="connsiteX158" fmla="*/ 613606 w 970147"/>
                <a:gd name="connsiteY158" fmla="*/ 664005 h 712612"/>
                <a:gd name="connsiteX159" fmla="*/ 613606 w 970147"/>
                <a:gd name="connsiteY159" fmla="*/ 664005 h 71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970147" h="712612">
                  <a:moveTo>
                    <a:pt x="942383" y="537263"/>
                  </a:moveTo>
                  <a:cubicBezTo>
                    <a:pt x="953789" y="538065"/>
                    <a:pt x="944209" y="523325"/>
                    <a:pt x="945711" y="520551"/>
                  </a:cubicBezTo>
                  <a:cubicBezTo>
                    <a:pt x="947213" y="517777"/>
                    <a:pt x="970917" y="495683"/>
                    <a:pt x="970065" y="494748"/>
                  </a:cubicBezTo>
                  <a:cubicBezTo>
                    <a:pt x="966493" y="490837"/>
                    <a:pt x="957604" y="498090"/>
                    <a:pt x="955209" y="489467"/>
                  </a:cubicBezTo>
                  <a:cubicBezTo>
                    <a:pt x="953504" y="483317"/>
                    <a:pt x="956021" y="478136"/>
                    <a:pt x="956508" y="472421"/>
                  </a:cubicBezTo>
                  <a:cubicBezTo>
                    <a:pt x="956914" y="468410"/>
                    <a:pt x="956183" y="464399"/>
                    <a:pt x="954356" y="460656"/>
                  </a:cubicBezTo>
                  <a:cubicBezTo>
                    <a:pt x="952083" y="456344"/>
                    <a:pt x="947375" y="456177"/>
                    <a:pt x="944697" y="452801"/>
                  </a:cubicBezTo>
                  <a:cubicBezTo>
                    <a:pt x="942910" y="450529"/>
                    <a:pt x="945224" y="448055"/>
                    <a:pt x="945549" y="446116"/>
                  </a:cubicBezTo>
                  <a:cubicBezTo>
                    <a:pt x="946198" y="442173"/>
                    <a:pt x="938405" y="441337"/>
                    <a:pt x="937958" y="436992"/>
                  </a:cubicBezTo>
                  <a:cubicBezTo>
                    <a:pt x="937390" y="431644"/>
                    <a:pt x="951678" y="422185"/>
                    <a:pt x="948959" y="418542"/>
                  </a:cubicBezTo>
                  <a:cubicBezTo>
                    <a:pt x="944778" y="414464"/>
                    <a:pt x="939866" y="410921"/>
                    <a:pt x="934387" y="408013"/>
                  </a:cubicBezTo>
                  <a:cubicBezTo>
                    <a:pt x="922210" y="405373"/>
                    <a:pt x="923062" y="398187"/>
                    <a:pt x="930693" y="393842"/>
                  </a:cubicBezTo>
                  <a:cubicBezTo>
                    <a:pt x="941205" y="387892"/>
                    <a:pt x="923955" y="374891"/>
                    <a:pt x="929191" y="367103"/>
                  </a:cubicBezTo>
                  <a:cubicBezTo>
                    <a:pt x="935279" y="358012"/>
                    <a:pt x="920302" y="343907"/>
                    <a:pt x="911981" y="334281"/>
                  </a:cubicBezTo>
                  <a:cubicBezTo>
                    <a:pt x="907232" y="328499"/>
                    <a:pt x="901996" y="322984"/>
                    <a:pt x="896313" y="317803"/>
                  </a:cubicBezTo>
                  <a:cubicBezTo>
                    <a:pt x="886369" y="309113"/>
                    <a:pt x="900372" y="310450"/>
                    <a:pt x="896882" y="303632"/>
                  </a:cubicBezTo>
                  <a:cubicBezTo>
                    <a:pt x="892052" y="294373"/>
                    <a:pt x="905364" y="287689"/>
                    <a:pt x="906460" y="280035"/>
                  </a:cubicBezTo>
                  <a:cubicBezTo>
                    <a:pt x="907314" y="274152"/>
                    <a:pt x="898545" y="265796"/>
                    <a:pt x="903051" y="260883"/>
                  </a:cubicBezTo>
                  <a:cubicBezTo>
                    <a:pt x="907556" y="255970"/>
                    <a:pt x="914376" y="245140"/>
                    <a:pt x="915228" y="239057"/>
                  </a:cubicBezTo>
                  <a:cubicBezTo>
                    <a:pt x="913523" y="232272"/>
                    <a:pt x="910641" y="225721"/>
                    <a:pt x="906704" y="219605"/>
                  </a:cubicBezTo>
                  <a:cubicBezTo>
                    <a:pt x="899804" y="213956"/>
                    <a:pt x="880930" y="214591"/>
                    <a:pt x="884908" y="204832"/>
                  </a:cubicBezTo>
                  <a:cubicBezTo>
                    <a:pt x="887911" y="197245"/>
                    <a:pt x="896070" y="192231"/>
                    <a:pt x="899114" y="184543"/>
                  </a:cubicBezTo>
                  <a:cubicBezTo>
                    <a:pt x="902159" y="176856"/>
                    <a:pt x="900007" y="171174"/>
                    <a:pt x="898424" y="162985"/>
                  </a:cubicBezTo>
                  <a:cubicBezTo>
                    <a:pt x="897125" y="156301"/>
                    <a:pt x="905162" y="148680"/>
                    <a:pt x="901549" y="142329"/>
                  </a:cubicBezTo>
                  <a:cubicBezTo>
                    <a:pt x="898586" y="137282"/>
                    <a:pt x="882594" y="141928"/>
                    <a:pt x="880239" y="143265"/>
                  </a:cubicBezTo>
                  <a:cubicBezTo>
                    <a:pt x="876790" y="145237"/>
                    <a:pt x="875816" y="148780"/>
                    <a:pt x="872487" y="150919"/>
                  </a:cubicBezTo>
                  <a:cubicBezTo>
                    <a:pt x="869159" y="153059"/>
                    <a:pt x="864044" y="152423"/>
                    <a:pt x="861203" y="154262"/>
                  </a:cubicBezTo>
                  <a:cubicBezTo>
                    <a:pt x="856333" y="157604"/>
                    <a:pt x="857144" y="167631"/>
                    <a:pt x="848377" y="167865"/>
                  </a:cubicBezTo>
                  <a:cubicBezTo>
                    <a:pt x="838676" y="168199"/>
                    <a:pt x="834942" y="181469"/>
                    <a:pt x="831654" y="186482"/>
                  </a:cubicBezTo>
                  <a:cubicBezTo>
                    <a:pt x="821912" y="201289"/>
                    <a:pt x="806529" y="210814"/>
                    <a:pt x="786071" y="217299"/>
                  </a:cubicBezTo>
                  <a:cubicBezTo>
                    <a:pt x="775518" y="220641"/>
                    <a:pt x="763139" y="217299"/>
                    <a:pt x="754167" y="209177"/>
                  </a:cubicBezTo>
                  <a:cubicBezTo>
                    <a:pt x="745197" y="201055"/>
                    <a:pt x="751651" y="194871"/>
                    <a:pt x="743655" y="187518"/>
                  </a:cubicBezTo>
                  <a:cubicBezTo>
                    <a:pt x="736552" y="180833"/>
                    <a:pt x="727419" y="179396"/>
                    <a:pt x="723847" y="171341"/>
                  </a:cubicBezTo>
                  <a:cubicBezTo>
                    <a:pt x="719788" y="161949"/>
                    <a:pt x="716744" y="153059"/>
                    <a:pt x="703269" y="147343"/>
                  </a:cubicBezTo>
                  <a:cubicBezTo>
                    <a:pt x="692268" y="142664"/>
                    <a:pt x="698357" y="135645"/>
                    <a:pt x="694055" y="128693"/>
                  </a:cubicBezTo>
                  <a:cubicBezTo>
                    <a:pt x="691011" y="124916"/>
                    <a:pt x="688209" y="121005"/>
                    <a:pt x="685693" y="116961"/>
                  </a:cubicBezTo>
                  <a:cubicBezTo>
                    <a:pt x="683989" y="113084"/>
                    <a:pt x="699210" y="115223"/>
                    <a:pt x="701929" y="114253"/>
                  </a:cubicBezTo>
                  <a:cubicBezTo>
                    <a:pt x="710655" y="111212"/>
                    <a:pt x="700752" y="98344"/>
                    <a:pt x="713700" y="101553"/>
                  </a:cubicBezTo>
                  <a:cubicBezTo>
                    <a:pt x="719301" y="102956"/>
                    <a:pt x="727460" y="105597"/>
                    <a:pt x="732534" y="104093"/>
                  </a:cubicBezTo>
                  <a:cubicBezTo>
                    <a:pt x="736105" y="103023"/>
                    <a:pt x="734928" y="99681"/>
                    <a:pt x="737892" y="98411"/>
                  </a:cubicBezTo>
                  <a:cubicBezTo>
                    <a:pt x="740855" y="97141"/>
                    <a:pt x="748648" y="100851"/>
                    <a:pt x="748160" y="96172"/>
                  </a:cubicBezTo>
                  <a:cubicBezTo>
                    <a:pt x="746781" y="91826"/>
                    <a:pt x="742803" y="88350"/>
                    <a:pt x="737648" y="86913"/>
                  </a:cubicBezTo>
                  <a:cubicBezTo>
                    <a:pt x="730910" y="85843"/>
                    <a:pt x="726567" y="94968"/>
                    <a:pt x="726445" y="84039"/>
                  </a:cubicBezTo>
                  <a:cubicBezTo>
                    <a:pt x="726445" y="76217"/>
                    <a:pt x="723239" y="78156"/>
                    <a:pt x="714268" y="78022"/>
                  </a:cubicBezTo>
                  <a:cubicBezTo>
                    <a:pt x="703999" y="77856"/>
                    <a:pt x="703228" y="71338"/>
                    <a:pt x="697221" y="66157"/>
                  </a:cubicBezTo>
                  <a:cubicBezTo>
                    <a:pt x="688940" y="59238"/>
                    <a:pt x="680011" y="52854"/>
                    <a:pt x="670553" y="47072"/>
                  </a:cubicBezTo>
                  <a:cubicBezTo>
                    <a:pt x="659350" y="39986"/>
                    <a:pt x="657524" y="35675"/>
                    <a:pt x="651436" y="26784"/>
                  </a:cubicBezTo>
                  <a:cubicBezTo>
                    <a:pt x="645347" y="17893"/>
                    <a:pt x="643318" y="27352"/>
                    <a:pt x="646159" y="32466"/>
                  </a:cubicBezTo>
                  <a:cubicBezTo>
                    <a:pt x="649893" y="39151"/>
                    <a:pt x="649974" y="42092"/>
                    <a:pt x="639421" y="39886"/>
                  </a:cubicBezTo>
                  <a:cubicBezTo>
                    <a:pt x="630126" y="37847"/>
                    <a:pt x="621236" y="34739"/>
                    <a:pt x="612997" y="30661"/>
                  </a:cubicBezTo>
                  <a:cubicBezTo>
                    <a:pt x="610114" y="28723"/>
                    <a:pt x="607111" y="26951"/>
                    <a:pt x="603946" y="25313"/>
                  </a:cubicBezTo>
                  <a:cubicBezTo>
                    <a:pt x="601104" y="24378"/>
                    <a:pt x="602728" y="29157"/>
                    <a:pt x="600292" y="29291"/>
                  </a:cubicBezTo>
                  <a:cubicBezTo>
                    <a:pt x="596233" y="29291"/>
                    <a:pt x="593798" y="26417"/>
                    <a:pt x="589008" y="27586"/>
                  </a:cubicBezTo>
                  <a:cubicBezTo>
                    <a:pt x="584503" y="29124"/>
                    <a:pt x="580119" y="30862"/>
                    <a:pt x="575857" y="32800"/>
                  </a:cubicBezTo>
                  <a:cubicBezTo>
                    <a:pt x="567334" y="36243"/>
                    <a:pt x="558362" y="38884"/>
                    <a:pt x="549150" y="40722"/>
                  </a:cubicBezTo>
                  <a:cubicBezTo>
                    <a:pt x="536973" y="42794"/>
                    <a:pt x="553533" y="57433"/>
                    <a:pt x="546348" y="59138"/>
                  </a:cubicBezTo>
                  <a:cubicBezTo>
                    <a:pt x="537012" y="61545"/>
                    <a:pt x="531655" y="42092"/>
                    <a:pt x="523050" y="40588"/>
                  </a:cubicBezTo>
                  <a:cubicBezTo>
                    <a:pt x="520412" y="40154"/>
                    <a:pt x="507950" y="50983"/>
                    <a:pt x="509695" y="39919"/>
                  </a:cubicBezTo>
                  <a:cubicBezTo>
                    <a:pt x="511157" y="30461"/>
                    <a:pt x="511765" y="34405"/>
                    <a:pt x="503810" y="25681"/>
                  </a:cubicBezTo>
                  <a:cubicBezTo>
                    <a:pt x="498412" y="19798"/>
                    <a:pt x="500603" y="13281"/>
                    <a:pt x="492121" y="7131"/>
                  </a:cubicBezTo>
                  <a:cubicBezTo>
                    <a:pt x="488995" y="4825"/>
                    <a:pt x="466508" y="1683"/>
                    <a:pt x="463423" y="2752"/>
                  </a:cubicBezTo>
                  <a:cubicBezTo>
                    <a:pt x="452343" y="6663"/>
                    <a:pt x="461150" y="11543"/>
                    <a:pt x="445321" y="2251"/>
                  </a:cubicBezTo>
                  <a:cubicBezTo>
                    <a:pt x="432413" y="-5369"/>
                    <a:pt x="436959" y="6429"/>
                    <a:pt x="431723" y="4658"/>
                  </a:cubicBezTo>
                  <a:cubicBezTo>
                    <a:pt x="424782" y="3989"/>
                    <a:pt x="417719" y="4290"/>
                    <a:pt x="410901" y="5527"/>
                  </a:cubicBezTo>
                  <a:cubicBezTo>
                    <a:pt x="406313" y="8668"/>
                    <a:pt x="405136" y="23241"/>
                    <a:pt x="396653" y="15855"/>
                  </a:cubicBezTo>
                  <a:cubicBezTo>
                    <a:pt x="391214" y="11108"/>
                    <a:pt x="380418" y="4357"/>
                    <a:pt x="382163" y="14016"/>
                  </a:cubicBezTo>
                  <a:cubicBezTo>
                    <a:pt x="383908" y="23676"/>
                    <a:pt x="381473" y="24812"/>
                    <a:pt x="370230" y="26450"/>
                  </a:cubicBezTo>
                  <a:cubicBezTo>
                    <a:pt x="363329" y="27453"/>
                    <a:pt x="366860" y="12345"/>
                    <a:pt x="367753" y="10908"/>
                  </a:cubicBezTo>
                  <a:cubicBezTo>
                    <a:pt x="371082" y="5560"/>
                    <a:pt x="341167" y="8134"/>
                    <a:pt x="337839" y="13548"/>
                  </a:cubicBezTo>
                  <a:cubicBezTo>
                    <a:pt x="335363" y="17526"/>
                    <a:pt x="338447" y="26082"/>
                    <a:pt x="330898" y="26517"/>
                  </a:cubicBezTo>
                  <a:cubicBezTo>
                    <a:pt x="321075" y="27252"/>
                    <a:pt x="311334" y="28522"/>
                    <a:pt x="301713" y="30327"/>
                  </a:cubicBezTo>
                  <a:cubicBezTo>
                    <a:pt x="291283" y="32098"/>
                    <a:pt x="281419" y="35808"/>
                    <a:pt x="269648" y="32901"/>
                  </a:cubicBezTo>
                  <a:cubicBezTo>
                    <a:pt x="260475" y="30661"/>
                    <a:pt x="247283" y="22573"/>
                    <a:pt x="238028" y="23575"/>
                  </a:cubicBezTo>
                  <a:cubicBezTo>
                    <a:pt x="228774" y="24578"/>
                    <a:pt x="221225" y="18361"/>
                    <a:pt x="212254" y="19030"/>
                  </a:cubicBezTo>
                  <a:cubicBezTo>
                    <a:pt x="205719" y="19765"/>
                    <a:pt x="199143" y="19999"/>
                    <a:pt x="192568" y="19765"/>
                  </a:cubicBezTo>
                  <a:cubicBezTo>
                    <a:pt x="184044" y="19164"/>
                    <a:pt x="181690" y="10774"/>
                    <a:pt x="169229" y="9237"/>
                  </a:cubicBezTo>
                  <a:cubicBezTo>
                    <a:pt x="152993" y="7231"/>
                    <a:pt x="139964" y="12980"/>
                    <a:pt x="123240" y="9671"/>
                  </a:cubicBezTo>
                  <a:cubicBezTo>
                    <a:pt x="116015" y="8267"/>
                    <a:pt x="112322" y="6697"/>
                    <a:pt x="107005" y="10106"/>
                  </a:cubicBezTo>
                  <a:cubicBezTo>
                    <a:pt x="106437" y="10440"/>
                    <a:pt x="98887" y="16456"/>
                    <a:pt x="97426" y="14284"/>
                  </a:cubicBezTo>
                  <a:cubicBezTo>
                    <a:pt x="96249" y="12746"/>
                    <a:pt x="101850" y="3354"/>
                    <a:pt x="101119" y="3287"/>
                  </a:cubicBezTo>
                  <a:cubicBezTo>
                    <a:pt x="83544" y="1883"/>
                    <a:pt x="82083" y="15219"/>
                    <a:pt x="80297" y="23341"/>
                  </a:cubicBezTo>
                  <a:cubicBezTo>
                    <a:pt x="77902" y="34204"/>
                    <a:pt x="53345" y="31965"/>
                    <a:pt x="54766" y="46404"/>
                  </a:cubicBezTo>
                  <a:cubicBezTo>
                    <a:pt x="55578" y="54592"/>
                    <a:pt x="69215" y="71806"/>
                    <a:pt x="58256" y="77621"/>
                  </a:cubicBezTo>
                  <a:cubicBezTo>
                    <a:pt x="52086" y="80964"/>
                    <a:pt x="51681" y="63684"/>
                    <a:pt x="48474" y="64252"/>
                  </a:cubicBezTo>
                  <a:cubicBezTo>
                    <a:pt x="43928" y="65188"/>
                    <a:pt x="54522" y="75816"/>
                    <a:pt x="49164" y="77856"/>
                  </a:cubicBezTo>
                  <a:cubicBezTo>
                    <a:pt x="45674" y="79192"/>
                    <a:pt x="41656" y="67628"/>
                    <a:pt x="41046" y="66291"/>
                  </a:cubicBezTo>
                  <a:cubicBezTo>
                    <a:pt x="38246" y="61010"/>
                    <a:pt x="36054" y="63750"/>
                    <a:pt x="36419" y="67394"/>
                  </a:cubicBezTo>
                  <a:cubicBezTo>
                    <a:pt x="37190" y="74947"/>
                    <a:pt x="39585" y="82601"/>
                    <a:pt x="41006" y="90189"/>
                  </a:cubicBezTo>
                  <a:cubicBezTo>
                    <a:pt x="43563" y="103558"/>
                    <a:pt x="41858" y="114922"/>
                    <a:pt x="45836" y="128592"/>
                  </a:cubicBezTo>
                  <a:cubicBezTo>
                    <a:pt x="48393" y="137483"/>
                    <a:pt x="43928" y="142697"/>
                    <a:pt x="41980" y="150618"/>
                  </a:cubicBezTo>
                  <a:cubicBezTo>
                    <a:pt x="40275" y="159743"/>
                    <a:pt x="40600" y="169035"/>
                    <a:pt x="42873" y="178093"/>
                  </a:cubicBezTo>
                  <a:cubicBezTo>
                    <a:pt x="43726" y="182505"/>
                    <a:pt x="46931" y="187886"/>
                    <a:pt x="42873" y="191195"/>
                  </a:cubicBezTo>
                  <a:cubicBezTo>
                    <a:pt x="36135" y="196777"/>
                    <a:pt x="30453" y="203194"/>
                    <a:pt x="26069" y="210179"/>
                  </a:cubicBezTo>
                  <a:cubicBezTo>
                    <a:pt x="20265" y="218602"/>
                    <a:pt x="13648" y="212151"/>
                    <a:pt x="4434" y="212820"/>
                  </a:cubicBezTo>
                  <a:cubicBezTo>
                    <a:pt x="-8270" y="213756"/>
                    <a:pt x="9792" y="226657"/>
                    <a:pt x="11781" y="228596"/>
                  </a:cubicBezTo>
                  <a:cubicBezTo>
                    <a:pt x="18154" y="234813"/>
                    <a:pt x="15840" y="241798"/>
                    <a:pt x="25501" y="247748"/>
                  </a:cubicBezTo>
                  <a:cubicBezTo>
                    <a:pt x="34593" y="252895"/>
                    <a:pt x="44375" y="257173"/>
                    <a:pt x="54604" y="260582"/>
                  </a:cubicBezTo>
                  <a:cubicBezTo>
                    <a:pt x="61219" y="263691"/>
                    <a:pt x="69135" y="264359"/>
                    <a:pt x="76400" y="262454"/>
                  </a:cubicBezTo>
                  <a:cubicBezTo>
                    <a:pt x="87075" y="260415"/>
                    <a:pt x="96249" y="267601"/>
                    <a:pt x="106152" y="263791"/>
                  </a:cubicBezTo>
                  <a:cubicBezTo>
                    <a:pt x="123362" y="257106"/>
                    <a:pt x="154860" y="276859"/>
                    <a:pt x="170325" y="284213"/>
                  </a:cubicBezTo>
                  <a:cubicBezTo>
                    <a:pt x="180513" y="288959"/>
                    <a:pt x="192243" y="293671"/>
                    <a:pt x="203771" y="294240"/>
                  </a:cubicBezTo>
                  <a:cubicBezTo>
                    <a:pt x="213634" y="294641"/>
                    <a:pt x="218383" y="288792"/>
                    <a:pt x="227435" y="288892"/>
                  </a:cubicBezTo>
                  <a:cubicBezTo>
                    <a:pt x="237217" y="288892"/>
                    <a:pt x="247730" y="293371"/>
                    <a:pt x="257390" y="292234"/>
                  </a:cubicBezTo>
                  <a:cubicBezTo>
                    <a:pt x="265914" y="291499"/>
                    <a:pt x="274478" y="293137"/>
                    <a:pt x="281744" y="296913"/>
                  </a:cubicBezTo>
                  <a:cubicBezTo>
                    <a:pt x="294854" y="302629"/>
                    <a:pt x="306098" y="308244"/>
                    <a:pt x="320629" y="311052"/>
                  </a:cubicBezTo>
                  <a:cubicBezTo>
                    <a:pt x="334104" y="313692"/>
                    <a:pt x="348108" y="313893"/>
                    <a:pt x="361219" y="318238"/>
                  </a:cubicBezTo>
                  <a:cubicBezTo>
                    <a:pt x="378632" y="323953"/>
                    <a:pt x="405339" y="330905"/>
                    <a:pt x="411712" y="344977"/>
                  </a:cubicBezTo>
                  <a:cubicBezTo>
                    <a:pt x="417882" y="358346"/>
                    <a:pt x="444184" y="363894"/>
                    <a:pt x="453479" y="377063"/>
                  </a:cubicBezTo>
                  <a:cubicBezTo>
                    <a:pt x="461597" y="388929"/>
                    <a:pt x="456076" y="382311"/>
                    <a:pt x="449907" y="390967"/>
                  </a:cubicBezTo>
                  <a:cubicBezTo>
                    <a:pt x="447918" y="393775"/>
                    <a:pt x="459364" y="404137"/>
                    <a:pt x="460906" y="407245"/>
                  </a:cubicBezTo>
                  <a:cubicBezTo>
                    <a:pt x="465575" y="416537"/>
                    <a:pt x="445239" y="442941"/>
                    <a:pt x="471257" y="436891"/>
                  </a:cubicBezTo>
                  <a:cubicBezTo>
                    <a:pt x="478848" y="435120"/>
                    <a:pt x="485221" y="433148"/>
                    <a:pt x="493988" y="435554"/>
                  </a:cubicBezTo>
                  <a:cubicBezTo>
                    <a:pt x="499589" y="437126"/>
                    <a:pt x="503932" y="438596"/>
                    <a:pt x="507545" y="434987"/>
                  </a:cubicBezTo>
                  <a:cubicBezTo>
                    <a:pt x="511157" y="431376"/>
                    <a:pt x="534577" y="420715"/>
                    <a:pt x="536282" y="433081"/>
                  </a:cubicBezTo>
                  <a:cubicBezTo>
                    <a:pt x="536891" y="437527"/>
                    <a:pt x="519234" y="441638"/>
                    <a:pt x="515663" y="444011"/>
                  </a:cubicBezTo>
                  <a:cubicBezTo>
                    <a:pt x="507545" y="449392"/>
                    <a:pt x="504379" y="455174"/>
                    <a:pt x="492121" y="451464"/>
                  </a:cubicBezTo>
                  <a:cubicBezTo>
                    <a:pt x="484003" y="448991"/>
                    <a:pt x="495327" y="460556"/>
                    <a:pt x="499386" y="462060"/>
                  </a:cubicBezTo>
                  <a:cubicBezTo>
                    <a:pt x="510183" y="466003"/>
                    <a:pt x="515622" y="451063"/>
                    <a:pt x="521872" y="455375"/>
                  </a:cubicBezTo>
                  <a:cubicBezTo>
                    <a:pt x="536526" y="465602"/>
                    <a:pt x="518342" y="471485"/>
                    <a:pt x="512253" y="475763"/>
                  </a:cubicBezTo>
                  <a:cubicBezTo>
                    <a:pt x="507504" y="479105"/>
                    <a:pt x="529422" y="484788"/>
                    <a:pt x="532142" y="489667"/>
                  </a:cubicBezTo>
                  <a:cubicBezTo>
                    <a:pt x="537500" y="499227"/>
                    <a:pt x="536201" y="509487"/>
                    <a:pt x="528489" y="516039"/>
                  </a:cubicBezTo>
                  <a:cubicBezTo>
                    <a:pt x="517976" y="524963"/>
                    <a:pt x="524430" y="532516"/>
                    <a:pt x="532792" y="543412"/>
                  </a:cubicBezTo>
                  <a:cubicBezTo>
                    <a:pt x="544969" y="559389"/>
                    <a:pt x="567820" y="569115"/>
                    <a:pt x="579753" y="586429"/>
                  </a:cubicBezTo>
                  <a:cubicBezTo>
                    <a:pt x="586370" y="596055"/>
                    <a:pt x="601347" y="597692"/>
                    <a:pt x="612225" y="594183"/>
                  </a:cubicBezTo>
                  <a:cubicBezTo>
                    <a:pt x="615919" y="592980"/>
                    <a:pt x="621074" y="588334"/>
                    <a:pt x="625701" y="592946"/>
                  </a:cubicBezTo>
                  <a:cubicBezTo>
                    <a:pt x="628096" y="595353"/>
                    <a:pt x="628502" y="599898"/>
                    <a:pt x="623469" y="599330"/>
                  </a:cubicBezTo>
                  <a:cubicBezTo>
                    <a:pt x="618436" y="598762"/>
                    <a:pt x="617502" y="602672"/>
                    <a:pt x="620141" y="605647"/>
                  </a:cubicBezTo>
                  <a:cubicBezTo>
                    <a:pt x="622779" y="608622"/>
                    <a:pt x="627000" y="602506"/>
                    <a:pt x="629638" y="602305"/>
                  </a:cubicBezTo>
                  <a:cubicBezTo>
                    <a:pt x="631627" y="602038"/>
                    <a:pt x="638771" y="628442"/>
                    <a:pt x="641126" y="630280"/>
                  </a:cubicBezTo>
                  <a:cubicBezTo>
                    <a:pt x="638447" y="628242"/>
                    <a:pt x="656793" y="626136"/>
                    <a:pt x="658985" y="626671"/>
                  </a:cubicBezTo>
                  <a:cubicBezTo>
                    <a:pt x="668442" y="628943"/>
                    <a:pt x="677819" y="627907"/>
                    <a:pt x="686992" y="627874"/>
                  </a:cubicBezTo>
                  <a:cubicBezTo>
                    <a:pt x="700265" y="627874"/>
                    <a:pt x="718124" y="637901"/>
                    <a:pt x="729652" y="643884"/>
                  </a:cubicBezTo>
                  <a:cubicBezTo>
                    <a:pt x="741179" y="649866"/>
                    <a:pt x="744833" y="641611"/>
                    <a:pt x="751204" y="635762"/>
                  </a:cubicBezTo>
                  <a:cubicBezTo>
                    <a:pt x="756117" y="631283"/>
                    <a:pt x="760865" y="626671"/>
                    <a:pt x="765898" y="622392"/>
                  </a:cubicBezTo>
                  <a:cubicBezTo>
                    <a:pt x="772393" y="616711"/>
                    <a:pt x="782662" y="617312"/>
                    <a:pt x="791470" y="614471"/>
                  </a:cubicBezTo>
                  <a:cubicBezTo>
                    <a:pt x="806285" y="609692"/>
                    <a:pt x="816554" y="599531"/>
                    <a:pt x="832506" y="594985"/>
                  </a:cubicBezTo>
                  <a:cubicBezTo>
                    <a:pt x="835997" y="594016"/>
                    <a:pt x="843222" y="591141"/>
                    <a:pt x="847727" y="592478"/>
                  </a:cubicBezTo>
                  <a:cubicBezTo>
                    <a:pt x="859904" y="596155"/>
                    <a:pt x="863963" y="591743"/>
                    <a:pt x="872081" y="587732"/>
                  </a:cubicBezTo>
                  <a:cubicBezTo>
                    <a:pt x="880199" y="583721"/>
                    <a:pt x="891239" y="583387"/>
                    <a:pt x="896435" y="577170"/>
                  </a:cubicBezTo>
                  <a:cubicBezTo>
                    <a:pt x="900819" y="571990"/>
                    <a:pt x="914741" y="568547"/>
                    <a:pt x="916730" y="562531"/>
                  </a:cubicBezTo>
                  <a:cubicBezTo>
                    <a:pt x="918718" y="556515"/>
                    <a:pt x="921803" y="550599"/>
                    <a:pt x="931017" y="549930"/>
                  </a:cubicBezTo>
                  <a:cubicBezTo>
                    <a:pt x="939135" y="549362"/>
                    <a:pt x="937268" y="537430"/>
                    <a:pt x="942748" y="537798"/>
                  </a:cubicBezTo>
                  <a:close/>
                  <a:moveTo>
                    <a:pt x="623387" y="21904"/>
                  </a:moveTo>
                  <a:cubicBezTo>
                    <a:pt x="625052" y="17392"/>
                    <a:pt x="583690" y="4390"/>
                    <a:pt x="589130" y="12145"/>
                  </a:cubicBezTo>
                  <a:cubicBezTo>
                    <a:pt x="592580" y="17259"/>
                    <a:pt x="621724" y="26350"/>
                    <a:pt x="623265" y="21904"/>
                  </a:cubicBezTo>
                  <a:close/>
                  <a:moveTo>
                    <a:pt x="466427" y="464499"/>
                  </a:moveTo>
                  <a:cubicBezTo>
                    <a:pt x="469431" y="470349"/>
                    <a:pt x="488062" y="478170"/>
                    <a:pt x="494272" y="475061"/>
                  </a:cubicBezTo>
                  <a:cubicBezTo>
                    <a:pt x="500481" y="471953"/>
                    <a:pt x="463423" y="459185"/>
                    <a:pt x="466305" y="464499"/>
                  </a:cubicBezTo>
                  <a:close/>
                  <a:moveTo>
                    <a:pt x="613727" y="664005"/>
                  </a:moveTo>
                  <a:cubicBezTo>
                    <a:pt x="608857" y="661866"/>
                    <a:pt x="583975" y="637266"/>
                    <a:pt x="582352" y="637934"/>
                  </a:cubicBezTo>
                  <a:cubicBezTo>
                    <a:pt x="576466" y="640876"/>
                    <a:pt x="578698" y="657320"/>
                    <a:pt x="577359" y="662467"/>
                  </a:cubicBezTo>
                  <a:cubicBezTo>
                    <a:pt x="575127" y="670957"/>
                    <a:pt x="565182" y="672494"/>
                    <a:pt x="566887" y="682087"/>
                  </a:cubicBezTo>
                  <a:cubicBezTo>
                    <a:pt x="567820" y="687301"/>
                    <a:pt x="575330" y="712770"/>
                    <a:pt x="587182" y="710564"/>
                  </a:cubicBezTo>
                  <a:cubicBezTo>
                    <a:pt x="588805" y="710096"/>
                    <a:pt x="590388" y="709494"/>
                    <a:pt x="591849" y="708792"/>
                  </a:cubicBezTo>
                  <a:cubicBezTo>
                    <a:pt x="595462" y="707456"/>
                    <a:pt x="596842" y="710631"/>
                    <a:pt x="600333" y="710363"/>
                  </a:cubicBezTo>
                  <a:cubicBezTo>
                    <a:pt x="603824" y="710096"/>
                    <a:pt x="607030" y="700604"/>
                    <a:pt x="610561" y="705918"/>
                  </a:cubicBezTo>
                  <a:cubicBezTo>
                    <a:pt x="621967" y="723098"/>
                    <a:pt x="623794" y="700035"/>
                    <a:pt x="633982" y="699768"/>
                  </a:cubicBezTo>
                  <a:cubicBezTo>
                    <a:pt x="646808" y="699467"/>
                    <a:pt x="649000" y="689975"/>
                    <a:pt x="652166" y="680516"/>
                  </a:cubicBezTo>
                  <a:cubicBezTo>
                    <a:pt x="655698" y="669954"/>
                    <a:pt x="622657" y="667949"/>
                    <a:pt x="613606" y="664005"/>
                  </a:cubicBezTo>
                  <a:cubicBezTo>
                    <a:pt x="600292" y="658222"/>
                    <a:pt x="626919" y="669854"/>
                    <a:pt x="613606" y="66400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B64AC466-E4B5-4618-BCCB-073A06F314F0}"/>
                </a:ext>
              </a:extLst>
            </p:cNvPr>
            <p:cNvSpPr/>
            <p:nvPr/>
          </p:nvSpPr>
          <p:spPr>
            <a:xfrm>
              <a:off x="9561963" y="6602797"/>
              <a:ext cx="367600" cy="141023"/>
            </a:xfrm>
            <a:custGeom>
              <a:avLst/>
              <a:gdLst>
                <a:gd name="connsiteX0" fmla="*/ 226265 w 367600"/>
                <a:gd name="connsiteY0" fmla="*/ 106307 h 141023"/>
                <a:gd name="connsiteX1" fmla="*/ 202317 w 367600"/>
                <a:gd name="connsiteY1" fmla="*/ 90364 h 141023"/>
                <a:gd name="connsiteX2" fmla="*/ 183524 w 367600"/>
                <a:gd name="connsiteY2" fmla="*/ 82309 h 141023"/>
                <a:gd name="connsiteX3" fmla="*/ 156451 w 367600"/>
                <a:gd name="connsiteY3" fmla="*/ 86988 h 141023"/>
                <a:gd name="connsiteX4" fmla="*/ 115333 w 367600"/>
                <a:gd name="connsiteY4" fmla="*/ 91066 h 141023"/>
                <a:gd name="connsiteX5" fmla="*/ 76123 w 367600"/>
                <a:gd name="connsiteY5" fmla="*/ 81841 h 141023"/>
                <a:gd name="connsiteX6" fmla="*/ 45640 w 367600"/>
                <a:gd name="connsiteY6" fmla="*/ 79969 h 141023"/>
                <a:gd name="connsiteX7" fmla="*/ 13858 w 367600"/>
                <a:gd name="connsiteY7" fmla="*/ 81908 h 141023"/>
                <a:gd name="connsiteX8" fmla="*/ 11302 w 367600"/>
                <a:gd name="connsiteY8" fmla="*/ 103833 h 141023"/>
                <a:gd name="connsiteX9" fmla="*/ 27538 w 367600"/>
                <a:gd name="connsiteY9" fmla="*/ 126595 h 141023"/>
                <a:gd name="connsiteX10" fmla="*/ 70968 w 367600"/>
                <a:gd name="connsiteY10" fmla="*/ 138761 h 141023"/>
                <a:gd name="connsiteX11" fmla="*/ 128282 w 367600"/>
                <a:gd name="connsiteY11" fmla="*/ 123419 h 141023"/>
                <a:gd name="connsiteX12" fmla="*/ 157425 w 367600"/>
                <a:gd name="connsiteY12" fmla="*/ 135853 h 141023"/>
                <a:gd name="connsiteX13" fmla="*/ 175487 w 367600"/>
                <a:gd name="connsiteY13" fmla="*/ 127664 h 141023"/>
                <a:gd name="connsiteX14" fmla="*/ 188030 w 367600"/>
                <a:gd name="connsiteY14" fmla="*/ 123654 h 141023"/>
                <a:gd name="connsiteX15" fmla="*/ 205889 w 367600"/>
                <a:gd name="connsiteY15" fmla="*/ 122551 h 141023"/>
                <a:gd name="connsiteX16" fmla="*/ 226184 w 367600"/>
                <a:gd name="connsiteY16" fmla="*/ 106307 h 141023"/>
                <a:gd name="connsiteX17" fmla="*/ 1073 w 367600"/>
                <a:gd name="connsiteY17" fmla="*/ 122417 h 141023"/>
                <a:gd name="connsiteX18" fmla="*/ 14102 w 367600"/>
                <a:gd name="connsiteY18" fmla="*/ 121347 h 141023"/>
                <a:gd name="connsiteX19" fmla="*/ 1073 w 367600"/>
                <a:gd name="connsiteY19" fmla="*/ 122417 h 141023"/>
                <a:gd name="connsiteX20" fmla="*/ 345193 w 367600"/>
                <a:gd name="connsiteY20" fmla="*/ 110451 h 141023"/>
                <a:gd name="connsiteX21" fmla="*/ 321570 w 367600"/>
                <a:gd name="connsiteY21" fmla="*/ 82208 h 141023"/>
                <a:gd name="connsiteX22" fmla="*/ 329403 w 367600"/>
                <a:gd name="connsiteY22" fmla="*/ 69474 h 141023"/>
                <a:gd name="connsiteX23" fmla="*/ 320595 w 367600"/>
                <a:gd name="connsiteY23" fmla="*/ 65764 h 141023"/>
                <a:gd name="connsiteX24" fmla="*/ 310123 w 367600"/>
                <a:gd name="connsiteY24" fmla="*/ 54132 h 141023"/>
                <a:gd name="connsiteX25" fmla="*/ 320839 w 367600"/>
                <a:gd name="connsiteY25" fmla="*/ 27394 h 141023"/>
                <a:gd name="connsiteX26" fmla="*/ 301234 w 367600"/>
                <a:gd name="connsiteY26" fmla="*/ 421 h 141023"/>
                <a:gd name="connsiteX27" fmla="*/ 302696 w 367600"/>
                <a:gd name="connsiteY27" fmla="*/ 32407 h 141023"/>
                <a:gd name="connsiteX28" fmla="*/ 300585 w 367600"/>
                <a:gd name="connsiteY28" fmla="*/ 42902 h 141023"/>
                <a:gd name="connsiteX29" fmla="*/ 304278 w 367600"/>
                <a:gd name="connsiteY29" fmla="*/ 58644 h 141023"/>
                <a:gd name="connsiteX30" fmla="*/ 273511 w 367600"/>
                <a:gd name="connsiteY30" fmla="*/ 77462 h 141023"/>
                <a:gd name="connsiteX31" fmla="*/ 249157 w 367600"/>
                <a:gd name="connsiteY31" fmla="*/ 81874 h 141023"/>
                <a:gd name="connsiteX32" fmla="*/ 261903 w 367600"/>
                <a:gd name="connsiteY32" fmla="*/ 113359 h 141023"/>
                <a:gd name="connsiteX33" fmla="*/ 236006 w 367600"/>
                <a:gd name="connsiteY33" fmla="*/ 123954 h 141023"/>
                <a:gd name="connsiteX34" fmla="*/ 262187 w 367600"/>
                <a:gd name="connsiteY34" fmla="*/ 140666 h 141023"/>
                <a:gd name="connsiteX35" fmla="*/ 299408 w 367600"/>
                <a:gd name="connsiteY35" fmla="*/ 134216 h 141023"/>
                <a:gd name="connsiteX36" fmla="*/ 313939 w 367600"/>
                <a:gd name="connsiteY36" fmla="*/ 125692 h 141023"/>
                <a:gd name="connsiteX37" fmla="*/ 334883 w 367600"/>
                <a:gd name="connsiteY37" fmla="*/ 132377 h 141023"/>
                <a:gd name="connsiteX38" fmla="*/ 346289 w 367600"/>
                <a:gd name="connsiteY38" fmla="*/ 130539 h 141023"/>
                <a:gd name="connsiteX39" fmla="*/ 364919 w 367600"/>
                <a:gd name="connsiteY39" fmla="*/ 123854 h 141023"/>
                <a:gd name="connsiteX40" fmla="*/ 345274 w 367600"/>
                <a:gd name="connsiteY40" fmla="*/ 110484 h 14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67600" h="141023">
                  <a:moveTo>
                    <a:pt x="226265" y="106307"/>
                  </a:moveTo>
                  <a:cubicBezTo>
                    <a:pt x="221557" y="95477"/>
                    <a:pt x="204711" y="103833"/>
                    <a:pt x="202317" y="90364"/>
                  </a:cubicBezTo>
                  <a:cubicBezTo>
                    <a:pt x="200815" y="81841"/>
                    <a:pt x="191967" y="76292"/>
                    <a:pt x="183524" y="82309"/>
                  </a:cubicBezTo>
                  <a:cubicBezTo>
                    <a:pt x="177110" y="86854"/>
                    <a:pt x="164650" y="83946"/>
                    <a:pt x="156451" y="86988"/>
                  </a:cubicBezTo>
                  <a:cubicBezTo>
                    <a:pt x="143705" y="92135"/>
                    <a:pt x="129215" y="93572"/>
                    <a:pt x="115333" y="91066"/>
                  </a:cubicBezTo>
                  <a:cubicBezTo>
                    <a:pt x="102141" y="88759"/>
                    <a:pt x="89193" y="84815"/>
                    <a:pt x="76123" y="81841"/>
                  </a:cubicBezTo>
                  <a:cubicBezTo>
                    <a:pt x="65083" y="79300"/>
                    <a:pt x="56437" y="81072"/>
                    <a:pt x="45640" y="79969"/>
                  </a:cubicBezTo>
                  <a:cubicBezTo>
                    <a:pt x="35006" y="78799"/>
                    <a:pt x="24168" y="79468"/>
                    <a:pt x="13858" y="81908"/>
                  </a:cubicBezTo>
                  <a:cubicBezTo>
                    <a:pt x="-5056" y="85250"/>
                    <a:pt x="2128" y="92770"/>
                    <a:pt x="11302" y="103833"/>
                  </a:cubicBezTo>
                  <a:cubicBezTo>
                    <a:pt x="16984" y="110719"/>
                    <a:pt x="20231" y="120545"/>
                    <a:pt x="27538" y="126595"/>
                  </a:cubicBezTo>
                  <a:cubicBezTo>
                    <a:pt x="39389" y="135352"/>
                    <a:pt x="55098" y="139764"/>
                    <a:pt x="70968" y="138761"/>
                  </a:cubicBezTo>
                  <a:cubicBezTo>
                    <a:pt x="91019" y="137524"/>
                    <a:pt x="106769" y="121849"/>
                    <a:pt x="128282" y="123419"/>
                  </a:cubicBezTo>
                  <a:cubicBezTo>
                    <a:pt x="133923" y="123820"/>
                    <a:pt x="156126" y="137591"/>
                    <a:pt x="157425" y="135853"/>
                  </a:cubicBezTo>
                  <a:cubicBezTo>
                    <a:pt x="163269" y="127832"/>
                    <a:pt x="160794" y="126495"/>
                    <a:pt x="175487" y="127664"/>
                  </a:cubicBezTo>
                  <a:cubicBezTo>
                    <a:pt x="181901" y="128166"/>
                    <a:pt x="183199" y="125425"/>
                    <a:pt x="188030" y="123654"/>
                  </a:cubicBezTo>
                  <a:cubicBezTo>
                    <a:pt x="192860" y="121882"/>
                    <a:pt x="200207" y="122517"/>
                    <a:pt x="205889" y="122551"/>
                  </a:cubicBezTo>
                  <a:cubicBezTo>
                    <a:pt x="213763" y="122551"/>
                    <a:pt x="229431" y="113727"/>
                    <a:pt x="226184" y="106307"/>
                  </a:cubicBezTo>
                  <a:close/>
                  <a:moveTo>
                    <a:pt x="1073" y="122417"/>
                  </a:moveTo>
                  <a:cubicBezTo>
                    <a:pt x="3509" y="124991"/>
                    <a:pt x="15076" y="129737"/>
                    <a:pt x="14102" y="121347"/>
                  </a:cubicBezTo>
                  <a:cubicBezTo>
                    <a:pt x="13128" y="112958"/>
                    <a:pt x="-4650" y="116334"/>
                    <a:pt x="1073" y="122417"/>
                  </a:cubicBezTo>
                  <a:close/>
                  <a:moveTo>
                    <a:pt x="345193" y="110451"/>
                  </a:moveTo>
                  <a:cubicBezTo>
                    <a:pt x="336506" y="111922"/>
                    <a:pt x="318810" y="88225"/>
                    <a:pt x="321570" y="82208"/>
                  </a:cubicBezTo>
                  <a:cubicBezTo>
                    <a:pt x="323680" y="77596"/>
                    <a:pt x="328998" y="75022"/>
                    <a:pt x="329403" y="69474"/>
                  </a:cubicBezTo>
                  <a:cubicBezTo>
                    <a:pt x="329809" y="63926"/>
                    <a:pt x="321854" y="58745"/>
                    <a:pt x="320595" y="65764"/>
                  </a:cubicBezTo>
                  <a:cubicBezTo>
                    <a:pt x="318566" y="76927"/>
                    <a:pt x="309149" y="58277"/>
                    <a:pt x="310123" y="54132"/>
                  </a:cubicBezTo>
                  <a:cubicBezTo>
                    <a:pt x="312274" y="44907"/>
                    <a:pt x="317957" y="36418"/>
                    <a:pt x="320839" y="27394"/>
                  </a:cubicBezTo>
                  <a:cubicBezTo>
                    <a:pt x="322381" y="22648"/>
                    <a:pt x="308987" y="-5261"/>
                    <a:pt x="301234" y="421"/>
                  </a:cubicBezTo>
                  <a:cubicBezTo>
                    <a:pt x="292589" y="6771"/>
                    <a:pt x="299935" y="23583"/>
                    <a:pt x="302696" y="32407"/>
                  </a:cubicBezTo>
                  <a:cubicBezTo>
                    <a:pt x="304197" y="37120"/>
                    <a:pt x="301112" y="38758"/>
                    <a:pt x="300585" y="42902"/>
                  </a:cubicBezTo>
                  <a:cubicBezTo>
                    <a:pt x="299976" y="47715"/>
                    <a:pt x="305171" y="54801"/>
                    <a:pt x="304278" y="58644"/>
                  </a:cubicBezTo>
                  <a:cubicBezTo>
                    <a:pt x="303060" y="63592"/>
                    <a:pt x="279478" y="76861"/>
                    <a:pt x="273511" y="77462"/>
                  </a:cubicBezTo>
                  <a:cubicBezTo>
                    <a:pt x="265028" y="78231"/>
                    <a:pt x="244408" y="68204"/>
                    <a:pt x="249157" y="81874"/>
                  </a:cubicBezTo>
                  <a:cubicBezTo>
                    <a:pt x="251958" y="90130"/>
                    <a:pt x="266814" y="106106"/>
                    <a:pt x="261903" y="113359"/>
                  </a:cubicBezTo>
                  <a:cubicBezTo>
                    <a:pt x="256992" y="120612"/>
                    <a:pt x="242745" y="118607"/>
                    <a:pt x="236006" y="123954"/>
                  </a:cubicBezTo>
                  <a:cubicBezTo>
                    <a:pt x="228416" y="130038"/>
                    <a:pt x="255246" y="141201"/>
                    <a:pt x="262187" y="140666"/>
                  </a:cubicBezTo>
                  <a:cubicBezTo>
                    <a:pt x="274810" y="139530"/>
                    <a:pt x="287271" y="137357"/>
                    <a:pt x="299408" y="134216"/>
                  </a:cubicBezTo>
                  <a:cubicBezTo>
                    <a:pt x="305171" y="132511"/>
                    <a:pt x="307526" y="126294"/>
                    <a:pt x="313939" y="125692"/>
                  </a:cubicBezTo>
                  <a:cubicBezTo>
                    <a:pt x="322057" y="124890"/>
                    <a:pt x="328673" y="134917"/>
                    <a:pt x="334883" y="132377"/>
                  </a:cubicBezTo>
                  <a:cubicBezTo>
                    <a:pt x="337765" y="131140"/>
                    <a:pt x="342068" y="127464"/>
                    <a:pt x="346289" y="130539"/>
                  </a:cubicBezTo>
                  <a:cubicBezTo>
                    <a:pt x="352256" y="134884"/>
                    <a:pt x="360820" y="125358"/>
                    <a:pt x="364919" y="123854"/>
                  </a:cubicBezTo>
                  <a:cubicBezTo>
                    <a:pt x="375392" y="120211"/>
                    <a:pt x="351525" y="109482"/>
                    <a:pt x="345274" y="11048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9550E1F7-B81C-4949-928A-7F57E8DAE490}"/>
                </a:ext>
              </a:extLst>
            </p:cNvPr>
            <p:cNvSpPr/>
            <p:nvPr/>
          </p:nvSpPr>
          <p:spPr>
            <a:xfrm>
              <a:off x="10202655" y="6430661"/>
              <a:ext cx="75333" cy="19436"/>
            </a:xfrm>
            <a:custGeom>
              <a:avLst/>
              <a:gdLst>
                <a:gd name="connsiteX0" fmla="*/ 76 w 75333"/>
                <a:gd name="connsiteY0" fmla="*/ 2565 h 19436"/>
                <a:gd name="connsiteX1" fmla="*/ 28489 w 75333"/>
                <a:gd name="connsiteY1" fmla="*/ 16235 h 19436"/>
                <a:gd name="connsiteX2" fmla="*/ 76 w 75333"/>
                <a:gd name="connsiteY2" fmla="*/ 2565 h 19436"/>
                <a:gd name="connsiteX3" fmla="*/ 45171 w 75333"/>
                <a:gd name="connsiteY3" fmla="*/ 8615 h 19436"/>
                <a:gd name="connsiteX4" fmla="*/ 74802 w 75333"/>
                <a:gd name="connsiteY4" fmla="*/ 17739 h 19436"/>
                <a:gd name="connsiteX5" fmla="*/ 45293 w 75333"/>
                <a:gd name="connsiteY5" fmla="*/ 8615 h 1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33" h="19436">
                  <a:moveTo>
                    <a:pt x="76" y="2565"/>
                  </a:moveTo>
                  <a:cubicBezTo>
                    <a:pt x="3201" y="12860"/>
                    <a:pt x="19316" y="24123"/>
                    <a:pt x="28489" y="16235"/>
                  </a:cubicBezTo>
                  <a:cubicBezTo>
                    <a:pt x="37662" y="8348"/>
                    <a:pt x="-2685" y="-6660"/>
                    <a:pt x="76" y="2565"/>
                  </a:cubicBezTo>
                  <a:close/>
                  <a:moveTo>
                    <a:pt x="45171" y="8615"/>
                  </a:moveTo>
                  <a:cubicBezTo>
                    <a:pt x="49230" y="13528"/>
                    <a:pt x="69525" y="22519"/>
                    <a:pt x="74802" y="17739"/>
                  </a:cubicBezTo>
                  <a:cubicBezTo>
                    <a:pt x="80079" y="12960"/>
                    <a:pt x="39245" y="1195"/>
                    <a:pt x="45293" y="861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E4013F52-A529-463C-995D-1219FBA1B053}"/>
                </a:ext>
              </a:extLst>
            </p:cNvPr>
            <p:cNvSpPr/>
            <p:nvPr/>
          </p:nvSpPr>
          <p:spPr>
            <a:xfrm>
              <a:off x="7434858" y="4175183"/>
              <a:ext cx="427445" cy="189730"/>
            </a:xfrm>
            <a:custGeom>
              <a:avLst/>
              <a:gdLst>
                <a:gd name="connsiteX0" fmla="*/ 427386 w 427445"/>
                <a:gd name="connsiteY0" fmla="*/ 158908 h 189730"/>
                <a:gd name="connsiteX1" fmla="*/ 401367 w 427445"/>
                <a:gd name="connsiteY1" fmla="*/ 148646 h 189730"/>
                <a:gd name="connsiteX2" fmla="*/ 372549 w 427445"/>
                <a:gd name="connsiteY2" fmla="*/ 131166 h 189730"/>
                <a:gd name="connsiteX3" fmla="*/ 340077 w 427445"/>
                <a:gd name="connsiteY3" fmla="*/ 113117 h 189730"/>
                <a:gd name="connsiteX4" fmla="*/ 312111 w 427445"/>
                <a:gd name="connsiteY4" fmla="*/ 95035 h 189730"/>
                <a:gd name="connsiteX5" fmla="*/ 297336 w 427445"/>
                <a:gd name="connsiteY5" fmla="*/ 70636 h 189730"/>
                <a:gd name="connsiteX6" fmla="*/ 269370 w 427445"/>
                <a:gd name="connsiteY6" fmla="*/ 61043 h 189730"/>
                <a:gd name="connsiteX7" fmla="*/ 246274 w 427445"/>
                <a:gd name="connsiteY7" fmla="*/ 54359 h 189730"/>
                <a:gd name="connsiteX8" fmla="*/ 242215 w 427445"/>
                <a:gd name="connsiteY8" fmla="*/ 36076 h 189730"/>
                <a:gd name="connsiteX9" fmla="*/ 212991 w 427445"/>
                <a:gd name="connsiteY9" fmla="*/ 23910 h 189730"/>
                <a:gd name="connsiteX10" fmla="*/ 180925 w 427445"/>
                <a:gd name="connsiteY10" fmla="*/ 20567 h 189730"/>
                <a:gd name="connsiteX11" fmla="*/ 175810 w 427445"/>
                <a:gd name="connsiteY11" fmla="*/ 24277 h 189730"/>
                <a:gd name="connsiteX12" fmla="*/ 162132 w 427445"/>
                <a:gd name="connsiteY12" fmla="*/ 24578 h 189730"/>
                <a:gd name="connsiteX13" fmla="*/ 137534 w 427445"/>
                <a:gd name="connsiteY13" fmla="*/ 37078 h 189730"/>
                <a:gd name="connsiteX14" fmla="*/ 103155 w 427445"/>
                <a:gd name="connsiteY14" fmla="*/ 30728 h 189730"/>
                <a:gd name="connsiteX15" fmla="*/ 67679 w 427445"/>
                <a:gd name="connsiteY15" fmla="*/ 8301 h 189730"/>
                <a:gd name="connsiteX16" fmla="*/ 17957 w 427445"/>
                <a:gd name="connsiteY16" fmla="*/ 6396 h 189730"/>
                <a:gd name="connsiteX17" fmla="*/ 49292 w 427445"/>
                <a:gd name="connsiteY17" fmla="*/ 21737 h 189730"/>
                <a:gd name="connsiteX18" fmla="*/ 67720 w 427445"/>
                <a:gd name="connsiteY18" fmla="*/ 31062 h 189730"/>
                <a:gd name="connsiteX19" fmla="*/ 53757 w 427445"/>
                <a:gd name="connsiteY19" fmla="*/ 36410 h 189730"/>
                <a:gd name="connsiteX20" fmla="*/ 990 w 427445"/>
                <a:gd name="connsiteY20" fmla="*/ 37513 h 189730"/>
                <a:gd name="connsiteX21" fmla="*/ 16008 w 427445"/>
                <a:gd name="connsiteY21" fmla="*/ 47540 h 189730"/>
                <a:gd name="connsiteX22" fmla="*/ 6511 w 427445"/>
                <a:gd name="connsiteY22" fmla="*/ 58804 h 189730"/>
                <a:gd name="connsiteX23" fmla="*/ 26805 w 427445"/>
                <a:gd name="connsiteY23" fmla="*/ 66224 h 189730"/>
                <a:gd name="connsiteX24" fmla="*/ 25344 w 427445"/>
                <a:gd name="connsiteY24" fmla="*/ 90456 h 189730"/>
                <a:gd name="connsiteX25" fmla="*/ 31960 w 427445"/>
                <a:gd name="connsiteY25" fmla="*/ 101319 h 189730"/>
                <a:gd name="connsiteX26" fmla="*/ 54000 w 427445"/>
                <a:gd name="connsiteY26" fmla="*/ 100049 h 189730"/>
                <a:gd name="connsiteX27" fmla="*/ 96538 w 427445"/>
                <a:gd name="connsiteY27" fmla="*/ 98411 h 189730"/>
                <a:gd name="connsiteX28" fmla="*/ 132258 w 427445"/>
                <a:gd name="connsiteY28" fmla="*/ 100784 h 189730"/>
                <a:gd name="connsiteX29" fmla="*/ 160386 w 427445"/>
                <a:gd name="connsiteY29" fmla="*/ 112950 h 189730"/>
                <a:gd name="connsiteX30" fmla="*/ 168504 w 427445"/>
                <a:gd name="connsiteY30" fmla="*/ 117997 h 189730"/>
                <a:gd name="connsiteX31" fmla="*/ 193548 w 427445"/>
                <a:gd name="connsiteY31" fmla="*/ 124180 h 189730"/>
                <a:gd name="connsiteX32" fmla="*/ 200733 w 427445"/>
                <a:gd name="connsiteY32" fmla="*/ 131500 h 189730"/>
                <a:gd name="connsiteX33" fmla="*/ 218226 w 427445"/>
                <a:gd name="connsiteY33" fmla="*/ 140357 h 189730"/>
                <a:gd name="connsiteX34" fmla="*/ 246639 w 427445"/>
                <a:gd name="connsiteY34" fmla="*/ 152557 h 189730"/>
                <a:gd name="connsiteX35" fmla="*/ 250983 w 427445"/>
                <a:gd name="connsiteY35" fmla="*/ 172812 h 189730"/>
                <a:gd name="connsiteX36" fmla="*/ 279395 w 427445"/>
                <a:gd name="connsiteY36" fmla="*/ 184911 h 189730"/>
                <a:gd name="connsiteX37" fmla="*/ 306103 w 427445"/>
                <a:gd name="connsiteY37" fmla="*/ 186916 h 189730"/>
                <a:gd name="connsiteX38" fmla="*/ 357531 w 427445"/>
                <a:gd name="connsiteY38" fmla="*/ 176187 h 189730"/>
                <a:gd name="connsiteX39" fmla="*/ 382494 w 427445"/>
                <a:gd name="connsiteY39" fmla="*/ 166996 h 189730"/>
                <a:gd name="connsiteX40" fmla="*/ 400272 w 427445"/>
                <a:gd name="connsiteY40" fmla="*/ 162617 h 189730"/>
                <a:gd name="connsiteX41" fmla="*/ 426574 w 427445"/>
                <a:gd name="connsiteY41" fmla="*/ 170372 h 189730"/>
                <a:gd name="connsiteX42" fmla="*/ 427386 w 427445"/>
                <a:gd name="connsiteY42" fmla="*/ 158908 h 18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27445" h="189730">
                  <a:moveTo>
                    <a:pt x="427386" y="158908"/>
                  </a:moveTo>
                  <a:cubicBezTo>
                    <a:pt x="420364" y="155565"/>
                    <a:pt x="410338" y="149749"/>
                    <a:pt x="401367" y="148646"/>
                  </a:cubicBezTo>
                  <a:cubicBezTo>
                    <a:pt x="390895" y="147310"/>
                    <a:pt x="381722" y="134876"/>
                    <a:pt x="372549" y="131166"/>
                  </a:cubicBezTo>
                  <a:cubicBezTo>
                    <a:pt x="361387" y="126654"/>
                    <a:pt x="345597" y="120370"/>
                    <a:pt x="340077" y="113117"/>
                  </a:cubicBezTo>
                  <a:cubicBezTo>
                    <a:pt x="334557" y="105864"/>
                    <a:pt x="315317" y="101954"/>
                    <a:pt x="312111" y="95035"/>
                  </a:cubicBezTo>
                  <a:cubicBezTo>
                    <a:pt x="308052" y="86746"/>
                    <a:pt x="300989" y="78891"/>
                    <a:pt x="297336" y="70636"/>
                  </a:cubicBezTo>
                  <a:cubicBezTo>
                    <a:pt x="294292" y="63784"/>
                    <a:pt x="279477" y="63082"/>
                    <a:pt x="269370" y="61043"/>
                  </a:cubicBezTo>
                  <a:cubicBezTo>
                    <a:pt x="266691" y="60475"/>
                    <a:pt x="245625" y="56966"/>
                    <a:pt x="246274" y="54359"/>
                  </a:cubicBezTo>
                  <a:cubicBezTo>
                    <a:pt x="247573" y="49378"/>
                    <a:pt x="248304" y="40989"/>
                    <a:pt x="242215" y="36076"/>
                  </a:cubicBezTo>
                  <a:cubicBezTo>
                    <a:pt x="237385" y="32065"/>
                    <a:pt x="220337" y="27720"/>
                    <a:pt x="212991" y="23910"/>
                  </a:cubicBezTo>
                  <a:cubicBezTo>
                    <a:pt x="197932" y="16089"/>
                    <a:pt x="195456" y="23041"/>
                    <a:pt x="180925" y="20567"/>
                  </a:cubicBezTo>
                  <a:cubicBezTo>
                    <a:pt x="179058" y="20267"/>
                    <a:pt x="176501" y="23910"/>
                    <a:pt x="175810" y="24277"/>
                  </a:cubicBezTo>
                  <a:cubicBezTo>
                    <a:pt x="172157" y="26584"/>
                    <a:pt x="167165" y="24545"/>
                    <a:pt x="162132" y="24578"/>
                  </a:cubicBezTo>
                  <a:cubicBezTo>
                    <a:pt x="143054" y="24578"/>
                    <a:pt x="149305" y="35808"/>
                    <a:pt x="137534" y="37078"/>
                  </a:cubicBezTo>
                  <a:cubicBezTo>
                    <a:pt x="126372" y="38315"/>
                    <a:pt x="114033" y="31062"/>
                    <a:pt x="103155" y="30728"/>
                  </a:cubicBezTo>
                  <a:cubicBezTo>
                    <a:pt x="88420" y="30260"/>
                    <a:pt x="77258" y="14016"/>
                    <a:pt x="67679" y="8301"/>
                  </a:cubicBezTo>
                  <a:cubicBezTo>
                    <a:pt x="59196" y="3220"/>
                    <a:pt x="10853" y="-7241"/>
                    <a:pt x="17957" y="6396"/>
                  </a:cubicBezTo>
                  <a:cubicBezTo>
                    <a:pt x="35289" y="-4868"/>
                    <a:pt x="46045" y="16623"/>
                    <a:pt x="49292" y="21737"/>
                  </a:cubicBezTo>
                  <a:cubicBezTo>
                    <a:pt x="51606" y="25414"/>
                    <a:pt x="63214" y="27386"/>
                    <a:pt x="67720" y="31062"/>
                  </a:cubicBezTo>
                  <a:cubicBezTo>
                    <a:pt x="77705" y="39318"/>
                    <a:pt x="62524" y="35742"/>
                    <a:pt x="53757" y="36410"/>
                  </a:cubicBezTo>
                  <a:cubicBezTo>
                    <a:pt x="29768" y="38182"/>
                    <a:pt x="10732" y="20233"/>
                    <a:pt x="990" y="37513"/>
                  </a:cubicBezTo>
                  <a:cubicBezTo>
                    <a:pt x="-3394" y="45167"/>
                    <a:pt x="6795" y="44031"/>
                    <a:pt x="16008" y="47540"/>
                  </a:cubicBezTo>
                  <a:cubicBezTo>
                    <a:pt x="27293" y="51685"/>
                    <a:pt x="4400" y="57968"/>
                    <a:pt x="6511" y="58804"/>
                  </a:cubicBezTo>
                  <a:cubicBezTo>
                    <a:pt x="16942" y="63015"/>
                    <a:pt x="21163" y="58202"/>
                    <a:pt x="26805" y="66224"/>
                  </a:cubicBezTo>
                  <a:cubicBezTo>
                    <a:pt x="32975" y="75248"/>
                    <a:pt x="26805" y="81599"/>
                    <a:pt x="25344" y="90456"/>
                  </a:cubicBezTo>
                  <a:cubicBezTo>
                    <a:pt x="24573" y="96171"/>
                    <a:pt x="19296" y="99815"/>
                    <a:pt x="31960" y="101319"/>
                  </a:cubicBezTo>
                  <a:cubicBezTo>
                    <a:pt x="41336" y="102455"/>
                    <a:pt x="46897" y="102689"/>
                    <a:pt x="54000" y="100049"/>
                  </a:cubicBezTo>
                  <a:cubicBezTo>
                    <a:pt x="70236" y="93932"/>
                    <a:pt x="77623" y="97241"/>
                    <a:pt x="96538" y="98411"/>
                  </a:cubicBezTo>
                  <a:cubicBezTo>
                    <a:pt x="110217" y="99280"/>
                    <a:pt x="116833" y="95904"/>
                    <a:pt x="132258" y="100784"/>
                  </a:cubicBezTo>
                  <a:cubicBezTo>
                    <a:pt x="142567" y="104126"/>
                    <a:pt x="148168" y="110811"/>
                    <a:pt x="160386" y="112950"/>
                  </a:cubicBezTo>
                  <a:cubicBezTo>
                    <a:pt x="163552" y="113485"/>
                    <a:pt x="165866" y="116894"/>
                    <a:pt x="168504" y="117997"/>
                  </a:cubicBezTo>
                  <a:cubicBezTo>
                    <a:pt x="175648" y="121005"/>
                    <a:pt x="185836" y="121339"/>
                    <a:pt x="193548" y="124180"/>
                  </a:cubicBezTo>
                  <a:cubicBezTo>
                    <a:pt x="201260" y="127021"/>
                    <a:pt x="197282" y="127723"/>
                    <a:pt x="200733" y="131500"/>
                  </a:cubicBezTo>
                  <a:cubicBezTo>
                    <a:pt x="204791" y="135946"/>
                    <a:pt x="213680" y="136046"/>
                    <a:pt x="218226" y="140357"/>
                  </a:cubicBezTo>
                  <a:cubicBezTo>
                    <a:pt x="227968" y="149683"/>
                    <a:pt x="230688" y="148045"/>
                    <a:pt x="246639" y="152557"/>
                  </a:cubicBezTo>
                  <a:cubicBezTo>
                    <a:pt x="256503" y="155365"/>
                    <a:pt x="250333" y="168132"/>
                    <a:pt x="250983" y="172812"/>
                  </a:cubicBezTo>
                  <a:cubicBezTo>
                    <a:pt x="252200" y="181736"/>
                    <a:pt x="277488" y="176488"/>
                    <a:pt x="279395" y="184911"/>
                  </a:cubicBezTo>
                  <a:cubicBezTo>
                    <a:pt x="280857" y="191161"/>
                    <a:pt x="302410" y="189925"/>
                    <a:pt x="306103" y="186916"/>
                  </a:cubicBezTo>
                  <a:cubicBezTo>
                    <a:pt x="318280" y="176889"/>
                    <a:pt x="347789" y="186916"/>
                    <a:pt x="357531" y="176187"/>
                  </a:cubicBezTo>
                  <a:cubicBezTo>
                    <a:pt x="365080" y="167865"/>
                    <a:pt x="367191" y="166762"/>
                    <a:pt x="382494" y="166996"/>
                  </a:cubicBezTo>
                  <a:cubicBezTo>
                    <a:pt x="389718" y="166996"/>
                    <a:pt x="393696" y="163286"/>
                    <a:pt x="400272" y="162617"/>
                  </a:cubicBezTo>
                  <a:cubicBezTo>
                    <a:pt x="408633" y="161748"/>
                    <a:pt x="417563" y="169503"/>
                    <a:pt x="426574" y="170372"/>
                  </a:cubicBezTo>
                  <a:cubicBezTo>
                    <a:pt x="426777" y="166495"/>
                    <a:pt x="427102" y="162684"/>
                    <a:pt x="427386" y="15890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57EA89FD-3F6F-42AC-85DB-938FFDFA3E8C}"/>
                </a:ext>
              </a:extLst>
            </p:cNvPr>
            <p:cNvSpPr/>
            <p:nvPr/>
          </p:nvSpPr>
          <p:spPr>
            <a:xfrm>
              <a:off x="7156176" y="4185911"/>
              <a:ext cx="545797" cy="358017"/>
            </a:xfrm>
            <a:custGeom>
              <a:avLst/>
              <a:gdLst>
                <a:gd name="connsiteX0" fmla="*/ 536890 w 545797"/>
                <a:gd name="connsiteY0" fmla="*/ 326161 h 358017"/>
                <a:gd name="connsiteX1" fmla="*/ 533765 w 545797"/>
                <a:gd name="connsiteY1" fmla="*/ 310552 h 358017"/>
                <a:gd name="connsiteX2" fmla="*/ 503119 w 545797"/>
                <a:gd name="connsiteY2" fmla="*/ 289161 h 358017"/>
                <a:gd name="connsiteX3" fmla="*/ 484488 w 545797"/>
                <a:gd name="connsiteY3" fmla="*/ 269274 h 358017"/>
                <a:gd name="connsiteX4" fmla="*/ 504783 w 545797"/>
                <a:gd name="connsiteY4" fmla="*/ 259581 h 358017"/>
                <a:gd name="connsiteX5" fmla="*/ 498492 w 545797"/>
                <a:gd name="connsiteY5" fmla="*/ 237287 h 358017"/>
                <a:gd name="connsiteX6" fmla="*/ 497761 w 545797"/>
                <a:gd name="connsiteY6" fmla="*/ 194204 h 358017"/>
                <a:gd name="connsiteX7" fmla="*/ 512170 w 545797"/>
                <a:gd name="connsiteY7" fmla="*/ 180434 h 358017"/>
                <a:gd name="connsiteX8" fmla="*/ 530436 w 545797"/>
                <a:gd name="connsiteY8" fmla="*/ 166028 h 358017"/>
                <a:gd name="connsiteX9" fmla="*/ 530436 w 545797"/>
                <a:gd name="connsiteY9" fmla="*/ 144670 h 358017"/>
                <a:gd name="connsiteX10" fmla="*/ 502551 w 545797"/>
                <a:gd name="connsiteY10" fmla="*/ 135379 h 358017"/>
                <a:gd name="connsiteX11" fmla="*/ 493824 w 545797"/>
                <a:gd name="connsiteY11" fmla="*/ 127157 h 358017"/>
                <a:gd name="connsiteX12" fmla="*/ 479374 w 545797"/>
                <a:gd name="connsiteY12" fmla="*/ 120706 h 358017"/>
                <a:gd name="connsiteX13" fmla="*/ 452706 w 545797"/>
                <a:gd name="connsiteY13" fmla="*/ 108573 h 358017"/>
                <a:gd name="connsiteX14" fmla="*/ 430869 w 545797"/>
                <a:gd name="connsiteY14" fmla="*/ 99716 h 358017"/>
                <a:gd name="connsiteX15" fmla="*/ 400021 w 545797"/>
                <a:gd name="connsiteY15" fmla="*/ 87349 h 358017"/>
                <a:gd name="connsiteX16" fmla="*/ 367549 w 545797"/>
                <a:gd name="connsiteY16" fmla="*/ 86346 h 358017"/>
                <a:gd name="connsiteX17" fmla="*/ 332764 w 545797"/>
                <a:gd name="connsiteY17" fmla="*/ 89254 h 358017"/>
                <a:gd name="connsiteX18" fmla="*/ 302281 w 545797"/>
                <a:gd name="connsiteY18" fmla="*/ 93432 h 358017"/>
                <a:gd name="connsiteX19" fmla="*/ 273503 w 545797"/>
                <a:gd name="connsiteY19" fmla="*/ 99582 h 358017"/>
                <a:gd name="connsiteX20" fmla="*/ 202024 w 545797"/>
                <a:gd name="connsiteY20" fmla="*/ 80497 h 358017"/>
                <a:gd name="connsiteX21" fmla="*/ 144062 w 545797"/>
                <a:gd name="connsiteY21" fmla="*/ 44968 h 358017"/>
                <a:gd name="connsiteX22" fmla="*/ 125594 w 545797"/>
                <a:gd name="connsiteY22" fmla="*/ 30562 h 358017"/>
                <a:gd name="connsiteX23" fmla="*/ 126649 w 545797"/>
                <a:gd name="connsiteY23" fmla="*/ 17895 h 358017"/>
                <a:gd name="connsiteX24" fmla="*/ 97708 w 545797"/>
                <a:gd name="connsiteY24" fmla="*/ 22039 h 358017"/>
                <a:gd name="connsiteX25" fmla="*/ 45916 w 545797"/>
                <a:gd name="connsiteY25" fmla="*/ 22273 h 358017"/>
                <a:gd name="connsiteX26" fmla="*/ 22577 w 545797"/>
                <a:gd name="connsiteY26" fmla="*/ 1718 h 358017"/>
                <a:gd name="connsiteX27" fmla="*/ 2607 w 545797"/>
                <a:gd name="connsiteY27" fmla="*/ 19332 h 358017"/>
                <a:gd name="connsiteX28" fmla="*/ 3419 w 545797"/>
                <a:gd name="connsiteY28" fmla="*/ 40857 h 358017"/>
                <a:gd name="connsiteX29" fmla="*/ 21968 w 545797"/>
                <a:gd name="connsiteY29" fmla="*/ 69133 h 358017"/>
                <a:gd name="connsiteX30" fmla="*/ 46647 w 545797"/>
                <a:gd name="connsiteY30" fmla="*/ 97643 h 358017"/>
                <a:gd name="connsiteX31" fmla="*/ 39949 w 545797"/>
                <a:gd name="connsiteY31" fmla="*/ 98713 h 358017"/>
                <a:gd name="connsiteX32" fmla="*/ 33577 w 545797"/>
                <a:gd name="connsiteY32" fmla="*/ 106233 h 358017"/>
                <a:gd name="connsiteX33" fmla="*/ 24728 w 545797"/>
                <a:gd name="connsiteY33" fmla="*/ 116260 h 358017"/>
                <a:gd name="connsiteX34" fmla="*/ 33739 w 545797"/>
                <a:gd name="connsiteY34" fmla="*/ 127825 h 358017"/>
                <a:gd name="connsiteX35" fmla="*/ 44617 w 545797"/>
                <a:gd name="connsiteY35" fmla="*/ 140760 h 358017"/>
                <a:gd name="connsiteX36" fmla="*/ 84192 w 545797"/>
                <a:gd name="connsiteY36" fmla="*/ 162719 h 358017"/>
                <a:gd name="connsiteX37" fmla="*/ 82244 w 545797"/>
                <a:gd name="connsiteY37" fmla="*/ 176690 h 358017"/>
                <a:gd name="connsiteX38" fmla="*/ 87683 w 545797"/>
                <a:gd name="connsiteY38" fmla="*/ 182406 h 358017"/>
                <a:gd name="connsiteX39" fmla="*/ 91742 w 545797"/>
                <a:gd name="connsiteY39" fmla="*/ 192433 h 358017"/>
                <a:gd name="connsiteX40" fmla="*/ 118125 w 545797"/>
                <a:gd name="connsiteY40" fmla="*/ 205134 h 358017"/>
                <a:gd name="connsiteX41" fmla="*/ 141830 w 545797"/>
                <a:gd name="connsiteY41" fmla="*/ 207407 h 358017"/>
                <a:gd name="connsiteX42" fmla="*/ 172597 w 545797"/>
                <a:gd name="connsiteY42" fmla="*/ 234847 h 358017"/>
                <a:gd name="connsiteX43" fmla="*/ 204784 w 545797"/>
                <a:gd name="connsiteY43" fmla="*/ 261586 h 358017"/>
                <a:gd name="connsiteX44" fmla="*/ 261164 w 545797"/>
                <a:gd name="connsiteY44" fmla="*/ 288826 h 358017"/>
                <a:gd name="connsiteX45" fmla="*/ 318273 w 545797"/>
                <a:gd name="connsiteY45" fmla="*/ 294742 h 358017"/>
                <a:gd name="connsiteX46" fmla="*/ 353668 w 545797"/>
                <a:gd name="connsiteY46" fmla="*/ 314796 h 358017"/>
                <a:gd name="connsiteX47" fmla="*/ 379198 w 545797"/>
                <a:gd name="connsiteY47" fmla="*/ 330305 h 358017"/>
                <a:gd name="connsiteX48" fmla="*/ 488791 w 545797"/>
                <a:gd name="connsiteY48" fmla="*/ 357679 h 358017"/>
                <a:gd name="connsiteX49" fmla="*/ 522277 w 545797"/>
                <a:gd name="connsiteY49" fmla="*/ 339129 h 358017"/>
                <a:gd name="connsiteX50" fmla="*/ 545738 w 545797"/>
                <a:gd name="connsiteY50" fmla="*/ 337525 h 358017"/>
                <a:gd name="connsiteX51" fmla="*/ 537255 w 545797"/>
                <a:gd name="connsiteY51" fmla="*/ 326261 h 358017"/>
                <a:gd name="connsiteX52" fmla="*/ 536890 w 545797"/>
                <a:gd name="connsiteY52" fmla="*/ 326161 h 35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45797" h="358017">
                  <a:moveTo>
                    <a:pt x="536890" y="326161"/>
                  </a:moveTo>
                  <a:cubicBezTo>
                    <a:pt x="531126" y="323921"/>
                    <a:pt x="535307" y="313794"/>
                    <a:pt x="533765" y="310552"/>
                  </a:cubicBezTo>
                  <a:cubicBezTo>
                    <a:pt x="530030" y="302497"/>
                    <a:pt x="509938" y="297182"/>
                    <a:pt x="503119" y="289161"/>
                  </a:cubicBezTo>
                  <a:cubicBezTo>
                    <a:pt x="497883" y="282810"/>
                    <a:pt x="488344" y="275591"/>
                    <a:pt x="484488" y="269274"/>
                  </a:cubicBezTo>
                  <a:cubicBezTo>
                    <a:pt x="481444" y="264260"/>
                    <a:pt x="499710" y="261185"/>
                    <a:pt x="504783" y="259581"/>
                  </a:cubicBezTo>
                  <a:cubicBezTo>
                    <a:pt x="527514" y="252194"/>
                    <a:pt x="522805" y="245376"/>
                    <a:pt x="498492" y="237287"/>
                  </a:cubicBezTo>
                  <a:cubicBezTo>
                    <a:pt x="485057" y="232875"/>
                    <a:pt x="496909" y="201591"/>
                    <a:pt x="497761" y="194204"/>
                  </a:cubicBezTo>
                  <a:cubicBezTo>
                    <a:pt x="498410" y="188790"/>
                    <a:pt x="504986" y="183342"/>
                    <a:pt x="512170" y="180434"/>
                  </a:cubicBezTo>
                  <a:cubicBezTo>
                    <a:pt x="520938" y="177091"/>
                    <a:pt x="519355" y="167064"/>
                    <a:pt x="530436" y="166028"/>
                  </a:cubicBezTo>
                  <a:cubicBezTo>
                    <a:pt x="528406" y="159009"/>
                    <a:pt x="528406" y="151689"/>
                    <a:pt x="530436" y="144670"/>
                  </a:cubicBezTo>
                  <a:cubicBezTo>
                    <a:pt x="531329" y="141328"/>
                    <a:pt x="506407" y="138955"/>
                    <a:pt x="502551" y="135379"/>
                  </a:cubicBezTo>
                  <a:cubicBezTo>
                    <a:pt x="499994" y="132391"/>
                    <a:pt x="497071" y="129633"/>
                    <a:pt x="493824" y="127157"/>
                  </a:cubicBezTo>
                  <a:cubicBezTo>
                    <a:pt x="489197" y="124282"/>
                    <a:pt x="482987" y="124616"/>
                    <a:pt x="479374" y="120706"/>
                  </a:cubicBezTo>
                  <a:cubicBezTo>
                    <a:pt x="473042" y="113787"/>
                    <a:pt x="468334" y="110344"/>
                    <a:pt x="452706" y="108573"/>
                  </a:cubicBezTo>
                  <a:cubicBezTo>
                    <a:pt x="446497" y="107871"/>
                    <a:pt x="436958" y="101888"/>
                    <a:pt x="430869" y="99716"/>
                  </a:cubicBezTo>
                  <a:cubicBezTo>
                    <a:pt x="419058" y="95404"/>
                    <a:pt x="413740" y="89923"/>
                    <a:pt x="400021" y="87349"/>
                  </a:cubicBezTo>
                  <a:cubicBezTo>
                    <a:pt x="387844" y="85076"/>
                    <a:pt x="378671" y="88820"/>
                    <a:pt x="367549" y="86346"/>
                  </a:cubicBezTo>
                  <a:cubicBezTo>
                    <a:pt x="355941" y="83636"/>
                    <a:pt x="343480" y="84675"/>
                    <a:pt x="332764" y="89254"/>
                  </a:cubicBezTo>
                  <a:cubicBezTo>
                    <a:pt x="322089" y="93232"/>
                    <a:pt x="303742" y="86647"/>
                    <a:pt x="302281" y="93432"/>
                  </a:cubicBezTo>
                  <a:cubicBezTo>
                    <a:pt x="300535" y="101420"/>
                    <a:pt x="286045" y="100117"/>
                    <a:pt x="273503" y="99582"/>
                  </a:cubicBezTo>
                  <a:cubicBezTo>
                    <a:pt x="240747" y="98479"/>
                    <a:pt x="221467" y="96841"/>
                    <a:pt x="202024" y="80497"/>
                  </a:cubicBezTo>
                  <a:cubicBezTo>
                    <a:pt x="184652" y="65925"/>
                    <a:pt x="142276" y="66927"/>
                    <a:pt x="144062" y="44968"/>
                  </a:cubicBezTo>
                  <a:cubicBezTo>
                    <a:pt x="133103" y="41124"/>
                    <a:pt x="121251" y="37147"/>
                    <a:pt x="125594" y="30562"/>
                  </a:cubicBezTo>
                  <a:cubicBezTo>
                    <a:pt x="127461" y="27721"/>
                    <a:pt x="132088" y="20936"/>
                    <a:pt x="126649" y="17895"/>
                  </a:cubicBezTo>
                  <a:cubicBezTo>
                    <a:pt x="121210" y="14853"/>
                    <a:pt x="102742" y="20903"/>
                    <a:pt x="97708" y="22039"/>
                  </a:cubicBezTo>
                  <a:cubicBezTo>
                    <a:pt x="80823" y="26217"/>
                    <a:pt x="62842" y="26297"/>
                    <a:pt x="45916" y="22273"/>
                  </a:cubicBezTo>
                  <a:cubicBezTo>
                    <a:pt x="31872" y="18931"/>
                    <a:pt x="31791" y="7199"/>
                    <a:pt x="22577" y="1718"/>
                  </a:cubicBezTo>
                  <a:cubicBezTo>
                    <a:pt x="7843" y="-7039"/>
                    <a:pt x="577" y="14720"/>
                    <a:pt x="2607" y="19332"/>
                  </a:cubicBezTo>
                  <a:cubicBezTo>
                    <a:pt x="5976" y="26886"/>
                    <a:pt x="-5511" y="34339"/>
                    <a:pt x="3419" y="40857"/>
                  </a:cubicBezTo>
                  <a:cubicBezTo>
                    <a:pt x="10157" y="45703"/>
                    <a:pt x="22942" y="63585"/>
                    <a:pt x="21968" y="69133"/>
                  </a:cubicBezTo>
                  <a:cubicBezTo>
                    <a:pt x="19695" y="82068"/>
                    <a:pt x="63085" y="82502"/>
                    <a:pt x="46647" y="97643"/>
                  </a:cubicBezTo>
                  <a:lnTo>
                    <a:pt x="39949" y="98713"/>
                  </a:lnTo>
                  <a:cubicBezTo>
                    <a:pt x="36337" y="100418"/>
                    <a:pt x="35281" y="103860"/>
                    <a:pt x="33577" y="106233"/>
                  </a:cubicBezTo>
                  <a:cubicBezTo>
                    <a:pt x="30533" y="110378"/>
                    <a:pt x="24647" y="111046"/>
                    <a:pt x="24728" y="116260"/>
                  </a:cubicBezTo>
                  <a:cubicBezTo>
                    <a:pt x="24809" y="121474"/>
                    <a:pt x="26676" y="124382"/>
                    <a:pt x="33739" y="127825"/>
                  </a:cubicBezTo>
                  <a:cubicBezTo>
                    <a:pt x="42912" y="132304"/>
                    <a:pt x="38975" y="136148"/>
                    <a:pt x="44617" y="140760"/>
                  </a:cubicBezTo>
                  <a:cubicBezTo>
                    <a:pt x="56388" y="150319"/>
                    <a:pt x="77089" y="151723"/>
                    <a:pt x="84192" y="162719"/>
                  </a:cubicBezTo>
                  <a:cubicBezTo>
                    <a:pt x="88738" y="169671"/>
                    <a:pt x="81229" y="170440"/>
                    <a:pt x="82244" y="176690"/>
                  </a:cubicBezTo>
                  <a:cubicBezTo>
                    <a:pt x="83461" y="178926"/>
                    <a:pt x="85329" y="180885"/>
                    <a:pt x="87683" y="182406"/>
                  </a:cubicBezTo>
                  <a:cubicBezTo>
                    <a:pt x="91742" y="186116"/>
                    <a:pt x="89307" y="188656"/>
                    <a:pt x="91742" y="192433"/>
                  </a:cubicBezTo>
                  <a:cubicBezTo>
                    <a:pt x="95801" y="198750"/>
                    <a:pt x="104812" y="207841"/>
                    <a:pt x="118125" y="205134"/>
                  </a:cubicBezTo>
                  <a:cubicBezTo>
                    <a:pt x="127745" y="203195"/>
                    <a:pt x="130749" y="207774"/>
                    <a:pt x="141830" y="207407"/>
                  </a:cubicBezTo>
                  <a:cubicBezTo>
                    <a:pt x="160217" y="206872"/>
                    <a:pt x="167726" y="227026"/>
                    <a:pt x="172597" y="234847"/>
                  </a:cubicBezTo>
                  <a:cubicBezTo>
                    <a:pt x="180715" y="247883"/>
                    <a:pt x="182217" y="254300"/>
                    <a:pt x="204784" y="261586"/>
                  </a:cubicBezTo>
                  <a:cubicBezTo>
                    <a:pt x="225769" y="268271"/>
                    <a:pt x="238961" y="281640"/>
                    <a:pt x="261164" y="288826"/>
                  </a:cubicBezTo>
                  <a:cubicBezTo>
                    <a:pt x="283366" y="296012"/>
                    <a:pt x="295218" y="296581"/>
                    <a:pt x="318273" y="294742"/>
                  </a:cubicBezTo>
                  <a:cubicBezTo>
                    <a:pt x="342993" y="292804"/>
                    <a:pt x="351963" y="302597"/>
                    <a:pt x="353668" y="314796"/>
                  </a:cubicBezTo>
                  <a:cubicBezTo>
                    <a:pt x="355007" y="324155"/>
                    <a:pt x="365033" y="326361"/>
                    <a:pt x="379198" y="330305"/>
                  </a:cubicBezTo>
                  <a:cubicBezTo>
                    <a:pt x="414309" y="340031"/>
                    <a:pt x="452260" y="350627"/>
                    <a:pt x="488791" y="357679"/>
                  </a:cubicBezTo>
                  <a:cubicBezTo>
                    <a:pt x="489522" y="345479"/>
                    <a:pt x="501455" y="339563"/>
                    <a:pt x="522277" y="339129"/>
                  </a:cubicBezTo>
                  <a:cubicBezTo>
                    <a:pt x="528122" y="339129"/>
                    <a:pt x="545170" y="342471"/>
                    <a:pt x="545738" y="337525"/>
                  </a:cubicBezTo>
                  <a:cubicBezTo>
                    <a:pt x="545616" y="332778"/>
                    <a:pt x="542370" y="328463"/>
                    <a:pt x="537255" y="326261"/>
                  </a:cubicBezTo>
                  <a:cubicBezTo>
                    <a:pt x="530152" y="323520"/>
                    <a:pt x="543628" y="328768"/>
                    <a:pt x="536890" y="32616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DC0AF90D-42F9-4E41-88AA-58C2EE05AC68}"/>
                </a:ext>
              </a:extLst>
            </p:cNvPr>
            <p:cNvSpPr/>
            <p:nvPr/>
          </p:nvSpPr>
          <p:spPr>
            <a:xfrm>
              <a:off x="7270264" y="3965643"/>
              <a:ext cx="1306181" cy="380318"/>
            </a:xfrm>
            <a:custGeom>
              <a:avLst/>
              <a:gdLst>
                <a:gd name="connsiteX0" fmla="*/ 1302626 w 1306181"/>
                <a:gd name="connsiteY0" fmla="*/ 281447 h 380318"/>
                <a:gd name="connsiteX1" fmla="*/ 1252944 w 1306181"/>
                <a:gd name="connsiteY1" fmla="*/ 259454 h 380318"/>
                <a:gd name="connsiteX2" fmla="*/ 1233866 w 1306181"/>
                <a:gd name="connsiteY2" fmla="*/ 245449 h 380318"/>
                <a:gd name="connsiteX3" fmla="*/ 1210690 w 1306181"/>
                <a:gd name="connsiteY3" fmla="*/ 225395 h 380318"/>
                <a:gd name="connsiteX4" fmla="*/ 1174159 w 1306181"/>
                <a:gd name="connsiteY4" fmla="*/ 221886 h 380318"/>
                <a:gd name="connsiteX5" fmla="*/ 1140389 w 1306181"/>
                <a:gd name="connsiteY5" fmla="*/ 204238 h 380318"/>
                <a:gd name="connsiteX6" fmla="*/ 1099799 w 1306181"/>
                <a:gd name="connsiteY6" fmla="*/ 194746 h 380318"/>
                <a:gd name="connsiteX7" fmla="*/ 1070656 w 1306181"/>
                <a:gd name="connsiteY7" fmla="*/ 145747 h 380318"/>
                <a:gd name="connsiteX8" fmla="*/ 1047276 w 1306181"/>
                <a:gd name="connsiteY8" fmla="*/ 121247 h 380318"/>
                <a:gd name="connsiteX9" fmla="*/ 1027793 w 1306181"/>
                <a:gd name="connsiteY9" fmla="*/ 103266 h 380318"/>
                <a:gd name="connsiteX10" fmla="*/ 1018660 w 1306181"/>
                <a:gd name="connsiteY10" fmla="*/ 95411 h 380318"/>
                <a:gd name="connsiteX11" fmla="*/ 974011 w 1306181"/>
                <a:gd name="connsiteY11" fmla="*/ 96447 h 380318"/>
                <a:gd name="connsiteX12" fmla="*/ 937156 w 1306181"/>
                <a:gd name="connsiteY12" fmla="*/ 94575 h 380318"/>
                <a:gd name="connsiteX13" fmla="*/ 917064 w 1306181"/>
                <a:gd name="connsiteY13" fmla="*/ 89328 h 380318"/>
                <a:gd name="connsiteX14" fmla="*/ 927130 w 1306181"/>
                <a:gd name="connsiteY14" fmla="*/ 82643 h 380318"/>
                <a:gd name="connsiteX15" fmla="*/ 902411 w 1306181"/>
                <a:gd name="connsiteY15" fmla="*/ 74555 h 380318"/>
                <a:gd name="connsiteX16" fmla="*/ 892791 w 1306181"/>
                <a:gd name="connsiteY16" fmla="*/ 75190 h 380318"/>
                <a:gd name="connsiteX17" fmla="*/ 886215 w 1306181"/>
                <a:gd name="connsiteY17" fmla="*/ 66065 h 380318"/>
                <a:gd name="connsiteX18" fmla="*/ 849685 w 1306181"/>
                <a:gd name="connsiteY18" fmla="*/ 61920 h 380318"/>
                <a:gd name="connsiteX19" fmla="*/ 855530 w 1306181"/>
                <a:gd name="connsiteY19" fmla="*/ 55737 h 380318"/>
                <a:gd name="connsiteX20" fmla="*/ 853460 w 1306181"/>
                <a:gd name="connsiteY20" fmla="*/ 42802 h 380318"/>
                <a:gd name="connsiteX21" fmla="*/ 826386 w 1306181"/>
                <a:gd name="connsiteY21" fmla="*/ 30569 h 380318"/>
                <a:gd name="connsiteX22" fmla="*/ 790059 w 1306181"/>
                <a:gd name="connsiteY22" fmla="*/ 20375 h 380318"/>
                <a:gd name="connsiteX23" fmla="*/ 763026 w 1306181"/>
                <a:gd name="connsiteY23" fmla="*/ 21879 h 380318"/>
                <a:gd name="connsiteX24" fmla="*/ 701695 w 1306181"/>
                <a:gd name="connsiteY24" fmla="*/ 17968 h 380318"/>
                <a:gd name="connsiteX25" fmla="*/ 661714 w 1306181"/>
                <a:gd name="connsiteY25" fmla="*/ 13991 h 380318"/>
                <a:gd name="connsiteX26" fmla="*/ 605294 w 1306181"/>
                <a:gd name="connsiteY26" fmla="*/ 8810 h 380318"/>
                <a:gd name="connsiteX27" fmla="*/ 562756 w 1306181"/>
                <a:gd name="connsiteY27" fmla="*/ 7340 h 380318"/>
                <a:gd name="connsiteX28" fmla="*/ 521517 w 1306181"/>
                <a:gd name="connsiteY28" fmla="*/ 87 h 380318"/>
                <a:gd name="connsiteX29" fmla="*/ 514170 w 1306181"/>
                <a:gd name="connsiteY29" fmla="*/ 14024 h 380318"/>
                <a:gd name="connsiteX30" fmla="*/ 541162 w 1306181"/>
                <a:gd name="connsiteY30" fmla="*/ 26625 h 380318"/>
                <a:gd name="connsiteX31" fmla="*/ 496879 w 1306181"/>
                <a:gd name="connsiteY31" fmla="*/ 25388 h 380318"/>
                <a:gd name="connsiteX32" fmla="*/ 492251 w 1306181"/>
                <a:gd name="connsiteY32" fmla="*/ 37856 h 380318"/>
                <a:gd name="connsiteX33" fmla="*/ 470049 w 1306181"/>
                <a:gd name="connsiteY33" fmla="*/ 42669 h 380318"/>
                <a:gd name="connsiteX34" fmla="*/ 508812 w 1306181"/>
                <a:gd name="connsiteY34" fmla="*/ 64761 h 380318"/>
                <a:gd name="connsiteX35" fmla="*/ 494524 w 1306181"/>
                <a:gd name="connsiteY35" fmla="*/ 74454 h 380318"/>
                <a:gd name="connsiteX36" fmla="*/ 463392 w 1306181"/>
                <a:gd name="connsiteY36" fmla="*/ 63859 h 380318"/>
                <a:gd name="connsiteX37" fmla="*/ 452879 w 1306181"/>
                <a:gd name="connsiteY37" fmla="*/ 69006 h 380318"/>
                <a:gd name="connsiteX38" fmla="*/ 435304 w 1306181"/>
                <a:gd name="connsiteY38" fmla="*/ 62121 h 380318"/>
                <a:gd name="connsiteX39" fmla="*/ 383511 w 1306181"/>
                <a:gd name="connsiteY39" fmla="*/ 47248 h 380318"/>
                <a:gd name="connsiteX40" fmla="*/ 331963 w 1306181"/>
                <a:gd name="connsiteY40" fmla="*/ 43471 h 380318"/>
                <a:gd name="connsiteX41" fmla="*/ 301317 w 1306181"/>
                <a:gd name="connsiteY41" fmla="*/ 40128 h 380318"/>
                <a:gd name="connsiteX42" fmla="*/ 288369 w 1306181"/>
                <a:gd name="connsiteY42" fmla="*/ 34647 h 380318"/>
                <a:gd name="connsiteX43" fmla="*/ 280698 w 1306181"/>
                <a:gd name="connsiteY43" fmla="*/ 39259 h 380318"/>
                <a:gd name="connsiteX44" fmla="*/ 234831 w 1306181"/>
                <a:gd name="connsiteY44" fmla="*/ 12888 h 380318"/>
                <a:gd name="connsiteX45" fmla="*/ 211654 w 1306181"/>
                <a:gd name="connsiteY45" fmla="*/ 4398 h 380318"/>
                <a:gd name="connsiteX46" fmla="*/ 181374 w 1306181"/>
                <a:gd name="connsiteY46" fmla="*/ 4064 h 380318"/>
                <a:gd name="connsiteX47" fmla="*/ 147239 w 1306181"/>
                <a:gd name="connsiteY47" fmla="*/ 521 h 380318"/>
                <a:gd name="connsiteX48" fmla="*/ 110708 w 1306181"/>
                <a:gd name="connsiteY48" fmla="*/ 3864 h 380318"/>
                <a:gd name="connsiteX49" fmla="*/ 101250 w 1306181"/>
                <a:gd name="connsiteY49" fmla="*/ 7406 h 380318"/>
                <a:gd name="connsiteX50" fmla="*/ 84324 w 1306181"/>
                <a:gd name="connsiteY50" fmla="*/ 10448 h 380318"/>
                <a:gd name="connsiteX51" fmla="*/ 76206 w 1306181"/>
                <a:gd name="connsiteY51" fmla="*/ 27628 h 380318"/>
                <a:gd name="connsiteX52" fmla="*/ 52340 w 1306181"/>
                <a:gd name="connsiteY52" fmla="*/ 13055 h 380318"/>
                <a:gd name="connsiteX53" fmla="*/ 24901 w 1306181"/>
                <a:gd name="connsiteY53" fmla="*/ 21043 h 380318"/>
                <a:gd name="connsiteX54" fmla="*/ 20314 w 1306181"/>
                <a:gd name="connsiteY54" fmla="*/ 33009 h 380318"/>
                <a:gd name="connsiteX55" fmla="*/ 1318 w 1306181"/>
                <a:gd name="connsiteY55" fmla="*/ 43404 h 380318"/>
                <a:gd name="connsiteX56" fmla="*/ 14591 w 1306181"/>
                <a:gd name="connsiteY56" fmla="*/ 52829 h 380318"/>
                <a:gd name="connsiteX57" fmla="*/ 21572 w 1306181"/>
                <a:gd name="connsiteY57" fmla="*/ 66533 h 380318"/>
                <a:gd name="connsiteX58" fmla="*/ 56723 w 1306181"/>
                <a:gd name="connsiteY58" fmla="*/ 78031 h 380318"/>
                <a:gd name="connsiteX59" fmla="*/ 70726 w 1306181"/>
                <a:gd name="connsiteY59" fmla="*/ 91400 h 380318"/>
                <a:gd name="connsiteX60" fmla="*/ 59037 w 1306181"/>
                <a:gd name="connsiteY60" fmla="*/ 96748 h 380318"/>
                <a:gd name="connsiteX61" fmla="*/ 75272 w 1306181"/>
                <a:gd name="connsiteY61" fmla="*/ 104769 h 380318"/>
                <a:gd name="connsiteX62" fmla="*/ 92726 w 1306181"/>
                <a:gd name="connsiteY62" fmla="*/ 104134 h 380318"/>
                <a:gd name="connsiteX63" fmla="*/ 140866 w 1306181"/>
                <a:gd name="connsiteY63" fmla="*/ 100792 h 380318"/>
                <a:gd name="connsiteX64" fmla="*/ 188884 w 1306181"/>
                <a:gd name="connsiteY64" fmla="*/ 109348 h 380318"/>
                <a:gd name="connsiteX65" fmla="*/ 205120 w 1306181"/>
                <a:gd name="connsiteY65" fmla="*/ 131408 h 380318"/>
                <a:gd name="connsiteX66" fmla="*/ 193267 w 1306181"/>
                <a:gd name="connsiteY66" fmla="*/ 144243 h 380318"/>
                <a:gd name="connsiteX67" fmla="*/ 150972 w 1306181"/>
                <a:gd name="connsiteY67" fmla="*/ 138895 h 380318"/>
                <a:gd name="connsiteX68" fmla="*/ 130921 w 1306181"/>
                <a:gd name="connsiteY68" fmla="*/ 144945 h 380318"/>
                <a:gd name="connsiteX69" fmla="*/ 122803 w 1306181"/>
                <a:gd name="connsiteY69" fmla="*/ 151629 h 380318"/>
                <a:gd name="connsiteX70" fmla="*/ 101453 w 1306181"/>
                <a:gd name="connsiteY70" fmla="*/ 152599 h 380318"/>
                <a:gd name="connsiteX71" fmla="*/ 126944 w 1306181"/>
                <a:gd name="connsiteY71" fmla="*/ 165968 h 380318"/>
                <a:gd name="connsiteX72" fmla="*/ 131530 w 1306181"/>
                <a:gd name="connsiteY72" fmla="*/ 182680 h 380318"/>
                <a:gd name="connsiteX73" fmla="*/ 142367 w 1306181"/>
                <a:gd name="connsiteY73" fmla="*/ 185621 h 380318"/>
                <a:gd name="connsiteX74" fmla="*/ 156574 w 1306181"/>
                <a:gd name="connsiteY74" fmla="*/ 193542 h 380318"/>
                <a:gd name="connsiteX75" fmla="*/ 166965 w 1306181"/>
                <a:gd name="connsiteY75" fmla="*/ 206076 h 380318"/>
                <a:gd name="connsiteX76" fmla="*/ 170131 w 1306181"/>
                <a:gd name="connsiteY76" fmla="*/ 223757 h 380318"/>
                <a:gd name="connsiteX77" fmla="*/ 182064 w 1306181"/>
                <a:gd name="connsiteY77" fmla="*/ 215235 h 380318"/>
                <a:gd name="connsiteX78" fmla="*/ 204307 w 1306181"/>
                <a:gd name="connsiteY78" fmla="*/ 209352 h 380318"/>
                <a:gd name="connsiteX79" fmla="*/ 231787 w 1306181"/>
                <a:gd name="connsiteY79" fmla="*/ 217139 h 380318"/>
                <a:gd name="connsiteX80" fmla="*/ 263488 w 1306181"/>
                <a:gd name="connsiteY80" fmla="*/ 239132 h 380318"/>
                <a:gd name="connsiteX81" fmla="*/ 277328 w 1306181"/>
                <a:gd name="connsiteY81" fmla="*/ 225763 h 380318"/>
                <a:gd name="connsiteX82" fmla="*/ 294498 w 1306181"/>
                <a:gd name="connsiteY82" fmla="*/ 166135 h 380318"/>
                <a:gd name="connsiteX83" fmla="*/ 381401 w 1306181"/>
                <a:gd name="connsiteY83" fmla="*/ 165032 h 380318"/>
                <a:gd name="connsiteX84" fmla="*/ 410504 w 1306181"/>
                <a:gd name="connsiteY84" fmla="*/ 170480 h 380318"/>
                <a:gd name="connsiteX85" fmla="*/ 425725 w 1306181"/>
                <a:gd name="connsiteY85" fmla="*/ 164865 h 380318"/>
                <a:gd name="connsiteX86" fmla="*/ 430758 w 1306181"/>
                <a:gd name="connsiteY86" fmla="*/ 176029 h 380318"/>
                <a:gd name="connsiteX87" fmla="*/ 443868 w 1306181"/>
                <a:gd name="connsiteY87" fmla="*/ 197353 h 380318"/>
                <a:gd name="connsiteX88" fmla="*/ 477679 w 1306181"/>
                <a:gd name="connsiteY88" fmla="*/ 230776 h 380318"/>
                <a:gd name="connsiteX89" fmla="*/ 508447 w 1306181"/>
                <a:gd name="connsiteY89" fmla="*/ 233684 h 380318"/>
                <a:gd name="connsiteX90" fmla="*/ 535885 w 1306181"/>
                <a:gd name="connsiteY90" fmla="*/ 239834 h 380318"/>
                <a:gd name="connsiteX91" fmla="*/ 571482 w 1306181"/>
                <a:gd name="connsiteY91" fmla="*/ 246920 h 380318"/>
                <a:gd name="connsiteX92" fmla="*/ 594862 w 1306181"/>
                <a:gd name="connsiteY92" fmla="*/ 260289 h 380318"/>
                <a:gd name="connsiteX93" fmla="*/ 602980 w 1306181"/>
                <a:gd name="connsiteY93" fmla="*/ 280076 h 380318"/>
                <a:gd name="connsiteX94" fmla="*/ 621570 w 1306181"/>
                <a:gd name="connsiteY94" fmla="*/ 305244 h 380318"/>
                <a:gd name="connsiteX95" fmla="*/ 659197 w 1306181"/>
                <a:gd name="connsiteY95" fmla="*/ 317344 h 380318"/>
                <a:gd name="connsiteX96" fmla="*/ 677463 w 1306181"/>
                <a:gd name="connsiteY96" fmla="*/ 325933 h 380318"/>
                <a:gd name="connsiteX97" fmla="*/ 706728 w 1306181"/>
                <a:gd name="connsiteY97" fmla="*/ 317878 h 380318"/>
                <a:gd name="connsiteX98" fmla="*/ 729823 w 1306181"/>
                <a:gd name="connsiteY98" fmla="*/ 319015 h 380318"/>
                <a:gd name="connsiteX99" fmla="*/ 746627 w 1306181"/>
                <a:gd name="connsiteY99" fmla="*/ 313333 h 380318"/>
                <a:gd name="connsiteX100" fmla="*/ 771509 w 1306181"/>
                <a:gd name="connsiteY100" fmla="*/ 304977 h 380318"/>
                <a:gd name="connsiteX101" fmla="*/ 806091 w 1306181"/>
                <a:gd name="connsiteY101" fmla="*/ 312196 h 380318"/>
                <a:gd name="connsiteX102" fmla="*/ 838563 w 1306181"/>
                <a:gd name="connsiteY102" fmla="*/ 321388 h 380318"/>
                <a:gd name="connsiteX103" fmla="*/ 867504 w 1306181"/>
                <a:gd name="connsiteY103" fmla="*/ 316775 h 380318"/>
                <a:gd name="connsiteX104" fmla="*/ 909027 w 1306181"/>
                <a:gd name="connsiteY104" fmla="*/ 334456 h 380318"/>
                <a:gd name="connsiteX105" fmla="*/ 957045 w 1306181"/>
                <a:gd name="connsiteY105" fmla="*/ 344918 h 380318"/>
                <a:gd name="connsiteX106" fmla="*/ 1004616 w 1306181"/>
                <a:gd name="connsiteY106" fmla="*/ 359758 h 380318"/>
                <a:gd name="connsiteX107" fmla="*/ 1021420 w 1306181"/>
                <a:gd name="connsiteY107" fmla="*/ 368214 h 380318"/>
                <a:gd name="connsiteX108" fmla="*/ 1045408 w 1306181"/>
                <a:gd name="connsiteY108" fmla="*/ 379979 h 380318"/>
                <a:gd name="connsiteX109" fmla="*/ 1059453 w 1306181"/>
                <a:gd name="connsiteY109" fmla="*/ 367780 h 380318"/>
                <a:gd name="connsiteX110" fmla="*/ 1067205 w 1306181"/>
                <a:gd name="connsiteY110" fmla="*/ 356549 h 380318"/>
                <a:gd name="connsiteX111" fmla="*/ 1062213 w 1306181"/>
                <a:gd name="connsiteY111" fmla="*/ 325599 h 380318"/>
                <a:gd name="connsiteX112" fmla="*/ 1087825 w 1306181"/>
                <a:gd name="connsiteY112" fmla="*/ 327270 h 380318"/>
                <a:gd name="connsiteX113" fmla="*/ 1108119 w 1306181"/>
                <a:gd name="connsiteY113" fmla="*/ 328975 h 380318"/>
                <a:gd name="connsiteX114" fmla="*/ 1124355 w 1306181"/>
                <a:gd name="connsiteY114" fmla="*/ 336729 h 380318"/>
                <a:gd name="connsiteX115" fmla="*/ 1135964 w 1306181"/>
                <a:gd name="connsiteY115" fmla="*/ 331582 h 380318"/>
                <a:gd name="connsiteX116" fmla="*/ 1145990 w 1306181"/>
                <a:gd name="connsiteY116" fmla="*/ 320719 h 380318"/>
                <a:gd name="connsiteX117" fmla="*/ 1178462 w 1306181"/>
                <a:gd name="connsiteY117" fmla="*/ 305578 h 380318"/>
                <a:gd name="connsiteX118" fmla="*/ 1244461 w 1306181"/>
                <a:gd name="connsiteY118" fmla="*/ 322992 h 380318"/>
                <a:gd name="connsiteX119" fmla="*/ 1269423 w 1306181"/>
                <a:gd name="connsiteY119" fmla="*/ 300231 h 380318"/>
                <a:gd name="connsiteX120" fmla="*/ 1291707 w 1306181"/>
                <a:gd name="connsiteY120" fmla="*/ 296019 h 380318"/>
                <a:gd name="connsiteX121" fmla="*/ 1302869 w 1306181"/>
                <a:gd name="connsiteY121" fmla="*/ 290872 h 380318"/>
                <a:gd name="connsiteX122" fmla="*/ 1302869 w 1306181"/>
                <a:gd name="connsiteY122" fmla="*/ 280845 h 380318"/>
                <a:gd name="connsiteX123" fmla="*/ 476299 w 1306181"/>
                <a:gd name="connsiteY123" fmla="*/ 171149 h 380318"/>
                <a:gd name="connsiteX124" fmla="*/ 433721 w 1306181"/>
                <a:gd name="connsiteY124" fmla="*/ 157044 h 380318"/>
                <a:gd name="connsiteX125" fmla="*/ 476299 w 1306181"/>
                <a:gd name="connsiteY125" fmla="*/ 171082 h 380318"/>
                <a:gd name="connsiteX126" fmla="*/ 1008431 w 1306181"/>
                <a:gd name="connsiteY126" fmla="*/ 281045 h 380318"/>
                <a:gd name="connsiteX127" fmla="*/ 899245 w 1306181"/>
                <a:gd name="connsiteY127" fmla="*/ 262161 h 380318"/>
                <a:gd name="connsiteX128" fmla="*/ 881385 w 1306181"/>
                <a:gd name="connsiteY128" fmla="*/ 272957 h 380318"/>
                <a:gd name="connsiteX129" fmla="*/ 875459 w 1306181"/>
                <a:gd name="connsiteY129" fmla="*/ 279241 h 380318"/>
                <a:gd name="connsiteX130" fmla="*/ 871847 w 1306181"/>
                <a:gd name="connsiteY130" fmla="*/ 257415 h 380318"/>
                <a:gd name="connsiteX131" fmla="*/ 984159 w 1306181"/>
                <a:gd name="connsiteY131" fmla="*/ 270016 h 380318"/>
                <a:gd name="connsiteX132" fmla="*/ 1041593 w 1306181"/>
                <a:gd name="connsiteY132" fmla="*/ 280611 h 380318"/>
                <a:gd name="connsiteX133" fmla="*/ 1042121 w 1306181"/>
                <a:gd name="connsiteY133" fmla="*/ 283953 h 380318"/>
                <a:gd name="connsiteX134" fmla="*/ 1008431 w 1306181"/>
                <a:gd name="connsiteY134" fmla="*/ 280979 h 38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306181" h="380318">
                  <a:moveTo>
                    <a:pt x="1302626" y="281447"/>
                  </a:moveTo>
                  <a:cubicBezTo>
                    <a:pt x="1303031" y="278104"/>
                    <a:pt x="1253350" y="276433"/>
                    <a:pt x="1252944" y="259454"/>
                  </a:cubicBezTo>
                  <a:cubicBezTo>
                    <a:pt x="1252944" y="254674"/>
                    <a:pt x="1237683" y="250864"/>
                    <a:pt x="1233866" y="245449"/>
                  </a:cubicBezTo>
                  <a:cubicBezTo>
                    <a:pt x="1229077" y="238598"/>
                    <a:pt x="1225748" y="229206"/>
                    <a:pt x="1210690" y="225395"/>
                  </a:cubicBezTo>
                  <a:cubicBezTo>
                    <a:pt x="1198513" y="222454"/>
                    <a:pt x="1186336" y="225395"/>
                    <a:pt x="1174159" y="221886"/>
                  </a:cubicBezTo>
                  <a:cubicBezTo>
                    <a:pt x="1160115" y="217741"/>
                    <a:pt x="1147613" y="212126"/>
                    <a:pt x="1140389" y="204238"/>
                  </a:cubicBezTo>
                  <a:cubicBezTo>
                    <a:pt x="1123787" y="186189"/>
                    <a:pt x="1110961" y="215435"/>
                    <a:pt x="1099799" y="194746"/>
                  </a:cubicBezTo>
                  <a:cubicBezTo>
                    <a:pt x="1091519" y="177860"/>
                    <a:pt x="1081777" y="161486"/>
                    <a:pt x="1070656" y="145747"/>
                  </a:cubicBezTo>
                  <a:cubicBezTo>
                    <a:pt x="1064405" y="136659"/>
                    <a:pt x="1056530" y="128400"/>
                    <a:pt x="1047276" y="121247"/>
                  </a:cubicBezTo>
                  <a:cubicBezTo>
                    <a:pt x="1040700" y="116401"/>
                    <a:pt x="1018863" y="108747"/>
                    <a:pt x="1027793" y="103266"/>
                  </a:cubicBezTo>
                  <a:cubicBezTo>
                    <a:pt x="1034693" y="99154"/>
                    <a:pt x="1034490" y="97283"/>
                    <a:pt x="1018660" y="95411"/>
                  </a:cubicBezTo>
                  <a:cubicBezTo>
                    <a:pt x="1005266" y="93840"/>
                    <a:pt x="987122" y="96079"/>
                    <a:pt x="974011" y="96447"/>
                  </a:cubicBezTo>
                  <a:cubicBezTo>
                    <a:pt x="961672" y="96781"/>
                    <a:pt x="949333" y="96153"/>
                    <a:pt x="937156" y="94575"/>
                  </a:cubicBezTo>
                  <a:cubicBezTo>
                    <a:pt x="936750" y="94575"/>
                    <a:pt x="902533" y="94575"/>
                    <a:pt x="917064" y="89328"/>
                  </a:cubicBezTo>
                  <a:cubicBezTo>
                    <a:pt x="918606" y="88760"/>
                    <a:pt x="941215" y="84715"/>
                    <a:pt x="927130" y="82643"/>
                  </a:cubicBezTo>
                  <a:cubicBezTo>
                    <a:pt x="918038" y="81406"/>
                    <a:pt x="909473" y="74722"/>
                    <a:pt x="902411" y="74555"/>
                  </a:cubicBezTo>
                  <a:cubicBezTo>
                    <a:pt x="897987" y="74555"/>
                    <a:pt x="899164" y="79568"/>
                    <a:pt x="892791" y="75190"/>
                  </a:cubicBezTo>
                  <a:cubicBezTo>
                    <a:pt x="888407" y="72181"/>
                    <a:pt x="893075" y="68906"/>
                    <a:pt x="886215" y="66065"/>
                  </a:cubicBezTo>
                  <a:cubicBezTo>
                    <a:pt x="878097" y="62723"/>
                    <a:pt x="858290" y="70444"/>
                    <a:pt x="849685" y="61920"/>
                  </a:cubicBezTo>
                  <a:cubicBezTo>
                    <a:pt x="846397" y="58578"/>
                    <a:pt x="854271" y="57943"/>
                    <a:pt x="855530" y="55737"/>
                  </a:cubicBezTo>
                  <a:cubicBezTo>
                    <a:pt x="857762" y="51760"/>
                    <a:pt x="850537" y="46780"/>
                    <a:pt x="853460" y="42802"/>
                  </a:cubicBezTo>
                  <a:cubicBezTo>
                    <a:pt x="859020" y="35282"/>
                    <a:pt x="833165" y="32207"/>
                    <a:pt x="826386" y="30569"/>
                  </a:cubicBezTo>
                  <a:cubicBezTo>
                    <a:pt x="812504" y="27227"/>
                    <a:pt x="804995" y="22113"/>
                    <a:pt x="790059" y="20375"/>
                  </a:cubicBezTo>
                  <a:cubicBezTo>
                    <a:pt x="777435" y="18904"/>
                    <a:pt x="773051" y="21344"/>
                    <a:pt x="763026" y="21879"/>
                  </a:cubicBezTo>
                  <a:cubicBezTo>
                    <a:pt x="744963" y="22815"/>
                    <a:pt x="720812" y="19874"/>
                    <a:pt x="701695" y="17968"/>
                  </a:cubicBezTo>
                  <a:cubicBezTo>
                    <a:pt x="688787" y="16665"/>
                    <a:pt x="674337" y="13924"/>
                    <a:pt x="661714" y="13991"/>
                  </a:cubicBezTo>
                  <a:cubicBezTo>
                    <a:pt x="641825" y="13991"/>
                    <a:pt x="625183" y="10649"/>
                    <a:pt x="605294" y="8810"/>
                  </a:cubicBezTo>
                  <a:cubicBezTo>
                    <a:pt x="590113" y="7507"/>
                    <a:pt x="578180" y="10582"/>
                    <a:pt x="562756" y="7340"/>
                  </a:cubicBezTo>
                  <a:cubicBezTo>
                    <a:pt x="549118" y="4465"/>
                    <a:pt x="535317" y="2393"/>
                    <a:pt x="521517" y="87"/>
                  </a:cubicBezTo>
                  <a:cubicBezTo>
                    <a:pt x="508812" y="-2052"/>
                    <a:pt x="511045" y="9913"/>
                    <a:pt x="514170" y="14024"/>
                  </a:cubicBezTo>
                  <a:cubicBezTo>
                    <a:pt x="518229" y="19305"/>
                    <a:pt x="539538" y="21879"/>
                    <a:pt x="541162" y="26625"/>
                  </a:cubicBezTo>
                  <a:cubicBezTo>
                    <a:pt x="541811" y="28497"/>
                    <a:pt x="500572" y="21177"/>
                    <a:pt x="496879" y="25388"/>
                  </a:cubicBezTo>
                  <a:cubicBezTo>
                    <a:pt x="493185" y="29600"/>
                    <a:pt x="500938" y="35683"/>
                    <a:pt x="492251" y="37856"/>
                  </a:cubicBezTo>
                  <a:cubicBezTo>
                    <a:pt x="486609" y="39259"/>
                    <a:pt x="468547" y="37856"/>
                    <a:pt x="470049" y="42669"/>
                  </a:cubicBezTo>
                  <a:cubicBezTo>
                    <a:pt x="473377" y="53598"/>
                    <a:pt x="507797" y="52963"/>
                    <a:pt x="508812" y="64761"/>
                  </a:cubicBezTo>
                  <a:cubicBezTo>
                    <a:pt x="509299" y="70678"/>
                    <a:pt x="507675" y="75658"/>
                    <a:pt x="494524" y="74454"/>
                  </a:cubicBezTo>
                  <a:cubicBezTo>
                    <a:pt x="479668" y="73117"/>
                    <a:pt x="475609" y="67368"/>
                    <a:pt x="463392" y="63859"/>
                  </a:cubicBezTo>
                  <a:cubicBezTo>
                    <a:pt x="457506" y="62188"/>
                    <a:pt x="455274" y="67569"/>
                    <a:pt x="452879" y="69006"/>
                  </a:cubicBezTo>
                  <a:cubicBezTo>
                    <a:pt x="446344" y="73017"/>
                    <a:pt x="441758" y="63224"/>
                    <a:pt x="435304" y="62121"/>
                  </a:cubicBezTo>
                  <a:cubicBezTo>
                    <a:pt x="416551" y="58779"/>
                    <a:pt x="405633" y="40362"/>
                    <a:pt x="383511" y="47248"/>
                  </a:cubicBezTo>
                  <a:cubicBezTo>
                    <a:pt x="370279" y="51325"/>
                    <a:pt x="345722" y="31572"/>
                    <a:pt x="331963" y="43471"/>
                  </a:cubicBezTo>
                  <a:cubicBezTo>
                    <a:pt x="326321" y="48350"/>
                    <a:pt x="308015" y="43471"/>
                    <a:pt x="301317" y="40128"/>
                  </a:cubicBezTo>
                  <a:cubicBezTo>
                    <a:pt x="297299" y="37835"/>
                    <a:pt x="292955" y="35990"/>
                    <a:pt x="288369" y="34647"/>
                  </a:cubicBezTo>
                  <a:cubicBezTo>
                    <a:pt x="280778" y="33009"/>
                    <a:pt x="284878" y="38591"/>
                    <a:pt x="280698" y="39259"/>
                  </a:cubicBezTo>
                  <a:cubicBezTo>
                    <a:pt x="285568" y="38457"/>
                    <a:pt x="243477" y="15027"/>
                    <a:pt x="234831" y="12888"/>
                  </a:cubicBezTo>
                  <a:cubicBezTo>
                    <a:pt x="224278" y="10281"/>
                    <a:pt x="218798" y="8877"/>
                    <a:pt x="211654" y="4398"/>
                  </a:cubicBezTo>
                  <a:cubicBezTo>
                    <a:pt x="198097" y="-4124"/>
                    <a:pt x="190994" y="7005"/>
                    <a:pt x="181374" y="4064"/>
                  </a:cubicBezTo>
                  <a:cubicBezTo>
                    <a:pt x="166924" y="-314"/>
                    <a:pt x="163353" y="-1284"/>
                    <a:pt x="147239" y="521"/>
                  </a:cubicBezTo>
                  <a:cubicBezTo>
                    <a:pt x="135954" y="1791"/>
                    <a:pt x="123372" y="5669"/>
                    <a:pt x="110708" y="3864"/>
                  </a:cubicBezTo>
                  <a:cubicBezTo>
                    <a:pt x="104903" y="3095"/>
                    <a:pt x="103645" y="5535"/>
                    <a:pt x="101250" y="7406"/>
                  </a:cubicBezTo>
                  <a:cubicBezTo>
                    <a:pt x="97191" y="10749"/>
                    <a:pt x="90128" y="8777"/>
                    <a:pt x="84324" y="10448"/>
                  </a:cubicBezTo>
                  <a:cubicBezTo>
                    <a:pt x="72147" y="13790"/>
                    <a:pt x="93985" y="26592"/>
                    <a:pt x="76206" y="27628"/>
                  </a:cubicBezTo>
                  <a:cubicBezTo>
                    <a:pt x="64030" y="28397"/>
                    <a:pt x="59321" y="16765"/>
                    <a:pt x="52340" y="13055"/>
                  </a:cubicBezTo>
                  <a:cubicBezTo>
                    <a:pt x="36104" y="4465"/>
                    <a:pt x="34074" y="19005"/>
                    <a:pt x="24901" y="21043"/>
                  </a:cubicBezTo>
                  <a:cubicBezTo>
                    <a:pt x="10532" y="24386"/>
                    <a:pt x="9193" y="26826"/>
                    <a:pt x="20314" y="33009"/>
                  </a:cubicBezTo>
                  <a:cubicBezTo>
                    <a:pt x="23642" y="34847"/>
                    <a:pt x="3835" y="40563"/>
                    <a:pt x="1318" y="43404"/>
                  </a:cubicBezTo>
                  <a:cubicBezTo>
                    <a:pt x="-3999" y="49386"/>
                    <a:pt x="7285" y="49453"/>
                    <a:pt x="14591" y="52829"/>
                  </a:cubicBezTo>
                  <a:cubicBezTo>
                    <a:pt x="21897" y="56205"/>
                    <a:pt x="8949" y="67101"/>
                    <a:pt x="21572" y="66533"/>
                  </a:cubicBezTo>
                  <a:cubicBezTo>
                    <a:pt x="39960" y="65697"/>
                    <a:pt x="48281" y="69508"/>
                    <a:pt x="56723" y="78031"/>
                  </a:cubicBezTo>
                  <a:cubicBezTo>
                    <a:pt x="60782" y="82175"/>
                    <a:pt x="68900" y="86888"/>
                    <a:pt x="70726" y="91400"/>
                  </a:cubicBezTo>
                  <a:cubicBezTo>
                    <a:pt x="72553" y="95912"/>
                    <a:pt x="55790" y="92603"/>
                    <a:pt x="59037" y="96748"/>
                  </a:cubicBezTo>
                  <a:cubicBezTo>
                    <a:pt x="61797" y="100090"/>
                    <a:pt x="70159" y="102330"/>
                    <a:pt x="75272" y="104769"/>
                  </a:cubicBezTo>
                  <a:cubicBezTo>
                    <a:pt x="83390" y="108647"/>
                    <a:pt x="84690" y="105973"/>
                    <a:pt x="92726" y="104134"/>
                  </a:cubicBezTo>
                  <a:cubicBezTo>
                    <a:pt x="108353" y="100471"/>
                    <a:pt x="124711" y="99335"/>
                    <a:pt x="140866" y="100792"/>
                  </a:cubicBezTo>
                  <a:cubicBezTo>
                    <a:pt x="156412" y="102330"/>
                    <a:pt x="173337" y="106708"/>
                    <a:pt x="188884" y="109348"/>
                  </a:cubicBezTo>
                  <a:cubicBezTo>
                    <a:pt x="209544" y="112891"/>
                    <a:pt x="208407" y="122985"/>
                    <a:pt x="205120" y="131408"/>
                  </a:cubicBezTo>
                  <a:cubicBezTo>
                    <a:pt x="202887" y="136856"/>
                    <a:pt x="207068" y="144778"/>
                    <a:pt x="193267" y="144243"/>
                  </a:cubicBezTo>
                  <a:cubicBezTo>
                    <a:pt x="179467" y="143708"/>
                    <a:pt x="165463" y="139329"/>
                    <a:pt x="150972" y="138895"/>
                  </a:cubicBezTo>
                  <a:cubicBezTo>
                    <a:pt x="141880" y="138628"/>
                    <a:pt x="126984" y="138226"/>
                    <a:pt x="130921" y="144945"/>
                  </a:cubicBezTo>
                  <a:cubicBezTo>
                    <a:pt x="133884" y="149992"/>
                    <a:pt x="137212" y="158080"/>
                    <a:pt x="122803" y="151629"/>
                  </a:cubicBezTo>
                  <a:cubicBezTo>
                    <a:pt x="117567" y="149223"/>
                    <a:pt x="99708" y="145981"/>
                    <a:pt x="101453" y="152599"/>
                  </a:cubicBezTo>
                  <a:cubicBezTo>
                    <a:pt x="102346" y="155941"/>
                    <a:pt x="123128" y="160620"/>
                    <a:pt x="126944" y="165968"/>
                  </a:cubicBezTo>
                  <a:cubicBezTo>
                    <a:pt x="130231" y="170681"/>
                    <a:pt x="122519" y="178769"/>
                    <a:pt x="131530" y="182680"/>
                  </a:cubicBezTo>
                  <a:cubicBezTo>
                    <a:pt x="135589" y="184418"/>
                    <a:pt x="138958" y="182847"/>
                    <a:pt x="142367" y="185621"/>
                  </a:cubicBezTo>
                  <a:cubicBezTo>
                    <a:pt x="146426" y="188963"/>
                    <a:pt x="148537" y="192707"/>
                    <a:pt x="156574" y="193542"/>
                  </a:cubicBezTo>
                  <a:cubicBezTo>
                    <a:pt x="177559" y="195782"/>
                    <a:pt x="173135" y="199425"/>
                    <a:pt x="166965" y="206076"/>
                  </a:cubicBezTo>
                  <a:cubicBezTo>
                    <a:pt x="162540" y="210856"/>
                    <a:pt x="165423" y="218543"/>
                    <a:pt x="170131" y="223757"/>
                  </a:cubicBezTo>
                  <a:cubicBezTo>
                    <a:pt x="177194" y="231545"/>
                    <a:pt x="179304" y="217073"/>
                    <a:pt x="182064" y="215235"/>
                  </a:cubicBezTo>
                  <a:cubicBezTo>
                    <a:pt x="178005" y="207647"/>
                    <a:pt x="195337" y="208550"/>
                    <a:pt x="204307" y="209352"/>
                  </a:cubicBezTo>
                  <a:cubicBezTo>
                    <a:pt x="214171" y="209823"/>
                    <a:pt x="223669" y="212517"/>
                    <a:pt x="231787" y="217139"/>
                  </a:cubicBezTo>
                  <a:cubicBezTo>
                    <a:pt x="241203" y="222688"/>
                    <a:pt x="250702" y="236659"/>
                    <a:pt x="263488" y="239132"/>
                  </a:cubicBezTo>
                  <a:cubicBezTo>
                    <a:pt x="278424" y="242007"/>
                    <a:pt x="275665" y="230877"/>
                    <a:pt x="277328" y="225763"/>
                  </a:cubicBezTo>
                  <a:lnTo>
                    <a:pt x="294498" y="166135"/>
                  </a:lnTo>
                  <a:cubicBezTo>
                    <a:pt x="295959" y="161021"/>
                    <a:pt x="370929" y="170280"/>
                    <a:pt x="381401" y="165032"/>
                  </a:cubicBezTo>
                  <a:cubicBezTo>
                    <a:pt x="391873" y="159785"/>
                    <a:pt x="402101" y="165333"/>
                    <a:pt x="410504" y="170480"/>
                  </a:cubicBezTo>
                  <a:cubicBezTo>
                    <a:pt x="411031" y="170814"/>
                    <a:pt x="419474" y="163495"/>
                    <a:pt x="425725" y="164865"/>
                  </a:cubicBezTo>
                  <a:cubicBezTo>
                    <a:pt x="436603" y="167272"/>
                    <a:pt x="422315" y="174591"/>
                    <a:pt x="430758" y="176029"/>
                  </a:cubicBezTo>
                  <a:cubicBezTo>
                    <a:pt x="442610" y="178101"/>
                    <a:pt x="445046" y="193108"/>
                    <a:pt x="443868" y="197353"/>
                  </a:cubicBezTo>
                  <a:cubicBezTo>
                    <a:pt x="442691" y="201598"/>
                    <a:pt x="467898" y="228671"/>
                    <a:pt x="477679" y="230776"/>
                  </a:cubicBezTo>
                  <a:cubicBezTo>
                    <a:pt x="487462" y="232882"/>
                    <a:pt x="498421" y="232648"/>
                    <a:pt x="508447" y="233684"/>
                  </a:cubicBezTo>
                  <a:cubicBezTo>
                    <a:pt x="517336" y="234620"/>
                    <a:pt x="527118" y="238029"/>
                    <a:pt x="535885" y="239834"/>
                  </a:cubicBezTo>
                  <a:cubicBezTo>
                    <a:pt x="547737" y="242308"/>
                    <a:pt x="559590" y="244614"/>
                    <a:pt x="571482" y="246920"/>
                  </a:cubicBezTo>
                  <a:cubicBezTo>
                    <a:pt x="584715" y="249460"/>
                    <a:pt x="586338" y="254340"/>
                    <a:pt x="594862" y="260289"/>
                  </a:cubicBezTo>
                  <a:cubicBezTo>
                    <a:pt x="607283" y="268812"/>
                    <a:pt x="603630" y="270317"/>
                    <a:pt x="602980" y="280076"/>
                  </a:cubicBezTo>
                  <a:cubicBezTo>
                    <a:pt x="602655" y="284388"/>
                    <a:pt x="614061" y="303038"/>
                    <a:pt x="621570" y="305244"/>
                  </a:cubicBezTo>
                  <a:cubicBezTo>
                    <a:pt x="634843" y="309121"/>
                    <a:pt x="647994" y="310659"/>
                    <a:pt x="659197" y="317344"/>
                  </a:cubicBezTo>
                  <a:cubicBezTo>
                    <a:pt x="665610" y="321187"/>
                    <a:pt x="665123" y="331348"/>
                    <a:pt x="677463" y="325933"/>
                  </a:cubicBezTo>
                  <a:cubicBezTo>
                    <a:pt x="687326" y="321588"/>
                    <a:pt x="691831" y="318614"/>
                    <a:pt x="706728" y="317878"/>
                  </a:cubicBezTo>
                  <a:cubicBezTo>
                    <a:pt x="714440" y="317166"/>
                    <a:pt x="722273" y="317551"/>
                    <a:pt x="729823" y="319015"/>
                  </a:cubicBezTo>
                  <a:cubicBezTo>
                    <a:pt x="741229" y="321856"/>
                    <a:pt x="736602" y="313466"/>
                    <a:pt x="746627" y="313333"/>
                  </a:cubicBezTo>
                  <a:cubicBezTo>
                    <a:pt x="760468" y="313166"/>
                    <a:pt x="762092" y="307818"/>
                    <a:pt x="771509" y="304977"/>
                  </a:cubicBezTo>
                  <a:cubicBezTo>
                    <a:pt x="780276" y="302336"/>
                    <a:pt x="798055" y="308754"/>
                    <a:pt x="806091" y="312196"/>
                  </a:cubicBezTo>
                  <a:cubicBezTo>
                    <a:pt x="813154" y="315171"/>
                    <a:pt x="830730" y="326702"/>
                    <a:pt x="838563" y="321388"/>
                  </a:cubicBezTo>
                  <a:cubicBezTo>
                    <a:pt x="846397" y="316073"/>
                    <a:pt x="850984" y="313099"/>
                    <a:pt x="867504" y="316775"/>
                  </a:cubicBezTo>
                  <a:cubicBezTo>
                    <a:pt x="883090" y="320118"/>
                    <a:pt x="892750" y="330780"/>
                    <a:pt x="909027" y="334456"/>
                  </a:cubicBezTo>
                  <a:cubicBezTo>
                    <a:pt x="925303" y="338133"/>
                    <a:pt x="940768" y="340239"/>
                    <a:pt x="957045" y="344918"/>
                  </a:cubicBezTo>
                  <a:cubicBezTo>
                    <a:pt x="972225" y="349263"/>
                    <a:pt x="989030" y="356850"/>
                    <a:pt x="1004616" y="359758"/>
                  </a:cubicBezTo>
                  <a:cubicBezTo>
                    <a:pt x="1011394" y="360584"/>
                    <a:pt x="1017442" y="363635"/>
                    <a:pt x="1021420" y="368214"/>
                  </a:cubicBezTo>
                  <a:cubicBezTo>
                    <a:pt x="1027305" y="374899"/>
                    <a:pt x="1038265" y="374264"/>
                    <a:pt x="1045408" y="379979"/>
                  </a:cubicBezTo>
                  <a:cubicBezTo>
                    <a:pt x="1047682" y="373295"/>
                    <a:pt x="1048128" y="370353"/>
                    <a:pt x="1059453" y="367780"/>
                  </a:cubicBezTo>
                  <a:cubicBezTo>
                    <a:pt x="1069235" y="365540"/>
                    <a:pt x="1070128" y="363201"/>
                    <a:pt x="1067205" y="356549"/>
                  </a:cubicBezTo>
                  <a:cubicBezTo>
                    <a:pt x="1065095" y="351669"/>
                    <a:pt x="1057992" y="326468"/>
                    <a:pt x="1062213" y="325599"/>
                  </a:cubicBezTo>
                  <a:cubicBezTo>
                    <a:pt x="1070736" y="324095"/>
                    <a:pt x="1078692" y="326234"/>
                    <a:pt x="1087825" y="327270"/>
                  </a:cubicBezTo>
                  <a:cubicBezTo>
                    <a:pt x="1094604" y="327521"/>
                    <a:pt x="1101382" y="328089"/>
                    <a:pt x="1108119" y="328975"/>
                  </a:cubicBezTo>
                  <a:cubicBezTo>
                    <a:pt x="1113559" y="330178"/>
                    <a:pt x="1118551" y="334857"/>
                    <a:pt x="1124355" y="336729"/>
                  </a:cubicBezTo>
                  <a:cubicBezTo>
                    <a:pt x="1135639" y="340473"/>
                    <a:pt x="1145178" y="339637"/>
                    <a:pt x="1135964" y="331582"/>
                  </a:cubicBezTo>
                  <a:cubicBezTo>
                    <a:pt x="1132473" y="328574"/>
                    <a:pt x="1143839" y="322223"/>
                    <a:pt x="1145990" y="320719"/>
                  </a:cubicBezTo>
                  <a:cubicBezTo>
                    <a:pt x="1151145" y="317009"/>
                    <a:pt x="1168192" y="299328"/>
                    <a:pt x="1178462" y="305578"/>
                  </a:cubicBezTo>
                  <a:cubicBezTo>
                    <a:pt x="1192871" y="314436"/>
                    <a:pt x="1226439" y="325198"/>
                    <a:pt x="1244461" y="322992"/>
                  </a:cubicBezTo>
                  <a:cubicBezTo>
                    <a:pt x="1260453" y="321054"/>
                    <a:pt x="1237601" y="296253"/>
                    <a:pt x="1269423" y="300231"/>
                  </a:cubicBezTo>
                  <a:cubicBezTo>
                    <a:pt x="1281113" y="301735"/>
                    <a:pt x="1288825" y="303172"/>
                    <a:pt x="1291707" y="296019"/>
                  </a:cubicBezTo>
                  <a:cubicBezTo>
                    <a:pt x="1292925" y="293111"/>
                    <a:pt x="1299135" y="292343"/>
                    <a:pt x="1302869" y="290872"/>
                  </a:cubicBezTo>
                  <a:cubicBezTo>
                    <a:pt x="1310541" y="287864"/>
                    <a:pt x="1302139" y="285558"/>
                    <a:pt x="1302869" y="280845"/>
                  </a:cubicBezTo>
                  <a:close/>
                  <a:moveTo>
                    <a:pt x="476299" y="171149"/>
                  </a:moveTo>
                  <a:cubicBezTo>
                    <a:pt x="471794" y="173154"/>
                    <a:pt x="435710" y="161556"/>
                    <a:pt x="433721" y="157044"/>
                  </a:cubicBezTo>
                  <a:cubicBezTo>
                    <a:pt x="431732" y="152532"/>
                    <a:pt x="486000" y="166703"/>
                    <a:pt x="476299" y="171082"/>
                  </a:cubicBezTo>
                  <a:close/>
                  <a:moveTo>
                    <a:pt x="1008431" y="281045"/>
                  </a:moveTo>
                  <a:cubicBezTo>
                    <a:pt x="976284" y="273224"/>
                    <a:pt x="929606" y="253638"/>
                    <a:pt x="899245" y="262161"/>
                  </a:cubicBezTo>
                  <a:cubicBezTo>
                    <a:pt x="891127" y="264434"/>
                    <a:pt x="883861" y="267776"/>
                    <a:pt x="881385" y="272957"/>
                  </a:cubicBezTo>
                  <a:cubicBezTo>
                    <a:pt x="880411" y="275029"/>
                    <a:pt x="881629" y="280043"/>
                    <a:pt x="875459" y="279241"/>
                  </a:cubicBezTo>
                  <a:cubicBezTo>
                    <a:pt x="862105" y="277569"/>
                    <a:pt x="869533" y="260323"/>
                    <a:pt x="871847" y="257415"/>
                  </a:cubicBezTo>
                  <a:cubicBezTo>
                    <a:pt x="888082" y="236559"/>
                    <a:pt x="955502" y="263231"/>
                    <a:pt x="984159" y="270016"/>
                  </a:cubicBezTo>
                  <a:cubicBezTo>
                    <a:pt x="1003155" y="274428"/>
                    <a:pt x="1022759" y="276065"/>
                    <a:pt x="1041593" y="280611"/>
                  </a:cubicBezTo>
                  <a:cubicBezTo>
                    <a:pt x="1045977" y="281680"/>
                    <a:pt x="1045652" y="283251"/>
                    <a:pt x="1042121" y="283953"/>
                  </a:cubicBezTo>
                  <a:cubicBezTo>
                    <a:pt x="1032704" y="285858"/>
                    <a:pt x="1018863" y="283485"/>
                    <a:pt x="1008431" y="28097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69EA2A6D-EDED-48C9-9474-EA8B817BFF76}"/>
                </a:ext>
              </a:extLst>
            </p:cNvPr>
            <p:cNvSpPr/>
            <p:nvPr/>
          </p:nvSpPr>
          <p:spPr>
            <a:xfrm>
              <a:off x="6402260" y="3092638"/>
              <a:ext cx="5495992" cy="2374809"/>
            </a:xfrm>
            <a:custGeom>
              <a:avLst/>
              <a:gdLst>
                <a:gd name="connsiteX0" fmla="*/ 86305 w 5495992"/>
                <a:gd name="connsiteY0" fmla="*/ 704436 h 2374809"/>
                <a:gd name="connsiteX1" fmla="*/ 70434 w 5495992"/>
                <a:gd name="connsiteY1" fmla="*/ 701930 h 2374809"/>
                <a:gd name="connsiteX2" fmla="*/ 46080 w 5495992"/>
                <a:gd name="connsiteY2" fmla="*/ 698253 h 2374809"/>
                <a:gd name="connsiteX3" fmla="*/ 40722 w 5495992"/>
                <a:gd name="connsiteY3" fmla="*/ 706342 h 2374809"/>
                <a:gd name="connsiteX4" fmla="*/ 32199 w 5495992"/>
                <a:gd name="connsiteY4" fmla="*/ 713327 h 2374809"/>
                <a:gd name="connsiteX5" fmla="*/ 14826 w 5495992"/>
                <a:gd name="connsiteY5" fmla="*/ 706308 h 2374809"/>
                <a:gd name="connsiteX6" fmla="*/ 8697 w 5495992"/>
                <a:gd name="connsiteY6" fmla="*/ 715567 h 2374809"/>
                <a:gd name="connsiteX7" fmla="*/ 78025 w 5495992"/>
                <a:gd name="connsiteY7" fmla="*/ 721883 h 2374809"/>
                <a:gd name="connsiteX8" fmla="*/ 103068 w 5495992"/>
                <a:gd name="connsiteY8" fmla="*/ 716536 h 2374809"/>
                <a:gd name="connsiteX9" fmla="*/ 86224 w 5495992"/>
                <a:gd name="connsiteY9" fmla="*/ 704436 h 2374809"/>
                <a:gd name="connsiteX10" fmla="*/ 1722803 w 5495992"/>
                <a:gd name="connsiteY10" fmla="*/ 109497 h 2374809"/>
                <a:gd name="connsiteX11" fmla="*/ 1754504 w 5495992"/>
                <a:gd name="connsiteY11" fmla="*/ 102478 h 2374809"/>
                <a:gd name="connsiteX12" fmla="*/ 1707866 w 5495992"/>
                <a:gd name="connsiteY12" fmla="*/ 97330 h 2374809"/>
                <a:gd name="connsiteX13" fmla="*/ 1661512 w 5495992"/>
                <a:gd name="connsiteY13" fmla="*/ 95058 h 2374809"/>
                <a:gd name="connsiteX14" fmla="*/ 1722803 w 5495992"/>
                <a:gd name="connsiteY14" fmla="*/ 109497 h 2374809"/>
                <a:gd name="connsiteX15" fmla="*/ 1722843 w 5495992"/>
                <a:gd name="connsiteY15" fmla="*/ 109563 h 2374809"/>
                <a:gd name="connsiteX16" fmla="*/ 1846642 w 5495992"/>
                <a:gd name="connsiteY16" fmla="*/ 423177 h 2374809"/>
                <a:gd name="connsiteX17" fmla="*/ 1895350 w 5495992"/>
                <a:gd name="connsiteY17" fmla="*/ 422141 h 2374809"/>
                <a:gd name="connsiteX18" fmla="*/ 1847981 w 5495992"/>
                <a:gd name="connsiteY18" fmla="*/ 412882 h 2374809"/>
                <a:gd name="connsiteX19" fmla="*/ 1846520 w 5495992"/>
                <a:gd name="connsiteY19" fmla="*/ 423177 h 2374809"/>
                <a:gd name="connsiteX20" fmla="*/ 2713233 w 5495992"/>
                <a:gd name="connsiteY20" fmla="*/ 374412 h 2374809"/>
                <a:gd name="connsiteX21" fmla="*/ 2702071 w 5495992"/>
                <a:gd name="connsiteY21" fmla="*/ 378055 h 2374809"/>
                <a:gd name="connsiteX22" fmla="*/ 2674348 w 5495992"/>
                <a:gd name="connsiteY22" fmla="*/ 376317 h 2374809"/>
                <a:gd name="connsiteX23" fmla="*/ 2701746 w 5495992"/>
                <a:gd name="connsiteY23" fmla="*/ 395101 h 2374809"/>
                <a:gd name="connsiteX24" fmla="*/ 2748790 w 5495992"/>
                <a:gd name="connsiteY24" fmla="*/ 396338 h 2374809"/>
                <a:gd name="connsiteX25" fmla="*/ 2818279 w 5495992"/>
                <a:gd name="connsiteY25" fmla="*/ 405964 h 2374809"/>
                <a:gd name="connsiteX26" fmla="*/ 2852457 w 5495992"/>
                <a:gd name="connsiteY26" fmla="*/ 413183 h 2374809"/>
                <a:gd name="connsiteX27" fmla="*/ 2858423 w 5495992"/>
                <a:gd name="connsiteY27" fmla="*/ 403156 h 2374809"/>
                <a:gd name="connsiteX28" fmla="*/ 2882047 w 5495992"/>
                <a:gd name="connsiteY28" fmla="*/ 404727 h 2374809"/>
                <a:gd name="connsiteX29" fmla="*/ 2844176 w 5495992"/>
                <a:gd name="connsiteY29" fmla="*/ 384071 h 2374809"/>
                <a:gd name="connsiteX30" fmla="*/ 2816494 w 5495992"/>
                <a:gd name="connsiteY30" fmla="*/ 362480 h 2374809"/>
                <a:gd name="connsiteX31" fmla="*/ 2737628 w 5495992"/>
                <a:gd name="connsiteY31" fmla="*/ 356965 h 2374809"/>
                <a:gd name="connsiteX32" fmla="*/ 2716967 w 5495992"/>
                <a:gd name="connsiteY32" fmla="*/ 363148 h 2374809"/>
                <a:gd name="connsiteX33" fmla="*/ 2713233 w 5495992"/>
                <a:gd name="connsiteY33" fmla="*/ 374378 h 2374809"/>
                <a:gd name="connsiteX34" fmla="*/ 2763078 w 5495992"/>
                <a:gd name="connsiteY34" fmla="*/ 404493 h 2374809"/>
                <a:gd name="connsiteX35" fmla="*/ 2736451 w 5495992"/>
                <a:gd name="connsiteY35" fmla="*/ 407835 h 2374809"/>
                <a:gd name="connsiteX36" fmla="*/ 2757314 w 5495992"/>
                <a:gd name="connsiteY36" fmla="*/ 422709 h 2374809"/>
                <a:gd name="connsiteX37" fmla="*/ 2775377 w 5495992"/>
                <a:gd name="connsiteY37" fmla="*/ 439722 h 2374809"/>
                <a:gd name="connsiteX38" fmla="*/ 2809147 w 5495992"/>
                <a:gd name="connsiteY38" fmla="*/ 452255 h 2374809"/>
                <a:gd name="connsiteX39" fmla="*/ 2897917 w 5495992"/>
                <a:gd name="connsiteY39" fmla="*/ 488553 h 2374809"/>
                <a:gd name="connsiteX40" fmla="*/ 2915208 w 5495992"/>
                <a:gd name="connsiteY40" fmla="*/ 483573 h 2374809"/>
                <a:gd name="connsiteX41" fmla="*/ 2909201 w 5495992"/>
                <a:gd name="connsiteY41" fmla="*/ 479362 h 2374809"/>
                <a:gd name="connsiteX42" fmla="*/ 2920079 w 5495992"/>
                <a:gd name="connsiteY42" fmla="*/ 472376 h 2374809"/>
                <a:gd name="connsiteX43" fmla="*/ 2917360 w 5495992"/>
                <a:gd name="connsiteY43" fmla="*/ 447008 h 2374809"/>
                <a:gd name="connsiteX44" fmla="*/ 2892153 w 5495992"/>
                <a:gd name="connsiteY44" fmla="*/ 439521 h 2374809"/>
                <a:gd name="connsiteX45" fmla="*/ 2873807 w 5495992"/>
                <a:gd name="connsiteY45" fmla="*/ 435878 h 2374809"/>
                <a:gd name="connsiteX46" fmla="*/ 2827412 w 5495992"/>
                <a:gd name="connsiteY46" fmla="*/ 413217 h 2374809"/>
                <a:gd name="connsiteX47" fmla="*/ 2763240 w 5495992"/>
                <a:gd name="connsiteY47" fmla="*/ 404460 h 2374809"/>
                <a:gd name="connsiteX48" fmla="*/ 2146113 w 5495992"/>
                <a:gd name="connsiteY48" fmla="*/ 499784 h 2374809"/>
                <a:gd name="connsiteX49" fmla="*/ 2174851 w 5495992"/>
                <a:gd name="connsiteY49" fmla="*/ 501087 h 2374809"/>
                <a:gd name="connsiteX50" fmla="*/ 2146439 w 5495992"/>
                <a:gd name="connsiteY50" fmla="*/ 499884 h 2374809"/>
                <a:gd name="connsiteX51" fmla="*/ 2700367 w 5495992"/>
                <a:gd name="connsiteY51" fmla="*/ 332666 h 2374809"/>
                <a:gd name="connsiteX52" fmla="*/ 2651375 w 5495992"/>
                <a:gd name="connsiteY52" fmla="*/ 321569 h 2374809"/>
                <a:gd name="connsiteX53" fmla="*/ 2700691 w 5495992"/>
                <a:gd name="connsiteY53" fmla="*/ 332766 h 2374809"/>
                <a:gd name="connsiteX54" fmla="*/ 5296001 w 5495992"/>
                <a:gd name="connsiteY54" fmla="*/ 2021426 h 2374809"/>
                <a:gd name="connsiteX55" fmla="*/ 5328473 w 5495992"/>
                <a:gd name="connsiteY55" fmla="*/ 2042550 h 2374809"/>
                <a:gd name="connsiteX56" fmla="*/ 5355789 w 5495992"/>
                <a:gd name="connsiteY56" fmla="*/ 2067216 h 2374809"/>
                <a:gd name="connsiteX57" fmla="*/ 5408961 w 5495992"/>
                <a:gd name="connsiteY57" fmla="*/ 2093354 h 2374809"/>
                <a:gd name="connsiteX58" fmla="*/ 5352380 w 5495992"/>
                <a:gd name="connsiteY58" fmla="*/ 2038272 h 2374809"/>
                <a:gd name="connsiteX59" fmla="*/ 5296123 w 5495992"/>
                <a:gd name="connsiteY59" fmla="*/ 2021560 h 2374809"/>
                <a:gd name="connsiteX60" fmla="*/ 2893858 w 5495992"/>
                <a:gd name="connsiteY60" fmla="*/ 521476 h 2374809"/>
                <a:gd name="connsiteX61" fmla="*/ 2934001 w 5495992"/>
                <a:gd name="connsiteY61" fmla="*/ 533508 h 2374809"/>
                <a:gd name="connsiteX62" fmla="*/ 2992207 w 5495992"/>
                <a:gd name="connsiteY62" fmla="*/ 548883 h 2374809"/>
                <a:gd name="connsiteX63" fmla="*/ 3082925 w 5495992"/>
                <a:gd name="connsiteY63" fmla="*/ 568937 h 2374809"/>
                <a:gd name="connsiteX64" fmla="*/ 3104357 w 5495992"/>
                <a:gd name="connsiteY64" fmla="*/ 557573 h 2374809"/>
                <a:gd name="connsiteX65" fmla="*/ 3067623 w 5495992"/>
                <a:gd name="connsiteY65" fmla="*/ 534177 h 2374809"/>
                <a:gd name="connsiteX66" fmla="*/ 3021878 w 5495992"/>
                <a:gd name="connsiteY66" fmla="*/ 529497 h 2374809"/>
                <a:gd name="connsiteX67" fmla="*/ 3034055 w 5495992"/>
                <a:gd name="connsiteY67" fmla="*/ 521743 h 2374809"/>
                <a:gd name="connsiteX68" fmla="*/ 3030930 w 5495992"/>
                <a:gd name="connsiteY68" fmla="*/ 506803 h 2374809"/>
                <a:gd name="connsiteX69" fmla="*/ 3013030 w 5495992"/>
                <a:gd name="connsiteY69" fmla="*/ 505366 h 2374809"/>
                <a:gd name="connsiteX70" fmla="*/ 2979786 w 5495992"/>
                <a:gd name="connsiteY70" fmla="*/ 497244 h 2374809"/>
                <a:gd name="connsiteX71" fmla="*/ 2959491 w 5495992"/>
                <a:gd name="connsiteY71" fmla="*/ 506736 h 2374809"/>
                <a:gd name="connsiteX72" fmla="*/ 2935625 w 5495992"/>
                <a:gd name="connsiteY72" fmla="*/ 503159 h 2374809"/>
                <a:gd name="connsiteX73" fmla="*/ 2908998 w 5495992"/>
                <a:gd name="connsiteY73" fmla="*/ 514724 h 2374809"/>
                <a:gd name="connsiteX74" fmla="*/ 2893695 w 5495992"/>
                <a:gd name="connsiteY74" fmla="*/ 521643 h 2374809"/>
                <a:gd name="connsiteX75" fmla="*/ 4121901 w 5495992"/>
                <a:gd name="connsiteY75" fmla="*/ 1134598 h 2374809"/>
                <a:gd name="connsiteX76" fmla="*/ 4162815 w 5495992"/>
                <a:gd name="connsiteY76" fmla="*/ 1168255 h 2374809"/>
                <a:gd name="connsiteX77" fmla="*/ 4201457 w 5495992"/>
                <a:gd name="connsiteY77" fmla="*/ 1186271 h 2374809"/>
                <a:gd name="connsiteX78" fmla="*/ 4252803 w 5495992"/>
                <a:gd name="connsiteY78" fmla="*/ 1208163 h 2374809"/>
                <a:gd name="connsiteX79" fmla="*/ 4288604 w 5495992"/>
                <a:gd name="connsiteY79" fmla="*/ 1218658 h 2374809"/>
                <a:gd name="connsiteX80" fmla="*/ 4298953 w 5495992"/>
                <a:gd name="connsiteY80" fmla="*/ 1206258 h 2374809"/>
                <a:gd name="connsiteX81" fmla="*/ 4300131 w 5495992"/>
                <a:gd name="connsiteY81" fmla="*/ 1223338 h 2374809"/>
                <a:gd name="connsiteX82" fmla="*/ 4347337 w 5495992"/>
                <a:gd name="connsiteY82" fmla="*/ 1255458 h 2374809"/>
                <a:gd name="connsiteX83" fmla="*/ 4366048 w 5495992"/>
                <a:gd name="connsiteY83" fmla="*/ 1249876 h 2374809"/>
                <a:gd name="connsiteX84" fmla="*/ 4361015 w 5495992"/>
                <a:gd name="connsiteY84" fmla="*/ 1227449 h 2374809"/>
                <a:gd name="connsiteX85" fmla="*/ 4302770 w 5495992"/>
                <a:gd name="connsiteY85" fmla="*/ 1190683 h 2374809"/>
                <a:gd name="connsiteX86" fmla="*/ 4256619 w 5495992"/>
                <a:gd name="connsiteY86" fmla="*/ 1170094 h 2374809"/>
                <a:gd name="connsiteX87" fmla="*/ 4234984 w 5495992"/>
                <a:gd name="connsiteY87" fmla="*/ 1162172 h 2374809"/>
                <a:gd name="connsiteX88" fmla="*/ 4171948 w 5495992"/>
                <a:gd name="connsiteY88" fmla="*/ 1118722 h 2374809"/>
                <a:gd name="connsiteX89" fmla="*/ 4121901 w 5495992"/>
                <a:gd name="connsiteY89" fmla="*/ 1134398 h 2374809"/>
                <a:gd name="connsiteX90" fmla="*/ 4277806 w 5495992"/>
                <a:gd name="connsiteY90" fmla="*/ 1290084 h 2374809"/>
                <a:gd name="connsiteX91" fmla="*/ 4263235 w 5495992"/>
                <a:gd name="connsiteY91" fmla="*/ 1260003 h 2374809"/>
                <a:gd name="connsiteX92" fmla="*/ 4192405 w 5495992"/>
                <a:gd name="connsiteY92" fmla="*/ 1232997 h 2374809"/>
                <a:gd name="connsiteX93" fmla="*/ 4277644 w 5495992"/>
                <a:gd name="connsiteY93" fmla="*/ 1289817 h 2374809"/>
                <a:gd name="connsiteX94" fmla="*/ 4224391 w 5495992"/>
                <a:gd name="connsiteY94" fmla="*/ 1222937 h 2374809"/>
                <a:gd name="connsiteX95" fmla="*/ 4190052 w 5495992"/>
                <a:gd name="connsiteY95" fmla="*/ 1212909 h 2374809"/>
                <a:gd name="connsiteX96" fmla="*/ 4224391 w 5495992"/>
                <a:gd name="connsiteY96" fmla="*/ 1222937 h 2374809"/>
                <a:gd name="connsiteX97" fmla="*/ 4408505 w 5495992"/>
                <a:gd name="connsiteY97" fmla="*/ 1282263 h 2374809"/>
                <a:gd name="connsiteX98" fmla="*/ 4436594 w 5495992"/>
                <a:gd name="connsiteY98" fmla="*/ 1306663 h 2374809"/>
                <a:gd name="connsiteX99" fmla="*/ 4495612 w 5495992"/>
                <a:gd name="connsiteY99" fmla="*/ 1347372 h 2374809"/>
                <a:gd name="connsiteX100" fmla="*/ 4540706 w 5495992"/>
                <a:gd name="connsiteY100" fmla="*/ 1353222 h 2374809"/>
                <a:gd name="connsiteX101" fmla="*/ 4505231 w 5495992"/>
                <a:gd name="connsiteY101" fmla="*/ 1333435 h 2374809"/>
                <a:gd name="connsiteX102" fmla="*/ 4488670 w 5495992"/>
                <a:gd name="connsiteY102" fmla="*/ 1318728 h 2374809"/>
                <a:gd name="connsiteX103" fmla="*/ 4462733 w 5495992"/>
                <a:gd name="connsiteY103" fmla="*/ 1305560 h 2374809"/>
                <a:gd name="connsiteX104" fmla="*/ 4439962 w 5495992"/>
                <a:gd name="connsiteY104" fmla="*/ 1288614 h 2374809"/>
                <a:gd name="connsiteX105" fmla="*/ 4429450 w 5495992"/>
                <a:gd name="connsiteY105" fmla="*/ 1278587 h 2374809"/>
                <a:gd name="connsiteX106" fmla="*/ 4408505 w 5495992"/>
                <a:gd name="connsiteY106" fmla="*/ 1282330 h 2374809"/>
                <a:gd name="connsiteX107" fmla="*/ 4408505 w 5495992"/>
                <a:gd name="connsiteY107" fmla="*/ 1282263 h 2374809"/>
                <a:gd name="connsiteX108" fmla="*/ 1056440 w 5495992"/>
                <a:gd name="connsiteY108" fmla="*/ 10797 h 2374809"/>
                <a:gd name="connsiteX109" fmla="*/ 1100359 w 5495992"/>
                <a:gd name="connsiteY109" fmla="*/ 11699 h 2374809"/>
                <a:gd name="connsiteX110" fmla="*/ 1120329 w 5495992"/>
                <a:gd name="connsiteY110" fmla="*/ 12200 h 2374809"/>
                <a:gd name="connsiteX111" fmla="*/ 1060053 w 5495992"/>
                <a:gd name="connsiteY111" fmla="*/ 2574 h 2374809"/>
                <a:gd name="connsiteX112" fmla="*/ 998113 w 5495992"/>
                <a:gd name="connsiteY112" fmla="*/ 302 h 2374809"/>
                <a:gd name="connsiteX113" fmla="*/ 1006962 w 5495992"/>
                <a:gd name="connsiteY113" fmla="*/ 7889 h 2374809"/>
                <a:gd name="connsiteX114" fmla="*/ 1056440 w 5495992"/>
                <a:gd name="connsiteY114" fmla="*/ 10797 h 2374809"/>
                <a:gd name="connsiteX115" fmla="*/ 3890662 w 5495992"/>
                <a:gd name="connsiteY115" fmla="*/ 1777668 h 2374809"/>
                <a:gd name="connsiteX116" fmla="*/ 3910956 w 5495992"/>
                <a:gd name="connsiteY116" fmla="*/ 1745247 h 2374809"/>
                <a:gd name="connsiteX117" fmla="*/ 3907872 w 5495992"/>
                <a:gd name="connsiteY117" fmla="*/ 1725193 h 2374809"/>
                <a:gd name="connsiteX118" fmla="*/ 3901580 w 5495992"/>
                <a:gd name="connsiteY118" fmla="*/ 1718241 h 2374809"/>
                <a:gd name="connsiteX119" fmla="*/ 3888388 w 5495992"/>
                <a:gd name="connsiteY119" fmla="*/ 1727165 h 2374809"/>
                <a:gd name="connsiteX120" fmla="*/ 3870326 w 5495992"/>
                <a:gd name="connsiteY120" fmla="*/ 1726463 h 2374809"/>
                <a:gd name="connsiteX121" fmla="*/ 3849259 w 5495992"/>
                <a:gd name="connsiteY121" fmla="*/ 1762995 h 2374809"/>
                <a:gd name="connsiteX122" fmla="*/ 3810943 w 5495992"/>
                <a:gd name="connsiteY122" fmla="*/ 1815069 h 2374809"/>
                <a:gd name="connsiteX123" fmla="*/ 3800592 w 5495992"/>
                <a:gd name="connsiteY123" fmla="*/ 1834053 h 2374809"/>
                <a:gd name="connsiteX124" fmla="*/ 3771449 w 5495992"/>
                <a:gd name="connsiteY124" fmla="*/ 1858452 h 2374809"/>
                <a:gd name="connsiteX125" fmla="*/ 3779567 w 5495992"/>
                <a:gd name="connsiteY125" fmla="*/ 1864803 h 2374809"/>
                <a:gd name="connsiteX126" fmla="*/ 3806681 w 5495992"/>
                <a:gd name="connsiteY126" fmla="*/ 1882217 h 2374809"/>
                <a:gd name="connsiteX127" fmla="*/ 3818655 w 5495992"/>
                <a:gd name="connsiteY127" fmla="*/ 1876134 h 2374809"/>
                <a:gd name="connsiteX128" fmla="*/ 3808386 w 5495992"/>
                <a:gd name="connsiteY128" fmla="*/ 1863132 h 2374809"/>
                <a:gd name="connsiteX129" fmla="*/ 3810131 w 5495992"/>
                <a:gd name="connsiteY129" fmla="*/ 1841874 h 2374809"/>
                <a:gd name="connsiteX130" fmla="*/ 3852303 w 5495992"/>
                <a:gd name="connsiteY130" fmla="*/ 1826232 h 2374809"/>
                <a:gd name="connsiteX131" fmla="*/ 3881610 w 5495992"/>
                <a:gd name="connsiteY131" fmla="*/ 1844749 h 2374809"/>
                <a:gd name="connsiteX132" fmla="*/ 3890621 w 5495992"/>
                <a:gd name="connsiteY132" fmla="*/ 1777601 h 2374809"/>
                <a:gd name="connsiteX133" fmla="*/ 3890662 w 5495992"/>
                <a:gd name="connsiteY133" fmla="*/ 1777668 h 2374809"/>
                <a:gd name="connsiteX134" fmla="*/ 1160594 w 5495992"/>
                <a:gd name="connsiteY134" fmla="*/ 19788 h 2374809"/>
                <a:gd name="connsiteX135" fmla="*/ 1137092 w 5495992"/>
                <a:gd name="connsiteY135" fmla="*/ 21358 h 2374809"/>
                <a:gd name="connsiteX136" fmla="*/ 1093865 w 5495992"/>
                <a:gd name="connsiteY136" fmla="*/ 22963 h 2374809"/>
                <a:gd name="connsiteX137" fmla="*/ 1128772 w 5495992"/>
                <a:gd name="connsiteY137" fmla="*/ 36901 h 2374809"/>
                <a:gd name="connsiteX138" fmla="*/ 1138797 w 5495992"/>
                <a:gd name="connsiteY138" fmla="*/ 33825 h 2374809"/>
                <a:gd name="connsiteX139" fmla="*/ 1161000 w 5495992"/>
                <a:gd name="connsiteY139" fmla="*/ 35630 h 2374809"/>
                <a:gd name="connsiteX140" fmla="*/ 1170539 w 5495992"/>
                <a:gd name="connsiteY140" fmla="*/ 30316 h 2374809"/>
                <a:gd name="connsiteX141" fmla="*/ 1209261 w 5495992"/>
                <a:gd name="connsiteY141" fmla="*/ 30082 h 2374809"/>
                <a:gd name="connsiteX142" fmla="*/ 1205202 w 5495992"/>
                <a:gd name="connsiteY142" fmla="*/ 15877 h 2374809"/>
                <a:gd name="connsiteX143" fmla="*/ 1160553 w 5495992"/>
                <a:gd name="connsiteY143" fmla="*/ 19788 h 2374809"/>
                <a:gd name="connsiteX144" fmla="*/ 1035131 w 5495992"/>
                <a:gd name="connsiteY144" fmla="*/ 415824 h 2374809"/>
                <a:gd name="connsiteX145" fmla="*/ 1082134 w 5495992"/>
                <a:gd name="connsiteY145" fmla="*/ 421138 h 2374809"/>
                <a:gd name="connsiteX146" fmla="*/ 1103159 w 5495992"/>
                <a:gd name="connsiteY146" fmla="*/ 414453 h 2374809"/>
                <a:gd name="connsiteX147" fmla="*/ 1051205 w 5495992"/>
                <a:gd name="connsiteY147" fmla="*/ 400750 h 2374809"/>
                <a:gd name="connsiteX148" fmla="*/ 1034969 w 5495992"/>
                <a:gd name="connsiteY148" fmla="*/ 415824 h 2374809"/>
                <a:gd name="connsiteX149" fmla="*/ 1035131 w 5495992"/>
                <a:gd name="connsiteY149" fmla="*/ 415824 h 2374809"/>
                <a:gd name="connsiteX150" fmla="*/ 5491440 w 5495992"/>
                <a:gd name="connsiteY150" fmla="*/ 2368263 h 2374809"/>
                <a:gd name="connsiteX151" fmla="*/ 5465707 w 5495992"/>
                <a:gd name="connsiteY151" fmla="*/ 2320066 h 2374809"/>
                <a:gd name="connsiteX152" fmla="*/ 5446466 w 5495992"/>
                <a:gd name="connsiteY152" fmla="*/ 2297839 h 2374809"/>
                <a:gd name="connsiteX153" fmla="*/ 5428729 w 5495992"/>
                <a:gd name="connsiteY153" fmla="*/ 2285640 h 2374809"/>
                <a:gd name="connsiteX154" fmla="*/ 5419515 w 5495992"/>
                <a:gd name="connsiteY154" fmla="*/ 2269462 h 2374809"/>
                <a:gd name="connsiteX155" fmla="*/ 5394309 w 5495992"/>
                <a:gd name="connsiteY155" fmla="*/ 2250010 h 2374809"/>
                <a:gd name="connsiteX156" fmla="*/ 5395973 w 5495992"/>
                <a:gd name="connsiteY156" fmla="*/ 2264215 h 2374809"/>
                <a:gd name="connsiteX157" fmla="*/ 5381604 w 5495992"/>
                <a:gd name="connsiteY157" fmla="*/ 2269864 h 2374809"/>
                <a:gd name="connsiteX158" fmla="*/ 5368981 w 5495992"/>
                <a:gd name="connsiteY158" fmla="*/ 2249007 h 2374809"/>
                <a:gd name="connsiteX159" fmla="*/ 5384446 w 5495992"/>
                <a:gd name="connsiteY159" fmla="*/ 2236273 h 2374809"/>
                <a:gd name="connsiteX160" fmla="*/ 5379169 w 5495992"/>
                <a:gd name="connsiteY160" fmla="*/ 2219327 h 2374809"/>
                <a:gd name="connsiteX161" fmla="*/ 5356967 w 5495992"/>
                <a:gd name="connsiteY161" fmla="*/ 2186338 h 2374809"/>
                <a:gd name="connsiteX162" fmla="*/ 5310451 w 5495992"/>
                <a:gd name="connsiteY162" fmla="*/ 2124772 h 2374809"/>
                <a:gd name="connsiteX163" fmla="*/ 5283864 w 5495992"/>
                <a:gd name="connsiteY163" fmla="*/ 2095292 h 2374809"/>
                <a:gd name="connsiteX164" fmla="*/ 5264666 w 5495992"/>
                <a:gd name="connsiteY164" fmla="*/ 2066080 h 2374809"/>
                <a:gd name="connsiteX165" fmla="*/ 5207637 w 5495992"/>
                <a:gd name="connsiteY165" fmla="*/ 2007288 h 2374809"/>
                <a:gd name="connsiteX166" fmla="*/ 5193674 w 5495992"/>
                <a:gd name="connsiteY166" fmla="*/ 1989373 h 2374809"/>
                <a:gd name="connsiteX167" fmla="*/ 5158158 w 5495992"/>
                <a:gd name="connsiteY167" fmla="*/ 1964071 h 2374809"/>
                <a:gd name="connsiteX168" fmla="*/ 5127635 w 5495992"/>
                <a:gd name="connsiteY168" fmla="*/ 1940675 h 2374809"/>
                <a:gd name="connsiteX169" fmla="*/ 5097394 w 5495992"/>
                <a:gd name="connsiteY169" fmla="*/ 1922158 h 2374809"/>
                <a:gd name="connsiteX170" fmla="*/ 5044628 w 5495992"/>
                <a:gd name="connsiteY170" fmla="*/ 1873493 h 2374809"/>
                <a:gd name="connsiteX171" fmla="*/ 5021979 w 5495992"/>
                <a:gd name="connsiteY171" fmla="*/ 1873226 h 2374809"/>
                <a:gd name="connsiteX172" fmla="*/ 5025551 w 5495992"/>
                <a:gd name="connsiteY172" fmla="*/ 1893280 h 2374809"/>
                <a:gd name="connsiteX173" fmla="*/ 4972460 w 5495992"/>
                <a:gd name="connsiteY173" fmla="*/ 1867443 h 2374809"/>
                <a:gd name="connsiteX174" fmla="*/ 4952977 w 5495992"/>
                <a:gd name="connsiteY174" fmla="*/ 1843846 h 2374809"/>
                <a:gd name="connsiteX175" fmla="*/ 4969659 w 5495992"/>
                <a:gd name="connsiteY175" fmla="*/ 1845718 h 2374809"/>
                <a:gd name="connsiteX176" fmla="*/ 4995718 w 5495992"/>
                <a:gd name="connsiteY176" fmla="*/ 1854442 h 2374809"/>
                <a:gd name="connsiteX177" fmla="*/ 4964950 w 5495992"/>
                <a:gd name="connsiteY177" fmla="*/ 1825029 h 2374809"/>
                <a:gd name="connsiteX178" fmla="*/ 4925619 w 5495992"/>
                <a:gd name="connsiteY178" fmla="*/ 1816439 h 2374809"/>
                <a:gd name="connsiteX179" fmla="*/ 4895258 w 5495992"/>
                <a:gd name="connsiteY179" fmla="*/ 1801298 h 2374809"/>
                <a:gd name="connsiteX180" fmla="*/ 4845982 w 5495992"/>
                <a:gd name="connsiteY180" fmla="*/ 1760455 h 2374809"/>
                <a:gd name="connsiteX181" fmla="*/ 4788385 w 5495992"/>
                <a:gd name="connsiteY181" fmla="*/ 1724591 h 2374809"/>
                <a:gd name="connsiteX182" fmla="*/ 4743249 w 5495992"/>
                <a:gd name="connsiteY182" fmla="*/ 1716135 h 2374809"/>
                <a:gd name="connsiteX183" fmla="*/ 4739474 w 5495992"/>
                <a:gd name="connsiteY183" fmla="*/ 1717606 h 2374809"/>
                <a:gd name="connsiteX184" fmla="*/ 4741422 w 5495992"/>
                <a:gd name="connsiteY184" fmla="*/ 1703133 h 2374809"/>
                <a:gd name="connsiteX185" fmla="*/ 4731641 w 5495992"/>
                <a:gd name="connsiteY185" fmla="*/ 1686421 h 2374809"/>
                <a:gd name="connsiteX186" fmla="*/ 4710858 w 5495992"/>
                <a:gd name="connsiteY186" fmla="*/ 1668874 h 2374809"/>
                <a:gd name="connsiteX187" fmla="*/ 4717353 w 5495992"/>
                <a:gd name="connsiteY187" fmla="*/ 1663092 h 2374809"/>
                <a:gd name="connsiteX188" fmla="*/ 4728312 w 5495992"/>
                <a:gd name="connsiteY188" fmla="*/ 1659549 h 2374809"/>
                <a:gd name="connsiteX189" fmla="*/ 4586004 w 5495992"/>
                <a:gd name="connsiteY189" fmla="*/ 1549251 h 2374809"/>
                <a:gd name="connsiteX190" fmla="*/ 4505353 w 5495992"/>
                <a:gd name="connsiteY190" fmla="*/ 1506369 h 2374809"/>
                <a:gd name="connsiteX191" fmla="*/ 4502958 w 5495992"/>
                <a:gd name="connsiteY191" fmla="*/ 1494871 h 2374809"/>
                <a:gd name="connsiteX192" fmla="*/ 4475559 w 5495992"/>
                <a:gd name="connsiteY192" fmla="*/ 1470071 h 2374809"/>
                <a:gd name="connsiteX193" fmla="*/ 4462774 w 5495992"/>
                <a:gd name="connsiteY193" fmla="*/ 1466294 h 2374809"/>
                <a:gd name="connsiteX194" fmla="*/ 4458390 w 5495992"/>
                <a:gd name="connsiteY194" fmla="*/ 1457169 h 2374809"/>
                <a:gd name="connsiteX195" fmla="*/ 4429977 w 5495992"/>
                <a:gd name="connsiteY195" fmla="*/ 1433772 h 2374809"/>
                <a:gd name="connsiteX196" fmla="*/ 4425594 w 5495992"/>
                <a:gd name="connsiteY196" fmla="*/ 1424848 h 2374809"/>
                <a:gd name="connsiteX197" fmla="*/ 4455630 w 5495992"/>
                <a:gd name="connsiteY197" fmla="*/ 1436847 h 2374809"/>
                <a:gd name="connsiteX198" fmla="*/ 4412930 w 5495992"/>
                <a:gd name="connsiteY198" fmla="*/ 1400382 h 2374809"/>
                <a:gd name="connsiteX199" fmla="*/ 4358134 w 5495992"/>
                <a:gd name="connsiteY199" fmla="*/ 1370100 h 2374809"/>
                <a:gd name="connsiteX200" fmla="*/ 4331791 w 5495992"/>
                <a:gd name="connsiteY200" fmla="*/ 1374646 h 2374809"/>
                <a:gd name="connsiteX201" fmla="*/ 4298426 w 5495992"/>
                <a:gd name="connsiteY201" fmla="*/ 1357299 h 2374809"/>
                <a:gd name="connsiteX202" fmla="*/ 4313200 w 5495992"/>
                <a:gd name="connsiteY202" fmla="*/ 1348944 h 2374809"/>
                <a:gd name="connsiteX203" fmla="*/ 4304027 w 5495992"/>
                <a:gd name="connsiteY203" fmla="*/ 1335908 h 2374809"/>
                <a:gd name="connsiteX204" fmla="*/ 4343116 w 5495992"/>
                <a:gd name="connsiteY204" fmla="*/ 1358569 h 2374809"/>
                <a:gd name="connsiteX205" fmla="*/ 4338813 w 5495992"/>
                <a:gd name="connsiteY205" fmla="*/ 1350080 h 2374809"/>
                <a:gd name="connsiteX206" fmla="*/ 4295260 w 5495992"/>
                <a:gd name="connsiteY206" fmla="*/ 1321202 h 2374809"/>
                <a:gd name="connsiteX207" fmla="*/ 4211158 w 5495992"/>
                <a:gd name="connsiteY207" fmla="*/ 1270398 h 2374809"/>
                <a:gd name="connsiteX208" fmla="*/ 4182745 w 5495992"/>
                <a:gd name="connsiteY208" fmla="*/ 1258232 h 2374809"/>
                <a:gd name="connsiteX209" fmla="*/ 4152708 w 5495992"/>
                <a:gd name="connsiteY209" fmla="*/ 1252650 h 2374809"/>
                <a:gd name="connsiteX210" fmla="*/ 4116543 w 5495992"/>
                <a:gd name="connsiteY210" fmla="*/ 1243793 h 2374809"/>
                <a:gd name="connsiteX211" fmla="*/ 4142805 w 5495992"/>
                <a:gd name="connsiteY211" fmla="*/ 1261407 h 2374809"/>
                <a:gd name="connsiteX212" fmla="*/ 4126001 w 5495992"/>
                <a:gd name="connsiteY212" fmla="*/ 1261207 h 2374809"/>
                <a:gd name="connsiteX213" fmla="*/ 4128152 w 5495992"/>
                <a:gd name="connsiteY213" fmla="*/ 1278854 h 2374809"/>
                <a:gd name="connsiteX214" fmla="*/ 4101200 w 5495992"/>
                <a:gd name="connsiteY214" fmla="*/ 1261507 h 2374809"/>
                <a:gd name="connsiteX215" fmla="*/ 4058337 w 5495992"/>
                <a:gd name="connsiteY215" fmla="*/ 1244160 h 2374809"/>
                <a:gd name="connsiteX216" fmla="*/ 4074168 w 5495992"/>
                <a:gd name="connsiteY216" fmla="*/ 1257296 h 2374809"/>
                <a:gd name="connsiteX217" fmla="*/ 4049408 w 5495992"/>
                <a:gd name="connsiteY217" fmla="*/ 1247269 h 2374809"/>
                <a:gd name="connsiteX218" fmla="*/ 4039544 w 5495992"/>
                <a:gd name="connsiteY218" fmla="*/ 1234568 h 2374809"/>
                <a:gd name="connsiteX219" fmla="*/ 4006342 w 5495992"/>
                <a:gd name="connsiteY219" fmla="*/ 1214180 h 2374809"/>
                <a:gd name="connsiteX220" fmla="*/ 3944930 w 5495992"/>
                <a:gd name="connsiteY220" fmla="*/ 1190783 h 2374809"/>
                <a:gd name="connsiteX221" fmla="*/ 3913148 w 5495992"/>
                <a:gd name="connsiteY221" fmla="*/ 1166818 h 2374809"/>
                <a:gd name="connsiteX222" fmla="*/ 3892854 w 5495992"/>
                <a:gd name="connsiteY222" fmla="*/ 1153917 h 2374809"/>
                <a:gd name="connsiteX223" fmla="*/ 3873330 w 5495992"/>
                <a:gd name="connsiteY223" fmla="*/ 1160902 h 2374809"/>
                <a:gd name="connsiteX224" fmla="*/ 3851005 w 5495992"/>
                <a:gd name="connsiteY224" fmla="*/ 1161404 h 2374809"/>
                <a:gd name="connsiteX225" fmla="*/ 3812648 w 5495992"/>
                <a:gd name="connsiteY225" fmla="*/ 1147032 h 2374809"/>
                <a:gd name="connsiteX226" fmla="*/ 3784235 w 5495992"/>
                <a:gd name="connsiteY226" fmla="*/ 1110533 h 2374809"/>
                <a:gd name="connsiteX227" fmla="*/ 3763940 w 5495992"/>
                <a:gd name="connsiteY227" fmla="*/ 1078413 h 2374809"/>
                <a:gd name="connsiteX228" fmla="*/ 3803880 w 5495992"/>
                <a:gd name="connsiteY228" fmla="*/ 1097932 h 2374809"/>
                <a:gd name="connsiteX229" fmla="*/ 3795762 w 5495992"/>
                <a:gd name="connsiteY229" fmla="*/ 1078146 h 2374809"/>
                <a:gd name="connsiteX230" fmla="*/ 3801486 w 5495992"/>
                <a:gd name="connsiteY230" fmla="*/ 1068553 h 2374809"/>
                <a:gd name="connsiteX231" fmla="*/ 3807858 w 5495992"/>
                <a:gd name="connsiteY231" fmla="*/ 1065545 h 2374809"/>
                <a:gd name="connsiteX232" fmla="*/ 3793530 w 5495992"/>
                <a:gd name="connsiteY232" fmla="*/ 1052175 h 2374809"/>
                <a:gd name="connsiteX233" fmla="*/ 3772545 w 5495992"/>
                <a:gd name="connsiteY233" fmla="*/ 1032556 h 2374809"/>
                <a:gd name="connsiteX234" fmla="*/ 3739667 w 5495992"/>
                <a:gd name="connsiteY234" fmla="*/ 1020523 h 2374809"/>
                <a:gd name="connsiteX235" fmla="*/ 3725258 w 5495992"/>
                <a:gd name="connsiteY235" fmla="*/ 1011165 h 2374809"/>
                <a:gd name="connsiteX236" fmla="*/ 3676551 w 5495992"/>
                <a:gd name="connsiteY236" fmla="*/ 977741 h 2374809"/>
                <a:gd name="connsiteX237" fmla="*/ 3660315 w 5495992"/>
                <a:gd name="connsiteY237" fmla="*/ 973195 h 2374809"/>
                <a:gd name="connsiteX238" fmla="*/ 3629222 w 5495992"/>
                <a:gd name="connsiteY238" fmla="*/ 972460 h 2374809"/>
                <a:gd name="connsiteX239" fmla="*/ 3612459 w 5495992"/>
                <a:gd name="connsiteY239" fmla="*/ 983189 h 2374809"/>
                <a:gd name="connsiteX240" fmla="*/ 3576172 w 5495992"/>
                <a:gd name="connsiteY240" fmla="*/ 968516 h 2374809"/>
                <a:gd name="connsiteX241" fmla="*/ 3526368 w 5495992"/>
                <a:gd name="connsiteY241" fmla="*/ 944652 h 2374809"/>
                <a:gd name="connsiteX242" fmla="*/ 3503516 w 5495992"/>
                <a:gd name="connsiteY242" fmla="*/ 932118 h 2374809"/>
                <a:gd name="connsiteX243" fmla="*/ 3468406 w 5495992"/>
                <a:gd name="connsiteY243" fmla="*/ 917144 h 2374809"/>
                <a:gd name="connsiteX244" fmla="*/ 3480583 w 5495992"/>
                <a:gd name="connsiteY244" fmla="*/ 908186 h 2374809"/>
                <a:gd name="connsiteX245" fmla="*/ 3424813 w 5495992"/>
                <a:gd name="connsiteY245" fmla="*/ 881047 h 2374809"/>
                <a:gd name="connsiteX246" fmla="*/ 3357230 w 5495992"/>
                <a:gd name="connsiteY246" fmla="*/ 853171 h 2374809"/>
                <a:gd name="connsiteX247" fmla="*/ 3304464 w 5495992"/>
                <a:gd name="connsiteY247" fmla="*/ 836961 h 2374809"/>
                <a:gd name="connsiteX248" fmla="*/ 3299959 w 5495992"/>
                <a:gd name="connsiteY248" fmla="*/ 844214 h 2374809"/>
                <a:gd name="connsiteX249" fmla="*/ 3293220 w 5495992"/>
                <a:gd name="connsiteY249" fmla="*/ 834187 h 2374809"/>
                <a:gd name="connsiteX250" fmla="*/ 3283723 w 5495992"/>
                <a:gd name="connsiteY250" fmla="*/ 816506 h 2374809"/>
                <a:gd name="connsiteX251" fmla="*/ 3246623 w 5495992"/>
                <a:gd name="connsiteY251" fmla="*/ 807147 h 2374809"/>
                <a:gd name="connsiteX252" fmla="*/ 3190123 w 5495992"/>
                <a:gd name="connsiteY252" fmla="*/ 776865 h 2374809"/>
                <a:gd name="connsiteX253" fmla="*/ 3169462 w 5495992"/>
                <a:gd name="connsiteY253" fmla="*/ 778102 h 2374809"/>
                <a:gd name="connsiteX254" fmla="*/ 3188540 w 5495992"/>
                <a:gd name="connsiteY254" fmla="*/ 789700 h 2374809"/>
                <a:gd name="connsiteX255" fmla="*/ 3152943 w 5495992"/>
                <a:gd name="connsiteY255" fmla="*/ 781177 h 2374809"/>
                <a:gd name="connsiteX256" fmla="*/ 3120471 w 5495992"/>
                <a:gd name="connsiteY256" fmla="*/ 777634 h 2374809"/>
                <a:gd name="connsiteX257" fmla="*/ 3062346 w 5495992"/>
                <a:gd name="connsiteY257" fmla="*/ 762527 h 2374809"/>
                <a:gd name="connsiteX258" fmla="*/ 3021472 w 5495992"/>
                <a:gd name="connsiteY258" fmla="*/ 757613 h 2374809"/>
                <a:gd name="connsiteX259" fmla="*/ 3059505 w 5495992"/>
                <a:gd name="connsiteY259" fmla="*/ 751630 h 2374809"/>
                <a:gd name="connsiteX260" fmla="*/ 3083574 w 5495992"/>
                <a:gd name="connsiteY260" fmla="*/ 753435 h 2374809"/>
                <a:gd name="connsiteX261" fmla="*/ 3118523 w 5495992"/>
                <a:gd name="connsiteY261" fmla="*/ 761758 h 2374809"/>
                <a:gd name="connsiteX262" fmla="*/ 3171289 w 5495992"/>
                <a:gd name="connsiteY262" fmla="*/ 766103 h 2374809"/>
                <a:gd name="connsiteX263" fmla="*/ 3220971 w 5495992"/>
                <a:gd name="connsiteY263" fmla="*/ 768910 h 2374809"/>
                <a:gd name="connsiteX264" fmla="*/ 3265620 w 5495992"/>
                <a:gd name="connsiteY264" fmla="*/ 776130 h 2374809"/>
                <a:gd name="connsiteX265" fmla="*/ 3313718 w 5495992"/>
                <a:gd name="connsiteY265" fmla="*/ 781611 h 2374809"/>
                <a:gd name="connsiteX266" fmla="*/ 3337626 w 5495992"/>
                <a:gd name="connsiteY266" fmla="*/ 781043 h 2374809"/>
                <a:gd name="connsiteX267" fmla="*/ 3328209 w 5495992"/>
                <a:gd name="connsiteY267" fmla="*/ 768075 h 2374809"/>
                <a:gd name="connsiteX268" fmla="*/ 3351589 w 5495992"/>
                <a:gd name="connsiteY268" fmla="*/ 771818 h 2374809"/>
                <a:gd name="connsiteX269" fmla="*/ 3339412 w 5495992"/>
                <a:gd name="connsiteY269" fmla="*/ 760454 h 2374809"/>
                <a:gd name="connsiteX270" fmla="*/ 3339980 w 5495992"/>
                <a:gd name="connsiteY270" fmla="*/ 749892 h 2374809"/>
                <a:gd name="connsiteX271" fmla="*/ 3322486 w 5495992"/>
                <a:gd name="connsiteY271" fmla="*/ 742539 h 2374809"/>
                <a:gd name="connsiteX272" fmla="*/ 3319442 w 5495992"/>
                <a:gd name="connsiteY272" fmla="*/ 725360 h 2374809"/>
                <a:gd name="connsiteX273" fmla="*/ 3288837 w 5495992"/>
                <a:gd name="connsiteY273" fmla="*/ 713661 h 2374809"/>
                <a:gd name="connsiteX274" fmla="*/ 3239642 w 5495992"/>
                <a:gd name="connsiteY274" fmla="*/ 690465 h 2374809"/>
                <a:gd name="connsiteX275" fmla="*/ 3183060 w 5495992"/>
                <a:gd name="connsiteY275" fmla="*/ 669375 h 2374809"/>
                <a:gd name="connsiteX276" fmla="*/ 3155702 w 5495992"/>
                <a:gd name="connsiteY276" fmla="*/ 667871 h 2374809"/>
                <a:gd name="connsiteX277" fmla="*/ 3121445 w 5495992"/>
                <a:gd name="connsiteY277" fmla="*/ 657075 h 2374809"/>
                <a:gd name="connsiteX278" fmla="*/ 3144825 w 5495992"/>
                <a:gd name="connsiteY278" fmla="*/ 648519 h 2374809"/>
                <a:gd name="connsiteX279" fmla="*/ 3099080 w 5495992"/>
                <a:gd name="connsiteY279" fmla="*/ 630236 h 2374809"/>
                <a:gd name="connsiteX280" fmla="*/ 3084142 w 5495992"/>
                <a:gd name="connsiteY280" fmla="*/ 622047 h 2374809"/>
                <a:gd name="connsiteX281" fmla="*/ 3046516 w 5495992"/>
                <a:gd name="connsiteY281" fmla="*/ 607508 h 2374809"/>
                <a:gd name="connsiteX282" fmla="*/ 3104235 w 5495992"/>
                <a:gd name="connsiteY282" fmla="*/ 617836 h 2374809"/>
                <a:gd name="connsiteX283" fmla="*/ 3068638 w 5495992"/>
                <a:gd name="connsiteY283" fmla="*/ 594038 h 2374809"/>
                <a:gd name="connsiteX284" fmla="*/ 3006698 w 5495992"/>
                <a:gd name="connsiteY284" fmla="*/ 573483 h 2374809"/>
                <a:gd name="connsiteX285" fmla="*/ 2954986 w 5495992"/>
                <a:gd name="connsiteY285" fmla="*/ 571277 h 2374809"/>
                <a:gd name="connsiteX286" fmla="*/ 2917846 w 5495992"/>
                <a:gd name="connsiteY286" fmla="*/ 575589 h 2374809"/>
                <a:gd name="connsiteX287" fmla="*/ 2925112 w 5495992"/>
                <a:gd name="connsiteY287" fmla="*/ 580602 h 2374809"/>
                <a:gd name="connsiteX288" fmla="*/ 2923245 w 5495992"/>
                <a:gd name="connsiteY288" fmla="*/ 586117 h 2374809"/>
                <a:gd name="connsiteX289" fmla="*/ 2902463 w 5495992"/>
                <a:gd name="connsiteY289" fmla="*/ 582540 h 2374809"/>
                <a:gd name="connsiteX290" fmla="*/ 2856800 w 5495992"/>
                <a:gd name="connsiteY290" fmla="*/ 568703 h 2374809"/>
                <a:gd name="connsiteX291" fmla="*/ 2866866 w 5495992"/>
                <a:gd name="connsiteY291" fmla="*/ 583978 h 2374809"/>
                <a:gd name="connsiteX292" fmla="*/ 2814870 w 5495992"/>
                <a:gd name="connsiteY292" fmla="*/ 565795 h 2374809"/>
                <a:gd name="connsiteX293" fmla="*/ 2791328 w 5495992"/>
                <a:gd name="connsiteY293" fmla="*/ 563890 h 2374809"/>
                <a:gd name="connsiteX294" fmla="*/ 2762509 w 5495992"/>
                <a:gd name="connsiteY294" fmla="*/ 554130 h 2374809"/>
                <a:gd name="connsiteX295" fmla="*/ 2769572 w 5495992"/>
                <a:gd name="connsiteY295" fmla="*/ 545674 h 2374809"/>
                <a:gd name="connsiteX296" fmla="*/ 2728089 w 5495992"/>
                <a:gd name="connsiteY296" fmla="*/ 537653 h 2374809"/>
                <a:gd name="connsiteX297" fmla="*/ 2705805 w 5495992"/>
                <a:gd name="connsiteY297" fmla="*/ 533675 h 2374809"/>
                <a:gd name="connsiteX298" fmla="*/ 2672562 w 5495992"/>
                <a:gd name="connsiteY298" fmla="*/ 525720 h 2374809"/>
                <a:gd name="connsiteX299" fmla="*/ 2679584 w 5495992"/>
                <a:gd name="connsiteY299" fmla="*/ 537084 h 2374809"/>
                <a:gd name="connsiteX300" fmla="*/ 2575106 w 5495992"/>
                <a:gd name="connsiteY300" fmla="*/ 513989 h 2374809"/>
                <a:gd name="connsiteX301" fmla="*/ 2550996 w 5495992"/>
                <a:gd name="connsiteY301" fmla="*/ 512652 h 2374809"/>
                <a:gd name="connsiteX302" fmla="*/ 2514466 w 5495992"/>
                <a:gd name="connsiteY302" fmla="*/ 507538 h 2374809"/>
                <a:gd name="connsiteX303" fmla="*/ 2486053 w 5495992"/>
                <a:gd name="connsiteY303" fmla="*/ 507538 h 2374809"/>
                <a:gd name="connsiteX304" fmla="*/ 2459344 w 5495992"/>
                <a:gd name="connsiteY304" fmla="*/ 499316 h 2374809"/>
                <a:gd name="connsiteX305" fmla="*/ 2459588 w 5495992"/>
                <a:gd name="connsiteY305" fmla="*/ 504329 h 2374809"/>
                <a:gd name="connsiteX306" fmla="*/ 2437832 w 5495992"/>
                <a:gd name="connsiteY306" fmla="*/ 502591 h 2374809"/>
                <a:gd name="connsiteX307" fmla="*/ 2447411 w 5495992"/>
                <a:gd name="connsiteY307" fmla="*/ 511983 h 2374809"/>
                <a:gd name="connsiteX308" fmla="*/ 2427116 w 5495992"/>
                <a:gd name="connsiteY308" fmla="*/ 505299 h 2374809"/>
                <a:gd name="connsiteX309" fmla="*/ 2420662 w 5495992"/>
                <a:gd name="connsiteY309" fmla="*/ 507839 h 2374809"/>
                <a:gd name="connsiteX310" fmla="*/ 2447005 w 5495992"/>
                <a:gd name="connsiteY310" fmla="*/ 519571 h 2374809"/>
                <a:gd name="connsiteX311" fmla="*/ 2420013 w 5495992"/>
                <a:gd name="connsiteY311" fmla="*/ 518601 h 2374809"/>
                <a:gd name="connsiteX312" fmla="*/ 2439780 w 5495992"/>
                <a:gd name="connsiteY312" fmla="*/ 538655 h 2374809"/>
                <a:gd name="connsiteX313" fmla="*/ 2416603 w 5495992"/>
                <a:gd name="connsiteY313" fmla="*/ 533776 h 2374809"/>
                <a:gd name="connsiteX314" fmla="*/ 2394157 w 5495992"/>
                <a:gd name="connsiteY314" fmla="*/ 529598 h 2374809"/>
                <a:gd name="connsiteX315" fmla="*/ 2373376 w 5495992"/>
                <a:gd name="connsiteY315" fmla="*/ 525954 h 2374809"/>
                <a:gd name="connsiteX316" fmla="*/ 2311395 w 5495992"/>
                <a:gd name="connsiteY316" fmla="*/ 511983 h 2374809"/>
                <a:gd name="connsiteX317" fmla="*/ 2242108 w 5495992"/>
                <a:gd name="connsiteY317" fmla="*/ 496742 h 2374809"/>
                <a:gd name="connsiteX318" fmla="*/ 2215360 w 5495992"/>
                <a:gd name="connsiteY318" fmla="*/ 508608 h 2374809"/>
                <a:gd name="connsiteX319" fmla="*/ 2223478 w 5495992"/>
                <a:gd name="connsiteY319" fmla="*/ 530099 h 2374809"/>
                <a:gd name="connsiteX320" fmla="*/ 2270197 w 5495992"/>
                <a:gd name="connsiteY320" fmla="*/ 553495 h 2374809"/>
                <a:gd name="connsiteX321" fmla="*/ 2245599 w 5495992"/>
                <a:gd name="connsiteY321" fmla="*/ 560481 h 2374809"/>
                <a:gd name="connsiteX322" fmla="*/ 2195836 w 5495992"/>
                <a:gd name="connsiteY322" fmla="*/ 531837 h 2374809"/>
                <a:gd name="connsiteX323" fmla="*/ 2141040 w 5495992"/>
                <a:gd name="connsiteY323" fmla="*/ 512685 h 2374809"/>
                <a:gd name="connsiteX324" fmla="*/ 2105564 w 5495992"/>
                <a:gd name="connsiteY324" fmla="*/ 498079 h 2374809"/>
                <a:gd name="connsiteX325" fmla="*/ 2084539 w 5495992"/>
                <a:gd name="connsiteY325" fmla="*/ 499683 h 2374809"/>
                <a:gd name="connsiteX326" fmla="*/ 2105077 w 5495992"/>
                <a:gd name="connsiteY326" fmla="*/ 507237 h 2374809"/>
                <a:gd name="connsiteX327" fmla="*/ 2099517 w 5495992"/>
                <a:gd name="connsiteY327" fmla="*/ 509376 h 2374809"/>
                <a:gd name="connsiteX328" fmla="*/ 2119202 w 5495992"/>
                <a:gd name="connsiteY328" fmla="*/ 518167 h 2374809"/>
                <a:gd name="connsiteX329" fmla="*/ 2108934 w 5495992"/>
                <a:gd name="connsiteY329" fmla="*/ 520807 h 2374809"/>
                <a:gd name="connsiteX330" fmla="*/ 2071550 w 5495992"/>
                <a:gd name="connsiteY330" fmla="*/ 507137 h 2374809"/>
                <a:gd name="connsiteX331" fmla="*/ 2050362 w 5495992"/>
                <a:gd name="connsiteY331" fmla="*/ 512017 h 2374809"/>
                <a:gd name="connsiteX332" fmla="*/ 2109623 w 5495992"/>
                <a:gd name="connsiteY332" fmla="*/ 544471 h 2374809"/>
                <a:gd name="connsiteX333" fmla="*/ 2124438 w 5495992"/>
                <a:gd name="connsiteY333" fmla="*/ 555167 h 2374809"/>
                <a:gd name="connsiteX334" fmla="*/ 2101830 w 5495992"/>
                <a:gd name="connsiteY334" fmla="*/ 551356 h 2374809"/>
                <a:gd name="connsiteX335" fmla="*/ 2037414 w 5495992"/>
                <a:gd name="connsiteY335" fmla="*/ 526289 h 2374809"/>
                <a:gd name="connsiteX336" fmla="*/ 2016307 w 5495992"/>
                <a:gd name="connsiteY336" fmla="*/ 516529 h 2374809"/>
                <a:gd name="connsiteX337" fmla="*/ 2020934 w 5495992"/>
                <a:gd name="connsiteY337" fmla="*/ 511749 h 2374809"/>
                <a:gd name="connsiteX338" fmla="*/ 2018337 w 5495992"/>
                <a:gd name="connsiteY338" fmla="*/ 503159 h 2374809"/>
                <a:gd name="connsiteX339" fmla="*/ 2025400 w 5495992"/>
                <a:gd name="connsiteY339" fmla="*/ 470672 h 2374809"/>
                <a:gd name="connsiteX340" fmla="*/ 1999179 w 5495992"/>
                <a:gd name="connsiteY340" fmla="*/ 490291 h 2374809"/>
                <a:gd name="connsiteX341" fmla="*/ 1951810 w 5495992"/>
                <a:gd name="connsiteY341" fmla="*/ 492598 h 2374809"/>
                <a:gd name="connsiteX342" fmla="*/ 1936670 w 5495992"/>
                <a:gd name="connsiteY342" fmla="*/ 498046 h 2374809"/>
                <a:gd name="connsiteX343" fmla="*/ 1952216 w 5495992"/>
                <a:gd name="connsiteY343" fmla="*/ 511649 h 2374809"/>
                <a:gd name="connsiteX344" fmla="*/ 1960334 w 5495992"/>
                <a:gd name="connsiteY344" fmla="*/ 536550 h 2374809"/>
                <a:gd name="connsiteX345" fmla="*/ 1933788 w 5495992"/>
                <a:gd name="connsiteY345" fmla="*/ 566631 h 2374809"/>
                <a:gd name="connsiteX346" fmla="*/ 2002142 w 5495992"/>
                <a:gd name="connsiteY346" fmla="*/ 582942 h 2374809"/>
                <a:gd name="connsiteX347" fmla="*/ 2064324 w 5495992"/>
                <a:gd name="connsiteY347" fmla="*/ 609246 h 2374809"/>
                <a:gd name="connsiteX348" fmla="*/ 2073052 w 5495992"/>
                <a:gd name="connsiteY348" fmla="*/ 626994 h 2374809"/>
                <a:gd name="connsiteX349" fmla="*/ 2054827 w 5495992"/>
                <a:gd name="connsiteY349" fmla="*/ 630838 h 2374809"/>
                <a:gd name="connsiteX350" fmla="*/ 2087299 w 5495992"/>
                <a:gd name="connsiteY350" fmla="*/ 655337 h 2374809"/>
                <a:gd name="connsiteX351" fmla="*/ 2059982 w 5495992"/>
                <a:gd name="connsiteY351" fmla="*/ 648652 h 2374809"/>
                <a:gd name="connsiteX352" fmla="*/ 2039078 w 5495992"/>
                <a:gd name="connsiteY352" fmla="*/ 632442 h 2374809"/>
                <a:gd name="connsiteX353" fmla="*/ 2050402 w 5495992"/>
                <a:gd name="connsiteY353" fmla="*/ 617936 h 2374809"/>
                <a:gd name="connsiteX354" fmla="*/ 2024060 w 5495992"/>
                <a:gd name="connsiteY354" fmla="*/ 596010 h 2374809"/>
                <a:gd name="connsiteX355" fmla="*/ 1956518 w 5495992"/>
                <a:gd name="connsiteY355" fmla="*/ 593203 h 2374809"/>
                <a:gd name="connsiteX356" fmla="*/ 1961592 w 5495992"/>
                <a:gd name="connsiteY356" fmla="*/ 615195 h 2374809"/>
                <a:gd name="connsiteX357" fmla="*/ 1930988 w 5495992"/>
                <a:gd name="connsiteY357" fmla="*/ 623518 h 2374809"/>
                <a:gd name="connsiteX358" fmla="*/ 1906634 w 5495992"/>
                <a:gd name="connsiteY358" fmla="*/ 631038 h 2374809"/>
                <a:gd name="connsiteX359" fmla="*/ 1863771 w 5495992"/>
                <a:gd name="connsiteY359" fmla="*/ 634782 h 2374809"/>
                <a:gd name="connsiteX360" fmla="*/ 1836535 w 5495992"/>
                <a:gd name="connsiteY360" fmla="*/ 633445 h 2374809"/>
                <a:gd name="connsiteX361" fmla="*/ 1783769 w 5495992"/>
                <a:gd name="connsiteY361" fmla="*/ 621345 h 2374809"/>
                <a:gd name="connsiteX362" fmla="*/ 1771267 w 5495992"/>
                <a:gd name="connsiteY362" fmla="*/ 614661 h 2374809"/>
                <a:gd name="connsiteX363" fmla="*/ 1751216 w 5495992"/>
                <a:gd name="connsiteY363" fmla="*/ 609814 h 2374809"/>
                <a:gd name="connsiteX364" fmla="*/ 1768101 w 5495992"/>
                <a:gd name="connsiteY364" fmla="*/ 609279 h 2374809"/>
                <a:gd name="connsiteX365" fmla="*/ 1797001 w 5495992"/>
                <a:gd name="connsiteY365" fmla="*/ 615964 h 2374809"/>
                <a:gd name="connsiteX366" fmla="*/ 1825414 w 5495992"/>
                <a:gd name="connsiteY366" fmla="*/ 621178 h 2374809"/>
                <a:gd name="connsiteX367" fmla="*/ 1845709 w 5495992"/>
                <a:gd name="connsiteY367" fmla="*/ 616165 h 2374809"/>
                <a:gd name="connsiteX368" fmla="*/ 1869819 w 5495992"/>
                <a:gd name="connsiteY368" fmla="*/ 608544 h 2374809"/>
                <a:gd name="connsiteX369" fmla="*/ 1894741 w 5495992"/>
                <a:gd name="connsiteY369" fmla="*/ 604834 h 2374809"/>
                <a:gd name="connsiteX370" fmla="*/ 1910977 w 5495992"/>
                <a:gd name="connsiteY370" fmla="*/ 590195 h 2374809"/>
                <a:gd name="connsiteX371" fmla="*/ 1912073 w 5495992"/>
                <a:gd name="connsiteY371" fmla="*/ 578864 h 2374809"/>
                <a:gd name="connsiteX372" fmla="*/ 1898313 w 5495992"/>
                <a:gd name="connsiteY372" fmla="*/ 560381 h 2374809"/>
                <a:gd name="connsiteX373" fmla="*/ 1905335 w 5495992"/>
                <a:gd name="connsiteY373" fmla="*/ 539257 h 2374809"/>
                <a:gd name="connsiteX374" fmla="*/ 1920637 w 5495992"/>
                <a:gd name="connsiteY374" fmla="*/ 515493 h 2374809"/>
                <a:gd name="connsiteX375" fmla="*/ 1913899 w 5495992"/>
                <a:gd name="connsiteY375" fmla="*/ 480532 h 2374809"/>
                <a:gd name="connsiteX376" fmla="*/ 1928309 w 5495992"/>
                <a:gd name="connsiteY376" fmla="*/ 449414 h 2374809"/>
                <a:gd name="connsiteX377" fmla="*/ 1851878 w 5495992"/>
                <a:gd name="connsiteY377" fmla="*/ 429360 h 2374809"/>
                <a:gd name="connsiteX378" fmla="*/ 1817458 w 5495992"/>
                <a:gd name="connsiteY378" fmla="*/ 423645 h 2374809"/>
                <a:gd name="connsiteX379" fmla="*/ 1786366 w 5495992"/>
                <a:gd name="connsiteY379" fmla="*/ 440357 h 2374809"/>
                <a:gd name="connsiteX380" fmla="*/ 1755680 w 5495992"/>
                <a:gd name="connsiteY380" fmla="*/ 454628 h 2374809"/>
                <a:gd name="connsiteX381" fmla="*/ 1717932 w 5495992"/>
                <a:gd name="connsiteY381" fmla="*/ 455665 h 2374809"/>
                <a:gd name="connsiteX382" fmla="*/ 1719312 w 5495992"/>
                <a:gd name="connsiteY382" fmla="*/ 471039 h 2374809"/>
                <a:gd name="connsiteX383" fmla="*/ 1717486 w 5495992"/>
                <a:gd name="connsiteY383" fmla="*/ 485044 h 2374809"/>
                <a:gd name="connsiteX384" fmla="*/ 1717242 w 5495992"/>
                <a:gd name="connsiteY384" fmla="*/ 491027 h 2374809"/>
                <a:gd name="connsiteX385" fmla="*/ 1700316 w 5495992"/>
                <a:gd name="connsiteY385" fmla="*/ 495806 h 2374809"/>
                <a:gd name="connsiteX386" fmla="*/ 1718662 w 5495992"/>
                <a:gd name="connsiteY386" fmla="*/ 509945 h 2374809"/>
                <a:gd name="connsiteX387" fmla="*/ 1744437 w 5495992"/>
                <a:gd name="connsiteY387" fmla="*/ 528796 h 2374809"/>
                <a:gd name="connsiteX388" fmla="*/ 1765016 w 5495992"/>
                <a:gd name="connsiteY388" fmla="*/ 546677 h 2374809"/>
                <a:gd name="connsiteX389" fmla="*/ 1717648 w 5495992"/>
                <a:gd name="connsiteY389" fmla="*/ 540828 h 2374809"/>
                <a:gd name="connsiteX390" fmla="*/ 1643693 w 5495992"/>
                <a:gd name="connsiteY390" fmla="*/ 504764 h 2374809"/>
                <a:gd name="connsiteX391" fmla="*/ 1564137 w 5495992"/>
                <a:gd name="connsiteY391" fmla="*/ 473546 h 2374809"/>
                <a:gd name="connsiteX392" fmla="*/ 1473379 w 5495992"/>
                <a:gd name="connsiteY392" fmla="*/ 451086 h 2374809"/>
                <a:gd name="connsiteX393" fmla="*/ 1410749 w 5495992"/>
                <a:gd name="connsiteY393" fmla="*/ 433171 h 2374809"/>
                <a:gd name="connsiteX394" fmla="*/ 1469685 w 5495992"/>
                <a:gd name="connsiteY394" fmla="*/ 461480 h 2374809"/>
                <a:gd name="connsiteX395" fmla="*/ 1472323 w 5495992"/>
                <a:gd name="connsiteY395" fmla="*/ 472778 h 2374809"/>
                <a:gd name="connsiteX396" fmla="*/ 1484297 w 5495992"/>
                <a:gd name="connsiteY396" fmla="*/ 483841 h 2374809"/>
                <a:gd name="connsiteX397" fmla="*/ 1452272 w 5495992"/>
                <a:gd name="connsiteY397" fmla="*/ 486047 h 2374809"/>
                <a:gd name="connsiteX398" fmla="*/ 1438350 w 5495992"/>
                <a:gd name="connsiteY398" fmla="*/ 493734 h 2374809"/>
                <a:gd name="connsiteX399" fmla="*/ 1427066 w 5495992"/>
                <a:gd name="connsiteY399" fmla="*/ 480365 h 2374809"/>
                <a:gd name="connsiteX400" fmla="*/ 1404904 w 5495992"/>
                <a:gd name="connsiteY400" fmla="*/ 468499 h 2374809"/>
                <a:gd name="connsiteX401" fmla="*/ 1370605 w 5495992"/>
                <a:gd name="connsiteY401" fmla="*/ 470906 h 2374809"/>
                <a:gd name="connsiteX402" fmla="*/ 1339514 w 5495992"/>
                <a:gd name="connsiteY402" fmla="*/ 471441 h 2374809"/>
                <a:gd name="connsiteX403" fmla="*/ 1277493 w 5495992"/>
                <a:gd name="connsiteY403" fmla="*/ 464488 h 2374809"/>
                <a:gd name="connsiteX404" fmla="*/ 1257198 w 5495992"/>
                <a:gd name="connsiteY404" fmla="*/ 469870 h 2374809"/>
                <a:gd name="connsiteX405" fmla="*/ 1215837 w 5495992"/>
                <a:gd name="connsiteY405" fmla="*/ 462784 h 2374809"/>
                <a:gd name="connsiteX406" fmla="*/ 1227202 w 5495992"/>
                <a:gd name="connsiteY406" fmla="*/ 458706 h 2374809"/>
                <a:gd name="connsiteX407" fmla="*/ 1229800 w 5495992"/>
                <a:gd name="connsiteY407" fmla="*/ 454161 h 2374809"/>
                <a:gd name="connsiteX408" fmla="*/ 1238527 w 5495992"/>
                <a:gd name="connsiteY408" fmla="*/ 445537 h 2374809"/>
                <a:gd name="connsiteX409" fmla="*/ 1191117 w 5495992"/>
                <a:gd name="connsiteY409" fmla="*/ 443498 h 2374809"/>
                <a:gd name="connsiteX410" fmla="*/ 1172365 w 5495992"/>
                <a:gd name="connsiteY410" fmla="*/ 447509 h 2374809"/>
                <a:gd name="connsiteX411" fmla="*/ 1139000 w 5495992"/>
                <a:gd name="connsiteY411" fmla="*/ 442730 h 2374809"/>
                <a:gd name="connsiteX412" fmla="*/ 1098005 w 5495992"/>
                <a:gd name="connsiteY412" fmla="*/ 443298 h 2374809"/>
                <a:gd name="connsiteX413" fmla="*/ 1066304 w 5495992"/>
                <a:gd name="connsiteY413" fmla="*/ 448378 h 2374809"/>
                <a:gd name="connsiteX414" fmla="*/ 1043696 w 5495992"/>
                <a:gd name="connsiteY414" fmla="*/ 452255 h 2374809"/>
                <a:gd name="connsiteX415" fmla="*/ 1003755 w 5495992"/>
                <a:gd name="connsiteY415" fmla="*/ 455330 h 2374809"/>
                <a:gd name="connsiteX416" fmla="*/ 993405 w 5495992"/>
                <a:gd name="connsiteY416" fmla="*/ 469602 h 2374809"/>
                <a:gd name="connsiteX417" fmla="*/ 955250 w 5495992"/>
                <a:gd name="connsiteY417" fmla="*/ 466460 h 2374809"/>
                <a:gd name="connsiteX418" fmla="*/ 927284 w 5495992"/>
                <a:gd name="connsiteY418" fmla="*/ 458238 h 2374809"/>
                <a:gd name="connsiteX419" fmla="*/ 910074 w 5495992"/>
                <a:gd name="connsiteY419" fmla="*/ 441961 h 2374809"/>
                <a:gd name="connsiteX420" fmla="*/ 939948 w 5495992"/>
                <a:gd name="connsiteY420" fmla="*/ 436012 h 2374809"/>
                <a:gd name="connsiteX421" fmla="*/ 971892 w 5495992"/>
                <a:gd name="connsiteY421" fmla="*/ 437716 h 2374809"/>
                <a:gd name="connsiteX422" fmla="*/ 952896 w 5495992"/>
                <a:gd name="connsiteY422" fmla="*/ 420269 h 2374809"/>
                <a:gd name="connsiteX423" fmla="*/ 915757 w 5495992"/>
                <a:gd name="connsiteY423" fmla="*/ 409072 h 2374809"/>
                <a:gd name="connsiteX424" fmla="*/ 866156 w 5495992"/>
                <a:gd name="connsiteY424" fmla="*/ 401585 h 2374809"/>
                <a:gd name="connsiteX425" fmla="*/ 871270 w 5495992"/>
                <a:gd name="connsiteY425" fmla="*/ 408771 h 2374809"/>
                <a:gd name="connsiteX426" fmla="*/ 860676 w 5495992"/>
                <a:gd name="connsiteY426" fmla="*/ 444601 h 2374809"/>
                <a:gd name="connsiteX427" fmla="*/ 884584 w 5495992"/>
                <a:gd name="connsiteY427" fmla="*/ 455832 h 2374809"/>
                <a:gd name="connsiteX428" fmla="*/ 872163 w 5495992"/>
                <a:gd name="connsiteY428" fmla="*/ 471975 h 2374809"/>
                <a:gd name="connsiteX429" fmla="*/ 855927 w 5495992"/>
                <a:gd name="connsiteY429" fmla="*/ 472410 h 2374809"/>
                <a:gd name="connsiteX430" fmla="*/ 846510 w 5495992"/>
                <a:gd name="connsiteY430" fmla="*/ 466260 h 2374809"/>
                <a:gd name="connsiteX431" fmla="*/ 825850 w 5495992"/>
                <a:gd name="connsiteY431" fmla="*/ 461280 h 2374809"/>
                <a:gd name="connsiteX432" fmla="*/ 789076 w 5495992"/>
                <a:gd name="connsiteY432" fmla="*/ 461982 h 2374809"/>
                <a:gd name="connsiteX433" fmla="*/ 751855 w 5495992"/>
                <a:gd name="connsiteY433" fmla="*/ 465525 h 2374809"/>
                <a:gd name="connsiteX434" fmla="*/ 717110 w 5495992"/>
                <a:gd name="connsiteY434" fmla="*/ 475217 h 2374809"/>
                <a:gd name="connsiteX435" fmla="*/ 733914 w 5495992"/>
                <a:gd name="connsiteY435" fmla="*/ 498814 h 2374809"/>
                <a:gd name="connsiteX436" fmla="*/ 689266 w 5495992"/>
                <a:gd name="connsiteY436" fmla="*/ 495873 h 2374809"/>
                <a:gd name="connsiteX437" fmla="*/ 654440 w 5495992"/>
                <a:gd name="connsiteY437" fmla="*/ 489790 h 2374809"/>
                <a:gd name="connsiteX438" fmla="*/ 619979 w 5495992"/>
                <a:gd name="connsiteY438" fmla="*/ 475217 h 2374809"/>
                <a:gd name="connsiteX439" fmla="*/ 600496 w 5495992"/>
                <a:gd name="connsiteY439" fmla="*/ 480799 h 2374809"/>
                <a:gd name="connsiteX440" fmla="*/ 606625 w 5495992"/>
                <a:gd name="connsiteY440" fmla="*/ 493533 h 2374809"/>
                <a:gd name="connsiteX441" fmla="*/ 644982 w 5495992"/>
                <a:gd name="connsiteY441" fmla="*/ 508307 h 2374809"/>
                <a:gd name="connsiteX442" fmla="*/ 606016 w 5495992"/>
                <a:gd name="connsiteY442" fmla="*/ 510145 h 2374809"/>
                <a:gd name="connsiteX443" fmla="*/ 588400 w 5495992"/>
                <a:gd name="connsiteY443" fmla="*/ 506134 h 2374809"/>
                <a:gd name="connsiteX444" fmla="*/ 557836 w 5495992"/>
                <a:gd name="connsiteY444" fmla="*/ 494636 h 2374809"/>
                <a:gd name="connsiteX445" fmla="*/ 540626 w 5495992"/>
                <a:gd name="connsiteY445" fmla="*/ 486782 h 2374809"/>
                <a:gd name="connsiteX446" fmla="*/ 534375 w 5495992"/>
                <a:gd name="connsiteY446" fmla="*/ 470404 h 2374809"/>
                <a:gd name="connsiteX447" fmla="*/ 536770 w 5495992"/>
                <a:gd name="connsiteY447" fmla="*/ 459441 h 2374809"/>
                <a:gd name="connsiteX448" fmla="*/ 535755 w 5495992"/>
                <a:gd name="connsiteY448" fmla="*/ 443432 h 2374809"/>
                <a:gd name="connsiteX449" fmla="*/ 508926 w 5495992"/>
                <a:gd name="connsiteY449" fmla="*/ 436012 h 2374809"/>
                <a:gd name="connsiteX450" fmla="*/ 489605 w 5495992"/>
                <a:gd name="connsiteY450" fmla="*/ 426619 h 2374809"/>
                <a:gd name="connsiteX451" fmla="*/ 463709 w 5495992"/>
                <a:gd name="connsiteY451" fmla="*/ 413618 h 2374809"/>
                <a:gd name="connsiteX452" fmla="*/ 449136 w 5495992"/>
                <a:gd name="connsiteY452" fmla="*/ 405763 h 2374809"/>
                <a:gd name="connsiteX453" fmla="*/ 462856 w 5495992"/>
                <a:gd name="connsiteY453" fmla="*/ 406432 h 2374809"/>
                <a:gd name="connsiteX454" fmla="*/ 486723 w 5495992"/>
                <a:gd name="connsiteY454" fmla="*/ 416659 h 2374809"/>
                <a:gd name="connsiteX455" fmla="*/ 550449 w 5495992"/>
                <a:gd name="connsiteY455" fmla="*/ 431733 h 2374809"/>
                <a:gd name="connsiteX456" fmla="*/ 680336 w 5495992"/>
                <a:gd name="connsiteY456" fmla="*/ 455832 h 2374809"/>
                <a:gd name="connsiteX457" fmla="*/ 773246 w 5495992"/>
                <a:gd name="connsiteY457" fmla="*/ 440657 h 2374809"/>
                <a:gd name="connsiteX458" fmla="*/ 763788 w 5495992"/>
                <a:gd name="connsiteY458" fmla="*/ 418364 h 2374809"/>
                <a:gd name="connsiteX459" fmla="*/ 722793 w 5495992"/>
                <a:gd name="connsiteY459" fmla="*/ 401652 h 2374809"/>
                <a:gd name="connsiteX460" fmla="*/ 690930 w 5495992"/>
                <a:gd name="connsiteY460" fmla="*/ 390723 h 2374809"/>
                <a:gd name="connsiteX461" fmla="*/ 645023 w 5495992"/>
                <a:gd name="connsiteY461" fmla="*/ 373677 h 2374809"/>
                <a:gd name="connsiteX462" fmla="*/ 582393 w 5495992"/>
                <a:gd name="connsiteY462" fmla="*/ 353455 h 2374809"/>
                <a:gd name="connsiteX463" fmla="*/ 564574 w 5495992"/>
                <a:gd name="connsiteY463" fmla="*/ 350915 h 2374809"/>
                <a:gd name="connsiteX464" fmla="*/ 541641 w 5495992"/>
                <a:gd name="connsiteY464" fmla="*/ 345935 h 2374809"/>
                <a:gd name="connsiteX465" fmla="*/ 515622 w 5495992"/>
                <a:gd name="connsiteY465" fmla="*/ 346603 h 2374809"/>
                <a:gd name="connsiteX466" fmla="*/ 488468 w 5495992"/>
                <a:gd name="connsiteY466" fmla="*/ 342593 h 2374809"/>
                <a:gd name="connsiteX467" fmla="*/ 484409 w 5495992"/>
                <a:gd name="connsiteY467" fmla="*/ 335273 h 2374809"/>
                <a:gd name="connsiteX468" fmla="*/ 463505 w 5495992"/>
                <a:gd name="connsiteY468" fmla="*/ 324477 h 2374809"/>
                <a:gd name="connsiteX469" fmla="*/ 423565 w 5495992"/>
                <a:gd name="connsiteY469" fmla="*/ 324678 h 2374809"/>
                <a:gd name="connsiteX470" fmla="*/ 387318 w 5495992"/>
                <a:gd name="connsiteY470" fmla="*/ 332332 h 2374809"/>
                <a:gd name="connsiteX471" fmla="*/ 359433 w 5495992"/>
                <a:gd name="connsiteY471" fmla="*/ 336510 h 2374809"/>
                <a:gd name="connsiteX472" fmla="*/ 342021 w 5495992"/>
                <a:gd name="connsiteY472" fmla="*/ 345300 h 2374809"/>
                <a:gd name="connsiteX473" fmla="*/ 334186 w 5495992"/>
                <a:gd name="connsiteY473" fmla="*/ 365354 h 2374809"/>
                <a:gd name="connsiteX474" fmla="*/ 371651 w 5495992"/>
                <a:gd name="connsiteY474" fmla="*/ 380629 h 2374809"/>
                <a:gd name="connsiteX475" fmla="*/ 349935 w 5495992"/>
                <a:gd name="connsiteY475" fmla="*/ 411679 h 2374809"/>
                <a:gd name="connsiteX476" fmla="*/ 378632 w 5495992"/>
                <a:gd name="connsiteY476" fmla="*/ 438919 h 2374809"/>
                <a:gd name="connsiteX477" fmla="*/ 361747 w 5495992"/>
                <a:gd name="connsiteY477" fmla="*/ 451587 h 2374809"/>
                <a:gd name="connsiteX478" fmla="*/ 366496 w 5495992"/>
                <a:gd name="connsiteY478" fmla="*/ 459609 h 2374809"/>
                <a:gd name="connsiteX479" fmla="*/ 361381 w 5495992"/>
                <a:gd name="connsiteY479" fmla="*/ 464254 h 2374809"/>
                <a:gd name="connsiteX480" fmla="*/ 374208 w 5495992"/>
                <a:gd name="connsiteY480" fmla="*/ 470638 h 2374809"/>
                <a:gd name="connsiteX481" fmla="*/ 374208 w 5495992"/>
                <a:gd name="connsiteY481" fmla="*/ 480030 h 2374809"/>
                <a:gd name="connsiteX482" fmla="*/ 373396 w 5495992"/>
                <a:gd name="connsiteY482" fmla="*/ 492397 h 2374809"/>
                <a:gd name="connsiteX483" fmla="*/ 388252 w 5495992"/>
                <a:gd name="connsiteY483" fmla="*/ 506402 h 2374809"/>
                <a:gd name="connsiteX484" fmla="*/ 416421 w 5495992"/>
                <a:gd name="connsiteY484" fmla="*/ 527325 h 2374809"/>
                <a:gd name="connsiteX485" fmla="*/ 375588 w 5495992"/>
                <a:gd name="connsiteY485" fmla="*/ 543335 h 2374809"/>
                <a:gd name="connsiteX486" fmla="*/ 339829 w 5495992"/>
                <a:gd name="connsiteY486" fmla="*/ 559010 h 2374809"/>
                <a:gd name="connsiteX487" fmla="*/ 289619 w 5495992"/>
                <a:gd name="connsiteY487" fmla="*/ 577326 h 2374809"/>
                <a:gd name="connsiteX488" fmla="*/ 321157 w 5495992"/>
                <a:gd name="connsiteY488" fmla="*/ 585682 h 2374809"/>
                <a:gd name="connsiteX489" fmla="*/ 355537 w 5495992"/>
                <a:gd name="connsiteY489" fmla="*/ 595008 h 2374809"/>
                <a:gd name="connsiteX490" fmla="*/ 321035 w 5495992"/>
                <a:gd name="connsiteY490" fmla="*/ 595342 h 2374809"/>
                <a:gd name="connsiteX491" fmla="*/ 287386 w 5495992"/>
                <a:gd name="connsiteY491" fmla="*/ 603464 h 2374809"/>
                <a:gd name="connsiteX492" fmla="*/ 269933 w 5495992"/>
                <a:gd name="connsiteY492" fmla="*/ 619908 h 2374809"/>
                <a:gd name="connsiteX493" fmla="*/ 275656 w 5495992"/>
                <a:gd name="connsiteY493" fmla="*/ 641700 h 2374809"/>
                <a:gd name="connsiteX494" fmla="*/ 265346 w 5495992"/>
                <a:gd name="connsiteY494" fmla="*/ 652630 h 2374809"/>
                <a:gd name="connsiteX495" fmla="*/ 274479 w 5495992"/>
                <a:gd name="connsiteY495" fmla="*/ 662924 h 2374809"/>
                <a:gd name="connsiteX496" fmla="*/ 277239 w 5495992"/>
                <a:gd name="connsiteY496" fmla="*/ 672951 h 2374809"/>
                <a:gd name="connsiteX497" fmla="*/ 295058 w 5495992"/>
                <a:gd name="connsiteY497" fmla="*/ 690666 h 2374809"/>
                <a:gd name="connsiteX498" fmla="*/ 315353 w 5495992"/>
                <a:gd name="connsiteY498" fmla="*/ 692571 h 2374809"/>
                <a:gd name="connsiteX499" fmla="*/ 335079 w 5495992"/>
                <a:gd name="connsiteY499" fmla="*/ 699790 h 2374809"/>
                <a:gd name="connsiteX500" fmla="*/ 374654 w 5495992"/>
                <a:gd name="connsiteY500" fmla="*/ 720379 h 2374809"/>
                <a:gd name="connsiteX501" fmla="*/ 415244 w 5495992"/>
                <a:gd name="connsiteY501" fmla="*/ 753435 h 2374809"/>
                <a:gd name="connsiteX502" fmla="*/ 415691 w 5495992"/>
                <a:gd name="connsiteY502" fmla="*/ 767574 h 2374809"/>
                <a:gd name="connsiteX503" fmla="*/ 386547 w 5495992"/>
                <a:gd name="connsiteY503" fmla="*/ 765000 h 2374809"/>
                <a:gd name="connsiteX504" fmla="*/ 391743 w 5495992"/>
                <a:gd name="connsiteY504" fmla="*/ 785455 h 2374809"/>
                <a:gd name="connsiteX505" fmla="*/ 418897 w 5495992"/>
                <a:gd name="connsiteY505" fmla="*/ 788196 h 2374809"/>
                <a:gd name="connsiteX506" fmla="*/ 451734 w 5495992"/>
                <a:gd name="connsiteY506" fmla="*/ 789466 h 2374809"/>
                <a:gd name="connsiteX507" fmla="*/ 472029 w 5495992"/>
                <a:gd name="connsiteY507" fmla="*/ 803604 h 2374809"/>
                <a:gd name="connsiteX508" fmla="*/ 513715 w 5495992"/>
                <a:gd name="connsiteY508" fmla="*/ 832850 h 2374809"/>
                <a:gd name="connsiteX509" fmla="*/ 535715 w 5495992"/>
                <a:gd name="connsiteY509" fmla="*/ 842609 h 2374809"/>
                <a:gd name="connsiteX510" fmla="*/ 557877 w 5495992"/>
                <a:gd name="connsiteY510" fmla="*/ 845952 h 2374809"/>
                <a:gd name="connsiteX511" fmla="*/ 576142 w 5495992"/>
                <a:gd name="connsiteY511" fmla="*/ 846821 h 2374809"/>
                <a:gd name="connsiteX512" fmla="*/ 651639 w 5495992"/>
                <a:gd name="connsiteY512" fmla="*/ 871320 h 2374809"/>
                <a:gd name="connsiteX513" fmla="*/ 652370 w 5495992"/>
                <a:gd name="connsiteY513" fmla="*/ 884088 h 2374809"/>
                <a:gd name="connsiteX514" fmla="*/ 646159 w 5495992"/>
                <a:gd name="connsiteY514" fmla="*/ 893280 h 2374809"/>
                <a:gd name="connsiteX515" fmla="*/ 644576 w 5495992"/>
                <a:gd name="connsiteY515" fmla="*/ 907785 h 2374809"/>
                <a:gd name="connsiteX516" fmla="*/ 614621 w 5495992"/>
                <a:gd name="connsiteY516" fmla="*/ 905112 h 2374809"/>
                <a:gd name="connsiteX517" fmla="*/ 588847 w 5495992"/>
                <a:gd name="connsiteY517" fmla="*/ 912632 h 2374809"/>
                <a:gd name="connsiteX518" fmla="*/ 620304 w 5495992"/>
                <a:gd name="connsiteY518" fmla="*/ 921088 h 2374809"/>
                <a:gd name="connsiteX519" fmla="*/ 579308 w 5495992"/>
                <a:gd name="connsiteY519" fmla="*/ 931416 h 2374809"/>
                <a:gd name="connsiteX520" fmla="*/ 583367 w 5495992"/>
                <a:gd name="connsiteY520" fmla="*/ 943716 h 2374809"/>
                <a:gd name="connsiteX521" fmla="*/ 559338 w 5495992"/>
                <a:gd name="connsiteY521" fmla="*/ 955314 h 2374809"/>
                <a:gd name="connsiteX522" fmla="*/ 597533 w 5495992"/>
                <a:gd name="connsiteY522" fmla="*/ 982821 h 2374809"/>
                <a:gd name="connsiteX523" fmla="*/ 624281 w 5495992"/>
                <a:gd name="connsiteY523" fmla="*/ 999533 h 2374809"/>
                <a:gd name="connsiteX524" fmla="*/ 644576 w 5495992"/>
                <a:gd name="connsiteY524" fmla="*/ 1002073 h 2374809"/>
                <a:gd name="connsiteX525" fmla="*/ 690321 w 5495992"/>
                <a:gd name="connsiteY525" fmla="*/ 1014306 h 2374809"/>
                <a:gd name="connsiteX526" fmla="*/ 731195 w 5495992"/>
                <a:gd name="connsiteY526" fmla="*/ 1019621 h 2374809"/>
                <a:gd name="connsiteX527" fmla="*/ 772921 w 5495992"/>
                <a:gd name="connsiteY527" fmla="*/ 1035564 h 2374809"/>
                <a:gd name="connsiteX528" fmla="*/ 814769 w 5495992"/>
                <a:gd name="connsiteY528" fmla="*/ 1042249 h 2374809"/>
                <a:gd name="connsiteX529" fmla="*/ 818828 w 5495992"/>
                <a:gd name="connsiteY529" fmla="*/ 1052075 h 2374809"/>
                <a:gd name="connsiteX530" fmla="*/ 832629 w 5495992"/>
                <a:gd name="connsiteY530" fmla="*/ 1057523 h 2374809"/>
                <a:gd name="connsiteX531" fmla="*/ 868429 w 5495992"/>
                <a:gd name="connsiteY531" fmla="*/ 1075204 h 2374809"/>
                <a:gd name="connsiteX532" fmla="*/ 906908 w 5495992"/>
                <a:gd name="connsiteY532" fmla="*/ 1072363 h 2374809"/>
                <a:gd name="connsiteX533" fmla="*/ 876263 w 5495992"/>
                <a:gd name="connsiteY533" fmla="*/ 1040277 h 2374809"/>
                <a:gd name="connsiteX534" fmla="*/ 868145 w 5495992"/>
                <a:gd name="connsiteY534" fmla="*/ 1013805 h 2374809"/>
                <a:gd name="connsiteX535" fmla="*/ 949324 w 5495992"/>
                <a:gd name="connsiteY535" fmla="*/ 980682 h 2374809"/>
                <a:gd name="connsiteX536" fmla="*/ 933819 w 5495992"/>
                <a:gd name="connsiteY536" fmla="*/ 967647 h 2374809"/>
                <a:gd name="connsiteX537" fmla="*/ 917583 w 5495992"/>
                <a:gd name="connsiteY537" fmla="*/ 943616 h 2374809"/>
                <a:gd name="connsiteX538" fmla="*/ 884259 w 5495992"/>
                <a:gd name="connsiteY538" fmla="*/ 936931 h 2374809"/>
                <a:gd name="connsiteX539" fmla="*/ 871311 w 5495992"/>
                <a:gd name="connsiteY539" fmla="*/ 922191 h 2374809"/>
                <a:gd name="connsiteX540" fmla="*/ 878130 w 5495992"/>
                <a:gd name="connsiteY540" fmla="*/ 911395 h 2374809"/>
                <a:gd name="connsiteX541" fmla="*/ 880403 w 5495992"/>
                <a:gd name="connsiteY541" fmla="*/ 900633 h 2374809"/>
                <a:gd name="connsiteX542" fmla="*/ 893879 w 5495992"/>
                <a:gd name="connsiteY542" fmla="*/ 894249 h 2374809"/>
                <a:gd name="connsiteX543" fmla="*/ 903539 w 5495992"/>
                <a:gd name="connsiteY543" fmla="*/ 886361 h 2374809"/>
                <a:gd name="connsiteX544" fmla="*/ 935727 w 5495992"/>
                <a:gd name="connsiteY544" fmla="*/ 898494 h 2374809"/>
                <a:gd name="connsiteX545" fmla="*/ 950095 w 5495992"/>
                <a:gd name="connsiteY545" fmla="*/ 890773 h 2374809"/>
                <a:gd name="connsiteX546" fmla="*/ 972298 w 5495992"/>
                <a:gd name="connsiteY546" fmla="*/ 878640 h 2374809"/>
                <a:gd name="connsiteX547" fmla="*/ 1006110 w 5495992"/>
                <a:gd name="connsiteY547" fmla="*/ 875298 h 2374809"/>
                <a:gd name="connsiteX548" fmla="*/ 1045725 w 5495992"/>
                <a:gd name="connsiteY548" fmla="*/ 875532 h 2374809"/>
                <a:gd name="connsiteX549" fmla="*/ 1072230 w 5495992"/>
                <a:gd name="connsiteY549" fmla="*/ 874730 h 2374809"/>
                <a:gd name="connsiteX550" fmla="*/ 1097517 w 5495992"/>
                <a:gd name="connsiteY550" fmla="*/ 884757 h 2374809"/>
                <a:gd name="connsiteX551" fmla="*/ 1128569 w 5495992"/>
                <a:gd name="connsiteY551" fmla="*/ 896355 h 2374809"/>
                <a:gd name="connsiteX552" fmla="*/ 1149513 w 5495992"/>
                <a:gd name="connsiteY552" fmla="*/ 912598 h 2374809"/>
                <a:gd name="connsiteX553" fmla="*/ 1162827 w 5495992"/>
                <a:gd name="connsiteY553" fmla="*/ 909958 h 2374809"/>
                <a:gd name="connsiteX554" fmla="*/ 1197165 w 5495992"/>
                <a:gd name="connsiteY554" fmla="*/ 918180 h 2374809"/>
                <a:gd name="connsiteX555" fmla="*/ 1223143 w 5495992"/>
                <a:gd name="connsiteY555" fmla="*/ 914136 h 2374809"/>
                <a:gd name="connsiteX556" fmla="*/ 1246198 w 5495992"/>
                <a:gd name="connsiteY556" fmla="*/ 921756 h 2374809"/>
                <a:gd name="connsiteX557" fmla="*/ 1271038 w 5495992"/>
                <a:gd name="connsiteY557" fmla="*/ 920520 h 2374809"/>
                <a:gd name="connsiteX558" fmla="*/ 1291333 w 5495992"/>
                <a:gd name="connsiteY558" fmla="*/ 932251 h 2374809"/>
                <a:gd name="connsiteX559" fmla="*/ 1314916 w 5495992"/>
                <a:gd name="connsiteY559" fmla="*/ 942479 h 2374809"/>
                <a:gd name="connsiteX560" fmla="*/ 1328636 w 5495992"/>
                <a:gd name="connsiteY560" fmla="*/ 936964 h 2374809"/>
                <a:gd name="connsiteX561" fmla="*/ 1376897 w 5495992"/>
                <a:gd name="connsiteY561" fmla="*/ 944284 h 2374809"/>
                <a:gd name="connsiteX562" fmla="*/ 1340731 w 5495992"/>
                <a:gd name="connsiteY562" fmla="*/ 918815 h 2374809"/>
                <a:gd name="connsiteX563" fmla="*/ 1355343 w 5495992"/>
                <a:gd name="connsiteY563" fmla="*/ 912131 h 2374809"/>
                <a:gd name="connsiteX564" fmla="*/ 1364436 w 5495992"/>
                <a:gd name="connsiteY564" fmla="*/ 901468 h 2374809"/>
                <a:gd name="connsiteX565" fmla="*/ 1409937 w 5495992"/>
                <a:gd name="connsiteY565" fmla="*/ 899931 h 2374809"/>
                <a:gd name="connsiteX566" fmla="*/ 1385583 w 5495992"/>
                <a:gd name="connsiteY566" fmla="*/ 889302 h 2374809"/>
                <a:gd name="connsiteX567" fmla="*/ 1385299 w 5495992"/>
                <a:gd name="connsiteY567" fmla="*/ 873025 h 2374809"/>
                <a:gd name="connsiteX568" fmla="*/ 1424630 w 5495992"/>
                <a:gd name="connsiteY568" fmla="*/ 879108 h 2374809"/>
                <a:gd name="connsiteX569" fmla="*/ 1474190 w 5495992"/>
                <a:gd name="connsiteY569" fmla="*/ 882116 h 2374809"/>
                <a:gd name="connsiteX570" fmla="*/ 1522127 w 5495992"/>
                <a:gd name="connsiteY570" fmla="*/ 887497 h 2374809"/>
                <a:gd name="connsiteX571" fmla="*/ 1563447 w 5495992"/>
                <a:gd name="connsiteY571" fmla="*/ 890539 h 2374809"/>
                <a:gd name="connsiteX572" fmla="*/ 1631882 w 5495992"/>
                <a:gd name="connsiteY572" fmla="*/ 895185 h 2374809"/>
                <a:gd name="connsiteX573" fmla="*/ 1686678 w 5495992"/>
                <a:gd name="connsiteY573" fmla="*/ 901201 h 2374809"/>
                <a:gd name="connsiteX574" fmla="*/ 1722194 w 5495992"/>
                <a:gd name="connsiteY574" fmla="*/ 913534 h 2374809"/>
                <a:gd name="connsiteX575" fmla="*/ 1724061 w 5495992"/>
                <a:gd name="connsiteY575" fmla="*/ 925132 h 2374809"/>
                <a:gd name="connsiteX576" fmla="*/ 1718541 w 5495992"/>
                <a:gd name="connsiteY576" fmla="*/ 935159 h 2374809"/>
                <a:gd name="connsiteX577" fmla="*/ 1748943 w 5495992"/>
                <a:gd name="connsiteY577" fmla="*/ 939037 h 2374809"/>
                <a:gd name="connsiteX578" fmla="*/ 1768872 w 5495992"/>
                <a:gd name="connsiteY578" fmla="*/ 949064 h 2374809"/>
                <a:gd name="connsiteX579" fmla="*/ 1791156 w 5495992"/>
                <a:gd name="connsiteY579" fmla="*/ 955514 h 2374809"/>
                <a:gd name="connsiteX580" fmla="*/ 1785879 w 5495992"/>
                <a:gd name="connsiteY580" fmla="*/ 962567 h 2374809"/>
                <a:gd name="connsiteX581" fmla="*/ 1801384 w 5495992"/>
                <a:gd name="connsiteY581" fmla="*/ 967814 h 2374809"/>
                <a:gd name="connsiteX582" fmla="*/ 1816444 w 5495992"/>
                <a:gd name="connsiteY582" fmla="*/ 970522 h 2374809"/>
                <a:gd name="connsiteX583" fmla="*/ 1836373 w 5495992"/>
                <a:gd name="connsiteY583" fmla="*/ 970054 h 2374809"/>
                <a:gd name="connsiteX584" fmla="*/ 1881021 w 5495992"/>
                <a:gd name="connsiteY584" fmla="*/ 968349 h 2374809"/>
                <a:gd name="connsiteX585" fmla="*/ 1900383 w 5495992"/>
                <a:gd name="connsiteY585" fmla="*/ 971691 h 2374809"/>
                <a:gd name="connsiteX586" fmla="*/ 1896689 w 5495992"/>
                <a:gd name="connsiteY586" fmla="*/ 976638 h 2374809"/>
                <a:gd name="connsiteX587" fmla="*/ 1911708 w 5495992"/>
                <a:gd name="connsiteY587" fmla="*/ 991645 h 2374809"/>
                <a:gd name="connsiteX588" fmla="*/ 1936061 w 5495992"/>
                <a:gd name="connsiteY588" fmla="*/ 1014641 h 2374809"/>
                <a:gd name="connsiteX589" fmla="*/ 1968533 w 5495992"/>
                <a:gd name="connsiteY589" fmla="*/ 1068118 h 2374809"/>
                <a:gd name="connsiteX590" fmla="*/ 2005916 w 5495992"/>
                <a:gd name="connsiteY590" fmla="*/ 1074536 h 2374809"/>
                <a:gd name="connsiteX591" fmla="*/ 2035019 w 5495992"/>
                <a:gd name="connsiteY591" fmla="*/ 1092518 h 2374809"/>
                <a:gd name="connsiteX592" fmla="*/ 2079262 w 5495992"/>
                <a:gd name="connsiteY592" fmla="*/ 1098768 h 2374809"/>
                <a:gd name="connsiteX593" fmla="*/ 2100125 w 5495992"/>
                <a:gd name="connsiteY593" fmla="*/ 1114243 h 2374809"/>
                <a:gd name="connsiteX594" fmla="*/ 2120420 w 5495992"/>
                <a:gd name="connsiteY594" fmla="*/ 1129852 h 2374809"/>
                <a:gd name="connsiteX595" fmla="*/ 2134099 w 5495992"/>
                <a:gd name="connsiteY595" fmla="*/ 1146564 h 2374809"/>
                <a:gd name="connsiteX596" fmla="*/ 2171198 w 5495992"/>
                <a:gd name="connsiteY596" fmla="*/ 1154552 h 2374809"/>
                <a:gd name="connsiteX597" fmla="*/ 2287690 w 5495992"/>
                <a:gd name="connsiteY597" fmla="*/ 1174606 h 2374809"/>
                <a:gd name="connsiteX598" fmla="*/ 2352188 w 5495992"/>
                <a:gd name="connsiteY598" fmla="*/ 1180121 h 2374809"/>
                <a:gd name="connsiteX599" fmla="*/ 2382427 w 5495992"/>
                <a:gd name="connsiteY599" fmla="*/ 1192822 h 2374809"/>
                <a:gd name="connsiteX600" fmla="*/ 2398378 w 5495992"/>
                <a:gd name="connsiteY600" fmla="*/ 1207194 h 2374809"/>
                <a:gd name="connsiteX601" fmla="*/ 2454961 w 5495992"/>
                <a:gd name="connsiteY601" fmla="*/ 1233231 h 2374809"/>
                <a:gd name="connsiteX602" fmla="*/ 2484713 w 5495992"/>
                <a:gd name="connsiteY602" fmla="*/ 1239448 h 2374809"/>
                <a:gd name="connsiteX603" fmla="*/ 2503871 w 5495992"/>
                <a:gd name="connsiteY603" fmla="*/ 1231526 h 2374809"/>
                <a:gd name="connsiteX604" fmla="*/ 2530498 w 5495992"/>
                <a:gd name="connsiteY604" fmla="*/ 1210570 h 2374809"/>
                <a:gd name="connsiteX605" fmla="*/ 2560413 w 5495992"/>
                <a:gd name="connsiteY605" fmla="*/ 1215316 h 2374809"/>
                <a:gd name="connsiteX606" fmla="*/ 2598405 w 5495992"/>
                <a:gd name="connsiteY606" fmla="*/ 1235370 h 2374809"/>
                <a:gd name="connsiteX607" fmla="*/ 2629497 w 5495992"/>
                <a:gd name="connsiteY607" fmla="*/ 1252082 h 2374809"/>
                <a:gd name="connsiteX608" fmla="*/ 2632825 w 5495992"/>
                <a:gd name="connsiteY608" fmla="*/ 1268794 h 2374809"/>
                <a:gd name="connsiteX609" fmla="*/ 2680315 w 5495992"/>
                <a:gd name="connsiteY609" fmla="*/ 1299744 h 2374809"/>
                <a:gd name="connsiteX610" fmla="*/ 2795793 w 5495992"/>
                <a:gd name="connsiteY610" fmla="*/ 1344832 h 2374809"/>
                <a:gd name="connsiteX611" fmla="*/ 2810893 w 5495992"/>
                <a:gd name="connsiteY611" fmla="*/ 1363215 h 2374809"/>
                <a:gd name="connsiteX612" fmla="*/ 2836748 w 5495992"/>
                <a:gd name="connsiteY612" fmla="*/ 1375615 h 2374809"/>
                <a:gd name="connsiteX613" fmla="*/ 2888378 w 5495992"/>
                <a:gd name="connsiteY613" fmla="*/ 1396004 h 2374809"/>
                <a:gd name="connsiteX614" fmla="*/ 2949263 w 5495992"/>
                <a:gd name="connsiteY614" fmla="*/ 1410008 h 2374809"/>
                <a:gd name="connsiteX615" fmla="*/ 2980517 w 5495992"/>
                <a:gd name="connsiteY615" fmla="*/ 1411044 h 2374809"/>
                <a:gd name="connsiteX616" fmla="*/ 3019280 w 5495992"/>
                <a:gd name="connsiteY616" fmla="*/ 1422876 h 2374809"/>
                <a:gd name="connsiteX617" fmla="*/ 3042700 w 5495992"/>
                <a:gd name="connsiteY617" fmla="*/ 1438318 h 2374809"/>
                <a:gd name="connsiteX618" fmla="*/ 3073102 w 5495992"/>
                <a:gd name="connsiteY618" fmla="*/ 1452323 h 2374809"/>
                <a:gd name="connsiteX619" fmla="*/ 3130659 w 5495992"/>
                <a:gd name="connsiteY619" fmla="*/ 1473580 h 2374809"/>
                <a:gd name="connsiteX620" fmla="*/ 3156514 w 5495992"/>
                <a:gd name="connsiteY620" fmla="*/ 1469970 h 2374809"/>
                <a:gd name="connsiteX621" fmla="*/ 3178757 w 5495992"/>
                <a:gd name="connsiteY621" fmla="*/ 1461882 h 2374809"/>
                <a:gd name="connsiteX622" fmla="*/ 3222919 w 5495992"/>
                <a:gd name="connsiteY622" fmla="*/ 1445170 h 2374809"/>
                <a:gd name="connsiteX623" fmla="*/ 3212122 w 5495992"/>
                <a:gd name="connsiteY623" fmla="*/ 1434174 h 2374809"/>
                <a:gd name="connsiteX624" fmla="*/ 3248410 w 5495992"/>
                <a:gd name="connsiteY624" fmla="*/ 1433839 h 2374809"/>
                <a:gd name="connsiteX625" fmla="*/ 3310269 w 5495992"/>
                <a:gd name="connsiteY625" fmla="*/ 1457704 h 2374809"/>
                <a:gd name="connsiteX626" fmla="*/ 3377972 w 5495992"/>
                <a:gd name="connsiteY626" fmla="*/ 1499116 h 2374809"/>
                <a:gd name="connsiteX627" fmla="*/ 3386739 w 5495992"/>
                <a:gd name="connsiteY627" fmla="*/ 1517398 h 2374809"/>
                <a:gd name="connsiteX628" fmla="*/ 3393396 w 5495992"/>
                <a:gd name="connsiteY628" fmla="*/ 1535915 h 2374809"/>
                <a:gd name="connsiteX629" fmla="*/ 3403381 w 5495992"/>
                <a:gd name="connsiteY629" fmla="*/ 1581605 h 2374809"/>
                <a:gd name="connsiteX630" fmla="*/ 3401717 w 5495992"/>
                <a:gd name="connsiteY630" fmla="*/ 1595977 h 2374809"/>
                <a:gd name="connsiteX631" fmla="*/ 3433620 w 5495992"/>
                <a:gd name="connsiteY631" fmla="*/ 1618271 h 2374809"/>
                <a:gd name="connsiteX632" fmla="*/ 3458827 w 5495992"/>
                <a:gd name="connsiteY632" fmla="*/ 1638325 h 2374809"/>
                <a:gd name="connsiteX633" fmla="*/ 3473277 w 5495992"/>
                <a:gd name="connsiteY633" fmla="*/ 1658780 h 2374809"/>
                <a:gd name="connsiteX634" fmla="*/ 3478554 w 5495992"/>
                <a:gd name="connsiteY634" fmla="*/ 1679570 h 2374809"/>
                <a:gd name="connsiteX635" fmla="*/ 3519874 w 5495992"/>
                <a:gd name="connsiteY635" fmla="*/ 1699189 h 2374809"/>
                <a:gd name="connsiteX636" fmla="*/ 3552671 w 5495992"/>
                <a:gd name="connsiteY636" fmla="*/ 1705874 h 2374809"/>
                <a:gd name="connsiteX637" fmla="*/ 3578120 w 5495992"/>
                <a:gd name="connsiteY637" fmla="*/ 1715166 h 2374809"/>
                <a:gd name="connsiteX638" fmla="*/ 3575603 w 5495992"/>
                <a:gd name="connsiteY638" fmla="*/ 1732780 h 2374809"/>
                <a:gd name="connsiteX639" fmla="*/ 3565822 w 5495992"/>
                <a:gd name="connsiteY639" fmla="*/ 1733682 h 2374809"/>
                <a:gd name="connsiteX640" fmla="*/ 3548205 w 5495992"/>
                <a:gd name="connsiteY640" fmla="*/ 1741002 h 2374809"/>
                <a:gd name="connsiteX641" fmla="*/ 3520767 w 5495992"/>
                <a:gd name="connsiteY641" fmla="*/ 1746584 h 2374809"/>
                <a:gd name="connsiteX642" fmla="*/ 3496413 w 5495992"/>
                <a:gd name="connsiteY642" fmla="*/ 1751430 h 2374809"/>
                <a:gd name="connsiteX643" fmla="*/ 3470760 w 5495992"/>
                <a:gd name="connsiteY643" fmla="*/ 1739364 h 2374809"/>
                <a:gd name="connsiteX644" fmla="*/ 3439100 w 5495992"/>
                <a:gd name="connsiteY644" fmla="*/ 1733214 h 2374809"/>
                <a:gd name="connsiteX645" fmla="*/ 3417019 w 5495992"/>
                <a:gd name="connsiteY645" fmla="*/ 1770716 h 2374809"/>
                <a:gd name="connsiteX646" fmla="*/ 3460044 w 5495992"/>
                <a:gd name="connsiteY646" fmla="*/ 1789566 h 2374809"/>
                <a:gd name="connsiteX647" fmla="*/ 3495764 w 5495992"/>
                <a:gd name="connsiteY647" fmla="*/ 1805877 h 2374809"/>
                <a:gd name="connsiteX648" fmla="*/ 3570245 w 5495992"/>
                <a:gd name="connsiteY648" fmla="*/ 1808351 h 2374809"/>
                <a:gd name="connsiteX649" fmla="*/ 3681746 w 5495992"/>
                <a:gd name="connsiteY649" fmla="*/ 1799092 h 2374809"/>
                <a:gd name="connsiteX650" fmla="*/ 3762926 w 5495992"/>
                <a:gd name="connsiteY650" fmla="*/ 1785155 h 2374809"/>
                <a:gd name="connsiteX651" fmla="*/ 3809887 w 5495992"/>
                <a:gd name="connsiteY651" fmla="*/ 1750027 h 2374809"/>
                <a:gd name="connsiteX652" fmla="*/ 3828356 w 5495992"/>
                <a:gd name="connsiteY652" fmla="*/ 1745247 h 2374809"/>
                <a:gd name="connsiteX653" fmla="*/ 3841507 w 5495992"/>
                <a:gd name="connsiteY653" fmla="*/ 1734986 h 2374809"/>
                <a:gd name="connsiteX654" fmla="*/ 3847636 w 5495992"/>
                <a:gd name="connsiteY654" fmla="*/ 1723421 h 2374809"/>
                <a:gd name="connsiteX655" fmla="*/ 3848164 w 5495992"/>
                <a:gd name="connsiteY655" fmla="*/ 1711155 h 2374809"/>
                <a:gd name="connsiteX656" fmla="*/ 3835987 w 5495992"/>
                <a:gd name="connsiteY656" fmla="*/ 1694777 h 2374809"/>
                <a:gd name="connsiteX657" fmla="*/ 3819386 w 5495992"/>
                <a:gd name="connsiteY657" fmla="*/ 1674489 h 2374809"/>
                <a:gd name="connsiteX658" fmla="*/ 3798279 w 5495992"/>
                <a:gd name="connsiteY658" fmla="*/ 1662590 h 2374809"/>
                <a:gd name="connsiteX659" fmla="*/ 3784519 w 5495992"/>
                <a:gd name="connsiteY659" fmla="*/ 1664328 h 2374809"/>
                <a:gd name="connsiteX660" fmla="*/ 3747379 w 5495992"/>
                <a:gd name="connsiteY660" fmla="*/ 1656407 h 2374809"/>
                <a:gd name="connsiteX661" fmla="*/ 3755497 w 5495992"/>
                <a:gd name="connsiteY661" fmla="*/ 1651627 h 2374809"/>
                <a:gd name="connsiteX662" fmla="*/ 3764549 w 5495992"/>
                <a:gd name="connsiteY662" fmla="*/ 1641901 h 2374809"/>
                <a:gd name="connsiteX663" fmla="*/ 3730575 w 5495992"/>
                <a:gd name="connsiteY663" fmla="*/ 1635684 h 2374809"/>
                <a:gd name="connsiteX664" fmla="*/ 3740682 w 5495992"/>
                <a:gd name="connsiteY664" fmla="*/ 1625122 h 2374809"/>
                <a:gd name="connsiteX665" fmla="*/ 3716328 w 5495992"/>
                <a:gd name="connsiteY665" fmla="*/ 1612622 h 2374809"/>
                <a:gd name="connsiteX666" fmla="*/ 3725096 w 5495992"/>
                <a:gd name="connsiteY666" fmla="*/ 1599253 h 2374809"/>
                <a:gd name="connsiteX667" fmla="*/ 3747258 w 5495992"/>
                <a:gd name="connsiteY667" fmla="*/ 1599620 h 2374809"/>
                <a:gd name="connsiteX668" fmla="*/ 3782570 w 5495992"/>
                <a:gd name="connsiteY668" fmla="*/ 1605369 h 2374809"/>
                <a:gd name="connsiteX669" fmla="*/ 3833023 w 5495992"/>
                <a:gd name="connsiteY669" fmla="*/ 1605369 h 2374809"/>
                <a:gd name="connsiteX670" fmla="*/ 3908521 w 5495992"/>
                <a:gd name="connsiteY670" fmla="*/ 1610917 h 2374809"/>
                <a:gd name="connsiteX671" fmla="*/ 3955361 w 5495992"/>
                <a:gd name="connsiteY671" fmla="*/ 1613625 h 2374809"/>
                <a:gd name="connsiteX672" fmla="*/ 4015150 w 5495992"/>
                <a:gd name="connsiteY672" fmla="*/ 1626092 h 2374809"/>
                <a:gd name="connsiteX673" fmla="*/ 4074452 w 5495992"/>
                <a:gd name="connsiteY673" fmla="*/ 1658546 h 2374809"/>
                <a:gd name="connsiteX674" fmla="*/ 4093367 w 5495992"/>
                <a:gd name="connsiteY674" fmla="*/ 1674289 h 2374809"/>
                <a:gd name="connsiteX675" fmla="*/ 4118857 w 5495992"/>
                <a:gd name="connsiteY675" fmla="*/ 1684650 h 2374809"/>
                <a:gd name="connsiteX676" fmla="*/ 4146214 w 5495992"/>
                <a:gd name="connsiteY676" fmla="*/ 1698019 h 2374809"/>
                <a:gd name="connsiteX677" fmla="*/ 4171867 w 5495992"/>
                <a:gd name="connsiteY677" fmla="*/ 1712793 h 2374809"/>
                <a:gd name="connsiteX678" fmla="*/ 4198412 w 5495992"/>
                <a:gd name="connsiteY678" fmla="*/ 1716402 h 2374809"/>
                <a:gd name="connsiteX679" fmla="*/ 4224269 w 5495992"/>
                <a:gd name="connsiteY679" fmla="*/ 1731744 h 2374809"/>
                <a:gd name="connsiteX680" fmla="*/ 4238881 w 5495992"/>
                <a:gd name="connsiteY680" fmla="*/ 1746116 h 2374809"/>
                <a:gd name="connsiteX681" fmla="*/ 4257633 w 5495992"/>
                <a:gd name="connsiteY681" fmla="*/ 1758650 h 2374809"/>
                <a:gd name="connsiteX682" fmla="*/ 4260393 w 5495992"/>
                <a:gd name="connsiteY682" fmla="*/ 1769479 h 2374809"/>
                <a:gd name="connsiteX683" fmla="*/ 4240748 w 5495992"/>
                <a:gd name="connsiteY683" fmla="*/ 1766137 h 2374809"/>
                <a:gd name="connsiteX684" fmla="*/ 4271758 w 5495992"/>
                <a:gd name="connsiteY684" fmla="*/ 1780743 h 2374809"/>
                <a:gd name="connsiteX685" fmla="*/ 4310847 w 5495992"/>
                <a:gd name="connsiteY685" fmla="*/ 1798056 h 2374809"/>
                <a:gd name="connsiteX686" fmla="*/ 4331425 w 5495992"/>
                <a:gd name="connsiteY686" fmla="*/ 1809019 h 2374809"/>
                <a:gd name="connsiteX687" fmla="*/ 4361381 w 5495992"/>
                <a:gd name="connsiteY687" fmla="*/ 1823024 h 2374809"/>
                <a:gd name="connsiteX688" fmla="*/ 4343683 w 5495992"/>
                <a:gd name="connsiteY688" fmla="*/ 1801298 h 2374809"/>
                <a:gd name="connsiteX689" fmla="*/ 4395192 w 5495992"/>
                <a:gd name="connsiteY689" fmla="*/ 1800730 h 2374809"/>
                <a:gd name="connsiteX690" fmla="*/ 4443047 w 5495992"/>
                <a:gd name="connsiteY690" fmla="*/ 1811426 h 2374809"/>
                <a:gd name="connsiteX691" fmla="*/ 4473814 w 5495992"/>
                <a:gd name="connsiteY691" fmla="*/ 1810590 h 2374809"/>
                <a:gd name="connsiteX692" fmla="*/ 4526134 w 5495992"/>
                <a:gd name="connsiteY692" fmla="*/ 1837329 h 2374809"/>
                <a:gd name="connsiteX693" fmla="*/ 4549920 w 5495992"/>
                <a:gd name="connsiteY693" fmla="*/ 1854876 h 2374809"/>
                <a:gd name="connsiteX694" fmla="*/ 4538150 w 5495992"/>
                <a:gd name="connsiteY694" fmla="*/ 1862463 h 2374809"/>
                <a:gd name="connsiteX695" fmla="*/ 4545821 w 5495992"/>
                <a:gd name="connsiteY695" fmla="*/ 1880880 h 2374809"/>
                <a:gd name="connsiteX696" fmla="*/ 4532954 w 5495992"/>
                <a:gd name="connsiteY696" fmla="*/ 1880880 h 2374809"/>
                <a:gd name="connsiteX697" fmla="*/ 4555846 w 5495992"/>
                <a:gd name="connsiteY697" fmla="*/ 1890907 h 2374809"/>
                <a:gd name="connsiteX698" fmla="*/ 4630856 w 5495992"/>
                <a:gd name="connsiteY698" fmla="*/ 1913167 h 2374809"/>
                <a:gd name="connsiteX699" fmla="*/ 4660202 w 5495992"/>
                <a:gd name="connsiteY699" fmla="*/ 1902705 h 2374809"/>
                <a:gd name="connsiteX700" fmla="*/ 4711468 w 5495992"/>
                <a:gd name="connsiteY700" fmla="*/ 1935494 h 2374809"/>
                <a:gd name="connsiteX701" fmla="*/ 4679767 w 5495992"/>
                <a:gd name="connsiteY701" fmla="*/ 1922125 h 2374809"/>
                <a:gd name="connsiteX702" fmla="*/ 4657117 w 5495992"/>
                <a:gd name="connsiteY702" fmla="*/ 1931483 h 2374809"/>
                <a:gd name="connsiteX703" fmla="*/ 4655738 w 5495992"/>
                <a:gd name="connsiteY703" fmla="*/ 1937031 h 2374809"/>
                <a:gd name="connsiteX704" fmla="*/ 4644616 w 5495992"/>
                <a:gd name="connsiteY704" fmla="*/ 1934993 h 2374809"/>
                <a:gd name="connsiteX705" fmla="*/ 4634712 w 5495992"/>
                <a:gd name="connsiteY705" fmla="*/ 1938335 h 2374809"/>
                <a:gd name="connsiteX706" fmla="*/ 4612916 w 5495992"/>
                <a:gd name="connsiteY706" fmla="*/ 1929110 h 2374809"/>
                <a:gd name="connsiteX707" fmla="*/ 4582717 w 5495992"/>
                <a:gd name="connsiteY707" fmla="*/ 1920219 h 2374809"/>
                <a:gd name="connsiteX708" fmla="*/ 4548216 w 5495992"/>
                <a:gd name="connsiteY708" fmla="*/ 1917913 h 2374809"/>
                <a:gd name="connsiteX709" fmla="*/ 4517570 w 5495992"/>
                <a:gd name="connsiteY709" fmla="*/ 1913234 h 2374809"/>
                <a:gd name="connsiteX710" fmla="*/ 4466955 w 5495992"/>
                <a:gd name="connsiteY710" fmla="*/ 1908588 h 2374809"/>
                <a:gd name="connsiteX711" fmla="*/ 4411266 w 5495992"/>
                <a:gd name="connsiteY711" fmla="*/ 1895486 h 2374809"/>
                <a:gd name="connsiteX712" fmla="*/ 4382325 w 5495992"/>
                <a:gd name="connsiteY712" fmla="*/ 1881548 h 2374809"/>
                <a:gd name="connsiteX713" fmla="*/ 4377454 w 5495992"/>
                <a:gd name="connsiteY713" fmla="*/ 1887999 h 2374809"/>
                <a:gd name="connsiteX714" fmla="*/ 4352533 w 5495992"/>
                <a:gd name="connsiteY714" fmla="*/ 1892779 h 2374809"/>
                <a:gd name="connsiteX715" fmla="*/ 4278375 w 5495992"/>
                <a:gd name="connsiteY715" fmla="*/ 1961029 h 2374809"/>
                <a:gd name="connsiteX716" fmla="*/ 4276061 w 5495992"/>
                <a:gd name="connsiteY716" fmla="*/ 1976471 h 2374809"/>
                <a:gd name="connsiteX717" fmla="*/ 4264940 w 5495992"/>
                <a:gd name="connsiteY717" fmla="*/ 1995857 h 2374809"/>
                <a:gd name="connsiteX718" fmla="*/ 4265670 w 5495992"/>
                <a:gd name="connsiteY718" fmla="*/ 2013973 h 2374809"/>
                <a:gd name="connsiteX719" fmla="*/ 4304230 w 5495992"/>
                <a:gd name="connsiteY719" fmla="*/ 2017850 h 2374809"/>
                <a:gd name="connsiteX720" fmla="*/ 4333253 w 5495992"/>
                <a:gd name="connsiteY720" fmla="*/ 2016914 h 2374809"/>
                <a:gd name="connsiteX721" fmla="*/ 4352694 w 5495992"/>
                <a:gd name="connsiteY721" fmla="*/ 2009561 h 2374809"/>
                <a:gd name="connsiteX722" fmla="*/ 4385775 w 5495992"/>
                <a:gd name="connsiteY722" fmla="*/ 2021392 h 2374809"/>
                <a:gd name="connsiteX723" fmla="*/ 4401037 w 5495992"/>
                <a:gd name="connsiteY723" fmla="*/ 2009561 h 2374809"/>
                <a:gd name="connsiteX724" fmla="*/ 4437568 w 5495992"/>
                <a:gd name="connsiteY724" fmla="*/ 2015243 h 2374809"/>
                <a:gd name="connsiteX725" fmla="*/ 4473611 w 5495992"/>
                <a:gd name="connsiteY725" fmla="*/ 2033325 h 2374809"/>
                <a:gd name="connsiteX726" fmla="*/ 4481080 w 5495992"/>
                <a:gd name="connsiteY726" fmla="*/ 2016613 h 2374809"/>
                <a:gd name="connsiteX727" fmla="*/ 4507585 w 5495992"/>
                <a:gd name="connsiteY727" fmla="*/ 2010831 h 2374809"/>
                <a:gd name="connsiteX728" fmla="*/ 4538270 w 5495992"/>
                <a:gd name="connsiteY728" fmla="*/ 2025704 h 2374809"/>
                <a:gd name="connsiteX729" fmla="*/ 4533400 w 5495992"/>
                <a:gd name="connsiteY729" fmla="*/ 2008290 h 2374809"/>
                <a:gd name="connsiteX730" fmla="*/ 4541518 w 5495992"/>
                <a:gd name="connsiteY730" fmla="*/ 1996559 h 2374809"/>
                <a:gd name="connsiteX731" fmla="*/ 4562787 w 5495992"/>
                <a:gd name="connsiteY731" fmla="*/ 1992314 h 2374809"/>
                <a:gd name="connsiteX732" fmla="*/ 4536079 w 5495992"/>
                <a:gd name="connsiteY732" fmla="*/ 1972260 h 2374809"/>
                <a:gd name="connsiteX733" fmla="*/ 4565385 w 5495992"/>
                <a:gd name="connsiteY733" fmla="*/ 1963804 h 2374809"/>
                <a:gd name="connsiteX734" fmla="*/ 4632521 w 5495992"/>
                <a:gd name="connsiteY734" fmla="*/ 1966043 h 2374809"/>
                <a:gd name="connsiteX735" fmla="*/ 4651029 w 5495992"/>
                <a:gd name="connsiteY735" fmla="*/ 1983423 h 2374809"/>
                <a:gd name="connsiteX736" fmla="*/ 4680254 w 5495992"/>
                <a:gd name="connsiteY736" fmla="*/ 1987735 h 2374809"/>
                <a:gd name="connsiteX737" fmla="*/ 4701239 w 5495992"/>
                <a:gd name="connsiteY737" fmla="*/ 2012970 h 2374809"/>
                <a:gd name="connsiteX738" fmla="*/ 4781688 w 5495992"/>
                <a:gd name="connsiteY738" fmla="*/ 2048232 h 2374809"/>
                <a:gd name="connsiteX739" fmla="*/ 4803079 w 5495992"/>
                <a:gd name="connsiteY739" fmla="*/ 2071628 h 2374809"/>
                <a:gd name="connsiteX740" fmla="*/ 4820572 w 5495992"/>
                <a:gd name="connsiteY740" fmla="*/ 2083527 h 2374809"/>
                <a:gd name="connsiteX741" fmla="*/ 4861528 w 5495992"/>
                <a:gd name="connsiteY741" fmla="*/ 2095961 h 2374809"/>
                <a:gd name="connsiteX742" fmla="*/ 4897003 w 5495992"/>
                <a:gd name="connsiteY742" fmla="*/ 2106924 h 2374809"/>
                <a:gd name="connsiteX743" fmla="*/ 4970512 w 5495992"/>
                <a:gd name="connsiteY743" fmla="*/ 2131690 h 2374809"/>
                <a:gd name="connsiteX744" fmla="*/ 5050148 w 5495992"/>
                <a:gd name="connsiteY744" fmla="*/ 2165114 h 2374809"/>
                <a:gd name="connsiteX745" fmla="*/ 5063989 w 5495992"/>
                <a:gd name="connsiteY745" fmla="*/ 2173771 h 2374809"/>
                <a:gd name="connsiteX746" fmla="*/ 5098937 w 5495992"/>
                <a:gd name="connsiteY746" fmla="*/ 2205556 h 2374809"/>
                <a:gd name="connsiteX747" fmla="*/ 5123088 w 5495992"/>
                <a:gd name="connsiteY747" fmla="*/ 2187642 h 2374809"/>
                <a:gd name="connsiteX748" fmla="*/ 5113630 w 5495992"/>
                <a:gd name="connsiteY748" fmla="*/ 2150441 h 2374809"/>
                <a:gd name="connsiteX749" fmla="*/ 5109571 w 5495992"/>
                <a:gd name="connsiteY749" fmla="*/ 2130654 h 2374809"/>
                <a:gd name="connsiteX750" fmla="*/ 5082254 w 5495992"/>
                <a:gd name="connsiteY750" fmla="*/ 2109698 h 2374809"/>
                <a:gd name="connsiteX751" fmla="*/ 5107218 w 5495992"/>
                <a:gd name="connsiteY751" fmla="*/ 2116850 h 2374809"/>
                <a:gd name="connsiteX752" fmla="*/ 5129014 w 5495992"/>
                <a:gd name="connsiteY752" fmla="*/ 2146932 h 2374809"/>
                <a:gd name="connsiteX753" fmla="*/ 5199641 w 5495992"/>
                <a:gd name="connsiteY753" fmla="*/ 2180121 h 2374809"/>
                <a:gd name="connsiteX754" fmla="*/ 5222006 w 5495992"/>
                <a:gd name="connsiteY754" fmla="*/ 2177949 h 2374809"/>
                <a:gd name="connsiteX755" fmla="*/ 5216119 w 5495992"/>
                <a:gd name="connsiteY755" fmla="*/ 2163844 h 2374809"/>
                <a:gd name="connsiteX756" fmla="*/ 5231422 w 5495992"/>
                <a:gd name="connsiteY756" fmla="*/ 2165950 h 2374809"/>
                <a:gd name="connsiteX757" fmla="*/ 5260566 w 5495992"/>
                <a:gd name="connsiteY757" fmla="*/ 2179954 h 2374809"/>
                <a:gd name="connsiteX758" fmla="*/ 5242463 w 5495992"/>
                <a:gd name="connsiteY758" fmla="*/ 2186639 h 2374809"/>
                <a:gd name="connsiteX759" fmla="*/ 5260809 w 5495992"/>
                <a:gd name="connsiteY759" fmla="*/ 2212241 h 2374809"/>
                <a:gd name="connsiteX760" fmla="*/ 5308421 w 5495992"/>
                <a:gd name="connsiteY760" fmla="*/ 2262143 h 2374809"/>
                <a:gd name="connsiteX761" fmla="*/ 5328473 w 5495992"/>
                <a:gd name="connsiteY761" fmla="*/ 2297538 h 2374809"/>
                <a:gd name="connsiteX762" fmla="*/ 5338254 w 5495992"/>
                <a:gd name="connsiteY762" fmla="*/ 2309671 h 2374809"/>
                <a:gd name="connsiteX763" fmla="*/ 5353313 w 5495992"/>
                <a:gd name="connsiteY763" fmla="*/ 2328355 h 2374809"/>
                <a:gd name="connsiteX764" fmla="*/ 5380468 w 5495992"/>
                <a:gd name="connsiteY764" fmla="*/ 2348242 h 2374809"/>
                <a:gd name="connsiteX765" fmla="*/ 5376409 w 5495992"/>
                <a:gd name="connsiteY765" fmla="*/ 2332065 h 2374809"/>
                <a:gd name="connsiteX766" fmla="*/ 5392645 w 5495992"/>
                <a:gd name="connsiteY766" fmla="*/ 2343730 h 2374809"/>
                <a:gd name="connsiteX767" fmla="*/ 5406283 w 5495992"/>
                <a:gd name="connsiteY767" fmla="*/ 2335307 h 2374809"/>
                <a:gd name="connsiteX768" fmla="*/ 5413670 w 5495992"/>
                <a:gd name="connsiteY768" fmla="*/ 2324210 h 2374809"/>
                <a:gd name="connsiteX769" fmla="*/ 5448699 w 5495992"/>
                <a:gd name="connsiteY769" fmla="*/ 2358703 h 2374809"/>
                <a:gd name="connsiteX770" fmla="*/ 5440865 w 5495992"/>
                <a:gd name="connsiteY770" fmla="*/ 2345869 h 2374809"/>
                <a:gd name="connsiteX771" fmla="*/ 5463717 w 5495992"/>
                <a:gd name="connsiteY771" fmla="*/ 2364920 h 2374809"/>
                <a:gd name="connsiteX772" fmla="*/ 5480481 w 5495992"/>
                <a:gd name="connsiteY772" fmla="*/ 2366224 h 2374809"/>
                <a:gd name="connsiteX773" fmla="*/ 5492658 w 5495992"/>
                <a:gd name="connsiteY773" fmla="*/ 2368864 h 2374809"/>
                <a:gd name="connsiteX774" fmla="*/ 2856475 w 5495992"/>
                <a:gd name="connsiteY774" fmla="*/ 1286441 h 2374809"/>
                <a:gd name="connsiteX775" fmla="*/ 2777162 w 5495992"/>
                <a:gd name="connsiteY775" fmla="*/ 1279757 h 2374809"/>
                <a:gd name="connsiteX776" fmla="*/ 2761576 w 5495992"/>
                <a:gd name="connsiteY776" fmla="*/ 1285305 h 2374809"/>
                <a:gd name="connsiteX777" fmla="*/ 2727643 w 5495992"/>
                <a:gd name="connsiteY777" fmla="*/ 1282230 h 2374809"/>
                <a:gd name="connsiteX778" fmla="*/ 2697931 w 5495992"/>
                <a:gd name="connsiteY778" fmla="*/ 1269061 h 2374809"/>
                <a:gd name="connsiteX779" fmla="*/ 2764052 w 5495992"/>
                <a:gd name="connsiteY779" fmla="*/ 1269696 h 2374809"/>
                <a:gd name="connsiteX780" fmla="*/ 2843324 w 5495992"/>
                <a:gd name="connsiteY780" fmla="*/ 1264883 h 2374809"/>
                <a:gd name="connsiteX781" fmla="*/ 2914964 w 5495992"/>
                <a:gd name="connsiteY781" fmla="*/ 1242790 h 2374809"/>
                <a:gd name="connsiteX782" fmla="*/ 2907253 w 5495992"/>
                <a:gd name="connsiteY782" fmla="*/ 1263646 h 2374809"/>
                <a:gd name="connsiteX783" fmla="*/ 2856475 w 5495992"/>
                <a:gd name="connsiteY783" fmla="*/ 1286575 h 2374809"/>
                <a:gd name="connsiteX784" fmla="*/ 3272236 w 5495992"/>
                <a:gd name="connsiteY784" fmla="*/ 790669 h 2374809"/>
                <a:gd name="connsiteX785" fmla="*/ 3250521 w 5495992"/>
                <a:gd name="connsiteY785" fmla="*/ 792875 h 2374809"/>
                <a:gd name="connsiteX786" fmla="*/ 3296224 w 5495992"/>
                <a:gd name="connsiteY786" fmla="*/ 809587 h 2374809"/>
                <a:gd name="connsiteX787" fmla="*/ 3272236 w 5495992"/>
                <a:gd name="connsiteY787" fmla="*/ 790536 h 2374809"/>
                <a:gd name="connsiteX788" fmla="*/ 1454951 w 5495992"/>
                <a:gd name="connsiteY788" fmla="*/ 46493 h 2374809"/>
                <a:gd name="connsiteX789" fmla="*/ 1482227 w 5495992"/>
                <a:gd name="connsiteY789" fmla="*/ 45189 h 2374809"/>
                <a:gd name="connsiteX790" fmla="*/ 1518393 w 5495992"/>
                <a:gd name="connsiteY790" fmla="*/ 50404 h 2374809"/>
                <a:gd name="connsiteX791" fmla="*/ 1519813 w 5495992"/>
                <a:gd name="connsiteY791" fmla="*/ 44321 h 2374809"/>
                <a:gd name="connsiteX792" fmla="*/ 1484419 w 5495992"/>
                <a:gd name="connsiteY792" fmla="*/ 37168 h 2374809"/>
                <a:gd name="connsiteX793" fmla="*/ 1460715 w 5495992"/>
                <a:gd name="connsiteY793" fmla="*/ 35630 h 2374809"/>
                <a:gd name="connsiteX794" fmla="*/ 1455600 w 5495992"/>
                <a:gd name="connsiteY794" fmla="*/ 38271 h 2374809"/>
                <a:gd name="connsiteX795" fmla="*/ 1408110 w 5495992"/>
                <a:gd name="connsiteY795" fmla="*/ 32756 h 2374809"/>
                <a:gd name="connsiteX796" fmla="*/ 1454951 w 5495992"/>
                <a:gd name="connsiteY796" fmla="*/ 46493 h 2374809"/>
                <a:gd name="connsiteX797" fmla="*/ 1311507 w 5495992"/>
                <a:gd name="connsiteY797" fmla="*/ 58325 h 2374809"/>
                <a:gd name="connsiteX798" fmla="*/ 1265072 w 5495992"/>
                <a:gd name="connsiteY798" fmla="*/ 53980 h 2374809"/>
                <a:gd name="connsiteX799" fmla="*/ 1311547 w 5495992"/>
                <a:gd name="connsiteY799" fmla="*/ 58325 h 2374809"/>
                <a:gd name="connsiteX800" fmla="*/ 1453896 w 5495992"/>
                <a:gd name="connsiteY800" fmla="*/ 74101 h 2374809"/>
                <a:gd name="connsiteX801" fmla="*/ 1401373 w 5495992"/>
                <a:gd name="connsiteY801" fmla="*/ 80451 h 2374809"/>
                <a:gd name="connsiteX802" fmla="*/ 1479589 w 5495992"/>
                <a:gd name="connsiteY802" fmla="*/ 91448 h 2374809"/>
                <a:gd name="connsiteX803" fmla="*/ 1512669 w 5495992"/>
                <a:gd name="connsiteY803" fmla="*/ 84329 h 2374809"/>
                <a:gd name="connsiteX804" fmla="*/ 1453896 w 5495992"/>
                <a:gd name="connsiteY804" fmla="*/ 74101 h 2374809"/>
                <a:gd name="connsiteX805" fmla="*/ 1453936 w 5495992"/>
                <a:gd name="connsiteY805" fmla="*/ 74101 h 2374809"/>
                <a:gd name="connsiteX806" fmla="*/ 1642679 w 5495992"/>
                <a:gd name="connsiteY806" fmla="*/ 97130 h 2374809"/>
                <a:gd name="connsiteX807" fmla="*/ 1604118 w 5495992"/>
                <a:gd name="connsiteY807" fmla="*/ 77076 h 2374809"/>
                <a:gd name="connsiteX808" fmla="*/ 1571646 w 5495992"/>
                <a:gd name="connsiteY808" fmla="*/ 72697 h 2374809"/>
                <a:gd name="connsiteX809" fmla="*/ 1556994 w 5495992"/>
                <a:gd name="connsiteY809" fmla="*/ 77744 h 2374809"/>
                <a:gd name="connsiteX810" fmla="*/ 1534669 w 5495992"/>
                <a:gd name="connsiteY810" fmla="*/ 82657 h 2374809"/>
                <a:gd name="connsiteX811" fmla="*/ 1567669 w 5495992"/>
                <a:gd name="connsiteY811" fmla="*/ 93687 h 2374809"/>
                <a:gd name="connsiteX812" fmla="*/ 1642841 w 5495992"/>
                <a:gd name="connsiteY812" fmla="*/ 97030 h 2374809"/>
                <a:gd name="connsiteX813" fmla="*/ 1471187 w 5495992"/>
                <a:gd name="connsiteY813" fmla="*/ 58960 h 2374809"/>
                <a:gd name="connsiteX814" fmla="*/ 1444641 w 5495992"/>
                <a:gd name="connsiteY814" fmla="*/ 48933 h 2374809"/>
                <a:gd name="connsiteX815" fmla="*/ 1384487 w 5495992"/>
                <a:gd name="connsiteY815" fmla="*/ 33525 h 2374809"/>
                <a:gd name="connsiteX816" fmla="*/ 1382052 w 5495992"/>
                <a:gd name="connsiteY816" fmla="*/ 41045 h 2374809"/>
                <a:gd name="connsiteX817" fmla="*/ 1348078 w 5495992"/>
                <a:gd name="connsiteY817" fmla="*/ 41246 h 2374809"/>
                <a:gd name="connsiteX818" fmla="*/ 1396014 w 5495992"/>
                <a:gd name="connsiteY818" fmla="*/ 57690 h 2374809"/>
                <a:gd name="connsiteX819" fmla="*/ 1471187 w 5495992"/>
                <a:gd name="connsiteY819" fmla="*/ 58960 h 2374809"/>
                <a:gd name="connsiteX820" fmla="*/ 1246888 w 5495992"/>
                <a:gd name="connsiteY820" fmla="*/ 308501 h 2374809"/>
                <a:gd name="connsiteX821" fmla="*/ 1212549 w 5495992"/>
                <a:gd name="connsiteY821" fmla="*/ 313180 h 2374809"/>
                <a:gd name="connsiteX822" fmla="*/ 1228785 w 5495992"/>
                <a:gd name="connsiteY822" fmla="*/ 326282 h 2374809"/>
                <a:gd name="connsiteX823" fmla="*/ 1207840 w 5495992"/>
                <a:gd name="connsiteY823" fmla="*/ 330460 h 2374809"/>
                <a:gd name="connsiteX824" fmla="*/ 1186937 w 5495992"/>
                <a:gd name="connsiteY824" fmla="*/ 335006 h 2374809"/>
                <a:gd name="connsiteX825" fmla="*/ 1157753 w 5495992"/>
                <a:gd name="connsiteY825" fmla="*/ 341155 h 2374809"/>
                <a:gd name="connsiteX826" fmla="*/ 1186166 w 5495992"/>
                <a:gd name="connsiteY826" fmla="*/ 351684 h 2374809"/>
                <a:gd name="connsiteX827" fmla="*/ 1193391 w 5495992"/>
                <a:gd name="connsiteY827" fmla="*/ 361210 h 2374809"/>
                <a:gd name="connsiteX828" fmla="*/ 1212711 w 5495992"/>
                <a:gd name="connsiteY828" fmla="*/ 369198 h 2374809"/>
                <a:gd name="connsiteX829" fmla="*/ 1220017 w 5495992"/>
                <a:gd name="connsiteY829" fmla="*/ 361276 h 2374809"/>
                <a:gd name="connsiteX830" fmla="*/ 1240312 w 5495992"/>
                <a:gd name="connsiteY830" fmla="*/ 371972 h 2374809"/>
                <a:gd name="connsiteX831" fmla="*/ 1234427 w 5495992"/>
                <a:gd name="connsiteY831" fmla="*/ 380863 h 2374809"/>
                <a:gd name="connsiteX832" fmla="*/ 1306595 w 5495992"/>
                <a:gd name="connsiteY832" fmla="*/ 400917 h 2374809"/>
                <a:gd name="connsiteX833" fmla="*/ 1371011 w 5495992"/>
                <a:gd name="connsiteY833" fmla="*/ 409607 h 2374809"/>
                <a:gd name="connsiteX834" fmla="*/ 1348240 w 5495992"/>
                <a:gd name="connsiteY834" fmla="*/ 394132 h 2374809"/>
                <a:gd name="connsiteX835" fmla="*/ 1311426 w 5495992"/>
                <a:gd name="connsiteY835" fmla="*/ 364619 h 2374809"/>
                <a:gd name="connsiteX836" fmla="*/ 1341583 w 5495992"/>
                <a:gd name="connsiteY836" fmla="*/ 334337 h 2374809"/>
                <a:gd name="connsiteX837" fmla="*/ 1374542 w 5495992"/>
                <a:gd name="connsiteY837" fmla="*/ 322238 h 2374809"/>
                <a:gd name="connsiteX838" fmla="*/ 1381889 w 5495992"/>
                <a:gd name="connsiteY838" fmla="*/ 316723 h 2374809"/>
                <a:gd name="connsiteX839" fmla="*/ 1402509 w 5495992"/>
                <a:gd name="connsiteY839" fmla="*/ 315586 h 2374809"/>
                <a:gd name="connsiteX840" fmla="*/ 1421789 w 5495992"/>
                <a:gd name="connsiteY840" fmla="*/ 308467 h 2374809"/>
                <a:gd name="connsiteX841" fmla="*/ 1441028 w 5495992"/>
                <a:gd name="connsiteY841" fmla="*/ 297571 h 2374809"/>
                <a:gd name="connsiteX842" fmla="*/ 1462744 w 5495992"/>
                <a:gd name="connsiteY842" fmla="*/ 296836 h 2374809"/>
                <a:gd name="connsiteX843" fmla="*/ 1481334 w 5495992"/>
                <a:gd name="connsiteY843" fmla="*/ 295064 h 2374809"/>
                <a:gd name="connsiteX844" fmla="*/ 1508976 w 5495992"/>
                <a:gd name="connsiteY844" fmla="*/ 296568 h 2374809"/>
                <a:gd name="connsiteX845" fmla="*/ 1562392 w 5495992"/>
                <a:gd name="connsiteY845" fmla="*/ 290118 h 2374809"/>
                <a:gd name="connsiteX846" fmla="*/ 1669265 w 5495992"/>
                <a:gd name="connsiteY846" fmla="*/ 291989 h 2374809"/>
                <a:gd name="connsiteX847" fmla="*/ 1838727 w 5495992"/>
                <a:gd name="connsiteY847" fmla="*/ 287811 h 2374809"/>
                <a:gd name="connsiteX848" fmla="*/ 1750363 w 5495992"/>
                <a:gd name="connsiteY848" fmla="*/ 271801 h 2374809"/>
                <a:gd name="connsiteX849" fmla="*/ 1714116 w 5495992"/>
                <a:gd name="connsiteY849" fmla="*/ 273773 h 2374809"/>
                <a:gd name="connsiteX850" fmla="*/ 1655464 w 5495992"/>
                <a:gd name="connsiteY850" fmla="*/ 268492 h 2374809"/>
                <a:gd name="connsiteX851" fmla="*/ 1603834 w 5495992"/>
                <a:gd name="connsiteY851" fmla="*/ 262911 h 2374809"/>
                <a:gd name="connsiteX852" fmla="*/ 1554355 w 5495992"/>
                <a:gd name="connsiteY852" fmla="*/ 254455 h 2374809"/>
                <a:gd name="connsiteX853" fmla="*/ 1452881 w 5495992"/>
                <a:gd name="connsiteY853" fmla="*/ 251112 h 2374809"/>
                <a:gd name="connsiteX854" fmla="*/ 1427309 w 5495992"/>
                <a:gd name="connsiteY854" fmla="*/ 255190 h 2374809"/>
                <a:gd name="connsiteX855" fmla="*/ 1397394 w 5495992"/>
                <a:gd name="connsiteY855" fmla="*/ 261373 h 2374809"/>
                <a:gd name="connsiteX856" fmla="*/ 1361878 w 5495992"/>
                <a:gd name="connsiteY856" fmla="*/ 259301 h 2374809"/>
                <a:gd name="connsiteX857" fmla="*/ 1360417 w 5495992"/>
                <a:gd name="connsiteY857" fmla="*/ 272336 h 2374809"/>
                <a:gd name="connsiteX858" fmla="*/ 1331355 w 5495992"/>
                <a:gd name="connsiteY858" fmla="*/ 286174 h 2374809"/>
                <a:gd name="connsiteX859" fmla="*/ 1286707 w 5495992"/>
                <a:gd name="connsiteY859" fmla="*/ 287912 h 2374809"/>
                <a:gd name="connsiteX860" fmla="*/ 1298275 w 5495992"/>
                <a:gd name="connsiteY860" fmla="*/ 299510 h 2374809"/>
                <a:gd name="connsiteX861" fmla="*/ 1279076 w 5495992"/>
                <a:gd name="connsiteY861" fmla="*/ 307899 h 2374809"/>
                <a:gd name="connsiteX862" fmla="*/ 1246604 w 5495992"/>
                <a:gd name="connsiteY862" fmla="*/ 308567 h 2374809"/>
                <a:gd name="connsiteX863" fmla="*/ 1246969 w 5495992"/>
                <a:gd name="connsiteY863" fmla="*/ 308501 h 237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</a:cxnLst>
              <a:rect l="l" t="t" r="r" b="b"/>
              <a:pathLst>
                <a:path w="5495992" h="2374809">
                  <a:moveTo>
                    <a:pt x="86305" y="704436"/>
                  </a:moveTo>
                  <a:cubicBezTo>
                    <a:pt x="80825" y="704841"/>
                    <a:pt x="75345" y="703975"/>
                    <a:pt x="70434" y="701930"/>
                  </a:cubicBezTo>
                  <a:cubicBezTo>
                    <a:pt x="61220" y="698587"/>
                    <a:pt x="58014" y="698086"/>
                    <a:pt x="46080" y="698253"/>
                  </a:cubicBezTo>
                  <a:cubicBezTo>
                    <a:pt x="58257" y="702531"/>
                    <a:pt x="46608" y="703968"/>
                    <a:pt x="40722" y="706342"/>
                  </a:cubicBezTo>
                  <a:cubicBezTo>
                    <a:pt x="34837" y="708715"/>
                    <a:pt x="46892" y="714798"/>
                    <a:pt x="32199" y="713327"/>
                  </a:cubicBezTo>
                  <a:cubicBezTo>
                    <a:pt x="21889" y="712324"/>
                    <a:pt x="26110" y="706475"/>
                    <a:pt x="14826" y="706308"/>
                  </a:cubicBezTo>
                  <a:cubicBezTo>
                    <a:pt x="1269" y="706108"/>
                    <a:pt x="-7498" y="712057"/>
                    <a:pt x="8697" y="715567"/>
                  </a:cubicBezTo>
                  <a:cubicBezTo>
                    <a:pt x="30047" y="720179"/>
                    <a:pt x="55375" y="720948"/>
                    <a:pt x="78025" y="721883"/>
                  </a:cubicBezTo>
                  <a:cubicBezTo>
                    <a:pt x="93692" y="722518"/>
                    <a:pt x="100917" y="724424"/>
                    <a:pt x="103068" y="716536"/>
                  </a:cubicBezTo>
                  <a:cubicBezTo>
                    <a:pt x="104164" y="712425"/>
                    <a:pt x="101201" y="701228"/>
                    <a:pt x="86224" y="704436"/>
                  </a:cubicBezTo>
                  <a:close/>
                  <a:moveTo>
                    <a:pt x="1722803" y="109497"/>
                  </a:moveTo>
                  <a:cubicBezTo>
                    <a:pt x="1731976" y="110767"/>
                    <a:pt x="1773256" y="113307"/>
                    <a:pt x="1754504" y="102478"/>
                  </a:cubicBezTo>
                  <a:cubicBezTo>
                    <a:pt x="1735751" y="91648"/>
                    <a:pt x="1724386" y="101274"/>
                    <a:pt x="1707866" y="97330"/>
                  </a:cubicBezTo>
                  <a:cubicBezTo>
                    <a:pt x="1700032" y="95425"/>
                    <a:pt x="1663704" y="90111"/>
                    <a:pt x="1661512" y="95058"/>
                  </a:cubicBezTo>
                  <a:cubicBezTo>
                    <a:pt x="1658265" y="102310"/>
                    <a:pt x="1715172" y="108427"/>
                    <a:pt x="1722803" y="109497"/>
                  </a:cubicBezTo>
                  <a:cubicBezTo>
                    <a:pt x="1764570" y="115513"/>
                    <a:pt x="1701858" y="106555"/>
                    <a:pt x="1722843" y="109563"/>
                  </a:cubicBezTo>
                  <a:close/>
                  <a:moveTo>
                    <a:pt x="1846642" y="423177"/>
                  </a:moveTo>
                  <a:cubicBezTo>
                    <a:pt x="1857317" y="426218"/>
                    <a:pt x="1923763" y="434675"/>
                    <a:pt x="1895350" y="422141"/>
                  </a:cubicBezTo>
                  <a:cubicBezTo>
                    <a:pt x="1883173" y="416793"/>
                    <a:pt x="1860645" y="409574"/>
                    <a:pt x="1847981" y="412882"/>
                  </a:cubicBezTo>
                  <a:cubicBezTo>
                    <a:pt x="1842664" y="414253"/>
                    <a:pt x="1836373" y="420236"/>
                    <a:pt x="1846520" y="423177"/>
                  </a:cubicBezTo>
                  <a:close/>
                  <a:moveTo>
                    <a:pt x="2713233" y="374412"/>
                  </a:moveTo>
                  <a:cubicBezTo>
                    <a:pt x="2732514" y="384673"/>
                    <a:pt x="2716237" y="382266"/>
                    <a:pt x="2702071" y="378055"/>
                  </a:cubicBezTo>
                  <a:cubicBezTo>
                    <a:pt x="2698743" y="377052"/>
                    <a:pt x="2658072" y="368028"/>
                    <a:pt x="2674348" y="376317"/>
                  </a:cubicBezTo>
                  <a:cubicBezTo>
                    <a:pt x="2685917" y="382266"/>
                    <a:pt x="2687621" y="389118"/>
                    <a:pt x="2701746" y="395101"/>
                  </a:cubicBezTo>
                  <a:cubicBezTo>
                    <a:pt x="2714816" y="400649"/>
                    <a:pt x="2748100" y="406097"/>
                    <a:pt x="2748790" y="396338"/>
                  </a:cubicBezTo>
                  <a:cubicBezTo>
                    <a:pt x="2749237" y="389820"/>
                    <a:pt x="2810122" y="404192"/>
                    <a:pt x="2818279" y="405964"/>
                  </a:cubicBezTo>
                  <a:cubicBezTo>
                    <a:pt x="2829645" y="408370"/>
                    <a:pt x="2841091" y="411011"/>
                    <a:pt x="2852457" y="413183"/>
                  </a:cubicBezTo>
                  <a:cubicBezTo>
                    <a:pt x="2867190" y="415991"/>
                    <a:pt x="2857774" y="407134"/>
                    <a:pt x="2858423" y="403156"/>
                  </a:cubicBezTo>
                  <a:cubicBezTo>
                    <a:pt x="2859316" y="397842"/>
                    <a:pt x="2879367" y="408370"/>
                    <a:pt x="2882047" y="404727"/>
                  </a:cubicBezTo>
                  <a:cubicBezTo>
                    <a:pt x="2885213" y="400415"/>
                    <a:pt x="2849169" y="388015"/>
                    <a:pt x="2844176" y="384071"/>
                  </a:cubicBezTo>
                  <a:cubicBezTo>
                    <a:pt x="2829563" y="372039"/>
                    <a:pt x="2851401" y="363716"/>
                    <a:pt x="2816494" y="362480"/>
                  </a:cubicBezTo>
                  <a:cubicBezTo>
                    <a:pt x="2807442" y="362045"/>
                    <a:pt x="2719971" y="346637"/>
                    <a:pt x="2737628" y="356965"/>
                  </a:cubicBezTo>
                  <a:cubicBezTo>
                    <a:pt x="2753174" y="366023"/>
                    <a:pt x="2727846" y="366758"/>
                    <a:pt x="2716967" y="363148"/>
                  </a:cubicBezTo>
                  <a:cubicBezTo>
                    <a:pt x="2696673" y="356463"/>
                    <a:pt x="2702153" y="368496"/>
                    <a:pt x="2713233" y="374378"/>
                  </a:cubicBezTo>
                  <a:close/>
                  <a:moveTo>
                    <a:pt x="2763078" y="404493"/>
                  </a:moveTo>
                  <a:cubicBezTo>
                    <a:pt x="2761130" y="408805"/>
                    <a:pt x="2743473" y="407000"/>
                    <a:pt x="2736451" y="407835"/>
                  </a:cubicBezTo>
                  <a:cubicBezTo>
                    <a:pt x="2719849" y="409607"/>
                    <a:pt x="2750901" y="420035"/>
                    <a:pt x="2757314" y="422709"/>
                  </a:cubicBezTo>
                  <a:cubicBezTo>
                    <a:pt x="2766812" y="426619"/>
                    <a:pt x="2767786" y="434875"/>
                    <a:pt x="2775377" y="439722"/>
                  </a:cubicBezTo>
                  <a:cubicBezTo>
                    <a:pt x="2782966" y="444568"/>
                    <a:pt x="2799731" y="448011"/>
                    <a:pt x="2809147" y="452255"/>
                  </a:cubicBezTo>
                  <a:cubicBezTo>
                    <a:pt x="2834718" y="463586"/>
                    <a:pt x="2867881" y="484710"/>
                    <a:pt x="2897917" y="488553"/>
                  </a:cubicBezTo>
                  <a:cubicBezTo>
                    <a:pt x="2905547" y="489556"/>
                    <a:pt x="2917156" y="488754"/>
                    <a:pt x="2915208" y="483573"/>
                  </a:cubicBezTo>
                  <a:cubicBezTo>
                    <a:pt x="2914397" y="481434"/>
                    <a:pt x="2910946" y="481167"/>
                    <a:pt x="2909201" y="479362"/>
                  </a:cubicBezTo>
                  <a:cubicBezTo>
                    <a:pt x="2905913" y="476020"/>
                    <a:pt x="2917319" y="473245"/>
                    <a:pt x="2920079" y="472376"/>
                  </a:cubicBezTo>
                  <a:cubicBezTo>
                    <a:pt x="2939887" y="466293"/>
                    <a:pt x="2948776" y="461480"/>
                    <a:pt x="2917360" y="447008"/>
                  </a:cubicBezTo>
                  <a:cubicBezTo>
                    <a:pt x="2910662" y="443933"/>
                    <a:pt x="2899581" y="439187"/>
                    <a:pt x="2892153" y="439521"/>
                  </a:cubicBezTo>
                  <a:cubicBezTo>
                    <a:pt x="2882614" y="439956"/>
                    <a:pt x="2884725" y="447175"/>
                    <a:pt x="2873807" y="435878"/>
                  </a:cubicBezTo>
                  <a:cubicBezTo>
                    <a:pt x="2860046" y="421706"/>
                    <a:pt x="2856353" y="419768"/>
                    <a:pt x="2827412" y="413217"/>
                  </a:cubicBezTo>
                  <a:cubicBezTo>
                    <a:pt x="2818767" y="411044"/>
                    <a:pt x="2766000" y="398577"/>
                    <a:pt x="2763240" y="404460"/>
                  </a:cubicBezTo>
                  <a:close/>
                  <a:moveTo>
                    <a:pt x="2146113" y="499784"/>
                  </a:moveTo>
                  <a:cubicBezTo>
                    <a:pt x="2161213" y="507705"/>
                    <a:pt x="2174079" y="509343"/>
                    <a:pt x="2174851" y="501087"/>
                  </a:cubicBezTo>
                  <a:cubicBezTo>
                    <a:pt x="2175622" y="492832"/>
                    <a:pt x="2134423" y="493467"/>
                    <a:pt x="2146439" y="499884"/>
                  </a:cubicBezTo>
                  <a:close/>
                  <a:moveTo>
                    <a:pt x="2700367" y="332666"/>
                  </a:moveTo>
                  <a:cubicBezTo>
                    <a:pt x="2707713" y="326716"/>
                    <a:pt x="2635869" y="309269"/>
                    <a:pt x="2651375" y="321569"/>
                  </a:cubicBezTo>
                  <a:cubicBezTo>
                    <a:pt x="2657098" y="325714"/>
                    <a:pt x="2693345" y="338448"/>
                    <a:pt x="2700691" y="332766"/>
                  </a:cubicBezTo>
                  <a:close/>
                  <a:moveTo>
                    <a:pt x="5296001" y="2021426"/>
                  </a:moveTo>
                  <a:cubicBezTo>
                    <a:pt x="5304646" y="2032422"/>
                    <a:pt x="5316782" y="2034795"/>
                    <a:pt x="5328473" y="2042550"/>
                  </a:cubicBezTo>
                  <a:cubicBezTo>
                    <a:pt x="5339025" y="2049602"/>
                    <a:pt x="5343816" y="2059261"/>
                    <a:pt x="5355789" y="2067216"/>
                  </a:cubicBezTo>
                  <a:cubicBezTo>
                    <a:pt x="5362486" y="2071495"/>
                    <a:pt x="5407745" y="2101041"/>
                    <a:pt x="5408961" y="2093354"/>
                  </a:cubicBezTo>
                  <a:cubicBezTo>
                    <a:pt x="5411316" y="2078915"/>
                    <a:pt x="5369671" y="2048599"/>
                    <a:pt x="5352380" y="2038272"/>
                  </a:cubicBezTo>
                  <a:cubicBezTo>
                    <a:pt x="5346819" y="2034929"/>
                    <a:pt x="5281388" y="2002709"/>
                    <a:pt x="5296123" y="2021560"/>
                  </a:cubicBezTo>
                  <a:close/>
                  <a:moveTo>
                    <a:pt x="2893858" y="521476"/>
                  </a:moveTo>
                  <a:cubicBezTo>
                    <a:pt x="2903234" y="527692"/>
                    <a:pt x="2922515" y="530901"/>
                    <a:pt x="2934001" y="533508"/>
                  </a:cubicBezTo>
                  <a:cubicBezTo>
                    <a:pt x="2953687" y="537830"/>
                    <a:pt x="2973130" y="542960"/>
                    <a:pt x="2992207" y="548883"/>
                  </a:cubicBezTo>
                  <a:cubicBezTo>
                    <a:pt x="3021634" y="557800"/>
                    <a:pt x="3051995" y="564515"/>
                    <a:pt x="3082925" y="568937"/>
                  </a:cubicBezTo>
                  <a:cubicBezTo>
                    <a:pt x="3103220" y="572012"/>
                    <a:pt x="3134393" y="574318"/>
                    <a:pt x="3104357" y="557573"/>
                  </a:cubicBezTo>
                  <a:cubicBezTo>
                    <a:pt x="3092180" y="550888"/>
                    <a:pt x="3080286" y="539424"/>
                    <a:pt x="3067623" y="534177"/>
                  </a:cubicBezTo>
                  <a:cubicBezTo>
                    <a:pt x="3048707" y="526289"/>
                    <a:pt x="3037018" y="528862"/>
                    <a:pt x="3021878" y="529497"/>
                  </a:cubicBezTo>
                  <a:cubicBezTo>
                    <a:pt x="3010838" y="529932"/>
                    <a:pt x="3031295" y="522010"/>
                    <a:pt x="3034055" y="521743"/>
                  </a:cubicBezTo>
                  <a:cubicBezTo>
                    <a:pt x="3046759" y="520573"/>
                    <a:pt x="3042619" y="512685"/>
                    <a:pt x="3030930" y="506803"/>
                  </a:cubicBezTo>
                  <a:cubicBezTo>
                    <a:pt x="3019239" y="500920"/>
                    <a:pt x="3021634" y="506535"/>
                    <a:pt x="3013030" y="505366"/>
                  </a:cubicBezTo>
                  <a:cubicBezTo>
                    <a:pt x="3003694" y="504129"/>
                    <a:pt x="2987863" y="496040"/>
                    <a:pt x="2979786" y="497244"/>
                  </a:cubicBezTo>
                  <a:cubicBezTo>
                    <a:pt x="2975200" y="497945"/>
                    <a:pt x="2960304" y="503928"/>
                    <a:pt x="2959491" y="506736"/>
                  </a:cubicBezTo>
                  <a:cubicBezTo>
                    <a:pt x="2958558" y="510078"/>
                    <a:pt x="2941024" y="502458"/>
                    <a:pt x="2935625" y="503159"/>
                  </a:cubicBezTo>
                  <a:cubicBezTo>
                    <a:pt x="2924463" y="504563"/>
                    <a:pt x="2922230" y="513187"/>
                    <a:pt x="2908998" y="514724"/>
                  </a:cubicBezTo>
                  <a:cubicBezTo>
                    <a:pt x="2904005" y="515359"/>
                    <a:pt x="2884644" y="515627"/>
                    <a:pt x="2893695" y="521643"/>
                  </a:cubicBezTo>
                  <a:close/>
                  <a:moveTo>
                    <a:pt x="4121901" y="1134598"/>
                  </a:moveTo>
                  <a:cubicBezTo>
                    <a:pt x="4138381" y="1148870"/>
                    <a:pt x="4136716" y="1158897"/>
                    <a:pt x="4162815" y="1168255"/>
                  </a:cubicBezTo>
                  <a:cubicBezTo>
                    <a:pt x="4178524" y="1173871"/>
                    <a:pt x="4192568" y="1175174"/>
                    <a:pt x="4201457" y="1186271"/>
                  </a:cubicBezTo>
                  <a:cubicBezTo>
                    <a:pt x="4209251" y="1196064"/>
                    <a:pt x="4238759" y="1200576"/>
                    <a:pt x="4252803" y="1208163"/>
                  </a:cubicBezTo>
                  <a:cubicBezTo>
                    <a:pt x="4264655" y="1214547"/>
                    <a:pt x="4290511" y="1232830"/>
                    <a:pt x="4288604" y="1218658"/>
                  </a:cubicBezTo>
                  <a:cubicBezTo>
                    <a:pt x="4288035" y="1214380"/>
                    <a:pt x="4281540" y="1195262"/>
                    <a:pt x="4298953" y="1206258"/>
                  </a:cubicBezTo>
                  <a:cubicBezTo>
                    <a:pt x="4313119" y="1215182"/>
                    <a:pt x="4295626" y="1215048"/>
                    <a:pt x="4300131" y="1223338"/>
                  </a:cubicBezTo>
                  <a:cubicBezTo>
                    <a:pt x="4306219" y="1234568"/>
                    <a:pt x="4329477" y="1251547"/>
                    <a:pt x="4347337" y="1255458"/>
                  </a:cubicBezTo>
                  <a:cubicBezTo>
                    <a:pt x="4358864" y="1257998"/>
                    <a:pt x="4353182" y="1246133"/>
                    <a:pt x="4366048" y="1249876"/>
                  </a:cubicBezTo>
                  <a:cubicBezTo>
                    <a:pt x="4391905" y="1257396"/>
                    <a:pt x="4371772" y="1236206"/>
                    <a:pt x="4361015" y="1227449"/>
                  </a:cubicBezTo>
                  <a:cubicBezTo>
                    <a:pt x="4344008" y="1213611"/>
                    <a:pt x="4319086" y="1204721"/>
                    <a:pt x="4302770" y="1190683"/>
                  </a:cubicBezTo>
                  <a:cubicBezTo>
                    <a:pt x="4292500" y="1181892"/>
                    <a:pt x="4268917" y="1165348"/>
                    <a:pt x="4256619" y="1170094"/>
                  </a:cubicBezTo>
                  <a:cubicBezTo>
                    <a:pt x="4247323" y="1173670"/>
                    <a:pt x="4245456" y="1173436"/>
                    <a:pt x="4234984" y="1162172"/>
                  </a:cubicBezTo>
                  <a:cubicBezTo>
                    <a:pt x="4216516" y="1142686"/>
                    <a:pt x="4206896" y="1123568"/>
                    <a:pt x="4171948" y="1118722"/>
                  </a:cubicBezTo>
                  <a:cubicBezTo>
                    <a:pt x="4156443" y="1116549"/>
                    <a:pt x="4098318" y="1114009"/>
                    <a:pt x="4121901" y="1134398"/>
                  </a:cubicBezTo>
                  <a:close/>
                  <a:moveTo>
                    <a:pt x="4277806" y="1290084"/>
                  </a:moveTo>
                  <a:cubicBezTo>
                    <a:pt x="4299238" y="1298541"/>
                    <a:pt x="4267294" y="1263346"/>
                    <a:pt x="4263235" y="1260003"/>
                  </a:cubicBezTo>
                  <a:cubicBezTo>
                    <a:pt x="4245538" y="1245029"/>
                    <a:pt x="4213188" y="1231025"/>
                    <a:pt x="4192405" y="1232997"/>
                  </a:cubicBezTo>
                  <a:cubicBezTo>
                    <a:pt x="4177265" y="1234367"/>
                    <a:pt x="4265062" y="1284770"/>
                    <a:pt x="4277644" y="1289817"/>
                  </a:cubicBezTo>
                  <a:close/>
                  <a:moveTo>
                    <a:pt x="4224391" y="1222937"/>
                  </a:moveTo>
                  <a:cubicBezTo>
                    <a:pt x="4229261" y="1216452"/>
                    <a:pt x="4171217" y="1199039"/>
                    <a:pt x="4190052" y="1212909"/>
                  </a:cubicBezTo>
                  <a:cubicBezTo>
                    <a:pt x="4200037" y="1220563"/>
                    <a:pt x="4219520" y="1229354"/>
                    <a:pt x="4224391" y="1222937"/>
                  </a:cubicBezTo>
                  <a:close/>
                  <a:moveTo>
                    <a:pt x="4408505" y="1282263"/>
                  </a:moveTo>
                  <a:cubicBezTo>
                    <a:pt x="4420439" y="1289416"/>
                    <a:pt x="4427988" y="1298407"/>
                    <a:pt x="4436594" y="1306663"/>
                  </a:cubicBezTo>
                  <a:cubicBezTo>
                    <a:pt x="4453885" y="1322422"/>
                    <a:pt x="4473733" y="1336122"/>
                    <a:pt x="4495612" y="1347372"/>
                  </a:cubicBezTo>
                  <a:cubicBezTo>
                    <a:pt x="4515500" y="1358168"/>
                    <a:pt x="4584625" y="1388851"/>
                    <a:pt x="4540706" y="1353222"/>
                  </a:cubicBezTo>
                  <a:cubicBezTo>
                    <a:pt x="4528123" y="1343195"/>
                    <a:pt x="4518990" y="1340487"/>
                    <a:pt x="4505231" y="1333435"/>
                  </a:cubicBezTo>
                  <a:cubicBezTo>
                    <a:pt x="4497843" y="1329625"/>
                    <a:pt x="4494028" y="1323408"/>
                    <a:pt x="4488670" y="1318728"/>
                  </a:cubicBezTo>
                  <a:cubicBezTo>
                    <a:pt x="4481485" y="1312579"/>
                    <a:pt x="4471419" y="1310038"/>
                    <a:pt x="4462733" y="1305560"/>
                  </a:cubicBezTo>
                  <a:cubicBezTo>
                    <a:pt x="4454047" y="1301081"/>
                    <a:pt x="4444509" y="1294998"/>
                    <a:pt x="4439962" y="1288614"/>
                  </a:cubicBezTo>
                  <a:cubicBezTo>
                    <a:pt x="4436918" y="1284369"/>
                    <a:pt x="4437851" y="1280793"/>
                    <a:pt x="4429450" y="1278587"/>
                  </a:cubicBezTo>
                  <a:cubicBezTo>
                    <a:pt x="4425391" y="1277517"/>
                    <a:pt x="4398480" y="1276381"/>
                    <a:pt x="4408505" y="1282330"/>
                  </a:cubicBezTo>
                  <a:cubicBezTo>
                    <a:pt x="4430180" y="1295365"/>
                    <a:pt x="4397709" y="1275779"/>
                    <a:pt x="4408505" y="1282263"/>
                  </a:cubicBezTo>
                  <a:close/>
                  <a:moveTo>
                    <a:pt x="1056440" y="10797"/>
                  </a:moveTo>
                  <a:cubicBezTo>
                    <a:pt x="1069511" y="7287"/>
                    <a:pt x="1085097" y="8791"/>
                    <a:pt x="1100359" y="11699"/>
                  </a:cubicBezTo>
                  <a:cubicBezTo>
                    <a:pt x="1102510" y="12100"/>
                    <a:pt x="1123535" y="16746"/>
                    <a:pt x="1120329" y="12200"/>
                  </a:cubicBezTo>
                  <a:cubicBezTo>
                    <a:pt x="1115174" y="4780"/>
                    <a:pt x="1071134" y="2173"/>
                    <a:pt x="1060053" y="2574"/>
                  </a:cubicBezTo>
                  <a:cubicBezTo>
                    <a:pt x="1042153" y="2942"/>
                    <a:pt x="1013659" y="-2071"/>
                    <a:pt x="998113" y="302"/>
                  </a:cubicBezTo>
                  <a:cubicBezTo>
                    <a:pt x="989995" y="1505"/>
                    <a:pt x="1004283" y="6986"/>
                    <a:pt x="1006962" y="7889"/>
                  </a:cubicBezTo>
                  <a:cubicBezTo>
                    <a:pt x="1022589" y="13437"/>
                    <a:pt x="1040042" y="14463"/>
                    <a:pt x="1056440" y="10797"/>
                  </a:cubicBezTo>
                  <a:close/>
                  <a:moveTo>
                    <a:pt x="3890662" y="1777668"/>
                  </a:moveTo>
                  <a:cubicBezTo>
                    <a:pt x="3890662" y="1765368"/>
                    <a:pt x="3922808" y="1760221"/>
                    <a:pt x="3910956" y="1745247"/>
                  </a:cubicBezTo>
                  <a:cubicBezTo>
                    <a:pt x="3906125" y="1739341"/>
                    <a:pt x="3904990" y="1731901"/>
                    <a:pt x="3907872" y="1725193"/>
                  </a:cubicBezTo>
                  <a:cubicBezTo>
                    <a:pt x="3908643" y="1722786"/>
                    <a:pt x="3909454" y="1716436"/>
                    <a:pt x="3901580" y="1718241"/>
                  </a:cubicBezTo>
                  <a:cubicBezTo>
                    <a:pt x="3895166" y="1719711"/>
                    <a:pt x="3894639" y="1725527"/>
                    <a:pt x="3888388" y="1727165"/>
                  </a:cubicBezTo>
                  <a:cubicBezTo>
                    <a:pt x="3882137" y="1728802"/>
                    <a:pt x="3873167" y="1721215"/>
                    <a:pt x="3870326" y="1726463"/>
                  </a:cubicBezTo>
                  <a:cubicBezTo>
                    <a:pt x="3863426" y="1739297"/>
                    <a:pt x="3850031" y="1747252"/>
                    <a:pt x="3849259" y="1762995"/>
                  </a:cubicBezTo>
                  <a:cubicBezTo>
                    <a:pt x="3847799" y="1786057"/>
                    <a:pt x="3826083" y="1798156"/>
                    <a:pt x="3810943" y="1815069"/>
                  </a:cubicBezTo>
                  <a:cubicBezTo>
                    <a:pt x="3805747" y="1820851"/>
                    <a:pt x="3805706" y="1828438"/>
                    <a:pt x="3800592" y="1834053"/>
                  </a:cubicBezTo>
                  <a:cubicBezTo>
                    <a:pt x="3792474" y="1843078"/>
                    <a:pt x="3780297" y="1849662"/>
                    <a:pt x="3771449" y="1858452"/>
                  </a:cubicBezTo>
                  <a:cubicBezTo>
                    <a:pt x="3765442" y="1864502"/>
                    <a:pt x="3770150" y="1869549"/>
                    <a:pt x="3779567" y="1864803"/>
                  </a:cubicBezTo>
                  <a:cubicBezTo>
                    <a:pt x="3794585" y="1857350"/>
                    <a:pt x="3803921" y="1872891"/>
                    <a:pt x="3806681" y="1882217"/>
                  </a:cubicBezTo>
                  <a:cubicBezTo>
                    <a:pt x="3810740" y="1896321"/>
                    <a:pt x="3821821" y="1883453"/>
                    <a:pt x="3818655" y="1876134"/>
                  </a:cubicBezTo>
                  <a:cubicBezTo>
                    <a:pt x="3816504" y="1871154"/>
                    <a:pt x="3809563" y="1869449"/>
                    <a:pt x="3808386" y="1863132"/>
                  </a:cubicBezTo>
                  <a:cubicBezTo>
                    <a:pt x="3807087" y="1856447"/>
                    <a:pt x="3806235" y="1846921"/>
                    <a:pt x="3810131" y="1841874"/>
                  </a:cubicBezTo>
                  <a:cubicBezTo>
                    <a:pt x="3814839" y="1835724"/>
                    <a:pt x="3837407" y="1818879"/>
                    <a:pt x="3852303" y="1826232"/>
                  </a:cubicBezTo>
                  <a:cubicBezTo>
                    <a:pt x="3861234" y="1830577"/>
                    <a:pt x="3885141" y="1862998"/>
                    <a:pt x="3881610" y="1844749"/>
                  </a:cubicBezTo>
                  <a:cubicBezTo>
                    <a:pt x="3876982" y="1820985"/>
                    <a:pt x="3890418" y="1800229"/>
                    <a:pt x="3890621" y="1777601"/>
                  </a:cubicBezTo>
                  <a:cubicBezTo>
                    <a:pt x="3890783" y="1760421"/>
                    <a:pt x="3890336" y="1794948"/>
                    <a:pt x="3890662" y="1777668"/>
                  </a:cubicBezTo>
                  <a:close/>
                  <a:moveTo>
                    <a:pt x="1160594" y="19788"/>
                  </a:moveTo>
                  <a:cubicBezTo>
                    <a:pt x="1170052" y="24433"/>
                    <a:pt x="1140299" y="21559"/>
                    <a:pt x="1137092" y="21358"/>
                  </a:cubicBezTo>
                  <a:cubicBezTo>
                    <a:pt x="1119842" y="20189"/>
                    <a:pt x="1109573" y="23163"/>
                    <a:pt x="1093865" y="22963"/>
                  </a:cubicBezTo>
                  <a:cubicBezTo>
                    <a:pt x="1042031" y="22328"/>
                    <a:pt x="1106042" y="38973"/>
                    <a:pt x="1128772" y="36901"/>
                  </a:cubicBezTo>
                  <a:cubicBezTo>
                    <a:pt x="1134129" y="36399"/>
                    <a:pt x="1132181" y="33558"/>
                    <a:pt x="1138797" y="33825"/>
                  </a:cubicBezTo>
                  <a:cubicBezTo>
                    <a:pt x="1145413" y="34093"/>
                    <a:pt x="1154668" y="36566"/>
                    <a:pt x="1161000" y="35630"/>
                  </a:cubicBezTo>
                  <a:cubicBezTo>
                    <a:pt x="1165059" y="34995"/>
                    <a:pt x="1166236" y="31386"/>
                    <a:pt x="1170539" y="30316"/>
                  </a:cubicBezTo>
                  <a:cubicBezTo>
                    <a:pt x="1181254" y="27676"/>
                    <a:pt x="1196516" y="28712"/>
                    <a:pt x="1209261" y="30082"/>
                  </a:cubicBezTo>
                  <a:cubicBezTo>
                    <a:pt x="1245792" y="34059"/>
                    <a:pt x="1230327" y="22094"/>
                    <a:pt x="1205202" y="15877"/>
                  </a:cubicBezTo>
                  <a:cubicBezTo>
                    <a:pt x="1197652" y="13972"/>
                    <a:pt x="1141801" y="10663"/>
                    <a:pt x="1160553" y="19788"/>
                  </a:cubicBezTo>
                  <a:close/>
                  <a:moveTo>
                    <a:pt x="1035131" y="415824"/>
                  </a:moveTo>
                  <a:cubicBezTo>
                    <a:pt x="1049013" y="424581"/>
                    <a:pt x="1066020" y="424347"/>
                    <a:pt x="1082134" y="421138"/>
                  </a:cubicBezTo>
                  <a:cubicBezTo>
                    <a:pt x="1088669" y="419834"/>
                    <a:pt x="1110953" y="419133"/>
                    <a:pt x="1103159" y="414453"/>
                  </a:cubicBezTo>
                  <a:cubicBezTo>
                    <a:pt x="1090982" y="407033"/>
                    <a:pt x="1069186" y="400014"/>
                    <a:pt x="1051205" y="400750"/>
                  </a:cubicBezTo>
                  <a:cubicBezTo>
                    <a:pt x="1035740" y="401385"/>
                    <a:pt x="1021858" y="407434"/>
                    <a:pt x="1034969" y="415824"/>
                  </a:cubicBezTo>
                  <a:cubicBezTo>
                    <a:pt x="1060703" y="431967"/>
                    <a:pt x="1015811" y="403657"/>
                    <a:pt x="1035131" y="415824"/>
                  </a:cubicBezTo>
                  <a:close/>
                  <a:moveTo>
                    <a:pt x="5491440" y="2368263"/>
                  </a:moveTo>
                  <a:cubicBezTo>
                    <a:pt x="5477396" y="2351551"/>
                    <a:pt x="5473946" y="2336143"/>
                    <a:pt x="5465707" y="2320066"/>
                  </a:cubicBezTo>
                  <a:cubicBezTo>
                    <a:pt x="5460713" y="2311877"/>
                    <a:pt x="5454220" y="2304390"/>
                    <a:pt x="5446466" y="2297839"/>
                  </a:cubicBezTo>
                  <a:cubicBezTo>
                    <a:pt x="5441433" y="2293260"/>
                    <a:pt x="5431084" y="2289115"/>
                    <a:pt x="5428729" y="2285640"/>
                  </a:cubicBezTo>
                  <a:cubicBezTo>
                    <a:pt x="5424264" y="2278955"/>
                    <a:pt x="5426293" y="2276047"/>
                    <a:pt x="5419515" y="2269462"/>
                  </a:cubicBezTo>
                  <a:cubicBezTo>
                    <a:pt x="5412209" y="2262076"/>
                    <a:pt x="5403726" y="2255558"/>
                    <a:pt x="5394309" y="2250010"/>
                  </a:cubicBezTo>
                  <a:cubicBezTo>
                    <a:pt x="5382944" y="2243894"/>
                    <a:pt x="5395364" y="2261474"/>
                    <a:pt x="5395973" y="2264215"/>
                  </a:cubicBezTo>
                  <a:cubicBezTo>
                    <a:pt x="5396379" y="2266120"/>
                    <a:pt x="5383106" y="2270331"/>
                    <a:pt x="5381604" y="2269864"/>
                  </a:cubicBezTo>
                  <a:cubicBezTo>
                    <a:pt x="5376855" y="2268359"/>
                    <a:pt x="5368615" y="2251447"/>
                    <a:pt x="5368981" y="2249007"/>
                  </a:cubicBezTo>
                  <a:cubicBezTo>
                    <a:pt x="5370118" y="2242322"/>
                    <a:pt x="5384324" y="2242757"/>
                    <a:pt x="5384446" y="2236273"/>
                  </a:cubicBezTo>
                  <a:cubicBezTo>
                    <a:pt x="5383391" y="2230491"/>
                    <a:pt x="5381604" y="2224808"/>
                    <a:pt x="5379169" y="2219327"/>
                  </a:cubicBezTo>
                  <a:cubicBezTo>
                    <a:pt x="5374785" y="2208866"/>
                    <a:pt x="5365125" y="2196900"/>
                    <a:pt x="5356967" y="2186338"/>
                  </a:cubicBezTo>
                  <a:cubicBezTo>
                    <a:pt x="5340731" y="2165114"/>
                    <a:pt x="5323358" y="2145695"/>
                    <a:pt x="5310451" y="2124772"/>
                  </a:cubicBezTo>
                  <a:cubicBezTo>
                    <a:pt x="5304322" y="2114745"/>
                    <a:pt x="5291820" y="2104985"/>
                    <a:pt x="5283864" y="2095292"/>
                  </a:cubicBezTo>
                  <a:cubicBezTo>
                    <a:pt x="5275909" y="2085599"/>
                    <a:pt x="5272255" y="2075840"/>
                    <a:pt x="5264666" y="2066080"/>
                  </a:cubicBezTo>
                  <a:cubicBezTo>
                    <a:pt x="5248105" y="2044722"/>
                    <a:pt x="5228378" y="2027108"/>
                    <a:pt x="5207637" y="2007288"/>
                  </a:cubicBezTo>
                  <a:cubicBezTo>
                    <a:pt x="5201670" y="2001539"/>
                    <a:pt x="5201426" y="1993918"/>
                    <a:pt x="5193674" y="1989373"/>
                  </a:cubicBezTo>
                  <a:cubicBezTo>
                    <a:pt x="5181294" y="1981475"/>
                    <a:pt x="5169441" y="1973029"/>
                    <a:pt x="5158158" y="1964071"/>
                  </a:cubicBezTo>
                  <a:cubicBezTo>
                    <a:pt x="5147848" y="1956384"/>
                    <a:pt x="5137335" y="1948629"/>
                    <a:pt x="5127635" y="1940675"/>
                  </a:cubicBezTo>
                  <a:cubicBezTo>
                    <a:pt x="5117933" y="1932720"/>
                    <a:pt x="5106284" y="1931517"/>
                    <a:pt x="5097394" y="1922158"/>
                  </a:cubicBezTo>
                  <a:cubicBezTo>
                    <a:pt x="5082742" y="1906783"/>
                    <a:pt x="5064720" y="1886161"/>
                    <a:pt x="5044628" y="1873493"/>
                  </a:cubicBezTo>
                  <a:cubicBezTo>
                    <a:pt x="5033426" y="1866441"/>
                    <a:pt x="5031680" y="1877972"/>
                    <a:pt x="5021979" y="1873226"/>
                  </a:cubicBezTo>
                  <a:cubicBezTo>
                    <a:pt x="5011588" y="1868179"/>
                    <a:pt x="5024617" y="1891609"/>
                    <a:pt x="5025551" y="1893280"/>
                  </a:cubicBezTo>
                  <a:cubicBezTo>
                    <a:pt x="5040731" y="1921757"/>
                    <a:pt x="4977898" y="1891575"/>
                    <a:pt x="4972460" y="1867443"/>
                  </a:cubicBezTo>
                  <a:cubicBezTo>
                    <a:pt x="4970673" y="1859489"/>
                    <a:pt x="4956224" y="1851868"/>
                    <a:pt x="4952977" y="1843846"/>
                  </a:cubicBezTo>
                  <a:cubicBezTo>
                    <a:pt x="4948430" y="1832950"/>
                    <a:pt x="4962718" y="1833819"/>
                    <a:pt x="4969659" y="1845718"/>
                  </a:cubicBezTo>
                  <a:cubicBezTo>
                    <a:pt x="4974286" y="1853606"/>
                    <a:pt x="4996611" y="1863700"/>
                    <a:pt x="4995718" y="1854442"/>
                  </a:cubicBezTo>
                  <a:cubicBezTo>
                    <a:pt x="4994905" y="1846186"/>
                    <a:pt x="4975423" y="1831379"/>
                    <a:pt x="4964950" y="1825029"/>
                  </a:cubicBezTo>
                  <a:cubicBezTo>
                    <a:pt x="4951962" y="1817007"/>
                    <a:pt x="4937552" y="1818846"/>
                    <a:pt x="4925619" y="1816439"/>
                  </a:cubicBezTo>
                  <a:cubicBezTo>
                    <a:pt x="4914579" y="1814200"/>
                    <a:pt x="4905324" y="1808150"/>
                    <a:pt x="4895258" y="1801298"/>
                  </a:cubicBezTo>
                  <a:cubicBezTo>
                    <a:pt x="4876141" y="1788096"/>
                    <a:pt x="4862786" y="1773958"/>
                    <a:pt x="4845982" y="1760455"/>
                  </a:cubicBezTo>
                  <a:cubicBezTo>
                    <a:pt x="4829178" y="1746951"/>
                    <a:pt x="4807299" y="1735253"/>
                    <a:pt x="4788385" y="1724591"/>
                  </a:cubicBezTo>
                  <a:cubicBezTo>
                    <a:pt x="4764031" y="1710887"/>
                    <a:pt x="4754858" y="1705005"/>
                    <a:pt x="4743249" y="1716135"/>
                  </a:cubicBezTo>
                  <a:cubicBezTo>
                    <a:pt x="4742600" y="1717315"/>
                    <a:pt x="4741017" y="1717937"/>
                    <a:pt x="4739474" y="1717606"/>
                  </a:cubicBezTo>
                  <a:cubicBezTo>
                    <a:pt x="4734929" y="1716001"/>
                    <a:pt x="4740855" y="1704236"/>
                    <a:pt x="4741422" y="1703133"/>
                  </a:cubicBezTo>
                  <a:cubicBezTo>
                    <a:pt x="4744304" y="1697418"/>
                    <a:pt x="4742681" y="1694276"/>
                    <a:pt x="4731641" y="1686421"/>
                  </a:cubicBezTo>
                  <a:cubicBezTo>
                    <a:pt x="4729042" y="1684550"/>
                    <a:pt x="4699534" y="1667570"/>
                    <a:pt x="4710858" y="1668874"/>
                  </a:cubicBezTo>
                  <a:cubicBezTo>
                    <a:pt x="4716826" y="1669542"/>
                    <a:pt x="4713862" y="1664328"/>
                    <a:pt x="4717353" y="1663092"/>
                  </a:cubicBezTo>
                  <a:cubicBezTo>
                    <a:pt x="4722386" y="1661354"/>
                    <a:pt x="4729774" y="1666200"/>
                    <a:pt x="4728312" y="1659549"/>
                  </a:cubicBezTo>
                  <a:cubicBezTo>
                    <a:pt x="4719504" y="1619641"/>
                    <a:pt x="4636823" y="1572648"/>
                    <a:pt x="4586004" y="1549251"/>
                  </a:cubicBezTo>
                  <a:cubicBezTo>
                    <a:pt x="4557591" y="1536182"/>
                    <a:pt x="4532507" y="1521509"/>
                    <a:pt x="4505353" y="1506369"/>
                  </a:cubicBezTo>
                  <a:cubicBezTo>
                    <a:pt x="4489603" y="1497645"/>
                    <a:pt x="4504784" y="1501455"/>
                    <a:pt x="4502958" y="1494871"/>
                  </a:cubicBezTo>
                  <a:cubicBezTo>
                    <a:pt x="4500969" y="1487718"/>
                    <a:pt x="4485302" y="1475485"/>
                    <a:pt x="4475559" y="1470071"/>
                  </a:cubicBezTo>
                  <a:cubicBezTo>
                    <a:pt x="4471785" y="1467998"/>
                    <a:pt x="4465534" y="1468065"/>
                    <a:pt x="4462774" y="1466294"/>
                  </a:cubicBezTo>
                  <a:cubicBezTo>
                    <a:pt x="4456401" y="1462249"/>
                    <a:pt x="4460623" y="1460679"/>
                    <a:pt x="4458390" y="1457169"/>
                  </a:cubicBezTo>
                  <a:cubicBezTo>
                    <a:pt x="4453601" y="1449615"/>
                    <a:pt x="4439760" y="1439555"/>
                    <a:pt x="4429977" y="1433772"/>
                  </a:cubicBezTo>
                  <a:cubicBezTo>
                    <a:pt x="4421859" y="1429127"/>
                    <a:pt x="4408911" y="1415590"/>
                    <a:pt x="4425594" y="1424848"/>
                  </a:cubicBezTo>
                  <a:cubicBezTo>
                    <a:pt x="4430627" y="1427656"/>
                    <a:pt x="4454007" y="1442931"/>
                    <a:pt x="4455630" y="1436847"/>
                  </a:cubicBezTo>
                  <a:cubicBezTo>
                    <a:pt x="4458146" y="1427355"/>
                    <a:pt x="4424822" y="1407936"/>
                    <a:pt x="4412930" y="1400382"/>
                  </a:cubicBezTo>
                  <a:cubicBezTo>
                    <a:pt x="4403431" y="1394266"/>
                    <a:pt x="4369540" y="1370301"/>
                    <a:pt x="4358134" y="1370100"/>
                  </a:cubicBezTo>
                  <a:cubicBezTo>
                    <a:pt x="4347946" y="1370100"/>
                    <a:pt x="4344130" y="1375615"/>
                    <a:pt x="4331791" y="1374646"/>
                  </a:cubicBezTo>
                  <a:cubicBezTo>
                    <a:pt x="4322130" y="1373877"/>
                    <a:pt x="4298223" y="1366725"/>
                    <a:pt x="4298426" y="1357299"/>
                  </a:cubicBezTo>
                  <a:cubicBezTo>
                    <a:pt x="4298426" y="1349645"/>
                    <a:pt x="4355779" y="1374412"/>
                    <a:pt x="4313200" y="1348944"/>
                  </a:cubicBezTo>
                  <a:cubicBezTo>
                    <a:pt x="4309792" y="1346905"/>
                    <a:pt x="4286534" y="1330995"/>
                    <a:pt x="4304027" y="1335908"/>
                  </a:cubicBezTo>
                  <a:cubicBezTo>
                    <a:pt x="4317544" y="1339685"/>
                    <a:pt x="4330086" y="1352419"/>
                    <a:pt x="4343116" y="1358569"/>
                  </a:cubicBezTo>
                  <a:cubicBezTo>
                    <a:pt x="4358905" y="1366090"/>
                    <a:pt x="4343116" y="1352854"/>
                    <a:pt x="4338813" y="1350080"/>
                  </a:cubicBezTo>
                  <a:cubicBezTo>
                    <a:pt x="4324281" y="1340420"/>
                    <a:pt x="4309832" y="1330794"/>
                    <a:pt x="4295260" y="1321202"/>
                  </a:cubicBezTo>
                  <a:cubicBezTo>
                    <a:pt x="4269161" y="1303955"/>
                    <a:pt x="4233969" y="1288614"/>
                    <a:pt x="4211158" y="1270398"/>
                  </a:cubicBezTo>
                  <a:cubicBezTo>
                    <a:pt x="4206571" y="1266688"/>
                    <a:pt x="4182420" y="1248205"/>
                    <a:pt x="4182745" y="1258232"/>
                  </a:cubicBezTo>
                  <a:cubicBezTo>
                    <a:pt x="4183070" y="1269061"/>
                    <a:pt x="4168417" y="1262243"/>
                    <a:pt x="4152708" y="1252650"/>
                  </a:cubicBezTo>
                  <a:cubicBezTo>
                    <a:pt x="4144590" y="1247770"/>
                    <a:pt x="4120034" y="1237476"/>
                    <a:pt x="4116543" y="1243793"/>
                  </a:cubicBezTo>
                  <a:cubicBezTo>
                    <a:pt x="4111754" y="1252349"/>
                    <a:pt x="4144956" y="1258833"/>
                    <a:pt x="4142805" y="1261407"/>
                  </a:cubicBezTo>
                  <a:cubicBezTo>
                    <a:pt x="4140653" y="1263981"/>
                    <a:pt x="4125189" y="1257329"/>
                    <a:pt x="4126001" y="1261207"/>
                  </a:cubicBezTo>
                  <a:cubicBezTo>
                    <a:pt x="4126650" y="1264549"/>
                    <a:pt x="4141587" y="1280024"/>
                    <a:pt x="4128152" y="1278854"/>
                  </a:cubicBezTo>
                  <a:cubicBezTo>
                    <a:pt x="4114717" y="1277684"/>
                    <a:pt x="4108994" y="1267523"/>
                    <a:pt x="4101200" y="1261507"/>
                  </a:cubicBezTo>
                  <a:cubicBezTo>
                    <a:pt x="4095355" y="1256962"/>
                    <a:pt x="4057932" y="1243525"/>
                    <a:pt x="4058337" y="1244160"/>
                  </a:cubicBezTo>
                  <a:cubicBezTo>
                    <a:pt x="4061098" y="1248038"/>
                    <a:pt x="4075101" y="1252984"/>
                    <a:pt x="4074168" y="1257296"/>
                  </a:cubicBezTo>
                  <a:cubicBezTo>
                    <a:pt x="4073234" y="1261608"/>
                    <a:pt x="4052208" y="1250611"/>
                    <a:pt x="4049408" y="1247269"/>
                  </a:cubicBezTo>
                  <a:cubicBezTo>
                    <a:pt x="4045917" y="1243191"/>
                    <a:pt x="4047825" y="1237643"/>
                    <a:pt x="4039544" y="1234568"/>
                  </a:cubicBezTo>
                  <a:cubicBezTo>
                    <a:pt x="4027368" y="1230122"/>
                    <a:pt x="4016246" y="1220597"/>
                    <a:pt x="4006342" y="1214180"/>
                  </a:cubicBezTo>
                  <a:cubicBezTo>
                    <a:pt x="3986047" y="1200810"/>
                    <a:pt x="3966077" y="1202214"/>
                    <a:pt x="3944930" y="1190783"/>
                  </a:cubicBezTo>
                  <a:cubicBezTo>
                    <a:pt x="3932712" y="1184399"/>
                    <a:pt x="3921956" y="1176287"/>
                    <a:pt x="3913148" y="1166818"/>
                  </a:cubicBezTo>
                  <a:cubicBezTo>
                    <a:pt x="3906654" y="1159198"/>
                    <a:pt x="3907668" y="1152680"/>
                    <a:pt x="3892854" y="1153917"/>
                  </a:cubicBezTo>
                  <a:cubicBezTo>
                    <a:pt x="3884370" y="1154652"/>
                    <a:pt x="3879945" y="1158696"/>
                    <a:pt x="3873330" y="1160902"/>
                  </a:cubicBezTo>
                  <a:cubicBezTo>
                    <a:pt x="3867444" y="1162841"/>
                    <a:pt x="3857905" y="1159766"/>
                    <a:pt x="3851005" y="1161404"/>
                  </a:cubicBezTo>
                  <a:cubicBezTo>
                    <a:pt x="3835418" y="1165147"/>
                    <a:pt x="3826408" y="1158329"/>
                    <a:pt x="3812648" y="1147032"/>
                  </a:cubicBezTo>
                  <a:cubicBezTo>
                    <a:pt x="3800024" y="1136670"/>
                    <a:pt x="3787198" y="1121028"/>
                    <a:pt x="3784235" y="1110533"/>
                  </a:cubicBezTo>
                  <a:cubicBezTo>
                    <a:pt x="3783382" y="1107425"/>
                    <a:pt x="3765482" y="1078112"/>
                    <a:pt x="3763940" y="1078413"/>
                  </a:cubicBezTo>
                  <a:cubicBezTo>
                    <a:pt x="3772382" y="1076708"/>
                    <a:pt x="3788294" y="1101442"/>
                    <a:pt x="3803880" y="1097932"/>
                  </a:cubicBezTo>
                  <a:cubicBezTo>
                    <a:pt x="3820116" y="1094256"/>
                    <a:pt x="3788578" y="1080719"/>
                    <a:pt x="3795762" y="1078146"/>
                  </a:cubicBezTo>
                  <a:cubicBezTo>
                    <a:pt x="3804449" y="1075104"/>
                    <a:pt x="3805464" y="1078814"/>
                    <a:pt x="3801486" y="1068553"/>
                  </a:cubicBezTo>
                  <a:cubicBezTo>
                    <a:pt x="3799253" y="1062871"/>
                    <a:pt x="3803150" y="1066614"/>
                    <a:pt x="3807858" y="1065545"/>
                  </a:cubicBezTo>
                  <a:cubicBezTo>
                    <a:pt x="3814678" y="1063941"/>
                    <a:pt x="3796006" y="1054081"/>
                    <a:pt x="3793530" y="1052175"/>
                  </a:cubicBezTo>
                  <a:cubicBezTo>
                    <a:pt x="3782814" y="1044154"/>
                    <a:pt x="3785777" y="1039441"/>
                    <a:pt x="3772545" y="1032556"/>
                  </a:cubicBezTo>
                  <a:cubicBezTo>
                    <a:pt x="3769501" y="1030951"/>
                    <a:pt x="3740073" y="1016446"/>
                    <a:pt x="3739667" y="1020523"/>
                  </a:cubicBezTo>
                  <a:cubicBezTo>
                    <a:pt x="3738936" y="1028879"/>
                    <a:pt x="3724081" y="1010496"/>
                    <a:pt x="3725258" y="1011165"/>
                  </a:cubicBezTo>
                  <a:cubicBezTo>
                    <a:pt x="3707195" y="1000001"/>
                    <a:pt x="3684668" y="991979"/>
                    <a:pt x="3676551" y="977741"/>
                  </a:cubicBezTo>
                  <a:cubicBezTo>
                    <a:pt x="3671599" y="969151"/>
                    <a:pt x="3667418" y="970254"/>
                    <a:pt x="3660315" y="973195"/>
                  </a:cubicBezTo>
                  <a:cubicBezTo>
                    <a:pt x="3653211" y="976137"/>
                    <a:pt x="3625123" y="956784"/>
                    <a:pt x="3629222" y="972460"/>
                  </a:cubicBezTo>
                  <a:cubicBezTo>
                    <a:pt x="3630278" y="976538"/>
                    <a:pt x="3623499" y="989807"/>
                    <a:pt x="3612459" y="983189"/>
                  </a:cubicBezTo>
                  <a:cubicBezTo>
                    <a:pt x="3596223" y="973396"/>
                    <a:pt x="3593260" y="974766"/>
                    <a:pt x="3576172" y="968516"/>
                  </a:cubicBezTo>
                  <a:cubicBezTo>
                    <a:pt x="3559936" y="962567"/>
                    <a:pt x="3542198" y="951804"/>
                    <a:pt x="3526368" y="944652"/>
                  </a:cubicBezTo>
                  <a:cubicBezTo>
                    <a:pt x="3511229" y="937633"/>
                    <a:pt x="3520848" y="933355"/>
                    <a:pt x="3503516" y="932118"/>
                  </a:cubicBezTo>
                  <a:cubicBezTo>
                    <a:pt x="3493409" y="931382"/>
                    <a:pt x="3476362" y="922091"/>
                    <a:pt x="3468406" y="917144"/>
                  </a:cubicBezTo>
                  <a:cubicBezTo>
                    <a:pt x="3444823" y="902471"/>
                    <a:pt x="3478757" y="910861"/>
                    <a:pt x="3480583" y="908186"/>
                  </a:cubicBezTo>
                  <a:cubicBezTo>
                    <a:pt x="3482409" y="905513"/>
                    <a:pt x="3430739" y="884389"/>
                    <a:pt x="3424813" y="881047"/>
                  </a:cubicBezTo>
                  <a:cubicBezTo>
                    <a:pt x="3403097" y="868446"/>
                    <a:pt x="3381990" y="861393"/>
                    <a:pt x="3357230" y="853171"/>
                  </a:cubicBezTo>
                  <a:cubicBezTo>
                    <a:pt x="3341441" y="847924"/>
                    <a:pt x="3320699" y="839367"/>
                    <a:pt x="3304464" y="836961"/>
                  </a:cubicBezTo>
                  <a:cubicBezTo>
                    <a:pt x="3297279" y="835891"/>
                    <a:pt x="3303733" y="843144"/>
                    <a:pt x="3299959" y="844214"/>
                  </a:cubicBezTo>
                  <a:cubicBezTo>
                    <a:pt x="3289933" y="846955"/>
                    <a:pt x="3292327" y="835423"/>
                    <a:pt x="3293220" y="834187"/>
                  </a:cubicBezTo>
                  <a:cubicBezTo>
                    <a:pt x="3294560" y="832482"/>
                    <a:pt x="3299106" y="812495"/>
                    <a:pt x="3283723" y="816506"/>
                  </a:cubicBezTo>
                  <a:cubicBezTo>
                    <a:pt x="3275605" y="818645"/>
                    <a:pt x="3256771" y="817308"/>
                    <a:pt x="3246623" y="807147"/>
                  </a:cubicBezTo>
                  <a:cubicBezTo>
                    <a:pt x="3234446" y="794948"/>
                    <a:pt x="3213177" y="779840"/>
                    <a:pt x="3190123" y="776865"/>
                  </a:cubicBezTo>
                  <a:cubicBezTo>
                    <a:pt x="3183628" y="776030"/>
                    <a:pt x="3172345" y="775161"/>
                    <a:pt x="3169462" y="778102"/>
                  </a:cubicBezTo>
                  <a:cubicBezTo>
                    <a:pt x="3165403" y="782447"/>
                    <a:pt x="3189270" y="786792"/>
                    <a:pt x="3188540" y="789700"/>
                  </a:cubicBezTo>
                  <a:cubicBezTo>
                    <a:pt x="3187687" y="793042"/>
                    <a:pt x="3157407" y="782347"/>
                    <a:pt x="3152943" y="781177"/>
                  </a:cubicBezTo>
                  <a:cubicBezTo>
                    <a:pt x="3142673" y="778436"/>
                    <a:pt x="3132120" y="780007"/>
                    <a:pt x="3120471" y="777634"/>
                  </a:cubicBezTo>
                  <a:cubicBezTo>
                    <a:pt x="3100744" y="773590"/>
                    <a:pt x="3081951" y="767607"/>
                    <a:pt x="3062346" y="762527"/>
                  </a:cubicBezTo>
                  <a:cubicBezTo>
                    <a:pt x="3057313" y="761190"/>
                    <a:pt x="3021228" y="757413"/>
                    <a:pt x="3021472" y="757613"/>
                  </a:cubicBezTo>
                  <a:cubicBezTo>
                    <a:pt x="3013923" y="751163"/>
                    <a:pt x="3054553" y="750594"/>
                    <a:pt x="3059505" y="751630"/>
                  </a:cubicBezTo>
                  <a:cubicBezTo>
                    <a:pt x="3067379" y="753195"/>
                    <a:pt x="3075497" y="753803"/>
                    <a:pt x="3083574" y="753435"/>
                  </a:cubicBezTo>
                  <a:cubicBezTo>
                    <a:pt x="3094006" y="753435"/>
                    <a:pt x="3107928" y="758783"/>
                    <a:pt x="3118523" y="761758"/>
                  </a:cubicBezTo>
                  <a:cubicBezTo>
                    <a:pt x="3133825" y="765936"/>
                    <a:pt x="3155946" y="764432"/>
                    <a:pt x="3171289" y="766103"/>
                  </a:cubicBezTo>
                  <a:cubicBezTo>
                    <a:pt x="3189514" y="768075"/>
                    <a:pt x="3201082" y="765334"/>
                    <a:pt x="3220971" y="768910"/>
                  </a:cubicBezTo>
                  <a:cubicBezTo>
                    <a:pt x="3234324" y="771317"/>
                    <a:pt x="3256203" y="779573"/>
                    <a:pt x="3265620" y="776130"/>
                  </a:cubicBezTo>
                  <a:cubicBezTo>
                    <a:pt x="3276213" y="772219"/>
                    <a:pt x="3298092" y="779138"/>
                    <a:pt x="3313718" y="781611"/>
                  </a:cubicBezTo>
                  <a:cubicBezTo>
                    <a:pt x="3323176" y="783115"/>
                    <a:pt x="3331821" y="783918"/>
                    <a:pt x="3337626" y="781043"/>
                  </a:cubicBezTo>
                  <a:cubicBezTo>
                    <a:pt x="3346393" y="776631"/>
                    <a:pt x="3328168" y="773322"/>
                    <a:pt x="3328209" y="768075"/>
                  </a:cubicBezTo>
                  <a:cubicBezTo>
                    <a:pt x="3328209" y="764732"/>
                    <a:pt x="3347245" y="773623"/>
                    <a:pt x="3351589" y="771818"/>
                  </a:cubicBezTo>
                  <a:cubicBezTo>
                    <a:pt x="3360193" y="768209"/>
                    <a:pt x="3340954" y="762627"/>
                    <a:pt x="3339412" y="760454"/>
                  </a:cubicBezTo>
                  <a:cubicBezTo>
                    <a:pt x="3336935" y="757112"/>
                    <a:pt x="3352157" y="756477"/>
                    <a:pt x="3339980" y="749892"/>
                  </a:cubicBezTo>
                  <a:cubicBezTo>
                    <a:pt x="3336368" y="747954"/>
                    <a:pt x="3320375" y="745547"/>
                    <a:pt x="3322486" y="742539"/>
                  </a:cubicBezTo>
                  <a:cubicBezTo>
                    <a:pt x="3324597" y="739531"/>
                    <a:pt x="3329913" y="729170"/>
                    <a:pt x="3319442" y="725360"/>
                  </a:cubicBezTo>
                  <a:cubicBezTo>
                    <a:pt x="3305276" y="720179"/>
                    <a:pt x="3301582" y="722652"/>
                    <a:pt x="3288837" y="713661"/>
                  </a:cubicBezTo>
                  <a:cubicBezTo>
                    <a:pt x="3273657" y="702932"/>
                    <a:pt x="3254051" y="698353"/>
                    <a:pt x="3239642" y="690465"/>
                  </a:cubicBezTo>
                  <a:cubicBezTo>
                    <a:pt x="3222919" y="681341"/>
                    <a:pt x="3201285" y="678901"/>
                    <a:pt x="3183060" y="669375"/>
                  </a:cubicBezTo>
                  <a:cubicBezTo>
                    <a:pt x="3168245" y="661688"/>
                    <a:pt x="3165403" y="667604"/>
                    <a:pt x="3155702" y="667871"/>
                  </a:cubicBezTo>
                  <a:cubicBezTo>
                    <a:pt x="3146002" y="668138"/>
                    <a:pt x="3130131" y="660651"/>
                    <a:pt x="3121445" y="657075"/>
                  </a:cubicBezTo>
                  <a:cubicBezTo>
                    <a:pt x="3100906" y="648652"/>
                    <a:pt x="3137031" y="650391"/>
                    <a:pt x="3144825" y="648519"/>
                  </a:cubicBezTo>
                  <a:cubicBezTo>
                    <a:pt x="3148884" y="647549"/>
                    <a:pt x="3104478" y="632275"/>
                    <a:pt x="3099080" y="630236"/>
                  </a:cubicBezTo>
                  <a:cubicBezTo>
                    <a:pt x="3092260" y="627629"/>
                    <a:pt x="3090191" y="624988"/>
                    <a:pt x="3084142" y="622047"/>
                  </a:cubicBezTo>
                  <a:cubicBezTo>
                    <a:pt x="3075213" y="617702"/>
                    <a:pt x="3052807" y="612254"/>
                    <a:pt x="3046516" y="607508"/>
                  </a:cubicBezTo>
                  <a:cubicBezTo>
                    <a:pt x="3051590" y="611318"/>
                    <a:pt x="3097010" y="617301"/>
                    <a:pt x="3104235" y="617836"/>
                  </a:cubicBezTo>
                  <a:cubicBezTo>
                    <a:pt x="3123109" y="619206"/>
                    <a:pt x="3070220" y="594807"/>
                    <a:pt x="3068638" y="594038"/>
                  </a:cubicBezTo>
                  <a:cubicBezTo>
                    <a:pt x="3046273" y="582306"/>
                    <a:pt x="3031822" y="578964"/>
                    <a:pt x="3006698" y="573483"/>
                  </a:cubicBezTo>
                  <a:cubicBezTo>
                    <a:pt x="2981573" y="568001"/>
                    <a:pt x="2975281" y="570542"/>
                    <a:pt x="2954986" y="571277"/>
                  </a:cubicBezTo>
                  <a:cubicBezTo>
                    <a:pt x="2947599" y="571544"/>
                    <a:pt x="2915168" y="568503"/>
                    <a:pt x="2917846" y="575589"/>
                  </a:cubicBezTo>
                  <a:cubicBezTo>
                    <a:pt x="2920119" y="577387"/>
                    <a:pt x="2922555" y="579061"/>
                    <a:pt x="2925112" y="580602"/>
                  </a:cubicBezTo>
                  <a:cubicBezTo>
                    <a:pt x="2924827" y="582510"/>
                    <a:pt x="2924219" y="584372"/>
                    <a:pt x="2923245" y="586117"/>
                  </a:cubicBezTo>
                  <a:cubicBezTo>
                    <a:pt x="2923245" y="591164"/>
                    <a:pt x="2906238" y="584145"/>
                    <a:pt x="2902463" y="582540"/>
                  </a:cubicBezTo>
                  <a:cubicBezTo>
                    <a:pt x="2887932" y="576478"/>
                    <a:pt x="2872630" y="571835"/>
                    <a:pt x="2856800" y="568703"/>
                  </a:cubicBezTo>
                  <a:cubicBezTo>
                    <a:pt x="2831471" y="563990"/>
                    <a:pt x="2869545" y="582306"/>
                    <a:pt x="2866866" y="583978"/>
                  </a:cubicBezTo>
                  <a:cubicBezTo>
                    <a:pt x="2864187" y="585649"/>
                    <a:pt x="2825870" y="565628"/>
                    <a:pt x="2814870" y="565795"/>
                  </a:cubicBezTo>
                  <a:cubicBezTo>
                    <a:pt x="2805250" y="565795"/>
                    <a:pt x="2803424" y="568803"/>
                    <a:pt x="2791328" y="563890"/>
                  </a:cubicBezTo>
                  <a:cubicBezTo>
                    <a:pt x="2787269" y="562286"/>
                    <a:pt x="2761982" y="555401"/>
                    <a:pt x="2762509" y="554130"/>
                  </a:cubicBezTo>
                  <a:cubicBezTo>
                    <a:pt x="2763646" y="551189"/>
                    <a:pt x="2791613" y="552560"/>
                    <a:pt x="2769572" y="545674"/>
                  </a:cubicBezTo>
                  <a:cubicBezTo>
                    <a:pt x="2749764" y="539524"/>
                    <a:pt x="2744082" y="547178"/>
                    <a:pt x="2728089" y="537653"/>
                  </a:cubicBezTo>
                  <a:cubicBezTo>
                    <a:pt x="2720702" y="533241"/>
                    <a:pt x="2714086" y="534310"/>
                    <a:pt x="2705805" y="533675"/>
                  </a:cubicBezTo>
                  <a:cubicBezTo>
                    <a:pt x="2692411" y="532706"/>
                    <a:pt x="2685510" y="530132"/>
                    <a:pt x="2672562" y="525720"/>
                  </a:cubicBezTo>
                  <a:cubicBezTo>
                    <a:pt x="2642445" y="515426"/>
                    <a:pt x="2679584" y="537285"/>
                    <a:pt x="2679584" y="537084"/>
                  </a:cubicBezTo>
                  <a:cubicBezTo>
                    <a:pt x="2679584" y="536884"/>
                    <a:pt x="2580870" y="515426"/>
                    <a:pt x="2575106" y="513989"/>
                  </a:cubicBezTo>
                  <a:cubicBezTo>
                    <a:pt x="2563539" y="510646"/>
                    <a:pt x="2560048" y="511816"/>
                    <a:pt x="2550996" y="512652"/>
                  </a:cubicBezTo>
                  <a:cubicBezTo>
                    <a:pt x="2540280" y="513655"/>
                    <a:pt x="2526033" y="508340"/>
                    <a:pt x="2514466" y="507538"/>
                  </a:cubicBezTo>
                  <a:cubicBezTo>
                    <a:pt x="2503547" y="506836"/>
                    <a:pt x="2498716" y="511515"/>
                    <a:pt x="2486053" y="507538"/>
                  </a:cubicBezTo>
                  <a:cubicBezTo>
                    <a:pt x="2483414" y="506736"/>
                    <a:pt x="2460969" y="493099"/>
                    <a:pt x="2459344" y="499316"/>
                  </a:cubicBezTo>
                  <a:cubicBezTo>
                    <a:pt x="2458980" y="500753"/>
                    <a:pt x="2472292" y="505399"/>
                    <a:pt x="2459588" y="504329"/>
                  </a:cubicBezTo>
                  <a:cubicBezTo>
                    <a:pt x="2455895" y="503995"/>
                    <a:pt x="2438238" y="498580"/>
                    <a:pt x="2437832" y="502591"/>
                  </a:cubicBezTo>
                  <a:cubicBezTo>
                    <a:pt x="2437832" y="504129"/>
                    <a:pt x="2459629" y="509276"/>
                    <a:pt x="2447411" y="511983"/>
                  </a:cubicBezTo>
                  <a:cubicBezTo>
                    <a:pt x="2442622" y="513120"/>
                    <a:pt x="2431175" y="506903"/>
                    <a:pt x="2427116" y="505299"/>
                  </a:cubicBezTo>
                  <a:cubicBezTo>
                    <a:pt x="2420216" y="502591"/>
                    <a:pt x="2411529" y="502658"/>
                    <a:pt x="2420662" y="507839"/>
                  </a:cubicBezTo>
                  <a:cubicBezTo>
                    <a:pt x="2428456" y="512284"/>
                    <a:pt x="2442703" y="513788"/>
                    <a:pt x="2447005" y="519571"/>
                  </a:cubicBezTo>
                  <a:cubicBezTo>
                    <a:pt x="2455895" y="531536"/>
                    <a:pt x="2413884" y="510814"/>
                    <a:pt x="2420013" y="518601"/>
                  </a:cubicBezTo>
                  <a:cubicBezTo>
                    <a:pt x="2423706" y="523214"/>
                    <a:pt x="2457274" y="534043"/>
                    <a:pt x="2439780" y="538655"/>
                  </a:cubicBezTo>
                  <a:cubicBezTo>
                    <a:pt x="2423544" y="542900"/>
                    <a:pt x="2434869" y="540026"/>
                    <a:pt x="2416603" y="533776"/>
                  </a:cubicBezTo>
                  <a:cubicBezTo>
                    <a:pt x="2410718" y="531804"/>
                    <a:pt x="2399678" y="528361"/>
                    <a:pt x="2394157" y="529598"/>
                  </a:cubicBezTo>
                  <a:cubicBezTo>
                    <a:pt x="2383279" y="532104"/>
                    <a:pt x="2383767" y="530199"/>
                    <a:pt x="2373376" y="525954"/>
                  </a:cubicBezTo>
                  <a:cubicBezTo>
                    <a:pt x="2356611" y="519069"/>
                    <a:pt x="2329823" y="516429"/>
                    <a:pt x="2311395" y="511983"/>
                  </a:cubicBezTo>
                  <a:cubicBezTo>
                    <a:pt x="2288503" y="506502"/>
                    <a:pt x="2265244" y="500720"/>
                    <a:pt x="2242108" y="496742"/>
                  </a:cubicBezTo>
                  <a:cubicBezTo>
                    <a:pt x="2226278" y="494001"/>
                    <a:pt x="2202492" y="497377"/>
                    <a:pt x="2215360" y="508608"/>
                  </a:cubicBezTo>
                  <a:cubicBezTo>
                    <a:pt x="2228227" y="519838"/>
                    <a:pt x="2202452" y="517899"/>
                    <a:pt x="2223478" y="530099"/>
                  </a:cubicBezTo>
                  <a:cubicBezTo>
                    <a:pt x="2236953" y="537954"/>
                    <a:pt x="2261754" y="544304"/>
                    <a:pt x="2270197" y="553495"/>
                  </a:cubicBezTo>
                  <a:cubicBezTo>
                    <a:pt x="2281115" y="565428"/>
                    <a:pt x="2263134" y="568202"/>
                    <a:pt x="2245599" y="560481"/>
                  </a:cubicBezTo>
                  <a:cubicBezTo>
                    <a:pt x="2226278" y="552025"/>
                    <a:pt x="2214588" y="540427"/>
                    <a:pt x="2195836" y="531837"/>
                  </a:cubicBezTo>
                  <a:cubicBezTo>
                    <a:pt x="2178423" y="523892"/>
                    <a:pt x="2160076" y="517472"/>
                    <a:pt x="2141040" y="512685"/>
                  </a:cubicBezTo>
                  <a:cubicBezTo>
                    <a:pt x="2124519" y="508574"/>
                    <a:pt x="2125129" y="500352"/>
                    <a:pt x="2105564" y="498079"/>
                  </a:cubicBezTo>
                  <a:cubicBezTo>
                    <a:pt x="2099476" y="497377"/>
                    <a:pt x="2087258" y="496709"/>
                    <a:pt x="2084539" y="499683"/>
                  </a:cubicBezTo>
                  <a:cubicBezTo>
                    <a:pt x="2081819" y="502658"/>
                    <a:pt x="2105768" y="504597"/>
                    <a:pt x="2105077" y="507237"/>
                  </a:cubicBezTo>
                  <a:cubicBezTo>
                    <a:pt x="2103169" y="507815"/>
                    <a:pt x="2101302" y="508531"/>
                    <a:pt x="2099517" y="509376"/>
                  </a:cubicBezTo>
                  <a:cubicBezTo>
                    <a:pt x="2100003" y="511114"/>
                    <a:pt x="2117701" y="517431"/>
                    <a:pt x="2119202" y="518167"/>
                  </a:cubicBezTo>
                  <a:cubicBezTo>
                    <a:pt x="2130121" y="523448"/>
                    <a:pt x="2113764" y="521843"/>
                    <a:pt x="2108934" y="520807"/>
                  </a:cubicBezTo>
                  <a:cubicBezTo>
                    <a:pt x="2094443" y="517766"/>
                    <a:pt x="2086040" y="509410"/>
                    <a:pt x="2071550" y="507137"/>
                  </a:cubicBezTo>
                  <a:cubicBezTo>
                    <a:pt x="2062945" y="505767"/>
                    <a:pt x="2046912" y="505834"/>
                    <a:pt x="2050362" y="512017"/>
                  </a:cubicBezTo>
                  <a:cubicBezTo>
                    <a:pt x="2059535" y="528528"/>
                    <a:pt x="2094118" y="531804"/>
                    <a:pt x="2109623" y="544471"/>
                  </a:cubicBezTo>
                  <a:cubicBezTo>
                    <a:pt x="2113114" y="547312"/>
                    <a:pt x="2122409" y="552693"/>
                    <a:pt x="2124438" y="555167"/>
                  </a:cubicBezTo>
                  <a:cubicBezTo>
                    <a:pt x="2128944" y="560648"/>
                    <a:pt x="2104143" y="552493"/>
                    <a:pt x="2101830" y="551356"/>
                  </a:cubicBezTo>
                  <a:cubicBezTo>
                    <a:pt x="2077477" y="538555"/>
                    <a:pt x="2067816" y="532907"/>
                    <a:pt x="2037414" y="526289"/>
                  </a:cubicBezTo>
                  <a:cubicBezTo>
                    <a:pt x="2030473" y="524751"/>
                    <a:pt x="2014481" y="521810"/>
                    <a:pt x="2016307" y="516529"/>
                  </a:cubicBezTo>
                  <a:cubicBezTo>
                    <a:pt x="2017728" y="514868"/>
                    <a:pt x="2019270" y="513273"/>
                    <a:pt x="2020934" y="511749"/>
                  </a:cubicBezTo>
                  <a:cubicBezTo>
                    <a:pt x="2022193" y="508808"/>
                    <a:pt x="2015861" y="506435"/>
                    <a:pt x="2018337" y="503159"/>
                  </a:cubicBezTo>
                  <a:cubicBezTo>
                    <a:pt x="2024507" y="494971"/>
                    <a:pt x="2059495" y="484208"/>
                    <a:pt x="2025400" y="470672"/>
                  </a:cubicBezTo>
                  <a:cubicBezTo>
                    <a:pt x="2012370" y="465525"/>
                    <a:pt x="2009691" y="487150"/>
                    <a:pt x="1999179" y="490291"/>
                  </a:cubicBezTo>
                  <a:cubicBezTo>
                    <a:pt x="1985094" y="494469"/>
                    <a:pt x="1964880" y="487785"/>
                    <a:pt x="1951810" y="492598"/>
                  </a:cubicBezTo>
                  <a:cubicBezTo>
                    <a:pt x="1948928" y="493667"/>
                    <a:pt x="1931515" y="494336"/>
                    <a:pt x="1936670" y="498046"/>
                  </a:cubicBezTo>
                  <a:cubicBezTo>
                    <a:pt x="1942231" y="502277"/>
                    <a:pt x="1947426" y="506823"/>
                    <a:pt x="1952216" y="511649"/>
                  </a:cubicBezTo>
                  <a:cubicBezTo>
                    <a:pt x="1963134" y="521977"/>
                    <a:pt x="1974337" y="529664"/>
                    <a:pt x="1960334" y="536550"/>
                  </a:cubicBezTo>
                  <a:cubicBezTo>
                    <a:pt x="1944098" y="544705"/>
                    <a:pt x="1935047" y="553261"/>
                    <a:pt x="1933788" y="566631"/>
                  </a:cubicBezTo>
                  <a:cubicBezTo>
                    <a:pt x="1932692" y="578262"/>
                    <a:pt x="1990614" y="581270"/>
                    <a:pt x="2002142" y="582942"/>
                  </a:cubicBezTo>
                  <a:cubicBezTo>
                    <a:pt x="2024993" y="586284"/>
                    <a:pt x="2046790" y="600355"/>
                    <a:pt x="2064324" y="609246"/>
                  </a:cubicBezTo>
                  <a:cubicBezTo>
                    <a:pt x="2071022" y="612588"/>
                    <a:pt x="2074878" y="623451"/>
                    <a:pt x="2073052" y="626994"/>
                  </a:cubicBezTo>
                  <a:cubicBezTo>
                    <a:pt x="2071509" y="630002"/>
                    <a:pt x="2058724" y="628698"/>
                    <a:pt x="2054827" y="630838"/>
                  </a:cubicBezTo>
                  <a:cubicBezTo>
                    <a:pt x="2039281" y="639327"/>
                    <a:pt x="2085391" y="648485"/>
                    <a:pt x="2087299" y="655337"/>
                  </a:cubicBezTo>
                  <a:cubicBezTo>
                    <a:pt x="2087948" y="657510"/>
                    <a:pt x="2061687" y="649120"/>
                    <a:pt x="2059982" y="648652"/>
                  </a:cubicBezTo>
                  <a:cubicBezTo>
                    <a:pt x="2046140" y="643839"/>
                    <a:pt x="2042610" y="639996"/>
                    <a:pt x="2039078" y="632442"/>
                  </a:cubicBezTo>
                  <a:cubicBezTo>
                    <a:pt x="2035547" y="624888"/>
                    <a:pt x="2054056" y="625055"/>
                    <a:pt x="2050402" y="617936"/>
                  </a:cubicBezTo>
                  <a:cubicBezTo>
                    <a:pt x="2047927" y="613090"/>
                    <a:pt x="2031934" y="599319"/>
                    <a:pt x="2024060" y="596010"/>
                  </a:cubicBezTo>
                  <a:cubicBezTo>
                    <a:pt x="2009691" y="589894"/>
                    <a:pt x="1959644" y="583811"/>
                    <a:pt x="1956518" y="593203"/>
                  </a:cubicBezTo>
                  <a:cubicBezTo>
                    <a:pt x="1954367" y="599620"/>
                    <a:pt x="1965205" y="609714"/>
                    <a:pt x="1961592" y="615195"/>
                  </a:cubicBezTo>
                  <a:cubicBezTo>
                    <a:pt x="1957980" y="620677"/>
                    <a:pt x="1939674" y="620911"/>
                    <a:pt x="1930988" y="623518"/>
                  </a:cubicBezTo>
                  <a:cubicBezTo>
                    <a:pt x="1920718" y="626660"/>
                    <a:pt x="1922870" y="630637"/>
                    <a:pt x="1906634" y="631038"/>
                  </a:cubicBezTo>
                  <a:cubicBezTo>
                    <a:pt x="1894051" y="631339"/>
                    <a:pt x="1871483" y="629634"/>
                    <a:pt x="1863771" y="634782"/>
                  </a:cubicBezTo>
                  <a:cubicBezTo>
                    <a:pt x="1856059" y="639929"/>
                    <a:pt x="1852325" y="640798"/>
                    <a:pt x="1836535" y="633445"/>
                  </a:cubicBezTo>
                  <a:cubicBezTo>
                    <a:pt x="1819244" y="625423"/>
                    <a:pt x="1800410" y="628565"/>
                    <a:pt x="1783769" y="621345"/>
                  </a:cubicBezTo>
                  <a:cubicBezTo>
                    <a:pt x="1779263" y="619373"/>
                    <a:pt x="1776462" y="616064"/>
                    <a:pt x="1771267" y="614661"/>
                  </a:cubicBezTo>
                  <a:cubicBezTo>
                    <a:pt x="1764123" y="612655"/>
                    <a:pt x="1756817" y="614360"/>
                    <a:pt x="1751216" y="609814"/>
                  </a:cubicBezTo>
                  <a:cubicBezTo>
                    <a:pt x="1739444" y="600255"/>
                    <a:pt x="1768020" y="600790"/>
                    <a:pt x="1768101" y="609279"/>
                  </a:cubicBezTo>
                  <a:cubicBezTo>
                    <a:pt x="1768101" y="614594"/>
                    <a:pt x="1791034" y="610015"/>
                    <a:pt x="1797001" y="615964"/>
                  </a:cubicBezTo>
                  <a:cubicBezTo>
                    <a:pt x="1805849" y="624821"/>
                    <a:pt x="1815753" y="618638"/>
                    <a:pt x="1825414" y="621178"/>
                  </a:cubicBezTo>
                  <a:cubicBezTo>
                    <a:pt x="1840513" y="625189"/>
                    <a:pt x="1830690" y="616064"/>
                    <a:pt x="1845709" y="616165"/>
                  </a:cubicBezTo>
                  <a:cubicBezTo>
                    <a:pt x="1854557" y="615901"/>
                    <a:pt x="1863041" y="613220"/>
                    <a:pt x="1869819" y="608544"/>
                  </a:cubicBezTo>
                  <a:cubicBezTo>
                    <a:pt x="1872133" y="606706"/>
                    <a:pt x="1889099" y="603564"/>
                    <a:pt x="1894741" y="604834"/>
                  </a:cubicBezTo>
                  <a:cubicBezTo>
                    <a:pt x="1906593" y="607475"/>
                    <a:pt x="1903346" y="592434"/>
                    <a:pt x="1910977" y="590195"/>
                  </a:cubicBezTo>
                  <a:cubicBezTo>
                    <a:pt x="1922748" y="586852"/>
                    <a:pt x="1924655" y="587387"/>
                    <a:pt x="1912073" y="578864"/>
                  </a:cubicBezTo>
                  <a:cubicBezTo>
                    <a:pt x="1901682" y="571812"/>
                    <a:pt x="1896852" y="567634"/>
                    <a:pt x="1898313" y="560381"/>
                  </a:cubicBezTo>
                  <a:cubicBezTo>
                    <a:pt x="1899774" y="553128"/>
                    <a:pt x="1903955" y="546477"/>
                    <a:pt x="1905335" y="539257"/>
                  </a:cubicBezTo>
                  <a:cubicBezTo>
                    <a:pt x="1907283" y="529230"/>
                    <a:pt x="1913778" y="524216"/>
                    <a:pt x="1920637" y="515493"/>
                  </a:cubicBezTo>
                  <a:cubicBezTo>
                    <a:pt x="1933260" y="499316"/>
                    <a:pt x="1868804" y="487350"/>
                    <a:pt x="1913899" y="480532"/>
                  </a:cubicBezTo>
                  <a:cubicBezTo>
                    <a:pt x="1930541" y="478058"/>
                    <a:pt x="1949131" y="458472"/>
                    <a:pt x="1928309" y="449414"/>
                  </a:cubicBezTo>
                  <a:cubicBezTo>
                    <a:pt x="1905660" y="439588"/>
                    <a:pt x="1877084" y="435443"/>
                    <a:pt x="1851878" y="429360"/>
                  </a:cubicBezTo>
                  <a:cubicBezTo>
                    <a:pt x="1842177" y="426987"/>
                    <a:pt x="1825738" y="420737"/>
                    <a:pt x="1817458" y="423645"/>
                  </a:cubicBezTo>
                  <a:cubicBezTo>
                    <a:pt x="1806255" y="428070"/>
                    <a:pt x="1795783" y="433689"/>
                    <a:pt x="1786366" y="440357"/>
                  </a:cubicBezTo>
                  <a:cubicBezTo>
                    <a:pt x="1776990" y="446440"/>
                    <a:pt x="1772728" y="453024"/>
                    <a:pt x="1755680" y="454628"/>
                  </a:cubicBezTo>
                  <a:cubicBezTo>
                    <a:pt x="1743909" y="455731"/>
                    <a:pt x="1728688" y="453559"/>
                    <a:pt x="1717932" y="455665"/>
                  </a:cubicBezTo>
                  <a:cubicBezTo>
                    <a:pt x="1705755" y="458105"/>
                    <a:pt x="1698327" y="467864"/>
                    <a:pt x="1719312" y="471039"/>
                  </a:cubicBezTo>
                  <a:cubicBezTo>
                    <a:pt x="1733802" y="473245"/>
                    <a:pt x="1724995" y="483707"/>
                    <a:pt x="1717486" y="485044"/>
                  </a:cubicBezTo>
                  <a:cubicBezTo>
                    <a:pt x="1714482" y="485612"/>
                    <a:pt x="1718257" y="489757"/>
                    <a:pt x="1717242" y="491027"/>
                  </a:cubicBezTo>
                  <a:cubicBezTo>
                    <a:pt x="1715172" y="493634"/>
                    <a:pt x="1704213" y="493801"/>
                    <a:pt x="1700316" y="495806"/>
                  </a:cubicBezTo>
                  <a:cubicBezTo>
                    <a:pt x="1689722" y="501254"/>
                    <a:pt x="1709043" y="506569"/>
                    <a:pt x="1718662" y="509945"/>
                  </a:cubicBezTo>
                  <a:cubicBezTo>
                    <a:pt x="1736035" y="515994"/>
                    <a:pt x="1740784" y="519103"/>
                    <a:pt x="1744437" y="528796"/>
                  </a:cubicBezTo>
                  <a:cubicBezTo>
                    <a:pt x="1747238" y="536182"/>
                    <a:pt x="1772119" y="541262"/>
                    <a:pt x="1765016" y="546677"/>
                  </a:cubicBezTo>
                  <a:cubicBezTo>
                    <a:pt x="1748253" y="559445"/>
                    <a:pt x="1735751" y="554197"/>
                    <a:pt x="1717648" y="540828"/>
                  </a:cubicBezTo>
                  <a:cubicBezTo>
                    <a:pt x="1697881" y="526222"/>
                    <a:pt x="1671051" y="515627"/>
                    <a:pt x="1643693" y="504764"/>
                  </a:cubicBezTo>
                  <a:cubicBezTo>
                    <a:pt x="1617878" y="494503"/>
                    <a:pt x="1593403" y="480264"/>
                    <a:pt x="1564137" y="473546"/>
                  </a:cubicBezTo>
                  <a:cubicBezTo>
                    <a:pt x="1545588" y="469201"/>
                    <a:pt x="1483323" y="461547"/>
                    <a:pt x="1473379" y="451086"/>
                  </a:cubicBezTo>
                  <a:cubicBezTo>
                    <a:pt x="1467574" y="444802"/>
                    <a:pt x="1410667" y="416659"/>
                    <a:pt x="1410749" y="433171"/>
                  </a:cubicBezTo>
                  <a:cubicBezTo>
                    <a:pt x="1410749" y="448311"/>
                    <a:pt x="1467574" y="450450"/>
                    <a:pt x="1469685" y="461480"/>
                  </a:cubicBezTo>
                  <a:cubicBezTo>
                    <a:pt x="1470497" y="465658"/>
                    <a:pt x="1468548" y="468366"/>
                    <a:pt x="1472323" y="472778"/>
                  </a:cubicBezTo>
                  <a:cubicBezTo>
                    <a:pt x="1475327" y="476354"/>
                    <a:pt x="1482836" y="480197"/>
                    <a:pt x="1484297" y="483841"/>
                  </a:cubicBezTo>
                  <a:cubicBezTo>
                    <a:pt x="1487950" y="492932"/>
                    <a:pt x="1460634" y="486581"/>
                    <a:pt x="1452272" y="486047"/>
                  </a:cubicBezTo>
                  <a:cubicBezTo>
                    <a:pt x="1435427" y="484910"/>
                    <a:pt x="1451379" y="495305"/>
                    <a:pt x="1438350" y="493734"/>
                  </a:cubicBezTo>
                  <a:cubicBezTo>
                    <a:pt x="1420287" y="491562"/>
                    <a:pt x="1412494" y="484242"/>
                    <a:pt x="1427066" y="480365"/>
                  </a:cubicBezTo>
                  <a:cubicBezTo>
                    <a:pt x="1434291" y="478393"/>
                    <a:pt x="1409409" y="468967"/>
                    <a:pt x="1404904" y="468499"/>
                  </a:cubicBezTo>
                  <a:cubicBezTo>
                    <a:pt x="1393335" y="467296"/>
                    <a:pt x="1380793" y="469669"/>
                    <a:pt x="1370605" y="470906"/>
                  </a:cubicBezTo>
                  <a:cubicBezTo>
                    <a:pt x="1360417" y="472142"/>
                    <a:pt x="1351447" y="473981"/>
                    <a:pt x="1339514" y="471441"/>
                  </a:cubicBezTo>
                  <a:cubicBezTo>
                    <a:pt x="1319787" y="467296"/>
                    <a:pt x="1296448" y="460778"/>
                    <a:pt x="1277493" y="464488"/>
                  </a:cubicBezTo>
                  <a:cubicBezTo>
                    <a:pt x="1272460" y="465491"/>
                    <a:pt x="1264057" y="471674"/>
                    <a:pt x="1257198" y="469870"/>
                  </a:cubicBezTo>
                  <a:cubicBezTo>
                    <a:pt x="1243965" y="466360"/>
                    <a:pt x="1229150" y="466527"/>
                    <a:pt x="1215837" y="462784"/>
                  </a:cubicBezTo>
                  <a:cubicBezTo>
                    <a:pt x="1192092" y="456333"/>
                    <a:pt x="1220221" y="458372"/>
                    <a:pt x="1227202" y="458706"/>
                  </a:cubicBezTo>
                  <a:cubicBezTo>
                    <a:pt x="1234183" y="459040"/>
                    <a:pt x="1232641" y="456467"/>
                    <a:pt x="1229800" y="454161"/>
                  </a:cubicBezTo>
                  <a:cubicBezTo>
                    <a:pt x="1225132" y="450350"/>
                    <a:pt x="1235198" y="447476"/>
                    <a:pt x="1238527" y="445537"/>
                  </a:cubicBezTo>
                  <a:cubicBezTo>
                    <a:pt x="1244655" y="441894"/>
                    <a:pt x="1197937" y="441827"/>
                    <a:pt x="1191117" y="443498"/>
                  </a:cubicBezTo>
                  <a:cubicBezTo>
                    <a:pt x="1181620" y="445771"/>
                    <a:pt x="1186734" y="457703"/>
                    <a:pt x="1172365" y="447509"/>
                  </a:cubicBezTo>
                  <a:cubicBezTo>
                    <a:pt x="1165384" y="442529"/>
                    <a:pt x="1148254" y="443030"/>
                    <a:pt x="1139000" y="442730"/>
                  </a:cubicBezTo>
                  <a:cubicBezTo>
                    <a:pt x="1125322" y="442128"/>
                    <a:pt x="1111643" y="442319"/>
                    <a:pt x="1098005" y="443298"/>
                  </a:cubicBezTo>
                  <a:cubicBezTo>
                    <a:pt x="1086477" y="444234"/>
                    <a:pt x="1078237" y="447710"/>
                    <a:pt x="1066304" y="448378"/>
                  </a:cubicBezTo>
                  <a:cubicBezTo>
                    <a:pt x="1057415" y="448846"/>
                    <a:pt x="1051164" y="452088"/>
                    <a:pt x="1043696" y="452255"/>
                  </a:cubicBezTo>
                  <a:cubicBezTo>
                    <a:pt x="1031519" y="452523"/>
                    <a:pt x="1007773" y="447910"/>
                    <a:pt x="1003755" y="455330"/>
                  </a:cubicBezTo>
                  <a:cubicBezTo>
                    <a:pt x="1001360" y="459709"/>
                    <a:pt x="1005419" y="468967"/>
                    <a:pt x="993405" y="469602"/>
                  </a:cubicBezTo>
                  <a:cubicBezTo>
                    <a:pt x="981390" y="470237"/>
                    <a:pt x="967387" y="468031"/>
                    <a:pt x="955250" y="466460"/>
                  </a:cubicBezTo>
                  <a:cubicBezTo>
                    <a:pt x="943114" y="464890"/>
                    <a:pt x="933860" y="464622"/>
                    <a:pt x="927284" y="458238"/>
                  </a:cubicBezTo>
                  <a:cubicBezTo>
                    <a:pt x="922170" y="453258"/>
                    <a:pt x="906543" y="446607"/>
                    <a:pt x="910074" y="441961"/>
                  </a:cubicBezTo>
                  <a:cubicBezTo>
                    <a:pt x="915959" y="434207"/>
                    <a:pt x="926310" y="438418"/>
                    <a:pt x="939948" y="436012"/>
                  </a:cubicBezTo>
                  <a:cubicBezTo>
                    <a:pt x="945022" y="435109"/>
                    <a:pt x="973110" y="440891"/>
                    <a:pt x="971892" y="437716"/>
                  </a:cubicBezTo>
                  <a:cubicBezTo>
                    <a:pt x="969579" y="431466"/>
                    <a:pt x="953302" y="426954"/>
                    <a:pt x="952896" y="420269"/>
                  </a:cubicBezTo>
                  <a:cubicBezTo>
                    <a:pt x="952409" y="412983"/>
                    <a:pt x="926107" y="409674"/>
                    <a:pt x="915757" y="409072"/>
                  </a:cubicBezTo>
                  <a:cubicBezTo>
                    <a:pt x="897775" y="408003"/>
                    <a:pt x="882513" y="407434"/>
                    <a:pt x="866156" y="401585"/>
                  </a:cubicBezTo>
                  <a:cubicBezTo>
                    <a:pt x="854385" y="397407"/>
                    <a:pt x="862340" y="406599"/>
                    <a:pt x="871270" y="408771"/>
                  </a:cubicBezTo>
                  <a:cubicBezTo>
                    <a:pt x="901753" y="416225"/>
                    <a:pt x="855318" y="443298"/>
                    <a:pt x="860676" y="444601"/>
                  </a:cubicBezTo>
                  <a:cubicBezTo>
                    <a:pt x="874477" y="447944"/>
                    <a:pt x="884705" y="446273"/>
                    <a:pt x="884584" y="455832"/>
                  </a:cubicBezTo>
                  <a:cubicBezTo>
                    <a:pt x="884584" y="463653"/>
                    <a:pt x="879145" y="466126"/>
                    <a:pt x="872163" y="471975"/>
                  </a:cubicBezTo>
                  <a:cubicBezTo>
                    <a:pt x="863558" y="479195"/>
                    <a:pt x="863518" y="469301"/>
                    <a:pt x="855927" y="472410"/>
                  </a:cubicBezTo>
                  <a:cubicBezTo>
                    <a:pt x="850082" y="474783"/>
                    <a:pt x="846795" y="467095"/>
                    <a:pt x="846510" y="466260"/>
                  </a:cubicBezTo>
                  <a:cubicBezTo>
                    <a:pt x="845293" y="462650"/>
                    <a:pt x="830640" y="461848"/>
                    <a:pt x="825850" y="461280"/>
                  </a:cubicBezTo>
                  <a:cubicBezTo>
                    <a:pt x="810142" y="459408"/>
                    <a:pt x="800197" y="455564"/>
                    <a:pt x="789076" y="461982"/>
                  </a:cubicBezTo>
                  <a:cubicBezTo>
                    <a:pt x="779902" y="467229"/>
                    <a:pt x="763829" y="463853"/>
                    <a:pt x="751855" y="465525"/>
                  </a:cubicBezTo>
                  <a:cubicBezTo>
                    <a:pt x="739719" y="467259"/>
                    <a:pt x="728029" y="470528"/>
                    <a:pt x="717110" y="475217"/>
                  </a:cubicBezTo>
                  <a:cubicBezTo>
                    <a:pt x="704162" y="481902"/>
                    <a:pt x="730180" y="491662"/>
                    <a:pt x="733914" y="498814"/>
                  </a:cubicBezTo>
                  <a:cubicBezTo>
                    <a:pt x="740774" y="511816"/>
                    <a:pt x="697384" y="498814"/>
                    <a:pt x="689266" y="495873"/>
                  </a:cubicBezTo>
                  <a:cubicBezTo>
                    <a:pt x="678225" y="491695"/>
                    <a:pt x="664912" y="492898"/>
                    <a:pt x="654440" y="489790"/>
                  </a:cubicBezTo>
                  <a:cubicBezTo>
                    <a:pt x="642263" y="486247"/>
                    <a:pt x="633860" y="476788"/>
                    <a:pt x="619979" y="475217"/>
                  </a:cubicBezTo>
                  <a:cubicBezTo>
                    <a:pt x="612795" y="474609"/>
                    <a:pt x="605651" y="476655"/>
                    <a:pt x="600496" y="480799"/>
                  </a:cubicBezTo>
                  <a:cubicBezTo>
                    <a:pt x="593068" y="485946"/>
                    <a:pt x="602566" y="488019"/>
                    <a:pt x="606625" y="493533"/>
                  </a:cubicBezTo>
                  <a:cubicBezTo>
                    <a:pt x="613160" y="502424"/>
                    <a:pt x="648960" y="498982"/>
                    <a:pt x="644982" y="508307"/>
                  </a:cubicBezTo>
                  <a:cubicBezTo>
                    <a:pt x="639665" y="520673"/>
                    <a:pt x="620628" y="512017"/>
                    <a:pt x="606016" y="510145"/>
                  </a:cubicBezTo>
                  <a:cubicBezTo>
                    <a:pt x="602322" y="509644"/>
                    <a:pt x="588400" y="509309"/>
                    <a:pt x="588400" y="506134"/>
                  </a:cubicBezTo>
                  <a:cubicBezTo>
                    <a:pt x="588400" y="499617"/>
                    <a:pt x="568349" y="494703"/>
                    <a:pt x="557836" y="494636"/>
                  </a:cubicBezTo>
                  <a:cubicBezTo>
                    <a:pt x="547323" y="494570"/>
                    <a:pt x="540910" y="491896"/>
                    <a:pt x="540626" y="486782"/>
                  </a:cubicBezTo>
                  <a:cubicBezTo>
                    <a:pt x="540342" y="481668"/>
                    <a:pt x="533158" y="474415"/>
                    <a:pt x="534375" y="470404"/>
                  </a:cubicBezTo>
                  <a:cubicBezTo>
                    <a:pt x="535593" y="466394"/>
                    <a:pt x="527962" y="461581"/>
                    <a:pt x="536770" y="459441"/>
                  </a:cubicBezTo>
                  <a:cubicBezTo>
                    <a:pt x="545578" y="457302"/>
                    <a:pt x="541803" y="446941"/>
                    <a:pt x="535755" y="443432"/>
                  </a:cubicBezTo>
                  <a:cubicBezTo>
                    <a:pt x="527637" y="438652"/>
                    <a:pt x="518018" y="439187"/>
                    <a:pt x="508926" y="436012"/>
                  </a:cubicBezTo>
                  <a:cubicBezTo>
                    <a:pt x="501375" y="433338"/>
                    <a:pt x="498169" y="429327"/>
                    <a:pt x="489605" y="426619"/>
                  </a:cubicBezTo>
                  <a:cubicBezTo>
                    <a:pt x="479985" y="423768"/>
                    <a:pt x="471177" y="419343"/>
                    <a:pt x="463709" y="413618"/>
                  </a:cubicBezTo>
                  <a:cubicBezTo>
                    <a:pt x="459650" y="410041"/>
                    <a:pt x="452912" y="408704"/>
                    <a:pt x="449136" y="405763"/>
                  </a:cubicBezTo>
                  <a:cubicBezTo>
                    <a:pt x="446255" y="403524"/>
                    <a:pt x="464926" y="406900"/>
                    <a:pt x="462856" y="406432"/>
                  </a:cubicBezTo>
                  <a:cubicBezTo>
                    <a:pt x="472719" y="408838"/>
                    <a:pt x="478443" y="413283"/>
                    <a:pt x="486723" y="416659"/>
                  </a:cubicBezTo>
                  <a:cubicBezTo>
                    <a:pt x="505759" y="424414"/>
                    <a:pt x="529829" y="425650"/>
                    <a:pt x="550449" y="431733"/>
                  </a:cubicBezTo>
                  <a:cubicBezTo>
                    <a:pt x="585193" y="441928"/>
                    <a:pt x="641491" y="454094"/>
                    <a:pt x="680336" y="455832"/>
                  </a:cubicBezTo>
                  <a:cubicBezTo>
                    <a:pt x="703878" y="456801"/>
                    <a:pt x="762571" y="452255"/>
                    <a:pt x="773246" y="440657"/>
                  </a:cubicBezTo>
                  <a:cubicBezTo>
                    <a:pt x="777305" y="436312"/>
                    <a:pt x="773246" y="421773"/>
                    <a:pt x="763788" y="418364"/>
                  </a:cubicBezTo>
                  <a:cubicBezTo>
                    <a:pt x="749136" y="413083"/>
                    <a:pt x="741789" y="403390"/>
                    <a:pt x="722793" y="401652"/>
                  </a:cubicBezTo>
                  <a:cubicBezTo>
                    <a:pt x="709033" y="400315"/>
                    <a:pt x="705136" y="392494"/>
                    <a:pt x="690930" y="390723"/>
                  </a:cubicBezTo>
                  <a:cubicBezTo>
                    <a:pt x="674004" y="388584"/>
                    <a:pt x="657768" y="379158"/>
                    <a:pt x="645023" y="373677"/>
                  </a:cubicBezTo>
                  <a:cubicBezTo>
                    <a:pt x="625093" y="365117"/>
                    <a:pt x="604068" y="358338"/>
                    <a:pt x="582393" y="353455"/>
                  </a:cubicBezTo>
                  <a:cubicBezTo>
                    <a:pt x="577847" y="352419"/>
                    <a:pt x="569607" y="350113"/>
                    <a:pt x="564574" y="350915"/>
                  </a:cubicBezTo>
                  <a:cubicBezTo>
                    <a:pt x="550368" y="352887"/>
                    <a:pt x="552397" y="349277"/>
                    <a:pt x="541641" y="345935"/>
                  </a:cubicBezTo>
                  <a:cubicBezTo>
                    <a:pt x="530884" y="342593"/>
                    <a:pt x="525161" y="347172"/>
                    <a:pt x="515622" y="346603"/>
                  </a:cubicBezTo>
                  <a:cubicBezTo>
                    <a:pt x="506084" y="346035"/>
                    <a:pt x="499062" y="342225"/>
                    <a:pt x="488468" y="342593"/>
                  </a:cubicBezTo>
                  <a:cubicBezTo>
                    <a:pt x="469756" y="343294"/>
                    <a:pt x="459731" y="334437"/>
                    <a:pt x="484409" y="335273"/>
                  </a:cubicBezTo>
                  <a:cubicBezTo>
                    <a:pt x="513309" y="336276"/>
                    <a:pt x="471096" y="325814"/>
                    <a:pt x="463505" y="324477"/>
                  </a:cubicBezTo>
                  <a:cubicBezTo>
                    <a:pt x="443210" y="320834"/>
                    <a:pt x="448000" y="333969"/>
                    <a:pt x="423565" y="324678"/>
                  </a:cubicBezTo>
                  <a:cubicBezTo>
                    <a:pt x="419506" y="332632"/>
                    <a:pt x="399698" y="328889"/>
                    <a:pt x="387318" y="332332"/>
                  </a:cubicBezTo>
                  <a:cubicBezTo>
                    <a:pt x="378348" y="334805"/>
                    <a:pt x="367876" y="333468"/>
                    <a:pt x="359433" y="336510"/>
                  </a:cubicBezTo>
                  <a:cubicBezTo>
                    <a:pt x="352695" y="338916"/>
                    <a:pt x="351315" y="344932"/>
                    <a:pt x="342021" y="345300"/>
                  </a:cubicBezTo>
                  <a:cubicBezTo>
                    <a:pt x="325785" y="345902"/>
                    <a:pt x="329519" y="360307"/>
                    <a:pt x="334186" y="365354"/>
                  </a:cubicBezTo>
                  <a:cubicBezTo>
                    <a:pt x="338854" y="370401"/>
                    <a:pt x="362599" y="375381"/>
                    <a:pt x="371651" y="380629"/>
                  </a:cubicBezTo>
                  <a:cubicBezTo>
                    <a:pt x="396776" y="395235"/>
                    <a:pt x="331061" y="395770"/>
                    <a:pt x="349935" y="411679"/>
                  </a:cubicBezTo>
                  <a:cubicBezTo>
                    <a:pt x="359880" y="420135"/>
                    <a:pt x="373315" y="429594"/>
                    <a:pt x="378632" y="438919"/>
                  </a:cubicBezTo>
                  <a:cubicBezTo>
                    <a:pt x="382326" y="445437"/>
                    <a:pt x="354278" y="441025"/>
                    <a:pt x="361747" y="451587"/>
                  </a:cubicBezTo>
                  <a:cubicBezTo>
                    <a:pt x="362721" y="452991"/>
                    <a:pt x="369865" y="458105"/>
                    <a:pt x="366496" y="459609"/>
                  </a:cubicBezTo>
                  <a:cubicBezTo>
                    <a:pt x="363127" y="461113"/>
                    <a:pt x="353345" y="461280"/>
                    <a:pt x="361381" y="464254"/>
                  </a:cubicBezTo>
                  <a:cubicBezTo>
                    <a:pt x="364710" y="465525"/>
                    <a:pt x="379078" y="467764"/>
                    <a:pt x="374208" y="470638"/>
                  </a:cubicBezTo>
                  <a:cubicBezTo>
                    <a:pt x="369337" y="473513"/>
                    <a:pt x="365481" y="476387"/>
                    <a:pt x="374208" y="480030"/>
                  </a:cubicBezTo>
                  <a:cubicBezTo>
                    <a:pt x="388009" y="485846"/>
                    <a:pt x="391093" y="489623"/>
                    <a:pt x="373396" y="492397"/>
                  </a:cubicBezTo>
                  <a:cubicBezTo>
                    <a:pt x="352736" y="495740"/>
                    <a:pt x="379444" y="503026"/>
                    <a:pt x="388252" y="506402"/>
                  </a:cubicBezTo>
                  <a:cubicBezTo>
                    <a:pt x="399130" y="510580"/>
                    <a:pt x="421171" y="519771"/>
                    <a:pt x="416421" y="527325"/>
                  </a:cubicBezTo>
                  <a:cubicBezTo>
                    <a:pt x="411144" y="535814"/>
                    <a:pt x="389145" y="538889"/>
                    <a:pt x="375588" y="543335"/>
                  </a:cubicBezTo>
                  <a:cubicBezTo>
                    <a:pt x="362031" y="547780"/>
                    <a:pt x="355293" y="555066"/>
                    <a:pt x="339829" y="559010"/>
                  </a:cubicBezTo>
                  <a:cubicBezTo>
                    <a:pt x="319777" y="564191"/>
                    <a:pt x="303663" y="568235"/>
                    <a:pt x="289619" y="577326"/>
                  </a:cubicBezTo>
                  <a:cubicBezTo>
                    <a:pt x="311213" y="575889"/>
                    <a:pt x="308818" y="576090"/>
                    <a:pt x="321157" y="585682"/>
                  </a:cubicBezTo>
                  <a:cubicBezTo>
                    <a:pt x="325216" y="588724"/>
                    <a:pt x="357688" y="592367"/>
                    <a:pt x="355537" y="595008"/>
                  </a:cubicBezTo>
                  <a:cubicBezTo>
                    <a:pt x="353872" y="596779"/>
                    <a:pt x="327367" y="594038"/>
                    <a:pt x="321035" y="595342"/>
                  </a:cubicBezTo>
                  <a:cubicBezTo>
                    <a:pt x="309549" y="597227"/>
                    <a:pt x="298305" y="599948"/>
                    <a:pt x="287386" y="603464"/>
                  </a:cubicBezTo>
                  <a:cubicBezTo>
                    <a:pt x="294611" y="609547"/>
                    <a:pt x="276955" y="616064"/>
                    <a:pt x="269933" y="619908"/>
                  </a:cubicBezTo>
                  <a:cubicBezTo>
                    <a:pt x="261531" y="624487"/>
                    <a:pt x="269933" y="636887"/>
                    <a:pt x="275656" y="641700"/>
                  </a:cubicBezTo>
                  <a:cubicBezTo>
                    <a:pt x="281379" y="646513"/>
                    <a:pt x="258649" y="645043"/>
                    <a:pt x="265346" y="652630"/>
                  </a:cubicBezTo>
                  <a:cubicBezTo>
                    <a:pt x="268634" y="656306"/>
                    <a:pt x="275291" y="658579"/>
                    <a:pt x="274479" y="662924"/>
                  </a:cubicBezTo>
                  <a:cubicBezTo>
                    <a:pt x="273667" y="667269"/>
                    <a:pt x="271313" y="668372"/>
                    <a:pt x="277239" y="672951"/>
                  </a:cubicBezTo>
                  <a:cubicBezTo>
                    <a:pt x="284301" y="678232"/>
                    <a:pt x="284992" y="686989"/>
                    <a:pt x="295058" y="690666"/>
                  </a:cubicBezTo>
                  <a:cubicBezTo>
                    <a:pt x="302039" y="693239"/>
                    <a:pt x="308046" y="691301"/>
                    <a:pt x="315353" y="692571"/>
                  </a:cubicBezTo>
                  <a:cubicBezTo>
                    <a:pt x="324526" y="694209"/>
                    <a:pt x="323998" y="700927"/>
                    <a:pt x="335079" y="699790"/>
                  </a:cubicBezTo>
                  <a:cubicBezTo>
                    <a:pt x="364710" y="696749"/>
                    <a:pt x="379444" y="706141"/>
                    <a:pt x="374654" y="720379"/>
                  </a:cubicBezTo>
                  <a:cubicBezTo>
                    <a:pt x="370961" y="731543"/>
                    <a:pt x="398359" y="746684"/>
                    <a:pt x="415244" y="753435"/>
                  </a:cubicBezTo>
                  <a:cubicBezTo>
                    <a:pt x="428598" y="758716"/>
                    <a:pt x="431480" y="764498"/>
                    <a:pt x="415691" y="767574"/>
                  </a:cubicBezTo>
                  <a:cubicBezTo>
                    <a:pt x="407573" y="769144"/>
                    <a:pt x="390728" y="762894"/>
                    <a:pt x="386547" y="765000"/>
                  </a:cubicBezTo>
                  <a:cubicBezTo>
                    <a:pt x="380134" y="768342"/>
                    <a:pt x="389754" y="781712"/>
                    <a:pt x="391743" y="785455"/>
                  </a:cubicBezTo>
                  <a:cubicBezTo>
                    <a:pt x="396248" y="794112"/>
                    <a:pt x="408547" y="790402"/>
                    <a:pt x="418897" y="788196"/>
                  </a:cubicBezTo>
                  <a:cubicBezTo>
                    <a:pt x="424864" y="786926"/>
                    <a:pt x="444428" y="788965"/>
                    <a:pt x="451734" y="789466"/>
                  </a:cubicBezTo>
                  <a:cubicBezTo>
                    <a:pt x="467240" y="790502"/>
                    <a:pt x="473166" y="795750"/>
                    <a:pt x="472029" y="803604"/>
                  </a:cubicBezTo>
                  <a:cubicBezTo>
                    <a:pt x="469553" y="823291"/>
                    <a:pt x="507464" y="815302"/>
                    <a:pt x="513715" y="832850"/>
                  </a:cubicBezTo>
                  <a:cubicBezTo>
                    <a:pt x="517327" y="842877"/>
                    <a:pt x="523051" y="836426"/>
                    <a:pt x="535715" y="842609"/>
                  </a:cubicBezTo>
                  <a:cubicBezTo>
                    <a:pt x="542980" y="846152"/>
                    <a:pt x="548622" y="847957"/>
                    <a:pt x="557877" y="845952"/>
                  </a:cubicBezTo>
                  <a:cubicBezTo>
                    <a:pt x="561936" y="845049"/>
                    <a:pt x="573016" y="843278"/>
                    <a:pt x="576142" y="846821"/>
                  </a:cubicBezTo>
                  <a:cubicBezTo>
                    <a:pt x="589618" y="862095"/>
                    <a:pt x="625905" y="863232"/>
                    <a:pt x="651639" y="871320"/>
                  </a:cubicBezTo>
                  <a:cubicBezTo>
                    <a:pt x="673030" y="878005"/>
                    <a:pt x="644617" y="879977"/>
                    <a:pt x="652370" y="884088"/>
                  </a:cubicBezTo>
                  <a:cubicBezTo>
                    <a:pt x="667104" y="891976"/>
                    <a:pt x="640680" y="887598"/>
                    <a:pt x="646159" y="893280"/>
                  </a:cubicBezTo>
                  <a:cubicBezTo>
                    <a:pt x="653993" y="901402"/>
                    <a:pt x="645713" y="899964"/>
                    <a:pt x="644576" y="907785"/>
                  </a:cubicBezTo>
                  <a:cubicBezTo>
                    <a:pt x="644333" y="909590"/>
                    <a:pt x="618437" y="904443"/>
                    <a:pt x="614621" y="905112"/>
                  </a:cubicBezTo>
                  <a:cubicBezTo>
                    <a:pt x="610806" y="905780"/>
                    <a:pt x="590024" y="910326"/>
                    <a:pt x="588847" y="912632"/>
                  </a:cubicBezTo>
                  <a:cubicBezTo>
                    <a:pt x="583367" y="923394"/>
                    <a:pt x="608005" y="918247"/>
                    <a:pt x="620304" y="921088"/>
                  </a:cubicBezTo>
                  <a:cubicBezTo>
                    <a:pt x="631669" y="923695"/>
                    <a:pt x="579267" y="931115"/>
                    <a:pt x="579308" y="931416"/>
                  </a:cubicBezTo>
                  <a:cubicBezTo>
                    <a:pt x="580404" y="937298"/>
                    <a:pt x="602525" y="940808"/>
                    <a:pt x="583367" y="943716"/>
                  </a:cubicBezTo>
                  <a:cubicBezTo>
                    <a:pt x="568714" y="945922"/>
                    <a:pt x="575249" y="955715"/>
                    <a:pt x="559338" y="955314"/>
                  </a:cubicBezTo>
                  <a:cubicBezTo>
                    <a:pt x="514121" y="954278"/>
                    <a:pt x="587061" y="977173"/>
                    <a:pt x="597533" y="982821"/>
                  </a:cubicBezTo>
                  <a:cubicBezTo>
                    <a:pt x="606949" y="987805"/>
                    <a:pt x="615920" y="993393"/>
                    <a:pt x="624281" y="999533"/>
                  </a:cubicBezTo>
                  <a:cubicBezTo>
                    <a:pt x="632399" y="1005583"/>
                    <a:pt x="633860" y="1001839"/>
                    <a:pt x="644576" y="1002073"/>
                  </a:cubicBezTo>
                  <a:cubicBezTo>
                    <a:pt x="663085" y="1002541"/>
                    <a:pt x="674044" y="1011566"/>
                    <a:pt x="690321" y="1014306"/>
                  </a:cubicBezTo>
                  <a:cubicBezTo>
                    <a:pt x="698439" y="1015643"/>
                    <a:pt x="726487" y="1015276"/>
                    <a:pt x="731195" y="1019621"/>
                  </a:cubicBezTo>
                  <a:cubicBezTo>
                    <a:pt x="737608" y="1025537"/>
                    <a:pt x="761475" y="1036032"/>
                    <a:pt x="772921" y="1035564"/>
                  </a:cubicBezTo>
                  <a:cubicBezTo>
                    <a:pt x="782298" y="1035196"/>
                    <a:pt x="808803" y="1036199"/>
                    <a:pt x="814769" y="1042249"/>
                  </a:cubicBezTo>
                  <a:cubicBezTo>
                    <a:pt x="817814" y="1045390"/>
                    <a:pt x="816068" y="1048933"/>
                    <a:pt x="818828" y="1052075"/>
                  </a:cubicBezTo>
                  <a:cubicBezTo>
                    <a:pt x="823293" y="1054134"/>
                    <a:pt x="827880" y="1055952"/>
                    <a:pt x="832629" y="1057523"/>
                  </a:cubicBezTo>
                  <a:cubicBezTo>
                    <a:pt x="844806" y="1063473"/>
                    <a:pt x="856414" y="1069255"/>
                    <a:pt x="868429" y="1075204"/>
                  </a:cubicBezTo>
                  <a:cubicBezTo>
                    <a:pt x="877278" y="1079583"/>
                    <a:pt x="902037" y="1077744"/>
                    <a:pt x="906908" y="1072363"/>
                  </a:cubicBezTo>
                  <a:cubicBezTo>
                    <a:pt x="896273" y="1062837"/>
                    <a:pt x="879835" y="1051106"/>
                    <a:pt x="876263" y="1040277"/>
                  </a:cubicBezTo>
                  <a:cubicBezTo>
                    <a:pt x="872691" y="1029447"/>
                    <a:pt x="886045" y="1025136"/>
                    <a:pt x="868145" y="1013805"/>
                  </a:cubicBezTo>
                  <a:cubicBezTo>
                    <a:pt x="836322" y="993751"/>
                    <a:pt x="931221" y="984158"/>
                    <a:pt x="949324" y="980682"/>
                  </a:cubicBezTo>
                  <a:cubicBezTo>
                    <a:pt x="945265" y="978409"/>
                    <a:pt x="916853" y="967915"/>
                    <a:pt x="933819" y="967647"/>
                  </a:cubicBezTo>
                  <a:cubicBezTo>
                    <a:pt x="948999" y="967380"/>
                    <a:pt x="923347" y="947326"/>
                    <a:pt x="917583" y="943616"/>
                  </a:cubicBezTo>
                  <a:cubicBezTo>
                    <a:pt x="910804" y="939103"/>
                    <a:pt x="884827" y="942345"/>
                    <a:pt x="884259" y="936931"/>
                  </a:cubicBezTo>
                  <a:cubicBezTo>
                    <a:pt x="883122" y="926904"/>
                    <a:pt x="888561" y="928408"/>
                    <a:pt x="871311" y="922191"/>
                  </a:cubicBezTo>
                  <a:cubicBezTo>
                    <a:pt x="864451" y="919718"/>
                    <a:pt x="872772" y="912164"/>
                    <a:pt x="878130" y="911395"/>
                  </a:cubicBezTo>
                  <a:cubicBezTo>
                    <a:pt x="900657" y="908454"/>
                    <a:pt x="881580" y="906950"/>
                    <a:pt x="880403" y="900633"/>
                  </a:cubicBezTo>
                  <a:cubicBezTo>
                    <a:pt x="879713" y="896956"/>
                    <a:pt x="889170" y="895285"/>
                    <a:pt x="893879" y="894249"/>
                  </a:cubicBezTo>
                  <a:cubicBezTo>
                    <a:pt x="901672" y="892511"/>
                    <a:pt x="899561" y="889670"/>
                    <a:pt x="903539" y="886361"/>
                  </a:cubicBezTo>
                  <a:cubicBezTo>
                    <a:pt x="915716" y="876334"/>
                    <a:pt x="929395" y="894416"/>
                    <a:pt x="935727" y="898494"/>
                  </a:cubicBezTo>
                  <a:cubicBezTo>
                    <a:pt x="949324" y="907251"/>
                    <a:pt x="951232" y="895151"/>
                    <a:pt x="950095" y="890773"/>
                  </a:cubicBezTo>
                  <a:cubicBezTo>
                    <a:pt x="947457" y="881013"/>
                    <a:pt x="964870" y="884890"/>
                    <a:pt x="972298" y="878640"/>
                  </a:cubicBezTo>
                  <a:cubicBezTo>
                    <a:pt x="976073" y="875465"/>
                    <a:pt x="998600" y="876267"/>
                    <a:pt x="1006110" y="875298"/>
                  </a:cubicBezTo>
                  <a:cubicBezTo>
                    <a:pt x="1018286" y="873426"/>
                    <a:pt x="1033670" y="869749"/>
                    <a:pt x="1045725" y="875532"/>
                  </a:cubicBezTo>
                  <a:cubicBezTo>
                    <a:pt x="1057780" y="881314"/>
                    <a:pt x="1059566" y="872189"/>
                    <a:pt x="1072230" y="874730"/>
                  </a:cubicBezTo>
                  <a:cubicBezTo>
                    <a:pt x="1081769" y="876668"/>
                    <a:pt x="1086964" y="882116"/>
                    <a:pt x="1097517" y="884757"/>
                  </a:cubicBezTo>
                  <a:cubicBezTo>
                    <a:pt x="1108558" y="887183"/>
                    <a:pt x="1119071" y="891104"/>
                    <a:pt x="1128569" y="896355"/>
                  </a:cubicBezTo>
                  <a:cubicBezTo>
                    <a:pt x="1131166" y="897758"/>
                    <a:pt x="1149675" y="912565"/>
                    <a:pt x="1149513" y="912598"/>
                  </a:cubicBezTo>
                  <a:cubicBezTo>
                    <a:pt x="1156616" y="911462"/>
                    <a:pt x="1149838" y="904343"/>
                    <a:pt x="1162827" y="909958"/>
                  </a:cubicBezTo>
                  <a:cubicBezTo>
                    <a:pt x="1172852" y="914270"/>
                    <a:pt x="1184379" y="920654"/>
                    <a:pt x="1197165" y="918180"/>
                  </a:cubicBezTo>
                  <a:cubicBezTo>
                    <a:pt x="1206785" y="916375"/>
                    <a:pt x="1210438" y="913133"/>
                    <a:pt x="1223143" y="914136"/>
                  </a:cubicBezTo>
                  <a:cubicBezTo>
                    <a:pt x="1232600" y="914871"/>
                    <a:pt x="1238201" y="922258"/>
                    <a:pt x="1246198" y="921756"/>
                  </a:cubicBezTo>
                  <a:cubicBezTo>
                    <a:pt x="1255737" y="921155"/>
                    <a:pt x="1259876" y="918414"/>
                    <a:pt x="1271038" y="920520"/>
                  </a:cubicBezTo>
                  <a:cubicBezTo>
                    <a:pt x="1283946" y="923060"/>
                    <a:pt x="1281470" y="928542"/>
                    <a:pt x="1291333" y="932251"/>
                  </a:cubicBezTo>
                  <a:cubicBezTo>
                    <a:pt x="1302617" y="936463"/>
                    <a:pt x="1305946" y="936897"/>
                    <a:pt x="1314916" y="942479"/>
                  </a:cubicBezTo>
                  <a:cubicBezTo>
                    <a:pt x="1320842" y="946156"/>
                    <a:pt x="1325591" y="937733"/>
                    <a:pt x="1328636" y="936964"/>
                  </a:cubicBezTo>
                  <a:cubicBezTo>
                    <a:pt x="1334927" y="935393"/>
                    <a:pt x="1373041" y="958890"/>
                    <a:pt x="1376897" y="944284"/>
                  </a:cubicBezTo>
                  <a:cubicBezTo>
                    <a:pt x="1381484" y="926971"/>
                    <a:pt x="1353639" y="931483"/>
                    <a:pt x="1340731" y="918815"/>
                  </a:cubicBezTo>
                  <a:cubicBezTo>
                    <a:pt x="1333385" y="911596"/>
                    <a:pt x="1347551" y="912999"/>
                    <a:pt x="1355343" y="912131"/>
                  </a:cubicBezTo>
                  <a:cubicBezTo>
                    <a:pt x="1368251" y="910627"/>
                    <a:pt x="1363461" y="907251"/>
                    <a:pt x="1364436" y="901468"/>
                  </a:cubicBezTo>
                  <a:cubicBezTo>
                    <a:pt x="1365775" y="892110"/>
                    <a:pt x="1410667" y="901970"/>
                    <a:pt x="1409937" y="899931"/>
                  </a:cubicBezTo>
                  <a:cubicBezTo>
                    <a:pt x="1408760" y="896589"/>
                    <a:pt x="1390048" y="892010"/>
                    <a:pt x="1385583" y="889302"/>
                  </a:cubicBezTo>
                  <a:cubicBezTo>
                    <a:pt x="1380225" y="886194"/>
                    <a:pt x="1377465" y="874228"/>
                    <a:pt x="1385299" y="873025"/>
                  </a:cubicBezTo>
                  <a:cubicBezTo>
                    <a:pt x="1392321" y="871989"/>
                    <a:pt x="1416431" y="877270"/>
                    <a:pt x="1424630" y="879108"/>
                  </a:cubicBezTo>
                  <a:cubicBezTo>
                    <a:pt x="1443748" y="883319"/>
                    <a:pt x="1455682" y="880512"/>
                    <a:pt x="1474190" y="882116"/>
                  </a:cubicBezTo>
                  <a:cubicBezTo>
                    <a:pt x="1490426" y="883520"/>
                    <a:pt x="1506297" y="887899"/>
                    <a:pt x="1522127" y="887497"/>
                  </a:cubicBezTo>
                  <a:cubicBezTo>
                    <a:pt x="1535968" y="887594"/>
                    <a:pt x="1549809" y="888610"/>
                    <a:pt x="1563447" y="890539"/>
                  </a:cubicBezTo>
                  <a:cubicBezTo>
                    <a:pt x="1584514" y="892778"/>
                    <a:pt x="1612155" y="896221"/>
                    <a:pt x="1631882" y="895185"/>
                  </a:cubicBezTo>
                  <a:cubicBezTo>
                    <a:pt x="1652988" y="894048"/>
                    <a:pt x="1663826" y="892611"/>
                    <a:pt x="1686678" y="901201"/>
                  </a:cubicBezTo>
                  <a:cubicBezTo>
                    <a:pt x="1698084" y="905479"/>
                    <a:pt x="1716552" y="904543"/>
                    <a:pt x="1722194" y="913534"/>
                  </a:cubicBezTo>
                  <a:cubicBezTo>
                    <a:pt x="1724345" y="916877"/>
                    <a:pt x="1722600" y="921489"/>
                    <a:pt x="1724061" y="925132"/>
                  </a:cubicBezTo>
                  <a:cubicBezTo>
                    <a:pt x="1725766" y="929377"/>
                    <a:pt x="1715294" y="931817"/>
                    <a:pt x="1718541" y="935159"/>
                  </a:cubicBezTo>
                  <a:cubicBezTo>
                    <a:pt x="1723330" y="939939"/>
                    <a:pt x="1743179" y="940708"/>
                    <a:pt x="1748943" y="939037"/>
                  </a:cubicBezTo>
                  <a:cubicBezTo>
                    <a:pt x="1756574" y="936764"/>
                    <a:pt x="1767046" y="954411"/>
                    <a:pt x="1768872" y="949064"/>
                  </a:cubicBezTo>
                  <a:cubicBezTo>
                    <a:pt x="1770171" y="945053"/>
                    <a:pt x="1786610" y="955013"/>
                    <a:pt x="1791156" y="955514"/>
                  </a:cubicBezTo>
                  <a:cubicBezTo>
                    <a:pt x="1811207" y="957620"/>
                    <a:pt x="1791156" y="960662"/>
                    <a:pt x="1785879" y="962567"/>
                  </a:cubicBezTo>
                  <a:cubicBezTo>
                    <a:pt x="1774677" y="966745"/>
                    <a:pt x="1797325" y="968182"/>
                    <a:pt x="1801384" y="967814"/>
                  </a:cubicBezTo>
                  <a:cubicBezTo>
                    <a:pt x="1807351" y="967280"/>
                    <a:pt x="1810558" y="969719"/>
                    <a:pt x="1816444" y="970522"/>
                  </a:cubicBezTo>
                  <a:cubicBezTo>
                    <a:pt x="1823100" y="971110"/>
                    <a:pt x="1829797" y="970953"/>
                    <a:pt x="1836373" y="970054"/>
                  </a:cubicBezTo>
                  <a:cubicBezTo>
                    <a:pt x="1850620" y="968917"/>
                    <a:pt x="1866166" y="969151"/>
                    <a:pt x="1881021" y="968349"/>
                  </a:cubicBezTo>
                  <a:cubicBezTo>
                    <a:pt x="1887678" y="968279"/>
                    <a:pt x="1894294" y="969418"/>
                    <a:pt x="1900383" y="971691"/>
                  </a:cubicBezTo>
                  <a:cubicBezTo>
                    <a:pt x="1907649" y="974399"/>
                    <a:pt x="1898962" y="975268"/>
                    <a:pt x="1896689" y="976638"/>
                  </a:cubicBezTo>
                  <a:cubicBezTo>
                    <a:pt x="1888571" y="981518"/>
                    <a:pt x="1905051" y="987668"/>
                    <a:pt x="1911708" y="991645"/>
                  </a:cubicBezTo>
                  <a:cubicBezTo>
                    <a:pt x="1921489" y="998002"/>
                    <a:pt x="1929729" y="1005800"/>
                    <a:pt x="1936061" y="1014641"/>
                  </a:cubicBezTo>
                  <a:cubicBezTo>
                    <a:pt x="1950268" y="1032556"/>
                    <a:pt x="1958954" y="1050036"/>
                    <a:pt x="1968533" y="1068118"/>
                  </a:cubicBezTo>
                  <a:cubicBezTo>
                    <a:pt x="1979614" y="1088908"/>
                    <a:pt x="1990817" y="1061166"/>
                    <a:pt x="2005916" y="1074536"/>
                  </a:cubicBezTo>
                  <a:cubicBezTo>
                    <a:pt x="2013750" y="1082357"/>
                    <a:pt x="2023695" y="1088520"/>
                    <a:pt x="2035019" y="1092518"/>
                  </a:cubicBezTo>
                  <a:cubicBezTo>
                    <a:pt x="2050971" y="1098868"/>
                    <a:pt x="2063432" y="1094924"/>
                    <a:pt x="2079262" y="1098768"/>
                  </a:cubicBezTo>
                  <a:cubicBezTo>
                    <a:pt x="2088598" y="1101228"/>
                    <a:pt x="2096188" y="1106863"/>
                    <a:pt x="2100125" y="1114243"/>
                  </a:cubicBezTo>
                  <a:cubicBezTo>
                    <a:pt x="2103332" y="1123334"/>
                    <a:pt x="2114656" y="1123468"/>
                    <a:pt x="2120420" y="1129852"/>
                  </a:cubicBezTo>
                  <a:cubicBezTo>
                    <a:pt x="2125615" y="1135601"/>
                    <a:pt x="2117823" y="1142285"/>
                    <a:pt x="2134099" y="1146564"/>
                  </a:cubicBezTo>
                  <a:cubicBezTo>
                    <a:pt x="2140430" y="1148235"/>
                    <a:pt x="2171645" y="1150875"/>
                    <a:pt x="2171198" y="1154552"/>
                  </a:cubicBezTo>
                  <a:cubicBezTo>
                    <a:pt x="2168153" y="1180455"/>
                    <a:pt x="2268613" y="1174606"/>
                    <a:pt x="2287690" y="1174606"/>
                  </a:cubicBezTo>
                  <a:cubicBezTo>
                    <a:pt x="2305347" y="1174405"/>
                    <a:pt x="2334044" y="1171565"/>
                    <a:pt x="2352188" y="1180121"/>
                  </a:cubicBezTo>
                  <a:cubicBezTo>
                    <a:pt x="2361807" y="1184700"/>
                    <a:pt x="2372280" y="1188811"/>
                    <a:pt x="2382427" y="1192822"/>
                  </a:cubicBezTo>
                  <a:cubicBezTo>
                    <a:pt x="2397567" y="1198805"/>
                    <a:pt x="2393955" y="1197969"/>
                    <a:pt x="2398378" y="1207194"/>
                  </a:cubicBezTo>
                  <a:cubicBezTo>
                    <a:pt x="2405279" y="1221600"/>
                    <a:pt x="2440795" y="1222803"/>
                    <a:pt x="2454961" y="1233231"/>
                  </a:cubicBezTo>
                  <a:cubicBezTo>
                    <a:pt x="2466285" y="1241554"/>
                    <a:pt x="2471197" y="1237743"/>
                    <a:pt x="2484713" y="1239448"/>
                  </a:cubicBezTo>
                  <a:cubicBezTo>
                    <a:pt x="2492385" y="1240417"/>
                    <a:pt x="2514059" y="1240651"/>
                    <a:pt x="2503871" y="1231526"/>
                  </a:cubicBezTo>
                  <a:cubicBezTo>
                    <a:pt x="2485687" y="1215282"/>
                    <a:pt x="2509432" y="1208798"/>
                    <a:pt x="2530498" y="1210570"/>
                  </a:cubicBezTo>
                  <a:cubicBezTo>
                    <a:pt x="2546734" y="1211907"/>
                    <a:pt x="2542675" y="1205222"/>
                    <a:pt x="2560413" y="1215316"/>
                  </a:cubicBezTo>
                  <a:cubicBezTo>
                    <a:pt x="2572590" y="1222201"/>
                    <a:pt x="2587040" y="1228117"/>
                    <a:pt x="2598405" y="1235370"/>
                  </a:cubicBezTo>
                  <a:cubicBezTo>
                    <a:pt x="2608390" y="1241426"/>
                    <a:pt x="2618740" y="1247005"/>
                    <a:pt x="2629497" y="1252082"/>
                  </a:cubicBezTo>
                  <a:cubicBezTo>
                    <a:pt x="2642486" y="1258466"/>
                    <a:pt x="2633556" y="1262610"/>
                    <a:pt x="2632825" y="1268794"/>
                  </a:cubicBezTo>
                  <a:cubicBezTo>
                    <a:pt x="2631891" y="1277350"/>
                    <a:pt x="2666068" y="1298875"/>
                    <a:pt x="2680315" y="1299744"/>
                  </a:cubicBezTo>
                  <a:cubicBezTo>
                    <a:pt x="2724680" y="1301983"/>
                    <a:pt x="2762144" y="1323943"/>
                    <a:pt x="2795793" y="1344832"/>
                  </a:cubicBezTo>
                  <a:cubicBezTo>
                    <a:pt x="2802043" y="1350224"/>
                    <a:pt x="2807158" y="1356437"/>
                    <a:pt x="2810893" y="1363215"/>
                  </a:cubicBezTo>
                  <a:cubicBezTo>
                    <a:pt x="2812435" y="1367928"/>
                    <a:pt x="2830863" y="1373242"/>
                    <a:pt x="2836748" y="1375615"/>
                  </a:cubicBezTo>
                  <a:cubicBezTo>
                    <a:pt x="2844339" y="1378590"/>
                    <a:pt x="2882493" y="1400650"/>
                    <a:pt x="2888378" y="1396004"/>
                  </a:cubicBezTo>
                  <a:cubicBezTo>
                    <a:pt x="2890570" y="1394166"/>
                    <a:pt x="2942038" y="1408170"/>
                    <a:pt x="2949263" y="1410008"/>
                  </a:cubicBezTo>
                  <a:cubicBezTo>
                    <a:pt x="2957827" y="1412147"/>
                    <a:pt x="2971019" y="1410008"/>
                    <a:pt x="2980517" y="1411044"/>
                  </a:cubicBezTo>
                  <a:cubicBezTo>
                    <a:pt x="2994480" y="1412167"/>
                    <a:pt x="3007834" y="1416245"/>
                    <a:pt x="3019280" y="1422876"/>
                  </a:cubicBezTo>
                  <a:cubicBezTo>
                    <a:pt x="3028819" y="1428425"/>
                    <a:pt x="3028738" y="1433605"/>
                    <a:pt x="3042700" y="1438318"/>
                  </a:cubicBezTo>
                  <a:cubicBezTo>
                    <a:pt x="3053822" y="1442095"/>
                    <a:pt x="3065350" y="1444769"/>
                    <a:pt x="3073102" y="1452323"/>
                  </a:cubicBezTo>
                  <a:cubicBezTo>
                    <a:pt x="3091896" y="1470672"/>
                    <a:pt x="3102895" y="1469268"/>
                    <a:pt x="3130659" y="1473580"/>
                  </a:cubicBezTo>
                  <a:cubicBezTo>
                    <a:pt x="3147666" y="1476220"/>
                    <a:pt x="3146448" y="1474215"/>
                    <a:pt x="3156514" y="1469970"/>
                  </a:cubicBezTo>
                  <a:cubicBezTo>
                    <a:pt x="3163617" y="1466995"/>
                    <a:pt x="3171735" y="1464923"/>
                    <a:pt x="3178757" y="1461882"/>
                  </a:cubicBezTo>
                  <a:cubicBezTo>
                    <a:pt x="3194993" y="1454829"/>
                    <a:pt x="3225071" y="1461882"/>
                    <a:pt x="3222919" y="1445170"/>
                  </a:cubicBezTo>
                  <a:cubicBezTo>
                    <a:pt x="3222391" y="1441025"/>
                    <a:pt x="3210011" y="1436680"/>
                    <a:pt x="3212122" y="1434174"/>
                  </a:cubicBezTo>
                  <a:cubicBezTo>
                    <a:pt x="3217277" y="1427923"/>
                    <a:pt x="3236111" y="1429695"/>
                    <a:pt x="3248410" y="1433839"/>
                  </a:cubicBezTo>
                  <a:cubicBezTo>
                    <a:pt x="3266269" y="1439822"/>
                    <a:pt x="3295615" y="1448512"/>
                    <a:pt x="3310269" y="1457704"/>
                  </a:cubicBezTo>
                  <a:cubicBezTo>
                    <a:pt x="3331862" y="1471073"/>
                    <a:pt x="3362670" y="1482404"/>
                    <a:pt x="3377972" y="1499116"/>
                  </a:cubicBezTo>
                  <a:cubicBezTo>
                    <a:pt x="3385806" y="1507672"/>
                    <a:pt x="3389621" y="1510279"/>
                    <a:pt x="3386739" y="1517398"/>
                  </a:cubicBezTo>
                  <a:cubicBezTo>
                    <a:pt x="3385075" y="1521509"/>
                    <a:pt x="3394857" y="1530333"/>
                    <a:pt x="3393396" y="1535915"/>
                  </a:cubicBezTo>
                  <a:cubicBezTo>
                    <a:pt x="3390433" y="1548783"/>
                    <a:pt x="3401514" y="1567300"/>
                    <a:pt x="3403381" y="1581605"/>
                  </a:cubicBezTo>
                  <a:cubicBezTo>
                    <a:pt x="3404071" y="1586752"/>
                    <a:pt x="3393761" y="1589760"/>
                    <a:pt x="3401717" y="1595977"/>
                  </a:cubicBezTo>
                  <a:cubicBezTo>
                    <a:pt x="3404477" y="1598150"/>
                    <a:pt x="3431064" y="1617803"/>
                    <a:pt x="3433620" y="1618271"/>
                  </a:cubicBezTo>
                  <a:cubicBezTo>
                    <a:pt x="3442713" y="1619808"/>
                    <a:pt x="3455620" y="1633679"/>
                    <a:pt x="3458827" y="1638325"/>
                  </a:cubicBezTo>
                  <a:cubicBezTo>
                    <a:pt x="3466701" y="1649822"/>
                    <a:pt x="3474535" y="1647717"/>
                    <a:pt x="3473277" y="1658780"/>
                  </a:cubicBezTo>
                  <a:cubicBezTo>
                    <a:pt x="3472546" y="1665164"/>
                    <a:pt x="3469218" y="1672584"/>
                    <a:pt x="3478554" y="1679570"/>
                  </a:cubicBezTo>
                  <a:cubicBezTo>
                    <a:pt x="3485941" y="1685018"/>
                    <a:pt x="3510173" y="1698387"/>
                    <a:pt x="3519874" y="1699189"/>
                  </a:cubicBezTo>
                  <a:cubicBezTo>
                    <a:pt x="3531239" y="1699640"/>
                    <a:pt x="3542361" y="1701910"/>
                    <a:pt x="3552671" y="1705874"/>
                  </a:cubicBezTo>
                  <a:cubicBezTo>
                    <a:pt x="3560788" y="1708581"/>
                    <a:pt x="3572194" y="1708347"/>
                    <a:pt x="3578120" y="1715166"/>
                  </a:cubicBezTo>
                  <a:cubicBezTo>
                    <a:pt x="3581246" y="1718742"/>
                    <a:pt x="3576984" y="1729504"/>
                    <a:pt x="3575603" y="1732780"/>
                  </a:cubicBezTo>
                  <a:cubicBezTo>
                    <a:pt x="3574710" y="1734952"/>
                    <a:pt x="3568663" y="1733348"/>
                    <a:pt x="3565822" y="1733682"/>
                  </a:cubicBezTo>
                  <a:cubicBezTo>
                    <a:pt x="3559286" y="1734795"/>
                    <a:pt x="3553198" y="1737322"/>
                    <a:pt x="3548205" y="1741002"/>
                  </a:cubicBezTo>
                  <a:cubicBezTo>
                    <a:pt x="3539723" y="1746250"/>
                    <a:pt x="3531969" y="1744545"/>
                    <a:pt x="3520767" y="1746584"/>
                  </a:cubicBezTo>
                  <a:cubicBezTo>
                    <a:pt x="3516708" y="1747352"/>
                    <a:pt x="3497793" y="1749258"/>
                    <a:pt x="3496413" y="1751430"/>
                  </a:cubicBezTo>
                  <a:cubicBezTo>
                    <a:pt x="3492638" y="1756878"/>
                    <a:pt x="3473724" y="1742573"/>
                    <a:pt x="3470760" y="1739364"/>
                  </a:cubicBezTo>
                  <a:cubicBezTo>
                    <a:pt x="3466701" y="1735086"/>
                    <a:pt x="3444012" y="1732680"/>
                    <a:pt x="3439100" y="1733214"/>
                  </a:cubicBezTo>
                  <a:cubicBezTo>
                    <a:pt x="3425421" y="1734718"/>
                    <a:pt x="3420591" y="1762961"/>
                    <a:pt x="3417019" y="1770716"/>
                  </a:cubicBezTo>
                  <a:cubicBezTo>
                    <a:pt x="3439587" y="1772353"/>
                    <a:pt x="3447908" y="1774058"/>
                    <a:pt x="3460044" y="1789566"/>
                  </a:cubicBezTo>
                  <a:cubicBezTo>
                    <a:pt x="3469299" y="1801332"/>
                    <a:pt x="3479609" y="1803304"/>
                    <a:pt x="3495764" y="1805877"/>
                  </a:cubicBezTo>
                  <a:cubicBezTo>
                    <a:pt x="3525516" y="1810657"/>
                    <a:pt x="3544836" y="1809721"/>
                    <a:pt x="3570245" y="1808351"/>
                  </a:cubicBezTo>
                  <a:cubicBezTo>
                    <a:pt x="3607223" y="1806379"/>
                    <a:pt x="3652156" y="1809855"/>
                    <a:pt x="3681746" y="1799092"/>
                  </a:cubicBezTo>
                  <a:cubicBezTo>
                    <a:pt x="3705085" y="1790469"/>
                    <a:pt x="3742225" y="1796953"/>
                    <a:pt x="3762926" y="1785155"/>
                  </a:cubicBezTo>
                  <a:cubicBezTo>
                    <a:pt x="3778147" y="1776531"/>
                    <a:pt x="3786589" y="1752165"/>
                    <a:pt x="3809887" y="1750027"/>
                  </a:cubicBezTo>
                  <a:cubicBezTo>
                    <a:pt x="3817437" y="1749358"/>
                    <a:pt x="3819142" y="1744612"/>
                    <a:pt x="3828356" y="1745247"/>
                  </a:cubicBezTo>
                  <a:cubicBezTo>
                    <a:pt x="3841222" y="1746149"/>
                    <a:pt x="3838138" y="1740334"/>
                    <a:pt x="3841507" y="1734986"/>
                  </a:cubicBezTo>
                  <a:cubicBezTo>
                    <a:pt x="3842806" y="1732947"/>
                    <a:pt x="3845161" y="1724424"/>
                    <a:pt x="3847636" y="1723421"/>
                  </a:cubicBezTo>
                  <a:cubicBezTo>
                    <a:pt x="3854780" y="1720513"/>
                    <a:pt x="3860300" y="1722118"/>
                    <a:pt x="3848164" y="1711155"/>
                  </a:cubicBezTo>
                  <a:cubicBezTo>
                    <a:pt x="3842806" y="1706308"/>
                    <a:pt x="3833592" y="1699557"/>
                    <a:pt x="3835987" y="1694777"/>
                  </a:cubicBezTo>
                  <a:cubicBezTo>
                    <a:pt x="3838381" y="1689998"/>
                    <a:pt x="3828843" y="1678701"/>
                    <a:pt x="3819386" y="1674489"/>
                  </a:cubicBezTo>
                  <a:cubicBezTo>
                    <a:pt x="3811795" y="1671147"/>
                    <a:pt x="3805586" y="1666200"/>
                    <a:pt x="3798279" y="1662590"/>
                  </a:cubicBezTo>
                  <a:cubicBezTo>
                    <a:pt x="3790973" y="1658981"/>
                    <a:pt x="3794220" y="1671047"/>
                    <a:pt x="3784519" y="1664328"/>
                  </a:cubicBezTo>
                  <a:cubicBezTo>
                    <a:pt x="3787239" y="1666234"/>
                    <a:pt x="3740844" y="1659816"/>
                    <a:pt x="3747379" y="1656407"/>
                  </a:cubicBezTo>
                  <a:cubicBezTo>
                    <a:pt x="3751438" y="1654335"/>
                    <a:pt x="3758257" y="1657477"/>
                    <a:pt x="3755497" y="1651627"/>
                  </a:cubicBezTo>
                  <a:cubicBezTo>
                    <a:pt x="3753834" y="1648285"/>
                    <a:pt x="3763819" y="1641400"/>
                    <a:pt x="3764549" y="1641901"/>
                  </a:cubicBezTo>
                  <a:cubicBezTo>
                    <a:pt x="3757243" y="1637055"/>
                    <a:pt x="3725826" y="1647951"/>
                    <a:pt x="3730575" y="1635684"/>
                  </a:cubicBezTo>
                  <a:cubicBezTo>
                    <a:pt x="3732280" y="1631279"/>
                    <a:pt x="3735892" y="1627529"/>
                    <a:pt x="3740682" y="1625122"/>
                  </a:cubicBezTo>
                  <a:cubicBezTo>
                    <a:pt x="3744417" y="1623351"/>
                    <a:pt x="3718318" y="1613525"/>
                    <a:pt x="3716328" y="1612622"/>
                  </a:cubicBezTo>
                  <a:cubicBezTo>
                    <a:pt x="3681259" y="1596712"/>
                    <a:pt x="3707236" y="1598116"/>
                    <a:pt x="3725096" y="1599253"/>
                  </a:cubicBezTo>
                  <a:cubicBezTo>
                    <a:pt x="3733700" y="1599721"/>
                    <a:pt x="3737881" y="1597815"/>
                    <a:pt x="3747258" y="1599620"/>
                  </a:cubicBezTo>
                  <a:cubicBezTo>
                    <a:pt x="3759150" y="1601926"/>
                    <a:pt x="3770800" y="1603464"/>
                    <a:pt x="3782570" y="1605369"/>
                  </a:cubicBezTo>
                  <a:cubicBezTo>
                    <a:pt x="3803312" y="1608712"/>
                    <a:pt x="3812689" y="1602027"/>
                    <a:pt x="3833023" y="1605369"/>
                  </a:cubicBezTo>
                  <a:cubicBezTo>
                    <a:pt x="3857865" y="1609046"/>
                    <a:pt x="3887699" y="1614260"/>
                    <a:pt x="3908521" y="1610917"/>
                  </a:cubicBezTo>
                  <a:cubicBezTo>
                    <a:pt x="3918182" y="1609347"/>
                    <a:pt x="3951059" y="1618104"/>
                    <a:pt x="3955361" y="1613625"/>
                  </a:cubicBezTo>
                  <a:cubicBezTo>
                    <a:pt x="3961125" y="1607508"/>
                    <a:pt x="4004435" y="1622248"/>
                    <a:pt x="4015150" y="1626092"/>
                  </a:cubicBezTo>
                  <a:cubicBezTo>
                    <a:pt x="4036866" y="1634250"/>
                    <a:pt x="4056917" y="1645207"/>
                    <a:pt x="4074452" y="1658546"/>
                  </a:cubicBezTo>
                  <a:cubicBezTo>
                    <a:pt x="4080012" y="1662724"/>
                    <a:pt x="4086304" y="1672584"/>
                    <a:pt x="4093367" y="1674289"/>
                  </a:cubicBezTo>
                  <a:cubicBezTo>
                    <a:pt x="4104975" y="1677096"/>
                    <a:pt x="4107492" y="1677363"/>
                    <a:pt x="4118857" y="1684650"/>
                  </a:cubicBezTo>
                  <a:cubicBezTo>
                    <a:pt x="4127056" y="1690272"/>
                    <a:pt x="4136311" y="1694784"/>
                    <a:pt x="4146214" y="1698019"/>
                  </a:cubicBezTo>
                  <a:cubicBezTo>
                    <a:pt x="4156443" y="1701362"/>
                    <a:pt x="4161761" y="1709517"/>
                    <a:pt x="4171867" y="1712793"/>
                  </a:cubicBezTo>
                  <a:cubicBezTo>
                    <a:pt x="4181974" y="1716068"/>
                    <a:pt x="4186967" y="1711690"/>
                    <a:pt x="4198412" y="1716402"/>
                  </a:cubicBezTo>
                  <a:cubicBezTo>
                    <a:pt x="4207992" y="1720316"/>
                    <a:pt x="4216719" y="1725500"/>
                    <a:pt x="4224269" y="1731744"/>
                  </a:cubicBezTo>
                  <a:cubicBezTo>
                    <a:pt x="4229749" y="1736523"/>
                    <a:pt x="4230642" y="1742272"/>
                    <a:pt x="4238881" y="1746116"/>
                  </a:cubicBezTo>
                  <a:cubicBezTo>
                    <a:pt x="4251058" y="1751898"/>
                    <a:pt x="4253412" y="1748823"/>
                    <a:pt x="4257633" y="1758650"/>
                  </a:cubicBezTo>
                  <a:cubicBezTo>
                    <a:pt x="4259095" y="1761992"/>
                    <a:pt x="4274275" y="1773791"/>
                    <a:pt x="4260393" y="1769479"/>
                  </a:cubicBezTo>
                  <a:cubicBezTo>
                    <a:pt x="4257390" y="1768510"/>
                    <a:pt x="4229424" y="1753603"/>
                    <a:pt x="4240748" y="1766137"/>
                  </a:cubicBezTo>
                  <a:cubicBezTo>
                    <a:pt x="4248866" y="1774860"/>
                    <a:pt x="4262099" y="1774392"/>
                    <a:pt x="4271758" y="1780743"/>
                  </a:cubicBezTo>
                  <a:cubicBezTo>
                    <a:pt x="4285519" y="1789767"/>
                    <a:pt x="4297452" y="1791071"/>
                    <a:pt x="4310847" y="1798056"/>
                  </a:cubicBezTo>
                  <a:cubicBezTo>
                    <a:pt x="4321481" y="1803671"/>
                    <a:pt x="4318599" y="1805075"/>
                    <a:pt x="4331425" y="1809019"/>
                  </a:cubicBezTo>
                  <a:cubicBezTo>
                    <a:pt x="4338042" y="1811025"/>
                    <a:pt x="4356753" y="1822923"/>
                    <a:pt x="4361381" y="1823024"/>
                  </a:cubicBezTo>
                  <a:cubicBezTo>
                    <a:pt x="4368444" y="1823024"/>
                    <a:pt x="4338691" y="1804975"/>
                    <a:pt x="4343683" y="1801298"/>
                  </a:cubicBezTo>
                  <a:cubicBezTo>
                    <a:pt x="4353587" y="1793945"/>
                    <a:pt x="4377211" y="1797221"/>
                    <a:pt x="4395192" y="1800730"/>
                  </a:cubicBezTo>
                  <a:cubicBezTo>
                    <a:pt x="4402174" y="1802034"/>
                    <a:pt x="4441464" y="1813230"/>
                    <a:pt x="4443047" y="1811426"/>
                  </a:cubicBezTo>
                  <a:cubicBezTo>
                    <a:pt x="4447878" y="1805978"/>
                    <a:pt x="4460988" y="1802535"/>
                    <a:pt x="4473814" y="1810590"/>
                  </a:cubicBezTo>
                  <a:cubicBezTo>
                    <a:pt x="4492324" y="1822221"/>
                    <a:pt x="4507220" y="1828037"/>
                    <a:pt x="4526134" y="1837329"/>
                  </a:cubicBezTo>
                  <a:cubicBezTo>
                    <a:pt x="4541680" y="1845083"/>
                    <a:pt x="4525729" y="1849595"/>
                    <a:pt x="4549920" y="1854876"/>
                  </a:cubicBezTo>
                  <a:cubicBezTo>
                    <a:pt x="4575208" y="1860491"/>
                    <a:pt x="4540869" y="1862163"/>
                    <a:pt x="4538150" y="1862463"/>
                  </a:cubicBezTo>
                  <a:cubicBezTo>
                    <a:pt x="4516637" y="1864836"/>
                    <a:pt x="4550976" y="1877571"/>
                    <a:pt x="4545821" y="1880880"/>
                  </a:cubicBezTo>
                  <a:cubicBezTo>
                    <a:pt x="4544319" y="1881816"/>
                    <a:pt x="4529057" y="1876735"/>
                    <a:pt x="4532954" y="1880880"/>
                  </a:cubicBezTo>
                  <a:cubicBezTo>
                    <a:pt x="4537784" y="1886127"/>
                    <a:pt x="4549676" y="1889369"/>
                    <a:pt x="4555846" y="1890907"/>
                  </a:cubicBezTo>
                  <a:cubicBezTo>
                    <a:pt x="4580688" y="1897090"/>
                    <a:pt x="4605853" y="1895252"/>
                    <a:pt x="4630856" y="1913167"/>
                  </a:cubicBezTo>
                  <a:cubicBezTo>
                    <a:pt x="4643480" y="1922292"/>
                    <a:pt x="4646077" y="1899798"/>
                    <a:pt x="4660202" y="1902705"/>
                  </a:cubicBezTo>
                  <a:cubicBezTo>
                    <a:pt x="4667184" y="1904076"/>
                    <a:pt x="4720763" y="1928843"/>
                    <a:pt x="4711468" y="1935494"/>
                  </a:cubicBezTo>
                  <a:cubicBezTo>
                    <a:pt x="4712604" y="1934658"/>
                    <a:pt x="4686262" y="1921256"/>
                    <a:pt x="4679767" y="1922125"/>
                  </a:cubicBezTo>
                  <a:cubicBezTo>
                    <a:pt x="4671040" y="1923194"/>
                    <a:pt x="4664952" y="1929110"/>
                    <a:pt x="4657117" y="1931483"/>
                  </a:cubicBezTo>
                  <a:cubicBezTo>
                    <a:pt x="4653830" y="1932452"/>
                    <a:pt x="4657889" y="1935895"/>
                    <a:pt x="4655738" y="1937031"/>
                  </a:cubicBezTo>
                  <a:cubicBezTo>
                    <a:pt x="4653587" y="1938168"/>
                    <a:pt x="4647620" y="1935327"/>
                    <a:pt x="4644616" y="1934993"/>
                  </a:cubicBezTo>
                  <a:cubicBezTo>
                    <a:pt x="4639461" y="1934424"/>
                    <a:pt x="4640070" y="1938937"/>
                    <a:pt x="4634712" y="1938335"/>
                  </a:cubicBezTo>
                  <a:cubicBezTo>
                    <a:pt x="4628502" y="1937767"/>
                    <a:pt x="4619045" y="1932051"/>
                    <a:pt x="4612916" y="1929110"/>
                  </a:cubicBezTo>
                  <a:cubicBezTo>
                    <a:pt x="4605487" y="1925534"/>
                    <a:pt x="4587506" y="1916209"/>
                    <a:pt x="4582717" y="1920219"/>
                  </a:cubicBezTo>
                  <a:cubicBezTo>
                    <a:pt x="4576831" y="1925032"/>
                    <a:pt x="4557511" y="1916509"/>
                    <a:pt x="4548216" y="1917913"/>
                  </a:cubicBezTo>
                  <a:cubicBezTo>
                    <a:pt x="4540098" y="1919150"/>
                    <a:pt x="4527474" y="1915406"/>
                    <a:pt x="4517570" y="1913234"/>
                  </a:cubicBezTo>
                  <a:cubicBezTo>
                    <a:pt x="4498615" y="1909156"/>
                    <a:pt x="4484084" y="1909223"/>
                    <a:pt x="4466955" y="1908588"/>
                  </a:cubicBezTo>
                  <a:cubicBezTo>
                    <a:pt x="4449826" y="1907953"/>
                    <a:pt x="4428678" y="1899864"/>
                    <a:pt x="4411266" y="1895486"/>
                  </a:cubicBezTo>
                  <a:cubicBezTo>
                    <a:pt x="4405177" y="1893982"/>
                    <a:pt x="4386099" y="1880479"/>
                    <a:pt x="4382325" y="1881548"/>
                  </a:cubicBezTo>
                  <a:cubicBezTo>
                    <a:pt x="4379484" y="1882317"/>
                    <a:pt x="4378916" y="1886361"/>
                    <a:pt x="4377454" y="1887999"/>
                  </a:cubicBezTo>
                  <a:cubicBezTo>
                    <a:pt x="4372503" y="1893514"/>
                    <a:pt x="4362760" y="1892678"/>
                    <a:pt x="4352533" y="1892779"/>
                  </a:cubicBezTo>
                  <a:cubicBezTo>
                    <a:pt x="4302323" y="1893447"/>
                    <a:pt x="4287589" y="1931316"/>
                    <a:pt x="4278375" y="1961029"/>
                  </a:cubicBezTo>
                  <a:cubicBezTo>
                    <a:pt x="4276913" y="1965943"/>
                    <a:pt x="4278050" y="1971825"/>
                    <a:pt x="4276061" y="1976471"/>
                  </a:cubicBezTo>
                  <a:cubicBezTo>
                    <a:pt x="4273220" y="1983156"/>
                    <a:pt x="4265792" y="1988270"/>
                    <a:pt x="4264940" y="1995857"/>
                  </a:cubicBezTo>
                  <a:cubicBezTo>
                    <a:pt x="4264696" y="1997996"/>
                    <a:pt x="4262991" y="2012869"/>
                    <a:pt x="4265670" y="2013973"/>
                  </a:cubicBezTo>
                  <a:cubicBezTo>
                    <a:pt x="4277401" y="2018852"/>
                    <a:pt x="4293190" y="2016312"/>
                    <a:pt x="4304230" y="2017850"/>
                  </a:cubicBezTo>
                  <a:cubicBezTo>
                    <a:pt x="4312348" y="2018953"/>
                    <a:pt x="4328584" y="2019822"/>
                    <a:pt x="4333253" y="2016914"/>
                  </a:cubicBezTo>
                  <a:cubicBezTo>
                    <a:pt x="4339381" y="2013237"/>
                    <a:pt x="4340071" y="2005851"/>
                    <a:pt x="4352694" y="2009561"/>
                  </a:cubicBezTo>
                  <a:cubicBezTo>
                    <a:pt x="4365318" y="2013271"/>
                    <a:pt x="4373395" y="2014106"/>
                    <a:pt x="4385775" y="2021392"/>
                  </a:cubicBezTo>
                  <a:cubicBezTo>
                    <a:pt x="4402782" y="2031420"/>
                    <a:pt x="4394177" y="2011633"/>
                    <a:pt x="4401037" y="2009561"/>
                  </a:cubicBezTo>
                  <a:cubicBezTo>
                    <a:pt x="4409398" y="2007087"/>
                    <a:pt x="4426609" y="2012903"/>
                    <a:pt x="4437568" y="2015243"/>
                  </a:cubicBezTo>
                  <a:cubicBezTo>
                    <a:pt x="4451124" y="2018084"/>
                    <a:pt x="4459202" y="2031520"/>
                    <a:pt x="4473611" y="2033325"/>
                  </a:cubicBezTo>
                  <a:cubicBezTo>
                    <a:pt x="4488021" y="2035130"/>
                    <a:pt x="4483677" y="2024534"/>
                    <a:pt x="4481080" y="2016613"/>
                  </a:cubicBezTo>
                  <a:cubicBezTo>
                    <a:pt x="4478807" y="2009928"/>
                    <a:pt x="4501375" y="2010263"/>
                    <a:pt x="4507585" y="2010831"/>
                  </a:cubicBezTo>
                  <a:cubicBezTo>
                    <a:pt x="4520940" y="2011967"/>
                    <a:pt x="4526013" y="2023966"/>
                    <a:pt x="4538270" y="2025704"/>
                  </a:cubicBezTo>
                  <a:cubicBezTo>
                    <a:pt x="4549068" y="2027242"/>
                    <a:pt x="4541396" y="2012535"/>
                    <a:pt x="4533400" y="2008290"/>
                  </a:cubicBezTo>
                  <a:cubicBezTo>
                    <a:pt x="4524795" y="2003711"/>
                    <a:pt x="4539246" y="1997060"/>
                    <a:pt x="4541518" y="1996559"/>
                  </a:cubicBezTo>
                  <a:cubicBezTo>
                    <a:pt x="4547201" y="1995422"/>
                    <a:pt x="4573990" y="2002876"/>
                    <a:pt x="4562787" y="1992314"/>
                  </a:cubicBezTo>
                  <a:cubicBezTo>
                    <a:pt x="4555765" y="1985629"/>
                    <a:pt x="4537540" y="1979245"/>
                    <a:pt x="4536079" y="1972260"/>
                  </a:cubicBezTo>
                  <a:cubicBezTo>
                    <a:pt x="4533725" y="1960996"/>
                    <a:pt x="4551990" y="1960929"/>
                    <a:pt x="4565385" y="1963804"/>
                  </a:cubicBezTo>
                  <a:cubicBezTo>
                    <a:pt x="4584178" y="1967815"/>
                    <a:pt x="4613483" y="1953008"/>
                    <a:pt x="4632521" y="1966043"/>
                  </a:cubicBezTo>
                  <a:cubicBezTo>
                    <a:pt x="4641532" y="1972226"/>
                    <a:pt x="4649203" y="1976638"/>
                    <a:pt x="4651029" y="1983423"/>
                  </a:cubicBezTo>
                  <a:cubicBezTo>
                    <a:pt x="4652369" y="1988403"/>
                    <a:pt x="4677088" y="1987468"/>
                    <a:pt x="4680254" y="1987735"/>
                  </a:cubicBezTo>
                  <a:cubicBezTo>
                    <a:pt x="4721899" y="1991077"/>
                    <a:pt x="4676601" y="2008926"/>
                    <a:pt x="4701239" y="2012970"/>
                  </a:cubicBezTo>
                  <a:cubicBezTo>
                    <a:pt x="4730707" y="2017850"/>
                    <a:pt x="4754817" y="2028278"/>
                    <a:pt x="4781688" y="2048232"/>
                  </a:cubicBezTo>
                  <a:cubicBezTo>
                    <a:pt x="4791632" y="2055618"/>
                    <a:pt x="4800115" y="2062938"/>
                    <a:pt x="4803079" y="2071628"/>
                  </a:cubicBezTo>
                  <a:cubicBezTo>
                    <a:pt x="4806042" y="2080318"/>
                    <a:pt x="4810262" y="2089276"/>
                    <a:pt x="4820572" y="2083527"/>
                  </a:cubicBezTo>
                  <a:cubicBezTo>
                    <a:pt x="4826093" y="2080452"/>
                    <a:pt x="4852639" y="2093253"/>
                    <a:pt x="4861528" y="2095961"/>
                  </a:cubicBezTo>
                  <a:cubicBezTo>
                    <a:pt x="4872041" y="2099303"/>
                    <a:pt x="4887059" y="2105252"/>
                    <a:pt x="4897003" y="2106924"/>
                  </a:cubicBezTo>
                  <a:cubicBezTo>
                    <a:pt x="4923102" y="2111486"/>
                    <a:pt x="4948025" y="2119858"/>
                    <a:pt x="4970512" y="2131690"/>
                  </a:cubicBezTo>
                  <a:cubicBezTo>
                    <a:pt x="4990197" y="2141717"/>
                    <a:pt x="5031599" y="2166351"/>
                    <a:pt x="5050148" y="2165114"/>
                  </a:cubicBezTo>
                  <a:cubicBezTo>
                    <a:pt x="5059849" y="2164512"/>
                    <a:pt x="5058794" y="2166016"/>
                    <a:pt x="5063989" y="2173771"/>
                  </a:cubicBezTo>
                  <a:cubicBezTo>
                    <a:pt x="5069185" y="2181525"/>
                    <a:pt x="5089886" y="2198270"/>
                    <a:pt x="5098937" y="2205556"/>
                  </a:cubicBezTo>
                  <a:cubicBezTo>
                    <a:pt x="5127716" y="2228719"/>
                    <a:pt x="5127959" y="2199707"/>
                    <a:pt x="5123088" y="2187642"/>
                  </a:cubicBezTo>
                  <a:cubicBezTo>
                    <a:pt x="5117040" y="2172768"/>
                    <a:pt x="5137173" y="2167587"/>
                    <a:pt x="5113630" y="2150441"/>
                  </a:cubicBezTo>
                  <a:cubicBezTo>
                    <a:pt x="5100074" y="2140414"/>
                    <a:pt x="5110018" y="2137072"/>
                    <a:pt x="5109571" y="2130654"/>
                  </a:cubicBezTo>
                  <a:cubicBezTo>
                    <a:pt x="5109329" y="2126944"/>
                    <a:pt x="5086395" y="2117753"/>
                    <a:pt x="5082254" y="2109698"/>
                  </a:cubicBezTo>
                  <a:cubicBezTo>
                    <a:pt x="5075517" y="2096529"/>
                    <a:pt x="5101900" y="2112372"/>
                    <a:pt x="5107218" y="2116850"/>
                  </a:cubicBezTo>
                  <a:cubicBezTo>
                    <a:pt x="5120613" y="2128081"/>
                    <a:pt x="5115336" y="2136503"/>
                    <a:pt x="5129014" y="2146932"/>
                  </a:cubicBezTo>
                  <a:cubicBezTo>
                    <a:pt x="5143302" y="2157794"/>
                    <a:pt x="5185069" y="2180355"/>
                    <a:pt x="5199641" y="2180121"/>
                  </a:cubicBezTo>
                  <a:cubicBezTo>
                    <a:pt x="5204024" y="2180121"/>
                    <a:pt x="5221843" y="2180121"/>
                    <a:pt x="5222006" y="2177949"/>
                  </a:cubicBezTo>
                  <a:cubicBezTo>
                    <a:pt x="5222370" y="2173503"/>
                    <a:pt x="5216080" y="2168122"/>
                    <a:pt x="5216119" y="2163844"/>
                  </a:cubicBezTo>
                  <a:cubicBezTo>
                    <a:pt x="5216119" y="2156290"/>
                    <a:pt x="5225780" y="2164613"/>
                    <a:pt x="5231422" y="2165950"/>
                  </a:cubicBezTo>
                  <a:cubicBezTo>
                    <a:pt x="5238606" y="2167654"/>
                    <a:pt x="5253503" y="2171799"/>
                    <a:pt x="5260566" y="2179954"/>
                  </a:cubicBezTo>
                  <a:cubicBezTo>
                    <a:pt x="5261012" y="2180489"/>
                    <a:pt x="5241408" y="2181592"/>
                    <a:pt x="5242463" y="2186639"/>
                  </a:cubicBezTo>
                  <a:cubicBezTo>
                    <a:pt x="5244614" y="2196432"/>
                    <a:pt x="5247456" y="2203150"/>
                    <a:pt x="5260809" y="2212241"/>
                  </a:cubicBezTo>
                  <a:cubicBezTo>
                    <a:pt x="5281429" y="2226346"/>
                    <a:pt x="5311425" y="2243592"/>
                    <a:pt x="5308421" y="2262143"/>
                  </a:cubicBezTo>
                  <a:cubicBezTo>
                    <a:pt x="5306757" y="2272470"/>
                    <a:pt x="5316133" y="2285740"/>
                    <a:pt x="5328473" y="2297538"/>
                  </a:cubicBezTo>
                  <a:cubicBezTo>
                    <a:pt x="5331720" y="2300647"/>
                    <a:pt x="5338823" y="2306329"/>
                    <a:pt x="5338254" y="2309671"/>
                  </a:cubicBezTo>
                  <a:cubicBezTo>
                    <a:pt x="5336874" y="2317726"/>
                    <a:pt x="5346616" y="2320935"/>
                    <a:pt x="5353313" y="2328355"/>
                  </a:cubicBezTo>
                  <a:cubicBezTo>
                    <a:pt x="5358590" y="2334171"/>
                    <a:pt x="5372188" y="2346036"/>
                    <a:pt x="5380468" y="2348242"/>
                  </a:cubicBezTo>
                  <a:cubicBezTo>
                    <a:pt x="5390940" y="2351016"/>
                    <a:pt x="5370564" y="2331998"/>
                    <a:pt x="5376409" y="2332065"/>
                  </a:cubicBezTo>
                  <a:cubicBezTo>
                    <a:pt x="5382254" y="2332131"/>
                    <a:pt x="5387977" y="2350080"/>
                    <a:pt x="5392645" y="2343730"/>
                  </a:cubicBezTo>
                  <a:cubicBezTo>
                    <a:pt x="5395973" y="2339117"/>
                    <a:pt x="5402832" y="2340387"/>
                    <a:pt x="5406283" y="2335307"/>
                  </a:cubicBezTo>
                  <a:cubicBezTo>
                    <a:pt x="5407987" y="2332733"/>
                    <a:pt x="5405958" y="2317459"/>
                    <a:pt x="5413670" y="2324210"/>
                  </a:cubicBezTo>
                  <a:cubicBezTo>
                    <a:pt x="5414563" y="2324912"/>
                    <a:pt x="5446142" y="2363583"/>
                    <a:pt x="5448699" y="2358703"/>
                  </a:cubicBezTo>
                  <a:cubicBezTo>
                    <a:pt x="5450525" y="2355361"/>
                    <a:pt x="5439688" y="2348142"/>
                    <a:pt x="5440865" y="2345869"/>
                  </a:cubicBezTo>
                  <a:cubicBezTo>
                    <a:pt x="5443098" y="2341591"/>
                    <a:pt x="5457710" y="2367594"/>
                    <a:pt x="5463717" y="2364920"/>
                  </a:cubicBezTo>
                  <a:cubicBezTo>
                    <a:pt x="5469238" y="2363082"/>
                    <a:pt x="5475489" y="2363583"/>
                    <a:pt x="5480481" y="2366224"/>
                  </a:cubicBezTo>
                  <a:cubicBezTo>
                    <a:pt x="5483688" y="2367761"/>
                    <a:pt x="5503658" y="2382200"/>
                    <a:pt x="5492658" y="2368864"/>
                  </a:cubicBezTo>
                  <a:close/>
                  <a:moveTo>
                    <a:pt x="2856475" y="1286441"/>
                  </a:moveTo>
                  <a:cubicBezTo>
                    <a:pt x="2831552" y="1288246"/>
                    <a:pt x="2802856" y="1279757"/>
                    <a:pt x="2777162" y="1279757"/>
                  </a:cubicBezTo>
                  <a:cubicBezTo>
                    <a:pt x="2767542" y="1279757"/>
                    <a:pt x="2768314" y="1283634"/>
                    <a:pt x="2761576" y="1285305"/>
                  </a:cubicBezTo>
                  <a:cubicBezTo>
                    <a:pt x="2752768" y="1287477"/>
                    <a:pt x="2738277" y="1284536"/>
                    <a:pt x="2727643" y="1282230"/>
                  </a:cubicBezTo>
                  <a:cubicBezTo>
                    <a:pt x="2722041" y="1280960"/>
                    <a:pt x="2676987" y="1266253"/>
                    <a:pt x="2697931" y="1269061"/>
                  </a:cubicBezTo>
                  <a:cubicBezTo>
                    <a:pt x="2724843" y="1272637"/>
                    <a:pt x="2743432" y="1276247"/>
                    <a:pt x="2764052" y="1269696"/>
                  </a:cubicBezTo>
                  <a:cubicBezTo>
                    <a:pt x="2785280" y="1263011"/>
                    <a:pt x="2818442" y="1267557"/>
                    <a:pt x="2843324" y="1264883"/>
                  </a:cubicBezTo>
                  <a:cubicBezTo>
                    <a:pt x="2872061" y="1261808"/>
                    <a:pt x="2886389" y="1244829"/>
                    <a:pt x="2914964" y="1242790"/>
                  </a:cubicBezTo>
                  <a:cubicBezTo>
                    <a:pt x="2931200" y="1241687"/>
                    <a:pt x="2908998" y="1262243"/>
                    <a:pt x="2907253" y="1263646"/>
                  </a:cubicBezTo>
                  <a:cubicBezTo>
                    <a:pt x="2895360" y="1273172"/>
                    <a:pt x="2879205" y="1284904"/>
                    <a:pt x="2856475" y="1286575"/>
                  </a:cubicBezTo>
                  <a:close/>
                  <a:moveTo>
                    <a:pt x="3272236" y="790669"/>
                  </a:moveTo>
                  <a:cubicBezTo>
                    <a:pt x="3267771" y="792273"/>
                    <a:pt x="3239764" y="784285"/>
                    <a:pt x="3250521" y="792875"/>
                  </a:cubicBezTo>
                  <a:cubicBezTo>
                    <a:pt x="3261276" y="801465"/>
                    <a:pt x="3282342" y="807348"/>
                    <a:pt x="3296224" y="809587"/>
                  </a:cubicBezTo>
                  <a:cubicBezTo>
                    <a:pt x="3335597" y="816272"/>
                    <a:pt x="3286604" y="785355"/>
                    <a:pt x="3272236" y="790536"/>
                  </a:cubicBezTo>
                  <a:close/>
                  <a:moveTo>
                    <a:pt x="1454951" y="46493"/>
                  </a:moveTo>
                  <a:cubicBezTo>
                    <a:pt x="1468386" y="48699"/>
                    <a:pt x="1471918" y="46493"/>
                    <a:pt x="1482227" y="45189"/>
                  </a:cubicBezTo>
                  <a:cubicBezTo>
                    <a:pt x="1491725" y="43853"/>
                    <a:pt x="1507758" y="49568"/>
                    <a:pt x="1518393" y="50404"/>
                  </a:cubicBezTo>
                  <a:cubicBezTo>
                    <a:pt x="1529027" y="51239"/>
                    <a:pt x="1528094" y="47061"/>
                    <a:pt x="1519813" y="44321"/>
                  </a:cubicBezTo>
                  <a:cubicBezTo>
                    <a:pt x="1508367" y="40908"/>
                    <a:pt x="1496474" y="38512"/>
                    <a:pt x="1484419" y="37168"/>
                  </a:cubicBezTo>
                  <a:cubicBezTo>
                    <a:pt x="1477397" y="36232"/>
                    <a:pt x="1467087" y="34628"/>
                    <a:pt x="1460715" y="35630"/>
                  </a:cubicBezTo>
                  <a:cubicBezTo>
                    <a:pt x="1456656" y="36265"/>
                    <a:pt x="1462501" y="38505"/>
                    <a:pt x="1455600" y="38271"/>
                  </a:cubicBezTo>
                  <a:cubicBezTo>
                    <a:pt x="1451542" y="38104"/>
                    <a:pt x="1408191" y="32923"/>
                    <a:pt x="1408110" y="32756"/>
                  </a:cubicBezTo>
                  <a:cubicBezTo>
                    <a:pt x="1411276" y="39508"/>
                    <a:pt x="1444803" y="44822"/>
                    <a:pt x="1454951" y="46493"/>
                  </a:cubicBezTo>
                  <a:close/>
                  <a:moveTo>
                    <a:pt x="1311507" y="58325"/>
                  </a:moveTo>
                  <a:cubicBezTo>
                    <a:pt x="1313293" y="50303"/>
                    <a:pt x="1254397" y="50671"/>
                    <a:pt x="1265072" y="53980"/>
                  </a:cubicBezTo>
                  <a:cubicBezTo>
                    <a:pt x="1274610" y="56888"/>
                    <a:pt x="1309761" y="66213"/>
                    <a:pt x="1311547" y="58325"/>
                  </a:cubicBezTo>
                  <a:close/>
                  <a:moveTo>
                    <a:pt x="1453896" y="74101"/>
                  </a:moveTo>
                  <a:cubicBezTo>
                    <a:pt x="1457589" y="81220"/>
                    <a:pt x="1376775" y="65778"/>
                    <a:pt x="1401373" y="80451"/>
                  </a:cubicBezTo>
                  <a:cubicBezTo>
                    <a:pt x="1416147" y="89175"/>
                    <a:pt x="1462257" y="93988"/>
                    <a:pt x="1479589" y="91448"/>
                  </a:cubicBezTo>
                  <a:cubicBezTo>
                    <a:pt x="1488721" y="90011"/>
                    <a:pt x="1544939" y="94389"/>
                    <a:pt x="1512669" y="84329"/>
                  </a:cubicBezTo>
                  <a:cubicBezTo>
                    <a:pt x="1508002" y="82824"/>
                    <a:pt x="1452029" y="70424"/>
                    <a:pt x="1453896" y="74101"/>
                  </a:cubicBezTo>
                  <a:cubicBezTo>
                    <a:pt x="1456250" y="78747"/>
                    <a:pt x="1451623" y="69589"/>
                    <a:pt x="1453936" y="74101"/>
                  </a:cubicBezTo>
                  <a:close/>
                  <a:moveTo>
                    <a:pt x="1642679" y="97130"/>
                  </a:moveTo>
                  <a:cubicBezTo>
                    <a:pt x="1653232" y="93487"/>
                    <a:pt x="1612114" y="78747"/>
                    <a:pt x="1604118" y="77076"/>
                  </a:cubicBezTo>
                  <a:cubicBezTo>
                    <a:pt x="1594620" y="75037"/>
                    <a:pt x="1580860" y="71962"/>
                    <a:pt x="1571646" y="72697"/>
                  </a:cubicBezTo>
                  <a:cubicBezTo>
                    <a:pt x="1566695" y="73098"/>
                    <a:pt x="1564178" y="77009"/>
                    <a:pt x="1556994" y="77744"/>
                  </a:cubicBezTo>
                  <a:cubicBezTo>
                    <a:pt x="1552123" y="78245"/>
                    <a:pt x="1532640" y="78647"/>
                    <a:pt x="1534669" y="82657"/>
                  </a:cubicBezTo>
                  <a:cubicBezTo>
                    <a:pt x="1537226" y="88072"/>
                    <a:pt x="1559023" y="92217"/>
                    <a:pt x="1567669" y="93687"/>
                  </a:cubicBezTo>
                  <a:cubicBezTo>
                    <a:pt x="1586746" y="97030"/>
                    <a:pt x="1627741" y="102277"/>
                    <a:pt x="1642841" y="97030"/>
                  </a:cubicBezTo>
                  <a:close/>
                  <a:moveTo>
                    <a:pt x="1471187" y="58960"/>
                  </a:moveTo>
                  <a:cubicBezTo>
                    <a:pt x="1475246" y="52275"/>
                    <a:pt x="1454139" y="50303"/>
                    <a:pt x="1444641" y="48933"/>
                  </a:cubicBezTo>
                  <a:cubicBezTo>
                    <a:pt x="1421789" y="45591"/>
                    <a:pt x="1405999" y="38104"/>
                    <a:pt x="1384487" y="33525"/>
                  </a:cubicBezTo>
                  <a:cubicBezTo>
                    <a:pt x="1364720" y="29313"/>
                    <a:pt x="1387004" y="39975"/>
                    <a:pt x="1382052" y="41045"/>
                  </a:cubicBezTo>
                  <a:cubicBezTo>
                    <a:pt x="1373122" y="42917"/>
                    <a:pt x="1358306" y="41045"/>
                    <a:pt x="1348078" y="41246"/>
                  </a:cubicBezTo>
                  <a:cubicBezTo>
                    <a:pt x="1320599" y="41981"/>
                    <a:pt x="1388668" y="56587"/>
                    <a:pt x="1396014" y="57690"/>
                  </a:cubicBezTo>
                  <a:cubicBezTo>
                    <a:pt x="1410789" y="59796"/>
                    <a:pt x="1465707" y="68185"/>
                    <a:pt x="1471187" y="58960"/>
                  </a:cubicBezTo>
                  <a:close/>
                  <a:moveTo>
                    <a:pt x="1246888" y="308501"/>
                  </a:moveTo>
                  <a:cubicBezTo>
                    <a:pt x="1246888" y="318528"/>
                    <a:pt x="1213239" y="310472"/>
                    <a:pt x="1212549" y="313180"/>
                  </a:cubicBezTo>
                  <a:cubicBezTo>
                    <a:pt x="1211656" y="316856"/>
                    <a:pt x="1228095" y="321837"/>
                    <a:pt x="1228785" y="326282"/>
                  </a:cubicBezTo>
                  <a:cubicBezTo>
                    <a:pt x="1229475" y="330727"/>
                    <a:pt x="1212224" y="327753"/>
                    <a:pt x="1207840" y="330460"/>
                  </a:cubicBezTo>
                  <a:cubicBezTo>
                    <a:pt x="1200494" y="334939"/>
                    <a:pt x="1202361" y="336777"/>
                    <a:pt x="1186937" y="335006"/>
                  </a:cubicBezTo>
                  <a:cubicBezTo>
                    <a:pt x="1173258" y="333435"/>
                    <a:pt x="1157955" y="332666"/>
                    <a:pt x="1157753" y="341155"/>
                  </a:cubicBezTo>
                  <a:cubicBezTo>
                    <a:pt x="1157753" y="347840"/>
                    <a:pt x="1176261" y="350113"/>
                    <a:pt x="1186166" y="351684"/>
                  </a:cubicBezTo>
                  <a:cubicBezTo>
                    <a:pt x="1203254" y="354391"/>
                    <a:pt x="1196435" y="355628"/>
                    <a:pt x="1193391" y="361210"/>
                  </a:cubicBezTo>
                  <a:cubicBezTo>
                    <a:pt x="1191280" y="365154"/>
                    <a:pt x="1209342" y="373710"/>
                    <a:pt x="1212711" y="369198"/>
                  </a:cubicBezTo>
                  <a:cubicBezTo>
                    <a:pt x="1215228" y="365855"/>
                    <a:pt x="1204228" y="356597"/>
                    <a:pt x="1220017" y="361276"/>
                  </a:cubicBezTo>
                  <a:cubicBezTo>
                    <a:pt x="1227770" y="363583"/>
                    <a:pt x="1237268" y="367694"/>
                    <a:pt x="1240312" y="371972"/>
                  </a:cubicBezTo>
                  <a:cubicBezTo>
                    <a:pt x="1243356" y="376250"/>
                    <a:pt x="1229069" y="376350"/>
                    <a:pt x="1234427" y="380863"/>
                  </a:cubicBezTo>
                  <a:cubicBezTo>
                    <a:pt x="1247010" y="391391"/>
                    <a:pt x="1286260" y="396271"/>
                    <a:pt x="1306595" y="400917"/>
                  </a:cubicBezTo>
                  <a:cubicBezTo>
                    <a:pt x="1315241" y="402822"/>
                    <a:pt x="1367480" y="416826"/>
                    <a:pt x="1371011" y="409607"/>
                  </a:cubicBezTo>
                  <a:cubicBezTo>
                    <a:pt x="1373162" y="405095"/>
                    <a:pt x="1353882" y="397240"/>
                    <a:pt x="1348240" y="394132"/>
                  </a:cubicBezTo>
                  <a:cubicBezTo>
                    <a:pt x="1332004" y="385308"/>
                    <a:pt x="1318164" y="375548"/>
                    <a:pt x="1311426" y="364619"/>
                  </a:cubicBezTo>
                  <a:cubicBezTo>
                    <a:pt x="1299249" y="344765"/>
                    <a:pt x="1330990" y="347272"/>
                    <a:pt x="1341583" y="334337"/>
                  </a:cubicBezTo>
                  <a:cubicBezTo>
                    <a:pt x="1347064" y="327652"/>
                    <a:pt x="1366952" y="328354"/>
                    <a:pt x="1374542" y="322238"/>
                  </a:cubicBezTo>
                  <a:cubicBezTo>
                    <a:pt x="1376775" y="320433"/>
                    <a:pt x="1378114" y="317893"/>
                    <a:pt x="1381889" y="316723"/>
                  </a:cubicBezTo>
                  <a:cubicBezTo>
                    <a:pt x="1387450" y="314985"/>
                    <a:pt x="1399140" y="318695"/>
                    <a:pt x="1402509" y="315586"/>
                  </a:cubicBezTo>
                  <a:cubicBezTo>
                    <a:pt x="1409693" y="308902"/>
                    <a:pt x="1402834" y="309236"/>
                    <a:pt x="1421789" y="308467"/>
                  </a:cubicBezTo>
                  <a:cubicBezTo>
                    <a:pt x="1433073" y="307999"/>
                    <a:pt x="1440826" y="303153"/>
                    <a:pt x="1441028" y="297571"/>
                  </a:cubicBezTo>
                  <a:cubicBezTo>
                    <a:pt x="1441232" y="291989"/>
                    <a:pt x="1452840" y="296134"/>
                    <a:pt x="1462744" y="296836"/>
                  </a:cubicBezTo>
                  <a:cubicBezTo>
                    <a:pt x="1470618" y="297437"/>
                    <a:pt x="1474434" y="295566"/>
                    <a:pt x="1481334" y="295064"/>
                  </a:cubicBezTo>
                  <a:cubicBezTo>
                    <a:pt x="1490061" y="294396"/>
                    <a:pt x="1499884" y="296134"/>
                    <a:pt x="1508976" y="296568"/>
                  </a:cubicBezTo>
                  <a:cubicBezTo>
                    <a:pt x="1525212" y="297337"/>
                    <a:pt x="1544695" y="290586"/>
                    <a:pt x="1562392" y="290118"/>
                  </a:cubicBezTo>
                  <a:cubicBezTo>
                    <a:pt x="1597218" y="289182"/>
                    <a:pt x="1633302" y="290118"/>
                    <a:pt x="1669265" y="291989"/>
                  </a:cubicBezTo>
                  <a:cubicBezTo>
                    <a:pt x="1689884" y="292491"/>
                    <a:pt x="1862310" y="309436"/>
                    <a:pt x="1838727" y="287811"/>
                  </a:cubicBezTo>
                  <a:cubicBezTo>
                    <a:pt x="1823181" y="273372"/>
                    <a:pt x="1772972" y="271935"/>
                    <a:pt x="1750363" y="271801"/>
                  </a:cubicBezTo>
                  <a:cubicBezTo>
                    <a:pt x="1737699" y="271801"/>
                    <a:pt x="1726496" y="273740"/>
                    <a:pt x="1714116" y="273773"/>
                  </a:cubicBezTo>
                  <a:cubicBezTo>
                    <a:pt x="1694836" y="273773"/>
                    <a:pt x="1675232" y="268259"/>
                    <a:pt x="1655464" y="268492"/>
                  </a:cubicBezTo>
                  <a:cubicBezTo>
                    <a:pt x="1638011" y="268820"/>
                    <a:pt x="1620598" y="266938"/>
                    <a:pt x="1603834" y="262911"/>
                  </a:cubicBezTo>
                  <a:cubicBezTo>
                    <a:pt x="1582443" y="257362"/>
                    <a:pt x="1577572" y="252884"/>
                    <a:pt x="1554355" y="254455"/>
                  </a:cubicBezTo>
                  <a:cubicBezTo>
                    <a:pt x="1522452" y="256761"/>
                    <a:pt x="1484784" y="248505"/>
                    <a:pt x="1452881" y="251112"/>
                  </a:cubicBezTo>
                  <a:cubicBezTo>
                    <a:pt x="1442449" y="251914"/>
                    <a:pt x="1438674" y="255591"/>
                    <a:pt x="1427309" y="255190"/>
                  </a:cubicBezTo>
                  <a:cubicBezTo>
                    <a:pt x="1410546" y="254622"/>
                    <a:pt x="1411966" y="261106"/>
                    <a:pt x="1397394" y="261373"/>
                  </a:cubicBezTo>
                  <a:cubicBezTo>
                    <a:pt x="1385217" y="261607"/>
                    <a:pt x="1364923" y="249007"/>
                    <a:pt x="1361878" y="259301"/>
                  </a:cubicBezTo>
                  <a:cubicBezTo>
                    <a:pt x="1360296" y="265150"/>
                    <a:pt x="1378764" y="271701"/>
                    <a:pt x="1360417" y="272336"/>
                  </a:cubicBezTo>
                  <a:cubicBezTo>
                    <a:pt x="1340975" y="273038"/>
                    <a:pt x="1338824" y="278720"/>
                    <a:pt x="1331355" y="286174"/>
                  </a:cubicBezTo>
                  <a:cubicBezTo>
                    <a:pt x="1325916" y="291588"/>
                    <a:pt x="1296854" y="284837"/>
                    <a:pt x="1286707" y="287912"/>
                  </a:cubicBezTo>
                  <a:cubicBezTo>
                    <a:pt x="1267710" y="293660"/>
                    <a:pt x="1295677" y="296000"/>
                    <a:pt x="1298275" y="299510"/>
                  </a:cubicBezTo>
                  <a:cubicBezTo>
                    <a:pt x="1295677" y="296167"/>
                    <a:pt x="1279076" y="307865"/>
                    <a:pt x="1279076" y="307899"/>
                  </a:cubicBezTo>
                  <a:cubicBezTo>
                    <a:pt x="1274083" y="311241"/>
                    <a:pt x="1246604" y="304055"/>
                    <a:pt x="1246604" y="308567"/>
                  </a:cubicBezTo>
                  <a:cubicBezTo>
                    <a:pt x="1246888" y="313614"/>
                    <a:pt x="1247010" y="303387"/>
                    <a:pt x="1246969" y="3085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2CE57097-2D2E-413A-BA81-9FC948FCCEB8}"/>
                </a:ext>
              </a:extLst>
            </p:cNvPr>
            <p:cNvSpPr/>
            <p:nvPr/>
          </p:nvSpPr>
          <p:spPr>
            <a:xfrm>
              <a:off x="6153312" y="4766402"/>
              <a:ext cx="517470" cy="329058"/>
            </a:xfrm>
            <a:custGeom>
              <a:avLst/>
              <a:gdLst>
                <a:gd name="connsiteX0" fmla="*/ 459498 w 517470"/>
                <a:gd name="connsiteY0" fmla="*/ 218146 h 329058"/>
                <a:gd name="connsiteX1" fmla="*/ 448823 w 517470"/>
                <a:gd name="connsiteY1" fmla="*/ 184722 h 329058"/>
                <a:gd name="connsiteX2" fmla="*/ 449310 w 517470"/>
                <a:gd name="connsiteY2" fmla="*/ 164133 h 329058"/>
                <a:gd name="connsiteX3" fmla="*/ 455439 w 517470"/>
                <a:gd name="connsiteY3" fmla="*/ 156212 h 329058"/>
                <a:gd name="connsiteX4" fmla="*/ 450040 w 517470"/>
                <a:gd name="connsiteY4" fmla="*/ 141037 h 329058"/>
                <a:gd name="connsiteX5" fmla="*/ 461528 w 517470"/>
                <a:gd name="connsiteY5" fmla="*/ 122354 h 329058"/>
                <a:gd name="connsiteX6" fmla="*/ 470863 w 517470"/>
                <a:gd name="connsiteY6" fmla="*/ 108984 h 329058"/>
                <a:gd name="connsiteX7" fmla="*/ 480523 w 517470"/>
                <a:gd name="connsiteY7" fmla="*/ 88061 h 329058"/>
                <a:gd name="connsiteX8" fmla="*/ 511615 w 517470"/>
                <a:gd name="connsiteY8" fmla="*/ 67773 h 329058"/>
                <a:gd name="connsiteX9" fmla="*/ 513685 w 517470"/>
                <a:gd name="connsiteY9" fmla="*/ 57746 h 329058"/>
                <a:gd name="connsiteX10" fmla="*/ 511575 w 517470"/>
                <a:gd name="connsiteY10" fmla="*/ 44176 h 329058"/>
                <a:gd name="connsiteX11" fmla="*/ 485272 w 517470"/>
                <a:gd name="connsiteY11" fmla="*/ 21114 h 329058"/>
                <a:gd name="connsiteX12" fmla="*/ 469929 w 517470"/>
                <a:gd name="connsiteY12" fmla="*/ 20412 h 329058"/>
                <a:gd name="connsiteX13" fmla="*/ 452719 w 517470"/>
                <a:gd name="connsiteY13" fmla="*/ 18941 h 329058"/>
                <a:gd name="connsiteX14" fmla="*/ 416554 w 517470"/>
                <a:gd name="connsiteY14" fmla="*/ 3967 h 329058"/>
                <a:gd name="connsiteX15" fmla="*/ 394838 w 517470"/>
                <a:gd name="connsiteY15" fmla="*/ 5338 h 329058"/>
                <a:gd name="connsiteX16" fmla="*/ 360905 w 517470"/>
                <a:gd name="connsiteY16" fmla="*/ 4435 h 329058"/>
                <a:gd name="connsiteX17" fmla="*/ 341301 w 517470"/>
                <a:gd name="connsiteY17" fmla="*/ 2998 h 329058"/>
                <a:gd name="connsiteX18" fmla="*/ 305298 w 517470"/>
                <a:gd name="connsiteY18" fmla="*/ 7276 h 329058"/>
                <a:gd name="connsiteX19" fmla="*/ 285287 w 517470"/>
                <a:gd name="connsiteY19" fmla="*/ 7911 h 329058"/>
                <a:gd name="connsiteX20" fmla="*/ 278346 w 517470"/>
                <a:gd name="connsiteY20" fmla="*/ 17136 h 329058"/>
                <a:gd name="connsiteX21" fmla="*/ 221845 w 517470"/>
                <a:gd name="connsiteY21" fmla="*/ 6507 h 329058"/>
                <a:gd name="connsiteX22" fmla="*/ 180727 w 517470"/>
                <a:gd name="connsiteY22" fmla="*/ 6307 h 329058"/>
                <a:gd name="connsiteX23" fmla="*/ 171757 w 517470"/>
                <a:gd name="connsiteY23" fmla="*/ 22350 h 329058"/>
                <a:gd name="connsiteX24" fmla="*/ 157591 w 517470"/>
                <a:gd name="connsiteY24" fmla="*/ 50326 h 329058"/>
                <a:gd name="connsiteX25" fmla="*/ 140381 w 517470"/>
                <a:gd name="connsiteY25" fmla="*/ 82112 h 329058"/>
                <a:gd name="connsiteX26" fmla="*/ 119315 w 517470"/>
                <a:gd name="connsiteY26" fmla="*/ 105207 h 329058"/>
                <a:gd name="connsiteX27" fmla="*/ 106854 w 517470"/>
                <a:gd name="connsiteY27" fmla="*/ 134988 h 329058"/>
                <a:gd name="connsiteX28" fmla="*/ 102389 w 517470"/>
                <a:gd name="connsiteY28" fmla="*/ 147221 h 329058"/>
                <a:gd name="connsiteX29" fmla="*/ 95246 w 517470"/>
                <a:gd name="connsiteY29" fmla="*/ 157248 h 329058"/>
                <a:gd name="connsiteX30" fmla="*/ 83069 w 517470"/>
                <a:gd name="connsiteY30" fmla="*/ 160590 h 329058"/>
                <a:gd name="connsiteX31" fmla="*/ 66833 w 517470"/>
                <a:gd name="connsiteY31" fmla="*/ 163264 h 329058"/>
                <a:gd name="connsiteX32" fmla="*/ 50921 w 517470"/>
                <a:gd name="connsiteY32" fmla="*/ 159588 h 329058"/>
                <a:gd name="connsiteX33" fmla="*/ 25877 w 517470"/>
                <a:gd name="connsiteY33" fmla="*/ 160724 h 329058"/>
                <a:gd name="connsiteX34" fmla="*/ -60 w 517470"/>
                <a:gd name="connsiteY34" fmla="*/ 169080 h 329058"/>
                <a:gd name="connsiteX35" fmla="*/ 10291 w 517470"/>
                <a:gd name="connsiteY35" fmla="*/ 189669 h 329058"/>
                <a:gd name="connsiteX36" fmla="*/ 109452 w 517470"/>
                <a:gd name="connsiteY36" fmla="*/ 185491 h 329058"/>
                <a:gd name="connsiteX37" fmla="*/ 123049 w 517470"/>
                <a:gd name="connsiteY37" fmla="*/ 206514 h 329058"/>
                <a:gd name="connsiteX38" fmla="*/ 142695 w 517470"/>
                <a:gd name="connsiteY38" fmla="*/ 224296 h 329058"/>
                <a:gd name="connsiteX39" fmla="*/ 184381 w 517470"/>
                <a:gd name="connsiteY39" fmla="*/ 222023 h 329058"/>
                <a:gd name="connsiteX40" fmla="*/ 193189 w 517470"/>
                <a:gd name="connsiteY40" fmla="*/ 208653 h 329058"/>
                <a:gd name="connsiteX41" fmla="*/ 217786 w 517470"/>
                <a:gd name="connsiteY41" fmla="*/ 207784 h 329058"/>
                <a:gd name="connsiteX42" fmla="*/ 237553 w 517470"/>
                <a:gd name="connsiteY42" fmla="*/ 211962 h 329058"/>
                <a:gd name="connsiteX43" fmla="*/ 251029 w 517470"/>
                <a:gd name="connsiteY43" fmla="*/ 226267 h 329058"/>
                <a:gd name="connsiteX44" fmla="*/ 251963 w 517470"/>
                <a:gd name="connsiteY44" fmla="*/ 255079 h 329058"/>
                <a:gd name="connsiteX45" fmla="*/ 258538 w 517470"/>
                <a:gd name="connsiteY45" fmla="*/ 272960 h 329058"/>
                <a:gd name="connsiteX46" fmla="*/ 274774 w 517470"/>
                <a:gd name="connsiteY46" fmla="*/ 276303 h 329058"/>
                <a:gd name="connsiteX47" fmla="*/ 311305 w 517470"/>
                <a:gd name="connsiteY47" fmla="*/ 279144 h 329058"/>
                <a:gd name="connsiteX48" fmla="*/ 328515 w 517470"/>
                <a:gd name="connsiteY48" fmla="*/ 283622 h 329058"/>
                <a:gd name="connsiteX49" fmla="*/ 341179 w 517470"/>
                <a:gd name="connsiteY49" fmla="*/ 293349 h 329058"/>
                <a:gd name="connsiteX50" fmla="*/ 372798 w 517470"/>
                <a:gd name="connsiteY50" fmla="*/ 299632 h 329058"/>
                <a:gd name="connsiteX51" fmla="*/ 391185 w 517470"/>
                <a:gd name="connsiteY51" fmla="*/ 298195 h 329058"/>
                <a:gd name="connsiteX52" fmla="*/ 417325 w 517470"/>
                <a:gd name="connsiteY52" fmla="*/ 307387 h 329058"/>
                <a:gd name="connsiteX53" fmla="*/ 452314 w 517470"/>
                <a:gd name="connsiteY53" fmla="*/ 325469 h 329058"/>
                <a:gd name="connsiteX54" fmla="*/ 454018 w 517470"/>
                <a:gd name="connsiteY54" fmla="*/ 306651 h 329058"/>
                <a:gd name="connsiteX55" fmla="*/ 428569 w 517470"/>
                <a:gd name="connsiteY55" fmla="*/ 305013 h 329058"/>
                <a:gd name="connsiteX56" fmla="*/ 419355 w 517470"/>
                <a:gd name="connsiteY56" fmla="*/ 290909 h 329058"/>
                <a:gd name="connsiteX57" fmla="*/ 429177 w 517470"/>
                <a:gd name="connsiteY57" fmla="*/ 270454 h 329058"/>
                <a:gd name="connsiteX58" fmla="*/ 428690 w 517470"/>
                <a:gd name="connsiteY58" fmla="*/ 254644 h 329058"/>
                <a:gd name="connsiteX59" fmla="*/ 436524 w 517470"/>
                <a:gd name="connsiteY59" fmla="*/ 246422 h 329058"/>
                <a:gd name="connsiteX60" fmla="*/ 441922 w 517470"/>
                <a:gd name="connsiteY60" fmla="*/ 240673 h 329058"/>
                <a:gd name="connsiteX61" fmla="*/ 475003 w 517470"/>
                <a:gd name="connsiteY61" fmla="*/ 239704 h 329058"/>
                <a:gd name="connsiteX62" fmla="*/ 459863 w 517470"/>
                <a:gd name="connsiteY62" fmla="*/ 217878 h 329058"/>
                <a:gd name="connsiteX63" fmla="*/ 459498 w 517470"/>
                <a:gd name="connsiteY63" fmla="*/ 218146 h 32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17470" h="329058">
                  <a:moveTo>
                    <a:pt x="459498" y="218146"/>
                  </a:moveTo>
                  <a:cubicBezTo>
                    <a:pt x="447321" y="213165"/>
                    <a:pt x="449269" y="192008"/>
                    <a:pt x="448823" y="184722"/>
                  </a:cubicBezTo>
                  <a:cubicBezTo>
                    <a:pt x="448336" y="177860"/>
                    <a:pt x="448498" y="170975"/>
                    <a:pt x="449310" y="164133"/>
                  </a:cubicBezTo>
                  <a:cubicBezTo>
                    <a:pt x="449310" y="163197"/>
                    <a:pt x="451948" y="150363"/>
                    <a:pt x="455439" y="156212"/>
                  </a:cubicBezTo>
                  <a:cubicBezTo>
                    <a:pt x="455439" y="148892"/>
                    <a:pt x="456291" y="146185"/>
                    <a:pt x="450040" y="141037"/>
                  </a:cubicBezTo>
                  <a:cubicBezTo>
                    <a:pt x="447970" y="139366"/>
                    <a:pt x="457022" y="123056"/>
                    <a:pt x="461528" y="122354"/>
                  </a:cubicBezTo>
                  <a:cubicBezTo>
                    <a:pt x="469645" y="121184"/>
                    <a:pt x="470498" y="112828"/>
                    <a:pt x="470863" y="108984"/>
                  </a:cubicBezTo>
                  <a:cubicBezTo>
                    <a:pt x="471553" y="101430"/>
                    <a:pt x="477560" y="95180"/>
                    <a:pt x="480523" y="88061"/>
                  </a:cubicBezTo>
                  <a:cubicBezTo>
                    <a:pt x="484826" y="77733"/>
                    <a:pt x="501224" y="74424"/>
                    <a:pt x="511615" y="67773"/>
                  </a:cubicBezTo>
                  <a:cubicBezTo>
                    <a:pt x="516973" y="64430"/>
                    <a:pt x="520423" y="61723"/>
                    <a:pt x="513685" y="57746"/>
                  </a:cubicBezTo>
                  <a:cubicBezTo>
                    <a:pt x="506947" y="53768"/>
                    <a:pt x="510154" y="48855"/>
                    <a:pt x="511575" y="44176"/>
                  </a:cubicBezTo>
                  <a:cubicBezTo>
                    <a:pt x="514700" y="33881"/>
                    <a:pt x="498302" y="28266"/>
                    <a:pt x="485272" y="21114"/>
                  </a:cubicBezTo>
                  <a:cubicBezTo>
                    <a:pt x="480686" y="18600"/>
                    <a:pt x="474800" y="18333"/>
                    <a:pt x="469929" y="20412"/>
                  </a:cubicBezTo>
                  <a:cubicBezTo>
                    <a:pt x="465180" y="21982"/>
                    <a:pt x="460391" y="15031"/>
                    <a:pt x="452719" y="18941"/>
                  </a:cubicBezTo>
                  <a:cubicBezTo>
                    <a:pt x="436483" y="27230"/>
                    <a:pt x="425037" y="7142"/>
                    <a:pt x="416554" y="3967"/>
                  </a:cubicBezTo>
                  <a:cubicBezTo>
                    <a:pt x="414524" y="4870"/>
                    <a:pt x="399182" y="6909"/>
                    <a:pt x="394838" y="5338"/>
                  </a:cubicBezTo>
                  <a:cubicBezTo>
                    <a:pt x="380023" y="-10"/>
                    <a:pt x="373407" y="-846"/>
                    <a:pt x="360905" y="4435"/>
                  </a:cubicBezTo>
                  <a:cubicBezTo>
                    <a:pt x="355994" y="6507"/>
                    <a:pt x="346577" y="3232"/>
                    <a:pt x="341301" y="2998"/>
                  </a:cubicBezTo>
                  <a:cubicBezTo>
                    <a:pt x="328596" y="2430"/>
                    <a:pt x="316947" y="8145"/>
                    <a:pt x="305298" y="7276"/>
                  </a:cubicBezTo>
                  <a:cubicBezTo>
                    <a:pt x="298397" y="6775"/>
                    <a:pt x="290238" y="3533"/>
                    <a:pt x="285287" y="7911"/>
                  </a:cubicBezTo>
                  <a:cubicBezTo>
                    <a:pt x="284231" y="8847"/>
                    <a:pt x="278914" y="17236"/>
                    <a:pt x="278346" y="17136"/>
                  </a:cubicBezTo>
                  <a:cubicBezTo>
                    <a:pt x="263003" y="14763"/>
                    <a:pt x="231870" y="13994"/>
                    <a:pt x="221845" y="6507"/>
                  </a:cubicBezTo>
                  <a:cubicBezTo>
                    <a:pt x="208329" y="-3520"/>
                    <a:pt x="194609" y="-1615"/>
                    <a:pt x="180727" y="6307"/>
                  </a:cubicBezTo>
                  <a:cubicBezTo>
                    <a:pt x="171026" y="11855"/>
                    <a:pt x="172041" y="14295"/>
                    <a:pt x="171757" y="22350"/>
                  </a:cubicBezTo>
                  <a:cubicBezTo>
                    <a:pt x="171270" y="34784"/>
                    <a:pt x="163071" y="39530"/>
                    <a:pt x="157591" y="50326"/>
                  </a:cubicBezTo>
                  <a:cubicBezTo>
                    <a:pt x="151827" y="61656"/>
                    <a:pt x="149473" y="71115"/>
                    <a:pt x="140381" y="82112"/>
                  </a:cubicBezTo>
                  <a:cubicBezTo>
                    <a:pt x="132953" y="91336"/>
                    <a:pt x="133481" y="98589"/>
                    <a:pt x="119315" y="105207"/>
                  </a:cubicBezTo>
                  <a:cubicBezTo>
                    <a:pt x="104175" y="112327"/>
                    <a:pt x="107625" y="123958"/>
                    <a:pt x="106854" y="134988"/>
                  </a:cubicBezTo>
                  <a:cubicBezTo>
                    <a:pt x="106854" y="137595"/>
                    <a:pt x="108681" y="145984"/>
                    <a:pt x="102389" y="147221"/>
                  </a:cubicBezTo>
                  <a:cubicBezTo>
                    <a:pt x="94271" y="148858"/>
                    <a:pt x="97396" y="152736"/>
                    <a:pt x="95246" y="157248"/>
                  </a:cubicBezTo>
                  <a:cubicBezTo>
                    <a:pt x="93500" y="160824"/>
                    <a:pt x="87371" y="159688"/>
                    <a:pt x="83069" y="160590"/>
                  </a:cubicBezTo>
                  <a:cubicBezTo>
                    <a:pt x="78766" y="161493"/>
                    <a:pt x="66833" y="171352"/>
                    <a:pt x="66833" y="163264"/>
                  </a:cubicBezTo>
                  <a:cubicBezTo>
                    <a:pt x="66833" y="157916"/>
                    <a:pt x="56360" y="158184"/>
                    <a:pt x="50921" y="159588"/>
                  </a:cubicBezTo>
                  <a:cubicBezTo>
                    <a:pt x="36715" y="163297"/>
                    <a:pt x="39313" y="163632"/>
                    <a:pt x="25877" y="160724"/>
                  </a:cubicBezTo>
                  <a:cubicBezTo>
                    <a:pt x="19383" y="159387"/>
                    <a:pt x="4568" y="167141"/>
                    <a:pt x="-60" y="169080"/>
                  </a:cubicBezTo>
                  <a:cubicBezTo>
                    <a:pt x="4284" y="175607"/>
                    <a:pt x="7774" y="182513"/>
                    <a:pt x="10291" y="189669"/>
                  </a:cubicBezTo>
                  <a:cubicBezTo>
                    <a:pt x="35903" y="178539"/>
                    <a:pt x="79618" y="184688"/>
                    <a:pt x="109452" y="185491"/>
                  </a:cubicBezTo>
                  <a:cubicBezTo>
                    <a:pt x="126459" y="185925"/>
                    <a:pt x="113917" y="201267"/>
                    <a:pt x="123049" y="206514"/>
                  </a:cubicBezTo>
                  <a:cubicBezTo>
                    <a:pt x="131167" y="211260"/>
                    <a:pt x="131167" y="221722"/>
                    <a:pt x="142695" y="224296"/>
                  </a:cubicBezTo>
                  <a:cubicBezTo>
                    <a:pt x="155562" y="227237"/>
                    <a:pt x="170702" y="219483"/>
                    <a:pt x="184381" y="222023"/>
                  </a:cubicBezTo>
                  <a:cubicBezTo>
                    <a:pt x="187831" y="222658"/>
                    <a:pt x="191443" y="210291"/>
                    <a:pt x="193189" y="208653"/>
                  </a:cubicBezTo>
                  <a:cubicBezTo>
                    <a:pt x="197856" y="204442"/>
                    <a:pt x="211251" y="206514"/>
                    <a:pt x="217786" y="207784"/>
                  </a:cubicBezTo>
                  <a:cubicBezTo>
                    <a:pt x="224321" y="209054"/>
                    <a:pt x="227324" y="212397"/>
                    <a:pt x="237553" y="211962"/>
                  </a:cubicBezTo>
                  <a:cubicBezTo>
                    <a:pt x="254926" y="211227"/>
                    <a:pt x="246321" y="218146"/>
                    <a:pt x="251029" y="226267"/>
                  </a:cubicBezTo>
                  <a:cubicBezTo>
                    <a:pt x="256752" y="236294"/>
                    <a:pt x="239907" y="246322"/>
                    <a:pt x="251963" y="255079"/>
                  </a:cubicBezTo>
                  <a:cubicBezTo>
                    <a:pt x="260852" y="261429"/>
                    <a:pt x="260811" y="265373"/>
                    <a:pt x="258538" y="272960"/>
                  </a:cubicBezTo>
                  <a:cubicBezTo>
                    <a:pt x="254722" y="285795"/>
                    <a:pt x="265641" y="276069"/>
                    <a:pt x="274774" y="276303"/>
                  </a:cubicBezTo>
                  <a:cubicBezTo>
                    <a:pt x="285814" y="276737"/>
                    <a:pt x="303430" y="272693"/>
                    <a:pt x="311305" y="279144"/>
                  </a:cubicBezTo>
                  <a:cubicBezTo>
                    <a:pt x="318124" y="284826"/>
                    <a:pt x="316744" y="284792"/>
                    <a:pt x="328515" y="283622"/>
                  </a:cubicBezTo>
                  <a:cubicBezTo>
                    <a:pt x="342194" y="282285"/>
                    <a:pt x="332574" y="289238"/>
                    <a:pt x="341179" y="293349"/>
                  </a:cubicBezTo>
                  <a:cubicBezTo>
                    <a:pt x="351245" y="296771"/>
                    <a:pt x="361920" y="298890"/>
                    <a:pt x="372798" y="299632"/>
                  </a:cubicBezTo>
                  <a:cubicBezTo>
                    <a:pt x="381971" y="299632"/>
                    <a:pt x="383757" y="289070"/>
                    <a:pt x="391185" y="298195"/>
                  </a:cubicBezTo>
                  <a:cubicBezTo>
                    <a:pt x="398045" y="306718"/>
                    <a:pt x="404986" y="304880"/>
                    <a:pt x="417325" y="307387"/>
                  </a:cubicBezTo>
                  <a:cubicBezTo>
                    <a:pt x="425443" y="308958"/>
                    <a:pt x="432384" y="338337"/>
                    <a:pt x="452314" y="325469"/>
                  </a:cubicBezTo>
                  <a:cubicBezTo>
                    <a:pt x="455195" y="323630"/>
                    <a:pt x="461324" y="307119"/>
                    <a:pt x="454018" y="306651"/>
                  </a:cubicBezTo>
                  <a:cubicBezTo>
                    <a:pt x="443424" y="305983"/>
                    <a:pt x="437782" y="313804"/>
                    <a:pt x="428569" y="305013"/>
                  </a:cubicBezTo>
                  <a:cubicBezTo>
                    <a:pt x="424875" y="301671"/>
                    <a:pt x="416919" y="294986"/>
                    <a:pt x="419355" y="290909"/>
                  </a:cubicBezTo>
                  <a:cubicBezTo>
                    <a:pt x="423332" y="284338"/>
                    <a:pt x="426620" y="277493"/>
                    <a:pt x="429177" y="270454"/>
                  </a:cubicBezTo>
                  <a:cubicBezTo>
                    <a:pt x="430760" y="266008"/>
                    <a:pt x="425768" y="257452"/>
                    <a:pt x="428690" y="254644"/>
                  </a:cubicBezTo>
                  <a:cubicBezTo>
                    <a:pt x="432506" y="251034"/>
                    <a:pt x="436443" y="251135"/>
                    <a:pt x="436524" y="246422"/>
                  </a:cubicBezTo>
                  <a:cubicBezTo>
                    <a:pt x="436524" y="243949"/>
                    <a:pt x="436037" y="240339"/>
                    <a:pt x="441922" y="240673"/>
                  </a:cubicBezTo>
                  <a:cubicBezTo>
                    <a:pt x="450852" y="241208"/>
                    <a:pt x="467778" y="244015"/>
                    <a:pt x="475003" y="239704"/>
                  </a:cubicBezTo>
                  <a:cubicBezTo>
                    <a:pt x="482228" y="235392"/>
                    <a:pt x="467332" y="220987"/>
                    <a:pt x="459863" y="217878"/>
                  </a:cubicBezTo>
                  <a:cubicBezTo>
                    <a:pt x="446550" y="212798"/>
                    <a:pt x="466763" y="221187"/>
                    <a:pt x="459498" y="21814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9CCE4D30-4164-4B98-98BD-37998AB36C23}"/>
                </a:ext>
              </a:extLst>
            </p:cNvPr>
            <p:cNvSpPr/>
            <p:nvPr/>
          </p:nvSpPr>
          <p:spPr>
            <a:xfrm>
              <a:off x="6606822" y="4905474"/>
              <a:ext cx="42381" cy="35527"/>
            </a:xfrm>
            <a:custGeom>
              <a:avLst/>
              <a:gdLst>
                <a:gd name="connsiteX0" fmla="*/ 1929 w 42381"/>
                <a:gd name="connsiteY0" fmla="*/ 17106 h 35527"/>
                <a:gd name="connsiteX1" fmla="*/ 7206 w 42381"/>
                <a:gd name="connsiteY1" fmla="*/ 35188 h 35527"/>
                <a:gd name="connsiteX2" fmla="*/ 38906 w 42381"/>
                <a:gd name="connsiteY2" fmla="*/ 10823 h 35527"/>
                <a:gd name="connsiteX3" fmla="*/ 23767 w 42381"/>
                <a:gd name="connsiteY3" fmla="*/ 395 h 35527"/>
                <a:gd name="connsiteX4" fmla="*/ 19708 w 42381"/>
                <a:gd name="connsiteY4" fmla="*/ 4806 h 35527"/>
                <a:gd name="connsiteX5" fmla="*/ -60 w 42381"/>
                <a:gd name="connsiteY5" fmla="*/ 3636 h 35527"/>
                <a:gd name="connsiteX6" fmla="*/ 1929 w 42381"/>
                <a:gd name="connsiteY6" fmla="*/ 17106 h 3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381" h="35527">
                  <a:moveTo>
                    <a:pt x="1929" y="17106"/>
                  </a:moveTo>
                  <a:cubicBezTo>
                    <a:pt x="4689" y="22902"/>
                    <a:pt x="6475" y="28988"/>
                    <a:pt x="7206" y="35188"/>
                  </a:cubicBezTo>
                  <a:cubicBezTo>
                    <a:pt x="16501" y="32147"/>
                    <a:pt x="53641" y="17474"/>
                    <a:pt x="38906" y="10823"/>
                  </a:cubicBezTo>
                  <a:cubicBezTo>
                    <a:pt x="32452" y="7915"/>
                    <a:pt x="42032" y="-3282"/>
                    <a:pt x="23767" y="395"/>
                  </a:cubicBezTo>
                  <a:cubicBezTo>
                    <a:pt x="23360" y="395"/>
                    <a:pt x="21818" y="4205"/>
                    <a:pt x="19708" y="4806"/>
                  </a:cubicBezTo>
                  <a:cubicBezTo>
                    <a:pt x="14066" y="6478"/>
                    <a:pt x="5907" y="4138"/>
                    <a:pt x="-60" y="3636"/>
                  </a:cubicBezTo>
                  <a:cubicBezTo>
                    <a:pt x="4283" y="5074"/>
                    <a:pt x="1889" y="13964"/>
                    <a:pt x="1929" y="1710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FADDB54-C13A-48D2-BFA2-7AB334A1F8EF}"/>
                </a:ext>
              </a:extLst>
            </p:cNvPr>
            <p:cNvSpPr/>
            <p:nvPr/>
          </p:nvSpPr>
          <p:spPr>
            <a:xfrm>
              <a:off x="6615616" y="5069414"/>
              <a:ext cx="282558" cy="272805"/>
            </a:xfrm>
            <a:custGeom>
              <a:avLst/>
              <a:gdLst>
                <a:gd name="connsiteX0" fmla="*/ 280551 w 282558"/>
                <a:gd name="connsiteY0" fmla="*/ 74797 h 272805"/>
                <a:gd name="connsiteX1" fmla="*/ 282499 w 282558"/>
                <a:gd name="connsiteY1" fmla="*/ -339 h 272805"/>
                <a:gd name="connsiteX2" fmla="*/ 238500 w 282558"/>
                <a:gd name="connsiteY2" fmla="*/ 6647 h 272805"/>
                <a:gd name="connsiteX3" fmla="*/ 217150 w 282558"/>
                <a:gd name="connsiteY3" fmla="*/ 5677 h 272805"/>
                <a:gd name="connsiteX4" fmla="*/ 204973 w 282558"/>
                <a:gd name="connsiteY4" fmla="*/ 12696 h 272805"/>
                <a:gd name="connsiteX5" fmla="*/ 188047 w 282558"/>
                <a:gd name="connsiteY5" fmla="*/ 10691 h 272805"/>
                <a:gd name="connsiteX6" fmla="*/ 168077 w 282558"/>
                <a:gd name="connsiteY6" fmla="*/ 10958 h 272805"/>
                <a:gd name="connsiteX7" fmla="*/ 153586 w 282558"/>
                <a:gd name="connsiteY7" fmla="*/ 4541 h 272805"/>
                <a:gd name="connsiteX8" fmla="*/ 128665 w 282558"/>
                <a:gd name="connsiteY8" fmla="*/ 3639 h 272805"/>
                <a:gd name="connsiteX9" fmla="*/ 128665 w 282558"/>
                <a:gd name="connsiteY9" fmla="*/ 29743 h 272805"/>
                <a:gd name="connsiteX10" fmla="*/ 133495 w 282558"/>
                <a:gd name="connsiteY10" fmla="*/ 43881 h 272805"/>
                <a:gd name="connsiteX11" fmla="*/ 150705 w 282558"/>
                <a:gd name="connsiteY11" fmla="*/ 59890 h 272805"/>
                <a:gd name="connsiteX12" fmla="*/ 143033 w 282558"/>
                <a:gd name="connsiteY12" fmla="*/ 82619 h 272805"/>
                <a:gd name="connsiteX13" fmla="*/ 131100 w 282558"/>
                <a:gd name="connsiteY13" fmla="*/ 84557 h 272805"/>
                <a:gd name="connsiteX14" fmla="*/ 127041 w 282558"/>
                <a:gd name="connsiteY14" fmla="*/ 99932 h 272805"/>
                <a:gd name="connsiteX15" fmla="*/ 108897 w 282558"/>
                <a:gd name="connsiteY15" fmla="*/ 82585 h 272805"/>
                <a:gd name="connsiteX16" fmla="*/ 113322 w 282558"/>
                <a:gd name="connsiteY16" fmla="*/ 55846 h 272805"/>
                <a:gd name="connsiteX17" fmla="*/ 99480 w 282558"/>
                <a:gd name="connsiteY17" fmla="*/ 51468 h 272805"/>
                <a:gd name="connsiteX18" fmla="*/ 82717 w 282558"/>
                <a:gd name="connsiteY18" fmla="*/ 47591 h 272805"/>
                <a:gd name="connsiteX19" fmla="*/ 58363 w 282558"/>
                <a:gd name="connsiteY19" fmla="*/ 45084 h 272805"/>
                <a:gd name="connsiteX20" fmla="*/ -5 w 282558"/>
                <a:gd name="connsiteY20" fmla="*/ 57284 h 272805"/>
                <a:gd name="connsiteX21" fmla="*/ 6286 w 282558"/>
                <a:gd name="connsiteY21" fmla="*/ 73460 h 272805"/>
                <a:gd name="connsiteX22" fmla="*/ 56293 w 282558"/>
                <a:gd name="connsiteY22" fmla="*/ 86830 h 272805"/>
                <a:gd name="connsiteX23" fmla="*/ 68023 w 282558"/>
                <a:gd name="connsiteY23" fmla="*/ 106282 h 272805"/>
                <a:gd name="connsiteX24" fmla="*/ 64208 w 282558"/>
                <a:gd name="connsiteY24" fmla="*/ 122125 h 272805"/>
                <a:gd name="connsiteX25" fmla="*/ 58282 w 282558"/>
                <a:gd name="connsiteY25" fmla="*/ 131016 h 272805"/>
                <a:gd name="connsiteX26" fmla="*/ 56171 w 282558"/>
                <a:gd name="connsiteY26" fmla="*/ 153243 h 272805"/>
                <a:gd name="connsiteX27" fmla="*/ 28692 w 282558"/>
                <a:gd name="connsiteY27" fmla="*/ 179347 h 272805"/>
                <a:gd name="connsiteX28" fmla="*/ 13795 w 282558"/>
                <a:gd name="connsiteY28" fmla="*/ 188204 h 272805"/>
                <a:gd name="connsiteX29" fmla="*/ 17164 w 282558"/>
                <a:gd name="connsiteY29" fmla="*/ 199401 h 272805"/>
                <a:gd name="connsiteX30" fmla="*/ 28813 w 282558"/>
                <a:gd name="connsiteY30" fmla="*/ 223867 h 272805"/>
                <a:gd name="connsiteX31" fmla="*/ 26459 w 282558"/>
                <a:gd name="connsiteY31" fmla="*/ 271829 h 272805"/>
                <a:gd name="connsiteX32" fmla="*/ 46754 w 282558"/>
                <a:gd name="connsiteY32" fmla="*/ 267551 h 272805"/>
                <a:gd name="connsiteX33" fmla="*/ 38109 w 282558"/>
                <a:gd name="connsiteY33" fmla="*/ 256588 h 272805"/>
                <a:gd name="connsiteX34" fmla="*/ 100211 w 282558"/>
                <a:gd name="connsiteY34" fmla="*/ 236534 h 272805"/>
                <a:gd name="connsiteX35" fmla="*/ 118720 w 282558"/>
                <a:gd name="connsiteY35" fmla="*/ 207890 h 272805"/>
                <a:gd name="connsiteX36" fmla="*/ 112509 w 282558"/>
                <a:gd name="connsiteY36" fmla="*/ 168751 h 272805"/>
                <a:gd name="connsiteX37" fmla="*/ 107517 w 282558"/>
                <a:gd name="connsiteY37" fmla="*/ 151772 h 272805"/>
                <a:gd name="connsiteX38" fmla="*/ 117664 w 282558"/>
                <a:gd name="connsiteY38" fmla="*/ 148095 h 272805"/>
                <a:gd name="connsiteX39" fmla="*/ 126838 w 282558"/>
                <a:gd name="connsiteY39" fmla="*/ 140308 h 272805"/>
                <a:gd name="connsiteX40" fmla="*/ 154276 w 282558"/>
                <a:gd name="connsiteY40" fmla="*/ 131250 h 272805"/>
                <a:gd name="connsiteX41" fmla="*/ 180173 w 282558"/>
                <a:gd name="connsiteY41" fmla="*/ 116009 h 272805"/>
                <a:gd name="connsiteX42" fmla="*/ 245116 w 282558"/>
                <a:gd name="connsiteY42" fmla="*/ 101904 h 272805"/>
                <a:gd name="connsiteX43" fmla="*/ 280470 w 282558"/>
                <a:gd name="connsiteY43" fmla="*/ 75165 h 272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2558" h="272805">
                  <a:moveTo>
                    <a:pt x="280551" y="74797"/>
                  </a:moveTo>
                  <a:cubicBezTo>
                    <a:pt x="270566" y="51601"/>
                    <a:pt x="280836" y="22824"/>
                    <a:pt x="282499" y="-339"/>
                  </a:cubicBezTo>
                  <a:cubicBezTo>
                    <a:pt x="266548" y="2469"/>
                    <a:pt x="254493" y="6346"/>
                    <a:pt x="238500" y="6647"/>
                  </a:cubicBezTo>
                  <a:cubicBezTo>
                    <a:pt x="227784" y="6647"/>
                    <a:pt x="227866" y="8685"/>
                    <a:pt x="217150" y="5677"/>
                  </a:cubicBezTo>
                  <a:cubicBezTo>
                    <a:pt x="208382" y="3271"/>
                    <a:pt x="210574" y="11961"/>
                    <a:pt x="204973" y="12696"/>
                  </a:cubicBezTo>
                  <a:cubicBezTo>
                    <a:pt x="199372" y="13432"/>
                    <a:pt x="193730" y="10791"/>
                    <a:pt x="188047" y="10691"/>
                  </a:cubicBezTo>
                  <a:cubicBezTo>
                    <a:pt x="181431" y="10691"/>
                    <a:pt x="174734" y="11527"/>
                    <a:pt x="168077" y="10958"/>
                  </a:cubicBezTo>
                  <a:cubicBezTo>
                    <a:pt x="161420" y="10390"/>
                    <a:pt x="164343" y="3772"/>
                    <a:pt x="153586" y="4541"/>
                  </a:cubicBezTo>
                  <a:cubicBezTo>
                    <a:pt x="145266" y="5403"/>
                    <a:pt x="136863" y="5099"/>
                    <a:pt x="128665" y="3639"/>
                  </a:cubicBezTo>
                  <a:cubicBezTo>
                    <a:pt x="127082" y="13365"/>
                    <a:pt x="124606" y="19515"/>
                    <a:pt x="128665" y="29743"/>
                  </a:cubicBezTo>
                  <a:cubicBezTo>
                    <a:pt x="130694" y="34352"/>
                    <a:pt x="132317" y="39078"/>
                    <a:pt x="133495" y="43881"/>
                  </a:cubicBezTo>
                  <a:cubicBezTo>
                    <a:pt x="134712" y="50164"/>
                    <a:pt x="146686" y="53908"/>
                    <a:pt x="150705" y="59890"/>
                  </a:cubicBezTo>
                  <a:cubicBezTo>
                    <a:pt x="153140" y="63634"/>
                    <a:pt x="147538" y="81181"/>
                    <a:pt x="143033" y="82619"/>
                  </a:cubicBezTo>
                  <a:cubicBezTo>
                    <a:pt x="139218" y="83855"/>
                    <a:pt x="134915" y="82886"/>
                    <a:pt x="131100" y="84557"/>
                  </a:cubicBezTo>
                  <a:cubicBezTo>
                    <a:pt x="122697" y="88401"/>
                    <a:pt x="130532" y="95253"/>
                    <a:pt x="127041" y="99932"/>
                  </a:cubicBezTo>
                  <a:cubicBezTo>
                    <a:pt x="126351" y="100768"/>
                    <a:pt x="110155" y="84156"/>
                    <a:pt x="108897" y="82585"/>
                  </a:cubicBezTo>
                  <a:cubicBezTo>
                    <a:pt x="100779" y="72558"/>
                    <a:pt x="115473" y="65873"/>
                    <a:pt x="113322" y="55846"/>
                  </a:cubicBezTo>
                  <a:cubicBezTo>
                    <a:pt x="112307" y="51167"/>
                    <a:pt x="105204" y="50966"/>
                    <a:pt x="99480" y="51468"/>
                  </a:cubicBezTo>
                  <a:cubicBezTo>
                    <a:pt x="91362" y="52203"/>
                    <a:pt x="88886" y="51835"/>
                    <a:pt x="82717" y="47591"/>
                  </a:cubicBezTo>
                  <a:cubicBezTo>
                    <a:pt x="73584" y="41340"/>
                    <a:pt x="70540" y="43246"/>
                    <a:pt x="58363" y="45084"/>
                  </a:cubicBezTo>
                  <a:cubicBezTo>
                    <a:pt x="49108" y="46454"/>
                    <a:pt x="-1954" y="51468"/>
                    <a:pt x="-5" y="57284"/>
                  </a:cubicBezTo>
                  <a:cubicBezTo>
                    <a:pt x="969" y="60191"/>
                    <a:pt x="2268" y="72993"/>
                    <a:pt x="6286" y="73460"/>
                  </a:cubicBezTo>
                  <a:cubicBezTo>
                    <a:pt x="25404" y="75566"/>
                    <a:pt x="38758" y="82552"/>
                    <a:pt x="56293" y="86830"/>
                  </a:cubicBezTo>
                  <a:cubicBezTo>
                    <a:pt x="73828" y="91108"/>
                    <a:pt x="69890" y="95086"/>
                    <a:pt x="68023" y="106282"/>
                  </a:cubicBezTo>
                  <a:cubicBezTo>
                    <a:pt x="67212" y="111162"/>
                    <a:pt x="68713" y="118014"/>
                    <a:pt x="64208" y="122125"/>
                  </a:cubicBezTo>
                  <a:cubicBezTo>
                    <a:pt x="61488" y="124599"/>
                    <a:pt x="53654" y="127406"/>
                    <a:pt x="58282" y="131016"/>
                  </a:cubicBezTo>
                  <a:cubicBezTo>
                    <a:pt x="68186" y="138670"/>
                    <a:pt x="65994" y="147728"/>
                    <a:pt x="56171" y="153243"/>
                  </a:cubicBezTo>
                  <a:cubicBezTo>
                    <a:pt x="42655" y="160763"/>
                    <a:pt x="43994" y="171358"/>
                    <a:pt x="28692" y="179347"/>
                  </a:cubicBezTo>
                  <a:cubicBezTo>
                    <a:pt x="25769" y="180884"/>
                    <a:pt x="12456" y="186399"/>
                    <a:pt x="13795" y="188204"/>
                  </a:cubicBezTo>
                  <a:cubicBezTo>
                    <a:pt x="15622" y="191780"/>
                    <a:pt x="16758" y="195557"/>
                    <a:pt x="17164" y="199401"/>
                  </a:cubicBezTo>
                  <a:cubicBezTo>
                    <a:pt x="19437" y="208091"/>
                    <a:pt x="26216" y="215912"/>
                    <a:pt x="28813" y="223867"/>
                  </a:cubicBezTo>
                  <a:cubicBezTo>
                    <a:pt x="33603" y="238606"/>
                    <a:pt x="25120" y="256521"/>
                    <a:pt x="26459" y="271829"/>
                  </a:cubicBezTo>
                  <a:cubicBezTo>
                    <a:pt x="36323" y="271596"/>
                    <a:pt x="45009" y="275172"/>
                    <a:pt x="46754" y="267551"/>
                  </a:cubicBezTo>
                  <a:cubicBezTo>
                    <a:pt x="49393" y="256989"/>
                    <a:pt x="40666" y="262939"/>
                    <a:pt x="38109" y="256588"/>
                  </a:cubicBezTo>
                  <a:cubicBezTo>
                    <a:pt x="33400" y="245124"/>
                    <a:pt x="90631" y="238573"/>
                    <a:pt x="100211" y="236534"/>
                  </a:cubicBezTo>
                  <a:cubicBezTo>
                    <a:pt x="120506" y="231688"/>
                    <a:pt x="114661" y="219822"/>
                    <a:pt x="118720" y="207890"/>
                  </a:cubicBezTo>
                  <a:cubicBezTo>
                    <a:pt x="122738" y="194654"/>
                    <a:pt x="120506" y="180683"/>
                    <a:pt x="112509" y="168751"/>
                  </a:cubicBezTo>
                  <a:cubicBezTo>
                    <a:pt x="108816" y="163537"/>
                    <a:pt x="105244" y="157454"/>
                    <a:pt x="107517" y="151772"/>
                  </a:cubicBezTo>
                  <a:cubicBezTo>
                    <a:pt x="109181" y="147627"/>
                    <a:pt x="113078" y="149198"/>
                    <a:pt x="117664" y="148095"/>
                  </a:cubicBezTo>
                  <a:cubicBezTo>
                    <a:pt x="122251" y="146992"/>
                    <a:pt x="124727" y="142413"/>
                    <a:pt x="126838" y="140308"/>
                  </a:cubicBezTo>
                  <a:cubicBezTo>
                    <a:pt x="132764" y="134291"/>
                    <a:pt x="146037" y="135628"/>
                    <a:pt x="154276" y="131250"/>
                  </a:cubicBezTo>
                  <a:cubicBezTo>
                    <a:pt x="163531" y="126337"/>
                    <a:pt x="169498" y="120053"/>
                    <a:pt x="180173" y="116009"/>
                  </a:cubicBezTo>
                  <a:cubicBezTo>
                    <a:pt x="200468" y="108288"/>
                    <a:pt x="226039" y="111162"/>
                    <a:pt x="245116" y="101904"/>
                  </a:cubicBezTo>
                  <a:cubicBezTo>
                    <a:pt x="252950" y="98094"/>
                    <a:pt x="283961" y="83454"/>
                    <a:pt x="280470" y="7516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81BCC5C5-E0D7-4772-B067-57347B816A4E}"/>
                </a:ext>
              </a:extLst>
            </p:cNvPr>
            <p:cNvSpPr/>
            <p:nvPr/>
          </p:nvSpPr>
          <p:spPr>
            <a:xfrm>
              <a:off x="6613803" y="4883833"/>
              <a:ext cx="283067" cy="198493"/>
            </a:xfrm>
            <a:custGeom>
              <a:avLst/>
              <a:gdLst>
                <a:gd name="connsiteX0" fmla="*/ 267508 w 283067"/>
                <a:gd name="connsiteY0" fmla="*/ 167962 h 198493"/>
                <a:gd name="connsiteX1" fmla="*/ 261460 w 283067"/>
                <a:gd name="connsiteY1" fmla="*/ 155261 h 198493"/>
                <a:gd name="connsiteX2" fmla="*/ 261135 w 283067"/>
                <a:gd name="connsiteY2" fmla="*/ 137146 h 198493"/>
                <a:gd name="connsiteX3" fmla="*/ 265803 w 283067"/>
                <a:gd name="connsiteY3" fmla="*/ 123108 h 198493"/>
                <a:gd name="connsiteX4" fmla="*/ 257685 w 283067"/>
                <a:gd name="connsiteY4" fmla="*/ 113081 h 198493"/>
                <a:gd name="connsiteX5" fmla="*/ 256143 w 283067"/>
                <a:gd name="connsiteY5" fmla="*/ 99912 h 198493"/>
                <a:gd name="connsiteX6" fmla="*/ 261785 w 283067"/>
                <a:gd name="connsiteY6" fmla="*/ 78955 h 198493"/>
                <a:gd name="connsiteX7" fmla="*/ 226228 w 283067"/>
                <a:gd name="connsiteY7" fmla="*/ 55559 h 198493"/>
                <a:gd name="connsiteX8" fmla="*/ 220911 w 283067"/>
                <a:gd name="connsiteY8" fmla="*/ 44730 h 198493"/>
                <a:gd name="connsiteX9" fmla="*/ 186491 w 283067"/>
                <a:gd name="connsiteY9" fmla="*/ 29923 h 198493"/>
                <a:gd name="connsiteX10" fmla="*/ 127636 w 283067"/>
                <a:gd name="connsiteY10" fmla="*/ 5089 h 198493"/>
                <a:gd name="connsiteX11" fmla="*/ 120654 w 283067"/>
                <a:gd name="connsiteY11" fmla="*/ 16353 h 198493"/>
                <a:gd name="connsiteX12" fmla="*/ 110344 w 283067"/>
                <a:gd name="connsiteY12" fmla="*/ 21133 h 198493"/>
                <a:gd name="connsiteX13" fmla="*/ 108437 w 283067"/>
                <a:gd name="connsiteY13" fmla="*/ 30458 h 198493"/>
                <a:gd name="connsiteX14" fmla="*/ 89360 w 283067"/>
                <a:gd name="connsiteY14" fmla="*/ 26815 h 198493"/>
                <a:gd name="connsiteX15" fmla="*/ 65006 w 283067"/>
                <a:gd name="connsiteY15" fmla="*/ 25879 h 198493"/>
                <a:gd name="connsiteX16" fmla="*/ 70769 w 283067"/>
                <a:gd name="connsiteY16" fmla="*/ -91 h 198493"/>
                <a:gd name="connsiteX17" fmla="*/ 34036 w 283067"/>
                <a:gd name="connsiteY17" fmla="*/ 711 h 198493"/>
                <a:gd name="connsiteX18" fmla="*/ 40165 w 283067"/>
                <a:gd name="connsiteY18" fmla="*/ 12643 h 198493"/>
                <a:gd name="connsiteX19" fmla="*/ 37040 w 283067"/>
                <a:gd name="connsiteY19" fmla="*/ 22002 h 198493"/>
                <a:gd name="connsiteX20" fmla="*/ 29855 w 283067"/>
                <a:gd name="connsiteY20" fmla="*/ 31561 h 198493"/>
                <a:gd name="connsiteX21" fmla="*/ 33386 w 283067"/>
                <a:gd name="connsiteY21" fmla="*/ 37811 h 198493"/>
                <a:gd name="connsiteX22" fmla="*/ 14349 w 283067"/>
                <a:gd name="connsiteY22" fmla="*/ 52450 h 198493"/>
                <a:gd name="connsiteX23" fmla="*/ -60 w 283067"/>
                <a:gd name="connsiteY23" fmla="*/ 56729 h 198493"/>
                <a:gd name="connsiteX24" fmla="*/ 3715 w 283067"/>
                <a:gd name="connsiteY24" fmla="*/ 71803 h 198493"/>
                <a:gd name="connsiteX25" fmla="*/ 21534 w 283067"/>
                <a:gd name="connsiteY25" fmla="*/ 97706 h 198493"/>
                <a:gd name="connsiteX26" fmla="*/ 28475 w 283067"/>
                <a:gd name="connsiteY26" fmla="*/ 116791 h 198493"/>
                <a:gd name="connsiteX27" fmla="*/ 16988 w 283067"/>
                <a:gd name="connsiteY27" fmla="*/ 119264 h 198493"/>
                <a:gd name="connsiteX28" fmla="*/ 47755 w 283067"/>
                <a:gd name="connsiteY28" fmla="*/ 135308 h 198493"/>
                <a:gd name="connsiteX29" fmla="*/ 89360 w 283067"/>
                <a:gd name="connsiteY29" fmla="*/ 149513 h 198493"/>
                <a:gd name="connsiteX30" fmla="*/ 123414 w 283067"/>
                <a:gd name="connsiteY30" fmla="*/ 160008 h 198493"/>
                <a:gd name="connsiteX31" fmla="*/ 129990 w 283067"/>
                <a:gd name="connsiteY31" fmla="*/ 178290 h 198493"/>
                <a:gd name="connsiteX32" fmla="*/ 141599 w 283067"/>
                <a:gd name="connsiteY32" fmla="*/ 190891 h 198493"/>
                <a:gd name="connsiteX33" fmla="*/ 161569 w 283067"/>
                <a:gd name="connsiteY33" fmla="*/ 190691 h 198493"/>
                <a:gd name="connsiteX34" fmla="*/ 179509 w 283067"/>
                <a:gd name="connsiteY34" fmla="*/ 196439 h 198493"/>
                <a:gd name="connsiteX35" fmla="*/ 202036 w 283067"/>
                <a:gd name="connsiteY35" fmla="*/ 198077 h 198493"/>
                <a:gd name="connsiteX36" fmla="*/ 218679 w 283067"/>
                <a:gd name="connsiteY36" fmla="*/ 191158 h 198493"/>
                <a:gd name="connsiteX37" fmla="*/ 267955 w 283067"/>
                <a:gd name="connsiteY37" fmla="*/ 188184 h 198493"/>
                <a:gd name="connsiteX38" fmla="*/ 267224 w 283067"/>
                <a:gd name="connsiteY38" fmla="*/ 167862 h 198493"/>
                <a:gd name="connsiteX39" fmla="*/ 267508 w 283067"/>
                <a:gd name="connsiteY39" fmla="*/ 167962 h 19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3067" h="198493">
                  <a:moveTo>
                    <a:pt x="267508" y="167962"/>
                  </a:moveTo>
                  <a:cubicBezTo>
                    <a:pt x="267833" y="162916"/>
                    <a:pt x="264829" y="159673"/>
                    <a:pt x="261460" y="155261"/>
                  </a:cubicBezTo>
                  <a:cubicBezTo>
                    <a:pt x="256914" y="149312"/>
                    <a:pt x="263774" y="143196"/>
                    <a:pt x="261135" y="137146"/>
                  </a:cubicBezTo>
                  <a:cubicBezTo>
                    <a:pt x="258497" y="131096"/>
                    <a:pt x="257726" y="129091"/>
                    <a:pt x="265803" y="123108"/>
                  </a:cubicBezTo>
                  <a:cubicBezTo>
                    <a:pt x="271161" y="119198"/>
                    <a:pt x="261744" y="115721"/>
                    <a:pt x="257685" y="113081"/>
                  </a:cubicBezTo>
                  <a:cubicBezTo>
                    <a:pt x="251394" y="108602"/>
                    <a:pt x="253221" y="104658"/>
                    <a:pt x="256143" y="99912"/>
                  </a:cubicBezTo>
                  <a:cubicBezTo>
                    <a:pt x="260932" y="92124"/>
                    <a:pt x="273394" y="85473"/>
                    <a:pt x="261785" y="78955"/>
                  </a:cubicBezTo>
                  <a:cubicBezTo>
                    <a:pt x="253667" y="74443"/>
                    <a:pt x="224321" y="62778"/>
                    <a:pt x="226228" y="55559"/>
                  </a:cubicBezTo>
                  <a:cubicBezTo>
                    <a:pt x="228136" y="48339"/>
                    <a:pt x="229922" y="48640"/>
                    <a:pt x="220911" y="44730"/>
                  </a:cubicBezTo>
                  <a:cubicBezTo>
                    <a:pt x="209465" y="39740"/>
                    <a:pt x="197978" y="34803"/>
                    <a:pt x="186491" y="29923"/>
                  </a:cubicBezTo>
                  <a:cubicBezTo>
                    <a:pt x="166967" y="21567"/>
                    <a:pt x="147322" y="13288"/>
                    <a:pt x="127636" y="5089"/>
                  </a:cubicBezTo>
                  <a:cubicBezTo>
                    <a:pt x="126905" y="9381"/>
                    <a:pt x="124429" y="13345"/>
                    <a:pt x="120654" y="16353"/>
                  </a:cubicBezTo>
                  <a:cubicBezTo>
                    <a:pt x="118584" y="17924"/>
                    <a:pt x="111278" y="19361"/>
                    <a:pt x="110344" y="21133"/>
                  </a:cubicBezTo>
                  <a:cubicBezTo>
                    <a:pt x="108477" y="24475"/>
                    <a:pt x="123820" y="32463"/>
                    <a:pt x="108437" y="30458"/>
                  </a:cubicBezTo>
                  <a:cubicBezTo>
                    <a:pt x="101943" y="29622"/>
                    <a:pt x="95732" y="27951"/>
                    <a:pt x="89360" y="26815"/>
                  </a:cubicBezTo>
                  <a:cubicBezTo>
                    <a:pt x="82987" y="25678"/>
                    <a:pt x="70445" y="27483"/>
                    <a:pt x="65006" y="25879"/>
                  </a:cubicBezTo>
                  <a:cubicBezTo>
                    <a:pt x="54615" y="22737"/>
                    <a:pt x="68172" y="3485"/>
                    <a:pt x="70769" y="-91"/>
                  </a:cubicBezTo>
                  <a:cubicBezTo>
                    <a:pt x="58511" y="-596"/>
                    <a:pt x="46253" y="-329"/>
                    <a:pt x="34036" y="711"/>
                  </a:cubicBezTo>
                  <a:cubicBezTo>
                    <a:pt x="36025" y="4688"/>
                    <a:pt x="38419" y="8666"/>
                    <a:pt x="40165" y="12643"/>
                  </a:cubicBezTo>
                  <a:cubicBezTo>
                    <a:pt x="41464" y="15718"/>
                    <a:pt x="43736" y="20765"/>
                    <a:pt x="37040" y="22002"/>
                  </a:cubicBezTo>
                  <a:cubicBezTo>
                    <a:pt x="28150" y="23639"/>
                    <a:pt x="28313" y="25344"/>
                    <a:pt x="29855" y="31561"/>
                  </a:cubicBezTo>
                  <a:cubicBezTo>
                    <a:pt x="31072" y="36508"/>
                    <a:pt x="39759" y="31895"/>
                    <a:pt x="33386" y="37811"/>
                  </a:cubicBezTo>
                  <a:cubicBezTo>
                    <a:pt x="28028" y="42824"/>
                    <a:pt x="22346" y="48908"/>
                    <a:pt x="14349" y="52450"/>
                  </a:cubicBezTo>
                  <a:cubicBezTo>
                    <a:pt x="9641" y="54085"/>
                    <a:pt x="4852" y="55512"/>
                    <a:pt x="-60" y="56729"/>
                  </a:cubicBezTo>
                  <a:cubicBezTo>
                    <a:pt x="1077" y="61776"/>
                    <a:pt x="2254" y="66756"/>
                    <a:pt x="3715" y="71803"/>
                  </a:cubicBezTo>
                  <a:cubicBezTo>
                    <a:pt x="6922" y="82599"/>
                    <a:pt x="15324" y="88114"/>
                    <a:pt x="21534" y="97706"/>
                  </a:cubicBezTo>
                  <a:cubicBezTo>
                    <a:pt x="25593" y="103923"/>
                    <a:pt x="23361" y="110808"/>
                    <a:pt x="28475" y="116791"/>
                  </a:cubicBezTo>
                  <a:cubicBezTo>
                    <a:pt x="38623" y="128590"/>
                    <a:pt x="26283" y="130461"/>
                    <a:pt x="16988" y="119264"/>
                  </a:cubicBezTo>
                  <a:cubicBezTo>
                    <a:pt x="11265" y="127587"/>
                    <a:pt x="37567" y="131263"/>
                    <a:pt x="47755" y="135308"/>
                  </a:cubicBezTo>
                  <a:cubicBezTo>
                    <a:pt x="61068" y="140622"/>
                    <a:pt x="77061" y="142928"/>
                    <a:pt x="89360" y="149513"/>
                  </a:cubicBezTo>
                  <a:cubicBezTo>
                    <a:pt x="100968" y="155796"/>
                    <a:pt x="116555" y="149312"/>
                    <a:pt x="123414" y="160008"/>
                  </a:cubicBezTo>
                  <a:cubicBezTo>
                    <a:pt x="126865" y="165743"/>
                    <a:pt x="129097" y="171930"/>
                    <a:pt x="129990" y="178290"/>
                  </a:cubicBezTo>
                  <a:cubicBezTo>
                    <a:pt x="131370" y="186780"/>
                    <a:pt x="127027" y="188819"/>
                    <a:pt x="141599" y="190891"/>
                  </a:cubicBezTo>
                  <a:cubicBezTo>
                    <a:pt x="148539" y="191860"/>
                    <a:pt x="154790" y="188652"/>
                    <a:pt x="161569" y="190691"/>
                  </a:cubicBezTo>
                  <a:cubicBezTo>
                    <a:pt x="170904" y="193532"/>
                    <a:pt x="166074" y="196941"/>
                    <a:pt x="179509" y="196439"/>
                  </a:cubicBezTo>
                  <a:cubicBezTo>
                    <a:pt x="187059" y="196379"/>
                    <a:pt x="194609" y="196927"/>
                    <a:pt x="202036" y="198077"/>
                  </a:cubicBezTo>
                  <a:cubicBezTo>
                    <a:pt x="211778" y="199147"/>
                    <a:pt x="209789" y="188719"/>
                    <a:pt x="218679" y="191158"/>
                  </a:cubicBezTo>
                  <a:cubicBezTo>
                    <a:pt x="236132" y="196072"/>
                    <a:pt x="251151" y="191626"/>
                    <a:pt x="267955" y="188184"/>
                  </a:cubicBezTo>
                  <a:cubicBezTo>
                    <a:pt x="302659" y="181065"/>
                    <a:pt x="266372" y="180597"/>
                    <a:pt x="267224" y="167862"/>
                  </a:cubicBezTo>
                  <a:cubicBezTo>
                    <a:pt x="268198" y="157635"/>
                    <a:pt x="266818" y="178090"/>
                    <a:pt x="267508" y="16796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BD062D8E-0FEA-47C7-B855-88583D666C41}"/>
                </a:ext>
              </a:extLst>
            </p:cNvPr>
            <p:cNvSpPr/>
            <p:nvPr/>
          </p:nvSpPr>
          <p:spPr>
            <a:xfrm>
              <a:off x="6685081" y="5036760"/>
              <a:ext cx="81238" cy="132825"/>
            </a:xfrm>
            <a:custGeom>
              <a:avLst/>
              <a:gdLst>
                <a:gd name="connsiteX0" fmla="*/ 79251 w 81238"/>
                <a:gd name="connsiteY0" fmla="*/ 90139 h 132825"/>
                <a:gd name="connsiteX1" fmla="*/ 64313 w 81238"/>
                <a:gd name="connsiteY1" fmla="*/ 78909 h 132825"/>
                <a:gd name="connsiteX2" fmla="*/ 50391 w 81238"/>
                <a:gd name="connsiteY2" fmla="*/ 77371 h 132825"/>
                <a:gd name="connsiteX3" fmla="*/ 37159 w 81238"/>
                <a:gd name="connsiteY3" fmla="*/ 53406 h 132825"/>
                <a:gd name="connsiteX4" fmla="*/ 45277 w 81238"/>
                <a:gd name="connsiteY4" fmla="*/ 27804 h 132825"/>
                <a:gd name="connsiteX5" fmla="*/ 39757 w 81238"/>
                <a:gd name="connsiteY5" fmla="*/ 1065 h 132825"/>
                <a:gd name="connsiteX6" fmla="*/ 21532 w 81238"/>
                <a:gd name="connsiteY6" fmla="*/ -339 h 132825"/>
                <a:gd name="connsiteX7" fmla="*/ 30380 w 81238"/>
                <a:gd name="connsiteY7" fmla="*/ 17075 h 132825"/>
                <a:gd name="connsiteX8" fmla="*/ 19299 w 81238"/>
                <a:gd name="connsiteY8" fmla="*/ 21487 h 132825"/>
                <a:gd name="connsiteX9" fmla="*/ 16053 w 81238"/>
                <a:gd name="connsiteY9" fmla="*/ 37396 h 132825"/>
                <a:gd name="connsiteX10" fmla="*/ 19503 w 81238"/>
                <a:gd name="connsiteY10" fmla="*/ 49061 h 132825"/>
                <a:gd name="connsiteX11" fmla="*/ 7082 w 81238"/>
                <a:gd name="connsiteY11" fmla="*/ 51234 h 132825"/>
                <a:gd name="connsiteX12" fmla="*/ 1197 w 81238"/>
                <a:gd name="connsiteY12" fmla="*/ 67444 h 132825"/>
                <a:gd name="connsiteX13" fmla="*/ 9802 w 81238"/>
                <a:gd name="connsiteY13" fmla="*/ 77772 h 132825"/>
                <a:gd name="connsiteX14" fmla="*/ 29812 w 81238"/>
                <a:gd name="connsiteY14" fmla="*/ 83922 h 132825"/>
                <a:gd name="connsiteX15" fmla="*/ 35535 w 81238"/>
                <a:gd name="connsiteY15" fmla="*/ 109959 h 132825"/>
                <a:gd name="connsiteX16" fmla="*/ 57373 w 81238"/>
                <a:gd name="connsiteY16" fmla="*/ 132487 h 132825"/>
                <a:gd name="connsiteX17" fmla="*/ 58428 w 81238"/>
                <a:gd name="connsiteY17" fmla="*/ 119786 h 132825"/>
                <a:gd name="connsiteX18" fmla="*/ 73527 w 81238"/>
                <a:gd name="connsiteY18" fmla="*/ 115173 h 132825"/>
                <a:gd name="connsiteX19" fmla="*/ 79210 w 81238"/>
                <a:gd name="connsiteY19" fmla="*/ 90206 h 1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238" h="132825">
                  <a:moveTo>
                    <a:pt x="79251" y="90139"/>
                  </a:moveTo>
                  <a:cubicBezTo>
                    <a:pt x="74664" y="86058"/>
                    <a:pt x="69671" y="82301"/>
                    <a:pt x="64313" y="78909"/>
                  </a:cubicBezTo>
                  <a:cubicBezTo>
                    <a:pt x="64313" y="86630"/>
                    <a:pt x="53354" y="80179"/>
                    <a:pt x="50391" y="77371"/>
                  </a:cubicBezTo>
                  <a:cubicBezTo>
                    <a:pt x="43044" y="70713"/>
                    <a:pt x="38417" y="62334"/>
                    <a:pt x="37159" y="53406"/>
                  </a:cubicBezTo>
                  <a:cubicBezTo>
                    <a:pt x="36469" y="44282"/>
                    <a:pt x="47185" y="36895"/>
                    <a:pt x="45277" y="27804"/>
                  </a:cubicBezTo>
                  <a:cubicBezTo>
                    <a:pt x="44140" y="22055"/>
                    <a:pt x="29609" y="5711"/>
                    <a:pt x="39757" y="1065"/>
                  </a:cubicBezTo>
                  <a:cubicBezTo>
                    <a:pt x="33709" y="280"/>
                    <a:pt x="27621" y="-192"/>
                    <a:pt x="21532" y="-339"/>
                  </a:cubicBezTo>
                  <a:cubicBezTo>
                    <a:pt x="25347" y="4474"/>
                    <a:pt x="30989" y="11660"/>
                    <a:pt x="30380" y="17075"/>
                  </a:cubicBezTo>
                  <a:cubicBezTo>
                    <a:pt x="30096" y="19247"/>
                    <a:pt x="21126" y="17576"/>
                    <a:pt x="19299" y="21487"/>
                  </a:cubicBezTo>
                  <a:cubicBezTo>
                    <a:pt x="17148" y="26604"/>
                    <a:pt x="16053" y="31982"/>
                    <a:pt x="16053" y="37396"/>
                  </a:cubicBezTo>
                  <a:cubicBezTo>
                    <a:pt x="16053" y="39669"/>
                    <a:pt x="20112" y="47691"/>
                    <a:pt x="19503" y="49061"/>
                  </a:cubicBezTo>
                  <a:cubicBezTo>
                    <a:pt x="18285" y="51334"/>
                    <a:pt x="7326" y="47658"/>
                    <a:pt x="7082" y="51234"/>
                  </a:cubicBezTo>
                  <a:cubicBezTo>
                    <a:pt x="6757" y="54209"/>
                    <a:pt x="6270" y="66241"/>
                    <a:pt x="1197" y="67444"/>
                  </a:cubicBezTo>
                  <a:cubicBezTo>
                    <a:pt x="-3877" y="68648"/>
                    <a:pt x="7935" y="76502"/>
                    <a:pt x="9802" y="77772"/>
                  </a:cubicBezTo>
                  <a:cubicBezTo>
                    <a:pt x="16986" y="82786"/>
                    <a:pt x="19624" y="84825"/>
                    <a:pt x="29812" y="83922"/>
                  </a:cubicBezTo>
                  <a:cubicBezTo>
                    <a:pt x="58225" y="81449"/>
                    <a:pt x="32856" y="103040"/>
                    <a:pt x="35535" y="109959"/>
                  </a:cubicBezTo>
                  <a:cubicBezTo>
                    <a:pt x="36875" y="113301"/>
                    <a:pt x="57251" y="132620"/>
                    <a:pt x="57373" y="132487"/>
                  </a:cubicBezTo>
                  <a:cubicBezTo>
                    <a:pt x="60133" y="128944"/>
                    <a:pt x="56074" y="123730"/>
                    <a:pt x="58428" y="119786"/>
                  </a:cubicBezTo>
                  <a:cubicBezTo>
                    <a:pt x="61432" y="114872"/>
                    <a:pt x="67926" y="116978"/>
                    <a:pt x="73527" y="115173"/>
                  </a:cubicBezTo>
                  <a:cubicBezTo>
                    <a:pt x="79738" y="113201"/>
                    <a:pt x="83797" y="94584"/>
                    <a:pt x="79210" y="9020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9185A801-B902-4EF8-B6A7-45F11586260A}"/>
                </a:ext>
              </a:extLst>
            </p:cNvPr>
            <p:cNvSpPr/>
            <p:nvPr/>
          </p:nvSpPr>
          <p:spPr>
            <a:xfrm>
              <a:off x="9883775" y="6269561"/>
              <a:ext cx="38768" cy="67843"/>
            </a:xfrm>
            <a:custGeom>
              <a:avLst/>
              <a:gdLst>
                <a:gd name="connsiteX0" fmla="*/ 163 w 38768"/>
                <a:gd name="connsiteY0" fmla="*/ -11 h 67843"/>
                <a:gd name="connsiteX1" fmla="*/ 36978 w 38768"/>
                <a:gd name="connsiteY1" fmla="*/ 67472 h 67843"/>
                <a:gd name="connsiteX2" fmla="*/ 163 w 38768"/>
                <a:gd name="connsiteY2" fmla="*/ -11 h 6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768" h="67843">
                  <a:moveTo>
                    <a:pt x="163" y="-11"/>
                  </a:moveTo>
                  <a:cubicBezTo>
                    <a:pt x="3735" y="-5893"/>
                    <a:pt x="47897" y="69310"/>
                    <a:pt x="36978" y="67472"/>
                  </a:cubicBezTo>
                  <a:cubicBezTo>
                    <a:pt x="26059" y="65633"/>
                    <a:pt x="-2881" y="5605"/>
                    <a:pt x="163" y="-1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CCBD5567-2383-4586-AD4C-B26E622722DD}"/>
                </a:ext>
              </a:extLst>
            </p:cNvPr>
            <p:cNvSpPr/>
            <p:nvPr/>
          </p:nvSpPr>
          <p:spPr>
            <a:xfrm>
              <a:off x="7898997" y="4300594"/>
              <a:ext cx="226718" cy="109865"/>
            </a:xfrm>
            <a:custGeom>
              <a:avLst/>
              <a:gdLst>
                <a:gd name="connsiteX0" fmla="*/ 183487 w 226718"/>
                <a:gd name="connsiteY0" fmla="*/ 91955 h 109865"/>
                <a:gd name="connsiteX1" fmla="*/ 204147 w 226718"/>
                <a:gd name="connsiteY1" fmla="*/ 102283 h 109865"/>
                <a:gd name="connsiteX2" fmla="*/ 224442 w 226718"/>
                <a:gd name="connsiteY2" fmla="*/ 108432 h 109865"/>
                <a:gd name="connsiteX3" fmla="*/ 219166 w 226718"/>
                <a:gd name="connsiteY3" fmla="*/ 78686 h 109865"/>
                <a:gd name="connsiteX4" fmla="*/ 198871 w 226718"/>
                <a:gd name="connsiteY4" fmla="*/ 60637 h 109865"/>
                <a:gd name="connsiteX5" fmla="*/ 169484 w 226718"/>
                <a:gd name="connsiteY5" fmla="*/ 48069 h 109865"/>
                <a:gd name="connsiteX6" fmla="*/ 148336 w 226718"/>
                <a:gd name="connsiteY6" fmla="*/ 42922 h 109865"/>
                <a:gd name="connsiteX7" fmla="*/ 124429 w 226718"/>
                <a:gd name="connsiteY7" fmla="*/ 33965 h 109865"/>
                <a:gd name="connsiteX8" fmla="*/ 96016 w 226718"/>
                <a:gd name="connsiteY8" fmla="*/ 26812 h 109865"/>
                <a:gd name="connsiteX9" fmla="*/ 63260 w 226718"/>
                <a:gd name="connsiteY9" fmla="*/ 20127 h 109865"/>
                <a:gd name="connsiteX10" fmla="*/ 76817 w 226718"/>
                <a:gd name="connsiteY10" fmla="*/ 13443 h 109865"/>
                <a:gd name="connsiteX11" fmla="*/ 104621 w 226718"/>
                <a:gd name="connsiteY11" fmla="*/ 11771 h 109865"/>
                <a:gd name="connsiteX12" fmla="*/ 103241 w 226718"/>
                <a:gd name="connsiteY12" fmla="*/ 2246 h 109865"/>
                <a:gd name="connsiteX13" fmla="*/ 84570 w 226718"/>
                <a:gd name="connsiteY13" fmla="*/ 2814 h 109865"/>
                <a:gd name="connsiteX14" fmla="*/ 68334 w 226718"/>
                <a:gd name="connsiteY14" fmla="*/ -328 h 109865"/>
                <a:gd name="connsiteX15" fmla="*/ 47593 w 226718"/>
                <a:gd name="connsiteY15" fmla="*/ 6557 h 109865"/>
                <a:gd name="connsiteX16" fmla="*/ 34644 w 226718"/>
                <a:gd name="connsiteY16" fmla="*/ 13744 h 109865"/>
                <a:gd name="connsiteX17" fmla="*/ 6232 w 226718"/>
                <a:gd name="connsiteY17" fmla="*/ 12273 h 109865"/>
                <a:gd name="connsiteX18" fmla="*/ 16745 w 226718"/>
                <a:gd name="connsiteY18" fmla="*/ 25642 h 109865"/>
                <a:gd name="connsiteX19" fmla="*/ 21331 w 226718"/>
                <a:gd name="connsiteY19" fmla="*/ 41117 h 109865"/>
                <a:gd name="connsiteX20" fmla="*/ 3999 w 226718"/>
                <a:gd name="connsiteY20" fmla="*/ 52749 h 109865"/>
                <a:gd name="connsiteX21" fmla="*/ -60 w 226718"/>
                <a:gd name="connsiteY21" fmla="*/ 60537 h 109865"/>
                <a:gd name="connsiteX22" fmla="*/ 14106 w 226718"/>
                <a:gd name="connsiteY22" fmla="*/ 64280 h 109865"/>
                <a:gd name="connsiteX23" fmla="*/ 42235 w 226718"/>
                <a:gd name="connsiteY23" fmla="*/ 67288 h 109865"/>
                <a:gd name="connsiteX24" fmla="*/ 55548 w 226718"/>
                <a:gd name="connsiteY24" fmla="*/ 64781 h 109865"/>
                <a:gd name="connsiteX25" fmla="*/ 77223 w 226718"/>
                <a:gd name="connsiteY25" fmla="*/ 65684 h 109865"/>
                <a:gd name="connsiteX26" fmla="*/ 94271 w 226718"/>
                <a:gd name="connsiteY26" fmla="*/ 56793 h 109865"/>
                <a:gd name="connsiteX27" fmla="*/ 114809 w 226718"/>
                <a:gd name="connsiteY27" fmla="*/ 61940 h 109865"/>
                <a:gd name="connsiteX28" fmla="*/ 121953 w 226718"/>
                <a:gd name="connsiteY28" fmla="*/ 74875 h 109865"/>
                <a:gd name="connsiteX29" fmla="*/ 112861 w 226718"/>
                <a:gd name="connsiteY29" fmla="*/ 89949 h 109865"/>
                <a:gd name="connsiteX30" fmla="*/ 182756 w 226718"/>
                <a:gd name="connsiteY30" fmla="*/ 92122 h 109865"/>
                <a:gd name="connsiteX31" fmla="*/ 183487 w 226718"/>
                <a:gd name="connsiteY31" fmla="*/ 91955 h 10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6718" h="109865">
                  <a:moveTo>
                    <a:pt x="183487" y="91955"/>
                  </a:moveTo>
                  <a:cubicBezTo>
                    <a:pt x="189779" y="96153"/>
                    <a:pt x="196719" y="99625"/>
                    <a:pt x="204147" y="102283"/>
                  </a:cubicBezTo>
                  <a:cubicBezTo>
                    <a:pt x="206217" y="103118"/>
                    <a:pt x="224199" y="112711"/>
                    <a:pt x="224442" y="108432"/>
                  </a:cubicBezTo>
                  <a:cubicBezTo>
                    <a:pt x="224889" y="99843"/>
                    <a:pt x="231627" y="86741"/>
                    <a:pt x="219166" y="78686"/>
                  </a:cubicBezTo>
                  <a:cubicBezTo>
                    <a:pt x="205608" y="69929"/>
                    <a:pt x="198871" y="71098"/>
                    <a:pt x="198871" y="60637"/>
                  </a:cubicBezTo>
                  <a:cubicBezTo>
                    <a:pt x="198871" y="49005"/>
                    <a:pt x="189007" y="51880"/>
                    <a:pt x="169484" y="48069"/>
                  </a:cubicBezTo>
                  <a:cubicBezTo>
                    <a:pt x="162178" y="46666"/>
                    <a:pt x="155643" y="44226"/>
                    <a:pt x="148336" y="42922"/>
                  </a:cubicBezTo>
                  <a:cubicBezTo>
                    <a:pt x="138351" y="41151"/>
                    <a:pt x="133359" y="34433"/>
                    <a:pt x="124429" y="33965"/>
                  </a:cubicBezTo>
                  <a:cubicBezTo>
                    <a:pt x="111765" y="33296"/>
                    <a:pt x="107544" y="29720"/>
                    <a:pt x="96016" y="26812"/>
                  </a:cubicBezTo>
                  <a:cubicBezTo>
                    <a:pt x="86396" y="24339"/>
                    <a:pt x="71662" y="24105"/>
                    <a:pt x="63260" y="20127"/>
                  </a:cubicBezTo>
                  <a:cubicBezTo>
                    <a:pt x="56482" y="17052"/>
                    <a:pt x="74544" y="13443"/>
                    <a:pt x="76817" y="13443"/>
                  </a:cubicBezTo>
                  <a:cubicBezTo>
                    <a:pt x="90577" y="12072"/>
                    <a:pt x="93946" y="18155"/>
                    <a:pt x="104621" y="11771"/>
                  </a:cubicBezTo>
                  <a:cubicBezTo>
                    <a:pt x="109167" y="9031"/>
                    <a:pt x="117773" y="3315"/>
                    <a:pt x="103241" y="2246"/>
                  </a:cubicBezTo>
                  <a:cubicBezTo>
                    <a:pt x="96706" y="1778"/>
                    <a:pt x="91064" y="3716"/>
                    <a:pt x="84570" y="2814"/>
                  </a:cubicBezTo>
                  <a:cubicBezTo>
                    <a:pt x="79415" y="2112"/>
                    <a:pt x="73651" y="-528"/>
                    <a:pt x="68334" y="-328"/>
                  </a:cubicBezTo>
                  <a:cubicBezTo>
                    <a:pt x="59161" y="-94"/>
                    <a:pt x="60784" y="9265"/>
                    <a:pt x="47593" y="6557"/>
                  </a:cubicBezTo>
                  <a:cubicBezTo>
                    <a:pt x="39475" y="4920"/>
                    <a:pt x="42073" y="13543"/>
                    <a:pt x="34644" y="13744"/>
                  </a:cubicBezTo>
                  <a:cubicBezTo>
                    <a:pt x="25715" y="14011"/>
                    <a:pt x="14634" y="10401"/>
                    <a:pt x="6232" y="12273"/>
                  </a:cubicBezTo>
                  <a:cubicBezTo>
                    <a:pt x="-3672" y="14312"/>
                    <a:pt x="13579" y="22768"/>
                    <a:pt x="16745" y="25642"/>
                  </a:cubicBezTo>
                  <a:cubicBezTo>
                    <a:pt x="21088" y="29352"/>
                    <a:pt x="19951" y="36873"/>
                    <a:pt x="21331" y="41117"/>
                  </a:cubicBezTo>
                  <a:cubicBezTo>
                    <a:pt x="23117" y="46566"/>
                    <a:pt x="7815" y="48437"/>
                    <a:pt x="3999" y="52749"/>
                  </a:cubicBezTo>
                  <a:cubicBezTo>
                    <a:pt x="1970" y="55062"/>
                    <a:pt x="549" y="57722"/>
                    <a:pt x="-60" y="60537"/>
                  </a:cubicBezTo>
                  <a:cubicBezTo>
                    <a:pt x="3107" y="62475"/>
                    <a:pt x="9844" y="67221"/>
                    <a:pt x="14106" y="64280"/>
                  </a:cubicBezTo>
                  <a:cubicBezTo>
                    <a:pt x="19626" y="60670"/>
                    <a:pt x="34888" y="66419"/>
                    <a:pt x="42235" y="67288"/>
                  </a:cubicBezTo>
                  <a:cubicBezTo>
                    <a:pt x="47593" y="67890"/>
                    <a:pt x="49054" y="64414"/>
                    <a:pt x="55548" y="64781"/>
                  </a:cubicBezTo>
                  <a:cubicBezTo>
                    <a:pt x="62042" y="65149"/>
                    <a:pt x="71784" y="67355"/>
                    <a:pt x="77223" y="65684"/>
                  </a:cubicBezTo>
                  <a:cubicBezTo>
                    <a:pt x="83718" y="63578"/>
                    <a:pt x="86031" y="58698"/>
                    <a:pt x="94271" y="56793"/>
                  </a:cubicBezTo>
                  <a:cubicBezTo>
                    <a:pt x="101861" y="55022"/>
                    <a:pt x="117123" y="54320"/>
                    <a:pt x="114809" y="61940"/>
                  </a:cubicBezTo>
                  <a:cubicBezTo>
                    <a:pt x="112820" y="68458"/>
                    <a:pt x="117894" y="68993"/>
                    <a:pt x="121953" y="74875"/>
                  </a:cubicBezTo>
                  <a:cubicBezTo>
                    <a:pt x="126012" y="80758"/>
                    <a:pt x="113186" y="84702"/>
                    <a:pt x="112861" y="89949"/>
                  </a:cubicBezTo>
                  <a:cubicBezTo>
                    <a:pt x="111806" y="104756"/>
                    <a:pt x="176425" y="88211"/>
                    <a:pt x="182756" y="92122"/>
                  </a:cubicBezTo>
                  <a:cubicBezTo>
                    <a:pt x="189089" y="96032"/>
                    <a:pt x="178657" y="89013"/>
                    <a:pt x="183487" y="9195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3A55E7C6-5FC9-42E1-BF0C-7C1D4F195E2A}"/>
                </a:ext>
              </a:extLst>
            </p:cNvPr>
            <p:cNvSpPr/>
            <p:nvPr/>
          </p:nvSpPr>
          <p:spPr>
            <a:xfrm>
              <a:off x="3446904" y="4834800"/>
              <a:ext cx="31155" cy="19424"/>
            </a:xfrm>
            <a:custGeom>
              <a:avLst/>
              <a:gdLst>
                <a:gd name="connsiteX0" fmla="*/ 30672 w 31155"/>
                <a:gd name="connsiteY0" fmla="*/ 18493 h 19424"/>
                <a:gd name="connsiteX1" fmla="*/ -54 w 31155"/>
                <a:gd name="connsiteY1" fmla="*/ 4088 h 19424"/>
                <a:gd name="connsiteX2" fmla="*/ 16182 w 31155"/>
                <a:gd name="connsiteY2" fmla="*/ 6360 h 19424"/>
                <a:gd name="connsiteX3" fmla="*/ 30713 w 31155"/>
                <a:gd name="connsiteY3" fmla="*/ 18493 h 19424"/>
                <a:gd name="connsiteX4" fmla="*/ 30672 w 31155"/>
                <a:gd name="connsiteY4" fmla="*/ 18493 h 1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5" h="19424">
                  <a:moveTo>
                    <a:pt x="30672" y="18493"/>
                  </a:moveTo>
                  <a:cubicBezTo>
                    <a:pt x="29941" y="21000"/>
                    <a:pt x="189" y="9870"/>
                    <a:pt x="-54" y="4088"/>
                  </a:cubicBezTo>
                  <a:cubicBezTo>
                    <a:pt x="-379" y="-5438"/>
                    <a:pt x="14680" y="2851"/>
                    <a:pt x="16182" y="6360"/>
                  </a:cubicBezTo>
                  <a:cubicBezTo>
                    <a:pt x="18049" y="10872"/>
                    <a:pt x="31930" y="14382"/>
                    <a:pt x="30713" y="18493"/>
                  </a:cubicBezTo>
                  <a:cubicBezTo>
                    <a:pt x="29779" y="21133"/>
                    <a:pt x="31971" y="13814"/>
                    <a:pt x="30672" y="1849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5034B102-C60D-423A-BA52-C827E182B237}"/>
                </a:ext>
              </a:extLst>
            </p:cNvPr>
            <p:cNvSpPr/>
            <p:nvPr/>
          </p:nvSpPr>
          <p:spPr>
            <a:xfrm>
              <a:off x="3444797" y="4833596"/>
              <a:ext cx="34813" cy="22308"/>
            </a:xfrm>
            <a:custGeom>
              <a:avLst/>
              <a:gdLst>
                <a:gd name="connsiteX0" fmla="*/ 32170 w 34813"/>
                <a:gd name="connsiteY0" fmla="*/ 21969 h 22308"/>
                <a:gd name="connsiteX1" fmla="*/ 30993 w 34813"/>
                <a:gd name="connsiteY1" fmla="*/ 21268 h 22308"/>
                <a:gd name="connsiteX2" fmla="*/ 30993 w 34813"/>
                <a:gd name="connsiteY2" fmla="*/ 21268 h 22308"/>
                <a:gd name="connsiteX3" fmla="*/ 25960 w 34813"/>
                <a:gd name="connsiteY3" fmla="*/ 20298 h 22308"/>
                <a:gd name="connsiteX4" fmla="*/ 23 w 34813"/>
                <a:gd name="connsiteY4" fmla="*/ 5659 h 22308"/>
                <a:gd name="connsiteX5" fmla="*/ 3717 w 34813"/>
                <a:gd name="connsiteY5" fmla="*/ 77 h 22308"/>
                <a:gd name="connsiteX6" fmla="*/ 8425 w 34813"/>
                <a:gd name="connsiteY6" fmla="*/ -123 h 22308"/>
                <a:gd name="connsiteX7" fmla="*/ 19993 w 34813"/>
                <a:gd name="connsiteY7" fmla="*/ 6996 h 22308"/>
                <a:gd name="connsiteX8" fmla="*/ 27177 w 34813"/>
                <a:gd name="connsiteY8" fmla="*/ 12343 h 22308"/>
                <a:gd name="connsiteX9" fmla="*/ 33753 w 34813"/>
                <a:gd name="connsiteY9" fmla="*/ 16755 h 22308"/>
                <a:gd name="connsiteX10" fmla="*/ 33753 w 34813"/>
                <a:gd name="connsiteY10" fmla="*/ 16755 h 22308"/>
                <a:gd name="connsiteX11" fmla="*/ 34483 w 34813"/>
                <a:gd name="connsiteY11" fmla="*/ 17223 h 22308"/>
                <a:gd name="connsiteX12" fmla="*/ 34727 w 34813"/>
                <a:gd name="connsiteY12" fmla="*/ 18092 h 22308"/>
                <a:gd name="connsiteX13" fmla="*/ 34727 w 34813"/>
                <a:gd name="connsiteY13" fmla="*/ 18092 h 22308"/>
                <a:gd name="connsiteX14" fmla="*/ 34727 w 34813"/>
                <a:gd name="connsiteY14" fmla="*/ 18694 h 22308"/>
                <a:gd name="connsiteX15" fmla="*/ 34402 w 34813"/>
                <a:gd name="connsiteY15" fmla="*/ 19763 h 22308"/>
                <a:gd name="connsiteX16" fmla="*/ 34402 w 34813"/>
                <a:gd name="connsiteY16" fmla="*/ 20298 h 22308"/>
                <a:gd name="connsiteX17" fmla="*/ 34402 w 34813"/>
                <a:gd name="connsiteY17" fmla="*/ 20298 h 22308"/>
                <a:gd name="connsiteX18" fmla="*/ 33793 w 34813"/>
                <a:gd name="connsiteY18" fmla="*/ 21134 h 22308"/>
                <a:gd name="connsiteX19" fmla="*/ 4731 w 34813"/>
                <a:gd name="connsiteY19" fmla="*/ 2283 h 22308"/>
                <a:gd name="connsiteX20" fmla="*/ 3879 w 34813"/>
                <a:gd name="connsiteY20" fmla="*/ 5091 h 22308"/>
                <a:gd name="connsiteX21" fmla="*/ 30546 w 34813"/>
                <a:gd name="connsiteY21" fmla="*/ 18861 h 22308"/>
                <a:gd name="connsiteX22" fmla="*/ 24255 w 34813"/>
                <a:gd name="connsiteY22" fmla="*/ 14483 h 22308"/>
                <a:gd name="connsiteX23" fmla="*/ 16137 w 34813"/>
                <a:gd name="connsiteY23" fmla="*/ 8299 h 22308"/>
                <a:gd name="connsiteX24" fmla="*/ 6314 w 34813"/>
                <a:gd name="connsiteY24" fmla="*/ 2350 h 22308"/>
                <a:gd name="connsiteX25" fmla="*/ 4731 w 34813"/>
                <a:gd name="connsiteY25" fmla="*/ 2283 h 2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13" h="22308">
                  <a:moveTo>
                    <a:pt x="32170" y="21969"/>
                  </a:moveTo>
                  <a:lnTo>
                    <a:pt x="30993" y="21268"/>
                  </a:lnTo>
                  <a:lnTo>
                    <a:pt x="30993" y="21268"/>
                  </a:lnTo>
                  <a:cubicBezTo>
                    <a:pt x="29268" y="21144"/>
                    <a:pt x="27571" y="20816"/>
                    <a:pt x="25960" y="20298"/>
                  </a:cubicBezTo>
                  <a:cubicBezTo>
                    <a:pt x="18694" y="18260"/>
                    <a:pt x="226" y="10906"/>
                    <a:pt x="23" y="5659"/>
                  </a:cubicBezTo>
                  <a:cubicBezTo>
                    <a:pt x="-440" y="3322"/>
                    <a:pt x="1082" y="1023"/>
                    <a:pt x="3717" y="77"/>
                  </a:cubicBezTo>
                  <a:cubicBezTo>
                    <a:pt x="5222" y="-398"/>
                    <a:pt x="6870" y="-468"/>
                    <a:pt x="8425" y="-123"/>
                  </a:cubicBezTo>
                  <a:cubicBezTo>
                    <a:pt x="13251" y="933"/>
                    <a:pt x="17395" y="3483"/>
                    <a:pt x="19993" y="6996"/>
                  </a:cubicBezTo>
                  <a:cubicBezTo>
                    <a:pt x="20724" y="8801"/>
                    <a:pt x="24052" y="10605"/>
                    <a:pt x="27177" y="12343"/>
                  </a:cubicBezTo>
                  <a:cubicBezTo>
                    <a:pt x="29661" y="13490"/>
                    <a:pt x="31886" y="14984"/>
                    <a:pt x="33753" y="16755"/>
                  </a:cubicBezTo>
                  <a:lnTo>
                    <a:pt x="33753" y="16755"/>
                  </a:lnTo>
                  <a:lnTo>
                    <a:pt x="34483" y="17223"/>
                  </a:lnTo>
                  <a:cubicBezTo>
                    <a:pt x="34715" y="17471"/>
                    <a:pt x="34804" y="17788"/>
                    <a:pt x="34727" y="18092"/>
                  </a:cubicBezTo>
                  <a:lnTo>
                    <a:pt x="34727" y="18092"/>
                  </a:lnTo>
                  <a:cubicBezTo>
                    <a:pt x="34747" y="18293"/>
                    <a:pt x="34747" y="18493"/>
                    <a:pt x="34727" y="18694"/>
                  </a:cubicBezTo>
                  <a:cubicBezTo>
                    <a:pt x="34658" y="19058"/>
                    <a:pt x="34548" y="19416"/>
                    <a:pt x="34402" y="19763"/>
                  </a:cubicBezTo>
                  <a:cubicBezTo>
                    <a:pt x="34427" y="19941"/>
                    <a:pt x="34427" y="20121"/>
                    <a:pt x="34402" y="20298"/>
                  </a:cubicBezTo>
                  <a:lnTo>
                    <a:pt x="34402" y="20298"/>
                  </a:lnTo>
                  <a:cubicBezTo>
                    <a:pt x="34277" y="20609"/>
                    <a:pt x="34069" y="20893"/>
                    <a:pt x="33793" y="21134"/>
                  </a:cubicBezTo>
                  <a:close/>
                  <a:moveTo>
                    <a:pt x="4731" y="2283"/>
                  </a:moveTo>
                  <a:cubicBezTo>
                    <a:pt x="4528" y="2283"/>
                    <a:pt x="3798" y="3052"/>
                    <a:pt x="3879" y="5091"/>
                  </a:cubicBezTo>
                  <a:cubicBezTo>
                    <a:pt x="3879" y="9335"/>
                    <a:pt x="23890" y="17457"/>
                    <a:pt x="30546" y="18861"/>
                  </a:cubicBezTo>
                  <a:cubicBezTo>
                    <a:pt x="28821" y="17073"/>
                    <a:pt x="26682" y="15585"/>
                    <a:pt x="24255" y="14483"/>
                  </a:cubicBezTo>
                  <a:cubicBezTo>
                    <a:pt x="20805" y="12577"/>
                    <a:pt x="17233" y="10639"/>
                    <a:pt x="16137" y="8299"/>
                  </a:cubicBezTo>
                  <a:cubicBezTo>
                    <a:pt x="13836" y="5411"/>
                    <a:pt x="10349" y="3299"/>
                    <a:pt x="6314" y="2350"/>
                  </a:cubicBezTo>
                  <a:cubicBezTo>
                    <a:pt x="5803" y="2220"/>
                    <a:pt x="5259" y="2196"/>
                    <a:pt x="4731" y="228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0D82E0F5-5471-4727-BB13-6BEAFC0AE127}"/>
                </a:ext>
              </a:extLst>
            </p:cNvPr>
            <p:cNvSpPr/>
            <p:nvPr/>
          </p:nvSpPr>
          <p:spPr>
            <a:xfrm>
              <a:off x="4022981" y="4932239"/>
              <a:ext cx="26786" cy="17173"/>
            </a:xfrm>
            <a:custGeom>
              <a:avLst/>
              <a:gdLst>
                <a:gd name="connsiteX0" fmla="*/ 5113 w 26786"/>
                <a:gd name="connsiteY0" fmla="*/ 16378 h 17173"/>
                <a:gd name="connsiteX1" fmla="*/ 1379 w 26786"/>
                <a:gd name="connsiteY1" fmla="*/ 8924 h 17173"/>
                <a:gd name="connsiteX2" fmla="*/ 12217 w 26786"/>
                <a:gd name="connsiteY2" fmla="*/ 1237 h 17173"/>
                <a:gd name="connsiteX3" fmla="*/ 5113 w 26786"/>
                <a:gd name="connsiteY3" fmla="*/ 16378 h 1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86" h="17173">
                  <a:moveTo>
                    <a:pt x="5113" y="16378"/>
                  </a:moveTo>
                  <a:cubicBezTo>
                    <a:pt x="161" y="15241"/>
                    <a:pt x="8604" y="8924"/>
                    <a:pt x="1379" y="8924"/>
                  </a:cubicBezTo>
                  <a:cubicBezTo>
                    <a:pt x="-4831" y="8924"/>
                    <a:pt x="10999" y="1605"/>
                    <a:pt x="12217" y="1237"/>
                  </a:cubicBezTo>
                  <a:cubicBezTo>
                    <a:pt x="38884" y="-7119"/>
                    <a:pt x="24150" y="20689"/>
                    <a:pt x="5113" y="1637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3A77E931-18C8-48E5-80B3-9A0B164F1D29}"/>
                </a:ext>
              </a:extLst>
            </p:cNvPr>
            <p:cNvSpPr/>
            <p:nvPr/>
          </p:nvSpPr>
          <p:spPr>
            <a:xfrm>
              <a:off x="4020970" y="4931968"/>
              <a:ext cx="30640" cy="18636"/>
            </a:xfrm>
            <a:custGeom>
              <a:avLst/>
              <a:gdLst>
                <a:gd name="connsiteX0" fmla="*/ 16420 w 30640"/>
                <a:gd name="connsiteY0" fmla="*/ 17552 h 18636"/>
                <a:gd name="connsiteX1" fmla="*/ 7937 w 30640"/>
                <a:gd name="connsiteY1" fmla="*/ 18086 h 18636"/>
                <a:gd name="connsiteX2" fmla="*/ 7328 w 30640"/>
                <a:gd name="connsiteY2" fmla="*/ 18086 h 18636"/>
                <a:gd name="connsiteX3" fmla="*/ 7328 w 30640"/>
                <a:gd name="connsiteY3" fmla="*/ 18086 h 18636"/>
                <a:gd name="connsiteX4" fmla="*/ 6800 w 30640"/>
                <a:gd name="connsiteY4" fmla="*/ 18086 h 18636"/>
                <a:gd name="connsiteX5" fmla="*/ 6232 w 30640"/>
                <a:gd name="connsiteY5" fmla="*/ 18086 h 18636"/>
                <a:gd name="connsiteX6" fmla="*/ 6232 w 30640"/>
                <a:gd name="connsiteY6" fmla="*/ 18086 h 18636"/>
                <a:gd name="connsiteX7" fmla="*/ 5664 w 30640"/>
                <a:gd name="connsiteY7" fmla="*/ 18086 h 18636"/>
                <a:gd name="connsiteX8" fmla="*/ 4933 w 30640"/>
                <a:gd name="connsiteY8" fmla="*/ 18086 h 18636"/>
                <a:gd name="connsiteX9" fmla="*/ 4933 w 30640"/>
                <a:gd name="connsiteY9" fmla="*/ 18086 h 18636"/>
                <a:gd name="connsiteX10" fmla="*/ 3999 w 30640"/>
                <a:gd name="connsiteY10" fmla="*/ 17050 h 18636"/>
                <a:gd name="connsiteX11" fmla="*/ 3999 w 30640"/>
                <a:gd name="connsiteY11" fmla="*/ 13708 h 18636"/>
                <a:gd name="connsiteX12" fmla="*/ 4284 w 30640"/>
                <a:gd name="connsiteY12" fmla="*/ 11435 h 18636"/>
                <a:gd name="connsiteX13" fmla="*/ 2863 w 30640"/>
                <a:gd name="connsiteY13" fmla="*/ 11201 h 18636"/>
                <a:gd name="connsiteX14" fmla="*/ -60 w 30640"/>
                <a:gd name="connsiteY14" fmla="*/ 9831 h 18636"/>
                <a:gd name="connsiteX15" fmla="*/ 13498 w 30640"/>
                <a:gd name="connsiteY15" fmla="*/ 1341 h 18636"/>
                <a:gd name="connsiteX16" fmla="*/ 25674 w 30640"/>
                <a:gd name="connsiteY16" fmla="*/ -163 h 18636"/>
                <a:gd name="connsiteX17" fmla="*/ 30261 w 30640"/>
                <a:gd name="connsiteY17" fmla="*/ 3180 h 18636"/>
                <a:gd name="connsiteX18" fmla="*/ 16420 w 30640"/>
                <a:gd name="connsiteY18" fmla="*/ 17552 h 18636"/>
                <a:gd name="connsiteX19" fmla="*/ 4243 w 30640"/>
                <a:gd name="connsiteY19" fmla="*/ 8093 h 18636"/>
                <a:gd name="connsiteX20" fmla="*/ 7531 w 30640"/>
                <a:gd name="connsiteY20" fmla="*/ 8995 h 18636"/>
                <a:gd name="connsiteX21" fmla="*/ 7531 w 30640"/>
                <a:gd name="connsiteY21" fmla="*/ 12939 h 18636"/>
                <a:gd name="connsiteX22" fmla="*/ 7774 w 30640"/>
                <a:gd name="connsiteY22" fmla="*/ 15546 h 18636"/>
                <a:gd name="connsiteX23" fmla="*/ 15364 w 30640"/>
                <a:gd name="connsiteY23" fmla="*/ 15546 h 18636"/>
                <a:gd name="connsiteX24" fmla="*/ 26405 w 30640"/>
                <a:gd name="connsiteY24" fmla="*/ 3280 h 18636"/>
                <a:gd name="connsiteX25" fmla="*/ 16501 w 30640"/>
                <a:gd name="connsiteY25" fmla="*/ 2110 h 18636"/>
                <a:gd name="connsiteX26" fmla="*/ 14512 w 30640"/>
                <a:gd name="connsiteY26" fmla="*/ 2678 h 18636"/>
                <a:gd name="connsiteX27" fmla="*/ 4284 w 30640"/>
                <a:gd name="connsiteY27" fmla="*/ 8059 h 1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640" h="18636">
                  <a:moveTo>
                    <a:pt x="16420" y="17552"/>
                  </a:moveTo>
                  <a:cubicBezTo>
                    <a:pt x="13692" y="18310"/>
                    <a:pt x="10774" y="18494"/>
                    <a:pt x="7937" y="18086"/>
                  </a:cubicBezTo>
                  <a:lnTo>
                    <a:pt x="7328" y="18086"/>
                  </a:lnTo>
                  <a:lnTo>
                    <a:pt x="7328" y="18086"/>
                  </a:lnTo>
                  <a:lnTo>
                    <a:pt x="6800" y="18086"/>
                  </a:lnTo>
                  <a:lnTo>
                    <a:pt x="6232" y="18086"/>
                  </a:lnTo>
                  <a:lnTo>
                    <a:pt x="6232" y="18086"/>
                  </a:lnTo>
                  <a:lnTo>
                    <a:pt x="5664" y="18086"/>
                  </a:lnTo>
                  <a:lnTo>
                    <a:pt x="4933" y="18086"/>
                  </a:lnTo>
                  <a:lnTo>
                    <a:pt x="4933" y="18086"/>
                  </a:lnTo>
                  <a:cubicBezTo>
                    <a:pt x="4121" y="17853"/>
                    <a:pt x="3878" y="17619"/>
                    <a:pt x="3999" y="17050"/>
                  </a:cubicBezTo>
                  <a:cubicBezTo>
                    <a:pt x="3545" y="15967"/>
                    <a:pt x="3545" y="14791"/>
                    <a:pt x="3999" y="13708"/>
                  </a:cubicBezTo>
                  <a:cubicBezTo>
                    <a:pt x="4324" y="12806"/>
                    <a:pt x="4690" y="11770"/>
                    <a:pt x="4284" y="11435"/>
                  </a:cubicBezTo>
                  <a:cubicBezTo>
                    <a:pt x="3849" y="11238"/>
                    <a:pt x="3354" y="11158"/>
                    <a:pt x="2863" y="11201"/>
                  </a:cubicBezTo>
                  <a:cubicBezTo>
                    <a:pt x="346" y="11201"/>
                    <a:pt x="-19" y="10232"/>
                    <a:pt x="-60" y="9831"/>
                  </a:cubicBezTo>
                  <a:cubicBezTo>
                    <a:pt x="-60" y="7057"/>
                    <a:pt x="13376" y="1375"/>
                    <a:pt x="13498" y="1341"/>
                  </a:cubicBezTo>
                  <a:cubicBezTo>
                    <a:pt x="17293" y="-126"/>
                    <a:pt x="21526" y="-647"/>
                    <a:pt x="25674" y="-163"/>
                  </a:cubicBezTo>
                  <a:cubicBezTo>
                    <a:pt x="27846" y="151"/>
                    <a:pt x="29620" y="1442"/>
                    <a:pt x="30261" y="3180"/>
                  </a:cubicBezTo>
                  <a:cubicBezTo>
                    <a:pt x="32088" y="6856"/>
                    <a:pt x="25918" y="15012"/>
                    <a:pt x="16420" y="17552"/>
                  </a:cubicBezTo>
                  <a:close/>
                  <a:moveTo>
                    <a:pt x="4243" y="8093"/>
                  </a:moveTo>
                  <a:cubicBezTo>
                    <a:pt x="5436" y="8059"/>
                    <a:pt x="6601" y="8380"/>
                    <a:pt x="7531" y="8995"/>
                  </a:cubicBezTo>
                  <a:cubicBezTo>
                    <a:pt x="8749" y="10031"/>
                    <a:pt x="8221" y="11569"/>
                    <a:pt x="7531" y="12939"/>
                  </a:cubicBezTo>
                  <a:cubicBezTo>
                    <a:pt x="6841" y="14310"/>
                    <a:pt x="6841" y="15346"/>
                    <a:pt x="7774" y="15546"/>
                  </a:cubicBezTo>
                  <a:cubicBezTo>
                    <a:pt x="10246" y="16168"/>
                    <a:pt x="12889" y="16168"/>
                    <a:pt x="15364" y="15546"/>
                  </a:cubicBezTo>
                  <a:cubicBezTo>
                    <a:pt x="22630" y="13608"/>
                    <a:pt x="27826" y="6923"/>
                    <a:pt x="26405" y="3280"/>
                  </a:cubicBezTo>
                  <a:cubicBezTo>
                    <a:pt x="25309" y="439"/>
                    <a:pt x="20398" y="1074"/>
                    <a:pt x="16501" y="2110"/>
                  </a:cubicBezTo>
                  <a:cubicBezTo>
                    <a:pt x="15852" y="2110"/>
                    <a:pt x="15202" y="2444"/>
                    <a:pt x="14512" y="2678"/>
                  </a:cubicBezTo>
                  <a:cubicBezTo>
                    <a:pt x="10896" y="4192"/>
                    <a:pt x="7470" y="5994"/>
                    <a:pt x="4284" y="805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BDE2B3C8-5CC8-47D6-A7AE-328B2550A49C}"/>
                </a:ext>
              </a:extLst>
            </p:cNvPr>
            <p:cNvSpPr/>
            <p:nvPr/>
          </p:nvSpPr>
          <p:spPr>
            <a:xfrm>
              <a:off x="7137533" y="4156516"/>
              <a:ext cx="98267" cy="55188"/>
            </a:xfrm>
            <a:custGeom>
              <a:avLst/>
              <a:gdLst>
                <a:gd name="connsiteX0" fmla="*/ 93662 w 98267"/>
                <a:gd name="connsiteY0" fmla="*/ 45184 h 55188"/>
                <a:gd name="connsiteX1" fmla="*/ 77426 w 98267"/>
                <a:gd name="connsiteY1" fmla="*/ 32884 h 55188"/>
                <a:gd name="connsiteX2" fmla="*/ 67603 w 98267"/>
                <a:gd name="connsiteY2" fmla="*/ 18011 h 55188"/>
                <a:gd name="connsiteX3" fmla="*/ 51367 w 98267"/>
                <a:gd name="connsiteY3" fmla="*/ 2603 h 55188"/>
                <a:gd name="connsiteX4" fmla="*/ -60 w 98267"/>
                <a:gd name="connsiteY4" fmla="*/ -339 h 55188"/>
                <a:gd name="connsiteX5" fmla="*/ 11792 w 98267"/>
                <a:gd name="connsiteY5" fmla="*/ 19013 h 55188"/>
                <a:gd name="connsiteX6" fmla="*/ 32818 w 98267"/>
                <a:gd name="connsiteY6" fmla="*/ 29041 h 55188"/>
                <a:gd name="connsiteX7" fmla="*/ 58146 w 98267"/>
                <a:gd name="connsiteY7" fmla="*/ 39803 h 55188"/>
                <a:gd name="connsiteX8" fmla="*/ 77507 w 98267"/>
                <a:gd name="connsiteY8" fmla="*/ 54275 h 55188"/>
                <a:gd name="connsiteX9" fmla="*/ 98208 w 98267"/>
                <a:gd name="connsiteY9" fmla="*/ 54275 h 55188"/>
                <a:gd name="connsiteX10" fmla="*/ 93662 w 98267"/>
                <a:gd name="connsiteY10" fmla="*/ 45184 h 55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267" h="55188">
                  <a:moveTo>
                    <a:pt x="93662" y="45184"/>
                  </a:moveTo>
                  <a:cubicBezTo>
                    <a:pt x="94433" y="41006"/>
                    <a:pt x="80633" y="36561"/>
                    <a:pt x="77426" y="32884"/>
                  </a:cubicBezTo>
                  <a:cubicBezTo>
                    <a:pt x="73570" y="28212"/>
                    <a:pt x="70242" y="23228"/>
                    <a:pt x="67603" y="18011"/>
                  </a:cubicBezTo>
                  <a:cubicBezTo>
                    <a:pt x="64031" y="10858"/>
                    <a:pt x="67603" y="5978"/>
                    <a:pt x="51367" y="2603"/>
                  </a:cubicBezTo>
                  <a:cubicBezTo>
                    <a:pt x="33589" y="-1141"/>
                    <a:pt x="17759" y="196"/>
                    <a:pt x="-60" y="-339"/>
                  </a:cubicBezTo>
                  <a:cubicBezTo>
                    <a:pt x="5461" y="5510"/>
                    <a:pt x="-872" y="15036"/>
                    <a:pt x="11792" y="19013"/>
                  </a:cubicBezTo>
                  <a:cubicBezTo>
                    <a:pt x="24456" y="22991"/>
                    <a:pt x="28556" y="19682"/>
                    <a:pt x="32818" y="29041"/>
                  </a:cubicBezTo>
                  <a:cubicBezTo>
                    <a:pt x="40936" y="29609"/>
                    <a:pt x="50637" y="36995"/>
                    <a:pt x="58146" y="39803"/>
                  </a:cubicBezTo>
                  <a:cubicBezTo>
                    <a:pt x="67968" y="43446"/>
                    <a:pt x="81160" y="45585"/>
                    <a:pt x="77507" y="54275"/>
                  </a:cubicBezTo>
                  <a:cubicBezTo>
                    <a:pt x="84367" y="55041"/>
                    <a:pt x="91348" y="55041"/>
                    <a:pt x="98208" y="54275"/>
                  </a:cubicBezTo>
                  <a:cubicBezTo>
                    <a:pt x="95773" y="51615"/>
                    <a:pt x="94190" y="48486"/>
                    <a:pt x="93662" y="4518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9895459E-6CCE-4ECB-9B0B-6A79B8D4EC47}"/>
                </a:ext>
              </a:extLst>
            </p:cNvPr>
            <p:cNvSpPr/>
            <p:nvPr/>
          </p:nvSpPr>
          <p:spPr>
            <a:xfrm>
              <a:off x="7181167" y="4154036"/>
              <a:ext cx="154761" cy="77047"/>
            </a:xfrm>
            <a:custGeom>
              <a:avLst/>
              <a:gdLst>
                <a:gd name="connsiteX0" fmla="*/ 151827 w 154761"/>
                <a:gd name="connsiteY0" fmla="*/ 34227 h 77047"/>
                <a:gd name="connsiteX1" fmla="*/ 127473 w 154761"/>
                <a:gd name="connsiteY1" fmla="*/ 11065 h 77047"/>
                <a:gd name="connsiteX2" fmla="*/ 108599 w 154761"/>
                <a:gd name="connsiteY2" fmla="*/ 15143 h 77047"/>
                <a:gd name="connsiteX3" fmla="*/ 101293 w 154761"/>
                <a:gd name="connsiteY3" fmla="*/ 17382 h 77047"/>
                <a:gd name="connsiteX4" fmla="*/ 91470 w 154761"/>
                <a:gd name="connsiteY4" fmla="*/ 14608 h 77047"/>
                <a:gd name="connsiteX5" fmla="*/ 53803 w 154761"/>
                <a:gd name="connsiteY5" fmla="*/ 2040 h 77047"/>
                <a:gd name="connsiteX6" fmla="*/ 62205 w 154761"/>
                <a:gd name="connsiteY6" fmla="*/ 11566 h 77047"/>
                <a:gd name="connsiteX7" fmla="*/ 40570 w 154761"/>
                <a:gd name="connsiteY7" fmla="*/ 11132 h 77047"/>
                <a:gd name="connsiteX8" fmla="*/ 19708 w 154761"/>
                <a:gd name="connsiteY8" fmla="*/ 10229 h 77047"/>
                <a:gd name="connsiteX9" fmla="*/ 33792 w 154761"/>
                <a:gd name="connsiteY9" fmla="*/ 35364 h 77047"/>
                <a:gd name="connsiteX10" fmla="*/ 48973 w 154761"/>
                <a:gd name="connsiteY10" fmla="*/ 45391 h 77047"/>
                <a:gd name="connsiteX11" fmla="*/ 69836 w 154761"/>
                <a:gd name="connsiteY11" fmla="*/ 54315 h 77047"/>
                <a:gd name="connsiteX12" fmla="*/ 103363 w 154761"/>
                <a:gd name="connsiteY12" fmla="*/ 55351 h 77047"/>
                <a:gd name="connsiteX13" fmla="*/ 118787 w 154761"/>
                <a:gd name="connsiteY13" fmla="*/ 76709 h 77047"/>
                <a:gd name="connsiteX14" fmla="*/ 151868 w 154761"/>
                <a:gd name="connsiteY14" fmla="*/ 34094 h 77047"/>
                <a:gd name="connsiteX15" fmla="*/ 14634 w 154761"/>
                <a:gd name="connsiteY15" fmla="*/ 42216 h 77047"/>
                <a:gd name="connsiteX16" fmla="*/ -60 w 154761"/>
                <a:gd name="connsiteY16" fmla="*/ 36500 h 77047"/>
                <a:gd name="connsiteX17" fmla="*/ 33995 w 154761"/>
                <a:gd name="connsiteY17" fmla="*/ 56554 h 77047"/>
                <a:gd name="connsiteX18" fmla="*/ 14634 w 154761"/>
                <a:gd name="connsiteY18" fmla="*/ 42082 h 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4761" h="77047">
                  <a:moveTo>
                    <a:pt x="151827" y="34227"/>
                  </a:moveTo>
                  <a:cubicBezTo>
                    <a:pt x="145982" y="26206"/>
                    <a:pt x="135591" y="18518"/>
                    <a:pt x="127473" y="11065"/>
                  </a:cubicBezTo>
                  <a:cubicBezTo>
                    <a:pt x="123658" y="15310"/>
                    <a:pt x="115581" y="13939"/>
                    <a:pt x="108599" y="15143"/>
                  </a:cubicBezTo>
                  <a:cubicBezTo>
                    <a:pt x="106367" y="16246"/>
                    <a:pt x="103891" y="17004"/>
                    <a:pt x="101293" y="17382"/>
                  </a:cubicBezTo>
                  <a:cubicBezTo>
                    <a:pt x="98167" y="16149"/>
                    <a:pt x="94879" y="15219"/>
                    <a:pt x="91470" y="14608"/>
                  </a:cubicBezTo>
                  <a:cubicBezTo>
                    <a:pt x="79983" y="15143"/>
                    <a:pt x="68862" y="-7586"/>
                    <a:pt x="53803" y="2040"/>
                  </a:cubicBezTo>
                  <a:cubicBezTo>
                    <a:pt x="48080" y="5717"/>
                    <a:pt x="60175" y="8157"/>
                    <a:pt x="62205" y="11566"/>
                  </a:cubicBezTo>
                  <a:cubicBezTo>
                    <a:pt x="65330" y="16780"/>
                    <a:pt x="43127" y="12034"/>
                    <a:pt x="40570" y="11132"/>
                  </a:cubicBezTo>
                  <a:cubicBezTo>
                    <a:pt x="32128" y="8023"/>
                    <a:pt x="6150" y="-4076"/>
                    <a:pt x="19708" y="10229"/>
                  </a:cubicBezTo>
                  <a:cubicBezTo>
                    <a:pt x="27095" y="18017"/>
                    <a:pt x="26648" y="27376"/>
                    <a:pt x="33792" y="35364"/>
                  </a:cubicBezTo>
                  <a:cubicBezTo>
                    <a:pt x="37323" y="39341"/>
                    <a:pt x="44995" y="41714"/>
                    <a:pt x="48973" y="45391"/>
                  </a:cubicBezTo>
                  <a:cubicBezTo>
                    <a:pt x="57496" y="53647"/>
                    <a:pt x="48648" y="58760"/>
                    <a:pt x="69836" y="54315"/>
                  </a:cubicBezTo>
                  <a:cubicBezTo>
                    <a:pt x="78563" y="52477"/>
                    <a:pt x="105717" y="43018"/>
                    <a:pt x="103363" y="55351"/>
                  </a:cubicBezTo>
                  <a:cubicBezTo>
                    <a:pt x="101171" y="66615"/>
                    <a:pt x="94230" y="68152"/>
                    <a:pt x="118787" y="76709"/>
                  </a:cubicBezTo>
                  <a:cubicBezTo>
                    <a:pt x="119883" y="60933"/>
                    <a:pt x="166480" y="53947"/>
                    <a:pt x="151868" y="34094"/>
                  </a:cubicBezTo>
                  <a:close/>
                  <a:moveTo>
                    <a:pt x="14634" y="42216"/>
                  </a:moveTo>
                  <a:cubicBezTo>
                    <a:pt x="9925" y="40023"/>
                    <a:pt x="5014" y="38115"/>
                    <a:pt x="-60" y="36500"/>
                  </a:cubicBezTo>
                  <a:cubicBezTo>
                    <a:pt x="4648" y="46527"/>
                    <a:pt x="15121" y="54282"/>
                    <a:pt x="33995" y="56554"/>
                  </a:cubicBezTo>
                  <a:cubicBezTo>
                    <a:pt x="37648" y="47864"/>
                    <a:pt x="24456" y="45725"/>
                    <a:pt x="14634" y="420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083A81BC-75C0-4304-97B5-F26F0EA1E529}"/>
                </a:ext>
              </a:extLst>
            </p:cNvPr>
            <p:cNvSpPr/>
            <p:nvPr/>
          </p:nvSpPr>
          <p:spPr>
            <a:xfrm>
              <a:off x="7639896" y="4338013"/>
              <a:ext cx="467934" cy="148076"/>
            </a:xfrm>
            <a:custGeom>
              <a:avLst/>
              <a:gdLst>
                <a:gd name="connsiteX0" fmla="*/ 452735 w 467934"/>
                <a:gd name="connsiteY0" fmla="*/ 61822 h 148076"/>
                <a:gd name="connsiteX1" fmla="*/ 427245 w 467934"/>
                <a:gd name="connsiteY1" fmla="*/ 54469 h 148076"/>
                <a:gd name="connsiteX2" fmla="*/ 379187 w 467934"/>
                <a:gd name="connsiteY2" fmla="*/ 57209 h 148076"/>
                <a:gd name="connsiteX3" fmla="*/ 380932 w 467934"/>
                <a:gd name="connsiteY3" fmla="*/ 42269 h 148076"/>
                <a:gd name="connsiteX4" fmla="*/ 374600 w 467934"/>
                <a:gd name="connsiteY4" fmla="*/ 24354 h 148076"/>
                <a:gd name="connsiteX5" fmla="*/ 334010 w 467934"/>
                <a:gd name="connsiteY5" fmla="*/ 28498 h 148076"/>
                <a:gd name="connsiteX6" fmla="*/ 308236 w 467934"/>
                <a:gd name="connsiteY6" fmla="*/ 27563 h 148076"/>
                <a:gd name="connsiteX7" fmla="*/ 281568 w 467934"/>
                <a:gd name="connsiteY7" fmla="*/ 25858 h 148076"/>
                <a:gd name="connsiteX8" fmla="*/ 257214 w 467934"/>
                <a:gd name="connsiteY8" fmla="*/ 21479 h 148076"/>
                <a:gd name="connsiteX9" fmla="*/ 230182 w 467934"/>
                <a:gd name="connsiteY9" fmla="*/ 8578 h 148076"/>
                <a:gd name="connsiteX10" fmla="*/ 210455 w 467934"/>
                <a:gd name="connsiteY10" fmla="*/ 4634 h 148076"/>
                <a:gd name="connsiteX11" fmla="*/ 194990 w 467934"/>
                <a:gd name="connsiteY11" fmla="*/ -279 h 148076"/>
                <a:gd name="connsiteX12" fmla="*/ 181758 w 467934"/>
                <a:gd name="connsiteY12" fmla="*/ 3531 h 148076"/>
                <a:gd name="connsiteX13" fmla="*/ 165035 w 467934"/>
                <a:gd name="connsiteY13" fmla="*/ 2996 h 148076"/>
                <a:gd name="connsiteX14" fmla="*/ 147663 w 467934"/>
                <a:gd name="connsiteY14" fmla="*/ 17268 h 148076"/>
                <a:gd name="connsiteX15" fmla="*/ 118722 w 467934"/>
                <a:gd name="connsiteY15" fmla="*/ 18137 h 148076"/>
                <a:gd name="connsiteX16" fmla="*/ 100822 w 467934"/>
                <a:gd name="connsiteY16" fmla="*/ 24020 h 148076"/>
                <a:gd name="connsiteX17" fmla="*/ 74114 w 467934"/>
                <a:gd name="connsiteY17" fmla="*/ 22014 h 148076"/>
                <a:gd name="connsiteX18" fmla="*/ 50288 w 467934"/>
                <a:gd name="connsiteY18" fmla="*/ 13959 h 148076"/>
                <a:gd name="connsiteX19" fmla="*/ 32509 w 467934"/>
                <a:gd name="connsiteY19" fmla="*/ 26426 h 148076"/>
                <a:gd name="connsiteX20" fmla="*/ 15137 w 467934"/>
                <a:gd name="connsiteY20" fmla="*/ 38927 h 148076"/>
                <a:gd name="connsiteX21" fmla="*/ 15137 w 467934"/>
                <a:gd name="connsiteY21" fmla="*/ 48051 h 148076"/>
                <a:gd name="connsiteX22" fmla="*/ 9942 w 467934"/>
                <a:gd name="connsiteY22" fmla="*/ 62958 h 148076"/>
                <a:gd name="connsiteX23" fmla="*/ 11322 w 467934"/>
                <a:gd name="connsiteY23" fmla="*/ 84015 h 148076"/>
                <a:gd name="connsiteX24" fmla="*/ 35676 w 467934"/>
                <a:gd name="connsiteY24" fmla="*/ 94042 h 148076"/>
                <a:gd name="connsiteX25" fmla="*/ 322 w 467934"/>
                <a:gd name="connsiteY25" fmla="*/ 114999 h 148076"/>
                <a:gd name="connsiteX26" fmla="*/ 141737 w 467934"/>
                <a:gd name="connsiteY26" fmla="*/ 145080 h 148076"/>
                <a:gd name="connsiteX27" fmla="*/ 175264 w 467934"/>
                <a:gd name="connsiteY27" fmla="*/ 143676 h 148076"/>
                <a:gd name="connsiteX28" fmla="*/ 178633 w 467934"/>
                <a:gd name="connsiteY28" fmla="*/ 128769 h 148076"/>
                <a:gd name="connsiteX29" fmla="*/ 221698 w 467934"/>
                <a:gd name="connsiteY29" fmla="*/ 130373 h 148076"/>
                <a:gd name="connsiteX30" fmla="*/ 253318 w 467934"/>
                <a:gd name="connsiteY30" fmla="*/ 126630 h 148076"/>
                <a:gd name="connsiteX31" fmla="*/ 262126 w 467934"/>
                <a:gd name="connsiteY31" fmla="*/ 132045 h 148076"/>
                <a:gd name="connsiteX32" fmla="*/ 276332 w 467934"/>
                <a:gd name="connsiteY32" fmla="*/ 120079 h 148076"/>
                <a:gd name="connsiteX33" fmla="*/ 285221 w 467934"/>
                <a:gd name="connsiteY33" fmla="*/ 109016 h 148076"/>
                <a:gd name="connsiteX34" fmla="*/ 310590 w 467934"/>
                <a:gd name="connsiteY34" fmla="*/ 108615 h 148076"/>
                <a:gd name="connsiteX35" fmla="*/ 315704 w 467934"/>
                <a:gd name="connsiteY35" fmla="*/ 96081 h 148076"/>
                <a:gd name="connsiteX36" fmla="*/ 343793 w 467934"/>
                <a:gd name="connsiteY36" fmla="*/ 92739 h 148076"/>
                <a:gd name="connsiteX37" fmla="*/ 362992 w 467934"/>
                <a:gd name="connsiteY37" fmla="*/ 83079 h 148076"/>
                <a:gd name="connsiteX38" fmla="*/ 360637 w 467934"/>
                <a:gd name="connsiteY38" fmla="*/ 66133 h 148076"/>
                <a:gd name="connsiteX39" fmla="*/ 411740 w 467934"/>
                <a:gd name="connsiteY39" fmla="*/ 61621 h 148076"/>
                <a:gd name="connsiteX40" fmla="*/ 467875 w 467934"/>
                <a:gd name="connsiteY40" fmla="*/ 67136 h 148076"/>
                <a:gd name="connsiteX41" fmla="*/ 452614 w 467934"/>
                <a:gd name="connsiteY41" fmla="*/ 61855 h 14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67934" h="148076">
                  <a:moveTo>
                    <a:pt x="452735" y="61822"/>
                  </a:moveTo>
                  <a:cubicBezTo>
                    <a:pt x="439300" y="59883"/>
                    <a:pt x="446119" y="51594"/>
                    <a:pt x="427245" y="54469"/>
                  </a:cubicBezTo>
                  <a:cubicBezTo>
                    <a:pt x="411659" y="56842"/>
                    <a:pt x="397939" y="61153"/>
                    <a:pt x="379187" y="57209"/>
                  </a:cubicBezTo>
                  <a:cubicBezTo>
                    <a:pt x="364777" y="54101"/>
                    <a:pt x="378415" y="45511"/>
                    <a:pt x="380932" y="42269"/>
                  </a:cubicBezTo>
                  <a:cubicBezTo>
                    <a:pt x="385316" y="36620"/>
                    <a:pt x="372489" y="31306"/>
                    <a:pt x="374600" y="24354"/>
                  </a:cubicBezTo>
                  <a:cubicBezTo>
                    <a:pt x="379633" y="7642"/>
                    <a:pt x="335431" y="28398"/>
                    <a:pt x="334010" y="28498"/>
                  </a:cubicBezTo>
                  <a:cubicBezTo>
                    <a:pt x="326461" y="28766"/>
                    <a:pt x="314690" y="25457"/>
                    <a:pt x="308236" y="27563"/>
                  </a:cubicBezTo>
                  <a:cubicBezTo>
                    <a:pt x="298981" y="30571"/>
                    <a:pt x="293867" y="27128"/>
                    <a:pt x="281568" y="25858"/>
                  </a:cubicBezTo>
                  <a:cubicBezTo>
                    <a:pt x="268377" y="24521"/>
                    <a:pt x="270365" y="29368"/>
                    <a:pt x="257214" y="21479"/>
                  </a:cubicBezTo>
                  <a:cubicBezTo>
                    <a:pt x="248772" y="16396"/>
                    <a:pt x="239720" y="12071"/>
                    <a:pt x="230182" y="8578"/>
                  </a:cubicBezTo>
                  <a:cubicBezTo>
                    <a:pt x="223363" y="6539"/>
                    <a:pt x="217274" y="7575"/>
                    <a:pt x="210455" y="4634"/>
                  </a:cubicBezTo>
                  <a:cubicBezTo>
                    <a:pt x="206153" y="2796"/>
                    <a:pt x="200551" y="-848"/>
                    <a:pt x="194990" y="-279"/>
                  </a:cubicBezTo>
                  <a:cubicBezTo>
                    <a:pt x="190444" y="667"/>
                    <a:pt x="186020" y="1943"/>
                    <a:pt x="181758" y="3531"/>
                  </a:cubicBezTo>
                  <a:cubicBezTo>
                    <a:pt x="175751" y="4968"/>
                    <a:pt x="170433" y="1158"/>
                    <a:pt x="165035" y="2996"/>
                  </a:cubicBezTo>
                  <a:cubicBezTo>
                    <a:pt x="156065" y="6138"/>
                    <a:pt x="156106" y="14360"/>
                    <a:pt x="147663" y="17268"/>
                  </a:cubicBezTo>
                  <a:cubicBezTo>
                    <a:pt x="140316" y="19808"/>
                    <a:pt x="127368" y="18204"/>
                    <a:pt x="118722" y="18137"/>
                  </a:cubicBezTo>
                  <a:cubicBezTo>
                    <a:pt x="106545" y="18137"/>
                    <a:pt x="106545" y="19441"/>
                    <a:pt x="100822" y="24020"/>
                  </a:cubicBezTo>
                  <a:cubicBezTo>
                    <a:pt x="97129" y="27028"/>
                    <a:pt x="75575" y="28264"/>
                    <a:pt x="74114" y="22014"/>
                  </a:cubicBezTo>
                  <a:cubicBezTo>
                    <a:pt x="73181" y="18137"/>
                    <a:pt x="55970" y="14695"/>
                    <a:pt x="50288" y="13959"/>
                  </a:cubicBezTo>
                  <a:cubicBezTo>
                    <a:pt x="36447" y="12121"/>
                    <a:pt x="38882" y="22950"/>
                    <a:pt x="32509" y="26426"/>
                  </a:cubicBezTo>
                  <a:cubicBezTo>
                    <a:pt x="25000" y="30504"/>
                    <a:pt x="18953" y="32944"/>
                    <a:pt x="15137" y="38927"/>
                  </a:cubicBezTo>
                  <a:cubicBezTo>
                    <a:pt x="12986" y="42269"/>
                    <a:pt x="16274" y="44776"/>
                    <a:pt x="15137" y="48051"/>
                  </a:cubicBezTo>
                  <a:cubicBezTo>
                    <a:pt x="13595" y="53332"/>
                    <a:pt x="7019" y="56808"/>
                    <a:pt x="9942" y="62958"/>
                  </a:cubicBezTo>
                  <a:cubicBezTo>
                    <a:pt x="12053" y="67236"/>
                    <a:pt x="5517" y="81241"/>
                    <a:pt x="11322" y="84015"/>
                  </a:cubicBezTo>
                  <a:cubicBezTo>
                    <a:pt x="19075" y="87725"/>
                    <a:pt x="29831" y="88627"/>
                    <a:pt x="35676" y="94042"/>
                  </a:cubicBezTo>
                  <a:cubicBezTo>
                    <a:pt x="48705" y="106275"/>
                    <a:pt x="4543" y="107813"/>
                    <a:pt x="322" y="114999"/>
                  </a:cubicBezTo>
                  <a:cubicBezTo>
                    <a:pt x="-8121" y="128669"/>
                    <a:pt x="126150" y="143175"/>
                    <a:pt x="141737" y="145080"/>
                  </a:cubicBezTo>
                  <a:cubicBezTo>
                    <a:pt x="151803" y="146083"/>
                    <a:pt x="174533" y="151263"/>
                    <a:pt x="175264" y="143676"/>
                  </a:cubicBezTo>
                  <a:cubicBezTo>
                    <a:pt x="175670" y="139565"/>
                    <a:pt x="172504" y="131243"/>
                    <a:pt x="178633" y="128769"/>
                  </a:cubicBezTo>
                  <a:cubicBezTo>
                    <a:pt x="193407" y="122753"/>
                    <a:pt x="209156" y="133415"/>
                    <a:pt x="221698" y="130373"/>
                  </a:cubicBezTo>
                  <a:cubicBezTo>
                    <a:pt x="232373" y="127800"/>
                    <a:pt x="236554" y="122753"/>
                    <a:pt x="253318" y="126630"/>
                  </a:cubicBezTo>
                  <a:cubicBezTo>
                    <a:pt x="258513" y="127833"/>
                    <a:pt x="257377" y="131075"/>
                    <a:pt x="262126" y="132045"/>
                  </a:cubicBezTo>
                  <a:cubicBezTo>
                    <a:pt x="272639" y="134217"/>
                    <a:pt x="275115" y="123388"/>
                    <a:pt x="276332" y="120079"/>
                  </a:cubicBezTo>
                  <a:cubicBezTo>
                    <a:pt x="277550" y="116770"/>
                    <a:pt x="278362" y="110052"/>
                    <a:pt x="285221" y="109016"/>
                  </a:cubicBezTo>
                  <a:cubicBezTo>
                    <a:pt x="293339" y="107779"/>
                    <a:pt x="302959" y="111690"/>
                    <a:pt x="310590" y="108615"/>
                  </a:cubicBezTo>
                  <a:cubicBezTo>
                    <a:pt x="318221" y="105540"/>
                    <a:pt x="293137" y="88293"/>
                    <a:pt x="315704" y="96081"/>
                  </a:cubicBezTo>
                  <a:cubicBezTo>
                    <a:pt x="334294" y="102532"/>
                    <a:pt x="340058" y="104871"/>
                    <a:pt x="343793" y="92739"/>
                  </a:cubicBezTo>
                  <a:cubicBezTo>
                    <a:pt x="345619" y="86923"/>
                    <a:pt x="356984" y="86689"/>
                    <a:pt x="362992" y="83079"/>
                  </a:cubicBezTo>
                  <a:cubicBezTo>
                    <a:pt x="371109" y="78132"/>
                    <a:pt x="361895" y="71882"/>
                    <a:pt x="360637" y="66133"/>
                  </a:cubicBezTo>
                  <a:cubicBezTo>
                    <a:pt x="359216" y="59649"/>
                    <a:pt x="402323" y="61320"/>
                    <a:pt x="411740" y="61621"/>
                  </a:cubicBezTo>
                  <a:cubicBezTo>
                    <a:pt x="431182" y="62223"/>
                    <a:pt x="450138" y="72250"/>
                    <a:pt x="467875" y="67136"/>
                  </a:cubicBezTo>
                  <a:cubicBezTo>
                    <a:pt x="463167" y="64686"/>
                    <a:pt x="458012" y="62898"/>
                    <a:pt x="452614" y="6185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8094C58C-2BF9-4961-8D43-521A8BC1FAF4}"/>
                </a:ext>
              </a:extLst>
            </p:cNvPr>
            <p:cNvSpPr/>
            <p:nvPr/>
          </p:nvSpPr>
          <p:spPr>
            <a:xfrm>
              <a:off x="7644539" y="4399559"/>
              <a:ext cx="532143" cy="213089"/>
            </a:xfrm>
            <a:custGeom>
              <a:avLst/>
              <a:gdLst>
                <a:gd name="connsiteX0" fmla="*/ 512752 w 532143"/>
                <a:gd name="connsiteY0" fmla="*/ 44529 h 213089"/>
                <a:gd name="connsiteX1" fmla="*/ 497936 w 532143"/>
                <a:gd name="connsiteY1" fmla="*/ 24475 h 213089"/>
                <a:gd name="connsiteX2" fmla="*/ 456413 w 532143"/>
                <a:gd name="connsiteY2" fmla="*/ 6760 h 213089"/>
                <a:gd name="connsiteX3" fmla="*/ 407259 w 532143"/>
                <a:gd name="connsiteY3" fmla="*/ 75 h 213089"/>
                <a:gd name="connsiteX4" fmla="*/ 356156 w 532143"/>
                <a:gd name="connsiteY4" fmla="*/ 4588 h 213089"/>
                <a:gd name="connsiteX5" fmla="*/ 360702 w 532143"/>
                <a:gd name="connsiteY5" fmla="*/ 18859 h 213089"/>
                <a:gd name="connsiteX6" fmla="*/ 342518 w 532143"/>
                <a:gd name="connsiteY6" fmla="*/ 27449 h 213089"/>
                <a:gd name="connsiteX7" fmla="*/ 315932 w 532143"/>
                <a:gd name="connsiteY7" fmla="*/ 36206 h 213089"/>
                <a:gd name="connsiteX8" fmla="*/ 307083 w 532143"/>
                <a:gd name="connsiteY8" fmla="*/ 42691 h 213089"/>
                <a:gd name="connsiteX9" fmla="*/ 293567 w 532143"/>
                <a:gd name="connsiteY9" fmla="*/ 48406 h 213089"/>
                <a:gd name="connsiteX10" fmla="*/ 273272 w 532143"/>
                <a:gd name="connsiteY10" fmla="*/ 54456 h 213089"/>
                <a:gd name="connsiteX11" fmla="*/ 253424 w 532143"/>
                <a:gd name="connsiteY11" fmla="*/ 67491 h 213089"/>
                <a:gd name="connsiteX12" fmla="*/ 220952 w 532143"/>
                <a:gd name="connsiteY12" fmla="*/ 65519 h 213089"/>
                <a:gd name="connsiteX13" fmla="*/ 205690 w 532143"/>
                <a:gd name="connsiteY13" fmla="*/ 67524 h 213089"/>
                <a:gd name="connsiteX14" fmla="*/ 178617 w 532143"/>
                <a:gd name="connsiteY14" fmla="*/ 65820 h 213089"/>
                <a:gd name="connsiteX15" fmla="*/ 169443 w 532143"/>
                <a:gd name="connsiteY15" fmla="*/ 85874 h 213089"/>
                <a:gd name="connsiteX16" fmla="*/ 101861 w 532143"/>
                <a:gd name="connsiteY16" fmla="*/ 79690 h 213089"/>
                <a:gd name="connsiteX17" fmla="*/ 387 w 532143"/>
                <a:gd name="connsiteY17" fmla="*/ 60071 h 213089"/>
                <a:gd name="connsiteX18" fmla="*/ 24741 w 532143"/>
                <a:gd name="connsiteY18" fmla="*/ 83868 h 213089"/>
                <a:gd name="connsiteX19" fmla="*/ 46375 w 532143"/>
                <a:gd name="connsiteY19" fmla="*/ 103288 h 213089"/>
                <a:gd name="connsiteX20" fmla="*/ 54493 w 532143"/>
                <a:gd name="connsiteY20" fmla="*/ 117559 h 213089"/>
                <a:gd name="connsiteX21" fmla="*/ 23685 w 532143"/>
                <a:gd name="connsiteY21" fmla="*/ 126016 h 213089"/>
                <a:gd name="connsiteX22" fmla="*/ -60 w 532143"/>
                <a:gd name="connsiteY22" fmla="*/ 143997 h 213089"/>
                <a:gd name="connsiteX23" fmla="*/ 49135 w 532143"/>
                <a:gd name="connsiteY23" fmla="*/ 151852 h 213089"/>
                <a:gd name="connsiteX24" fmla="*/ 79456 w 532143"/>
                <a:gd name="connsiteY24" fmla="*/ 154192 h 213089"/>
                <a:gd name="connsiteX25" fmla="*/ 116798 w 532143"/>
                <a:gd name="connsiteY25" fmla="*/ 163015 h 213089"/>
                <a:gd name="connsiteX26" fmla="*/ 149270 w 532143"/>
                <a:gd name="connsiteY26" fmla="*/ 169165 h 213089"/>
                <a:gd name="connsiteX27" fmla="*/ 162624 w 532143"/>
                <a:gd name="connsiteY27" fmla="*/ 191693 h 213089"/>
                <a:gd name="connsiteX28" fmla="*/ 187344 w 532143"/>
                <a:gd name="connsiteY28" fmla="*/ 207569 h 213089"/>
                <a:gd name="connsiteX29" fmla="*/ 211413 w 532143"/>
                <a:gd name="connsiteY29" fmla="*/ 202288 h 213089"/>
                <a:gd name="connsiteX30" fmla="*/ 275017 w 532143"/>
                <a:gd name="connsiteY30" fmla="*/ 211112 h 213089"/>
                <a:gd name="connsiteX31" fmla="*/ 266372 w 532143"/>
                <a:gd name="connsiteY31" fmla="*/ 190690 h 213089"/>
                <a:gd name="connsiteX32" fmla="*/ 256671 w 532143"/>
                <a:gd name="connsiteY32" fmla="*/ 167026 h 213089"/>
                <a:gd name="connsiteX33" fmla="*/ 252043 w 532143"/>
                <a:gd name="connsiteY33" fmla="*/ 154258 h 213089"/>
                <a:gd name="connsiteX34" fmla="*/ 276641 w 532143"/>
                <a:gd name="connsiteY34" fmla="*/ 147774 h 213089"/>
                <a:gd name="connsiteX35" fmla="*/ 288818 w 532143"/>
                <a:gd name="connsiteY35" fmla="*/ 153156 h 213089"/>
                <a:gd name="connsiteX36" fmla="*/ 300061 w 532143"/>
                <a:gd name="connsiteY36" fmla="*/ 152587 h 213089"/>
                <a:gd name="connsiteX37" fmla="*/ 333548 w 532143"/>
                <a:gd name="connsiteY37" fmla="*/ 151752 h 213089"/>
                <a:gd name="connsiteX38" fmla="*/ 357090 w 532143"/>
                <a:gd name="connsiteY38" fmla="*/ 145635 h 213089"/>
                <a:gd name="connsiteX39" fmla="*/ 374462 w 532143"/>
                <a:gd name="connsiteY39" fmla="*/ 136979 h 213089"/>
                <a:gd name="connsiteX40" fmla="*/ 391916 w 532143"/>
                <a:gd name="connsiteY40" fmla="*/ 130595 h 213089"/>
                <a:gd name="connsiteX41" fmla="*/ 414606 w 532143"/>
                <a:gd name="connsiteY41" fmla="*/ 120568 h 213089"/>
                <a:gd name="connsiteX42" fmla="*/ 431978 w 532143"/>
                <a:gd name="connsiteY42" fmla="*/ 106463 h 213089"/>
                <a:gd name="connsiteX43" fmla="*/ 450690 w 532143"/>
                <a:gd name="connsiteY43" fmla="*/ 96837 h 213089"/>
                <a:gd name="connsiteX44" fmla="*/ 428649 w 532143"/>
                <a:gd name="connsiteY44" fmla="*/ 85239 h 213089"/>
                <a:gd name="connsiteX45" fmla="*/ 424590 w 532143"/>
                <a:gd name="connsiteY45" fmla="*/ 70599 h 213089"/>
                <a:gd name="connsiteX46" fmla="*/ 437092 w 532143"/>
                <a:gd name="connsiteY46" fmla="*/ 48139 h 213089"/>
                <a:gd name="connsiteX47" fmla="*/ 472770 w 532143"/>
                <a:gd name="connsiteY47" fmla="*/ 60606 h 213089"/>
                <a:gd name="connsiteX48" fmla="*/ 515025 w 532143"/>
                <a:gd name="connsiteY48" fmla="*/ 64483 h 213089"/>
                <a:gd name="connsiteX49" fmla="*/ 530814 w 532143"/>
                <a:gd name="connsiteY49" fmla="*/ 59235 h 213089"/>
                <a:gd name="connsiteX50" fmla="*/ 512549 w 532143"/>
                <a:gd name="connsiteY50" fmla="*/ 44663 h 21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32143" h="213089">
                  <a:moveTo>
                    <a:pt x="512752" y="44529"/>
                  </a:moveTo>
                  <a:cubicBezTo>
                    <a:pt x="499600" y="37410"/>
                    <a:pt x="506338" y="31160"/>
                    <a:pt x="497936" y="24475"/>
                  </a:cubicBezTo>
                  <a:cubicBezTo>
                    <a:pt x="486328" y="15183"/>
                    <a:pt x="473096" y="5189"/>
                    <a:pt x="456413" y="6760"/>
                  </a:cubicBezTo>
                  <a:cubicBezTo>
                    <a:pt x="439730" y="8331"/>
                    <a:pt x="424347" y="510"/>
                    <a:pt x="407259" y="75"/>
                  </a:cubicBezTo>
                  <a:cubicBezTo>
                    <a:pt x="397842" y="-225"/>
                    <a:pt x="354736" y="-1896"/>
                    <a:pt x="356156" y="4588"/>
                  </a:cubicBezTo>
                  <a:cubicBezTo>
                    <a:pt x="357333" y="10036"/>
                    <a:pt x="361189" y="13178"/>
                    <a:pt x="360702" y="18859"/>
                  </a:cubicBezTo>
                  <a:cubicBezTo>
                    <a:pt x="360256" y="23672"/>
                    <a:pt x="347470" y="24909"/>
                    <a:pt x="342518" y="27449"/>
                  </a:cubicBezTo>
                  <a:cubicBezTo>
                    <a:pt x="329123" y="34301"/>
                    <a:pt x="342803" y="45699"/>
                    <a:pt x="315932" y="36206"/>
                  </a:cubicBezTo>
                  <a:cubicBezTo>
                    <a:pt x="298032" y="29889"/>
                    <a:pt x="300873" y="33599"/>
                    <a:pt x="307083" y="42691"/>
                  </a:cubicBezTo>
                  <a:cubicBezTo>
                    <a:pt x="310736" y="48038"/>
                    <a:pt x="300305" y="48640"/>
                    <a:pt x="293567" y="48406"/>
                  </a:cubicBezTo>
                  <a:cubicBezTo>
                    <a:pt x="280862" y="47938"/>
                    <a:pt x="276600" y="46802"/>
                    <a:pt x="273272" y="54456"/>
                  </a:cubicBezTo>
                  <a:cubicBezTo>
                    <a:pt x="272704" y="55759"/>
                    <a:pt x="257361" y="79356"/>
                    <a:pt x="253424" y="67491"/>
                  </a:cubicBezTo>
                  <a:cubicBezTo>
                    <a:pt x="251556" y="61842"/>
                    <a:pt x="225011" y="63614"/>
                    <a:pt x="220952" y="65519"/>
                  </a:cubicBezTo>
                  <a:cubicBezTo>
                    <a:pt x="214904" y="68293"/>
                    <a:pt x="216447" y="70098"/>
                    <a:pt x="205690" y="67524"/>
                  </a:cubicBezTo>
                  <a:cubicBezTo>
                    <a:pt x="195624" y="65084"/>
                    <a:pt x="187993" y="63748"/>
                    <a:pt x="178617" y="65820"/>
                  </a:cubicBezTo>
                  <a:cubicBezTo>
                    <a:pt x="163355" y="69162"/>
                    <a:pt x="177805" y="80192"/>
                    <a:pt x="169443" y="85874"/>
                  </a:cubicBezTo>
                  <a:cubicBezTo>
                    <a:pt x="163395" y="90052"/>
                    <a:pt x="111156" y="80727"/>
                    <a:pt x="101861" y="79690"/>
                  </a:cubicBezTo>
                  <a:cubicBezTo>
                    <a:pt x="65330" y="75379"/>
                    <a:pt x="35944" y="67257"/>
                    <a:pt x="387" y="60071"/>
                  </a:cubicBezTo>
                  <a:cubicBezTo>
                    <a:pt x="9601" y="67792"/>
                    <a:pt x="13741" y="76783"/>
                    <a:pt x="24741" y="83868"/>
                  </a:cubicBezTo>
                  <a:cubicBezTo>
                    <a:pt x="35741" y="90954"/>
                    <a:pt x="46862" y="93428"/>
                    <a:pt x="46375" y="103288"/>
                  </a:cubicBezTo>
                  <a:cubicBezTo>
                    <a:pt x="46010" y="110774"/>
                    <a:pt x="49663" y="110908"/>
                    <a:pt x="54493" y="117559"/>
                  </a:cubicBezTo>
                  <a:cubicBezTo>
                    <a:pt x="64478" y="130929"/>
                    <a:pt x="37202" y="124746"/>
                    <a:pt x="23685" y="126016"/>
                  </a:cubicBezTo>
                  <a:cubicBezTo>
                    <a:pt x="7449" y="127486"/>
                    <a:pt x="549" y="134773"/>
                    <a:pt x="-60" y="143997"/>
                  </a:cubicBezTo>
                  <a:cubicBezTo>
                    <a:pt x="16136" y="147410"/>
                    <a:pt x="32575" y="150034"/>
                    <a:pt x="49135" y="151852"/>
                  </a:cubicBezTo>
                  <a:cubicBezTo>
                    <a:pt x="59486" y="152788"/>
                    <a:pt x="69430" y="147975"/>
                    <a:pt x="79456" y="154192"/>
                  </a:cubicBezTo>
                  <a:cubicBezTo>
                    <a:pt x="87899" y="159506"/>
                    <a:pt x="106083" y="162013"/>
                    <a:pt x="116798" y="163015"/>
                  </a:cubicBezTo>
                  <a:cubicBezTo>
                    <a:pt x="127514" y="164018"/>
                    <a:pt x="144359" y="160442"/>
                    <a:pt x="149270" y="169165"/>
                  </a:cubicBezTo>
                  <a:cubicBezTo>
                    <a:pt x="153329" y="176519"/>
                    <a:pt x="163761" y="184373"/>
                    <a:pt x="162624" y="191693"/>
                  </a:cubicBezTo>
                  <a:cubicBezTo>
                    <a:pt x="161366" y="199949"/>
                    <a:pt x="178048" y="202990"/>
                    <a:pt x="187344" y="207569"/>
                  </a:cubicBezTo>
                  <a:cubicBezTo>
                    <a:pt x="197897" y="212750"/>
                    <a:pt x="200008" y="202689"/>
                    <a:pt x="211413" y="202288"/>
                  </a:cubicBezTo>
                  <a:cubicBezTo>
                    <a:pt x="228055" y="201687"/>
                    <a:pt x="261339" y="217830"/>
                    <a:pt x="275017" y="211112"/>
                  </a:cubicBezTo>
                  <a:cubicBezTo>
                    <a:pt x="283704" y="206834"/>
                    <a:pt x="270512" y="195737"/>
                    <a:pt x="266372" y="190690"/>
                  </a:cubicBezTo>
                  <a:cubicBezTo>
                    <a:pt x="260081" y="182936"/>
                    <a:pt x="266737" y="173076"/>
                    <a:pt x="256671" y="167026"/>
                  </a:cubicBezTo>
                  <a:cubicBezTo>
                    <a:pt x="248553" y="162146"/>
                    <a:pt x="242586" y="158637"/>
                    <a:pt x="252043" y="154258"/>
                  </a:cubicBezTo>
                  <a:cubicBezTo>
                    <a:pt x="255778" y="152487"/>
                    <a:pt x="270512" y="145969"/>
                    <a:pt x="276641" y="147774"/>
                  </a:cubicBezTo>
                  <a:cubicBezTo>
                    <a:pt x="281106" y="149111"/>
                    <a:pt x="284759" y="151585"/>
                    <a:pt x="288818" y="153156"/>
                  </a:cubicBezTo>
                  <a:cubicBezTo>
                    <a:pt x="295028" y="155462"/>
                    <a:pt x="294501" y="152420"/>
                    <a:pt x="300061" y="152587"/>
                  </a:cubicBezTo>
                  <a:cubicBezTo>
                    <a:pt x="316297" y="153022"/>
                    <a:pt x="321452" y="162247"/>
                    <a:pt x="333548" y="151752"/>
                  </a:cubicBezTo>
                  <a:cubicBezTo>
                    <a:pt x="340285" y="145936"/>
                    <a:pt x="343290" y="145067"/>
                    <a:pt x="357090" y="145635"/>
                  </a:cubicBezTo>
                  <a:cubicBezTo>
                    <a:pt x="367318" y="146103"/>
                    <a:pt x="370038" y="141290"/>
                    <a:pt x="374462" y="136979"/>
                  </a:cubicBezTo>
                  <a:cubicBezTo>
                    <a:pt x="379860" y="131731"/>
                    <a:pt x="380510" y="130093"/>
                    <a:pt x="391916" y="130595"/>
                  </a:cubicBezTo>
                  <a:cubicBezTo>
                    <a:pt x="405717" y="131263"/>
                    <a:pt x="399790" y="119598"/>
                    <a:pt x="414606" y="120568"/>
                  </a:cubicBezTo>
                  <a:cubicBezTo>
                    <a:pt x="429421" y="121537"/>
                    <a:pt x="425930" y="112145"/>
                    <a:pt x="431978" y="106463"/>
                  </a:cubicBezTo>
                  <a:cubicBezTo>
                    <a:pt x="436362" y="102352"/>
                    <a:pt x="456981" y="102586"/>
                    <a:pt x="450690" y="96837"/>
                  </a:cubicBezTo>
                  <a:cubicBezTo>
                    <a:pt x="444398" y="91088"/>
                    <a:pt x="432952" y="91957"/>
                    <a:pt x="428649" y="85239"/>
                  </a:cubicBezTo>
                  <a:cubicBezTo>
                    <a:pt x="426012" y="81128"/>
                    <a:pt x="422927" y="74543"/>
                    <a:pt x="424590" y="70599"/>
                  </a:cubicBezTo>
                  <a:cubicBezTo>
                    <a:pt x="427797" y="62645"/>
                    <a:pt x="417203" y="47203"/>
                    <a:pt x="437092" y="48139"/>
                  </a:cubicBezTo>
                  <a:cubicBezTo>
                    <a:pt x="449797" y="48707"/>
                    <a:pt x="462095" y="56361"/>
                    <a:pt x="472770" y="60606"/>
                  </a:cubicBezTo>
                  <a:cubicBezTo>
                    <a:pt x="486003" y="65887"/>
                    <a:pt x="501183" y="63714"/>
                    <a:pt x="515025" y="64483"/>
                  </a:cubicBezTo>
                  <a:cubicBezTo>
                    <a:pt x="520991" y="64753"/>
                    <a:pt x="526755" y="62828"/>
                    <a:pt x="530814" y="59235"/>
                  </a:cubicBezTo>
                  <a:cubicBezTo>
                    <a:pt x="536903" y="55124"/>
                    <a:pt x="519489" y="48406"/>
                    <a:pt x="512549" y="4466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332A00F-BD63-487F-B44F-5BF80C57319D}"/>
                </a:ext>
              </a:extLst>
            </p:cNvPr>
            <p:cNvSpPr/>
            <p:nvPr/>
          </p:nvSpPr>
          <p:spPr>
            <a:xfrm>
              <a:off x="8451968" y="5099938"/>
              <a:ext cx="1108203" cy="697375"/>
            </a:xfrm>
            <a:custGeom>
              <a:avLst/>
              <a:gdLst>
                <a:gd name="connsiteX0" fmla="*/ 37428 w 1108203"/>
                <a:gd name="connsiteY0" fmla="*/ 134216 h 697375"/>
                <a:gd name="connsiteX1" fmla="*/ 45546 w 1108203"/>
                <a:gd name="connsiteY1" fmla="*/ 147151 h 697375"/>
                <a:gd name="connsiteX2" fmla="*/ 37428 w 1108203"/>
                <a:gd name="connsiteY2" fmla="*/ 134216 h 697375"/>
                <a:gd name="connsiteX3" fmla="*/ 276177 w 1108203"/>
                <a:gd name="connsiteY3" fmla="*/ 248258 h 697375"/>
                <a:gd name="connsiteX4" fmla="*/ 260428 w 1108203"/>
                <a:gd name="connsiteY4" fmla="*/ 247021 h 697375"/>
                <a:gd name="connsiteX5" fmla="*/ 270657 w 1108203"/>
                <a:gd name="connsiteY5" fmla="*/ 252035 h 697375"/>
                <a:gd name="connsiteX6" fmla="*/ 276177 w 1108203"/>
                <a:gd name="connsiteY6" fmla="*/ 248258 h 697375"/>
                <a:gd name="connsiteX7" fmla="*/ 17823 w 1108203"/>
                <a:gd name="connsiteY7" fmla="*/ 81608 h 697375"/>
                <a:gd name="connsiteX8" fmla="*/ 28458 w 1108203"/>
                <a:gd name="connsiteY8" fmla="*/ 99523 h 697375"/>
                <a:gd name="connsiteX9" fmla="*/ 17823 w 1108203"/>
                <a:gd name="connsiteY9" fmla="*/ 81608 h 697375"/>
                <a:gd name="connsiteX10" fmla="*/ 557424 w 1108203"/>
                <a:gd name="connsiteY10" fmla="*/ 369351 h 697375"/>
                <a:gd name="connsiteX11" fmla="*/ 558559 w 1108203"/>
                <a:gd name="connsiteY11" fmla="*/ 407554 h 697375"/>
                <a:gd name="connsiteX12" fmla="*/ 569722 w 1108203"/>
                <a:gd name="connsiteY12" fmla="*/ 387500 h 697375"/>
                <a:gd name="connsiteX13" fmla="*/ 592818 w 1108203"/>
                <a:gd name="connsiteY13" fmla="*/ 369986 h 697375"/>
                <a:gd name="connsiteX14" fmla="*/ 595172 w 1108203"/>
                <a:gd name="connsiteY14" fmla="*/ 390776 h 697375"/>
                <a:gd name="connsiteX15" fmla="*/ 615466 w 1108203"/>
                <a:gd name="connsiteY15" fmla="*/ 412902 h 697375"/>
                <a:gd name="connsiteX16" fmla="*/ 632717 w 1108203"/>
                <a:gd name="connsiteY16" fmla="*/ 394319 h 697375"/>
                <a:gd name="connsiteX17" fmla="*/ 631743 w 1108203"/>
                <a:gd name="connsiteY17" fmla="*/ 378576 h 697375"/>
                <a:gd name="connsiteX18" fmla="*/ 635031 w 1108203"/>
                <a:gd name="connsiteY18" fmla="*/ 367145 h 697375"/>
                <a:gd name="connsiteX19" fmla="*/ 667503 w 1108203"/>
                <a:gd name="connsiteY19" fmla="*/ 358221 h 697375"/>
                <a:gd name="connsiteX20" fmla="*/ 628334 w 1108203"/>
                <a:gd name="connsiteY20" fmla="*/ 352807 h 697375"/>
                <a:gd name="connsiteX21" fmla="*/ 601626 w 1108203"/>
                <a:gd name="connsiteY21" fmla="*/ 338936 h 697375"/>
                <a:gd name="connsiteX22" fmla="*/ 669207 w 1108203"/>
                <a:gd name="connsiteY22" fmla="*/ 335961 h 697375"/>
                <a:gd name="connsiteX23" fmla="*/ 705738 w 1108203"/>
                <a:gd name="connsiteY23" fmla="*/ 355681 h 697375"/>
                <a:gd name="connsiteX24" fmla="*/ 752497 w 1108203"/>
                <a:gd name="connsiteY24" fmla="*/ 351002 h 697375"/>
                <a:gd name="connsiteX25" fmla="*/ 718687 w 1108203"/>
                <a:gd name="connsiteY25" fmla="*/ 348027 h 697375"/>
                <a:gd name="connsiteX26" fmla="*/ 681790 w 1108203"/>
                <a:gd name="connsiteY26" fmla="*/ 332953 h 697375"/>
                <a:gd name="connsiteX27" fmla="*/ 646964 w 1108203"/>
                <a:gd name="connsiteY27" fmla="*/ 311963 h 697375"/>
                <a:gd name="connsiteX28" fmla="*/ 630728 w 1108203"/>
                <a:gd name="connsiteY28" fmla="*/ 312699 h 697375"/>
                <a:gd name="connsiteX29" fmla="*/ 613721 w 1108203"/>
                <a:gd name="connsiteY29" fmla="*/ 311027 h 697375"/>
                <a:gd name="connsiteX30" fmla="*/ 595253 w 1108203"/>
                <a:gd name="connsiteY30" fmla="*/ 323795 h 697375"/>
                <a:gd name="connsiteX31" fmla="*/ 576784 w 1108203"/>
                <a:gd name="connsiteY31" fmla="*/ 332652 h 697375"/>
                <a:gd name="connsiteX32" fmla="*/ 557504 w 1108203"/>
                <a:gd name="connsiteY32" fmla="*/ 369418 h 697375"/>
                <a:gd name="connsiteX33" fmla="*/ 204293 w 1108203"/>
                <a:gd name="connsiteY33" fmla="*/ 250297 h 697375"/>
                <a:gd name="connsiteX34" fmla="*/ 223370 w 1108203"/>
                <a:gd name="connsiteY34" fmla="*/ 233217 h 697375"/>
                <a:gd name="connsiteX35" fmla="*/ 236683 w 1108203"/>
                <a:gd name="connsiteY35" fmla="*/ 227869 h 697375"/>
                <a:gd name="connsiteX36" fmla="*/ 229133 w 1108203"/>
                <a:gd name="connsiteY36" fmla="*/ 213497 h 697375"/>
                <a:gd name="connsiteX37" fmla="*/ 208838 w 1108203"/>
                <a:gd name="connsiteY37" fmla="*/ 207848 h 697375"/>
                <a:gd name="connsiteX38" fmla="*/ 219514 w 1108203"/>
                <a:gd name="connsiteY38" fmla="*/ 222689 h 697375"/>
                <a:gd name="connsiteX39" fmla="*/ 200924 w 1108203"/>
                <a:gd name="connsiteY39" fmla="*/ 212461 h 697375"/>
                <a:gd name="connsiteX40" fmla="*/ 198894 w 1108203"/>
                <a:gd name="connsiteY40" fmla="*/ 205309 h 697375"/>
                <a:gd name="connsiteX41" fmla="*/ 189518 w 1108203"/>
                <a:gd name="connsiteY41" fmla="*/ 198624 h 697375"/>
                <a:gd name="connsiteX42" fmla="*/ 180304 w 1108203"/>
                <a:gd name="connsiteY42" fmla="*/ 180341 h 697375"/>
                <a:gd name="connsiteX43" fmla="*/ 172186 w 1108203"/>
                <a:gd name="connsiteY43" fmla="*/ 166771 h 697375"/>
                <a:gd name="connsiteX44" fmla="*/ 174418 w 1108203"/>
                <a:gd name="connsiteY44" fmla="*/ 154571 h 697375"/>
                <a:gd name="connsiteX45" fmla="*/ 165773 w 1108203"/>
                <a:gd name="connsiteY45" fmla="*/ 140366 h 697375"/>
                <a:gd name="connsiteX46" fmla="*/ 160293 w 1108203"/>
                <a:gd name="connsiteY46" fmla="*/ 134851 h 697375"/>
                <a:gd name="connsiteX47" fmla="*/ 150876 w 1108203"/>
                <a:gd name="connsiteY47" fmla="*/ 122451 h 697375"/>
                <a:gd name="connsiteX48" fmla="*/ 140120 w 1108203"/>
                <a:gd name="connsiteY48" fmla="*/ 115432 h 697375"/>
                <a:gd name="connsiteX49" fmla="*/ 128471 w 1108203"/>
                <a:gd name="connsiteY49" fmla="*/ 104169 h 697375"/>
                <a:gd name="connsiteX50" fmla="*/ 105822 w 1108203"/>
                <a:gd name="connsiteY50" fmla="*/ 88794 h 697375"/>
                <a:gd name="connsiteX51" fmla="*/ 94619 w 1108203"/>
                <a:gd name="connsiteY51" fmla="*/ 69408 h 697375"/>
                <a:gd name="connsiteX52" fmla="*/ 71036 w 1108203"/>
                <a:gd name="connsiteY52" fmla="*/ 46012 h 697375"/>
                <a:gd name="connsiteX53" fmla="*/ 59346 w 1108203"/>
                <a:gd name="connsiteY53" fmla="*/ 28063 h 697375"/>
                <a:gd name="connsiteX54" fmla="*/ 23628 w 1108203"/>
                <a:gd name="connsiteY54" fmla="*/ 13156 h 697375"/>
                <a:gd name="connsiteX55" fmla="*/ 6498 w 1108203"/>
                <a:gd name="connsiteY55" fmla="*/ 121 h 697375"/>
                <a:gd name="connsiteX56" fmla="*/ 2196 w 1108203"/>
                <a:gd name="connsiteY56" fmla="*/ 14861 h 697375"/>
                <a:gd name="connsiteX57" fmla="*/ 33816 w 1108203"/>
                <a:gd name="connsiteY57" fmla="*/ 55470 h 697375"/>
                <a:gd name="connsiteX58" fmla="*/ 47048 w 1108203"/>
                <a:gd name="connsiteY58" fmla="*/ 74923 h 697375"/>
                <a:gd name="connsiteX59" fmla="*/ 59225 w 1108203"/>
                <a:gd name="connsiteY59" fmla="*/ 90030 h 697375"/>
                <a:gd name="connsiteX60" fmla="*/ 67343 w 1108203"/>
                <a:gd name="connsiteY60" fmla="*/ 119443 h 697375"/>
                <a:gd name="connsiteX61" fmla="*/ 88368 w 1108203"/>
                <a:gd name="connsiteY61" fmla="*/ 164933 h 697375"/>
                <a:gd name="connsiteX62" fmla="*/ 112722 w 1108203"/>
                <a:gd name="connsiteY62" fmla="*/ 207514 h 697375"/>
                <a:gd name="connsiteX63" fmla="*/ 147223 w 1108203"/>
                <a:gd name="connsiteY63" fmla="*/ 248024 h 697375"/>
                <a:gd name="connsiteX64" fmla="*/ 156234 w 1108203"/>
                <a:gd name="connsiteY64" fmla="*/ 260391 h 697375"/>
                <a:gd name="connsiteX65" fmla="*/ 179289 w 1108203"/>
                <a:gd name="connsiteY65" fmla="*/ 268312 h 697375"/>
                <a:gd name="connsiteX66" fmla="*/ 204536 w 1108203"/>
                <a:gd name="connsiteY66" fmla="*/ 250297 h 697375"/>
                <a:gd name="connsiteX67" fmla="*/ 204373 w 1108203"/>
                <a:gd name="connsiteY67" fmla="*/ 250297 h 697375"/>
                <a:gd name="connsiteX68" fmla="*/ 825316 w 1108203"/>
                <a:gd name="connsiteY68" fmla="*/ 408022 h 697375"/>
                <a:gd name="connsiteX69" fmla="*/ 832500 w 1108203"/>
                <a:gd name="connsiteY69" fmla="*/ 393049 h 697375"/>
                <a:gd name="connsiteX70" fmla="*/ 812205 w 1108203"/>
                <a:gd name="connsiteY70" fmla="*/ 377975 h 697375"/>
                <a:gd name="connsiteX71" fmla="*/ 802667 w 1108203"/>
                <a:gd name="connsiteY71" fmla="*/ 410730 h 697375"/>
                <a:gd name="connsiteX72" fmla="*/ 825154 w 1108203"/>
                <a:gd name="connsiteY72" fmla="*/ 408022 h 697375"/>
                <a:gd name="connsiteX73" fmla="*/ 727901 w 1108203"/>
                <a:gd name="connsiteY73" fmla="*/ 436366 h 697375"/>
                <a:gd name="connsiteX74" fmla="*/ 755136 w 1108203"/>
                <a:gd name="connsiteY74" fmla="*/ 454682 h 697375"/>
                <a:gd name="connsiteX75" fmla="*/ 727941 w 1108203"/>
                <a:gd name="connsiteY75" fmla="*/ 436366 h 697375"/>
                <a:gd name="connsiteX76" fmla="*/ 621433 w 1108203"/>
                <a:gd name="connsiteY76" fmla="*/ 486501 h 697375"/>
                <a:gd name="connsiteX77" fmla="*/ 590463 w 1108203"/>
                <a:gd name="connsiteY77" fmla="*/ 476908 h 697375"/>
                <a:gd name="connsiteX78" fmla="*/ 561807 w 1108203"/>
                <a:gd name="connsiteY78" fmla="*/ 463539 h 697375"/>
                <a:gd name="connsiteX79" fmla="*/ 519228 w 1108203"/>
                <a:gd name="connsiteY79" fmla="*/ 453980 h 697375"/>
                <a:gd name="connsiteX80" fmla="*/ 585390 w 1108203"/>
                <a:gd name="connsiteY80" fmla="*/ 481621 h 697375"/>
                <a:gd name="connsiteX81" fmla="*/ 616359 w 1108203"/>
                <a:gd name="connsiteY81" fmla="*/ 489743 h 697375"/>
                <a:gd name="connsiteX82" fmla="*/ 621433 w 1108203"/>
                <a:gd name="connsiteY82" fmla="*/ 486601 h 697375"/>
                <a:gd name="connsiteX83" fmla="*/ 831932 w 1108203"/>
                <a:gd name="connsiteY83" fmla="*/ 474803 h 697375"/>
                <a:gd name="connsiteX84" fmla="*/ 789719 w 1108203"/>
                <a:gd name="connsiteY84" fmla="*/ 456420 h 697375"/>
                <a:gd name="connsiteX85" fmla="*/ 779612 w 1108203"/>
                <a:gd name="connsiteY85" fmla="*/ 458058 h 697375"/>
                <a:gd name="connsiteX86" fmla="*/ 803763 w 1108203"/>
                <a:gd name="connsiteY86" fmla="*/ 473132 h 697375"/>
                <a:gd name="connsiteX87" fmla="*/ 838710 w 1108203"/>
                <a:gd name="connsiteY87" fmla="*/ 497564 h 697375"/>
                <a:gd name="connsiteX88" fmla="*/ 831932 w 1108203"/>
                <a:gd name="connsiteY88" fmla="*/ 474803 h 697375"/>
                <a:gd name="connsiteX89" fmla="*/ 831973 w 1108203"/>
                <a:gd name="connsiteY89" fmla="*/ 474903 h 697375"/>
                <a:gd name="connsiteX90" fmla="*/ 392792 w 1108203"/>
                <a:gd name="connsiteY90" fmla="*/ 387333 h 697375"/>
                <a:gd name="connsiteX91" fmla="*/ 373390 w 1108203"/>
                <a:gd name="connsiteY91" fmla="*/ 364705 h 697375"/>
                <a:gd name="connsiteX92" fmla="*/ 368478 w 1108203"/>
                <a:gd name="connsiteY92" fmla="*/ 356985 h 697375"/>
                <a:gd name="connsiteX93" fmla="*/ 311084 w 1108203"/>
                <a:gd name="connsiteY93" fmla="*/ 332619 h 697375"/>
                <a:gd name="connsiteX94" fmla="*/ 288841 w 1108203"/>
                <a:gd name="connsiteY94" fmla="*/ 327873 h 697375"/>
                <a:gd name="connsiteX95" fmla="*/ 251498 w 1108203"/>
                <a:gd name="connsiteY95" fmla="*/ 303139 h 697375"/>
                <a:gd name="connsiteX96" fmla="*/ 213466 w 1108203"/>
                <a:gd name="connsiteY96" fmla="*/ 282082 h 697375"/>
                <a:gd name="connsiteX97" fmla="*/ 192521 w 1108203"/>
                <a:gd name="connsiteY97" fmla="*/ 280044 h 697375"/>
                <a:gd name="connsiteX98" fmla="*/ 176285 w 1108203"/>
                <a:gd name="connsiteY98" fmla="*/ 281815 h 697375"/>
                <a:gd name="connsiteX99" fmla="*/ 196987 w 1108203"/>
                <a:gd name="connsiteY99" fmla="*/ 300098 h 697375"/>
                <a:gd name="connsiteX100" fmla="*/ 228566 w 1108203"/>
                <a:gd name="connsiteY100" fmla="*/ 320854 h 697375"/>
                <a:gd name="connsiteX101" fmla="*/ 259373 w 1108203"/>
                <a:gd name="connsiteY101" fmla="*/ 328976 h 697375"/>
                <a:gd name="connsiteX102" fmla="*/ 302682 w 1108203"/>
                <a:gd name="connsiteY102" fmla="*/ 360628 h 697375"/>
                <a:gd name="connsiteX103" fmla="*/ 350091 w 1108203"/>
                <a:gd name="connsiteY103" fmla="*/ 381016 h 697375"/>
                <a:gd name="connsiteX104" fmla="*/ 375663 w 1108203"/>
                <a:gd name="connsiteY104" fmla="*/ 393784 h 697375"/>
                <a:gd name="connsiteX105" fmla="*/ 390965 w 1108203"/>
                <a:gd name="connsiteY105" fmla="*/ 397695 h 697375"/>
                <a:gd name="connsiteX106" fmla="*/ 406307 w 1108203"/>
                <a:gd name="connsiteY106" fmla="*/ 406418 h 697375"/>
                <a:gd name="connsiteX107" fmla="*/ 416536 w 1108203"/>
                <a:gd name="connsiteY107" fmla="*/ 403443 h 697375"/>
                <a:gd name="connsiteX108" fmla="*/ 392832 w 1108203"/>
                <a:gd name="connsiteY108" fmla="*/ 387333 h 697375"/>
                <a:gd name="connsiteX109" fmla="*/ 392832 w 1108203"/>
                <a:gd name="connsiteY109" fmla="*/ 387434 h 697375"/>
                <a:gd name="connsiteX110" fmla="*/ 1036951 w 1108203"/>
                <a:gd name="connsiteY110" fmla="*/ 545594 h 697375"/>
                <a:gd name="connsiteX111" fmla="*/ 1017386 w 1108203"/>
                <a:gd name="connsiteY111" fmla="*/ 546964 h 697375"/>
                <a:gd name="connsiteX112" fmla="*/ 993601 w 1108203"/>
                <a:gd name="connsiteY112" fmla="*/ 544424 h 697375"/>
                <a:gd name="connsiteX113" fmla="*/ 947572 w 1108203"/>
                <a:gd name="connsiteY113" fmla="*/ 533896 h 697375"/>
                <a:gd name="connsiteX114" fmla="*/ 934827 w 1108203"/>
                <a:gd name="connsiteY114" fmla="*/ 474168 h 697375"/>
                <a:gd name="connsiteX115" fmla="*/ 913193 w 1108203"/>
                <a:gd name="connsiteY115" fmla="*/ 462871 h 697375"/>
                <a:gd name="connsiteX116" fmla="*/ 892492 w 1108203"/>
                <a:gd name="connsiteY116" fmla="*/ 463105 h 697375"/>
                <a:gd name="connsiteX117" fmla="*/ 873130 w 1108203"/>
                <a:gd name="connsiteY117" fmla="*/ 461467 h 697375"/>
                <a:gd name="connsiteX118" fmla="*/ 888149 w 1108203"/>
                <a:gd name="connsiteY118" fmla="*/ 474268 h 697375"/>
                <a:gd name="connsiteX119" fmla="*/ 891802 w 1108203"/>
                <a:gd name="connsiteY119" fmla="*/ 490545 h 697375"/>
                <a:gd name="connsiteX120" fmla="*/ 917333 w 1108203"/>
                <a:gd name="connsiteY120" fmla="*/ 503714 h 697375"/>
                <a:gd name="connsiteX121" fmla="*/ 934421 w 1108203"/>
                <a:gd name="connsiteY121" fmla="*/ 514510 h 697375"/>
                <a:gd name="connsiteX122" fmla="*/ 911934 w 1108203"/>
                <a:gd name="connsiteY122" fmla="*/ 506488 h 697375"/>
                <a:gd name="connsiteX123" fmla="*/ 891355 w 1108203"/>
                <a:gd name="connsiteY123" fmla="*/ 497999 h 697375"/>
                <a:gd name="connsiteX124" fmla="*/ 891761 w 1108203"/>
                <a:gd name="connsiteY124" fmla="*/ 508728 h 697375"/>
                <a:gd name="connsiteX125" fmla="*/ 892208 w 1108203"/>
                <a:gd name="connsiteY125" fmla="*/ 524971 h 697375"/>
                <a:gd name="connsiteX126" fmla="*/ 910230 w 1108203"/>
                <a:gd name="connsiteY126" fmla="*/ 525874 h 697375"/>
                <a:gd name="connsiteX127" fmla="*/ 939982 w 1108203"/>
                <a:gd name="connsiteY127" fmla="*/ 555955 h 697375"/>
                <a:gd name="connsiteX128" fmla="*/ 964945 w 1108203"/>
                <a:gd name="connsiteY128" fmla="*/ 572099 h 697375"/>
                <a:gd name="connsiteX129" fmla="*/ 993357 w 1108203"/>
                <a:gd name="connsiteY129" fmla="*/ 595261 h 697375"/>
                <a:gd name="connsiteX130" fmla="*/ 1009106 w 1108203"/>
                <a:gd name="connsiteY130" fmla="*/ 614280 h 697375"/>
                <a:gd name="connsiteX131" fmla="*/ 1007564 w 1108203"/>
                <a:gd name="connsiteY131" fmla="*/ 632896 h 697375"/>
                <a:gd name="connsiteX132" fmla="*/ 969571 w 1108203"/>
                <a:gd name="connsiteY132" fmla="*/ 642121 h 697375"/>
                <a:gd name="connsiteX133" fmla="*/ 998716 w 1108203"/>
                <a:gd name="connsiteY133" fmla="*/ 662175 h 697375"/>
                <a:gd name="connsiteX134" fmla="*/ 1022785 w 1108203"/>
                <a:gd name="connsiteY134" fmla="*/ 671969 h 697375"/>
                <a:gd name="connsiteX135" fmla="*/ 1039305 w 1108203"/>
                <a:gd name="connsiteY135" fmla="*/ 697036 h 697375"/>
                <a:gd name="connsiteX136" fmla="*/ 1089758 w 1108203"/>
                <a:gd name="connsiteY136" fmla="*/ 630189 h 697375"/>
                <a:gd name="connsiteX137" fmla="*/ 1108105 w 1108203"/>
                <a:gd name="connsiteY137" fmla="*/ 605790 h 697375"/>
                <a:gd name="connsiteX138" fmla="*/ 1036951 w 1108203"/>
                <a:gd name="connsiteY138" fmla="*/ 545828 h 697375"/>
                <a:gd name="connsiteX139" fmla="*/ 644692 w 1108203"/>
                <a:gd name="connsiteY139" fmla="*/ 510466 h 697375"/>
                <a:gd name="connsiteX140" fmla="*/ 622651 w 1108203"/>
                <a:gd name="connsiteY140" fmla="*/ 505653 h 697375"/>
                <a:gd name="connsiteX141" fmla="*/ 598014 w 1108203"/>
                <a:gd name="connsiteY141" fmla="*/ 512338 h 697375"/>
                <a:gd name="connsiteX142" fmla="*/ 649278 w 1108203"/>
                <a:gd name="connsiteY142" fmla="*/ 519022 h 697375"/>
                <a:gd name="connsiteX143" fmla="*/ 644692 w 1108203"/>
                <a:gd name="connsiteY143" fmla="*/ 510599 h 697375"/>
                <a:gd name="connsiteX144" fmla="*/ 644611 w 1108203"/>
                <a:gd name="connsiteY144" fmla="*/ 510466 h 697375"/>
                <a:gd name="connsiteX145" fmla="*/ 508432 w 1108203"/>
                <a:gd name="connsiteY145" fmla="*/ 308654 h 697375"/>
                <a:gd name="connsiteX146" fmla="*/ 548210 w 1108203"/>
                <a:gd name="connsiteY146" fmla="*/ 287597 h 697375"/>
                <a:gd name="connsiteX147" fmla="*/ 584741 w 1108203"/>
                <a:gd name="connsiteY147" fmla="*/ 285859 h 697375"/>
                <a:gd name="connsiteX148" fmla="*/ 570980 w 1108203"/>
                <a:gd name="connsiteY148" fmla="*/ 267643 h 697375"/>
                <a:gd name="connsiteX149" fmla="*/ 566921 w 1108203"/>
                <a:gd name="connsiteY149" fmla="*/ 248124 h 697375"/>
                <a:gd name="connsiteX150" fmla="*/ 576257 w 1108203"/>
                <a:gd name="connsiteY150" fmla="*/ 240904 h 697375"/>
                <a:gd name="connsiteX151" fmla="*/ 584659 w 1108203"/>
                <a:gd name="connsiteY151" fmla="*/ 231245 h 697375"/>
                <a:gd name="connsiteX152" fmla="*/ 543541 w 1108203"/>
                <a:gd name="connsiteY152" fmla="*/ 213397 h 697375"/>
                <a:gd name="connsiteX153" fmla="*/ 516550 w 1108203"/>
                <a:gd name="connsiteY153" fmla="*/ 223992 h 697375"/>
                <a:gd name="connsiteX154" fmla="*/ 493454 w 1108203"/>
                <a:gd name="connsiteY154" fmla="*/ 231880 h 697375"/>
                <a:gd name="connsiteX155" fmla="*/ 484524 w 1108203"/>
                <a:gd name="connsiteY155" fmla="*/ 241372 h 697375"/>
                <a:gd name="connsiteX156" fmla="*/ 460170 w 1108203"/>
                <a:gd name="connsiteY156" fmla="*/ 237495 h 697375"/>
                <a:gd name="connsiteX157" fmla="*/ 424776 w 1108203"/>
                <a:gd name="connsiteY157" fmla="*/ 222221 h 697375"/>
                <a:gd name="connsiteX158" fmla="*/ 407282 w 1108203"/>
                <a:gd name="connsiteY158" fmla="*/ 221853 h 697375"/>
                <a:gd name="connsiteX159" fmla="*/ 380818 w 1108203"/>
                <a:gd name="connsiteY159" fmla="*/ 212695 h 697375"/>
                <a:gd name="connsiteX160" fmla="*/ 365597 w 1108203"/>
                <a:gd name="connsiteY160" fmla="*/ 208049 h 697375"/>
                <a:gd name="connsiteX161" fmla="*/ 351958 w 1108203"/>
                <a:gd name="connsiteY161" fmla="*/ 194078 h 697375"/>
                <a:gd name="connsiteX162" fmla="*/ 341161 w 1108203"/>
                <a:gd name="connsiteY162" fmla="*/ 182079 h 697375"/>
                <a:gd name="connsiteX163" fmla="*/ 321313 w 1108203"/>
                <a:gd name="connsiteY163" fmla="*/ 190201 h 697375"/>
                <a:gd name="connsiteX164" fmla="*/ 322652 w 1108203"/>
                <a:gd name="connsiteY164" fmla="*/ 202534 h 697375"/>
                <a:gd name="connsiteX165" fmla="*/ 321841 w 1108203"/>
                <a:gd name="connsiteY165" fmla="*/ 221652 h 697375"/>
                <a:gd name="connsiteX166" fmla="*/ 336250 w 1108203"/>
                <a:gd name="connsiteY166" fmla="*/ 248625 h 697375"/>
                <a:gd name="connsiteX167" fmla="*/ 345951 w 1108203"/>
                <a:gd name="connsiteY167" fmla="*/ 277871 h 697375"/>
                <a:gd name="connsiteX168" fmla="*/ 365758 w 1108203"/>
                <a:gd name="connsiteY168" fmla="*/ 288500 h 697375"/>
                <a:gd name="connsiteX169" fmla="*/ 379437 w 1108203"/>
                <a:gd name="connsiteY169" fmla="*/ 297323 h 697375"/>
                <a:gd name="connsiteX170" fmla="*/ 417023 w 1108203"/>
                <a:gd name="connsiteY170" fmla="*/ 311194 h 697375"/>
                <a:gd name="connsiteX171" fmla="*/ 442433 w 1108203"/>
                <a:gd name="connsiteY171" fmla="*/ 330981 h 697375"/>
                <a:gd name="connsiteX172" fmla="*/ 482413 w 1108203"/>
                <a:gd name="connsiteY172" fmla="*/ 329176 h 697375"/>
                <a:gd name="connsiteX173" fmla="*/ 508188 w 1108203"/>
                <a:gd name="connsiteY173" fmla="*/ 308654 h 697375"/>
                <a:gd name="connsiteX174" fmla="*/ 489477 w 1108203"/>
                <a:gd name="connsiteY174" fmla="*/ 458091 h 697375"/>
                <a:gd name="connsiteX175" fmla="*/ 511881 w 1108203"/>
                <a:gd name="connsiteY175" fmla="*/ 478646 h 697375"/>
                <a:gd name="connsiteX176" fmla="*/ 530147 w 1108203"/>
                <a:gd name="connsiteY176" fmla="*/ 481320 h 697375"/>
                <a:gd name="connsiteX177" fmla="*/ 507214 w 1108203"/>
                <a:gd name="connsiteY177" fmla="*/ 463840 h 697375"/>
                <a:gd name="connsiteX178" fmla="*/ 489477 w 1108203"/>
                <a:gd name="connsiteY178" fmla="*/ 458091 h 697375"/>
                <a:gd name="connsiteX179" fmla="*/ 489395 w 1108203"/>
                <a:gd name="connsiteY179" fmla="*/ 458091 h 697375"/>
                <a:gd name="connsiteX180" fmla="*/ 465650 w 1108203"/>
                <a:gd name="connsiteY180" fmla="*/ 421024 h 697375"/>
                <a:gd name="connsiteX181" fmla="*/ 425060 w 1108203"/>
                <a:gd name="connsiteY181" fmla="*/ 414540 h 697375"/>
                <a:gd name="connsiteX182" fmla="*/ 467842 w 1108203"/>
                <a:gd name="connsiteY182" fmla="*/ 436499 h 697375"/>
                <a:gd name="connsiteX183" fmla="*/ 496458 w 1108203"/>
                <a:gd name="connsiteY183" fmla="*/ 436499 h 697375"/>
                <a:gd name="connsiteX184" fmla="*/ 465772 w 1108203"/>
                <a:gd name="connsiteY184" fmla="*/ 421024 h 69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108203" h="697375">
                  <a:moveTo>
                    <a:pt x="37428" y="134216"/>
                  </a:moveTo>
                  <a:cubicBezTo>
                    <a:pt x="34790" y="136088"/>
                    <a:pt x="38930" y="148221"/>
                    <a:pt x="45546" y="147151"/>
                  </a:cubicBezTo>
                  <a:cubicBezTo>
                    <a:pt x="52162" y="146082"/>
                    <a:pt x="45871" y="128334"/>
                    <a:pt x="37428" y="134216"/>
                  </a:cubicBezTo>
                  <a:close/>
                  <a:moveTo>
                    <a:pt x="276177" y="248258"/>
                  </a:moveTo>
                  <a:cubicBezTo>
                    <a:pt x="278369" y="244080"/>
                    <a:pt x="257546" y="239033"/>
                    <a:pt x="260428" y="247021"/>
                  </a:cubicBezTo>
                  <a:cubicBezTo>
                    <a:pt x="261565" y="250731"/>
                    <a:pt x="266152" y="252970"/>
                    <a:pt x="270657" y="252035"/>
                  </a:cubicBezTo>
                  <a:cubicBezTo>
                    <a:pt x="273092" y="251500"/>
                    <a:pt x="275122" y="250129"/>
                    <a:pt x="276177" y="248258"/>
                  </a:cubicBezTo>
                  <a:close/>
                  <a:moveTo>
                    <a:pt x="17823" y="81608"/>
                  </a:moveTo>
                  <a:cubicBezTo>
                    <a:pt x="14089" y="85819"/>
                    <a:pt x="16403" y="102197"/>
                    <a:pt x="28458" y="99523"/>
                  </a:cubicBezTo>
                  <a:cubicBezTo>
                    <a:pt x="40513" y="96849"/>
                    <a:pt x="21517" y="77463"/>
                    <a:pt x="17823" y="81608"/>
                  </a:cubicBezTo>
                  <a:close/>
                  <a:moveTo>
                    <a:pt x="557424" y="369351"/>
                  </a:moveTo>
                  <a:cubicBezTo>
                    <a:pt x="576013" y="377875"/>
                    <a:pt x="522679" y="413069"/>
                    <a:pt x="558559" y="407554"/>
                  </a:cubicBezTo>
                  <a:cubicBezTo>
                    <a:pt x="574795" y="405114"/>
                    <a:pt x="566353" y="395923"/>
                    <a:pt x="569722" y="387500"/>
                  </a:cubicBezTo>
                  <a:cubicBezTo>
                    <a:pt x="571832" y="382219"/>
                    <a:pt x="578895" y="362667"/>
                    <a:pt x="592818" y="369986"/>
                  </a:cubicBezTo>
                  <a:cubicBezTo>
                    <a:pt x="608810" y="378409"/>
                    <a:pt x="587663" y="381852"/>
                    <a:pt x="595172" y="390776"/>
                  </a:cubicBezTo>
                  <a:cubicBezTo>
                    <a:pt x="605522" y="403109"/>
                    <a:pt x="590220" y="408591"/>
                    <a:pt x="615466" y="412902"/>
                  </a:cubicBezTo>
                  <a:cubicBezTo>
                    <a:pt x="644407" y="417883"/>
                    <a:pt x="622367" y="403443"/>
                    <a:pt x="632717" y="394319"/>
                  </a:cubicBezTo>
                  <a:cubicBezTo>
                    <a:pt x="639171" y="388670"/>
                    <a:pt x="637304" y="386297"/>
                    <a:pt x="631743" y="378576"/>
                  </a:cubicBezTo>
                  <a:cubicBezTo>
                    <a:pt x="629024" y="374766"/>
                    <a:pt x="623382" y="364004"/>
                    <a:pt x="635031" y="367145"/>
                  </a:cubicBezTo>
                  <a:cubicBezTo>
                    <a:pt x="651023" y="371390"/>
                    <a:pt x="708093" y="371323"/>
                    <a:pt x="667503" y="358221"/>
                  </a:cubicBezTo>
                  <a:cubicBezTo>
                    <a:pt x="656300" y="354578"/>
                    <a:pt x="638400" y="349665"/>
                    <a:pt x="628334" y="352807"/>
                  </a:cubicBezTo>
                  <a:cubicBezTo>
                    <a:pt x="616157" y="356583"/>
                    <a:pt x="605807" y="348963"/>
                    <a:pt x="601626" y="338936"/>
                  </a:cubicBezTo>
                  <a:cubicBezTo>
                    <a:pt x="589449" y="309423"/>
                    <a:pt x="649115" y="327472"/>
                    <a:pt x="669207" y="335961"/>
                  </a:cubicBezTo>
                  <a:cubicBezTo>
                    <a:pt x="681750" y="341209"/>
                    <a:pt x="693318" y="351503"/>
                    <a:pt x="705738" y="355681"/>
                  </a:cubicBezTo>
                  <a:cubicBezTo>
                    <a:pt x="712151" y="357820"/>
                    <a:pt x="758992" y="357286"/>
                    <a:pt x="752497" y="351002"/>
                  </a:cubicBezTo>
                  <a:cubicBezTo>
                    <a:pt x="748155" y="346824"/>
                    <a:pt x="724085" y="348227"/>
                    <a:pt x="718687" y="348027"/>
                  </a:cubicBezTo>
                  <a:cubicBezTo>
                    <a:pt x="706307" y="347559"/>
                    <a:pt x="691735" y="338802"/>
                    <a:pt x="681790" y="332953"/>
                  </a:cubicBezTo>
                  <a:cubicBezTo>
                    <a:pt x="671846" y="327104"/>
                    <a:pt x="658411" y="314537"/>
                    <a:pt x="646964" y="311963"/>
                  </a:cubicBezTo>
                  <a:cubicBezTo>
                    <a:pt x="641079" y="310659"/>
                    <a:pt x="636168" y="312464"/>
                    <a:pt x="630728" y="312699"/>
                  </a:cubicBezTo>
                  <a:cubicBezTo>
                    <a:pt x="625290" y="312932"/>
                    <a:pt x="619039" y="310058"/>
                    <a:pt x="613721" y="311027"/>
                  </a:cubicBezTo>
                  <a:cubicBezTo>
                    <a:pt x="604792" y="312699"/>
                    <a:pt x="600652" y="319483"/>
                    <a:pt x="595253" y="323795"/>
                  </a:cubicBezTo>
                  <a:cubicBezTo>
                    <a:pt x="589855" y="328107"/>
                    <a:pt x="582224" y="328541"/>
                    <a:pt x="576784" y="332652"/>
                  </a:cubicBezTo>
                  <a:cubicBezTo>
                    <a:pt x="562943" y="343047"/>
                    <a:pt x="520690" y="352707"/>
                    <a:pt x="557504" y="369418"/>
                  </a:cubicBezTo>
                  <a:close/>
                  <a:moveTo>
                    <a:pt x="204293" y="250297"/>
                  </a:moveTo>
                  <a:cubicBezTo>
                    <a:pt x="205713" y="246553"/>
                    <a:pt x="214968" y="231379"/>
                    <a:pt x="223370" y="233217"/>
                  </a:cubicBezTo>
                  <a:cubicBezTo>
                    <a:pt x="231122" y="234888"/>
                    <a:pt x="240783" y="237161"/>
                    <a:pt x="236683" y="227869"/>
                  </a:cubicBezTo>
                  <a:cubicBezTo>
                    <a:pt x="234776" y="223524"/>
                    <a:pt x="231610" y="217842"/>
                    <a:pt x="229133" y="213497"/>
                  </a:cubicBezTo>
                  <a:cubicBezTo>
                    <a:pt x="226333" y="208383"/>
                    <a:pt x="205794" y="199426"/>
                    <a:pt x="208838" y="207848"/>
                  </a:cubicBezTo>
                  <a:cubicBezTo>
                    <a:pt x="210462" y="212662"/>
                    <a:pt x="228119" y="217408"/>
                    <a:pt x="219514" y="222689"/>
                  </a:cubicBezTo>
                  <a:cubicBezTo>
                    <a:pt x="212979" y="219714"/>
                    <a:pt x="206768" y="216305"/>
                    <a:pt x="200924" y="212461"/>
                  </a:cubicBezTo>
                  <a:cubicBezTo>
                    <a:pt x="198325" y="210289"/>
                    <a:pt x="199584" y="207548"/>
                    <a:pt x="198894" y="205309"/>
                  </a:cubicBezTo>
                  <a:cubicBezTo>
                    <a:pt x="197758" y="201732"/>
                    <a:pt x="192765" y="201064"/>
                    <a:pt x="189518" y="198624"/>
                  </a:cubicBezTo>
                  <a:cubicBezTo>
                    <a:pt x="182577" y="193109"/>
                    <a:pt x="187976" y="185655"/>
                    <a:pt x="180304" y="180341"/>
                  </a:cubicBezTo>
                  <a:cubicBezTo>
                    <a:pt x="174012" y="175929"/>
                    <a:pt x="160496" y="171584"/>
                    <a:pt x="172186" y="166771"/>
                  </a:cubicBezTo>
                  <a:cubicBezTo>
                    <a:pt x="181237" y="163061"/>
                    <a:pt x="181115" y="162493"/>
                    <a:pt x="174418" y="154571"/>
                  </a:cubicBezTo>
                  <a:cubicBezTo>
                    <a:pt x="170075" y="149357"/>
                    <a:pt x="173363" y="144177"/>
                    <a:pt x="165773" y="140366"/>
                  </a:cubicBezTo>
                  <a:cubicBezTo>
                    <a:pt x="163012" y="138963"/>
                    <a:pt x="159116" y="137225"/>
                    <a:pt x="160293" y="134851"/>
                  </a:cubicBezTo>
                  <a:cubicBezTo>
                    <a:pt x="162241" y="130941"/>
                    <a:pt x="153028" y="126395"/>
                    <a:pt x="150876" y="122451"/>
                  </a:cubicBezTo>
                  <a:cubicBezTo>
                    <a:pt x="148157" y="117337"/>
                    <a:pt x="145478" y="118240"/>
                    <a:pt x="140120" y="115432"/>
                  </a:cubicBezTo>
                  <a:cubicBezTo>
                    <a:pt x="134762" y="112625"/>
                    <a:pt x="133261" y="107377"/>
                    <a:pt x="128471" y="104169"/>
                  </a:cubicBezTo>
                  <a:cubicBezTo>
                    <a:pt x="118404" y="97484"/>
                    <a:pt x="111707" y="99222"/>
                    <a:pt x="105822" y="88794"/>
                  </a:cubicBezTo>
                  <a:cubicBezTo>
                    <a:pt x="101763" y="81407"/>
                    <a:pt x="101763" y="76360"/>
                    <a:pt x="94619" y="69408"/>
                  </a:cubicBezTo>
                  <a:cubicBezTo>
                    <a:pt x="86501" y="61754"/>
                    <a:pt x="76962" y="54368"/>
                    <a:pt x="71036" y="46012"/>
                  </a:cubicBezTo>
                  <a:cubicBezTo>
                    <a:pt x="66368" y="39561"/>
                    <a:pt x="68114" y="33946"/>
                    <a:pt x="59346" y="28063"/>
                  </a:cubicBezTo>
                  <a:cubicBezTo>
                    <a:pt x="48834" y="21011"/>
                    <a:pt x="34465" y="19473"/>
                    <a:pt x="23628" y="13156"/>
                  </a:cubicBezTo>
                  <a:cubicBezTo>
                    <a:pt x="18026" y="9814"/>
                    <a:pt x="12952" y="2160"/>
                    <a:pt x="6498" y="121"/>
                  </a:cubicBezTo>
                  <a:cubicBezTo>
                    <a:pt x="-4177" y="-3221"/>
                    <a:pt x="1141" y="12688"/>
                    <a:pt x="2196" y="14861"/>
                  </a:cubicBezTo>
                  <a:cubicBezTo>
                    <a:pt x="9340" y="29433"/>
                    <a:pt x="27077" y="41232"/>
                    <a:pt x="33816" y="55470"/>
                  </a:cubicBezTo>
                  <a:cubicBezTo>
                    <a:pt x="36779" y="61721"/>
                    <a:pt x="39011" y="69742"/>
                    <a:pt x="47048" y="74923"/>
                  </a:cubicBezTo>
                  <a:cubicBezTo>
                    <a:pt x="55085" y="80104"/>
                    <a:pt x="58048" y="82610"/>
                    <a:pt x="59225" y="90030"/>
                  </a:cubicBezTo>
                  <a:cubicBezTo>
                    <a:pt x="60442" y="99656"/>
                    <a:pt x="55815" y="110920"/>
                    <a:pt x="67343" y="119443"/>
                  </a:cubicBezTo>
                  <a:cubicBezTo>
                    <a:pt x="82564" y="130707"/>
                    <a:pt x="88368" y="152299"/>
                    <a:pt x="88368" y="164933"/>
                  </a:cubicBezTo>
                  <a:cubicBezTo>
                    <a:pt x="88368" y="181411"/>
                    <a:pt x="107323" y="191671"/>
                    <a:pt x="112722" y="207514"/>
                  </a:cubicBezTo>
                  <a:cubicBezTo>
                    <a:pt x="117918" y="222388"/>
                    <a:pt x="139917" y="233885"/>
                    <a:pt x="147223" y="248024"/>
                  </a:cubicBezTo>
                  <a:cubicBezTo>
                    <a:pt x="148157" y="249862"/>
                    <a:pt x="150308" y="263265"/>
                    <a:pt x="156234" y="260391"/>
                  </a:cubicBezTo>
                  <a:cubicBezTo>
                    <a:pt x="162160" y="257516"/>
                    <a:pt x="174337" y="265738"/>
                    <a:pt x="179289" y="268312"/>
                  </a:cubicBezTo>
                  <a:cubicBezTo>
                    <a:pt x="193577" y="275799"/>
                    <a:pt x="202142" y="256513"/>
                    <a:pt x="204536" y="250297"/>
                  </a:cubicBezTo>
                  <a:cubicBezTo>
                    <a:pt x="206931" y="243545"/>
                    <a:pt x="201776" y="257048"/>
                    <a:pt x="204373" y="250297"/>
                  </a:cubicBezTo>
                  <a:close/>
                  <a:moveTo>
                    <a:pt x="825316" y="408022"/>
                  </a:moveTo>
                  <a:cubicBezTo>
                    <a:pt x="841552" y="416445"/>
                    <a:pt x="848249" y="399265"/>
                    <a:pt x="832500" y="393049"/>
                  </a:cubicBezTo>
                  <a:cubicBezTo>
                    <a:pt x="825640" y="390341"/>
                    <a:pt x="835057" y="367045"/>
                    <a:pt x="812205" y="377975"/>
                  </a:cubicBezTo>
                  <a:cubicBezTo>
                    <a:pt x="800515" y="383657"/>
                    <a:pt x="797349" y="399566"/>
                    <a:pt x="802667" y="410730"/>
                  </a:cubicBezTo>
                  <a:cubicBezTo>
                    <a:pt x="808958" y="424099"/>
                    <a:pt x="812977" y="401672"/>
                    <a:pt x="825154" y="408022"/>
                  </a:cubicBezTo>
                  <a:close/>
                  <a:moveTo>
                    <a:pt x="727901" y="436366"/>
                  </a:moveTo>
                  <a:cubicBezTo>
                    <a:pt x="726277" y="444788"/>
                    <a:pt x="745151" y="458258"/>
                    <a:pt x="755136" y="454682"/>
                  </a:cubicBezTo>
                  <a:cubicBezTo>
                    <a:pt x="765121" y="451105"/>
                    <a:pt x="729849" y="426573"/>
                    <a:pt x="727941" y="436366"/>
                  </a:cubicBezTo>
                  <a:close/>
                  <a:moveTo>
                    <a:pt x="621433" y="486501"/>
                  </a:moveTo>
                  <a:cubicBezTo>
                    <a:pt x="611854" y="481220"/>
                    <a:pt x="601138" y="479415"/>
                    <a:pt x="590463" y="476908"/>
                  </a:cubicBezTo>
                  <a:cubicBezTo>
                    <a:pt x="578287" y="474067"/>
                    <a:pt x="571630" y="469388"/>
                    <a:pt x="561807" y="463539"/>
                  </a:cubicBezTo>
                  <a:cubicBezTo>
                    <a:pt x="557302" y="460765"/>
                    <a:pt x="510014" y="444120"/>
                    <a:pt x="519228" y="453980"/>
                  </a:cubicBezTo>
                  <a:cubicBezTo>
                    <a:pt x="531690" y="467349"/>
                    <a:pt x="566069" y="477744"/>
                    <a:pt x="585390" y="481621"/>
                  </a:cubicBezTo>
                  <a:cubicBezTo>
                    <a:pt x="595943" y="483626"/>
                    <a:pt x="606334" y="486334"/>
                    <a:pt x="616359" y="489743"/>
                  </a:cubicBezTo>
                  <a:cubicBezTo>
                    <a:pt x="626345" y="493086"/>
                    <a:pt x="635802" y="494489"/>
                    <a:pt x="621433" y="486601"/>
                  </a:cubicBezTo>
                  <a:close/>
                  <a:moveTo>
                    <a:pt x="831932" y="474803"/>
                  </a:moveTo>
                  <a:cubicBezTo>
                    <a:pt x="819796" y="466079"/>
                    <a:pt x="805345" y="459762"/>
                    <a:pt x="789719" y="456420"/>
                  </a:cubicBezTo>
                  <a:cubicBezTo>
                    <a:pt x="786268" y="455751"/>
                    <a:pt x="779855" y="454882"/>
                    <a:pt x="779612" y="458058"/>
                  </a:cubicBezTo>
                  <a:cubicBezTo>
                    <a:pt x="779084" y="464742"/>
                    <a:pt x="796903" y="470290"/>
                    <a:pt x="803763" y="473132"/>
                  </a:cubicBezTo>
                  <a:cubicBezTo>
                    <a:pt x="819592" y="479817"/>
                    <a:pt x="825154" y="491347"/>
                    <a:pt x="838710" y="497564"/>
                  </a:cubicBezTo>
                  <a:cubicBezTo>
                    <a:pt x="852267" y="503781"/>
                    <a:pt x="836032" y="477777"/>
                    <a:pt x="831932" y="474803"/>
                  </a:cubicBezTo>
                  <a:cubicBezTo>
                    <a:pt x="815169" y="462637"/>
                    <a:pt x="848776" y="487236"/>
                    <a:pt x="831973" y="474903"/>
                  </a:cubicBezTo>
                  <a:close/>
                  <a:moveTo>
                    <a:pt x="392792" y="387333"/>
                  </a:moveTo>
                  <a:cubicBezTo>
                    <a:pt x="396039" y="379479"/>
                    <a:pt x="309501" y="356283"/>
                    <a:pt x="373390" y="364705"/>
                  </a:cubicBezTo>
                  <a:cubicBezTo>
                    <a:pt x="394780" y="367580"/>
                    <a:pt x="381792" y="360394"/>
                    <a:pt x="368478" y="356985"/>
                  </a:cubicBezTo>
                  <a:cubicBezTo>
                    <a:pt x="343353" y="350567"/>
                    <a:pt x="331419" y="345855"/>
                    <a:pt x="311084" y="332619"/>
                  </a:cubicBezTo>
                  <a:cubicBezTo>
                    <a:pt x="302966" y="327305"/>
                    <a:pt x="299151" y="332619"/>
                    <a:pt x="288841" y="327873"/>
                  </a:cubicBezTo>
                  <a:cubicBezTo>
                    <a:pt x="274756" y="321456"/>
                    <a:pt x="262133" y="313066"/>
                    <a:pt x="251498" y="303139"/>
                  </a:cubicBezTo>
                  <a:cubicBezTo>
                    <a:pt x="243137" y="294449"/>
                    <a:pt x="226698" y="286427"/>
                    <a:pt x="213466" y="282082"/>
                  </a:cubicBezTo>
                  <a:cubicBezTo>
                    <a:pt x="207012" y="279876"/>
                    <a:pt x="198042" y="277503"/>
                    <a:pt x="192521" y="280044"/>
                  </a:cubicBezTo>
                  <a:cubicBezTo>
                    <a:pt x="189721" y="281314"/>
                    <a:pt x="176854" y="280545"/>
                    <a:pt x="176285" y="281815"/>
                  </a:cubicBezTo>
                  <a:cubicBezTo>
                    <a:pt x="170806" y="293480"/>
                    <a:pt x="195972" y="289670"/>
                    <a:pt x="196987" y="300098"/>
                  </a:cubicBezTo>
                  <a:cubicBezTo>
                    <a:pt x="197798" y="308554"/>
                    <a:pt x="218701" y="316208"/>
                    <a:pt x="228566" y="320854"/>
                  </a:cubicBezTo>
                  <a:cubicBezTo>
                    <a:pt x="240255" y="326335"/>
                    <a:pt x="248657" y="324196"/>
                    <a:pt x="259373" y="328976"/>
                  </a:cubicBezTo>
                  <a:cubicBezTo>
                    <a:pt x="278450" y="337599"/>
                    <a:pt x="286567" y="350567"/>
                    <a:pt x="302682" y="360628"/>
                  </a:cubicBezTo>
                  <a:cubicBezTo>
                    <a:pt x="317010" y="369519"/>
                    <a:pt x="333044" y="376404"/>
                    <a:pt x="350091" y="381016"/>
                  </a:cubicBezTo>
                  <a:cubicBezTo>
                    <a:pt x="360117" y="383623"/>
                    <a:pt x="366693" y="389940"/>
                    <a:pt x="375663" y="393784"/>
                  </a:cubicBezTo>
                  <a:cubicBezTo>
                    <a:pt x="382319" y="396625"/>
                    <a:pt x="385241" y="392681"/>
                    <a:pt x="390965" y="397695"/>
                  </a:cubicBezTo>
                  <a:cubicBezTo>
                    <a:pt x="394821" y="401906"/>
                    <a:pt x="400179" y="404948"/>
                    <a:pt x="406307" y="406418"/>
                  </a:cubicBezTo>
                  <a:cubicBezTo>
                    <a:pt x="408216" y="406752"/>
                    <a:pt x="421326" y="407688"/>
                    <a:pt x="416536" y="403443"/>
                  </a:cubicBezTo>
                  <a:cubicBezTo>
                    <a:pt x="412477" y="399767"/>
                    <a:pt x="390843" y="392180"/>
                    <a:pt x="392832" y="387333"/>
                  </a:cubicBezTo>
                  <a:cubicBezTo>
                    <a:pt x="395186" y="381651"/>
                    <a:pt x="390437" y="393216"/>
                    <a:pt x="392832" y="387434"/>
                  </a:cubicBezTo>
                  <a:close/>
                  <a:moveTo>
                    <a:pt x="1036951" y="545594"/>
                  </a:moveTo>
                  <a:cubicBezTo>
                    <a:pt x="1029604" y="542252"/>
                    <a:pt x="1022948" y="545594"/>
                    <a:pt x="1017386" y="546964"/>
                  </a:cubicBezTo>
                  <a:cubicBezTo>
                    <a:pt x="1009918" y="548802"/>
                    <a:pt x="1002003" y="544558"/>
                    <a:pt x="993601" y="544424"/>
                  </a:cubicBezTo>
                  <a:cubicBezTo>
                    <a:pt x="982033" y="544223"/>
                    <a:pt x="950130" y="548335"/>
                    <a:pt x="947572" y="533896"/>
                  </a:cubicBezTo>
                  <a:cubicBezTo>
                    <a:pt x="943229" y="509530"/>
                    <a:pt x="970627" y="497831"/>
                    <a:pt x="934827" y="474168"/>
                  </a:cubicBezTo>
                  <a:cubicBezTo>
                    <a:pt x="928251" y="469622"/>
                    <a:pt x="920986" y="465812"/>
                    <a:pt x="913193" y="462871"/>
                  </a:cubicBezTo>
                  <a:cubicBezTo>
                    <a:pt x="903208" y="459328"/>
                    <a:pt x="901381" y="464241"/>
                    <a:pt x="892492" y="463105"/>
                  </a:cubicBezTo>
                  <a:cubicBezTo>
                    <a:pt x="886281" y="462302"/>
                    <a:pt x="877270" y="457590"/>
                    <a:pt x="873130" y="461467"/>
                  </a:cubicBezTo>
                  <a:cubicBezTo>
                    <a:pt x="866514" y="467650"/>
                    <a:pt x="882710" y="469522"/>
                    <a:pt x="888149" y="474268"/>
                  </a:cubicBezTo>
                  <a:cubicBezTo>
                    <a:pt x="894319" y="479716"/>
                    <a:pt x="887824" y="485131"/>
                    <a:pt x="891802" y="490545"/>
                  </a:cubicBezTo>
                  <a:cubicBezTo>
                    <a:pt x="896308" y="496695"/>
                    <a:pt x="909418" y="500806"/>
                    <a:pt x="917333" y="503714"/>
                  </a:cubicBezTo>
                  <a:cubicBezTo>
                    <a:pt x="921392" y="505252"/>
                    <a:pt x="938196" y="509697"/>
                    <a:pt x="934421" y="514510"/>
                  </a:cubicBezTo>
                  <a:cubicBezTo>
                    <a:pt x="931702" y="517852"/>
                    <a:pt x="917860" y="506856"/>
                    <a:pt x="911934" y="506488"/>
                  </a:cubicBezTo>
                  <a:cubicBezTo>
                    <a:pt x="903167" y="505920"/>
                    <a:pt x="899311" y="501408"/>
                    <a:pt x="891355" y="497999"/>
                  </a:cubicBezTo>
                  <a:cubicBezTo>
                    <a:pt x="878366" y="492417"/>
                    <a:pt x="890097" y="505285"/>
                    <a:pt x="891761" y="508728"/>
                  </a:cubicBezTo>
                  <a:cubicBezTo>
                    <a:pt x="894521" y="514376"/>
                    <a:pt x="887946" y="520125"/>
                    <a:pt x="892208" y="524971"/>
                  </a:cubicBezTo>
                  <a:cubicBezTo>
                    <a:pt x="899311" y="533094"/>
                    <a:pt x="905075" y="527278"/>
                    <a:pt x="910230" y="525874"/>
                  </a:cubicBezTo>
                  <a:cubicBezTo>
                    <a:pt x="915385" y="524470"/>
                    <a:pt x="936979" y="552245"/>
                    <a:pt x="939982" y="555955"/>
                  </a:cubicBezTo>
                  <a:cubicBezTo>
                    <a:pt x="944487" y="561437"/>
                    <a:pt x="958369" y="567386"/>
                    <a:pt x="964945" y="572099"/>
                  </a:cubicBezTo>
                  <a:cubicBezTo>
                    <a:pt x="975051" y="579285"/>
                    <a:pt x="984550" y="587006"/>
                    <a:pt x="993357" y="595261"/>
                  </a:cubicBezTo>
                  <a:cubicBezTo>
                    <a:pt x="999487" y="601010"/>
                    <a:pt x="1006549" y="607695"/>
                    <a:pt x="1009106" y="614280"/>
                  </a:cubicBezTo>
                  <a:cubicBezTo>
                    <a:pt x="1011948" y="621499"/>
                    <a:pt x="1004195" y="625543"/>
                    <a:pt x="1007564" y="632896"/>
                  </a:cubicBezTo>
                  <a:cubicBezTo>
                    <a:pt x="1019741" y="659301"/>
                    <a:pt x="986010" y="636673"/>
                    <a:pt x="969571" y="642121"/>
                  </a:cubicBezTo>
                  <a:cubicBezTo>
                    <a:pt x="955041" y="646901"/>
                    <a:pt x="993073" y="659836"/>
                    <a:pt x="998716" y="662175"/>
                  </a:cubicBezTo>
                  <a:cubicBezTo>
                    <a:pt x="1006915" y="665117"/>
                    <a:pt x="1014951" y="668359"/>
                    <a:pt x="1022785" y="671969"/>
                  </a:cubicBezTo>
                  <a:cubicBezTo>
                    <a:pt x="1031593" y="676414"/>
                    <a:pt x="1034596" y="690819"/>
                    <a:pt x="1039305" y="697036"/>
                  </a:cubicBezTo>
                  <a:cubicBezTo>
                    <a:pt x="1056109" y="674743"/>
                    <a:pt x="1072914" y="652482"/>
                    <a:pt x="1089758" y="630189"/>
                  </a:cubicBezTo>
                  <a:cubicBezTo>
                    <a:pt x="1095887" y="622067"/>
                    <a:pt x="1102016" y="613945"/>
                    <a:pt x="1108105" y="605790"/>
                  </a:cubicBezTo>
                  <a:cubicBezTo>
                    <a:pt x="1109931" y="603517"/>
                    <a:pt x="1047017" y="550106"/>
                    <a:pt x="1036951" y="545828"/>
                  </a:cubicBezTo>
                  <a:close/>
                  <a:moveTo>
                    <a:pt x="644692" y="510466"/>
                  </a:moveTo>
                  <a:cubicBezTo>
                    <a:pt x="635680" y="510265"/>
                    <a:pt x="626791" y="514042"/>
                    <a:pt x="622651" y="505653"/>
                  </a:cubicBezTo>
                  <a:cubicBezTo>
                    <a:pt x="613396" y="504249"/>
                    <a:pt x="599881" y="505653"/>
                    <a:pt x="598014" y="512338"/>
                  </a:cubicBezTo>
                  <a:cubicBezTo>
                    <a:pt x="593264" y="529049"/>
                    <a:pt x="642459" y="518421"/>
                    <a:pt x="649278" y="519022"/>
                  </a:cubicBezTo>
                  <a:cubicBezTo>
                    <a:pt x="648263" y="516048"/>
                    <a:pt x="646681" y="513207"/>
                    <a:pt x="644692" y="510599"/>
                  </a:cubicBezTo>
                  <a:cubicBezTo>
                    <a:pt x="641768" y="510399"/>
                    <a:pt x="646437" y="512739"/>
                    <a:pt x="644611" y="510466"/>
                  </a:cubicBezTo>
                  <a:close/>
                  <a:moveTo>
                    <a:pt x="508432" y="308654"/>
                  </a:moveTo>
                  <a:cubicBezTo>
                    <a:pt x="533150" y="309289"/>
                    <a:pt x="528442" y="286494"/>
                    <a:pt x="548210" y="287597"/>
                  </a:cubicBezTo>
                  <a:cubicBezTo>
                    <a:pt x="557951" y="288132"/>
                    <a:pt x="594685" y="300967"/>
                    <a:pt x="584741" y="285859"/>
                  </a:cubicBezTo>
                  <a:cubicBezTo>
                    <a:pt x="581209" y="280445"/>
                    <a:pt x="568748" y="272991"/>
                    <a:pt x="570980" y="267643"/>
                  </a:cubicBezTo>
                  <a:cubicBezTo>
                    <a:pt x="574146" y="260190"/>
                    <a:pt x="569601" y="256313"/>
                    <a:pt x="566921" y="248124"/>
                  </a:cubicBezTo>
                  <a:cubicBezTo>
                    <a:pt x="563836" y="238097"/>
                    <a:pt x="575039" y="245183"/>
                    <a:pt x="576257" y="240904"/>
                  </a:cubicBezTo>
                  <a:cubicBezTo>
                    <a:pt x="577719" y="235356"/>
                    <a:pt x="572198" y="230075"/>
                    <a:pt x="584659" y="231245"/>
                  </a:cubicBezTo>
                  <a:cubicBezTo>
                    <a:pt x="573091" y="222455"/>
                    <a:pt x="558885" y="216305"/>
                    <a:pt x="543541" y="213397"/>
                  </a:cubicBezTo>
                  <a:cubicBezTo>
                    <a:pt x="525642" y="210255"/>
                    <a:pt x="531365" y="224895"/>
                    <a:pt x="516550" y="223992"/>
                  </a:cubicBezTo>
                  <a:cubicBezTo>
                    <a:pt x="504373" y="223257"/>
                    <a:pt x="502506" y="227903"/>
                    <a:pt x="493454" y="231880"/>
                  </a:cubicBezTo>
                  <a:cubicBezTo>
                    <a:pt x="488664" y="233986"/>
                    <a:pt x="489841" y="240102"/>
                    <a:pt x="484524" y="241372"/>
                  </a:cubicBezTo>
                  <a:cubicBezTo>
                    <a:pt x="479207" y="242642"/>
                    <a:pt x="466502" y="238030"/>
                    <a:pt x="460170" y="237495"/>
                  </a:cubicBezTo>
                  <a:cubicBezTo>
                    <a:pt x="444989" y="236359"/>
                    <a:pt x="442433" y="224126"/>
                    <a:pt x="424776" y="222221"/>
                  </a:cubicBezTo>
                  <a:cubicBezTo>
                    <a:pt x="418769" y="221586"/>
                    <a:pt x="413410" y="222856"/>
                    <a:pt x="407282" y="221853"/>
                  </a:cubicBezTo>
                  <a:cubicBezTo>
                    <a:pt x="398150" y="220416"/>
                    <a:pt x="389504" y="215536"/>
                    <a:pt x="380818" y="212695"/>
                  </a:cubicBezTo>
                  <a:cubicBezTo>
                    <a:pt x="375338" y="210924"/>
                    <a:pt x="369656" y="211859"/>
                    <a:pt x="365597" y="208049"/>
                  </a:cubicBezTo>
                  <a:cubicBezTo>
                    <a:pt x="362430" y="205074"/>
                    <a:pt x="353054" y="197186"/>
                    <a:pt x="351958" y="194078"/>
                  </a:cubicBezTo>
                  <a:cubicBezTo>
                    <a:pt x="349807" y="187962"/>
                    <a:pt x="355287" y="180709"/>
                    <a:pt x="341161" y="182079"/>
                  </a:cubicBezTo>
                  <a:cubicBezTo>
                    <a:pt x="333571" y="182681"/>
                    <a:pt x="326508" y="185589"/>
                    <a:pt x="321313" y="190201"/>
                  </a:cubicBezTo>
                  <a:cubicBezTo>
                    <a:pt x="317050" y="194479"/>
                    <a:pt x="320623" y="197320"/>
                    <a:pt x="322652" y="202534"/>
                  </a:cubicBezTo>
                  <a:cubicBezTo>
                    <a:pt x="325331" y="209453"/>
                    <a:pt x="321800" y="215168"/>
                    <a:pt x="321841" y="221652"/>
                  </a:cubicBezTo>
                  <a:cubicBezTo>
                    <a:pt x="321841" y="231446"/>
                    <a:pt x="341689" y="238598"/>
                    <a:pt x="336250" y="248625"/>
                  </a:cubicBezTo>
                  <a:cubicBezTo>
                    <a:pt x="333084" y="254475"/>
                    <a:pt x="332191" y="273526"/>
                    <a:pt x="345951" y="277871"/>
                  </a:cubicBezTo>
                  <a:cubicBezTo>
                    <a:pt x="355976" y="281046"/>
                    <a:pt x="362187" y="279242"/>
                    <a:pt x="365758" y="288500"/>
                  </a:cubicBezTo>
                  <a:cubicBezTo>
                    <a:pt x="368031" y="294516"/>
                    <a:pt x="370142" y="295418"/>
                    <a:pt x="379437" y="297323"/>
                  </a:cubicBezTo>
                  <a:cubicBezTo>
                    <a:pt x="395145" y="300666"/>
                    <a:pt x="404116" y="302872"/>
                    <a:pt x="417023" y="311194"/>
                  </a:cubicBezTo>
                  <a:cubicBezTo>
                    <a:pt x="428713" y="318748"/>
                    <a:pt x="427212" y="327906"/>
                    <a:pt x="442433" y="330981"/>
                  </a:cubicBezTo>
                  <a:cubicBezTo>
                    <a:pt x="458669" y="334324"/>
                    <a:pt x="473524" y="337933"/>
                    <a:pt x="482413" y="329176"/>
                  </a:cubicBezTo>
                  <a:cubicBezTo>
                    <a:pt x="488421" y="323260"/>
                    <a:pt x="494388" y="308320"/>
                    <a:pt x="508188" y="308654"/>
                  </a:cubicBezTo>
                  <a:close/>
                  <a:moveTo>
                    <a:pt x="489477" y="458091"/>
                  </a:moveTo>
                  <a:cubicBezTo>
                    <a:pt x="491506" y="464174"/>
                    <a:pt x="505915" y="473098"/>
                    <a:pt x="511881" y="478646"/>
                  </a:cubicBezTo>
                  <a:cubicBezTo>
                    <a:pt x="515940" y="482557"/>
                    <a:pt x="535789" y="492283"/>
                    <a:pt x="530147" y="481320"/>
                  </a:cubicBezTo>
                  <a:cubicBezTo>
                    <a:pt x="526656" y="474636"/>
                    <a:pt x="515251" y="468218"/>
                    <a:pt x="507214" y="463840"/>
                  </a:cubicBezTo>
                  <a:cubicBezTo>
                    <a:pt x="506077" y="463238"/>
                    <a:pt x="488177" y="454314"/>
                    <a:pt x="489477" y="458091"/>
                  </a:cubicBezTo>
                  <a:cubicBezTo>
                    <a:pt x="491344" y="463973"/>
                    <a:pt x="487163" y="451573"/>
                    <a:pt x="489395" y="458091"/>
                  </a:cubicBezTo>
                  <a:close/>
                  <a:moveTo>
                    <a:pt x="465650" y="421024"/>
                  </a:moveTo>
                  <a:cubicBezTo>
                    <a:pt x="453270" y="427709"/>
                    <a:pt x="431352" y="400201"/>
                    <a:pt x="425060" y="414540"/>
                  </a:cubicBezTo>
                  <a:cubicBezTo>
                    <a:pt x="419337" y="427408"/>
                    <a:pt x="458100" y="434594"/>
                    <a:pt x="467842" y="436499"/>
                  </a:cubicBezTo>
                  <a:cubicBezTo>
                    <a:pt x="472875" y="437502"/>
                    <a:pt x="511638" y="451206"/>
                    <a:pt x="496458" y="436499"/>
                  </a:cubicBezTo>
                  <a:cubicBezTo>
                    <a:pt x="492845" y="432957"/>
                    <a:pt x="472104" y="417581"/>
                    <a:pt x="465772" y="42102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28223F85-939A-4770-824D-F5FE6B813C46}"/>
                </a:ext>
              </a:extLst>
            </p:cNvPr>
            <p:cNvSpPr/>
            <p:nvPr/>
          </p:nvSpPr>
          <p:spPr>
            <a:xfrm>
              <a:off x="9074597" y="5606097"/>
              <a:ext cx="86612" cy="21730"/>
            </a:xfrm>
            <a:custGeom>
              <a:avLst/>
              <a:gdLst>
                <a:gd name="connsiteX0" fmla="*/ 8668 w 86612"/>
                <a:gd name="connsiteY0" fmla="*/ 1867 h 21730"/>
                <a:gd name="connsiteX1" fmla="*/ -60 w 86612"/>
                <a:gd name="connsiteY1" fmla="*/ -339 h 21730"/>
                <a:gd name="connsiteX2" fmla="*/ 12646 w 86612"/>
                <a:gd name="connsiteY2" fmla="*/ 3004 h 21730"/>
                <a:gd name="connsiteX3" fmla="*/ 8587 w 86612"/>
                <a:gd name="connsiteY3" fmla="*/ 1800 h 21730"/>
                <a:gd name="connsiteX4" fmla="*/ 8668 w 86612"/>
                <a:gd name="connsiteY4" fmla="*/ 1867 h 21730"/>
                <a:gd name="connsiteX5" fmla="*/ 51125 w 86612"/>
                <a:gd name="connsiteY5" fmla="*/ 5510 h 21730"/>
                <a:gd name="connsiteX6" fmla="*/ 21981 w 86612"/>
                <a:gd name="connsiteY6" fmla="*/ 4474 h 21730"/>
                <a:gd name="connsiteX7" fmla="*/ 30992 w 86612"/>
                <a:gd name="connsiteY7" fmla="*/ 13265 h 21730"/>
                <a:gd name="connsiteX8" fmla="*/ 47228 w 86612"/>
                <a:gd name="connsiteY8" fmla="*/ 15604 h 21730"/>
                <a:gd name="connsiteX9" fmla="*/ 80065 w 86612"/>
                <a:gd name="connsiteY9" fmla="*/ 21052 h 21730"/>
                <a:gd name="connsiteX10" fmla="*/ 51003 w 86612"/>
                <a:gd name="connsiteY10" fmla="*/ 5510 h 21730"/>
                <a:gd name="connsiteX11" fmla="*/ 51125 w 86612"/>
                <a:gd name="connsiteY11" fmla="*/ 5210 h 2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12" h="21730">
                  <a:moveTo>
                    <a:pt x="8668" y="1867"/>
                  </a:moveTo>
                  <a:cubicBezTo>
                    <a:pt x="5867" y="864"/>
                    <a:pt x="2944" y="96"/>
                    <a:pt x="-60" y="-339"/>
                  </a:cubicBezTo>
                  <a:cubicBezTo>
                    <a:pt x="3310" y="6346"/>
                    <a:pt x="7125" y="6346"/>
                    <a:pt x="12646" y="3004"/>
                  </a:cubicBezTo>
                  <a:lnTo>
                    <a:pt x="8587" y="1800"/>
                  </a:lnTo>
                  <a:cubicBezTo>
                    <a:pt x="5745" y="631"/>
                    <a:pt x="8830" y="1867"/>
                    <a:pt x="8668" y="1867"/>
                  </a:cubicBezTo>
                  <a:close/>
                  <a:moveTo>
                    <a:pt x="51125" y="5510"/>
                  </a:moveTo>
                  <a:cubicBezTo>
                    <a:pt x="40977" y="631"/>
                    <a:pt x="31560" y="4641"/>
                    <a:pt x="21981" y="4474"/>
                  </a:cubicBezTo>
                  <a:cubicBezTo>
                    <a:pt x="25634" y="9054"/>
                    <a:pt x="23280" y="12429"/>
                    <a:pt x="30992" y="13265"/>
                  </a:cubicBezTo>
                  <a:cubicBezTo>
                    <a:pt x="36431" y="13833"/>
                    <a:pt x="41911" y="14702"/>
                    <a:pt x="47228" y="15604"/>
                  </a:cubicBezTo>
                  <a:cubicBezTo>
                    <a:pt x="58187" y="17409"/>
                    <a:pt x="69187" y="19715"/>
                    <a:pt x="80065" y="21052"/>
                  </a:cubicBezTo>
                  <a:cubicBezTo>
                    <a:pt x="103647" y="23927"/>
                    <a:pt x="55711" y="7683"/>
                    <a:pt x="51003" y="5510"/>
                  </a:cubicBezTo>
                  <a:cubicBezTo>
                    <a:pt x="41464" y="698"/>
                    <a:pt x="65493" y="12162"/>
                    <a:pt x="51125" y="521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9CFD0E61-54C3-48D1-94A7-5AC0800CEAF7}"/>
                </a:ext>
              </a:extLst>
            </p:cNvPr>
            <p:cNvSpPr/>
            <p:nvPr/>
          </p:nvSpPr>
          <p:spPr>
            <a:xfrm>
              <a:off x="5986238" y="3974558"/>
              <a:ext cx="364913" cy="214533"/>
            </a:xfrm>
            <a:custGeom>
              <a:avLst/>
              <a:gdLst>
                <a:gd name="connsiteX0" fmla="*/ 251442 w 364913"/>
                <a:gd name="connsiteY0" fmla="*/ 185530 h 214533"/>
                <a:gd name="connsiteX1" fmla="*/ 218523 w 364913"/>
                <a:gd name="connsiteY1" fmla="*/ 186365 h 214533"/>
                <a:gd name="connsiteX2" fmla="*/ 186701 w 364913"/>
                <a:gd name="connsiteY2" fmla="*/ 189708 h 214533"/>
                <a:gd name="connsiteX3" fmla="*/ 237925 w 364913"/>
                <a:gd name="connsiteY3" fmla="*/ 207055 h 214533"/>
                <a:gd name="connsiteX4" fmla="*/ 254648 w 364913"/>
                <a:gd name="connsiteY4" fmla="*/ 214174 h 214533"/>
                <a:gd name="connsiteX5" fmla="*/ 263415 w 364913"/>
                <a:gd name="connsiteY5" fmla="*/ 199233 h 214533"/>
                <a:gd name="connsiteX6" fmla="*/ 251238 w 364913"/>
                <a:gd name="connsiteY6" fmla="*/ 185630 h 214533"/>
                <a:gd name="connsiteX7" fmla="*/ 69924 w 364913"/>
                <a:gd name="connsiteY7" fmla="*/ 127807 h 214533"/>
                <a:gd name="connsiteX8" fmla="*/ 46869 w 364913"/>
                <a:gd name="connsiteY8" fmla="*/ 131150 h 214533"/>
                <a:gd name="connsiteX9" fmla="*/ 55555 w 364913"/>
                <a:gd name="connsiteY9" fmla="*/ 143015 h 214533"/>
                <a:gd name="connsiteX10" fmla="*/ 72238 w 364913"/>
                <a:gd name="connsiteY10" fmla="*/ 169286 h 214533"/>
                <a:gd name="connsiteX11" fmla="*/ 96023 w 364913"/>
                <a:gd name="connsiteY11" fmla="*/ 159727 h 214533"/>
                <a:gd name="connsiteX12" fmla="*/ 97525 w 364913"/>
                <a:gd name="connsiteY12" fmla="*/ 141010 h 214533"/>
                <a:gd name="connsiteX13" fmla="*/ 94521 w 364913"/>
                <a:gd name="connsiteY13" fmla="*/ 127640 h 214533"/>
                <a:gd name="connsiteX14" fmla="*/ 69924 w 364913"/>
                <a:gd name="connsiteY14" fmla="*/ 128075 h 214533"/>
                <a:gd name="connsiteX15" fmla="*/ 301286 w 364913"/>
                <a:gd name="connsiteY15" fmla="*/ 121122 h 214533"/>
                <a:gd name="connsiteX16" fmla="*/ 292315 w 364913"/>
                <a:gd name="connsiteY16" fmla="*/ 114204 h 214533"/>
                <a:gd name="connsiteX17" fmla="*/ 272020 w 364913"/>
                <a:gd name="connsiteY17" fmla="*/ 110293 h 214533"/>
                <a:gd name="connsiteX18" fmla="*/ 234556 w 364913"/>
                <a:gd name="connsiteY18" fmla="*/ 91409 h 214533"/>
                <a:gd name="connsiteX19" fmla="*/ 208944 w 364913"/>
                <a:gd name="connsiteY19" fmla="*/ 68982 h 214533"/>
                <a:gd name="connsiteX20" fmla="*/ 181546 w 364913"/>
                <a:gd name="connsiteY20" fmla="*/ 54142 h 214533"/>
                <a:gd name="connsiteX21" fmla="*/ 186417 w 364913"/>
                <a:gd name="connsiteY21" fmla="*/ 35224 h 214533"/>
                <a:gd name="connsiteX22" fmla="*/ 198594 w 364913"/>
                <a:gd name="connsiteY22" fmla="*/ 26300 h 214533"/>
                <a:gd name="connsiteX23" fmla="*/ 200704 w 364913"/>
                <a:gd name="connsiteY23" fmla="*/ 8619 h 214533"/>
                <a:gd name="connsiteX24" fmla="*/ 181952 w 364913"/>
                <a:gd name="connsiteY24" fmla="*/ 5276 h 214533"/>
                <a:gd name="connsiteX25" fmla="*/ 175295 w 364913"/>
                <a:gd name="connsiteY25" fmla="*/ -339 h 214533"/>
                <a:gd name="connsiteX26" fmla="*/ 136572 w 364913"/>
                <a:gd name="connsiteY26" fmla="*/ 5410 h 214533"/>
                <a:gd name="connsiteX27" fmla="*/ 119281 w 364913"/>
                <a:gd name="connsiteY27" fmla="*/ 9789 h 214533"/>
                <a:gd name="connsiteX28" fmla="*/ 108363 w 364913"/>
                <a:gd name="connsiteY28" fmla="*/ 10791 h 214533"/>
                <a:gd name="connsiteX29" fmla="*/ 95780 w 364913"/>
                <a:gd name="connsiteY29" fmla="*/ 15337 h 214533"/>
                <a:gd name="connsiteX30" fmla="*/ 75891 w 364913"/>
                <a:gd name="connsiteY30" fmla="*/ 25598 h 214533"/>
                <a:gd name="connsiteX31" fmla="*/ 48939 w 364913"/>
                <a:gd name="connsiteY31" fmla="*/ 16841 h 214533"/>
                <a:gd name="connsiteX32" fmla="*/ 16954 w 364913"/>
                <a:gd name="connsiteY32" fmla="*/ 26367 h 214533"/>
                <a:gd name="connsiteX33" fmla="*/ 6604 w 364913"/>
                <a:gd name="connsiteY33" fmla="*/ 41741 h 214533"/>
                <a:gd name="connsiteX34" fmla="*/ 9729 w 364913"/>
                <a:gd name="connsiteY34" fmla="*/ 54543 h 214533"/>
                <a:gd name="connsiteX35" fmla="*/ 24626 w 364913"/>
                <a:gd name="connsiteY35" fmla="*/ 62865 h 214533"/>
                <a:gd name="connsiteX36" fmla="*/ 28685 w 364913"/>
                <a:gd name="connsiteY36" fmla="*/ 71054 h 214533"/>
                <a:gd name="connsiteX37" fmla="*/ 58721 w 364913"/>
                <a:gd name="connsiteY37" fmla="*/ 60058 h 214533"/>
                <a:gd name="connsiteX38" fmla="*/ 108079 w 364913"/>
                <a:gd name="connsiteY38" fmla="*/ 65740 h 214533"/>
                <a:gd name="connsiteX39" fmla="*/ 152281 w 364913"/>
                <a:gd name="connsiteY39" fmla="*/ 98829 h 214533"/>
                <a:gd name="connsiteX40" fmla="*/ 187148 w 364913"/>
                <a:gd name="connsiteY40" fmla="*/ 115541 h 214533"/>
                <a:gd name="connsiteX41" fmla="*/ 231796 w 364913"/>
                <a:gd name="connsiteY41" fmla="*/ 129412 h 214533"/>
                <a:gd name="connsiteX42" fmla="*/ 266825 w 364913"/>
                <a:gd name="connsiteY42" fmla="*/ 143617 h 214533"/>
                <a:gd name="connsiteX43" fmla="*/ 281356 w 364913"/>
                <a:gd name="connsiteY43" fmla="*/ 148196 h 214533"/>
                <a:gd name="connsiteX44" fmla="*/ 289474 w 364913"/>
                <a:gd name="connsiteY44" fmla="*/ 160195 h 214533"/>
                <a:gd name="connsiteX45" fmla="*/ 283102 w 364913"/>
                <a:gd name="connsiteY45" fmla="*/ 182421 h 214533"/>
                <a:gd name="connsiteX46" fmla="*/ 300636 w 364913"/>
                <a:gd name="connsiteY46" fmla="*/ 181118 h 214533"/>
                <a:gd name="connsiteX47" fmla="*/ 306969 w 364913"/>
                <a:gd name="connsiteY47" fmla="*/ 172394 h 214533"/>
                <a:gd name="connsiteX48" fmla="*/ 323204 w 364913"/>
                <a:gd name="connsiteY48" fmla="*/ 165710 h 214533"/>
                <a:gd name="connsiteX49" fmla="*/ 309119 w 364913"/>
                <a:gd name="connsiteY49" fmla="*/ 148764 h 214533"/>
                <a:gd name="connsiteX50" fmla="*/ 347152 w 364913"/>
                <a:gd name="connsiteY50" fmla="*/ 148129 h 214533"/>
                <a:gd name="connsiteX51" fmla="*/ 361724 w 364913"/>
                <a:gd name="connsiteY51" fmla="*/ 143115 h 214533"/>
                <a:gd name="connsiteX52" fmla="*/ 301367 w 364913"/>
                <a:gd name="connsiteY52" fmla="*/ 121423 h 21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64913" h="214533">
                  <a:moveTo>
                    <a:pt x="251442" y="185530"/>
                  </a:moveTo>
                  <a:cubicBezTo>
                    <a:pt x="240888" y="186633"/>
                    <a:pt x="229198" y="188337"/>
                    <a:pt x="218523" y="186365"/>
                  </a:cubicBezTo>
                  <a:cubicBezTo>
                    <a:pt x="207848" y="184393"/>
                    <a:pt x="192465" y="182455"/>
                    <a:pt x="186701" y="189708"/>
                  </a:cubicBezTo>
                  <a:cubicBezTo>
                    <a:pt x="180206" y="197730"/>
                    <a:pt x="230822" y="203679"/>
                    <a:pt x="237925" y="207055"/>
                  </a:cubicBezTo>
                  <a:cubicBezTo>
                    <a:pt x="242715" y="209294"/>
                    <a:pt x="247707" y="213739"/>
                    <a:pt x="254648" y="214174"/>
                  </a:cubicBezTo>
                  <a:cubicBezTo>
                    <a:pt x="269585" y="214742"/>
                    <a:pt x="261914" y="203445"/>
                    <a:pt x="263415" y="199233"/>
                  </a:cubicBezTo>
                  <a:cubicBezTo>
                    <a:pt x="267150" y="188605"/>
                    <a:pt x="289677" y="181619"/>
                    <a:pt x="251238" y="185630"/>
                  </a:cubicBezTo>
                  <a:close/>
                  <a:moveTo>
                    <a:pt x="69924" y="127807"/>
                  </a:moveTo>
                  <a:cubicBezTo>
                    <a:pt x="63714" y="130715"/>
                    <a:pt x="50400" y="127807"/>
                    <a:pt x="46869" y="131150"/>
                  </a:cubicBezTo>
                  <a:cubicBezTo>
                    <a:pt x="43338" y="134492"/>
                    <a:pt x="52796" y="140174"/>
                    <a:pt x="55555" y="143015"/>
                  </a:cubicBezTo>
                  <a:cubicBezTo>
                    <a:pt x="58316" y="145856"/>
                    <a:pt x="56611" y="177876"/>
                    <a:pt x="72238" y="169286"/>
                  </a:cubicBezTo>
                  <a:cubicBezTo>
                    <a:pt x="78976" y="165576"/>
                    <a:pt x="93182" y="165142"/>
                    <a:pt x="96023" y="159727"/>
                  </a:cubicBezTo>
                  <a:cubicBezTo>
                    <a:pt x="99067" y="153777"/>
                    <a:pt x="97079" y="147093"/>
                    <a:pt x="97525" y="141010"/>
                  </a:cubicBezTo>
                  <a:cubicBezTo>
                    <a:pt x="97850" y="136464"/>
                    <a:pt x="103248" y="130682"/>
                    <a:pt x="94521" y="127640"/>
                  </a:cubicBezTo>
                  <a:cubicBezTo>
                    <a:pt x="86607" y="124986"/>
                    <a:pt x="77717" y="125143"/>
                    <a:pt x="69924" y="128075"/>
                  </a:cubicBezTo>
                  <a:close/>
                  <a:moveTo>
                    <a:pt x="301286" y="121122"/>
                  </a:moveTo>
                  <a:cubicBezTo>
                    <a:pt x="297470" y="119672"/>
                    <a:pt x="294305" y="117245"/>
                    <a:pt x="292315" y="114204"/>
                  </a:cubicBezTo>
                  <a:cubicBezTo>
                    <a:pt x="288256" y="109759"/>
                    <a:pt x="279408" y="111162"/>
                    <a:pt x="272020" y="110293"/>
                  </a:cubicBezTo>
                  <a:cubicBezTo>
                    <a:pt x="257043" y="108231"/>
                    <a:pt x="243608" y="101463"/>
                    <a:pt x="234556" y="91409"/>
                  </a:cubicBezTo>
                  <a:cubicBezTo>
                    <a:pt x="226438" y="82552"/>
                    <a:pt x="225423" y="74931"/>
                    <a:pt x="208944" y="68982"/>
                  </a:cubicBezTo>
                  <a:cubicBezTo>
                    <a:pt x="198269" y="65105"/>
                    <a:pt x="183089" y="61963"/>
                    <a:pt x="181546" y="54142"/>
                  </a:cubicBezTo>
                  <a:cubicBezTo>
                    <a:pt x="180978" y="51267"/>
                    <a:pt x="183778" y="36761"/>
                    <a:pt x="186417" y="35224"/>
                  </a:cubicBezTo>
                  <a:cubicBezTo>
                    <a:pt x="194819" y="30344"/>
                    <a:pt x="198594" y="34054"/>
                    <a:pt x="198594" y="26300"/>
                  </a:cubicBezTo>
                  <a:cubicBezTo>
                    <a:pt x="198634" y="20367"/>
                    <a:pt x="199365" y="14448"/>
                    <a:pt x="200704" y="8619"/>
                  </a:cubicBezTo>
                  <a:cubicBezTo>
                    <a:pt x="195671" y="8318"/>
                    <a:pt x="184468" y="8385"/>
                    <a:pt x="181952" y="5276"/>
                  </a:cubicBezTo>
                  <a:cubicBezTo>
                    <a:pt x="180166" y="3137"/>
                    <a:pt x="180775" y="-339"/>
                    <a:pt x="175295" y="-339"/>
                  </a:cubicBezTo>
                  <a:cubicBezTo>
                    <a:pt x="159668" y="-339"/>
                    <a:pt x="150373" y="4808"/>
                    <a:pt x="136572" y="5410"/>
                  </a:cubicBezTo>
                  <a:cubicBezTo>
                    <a:pt x="123787" y="5978"/>
                    <a:pt x="126750" y="3505"/>
                    <a:pt x="119281" y="9789"/>
                  </a:cubicBezTo>
                  <a:cubicBezTo>
                    <a:pt x="116481" y="12128"/>
                    <a:pt x="112016" y="9789"/>
                    <a:pt x="108363" y="10791"/>
                  </a:cubicBezTo>
                  <a:cubicBezTo>
                    <a:pt x="101868" y="12763"/>
                    <a:pt x="107429" y="16039"/>
                    <a:pt x="95780" y="15337"/>
                  </a:cubicBezTo>
                  <a:cubicBezTo>
                    <a:pt x="73456" y="13966"/>
                    <a:pt x="87905" y="23826"/>
                    <a:pt x="75891" y="25598"/>
                  </a:cubicBezTo>
                  <a:cubicBezTo>
                    <a:pt x="63064" y="27536"/>
                    <a:pt x="58803" y="6012"/>
                    <a:pt x="48939" y="16841"/>
                  </a:cubicBezTo>
                  <a:cubicBezTo>
                    <a:pt x="40821" y="25932"/>
                    <a:pt x="35057" y="25364"/>
                    <a:pt x="16954" y="26367"/>
                  </a:cubicBezTo>
                  <a:cubicBezTo>
                    <a:pt x="-5086" y="27637"/>
                    <a:pt x="24667" y="36728"/>
                    <a:pt x="6604" y="41741"/>
                  </a:cubicBezTo>
                  <a:cubicBezTo>
                    <a:pt x="-13041" y="47256"/>
                    <a:pt x="17807" y="47658"/>
                    <a:pt x="9729" y="54543"/>
                  </a:cubicBezTo>
                  <a:cubicBezTo>
                    <a:pt x="1652" y="61428"/>
                    <a:pt x="15980" y="62765"/>
                    <a:pt x="24626" y="62865"/>
                  </a:cubicBezTo>
                  <a:cubicBezTo>
                    <a:pt x="37209" y="62865"/>
                    <a:pt x="29416" y="67010"/>
                    <a:pt x="28685" y="71054"/>
                  </a:cubicBezTo>
                  <a:cubicBezTo>
                    <a:pt x="45165" y="68313"/>
                    <a:pt x="46057" y="64369"/>
                    <a:pt x="58721" y="60058"/>
                  </a:cubicBezTo>
                  <a:cubicBezTo>
                    <a:pt x="74552" y="54576"/>
                    <a:pt x="96104" y="59423"/>
                    <a:pt x="108079" y="65740"/>
                  </a:cubicBezTo>
                  <a:cubicBezTo>
                    <a:pt x="128130" y="76268"/>
                    <a:pt x="125938" y="89738"/>
                    <a:pt x="152281" y="98829"/>
                  </a:cubicBezTo>
                  <a:cubicBezTo>
                    <a:pt x="165675" y="103441"/>
                    <a:pt x="175620" y="109692"/>
                    <a:pt x="187148" y="115541"/>
                  </a:cubicBezTo>
                  <a:cubicBezTo>
                    <a:pt x="200136" y="122025"/>
                    <a:pt x="218199" y="123061"/>
                    <a:pt x="231796" y="129412"/>
                  </a:cubicBezTo>
                  <a:cubicBezTo>
                    <a:pt x="243973" y="134893"/>
                    <a:pt x="256759" y="136832"/>
                    <a:pt x="266825" y="143617"/>
                  </a:cubicBezTo>
                  <a:cubicBezTo>
                    <a:pt x="270884" y="146224"/>
                    <a:pt x="278028" y="145889"/>
                    <a:pt x="281356" y="148196"/>
                  </a:cubicBezTo>
                  <a:cubicBezTo>
                    <a:pt x="284684" y="150502"/>
                    <a:pt x="287363" y="157287"/>
                    <a:pt x="289474" y="160195"/>
                  </a:cubicBezTo>
                  <a:cubicBezTo>
                    <a:pt x="296334" y="169520"/>
                    <a:pt x="283304" y="173999"/>
                    <a:pt x="283102" y="182421"/>
                  </a:cubicBezTo>
                  <a:cubicBezTo>
                    <a:pt x="282858" y="193752"/>
                    <a:pt x="295684" y="186532"/>
                    <a:pt x="300636" y="181118"/>
                  </a:cubicBezTo>
                  <a:cubicBezTo>
                    <a:pt x="302950" y="178611"/>
                    <a:pt x="303559" y="174433"/>
                    <a:pt x="306969" y="172394"/>
                  </a:cubicBezTo>
                  <a:cubicBezTo>
                    <a:pt x="311595" y="169553"/>
                    <a:pt x="318537" y="168617"/>
                    <a:pt x="323204" y="165710"/>
                  </a:cubicBezTo>
                  <a:cubicBezTo>
                    <a:pt x="331038" y="160429"/>
                    <a:pt x="305548" y="155683"/>
                    <a:pt x="309119" y="148764"/>
                  </a:cubicBezTo>
                  <a:cubicBezTo>
                    <a:pt x="314315" y="138737"/>
                    <a:pt x="337045" y="144285"/>
                    <a:pt x="347152" y="148129"/>
                  </a:cubicBezTo>
                  <a:cubicBezTo>
                    <a:pt x="357259" y="151973"/>
                    <a:pt x="371141" y="151104"/>
                    <a:pt x="361724" y="143115"/>
                  </a:cubicBezTo>
                  <a:cubicBezTo>
                    <a:pt x="348979" y="132320"/>
                    <a:pt x="320404" y="128041"/>
                    <a:pt x="301367" y="12142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3ADE8EA4-A824-4D3A-B3BE-8415AE004CED}"/>
                </a:ext>
              </a:extLst>
            </p:cNvPr>
            <p:cNvSpPr/>
            <p:nvPr/>
          </p:nvSpPr>
          <p:spPr>
            <a:xfrm>
              <a:off x="6353731" y="4056078"/>
              <a:ext cx="37680" cy="27741"/>
            </a:xfrm>
            <a:custGeom>
              <a:avLst/>
              <a:gdLst>
                <a:gd name="connsiteX0" fmla="*/ 13065 w 37680"/>
                <a:gd name="connsiteY0" fmla="*/ -339 h 27741"/>
                <a:gd name="connsiteX1" fmla="*/ 76 w 37680"/>
                <a:gd name="connsiteY1" fmla="*/ 14033 h 27741"/>
                <a:gd name="connsiteX2" fmla="*/ 22724 w 37680"/>
                <a:gd name="connsiteY2" fmla="*/ 27403 h 27741"/>
                <a:gd name="connsiteX3" fmla="*/ 37621 w 37680"/>
                <a:gd name="connsiteY3" fmla="*/ 15738 h 27741"/>
                <a:gd name="connsiteX4" fmla="*/ 13267 w 37680"/>
                <a:gd name="connsiteY4" fmla="*/ -272 h 27741"/>
                <a:gd name="connsiteX5" fmla="*/ 13065 w 37680"/>
                <a:gd name="connsiteY5" fmla="*/ -339 h 2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80" h="27741">
                  <a:moveTo>
                    <a:pt x="13065" y="-339"/>
                  </a:moveTo>
                  <a:cubicBezTo>
                    <a:pt x="6164" y="4307"/>
                    <a:pt x="1780" y="8284"/>
                    <a:pt x="76" y="14033"/>
                  </a:cubicBezTo>
                  <a:cubicBezTo>
                    <a:pt x="-1629" y="19782"/>
                    <a:pt x="13186" y="24428"/>
                    <a:pt x="22724" y="27403"/>
                  </a:cubicBezTo>
                  <a:cubicBezTo>
                    <a:pt x="24145" y="23693"/>
                    <a:pt x="29300" y="16540"/>
                    <a:pt x="37621" y="15738"/>
                  </a:cubicBezTo>
                  <a:cubicBezTo>
                    <a:pt x="29828" y="10290"/>
                    <a:pt x="21872" y="4775"/>
                    <a:pt x="13267" y="-272"/>
                  </a:cubicBezTo>
                  <a:cubicBezTo>
                    <a:pt x="6286" y="4374"/>
                    <a:pt x="19883" y="3572"/>
                    <a:pt x="1306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438366F0-4F07-4FA8-9196-939714262DBB}"/>
                </a:ext>
              </a:extLst>
            </p:cNvPr>
            <p:cNvSpPr/>
            <p:nvPr/>
          </p:nvSpPr>
          <p:spPr>
            <a:xfrm>
              <a:off x="6365693" y="3996957"/>
              <a:ext cx="123537" cy="84606"/>
            </a:xfrm>
            <a:custGeom>
              <a:avLst/>
              <a:gdLst>
                <a:gd name="connsiteX0" fmla="*/ 114024 w 123537"/>
                <a:gd name="connsiteY0" fmla="*/ 58348 h 84606"/>
                <a:gd name="connsiteX1" fmla="*/ 110857 w 123537"/>
                <a:gd name="connsiteY1" fmla="*/ 48789 h 84606"/>
                <a:gd name="connsiteX2" fmla="*/ 115931 w 123537"/>
                <a:gd name="connsiteY2" fmla="*/ 37592 h 84606"/>
                <a:gd name="connsiteX3" fmla="*/ 82972 w 123537"/>
                <a:gd name="connsiteY3" fmla="*/ 30907 h 84606"/>
                <a:gd name="connsiteX4" fmla="*/ 76681 w 123537"/>
                <a:gd name="connsiteY4" fmla="*/ 19810 h 84606"/>
                <a:gd name="connsiteX5" fmla="*/ 56102 w 123537"/>
                <a:gd name="connsiteY5" fmla="*/ 2463 h 84606"/>
                <a:gd name="connsiteX6" fmla="*/ 21398 w 123537"/>
                <a:gd name="connsiteY6" fmla="*/ 358 h 84606"/>
                <a:gd name="connsiteX7" fmla="*/ 372 w 123537"/>
                <a:gd name="connsiteY7" fmla="*/ 7845 h 84606"/>
                <a:gd name="connsiteX8" fmla="*/ 14538 w 123537"/>
                <a:gd name="connsiteY8" fmla="*/ 19209 h 84606"/>
                <a:gd name="connsiteX9" fmla="*/ 18191 w 123537"/>
                <a:gd name="connsiteY9" fmla="*/ 43040 h 84606"/>
                <a:gd name="connsiteX10" fmla="*/ 1103 w 123537"/>
                <a:gd name="connsiteY10" fmla="*/ 58715 h 84606"/>
                <a:gd name="connsiteX11" fmla="*/ 33899 w 123537"/>
                <a:gd name="connsiteY11" fmla="*/ 76229 h 84606"/>
                <a:gd name="connsiteX12" fmla="*/ 60323 w 123537"/>
                <a:gd name="connsiteY12" fmla="*/ 84218 h 84606"/>
                <a:gd name="connsiteX13" fmla="*/ 112116 w 123537"/>
                <a:gd name="connsiteY13" fmla="*/ 78369 h 84606"/>
                <a:gd name="connsiteX14" fmla="*/ 114024 w 123537"/>
                <a:gd name="connsiteY14" fmla="*/ 58314 h 8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537" h="84606">
                  <a:moveTo>
                    <a:pt x="114024" y="58348"/>
                  </a:moveTo>
                  <a:cubicBezTo>
                    <a:pt x="109315" y="55841"/>
                    <a:pt x="107773" y="51663"/>
                    <a:pt x="110857" y="48789"/>
                  </a:cubicBezTo>
                  <a:cubicBezTo>
                    <a:pt x="116499" y="43207"/>
                    <a:pt x="115525" y="44176"/>
                    <a:pt x="115931" y="37592"/>
                  </a:cubicBezTo>
                  <a:cubicBezTo>
                    <a:pt x="116175" y="33247"/>
                    <a:pt x="88411" y="31609"/>
                    <a:pt x="82972" y="30907"/>
                  </a:cubicBezTo>
                  <a:cubicBezTo>
                    <a:pt x="73109" y="29704"/>
                    <a:pt x="85733" y="20111"/>
                    <a:pt x="76681" y="19810"/>
                  </a:cubicBezTo>
                  <a:cubicBezTo>
                    <a:pt x="70593" y="19576"/>
                    <a:pt x="53139" y="4034"/>
                    <a:pt x="56102" y="2463"/>
                  </a:cubicBezTo>
                  <a:cubicBezTo>
                    <a:pt x="42099" y="893"/>
                    <a:pt x="35117" y="-1547"/>
                    <a:pt x="21398" y="358"/>
                  </a:cubicBezTo>
                  <a:cubicBezTo>
                    <a:pt x="10642" y="1828"/>
                    <a:pt x="-2631" y="759"/>
                    <a:pt x="372" y="7845"/>
                  </a:cubicBezTo>
                  <a:cubicBezTo>
                    <a:pt x="2686" y="13193"/>
                    <a:pt x="12914" y="14162"/>
                    <a:pt x="14538" y="19209"/>
                  </a:cubicBezTo>
                  <a:cubicBezTo>
                    <a:pt x="17704" y="26866"/>
                    <a:pt x="18962" y="34975"/>
                    <a:pt x="18191" y="43040"/>
                  </a:cubicBezTo>
                  <a:cubicBezTo>
                    <a:pt x="16730" y="52231"/>
                    <a:pt x="10966" y="52064"/>
                    <a:pt x="1103" y="58715"/>
                  </a:cubicBezTo>
                  <a:cubicBezTo>
                    <a:pt x="12712" y="65400"/>
                    <a:pt x="19977" y="72085"/>
                    <a:pt x="33899" y="76229"/>
                  </a:cubicBezTo>
                  <a:cubicBezTo>
                    <a:pt x="42017" y="78703"/>
                    <a:pt x="51028" y="84886"/>
                    <a:pt x="60323" y="84218"/>
                  </a:cubicBezTo>
                  <a:cubicBezTo>
                    <a:pt x="71486" y="83349"/>
                    <a:pt x="110817" y="83716"/>
                    <a:pt x="112116" y="78369"/>
                  </a:cubicBezTo>
                  <a:cubicBezTo>
                    <a:pt x="114673" y="67873"/>
                    <a:pt x="135130" y="69478"/>
                    <a:pt x="114024" y="5831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49139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E5B4AB4-89D2-46C0-89D7-52D057E8BD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3" t="2320" r="1065" b="21176"/>
          <a:stretch/>
        </p:blipFill>
        <p:spPr>
          <a:xfrm flipH="1">
            <a:off x="-47036" y="-1"/>
            <a:ext cx="12239036" cy="6858001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8AA7223-367F-4C02-93F1-BD41C5AE1AEB}"/>
              </a:ext>
            </a:extLst>
          </p:cNvPr>
          <p:cNvSpPr/>
          <p:nvPr userDrawn="1"/>
        </p:nvSpPr>
        <p:spPr>
          <a:xfrm>
            <a:off x="-36785" y="482600"/>
            <a:ext cx="6901594" cy="5943600"/>
          </a:xfrm>
          <a:custGeom>
            <a:avLst/>
            <a:gdLst>
              <a:gd name="connsiteX0" fmla="*/ 0 w 6901594"/>
              <a:gd name="connsiteY0" fmla="*/ 0 h 5943600"/>
              <a:gd name="connsiteX1" fmla="*/ 6901594 w 6901594"/>
              <a:gd name="connsiteY1" fmla="*/ 0 h 5943600"/>
              <a:gd name="connsiteX2" fmla="*/ 6795681 w 6901594"/>
              <a:gd name="connsiteY2" fmla="*/ 321681 h 5943600"/>
              <a:gd name="connsiteX3" fmla="*/ 5382377 w 6901594"/>
              <a:gd name="connsiteY3" fmla="*/ 4089896 h 5943600"/>
              <a:gd name="connsiteX4" fmla="*/ 4673792 w 6901594"/>
              <a:gd name="connsiteY4" fmla="*/ 5921477 h 5943600"/>
              <a:gd name="connsiteX5" fmla="*/ 0 w 6901594"/>
              <a:gd name="connsiteY5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01594" h="5943600">
                <a:moveTo>
                  <a:pt x="0" y="0"/>
                </a:moveTo>
                <a:lnTo>
                  <a:pt x="6901594" y="0"/>
                </a:lnTo>
                <a:lnTo>
                  <a:pt x="6795681" y="321681"/>
                </a:lnTo>
                <a:lnTo>
                  <a:pt x="5382377" y="4089896"/>
                </a:lnTo>
                <a:lnTo>
                  <a:pt x="4673792" y="5921477"/>
                </a:lnTo>
                <a:lnTo>
                  <a:pt x="0" y="5943600"/>
                </a:lnTo>
                <a:close/>
              </a:path>
            </a:pathLst>
          </a:custGeom>
          <a:solidFill>
            <a:srgbClr val="0F1232"/>
          </a:solidFill>
          <a:ln>
            <a:solidFill>
              <a:srgbClr val="0F12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234DA7-CFE7-419C-BE30-27C8242AC523}"/>
              </a:ext>
            </a:extLst>
          </p:cNvPr>
          <p:cNvSpPr/>
          <p:nvPr/>
        </p:nvSpPr>
        <p:spPr>
          <a:xfrm>
            <a:off x="10737389" y="2279176"/>
            <a:ext cx="1454611" cy="3940647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DEC4AE-0E7C-4CAA-990A-600C47283B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 dirty="0"/>
              <a:t>Title her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61853F-D752-4764-9739-CA18B7FD3A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5" name="Picture 14" descr="Text, logo&#10;&#10;Description automatically generated">
            <a:extLst>
              <a:ext uri="{FF2B5EF4-FFF2-40B4-BE49-F238E27FC236}">
                <a16:creationId xmlns:a16="http://schemas.microsoft.com/office/drawing/2014/main" id="{47847EA2-03B5-41CD-88BB-A74BDC6205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66" y="1026792"/>
            <a:ext cx="1005839" cy="1004423"/>
          </a:xfrm>
          <a:prstGeom prst="rect">
            <a:avLst/>
          </a:prstGeom>
        </p:spPr>
      </p:pic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A7495A34-AD56-4356-B737-E79362E091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6725" y="5415844"/>
            <a:ext cx="4151313" cy="7999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>
              <a:spcBef>
                <a:spcPts val="0"/>
              </a:spcBef>
            </a:pPr>
            <a:r>
              <a:rPr lang="en-US" dirty="0"/>
              <a:t>Date</a:t>
            </a:r>
            <a:endParaRPr lang="en-GB" dirty="0"/>
          </a:p>
          <a:p>
            <a:pPr lvl="0"/>
            <a:endParaRPr lang="en-GB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9D6E94EB-F454-4CE9-96A8-BC31C3F39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6725" y="5095415"/>
            <a:ext cx="4150359" cy="320429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Presen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310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26">
          <p15:clr>
            <a:srgbClr val="FBAE40"/>
          </p15:clr>
        </p15:guide>
        <p15:guide id="3" pos="6720">
          <p15:clr>
            <a:srgbClr val="FBAE40"/>
          </p15:clr>
        </p15:guide>
        <p15:guide id="4" orient="horz" pos="163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6765A16-F01B-434B-984E-55E8C3646F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50" t="1405" r="-10050" b="1405"/>
          <a:stretch/>
        </p:blipFill>
        <p:spPr>
          <a:xfrm flipH="1">
            <a:off x="1568539" y="-21070"/>
            <a:ext cx="10623461" cy="6879070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-1" y="0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71DB09-FC8D-41F6-B91E-7ACB2B58AA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7360" y="2336800"/>
            <a:ext cx="6128194" cy="1325880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 dirty="0"/>
              <a:t>Title here</a:t>
            </a:r>
            <a:endParaRPr lang="en-GB" dirty="0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662363"/>
            <a:ext cx="6129338" cy="23368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BFE2E7C-A768-41DF-8AD4-E80C7956C6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2BAE34-A45F-4682-BB09-714153073C9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566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7300" fill="hold"/>
                                        <p:tgtEl>
                                          <p:spTgt spid="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5266">
          <p15:clr>
            <a:srgbClr val="FBAE40"/>
          </p15:clr>
        </p15:guide>
        <p15:guide id="2" pos="6539">
          <p15:clr>
            <a:srgbClr val="FBAE40"/>
          </p15:clr>
        </p15:guide>
        <p15:guide id="3" orient="horz" pos="59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6765A16-F01B-434B-984E-55E8C3646F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72" t="1401" r="1411" b="1401"/>
          <a:stretch/>
        </p:blipFill>
        <p:spPr>
          <a:xfrm flipH="1">
            <a:off x="4583832" y="-21070"/>
            <a:ext cx="7608168" cy="6879070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-1" y="0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5" name="Picture 14" descr="Text, logo&#10;&#10;Description automatically generated">
            <a:extLst>
              <a:ext uri="{FF2B5EF4-FFF2-40B4-BE49-F238E27FC236}">
                <a16:creationId xmlns:a16="http://schemas.microsoft.com/office/drawing/2014/main" id="{47847EA2-03B5-41CD-88BB-A74BDC6205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66" y="1014760"/>
            <a:ext cx="1005839" cy="100442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471DB09-FC8D-41F6-B91E-7ACB2B58AA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7360" y="2336800"/>
            <a:ext cx="6128194" cy="1325880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 dirty="0"/>
              <a:t>Title here</a:t>
            </a:r>
            <a:endParaRPr lang="en-GB" dirty="0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662363"/>
            <a:ext cx="6129338" cy="23368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BFE2E7C-A768-41DF-8AD4-E80C7956C6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2BAE34-A45F-4682-BB09-714153073C9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910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7300" fill="hold"/>
                                        <p:tgtEl>
                                          <p:spTgt spid="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5815">
          <p15:clr>
            <a:srgbClr val="FBAE40"/>
          </p15:clr>
        </p15:guide>
        <p15:guide id="2" pos="6539">
          <p15:clr>
            <a:srgbClr val="FBAE40"/>
          </p15:clr>
        </p15:guide>
        <p15:guide id="3" orient="horz" pos="189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7">
            <a:extLst>
              <a:ext uri="{FF2B5EF4-FFF2-40B4-BE49-F238E27FC236}">
                <a16:creationId xmlns:a16="http://schemas.microsoft.com/office/drawing/2014/main" id="{84A01B61-3E37-4116-8854-EA736A0F6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" r="24981"/>
          <a:stretch/>
        </p:blipFill>
        <p:spPr>
          <a:xfrm>
            <a:off x="4547828" y="6470"/>
            <a:ext cx="7642212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1B38D27-6F68-4FD9-8912-A947A354DE4A}"/>
              </a:ext>
            </a:extLst>
          </p:cNvPr>
          <p:cNvSpPr/>
          <p:nvPr userDrawn="1"/>
        </p:nvSpPr>
        <p:spPr>
          <a:xfrm>
            <a:off x="0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DDE388CE-0C20-44C0-9319-015689AB9D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81998BA7-6D06-4238-AAFE-A0C74792EA5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25602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-12531" y="0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3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816000"/>
            <a:ext cx="6129338" cy="2020697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0D481A7-9EEC-430C-8A81-141246176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2124000"/>
            <a:ext cx="5419090" cy="1305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B7376AF-CBBC-44A8-9814-206F9629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1421E3C-EFB1-4278-80B9-1DC85DD83F8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39AD16C-673B-4C10-9EC7-EA0AD6D08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8101359" cy="10429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5032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building, ground, court, stone&#10;&#10;Description automatically generated">
            <a:extLst>
              <a:ext uri="{FF2B5EF4-FFF2-40B4-BE49-F238E27FC236}">
                <a16:creationId xmlns:a16="http://schemas.microsoft.com/office/drawing/2014/main" id="{36CB40A8-C7F5-42D7-8A03-5E21E6C2BD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71" r="18864" b="15771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phic 7">
            <a:extLst>
              <a:ext uri="{FF2B5EF4-FFF2-40B4-BE49-F238E27FC236}">
                <a16:creationId xmlns:a16="http://schemas.microsoft.com/office/drawing/2014/main" id="{B68BF188-9C72-4927-852E-517509751A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63"/>
          <a:stretch>
            <a:fillRect/>
          </a:stretch>
        </p:blipFill>
        <p:spPr bwMode="auto">
          <a:xfrm>
            <a:off x="0" y="-665163"/>
            <a:ext cx="7596188" cy="829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Text, logo&#10;&#10;Description automatically generated">
            <a:extLst>
              <a:ext uri="{FF2B5EF4-FFF2-40B4-BE49-F238E27FC236}">
                <a16:creationId xmlns:a16="http://schemas.microsoft.com/office/drawing/2014/main" id="{2692178A-AEEC-44F9-8058-6384BF5C19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027113"/>
            <a:ext cx="1006475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phic 9">
            <a:extLst>
              <a:ext uri="{FF2B5EF4-FFF2-40B4-BE49-F238E27FC236}">
                <a16:creationId xmlns:a16="http://schemas.microsoft.com/office/drawing/2014/main" id="{C19075B7-001B-413F-B2DC-7E503BD4A6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865"/>
          <a:stretch>
            <a:fillRect/>
          </a:stretch>
        </p:blipFill>
        <p:spPr bwMode="auto">
          <a:xfrm>
            <a:off x="10728325" y="1400175"/>
            <a:ext cx="1463675" cy="545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725" y="5415844"/>
            <a:ext cx="4151313" cy="799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  <a:ea typeface="Source Sans Pro Black" panose="020B0803030403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6725" y="5113015"/>
            <a:ext cx="4150359" cy="306871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122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0" y="-1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3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816000"/>
            <a:ext cx="6129338" cy="2020697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0D481A7-9EEC-430C-8A81-141246176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2124000"/>
            <a:ext cx="5419090" cy="1305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B7376AF-CBBC-44A8-9814-206F9629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1421E3C-EFB1-4278-80B9-1DC85DD83F8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39AD16C-673B-4C10-9EC7-EA0AD6D08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8101359" cy="10429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1606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368DEAF-D83C-4F55-81C2-C41DB8A19A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66" t="7610" r="-27381" b="20873"/>
          <a:stretch/>
        </p:blipFill>
        <p:spPr>
          <a:xfrm flipH="1">
            <a:off x="1381829" y="0"/>
            <a:ext cx="10795148" cy="6858000"/>
          </a:xfrm>
          <a:prstGeom prst="rect">
            <a:avLst/>
          </a:pr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-1773" y="-1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816000"/>
            <a:ext cx="6129338" cy="2020697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0D481A7-9EEC-430C-8A81-141246176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2124000"/>
            <a:ext cx="5419090" cy="1305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B7376AF-CBBC-44A8-9814-206F9629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1421E3C-EFB1-4278-80B9-1DC85DD83F8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39AD16C-673B-4C10-9EC7-EA0AD6D08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8101359" cy="10429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7882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7300" fill="hold"/>
                                        <p:tgtEl>
                                          <p:spTgt spid="1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5870">
          <p15:clr>
            <a:srgbClr val="FBAE40"/>
          </p15:clr>
        </p15:guide>
        <p15:guide id="2" pos="6335">
          <p15:clr>
            <a:srgbClr val="FBAE40"/>
          </p15:clr>
        </p15:guide>
        <p15:guide id="3" orient="horz" pos="2103">
          <p15:clr>
            <a:srgbClr val="FBAE40"/>
          </p15:clr>
        </p15:guide>
        <p15:guide id="4" orient="horz" pos="24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0" y="-1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816000"/>
            <a:ext cx="6129338" cy="2020697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0D481A7-9EEC-430C-8A81-141246176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2124000"/>
            <a:ext cx="5419090" cy="1305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B7376AF-CBBC-44A8-9814-206F9629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1421E3C-EFB1-4278-80B9-1DC85DD83F8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39AD16C-673B-4C10-9EC7-EA0AD6D08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8101359" cy="10429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7700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-1773" y="-1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17966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816000"/>
            <a:ext cx="6129338" cy="2020697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0D481A7-9EEC-430C-8A81-141246176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2124000"/>
            <a:ext cx="5419090" cy="1305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B7376AF-CBBC-44A8-9814-206F9629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1421E3C-EFB1-4278-80B9-1DC85DD83F8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39AD16C-673B-4C10-9EC7-EA0AD6D08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8101359" cy="10429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13349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762905D1-0B9C-41FE-AC8B-73C5A8108E9D}"/>
              </a:ext>
            </a:extLst>
          </p:cNvPr>
          <p:cNvSpPr/>
          <p:nvPr userDrawn="1"/>
        </p:nvSpPr>
        <p:spPr>
          <a:xfrm>
            <a:off x="1539" y="-1"/>
            <a:ext cx="9228094" cy="6858000"/>
          </a:xfrm>
          <a:custGeom>
            <a:avLst/>
            <a:gdLst>
              <a:gd name="connsiteX0" fmla="*/ 0 w 9228094"/>
              <a:gd name="connsiteY0" fmla="*/ 0 h 6858000"/>
              <a:gd name="connsiteX1" fmla="*/ 9228094 w 9228094"/>
              <a:gd name="connsiteY1" fmla="*/ 0 h 6858000"/>
              <a:gd name="connsiteX2" fmla="*/ 6595555 w 9228094"/>
              <a:gd name="connsiteY2" fmla="*/ 6858000 h 6858000"/>
              <a:gd name="connsiteX3" fmla="*/ 0 w 9228094"/>
              <a:gd name="connsiteY3" fmla="*/ 6858000 h 6858000"/>
              <a:gd name="connsiteX4" fmla="*/ 0 w 922809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28094" h="6858000">
                <a:moveTo>
                  <a:pt x="0" y="0"/>
                </a:moveTo>
                <a:lnTo>
                  <a:pt x="9228094" y="0"/>
                </a:lnTo>
                <a:lnTo>
                  <a:pt x="6595555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7" name="Text Placeholder 86">
            <a:extLst>
              <a:ext uri="{FF2B5EF4-FFF2-40B4-BE49-F238E27FC236}">
                <a16:creationId xmlns:a16="http://schemas.microsoft.com/office/drawing/2014/main" id="{309F1CFB-77D7-4F3C-9917-E3AE4340A5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6725" y="3816000"/>
            <a:ext cx="6129338" cy="2020697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0D481A7-9EEC-430C-8A81-141246176A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2124000"/>
            <a:ext cx="5419090" cy="1305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B7376AF-CBBC-44A8-9814-206F96296C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A1421E3C-EFB1-4278-80B9-1DC85DD83F8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739AD16C-673B-4C10-9EC7-EA0AD6D08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8101359" cy="10429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6814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27">
            <a:extLst>
              <a:ext uri="{FF2B5EF4-FFF2-40B4-BE49-F238E27FC236}">
                <a16:creationId xmlns:a16="http://schemas.microsoft.com/office/drawing/2014/main" id="{B10323B4-024C-4210-A85F-052A63A03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" t="20657" r="2327" b="20657"/>
          <a:stretch/>
        </p:blipFill>
        <p:spPr>
          <a:xfrm>
            <a:off x="4630701" y="0"/>
            <a:ext cx="7561299" cy="6858000"/>
          </a:xfrm>
          <a:prstGeom prst="rect">
            <a:avLst/>
          </a:prstGeom>
          <a:noFill/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FFDB230-DC12-48AE-B099-CAFBF9B7FD60}"/>
              </a:ext>
            </a:extLst>
          </p:cNvPr>
          <p:cNvSpPr/>
          <p:nvPr userDrawn="1"/>
        </p:nvSpPr>
        <p:spPr>
          <a:xfrm>
            <a:off x="0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A7894B-331F-4B9F-A279-D369EA4F4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D56E250-35F7-40FF-BCCC-DAE0C1A4885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AB8A7B-D9E7-4995-8B2B-ABCDD54D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7561299" cy="104298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7584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4">
            <a:extLst>
              <a:ext uri="{FF2B5EF4-FFF2-40B4-BE49-F238E27FC236}">
                <a16:creationId xmlns:a16="http://schemas.microsoft.com/office/drawing/2014/main" id="{26B7D8B2-33D0-44D0-BBA9-38AB8C4CE0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" r="22780"/>
          <a:stretch/>
        </p:blipFill>
        <p:spPr>
          <a:xfrm>
            <a:off x="4331804" y="0"/>
            <a:ext cx="7860196" cy="6858000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F96850D-A099-4382-A1B6-493549977E4A}"/>
              </a:ext>
            </a:extLst>
          </p:cNvPr>
          <p:cNvSpPr/>
          <p:nvPr userDrawn="1"/>
        </p:nvSpPr>
        <p:spPr>
          <a:xfrm>
            <a:off x="12603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82951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A7894B-331F-4B9F-A279-D369EA4F4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D56E250-35F7-40FF-BCCC-DAE0C1A4885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AB8A7B-D9E7-4995-8B2B-ABCDD54D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7561299" cy="104298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7242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7">
            <a:extLst>
              <a:ext uri="{FF2B5EF4-FFF2-40B4-BE49-F238E27FC236}">
                <a16:creationId xmlns:a16="http://schemas.microsoft.com/office/drawing/2014/main" id="{572A5423-4D86-4B18-BBD6-CA355129F1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" r="22829"/>
          <a:stretch/>
        </p:blipFill>
        <p:spPr>
          <a:xfrm>
            <a:off x="4331804" y="0"/>
            <a:ext cx="7860196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DD5693E-30C4-4395-B1F0-BD0CAA0A171B}"/>
              </a:ext>
            </a:extLst>
          </p:cNvPr>
          <p:cNvSpPr/>
          <p:nvPr userDrawn="1"/>
        </p:nvSpPr>
        <p:spPr>
          <a:xfrm>
            <a:off x="0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609610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A7894B-331F-4B9F-A279-D369EA4F4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D56E250-35F7-40FF-BCCC-DAE0C1A4885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AB8A7B-D9E7-4995-8B2B-ABCDD54D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7561299" cy="104298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5363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6">
            <a:extLst>
              <a:ext uri="{FF2B5EF4-FFF2-40B4-BE49-F238E27FC236}">
                <a16:creationId xmlns:a16="http://schemas.microsoft.com/office/drawing/2014/main" id="{B2F5DAF1-448D-4CF2-9A91-196C4B3981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" r="27076"/>
          <a:stretch/>
        </p:blipFill>
        <p:spPr>
          <a:xfrm>
            <a:off x="3395700" y="0"/>
            <a:ext cx="8796300" cy="6858000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F40D6E6-1A1C-4A17-96CA-1BC287F5D926}"/>
              </a:ext>
            </a:extLst>
          </p:cNvPr>
          <p:cNvSpPr/>
          <p:nvPr userDrawn="1"/>
        </p:nvSpPr>
        <p:spPr>
          <a:xfrm>
            <a:off x="-7422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A7894B-331F-4B9F-A279-D369EA4F4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D56E250-35F7-40FF-BCCC-DAE0C1A4885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AB8A7B-D9E7-4995-8B2B-ABCDD54D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7561299" cy="104298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43055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27">
            <a:extLst>
              <a:ext uri="{FF2B5EF4-FFF2-40B4-BE49-F238E27FC236}">
                <a16:creationId xmlns:a16="http://schemas.microsoft.com/office/drawing/2014/main" id="{84A91075-1184-4DA5-9179-D440147339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" r="2985"/>
          <a:stretch/>
        </p:blipFill>
        <p:spPr>
          <a:xfrm>
            <a:off x="2315580" y="0"/>
            <a:ext cx="9876420" cy="6858000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F40D6E6-1A1C-4A17-96CA-1BC287F5D926}"/>
              </a:ext>
            </a:extLst>
          </p:cNvPr>
          <p:cNvSpPr/>
          <p:nvPr userDrawn="1"/>
        </p:nvSpPr>
        <p:spPr>
          <a:xfrm>
            <a:off x="-7422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A7894B-331F-4B9F-A279-D369EA4F4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D56E250-35F7-40FF-BCCC-DAE0C1A4885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AB8A7B-D9E7-4995-8B2B-ABCDD54D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7561299" cy="104298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17322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building, ground, court, stone&#10;&#10;Description automatically generated">
            <a:extLst>
              <a:ext uri="{FF2B5EF4-FFF2-40B4-BE49-F238E27FC236}">
                <a16:creationId xmlns:a16="http://schemas.microsoft.com/office/drawing/2014/main" id="{07E6CAA9-923B-4C25-B921-3E2FC03551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71" r="18864" b="15771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phic 7">
            <a:extLst>
              <a:ext uri="{FF2B5EF4-FFF2-40B4-BE49-F238E27FC236}">
                <a16:creationId xmlns:a16="http://schemas.microsoft.com/office/drawing/2014/main" id="{BF7B6924-CAA5-4A31-BFEA-69A3E88943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63"/>
          <a:stretch>
            <a:fillRect/>
          </a:stretch>
        </p:blipFill>
        <p:spPr bwMode="auto">
          <a:xfrm>
            <a:off x="0" y="-665163"/>
            <a:ext cx="7596188" cy="829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Text, logo&#10;&#10;Description automatically generated">
            <a:extLst>
              <a:ext uri="{FF2B5EF4-FFF2-40B4-BE49-F238E27FC236}">
                <a16:creationId xmlns:a16="http://schemas.microsoft.com/office/drawing/2014/main" id="{5911875A-CC37-4778-B1F3-CFCCEE56D8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027113"/>
            <a:ext cx="1006475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0629B30E-42CB-4AC6-816B-1087818C3A04}"/>
              </a:ext>
            </a:extLst>
          </p:cNvPr>
          <p:cNvSpPr/>
          <p:nvPr userDrawn="1"/>
        </p:nvSpPr>
        <p:spPr>
          <a:xfrm>
            <a:off x="7424738" y="4621213"/>
            <a:ext cx="4776787" cy="1054100"/>
          </a:xfrm>
          <a:custGeom>
            <a:avLst/>
            <a:gdLst>
              <a:gd name="connsiteX0" fmla="*/ 0 w 7375106"/>
              <a:gd name="connsiteY0" fmla="*/ 0 h 1044103"/>
              <a:gd name="connsiteX1" fmla="*/ 7375106 w 7375106"/>
              <a:gd name="connsiteY1" fmla="*/ 0 h 1044103"/>
              <a:gd name="connsiteX2" fmla="*/ 7375106 w 7375106"/>
              <a:gd name="connsiteY2" fmla="*/ 1044103 h 1044103"/>
              <a:gd name="connsiteX3" fmla="*/ 0 w 7375106"/>
              <a:gd name="connsiteY3" fmla="*/ 1044103 h 1044103"/>
              <a:gd name="connsiteX4" fmla="*/ 0 w 7375106"/>
              <a:gd name="connsiteY4" fmla="*/ 0 h 1044103"/>
              <a:gd name="connsiteX0" fmla="*/ 407406 w 7375106"/>
              <a:gd name="connsiteY0" fmla="*/ 0 h 1044103"/>
              <a:gd name="connsiteX1" fmla="*/ 7375106 w 7375106"/>
              <a:gd name="connsiteY1" fmla="*/ 0 h 1044103"/>
              <a:gd name="connsiteX2" fmla="*/ 7375106 w 7375106"/>
              <a:gd name="connsiteY2" fmla="*/ 1044103 h 1044103"/>
              <a:gd name="connsiteX3" fmla="*/ 0 w 7375106"/>
              <a:gd name="connsiteY3" fmla="*/ 1044103 h 1044103"/>
              <a:gd name="connsiteX4" fmla="*/ 407406 w 7375106"/>
              <a:gd name="connsiteY4" fmla="*/ 0 h 1044103"/>
              <a:gd name="connsiteX0" fmla="*/ 407406 w 7375106"/>
              <a:gd name="connsiteY0" fmla="*/ 0 h 1044103"/>
              <a:gd name="connsiteX1" fmla="*/ 4767708 w 7375106"/>
              <a:gd name="connsiteY1" fmla="*/ 0 h 1044103"/>
              <a:gd name="connsiteX2" fmla="*/ 7375106 w 7375106"/>
              <a:gd name="connsiteY2" fmla="*/ 1044103 h 1044103"/>
              <a:gd name="connsiteX3" fmla="*/ 0 w 7375106"/>
              <a:gd name="connsiteY3" fmla="*/ 1044103 h 1044103"/>
              <a:gd name="connsiteX4" fmla="*/ 407406 w 7375106"/>
              <a:gd name="connsiteY4" fmla="*/ 0 h 1044103"/>
              <a:gd name="connsiteX0" fmla="*/ 407406 w 4776761"/>
              <a:gd name="connsiteY0" fmla="*/ 0 h 1053157"/>
              <a:gd name="connsiteX1" fmla="*/ 4767708 w 4776761"/>
              <a:gd name="connsiteY1" fmla="*/ 0 h 1053157"/>
              <a:gd name="connsiteX2" fmla="*/ 4776761 w 4776761"/>
              <a:gd name="connsiteY2" fmla="*/ 1053157 h 1053157"/>
              <a:gd name="connsiteX3" fmla="*/ 0 w 4776761"/>
              <a:gd name="connsiteY3" fmla="*/ 1044103 h 1053157"/>
              <a:gd name="connsiteX4" fmla="*/ 407406 w 4776761"/>
              <a:gd name="connsiteY4" fmla="*/ 0 h 105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6761" h="1053157">
                <a:moveTo>
                  <a:pt x="407406" y="0"/>
                </a:moveTo>
                <a:lnTo>
                  <a:pt x="4767708" y="0"/>
                </a:lnTo>
                <a:cubicBezTo>
                  <a:pt x="4770726" y="351052"/>
                  <a:pt x="4773743" y="702105"/>
                  <a:pt x="4776761" y="1053157"/>
                </a:cubicBezTo>
                <a:lnTo>
                  <a:pt x="0" y="1044103"/>
                </a:lnTo>
                <a:lnTo>
                  <a:pt x="407406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j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097170" y="5095595"/>
            <a:ext cx="2268810" cy="36097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8097170" y="4857238"/>
            <a:ext cx="2258562" cy="343389"/>
          </a:xfr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12710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27">
            <a:extLst>
              <a:ext uri="{FF2B5EF4-FFF2-40B4-BE49-F238E27FC236}">
                <a16:creationId xmlns:a16="http://schemas.microsoft.com/office/drawing/2014/main" id="{F6504C2F-F837-4475-9CD3-18593ECF20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7" t="1" r="30967" b="32"/>
          <a:stretch/>
        </p:blipFill>
        <p:spPr>
          <a:xfrm>
            <a:off x="4007768" y="0"/>
            <a:ext cx="6405346" cy="6858000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F40D6E6-1A1C-4A17-96CA-1BC287F5D926}"/>
              </a:ext>
            </a:extLst>
          </p:cNvPr>
          <p:cNvSpPr/>
          <p:nvPr userDrawn="1"/>
        </p:nvSpPr>
        <p:spPr>
          <a:xfrm>
            <a:off x="-7422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A7894B-331F-4B9F-A279-D369EA4F4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D56E250-35F7-40FF-BCCC-DAE0C1A4885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2248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 descr="A person and person kissing&#10;&#10;Description automatically generated with low confidence">
            <a:extLst>
              <a:ext uri="{FF2B5EF4-FFF2-40B4-BE49-F238E27FC236}">
                <a16:creationId xmlns:a16="http://schemas.microsoft.com/office/drawing/2014/main" id="{90C43699-9F82-4740-85A3-E7E202FEE0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31" r="46632"/>
          <a:stretch/>
        </p:blipFill>
        <p:spPr>
          <a:xfrm>
            <a:off x="4350192" y="0"/>
            <a:ext cx="5454220" cy="6858000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F40D6E6-1A1C-4A17-96CA-1BC287F5D926}"/>
              </a:ext>
            </a:extLst>
          </p:cNvPr>
          <p:cNvSpPr/>
          <p:nvPr userDrawn="1"/>
        </p:nvSpPr>
        <p:spPr>
          <a:xfrm>
            <a:off x="-7422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CAA866B6-AC0A-4811-A38D-BA48AE11F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7044C51D-169C-4548-92B0-1B1D54FB01BF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A7894B-331F-4B9F-A279-D369EA4F4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D56E250-35F7-40FF-BCCC-DAE0C1A4885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AB8A7B-D9E7-4995-8B2B-ABCDD54D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7561299" cy="104298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47771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gradFill>
          <a:gsLst>
            <a:gs pos="0">
              <a:srgbClr val="4B4C5D"/>
            </a:gs>
            <a:gs pos="54000">
              <a:srgbClr val="272941"/>
            </a:gs>
            <a:gs pos="100000">
              <a:srgbClr val="070A2A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1699479-DAEE-4789-8BC6-007FCE327485}"/>
              </a:ext>
            </a:extLst>
          </p:cNvPr>
          <p:cNvSpPr/>
          <p:nvPr userDrawn="1"/>
        </p:nvSpPr>
        <p:spPr>
          <a:xfrm>
            <a:off x="0" y="0"/>
            <a:ext cx="9571564" cy="6858001"/>
          </a:xfrm>
          <a:custGeom>
            <a:avLst/>
            <a:gdLst>
              <a:gd name="connsiteX0" fmla="*/ 0 w 9571564"/>
              <a:gd name="connsiteY0" fmla="*/ 0 h 6858001"/>
              <a:gd name="connsiteX1" fmla="*/ 9571564 w 9571564"/>
              <a:gd name="connsiteY1" fmla="*/ 0 h 6858001"/>
              <a:gd name="connsiteX2" fmla="*/ 7517470 w 9571564"/>
              <a:gd name="connsiteY2" fmla="*/ 5281477 h 6858001"/>
              <a:gd name="connsiteX3" fmla="*/ 6764785 w 9571564"/>
              <a:gd name="connsiteY3" fmla="*/ 6832475 h 6858001"/>
              <a:gd name="connsiteX4" fmla="*/ 0 w 9571564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71564" h="6858001">
                <a:moveTo>
                  <a:pt x="0" y="0"/>
                </a:moveTo>
                <a:lnTo>
                  <a:pt x="9571564" y="0"/>
                </a:lnTo>
                <a:lnTo>
                  <a:pt x="7517470" y="5281477"/>
                </a:lnTo>
                <a:lnTo>
                  <a:pt x="6764785" y="6832475"/>
                </a:lnTo>
                <a:lnTo>
                  <a:pt x="0" y="6858001"/>
                </a:lnTo>
                <a:close/>
              </a:path>
            </a:pathLst>
          </a:custGeom>
          <a:solidFill>
            <a:srgbClr val="0F1232"/>
          </a:solidFill>
          <a:ln>
            <a:solidFill>
              <a:srgbClr val="0F12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0E557B-5903-46FB-B66C-9A9B8179EC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39D657-D740-48A0-8E34-977D80A18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CB76F0-EE26-49D5-8601-68F6413815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1170044"/>
            <a:ext cx="4150360" cy="12064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er</a:t>
            </a:r>
            <a:r>
              <a:rPr lang="en-US" dirty="0"/>
              <a:t> if needed </a:t>
            </a:r>
            <a:endParaRPr lang="en-GB" dirty="0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46A9CBDA-EF1C-4B41-A810-B5FCBF9F75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B51A854E-5584-4940-9DCD-EC716E132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5"/>
            <a:ext cx="10910887" cy="576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6163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87FAFB4F-1218-4B57-AD80-B4AE03679B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" t="11352" r="33317" b="1327"/>
          <a:stretch/>
        </p:blipFill>
        <p:spPr>
          <a:xfrm>
            <a:off x="4403812" y="0"/>
            <a:ext cx="7788188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0F039D1-4AFC-4BB6-A112-BFC4F4FDA708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7E8C00B-9226-4B1A-8E5C-B92BB149CB43}"/>
              </a:ext>
            </a:extLst>
          </p:cNvPr>
          <p:cNvSpPr/>
          <p:nvPr userDrawn="1"/>
        </p:nvSpPr>
        <p:spPr>
          <a:xfrm>
            <a:off x="-7422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0E557B-5903-46FB-B66C-9A9B8179EC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39D657-D740-48A0-8E34-977D80A18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51A854E-5584-4940-9DCD-EC716E132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6373167" cy="115153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FBD9DA-B3E9-4B0C-A0B7-4FE7FA6504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sp>
        <p:nvSpPr>
          <p:cNvPr id="13" name="Picture Placeholder 82">
            <a:extLst>
              <a:ext uri="{FF2B5EF4-FFF2-40B4-BE49-F238E27FC236}">
                <a16:creationId xmlns:a16="http://schemas.microsoft.com/office/drawing/2014/main" id="{F36417A0-E86C-4CE1-A440-0F969C4ED2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874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9803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E57E12F1-9D52-4376-BC6C-0B514BB1A3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8" r="10777"/>
          <a:stretch/>
        </p:blipFill>
        <p:spPr>
          <a:xfrm>
            <a:off x="1552148" y="874"/>
            <a:ext cx="10639852" cy="6858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9768462-75D9-473A-8AEE-DEC99D30F75D}"/>
              </a:ext>
            </a:extLst>
          </p:cNvPr>
          <p:cNvSpPr/>
          <p:nvPr userDrawn="1"/>
        </p:nvSpPr>
        <p:spPr>
          <a:xfrm>
            <a:off x="10413114" y="2223844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7E8C00B-9226-4B1A-8E5C-B92BB149CB43}"/>
              </a:ext>
            </a:extLst>
          </p:cNvPr>
          <p:cNvSpPr/>
          <p:nvPr userDrawn="1"/>
        </p:nvSpPr>
        <p:spPr>
          <a:xfrm>
            <a:off x="-7422" y="0"/>
            <a:ext cx="7446277" cy="6858000"/>
          </a:xfrm>
          <a:custGeom>
            <a:avLst/>
            <a:gdLst>
              <a:gd name="connsiteX0" fmla="*/ 0 w 7446277"/>
              <a:gd name="connsiteY0" fmla="*/ 0 h 6858000"/>
              <a:gd name="connsiteX1" fmla="*/ 7446277 w 7446277"/>
              <a:gd name="connsiteY1" fmla="*/ 0 h 6858000"/>
              <a:gd name="connsiteX2" fmla="*/ 4813738 w 7446277"/>
              <a:gd name="connsiteY2" fmla="*/ 6858000 h 6858000"/>
              <a:gd name="connsiteX3" fmla="*/ 0 w 744627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46277" h="6858000">
                <a:moveTo>
                  <a:pt x="0" y="0"/>
                </a:moveTo>
                <a:lnTo>
                  <a:pt x="7446277" y="0"/>
                </a:lnTo>
                <a:lnTo>
                  <a:pt x="48137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0E557B-5903-46FB-B66C-9A9B8179EC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39D657-D740-48A0-8E34-977D80A18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51A854E-5584-4940-9DCD-EC716E132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6373167" cy="11515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Picture Placeholder 82">
            <a:extLst>
              <a:ext uri="{FF2B5EF4-FFF2-40B4-BE49-F238E27FC236}">
                <a16:creationId xmlns:a16="http://schemas.microsoft.com/office/drawing/2014/main" id="{F36417A0-E86C-4CE1-A440-0F969C4ED2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595554" y="0"/>
            <a:ext cx="5596446" cy="6858000"/>
          </a:xfrm>
          <a:custGeom>
            <a:avLst/>
            <a:gdLst>
              <a:gd name="connsiteX0" fmla="*/ 2632539 w 5596446"/>
              <a:gd name="connsiteY0" fmla="*/ 0 h 6858000"/>
              <a:gd name="connsiteX1" fmla="*/ 5596446 w 5596446"/>
              <a:gd name="connsiteY1" fmla="*/ 0 h 6858000"/>
              <a:gd name="connsiteX2" fmla="*/ 5596446 w 5596446"/>
              <a:gd name="connsiteY2" fmla="*/ 2223843 h 6858000"/>
              <a:gd name="connsiteX3" fmla="*/ 3817560 w 5596446"/>
              <a:gd name="connsiteY3" fmla="*/ 6858000 h 6858000"/>
              <a:gd name="connsiteX4" fmla="*/ 0 w 55964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96446" h="6858000">
                <a:moveTo>
                  <a:pt x="2632539" y="0"/>
                </a:moveTo>
                <a:lnTo>
                  <a:pt x="5596446" y="0"/>
                </a:lnTo>
                <a:lnTo>
                  <a:pt x="5596446" y="2223843"/>
                </a:lnTo>
                <a:lnTo>
                  <a:pt x="381756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9877AF1A-3688-444E-96E1-12D763785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5032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gradFill>
          <a:gsLst>
            <a:gs pos="0">
              <a:srgbClr val="4B4C5D"/>
            </a:gs>
            <a:gs pos="54000">
              <a:srgbClr val="272941"/>
            </a:gs>
            <a:gs pos="100000">
              <a:srgbClr val="070A2A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1699479-DAEE-4789-8BC6-007FCE327485}"/>
              </a:ext>
            </a:extLst>
          </p:cNvPr>
          <p:cNvSpPr/>
          <p:nvPr userDrawn="1"/>
        </p:nvSpPr>
        <p:spPr>
          <a:xfrm>
            <a:off x="0" y="15441"/>
            <a:ext cx="9571564" cy="6858001"/>
          </a:xfrm>
          <a:custGeom>
            <a:avLst/>
            <a:gdLst>
              <a:gd name="connsiteX0" fmla="*/ 0 w 9571564"/>
              <a:gd name="connsiteY0" fmla="*/ 0 h 6858001"/>
              <a:gd name="connsiteX1" fmla="*/ 9571564 w 9571564"/>
              <a:gd name="connsiteY1" fmla="*/ 0 h 6858001"/>
              <a:gd name="connsiteX2" fmla="*/ 7517470 w 9571564"/>
              <a:gd name="connsiteY2" fmla="*/ 5281477 h 6858001"/>
              <a:gd name="connsiteX3" fmla="*/ 6764785 w 9571564"/>
              <a:gd name="connsiteY3" fmla="*/ 6832475 h 6858001"/>
              <a:gd name="connsiteX4" fmla="*/ 0 w 9571564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71564" h="6858001">
                <a:moveTo>
                  <a:pt x="0" y="0"/>
                </a:moveTo>
                <a:lnTo>
                  <a:pt x="9571564" y="0"/>
                </a:lnTo>
                <a:lnTo>
                  <a:pt x="7517470" y="5281477"/>
                </a:lnTo>
                <a:lnTo>
                  <a:pt x="6764785" y="6832475"/>
                </a:lnTo>
                <a:lnTo>
                  <a:pt x="0" y="6858001"/>
                </a:lnTo>
                <a:close/>
              </a:path>
            </a:pathLst>
          </a:custGeom>
          <a:solidFill>
            <a:srgbClr val="0F1232"/>
          </a:solidFill>
          <a:ln>
            <a:solidFill>
              <a:srgbClr val="0F12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BAB8E69-C422-48C8-9759-8571F4B8B0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783" t="-1742" r="1407" b="52397"/>
          <a:stretch/>
        </p:blipFill>
        <p:spPr>
          <a:xfrm>
            <a:off x="5036" y="3897052"/>
            <a:ext cx="12186964" cy="299495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0E557B-5903-46FB-B66C-9A9B8179EC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39D657-D740-48A0-8E34-977D80A18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CB76F0-EE26-49D5-8601-68F6413815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7360" y="1170044"/>
            <a:ext cx="4150360" cy="12064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er</a:t>
            </a:r>
            <a:r>
              <a:rPr lang="en-US" dirty="0"/>
              <a:t> if needed </a:t>
            </a:r>
            <a:endParaRPr lang="en-GB" dirty="0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46A9CBDA-EF1C-4B41-A810-B5FCBF9F75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B51A854E-5584-4940-9DCD-EC716E132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5"/>
            <a:ext cx="10910887" cy="5762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3066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3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ales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0EFE3F-A987-4216-8C50-01E192434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EE255-D581-44F9-8751-82C594A128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00FBB-31DF-483A-91E9-7B9E0DC819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2015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ales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0EFE3F-A987-4216-8C50-01E192434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EE255-D581-44F9-8751-82C594A128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00FBB-31DF-483A-91E9-7B9E0DC819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F200F43-10DC-4178-8739-23442FCBC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2179" y="635589"/>
            <a:ext cx="6036139" cy="6036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931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ales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91F93B7-7CBA-4263-92C4-426523579B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75" t="2055" r="5159" b="29993"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0EFE3F-A987-4216-8C50-01E192434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EE255-D581-44F9-8751-82C594A128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00FBB-31DF-483A-91E9-7B9E0DC819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FADFB1CD-A23E-45BD-9C82-2BAB0616BA93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1950434" y="6228000"/>
            <a:ext cx="241566" cy="630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55CC6A97-84E9-4C95-8254-C43B0B56B8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547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10638 0 " pathEditMode="relative" rAng="0" ptsTypes="AA">
                                      <p:cBhvr>
                                        <p:cTn id="6" dur="9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1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9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ales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Freeform: Shape 198">
            <a:extLst>
              <a:ext uri="{FF2B5EF4-FFF2-40B4-BE49-F238E27FC236}">
                <a16:creationId xmlns:a16="http://schemas.microsoft.com/office/drawing/2014/main" id="{59B66789-6EEC-4384-B986-2B909B573154}"/>
              </a:ext>
            </a:extLst>
          </p:cNvPr>
          <p:cNvSpPr/>
          <p:nvPr userDrawn="1"/>
        </p:nvSpPr>
        <p:spPr>
          <a:xfrm>
            <a:off x="0" y="3623882"/>
            <a:ext cx="12192000" cy="3234118"/>
          </a:xfrm>
          <a:custGeom>
            <a:avLst/>
            <a:gdLst>
              <a:gd name="connsiteX0" fmla="*/ 6168546 w 12192000"/>
              <a:gd name="connsiteY0" fmla="*/ 0 h 3234118"/>
              <a:gd name="connsiteX1" fmla="*/ 12075104 w 12192000"/>
              <a:gd name="connsiteY1" fmla="*/ 1967115 h 3234118"/>
              <a:gd name="connsiteX2" fmla="*/ 12192000 w 12192000"/>
              <a:gd name="connsiteY2" fmla="*/ 2104144 h 3234118"/>
              <a:gd name="connsiteX3" fmla="*/ 12192000 w 12192000"/>
              <a:gd name="connsiteY3" fmla="*/ 3234118 h 3234118"/>
              <a:gd name="connsiteX4" fmla="*/ 0 w 12192000"/>
              <a:gd name="connsiteY4" fmla="*/ 3234118 h 3234118"/>
              <a:gd name="connsiteX5" fmla="*/ 0 w 12192000"/>
              <a:gd name="connsiteY5" fmla="*/ 2299682 h 3234118"/>
              <a:gd name="connsiteX6" fmla="*/ 13436 w 12192000"/>
              <a:gd name="connsiteY6" fmla="*/ 2278639 h 3234118"/>
              <a:gd name="connsiteX7" fmla="*/ 6168546 w 12192000"/>
              <a:gd name="connsiteY7" fmla="*/ 0 h 323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234118">
                <a:moveTo>
                  <a:pt x="6168546" y="0"/>
                </a:moveTo>
                <a:cubicBezTo>
                  <a:pt x="8769682" y="0"/>
                  <a:pt x="11016835" y="803192"/>
                  <a:pt x="12075104" y="1967115"/>
                </a:cubicBezTo>
                <a:lnTo>
                  <a:pt x="12192000" y="2104144"/>
                </a:lnTo>
                <a:lnTo>
                  <a:pt x="12192000" y="3234118"/>
                </a:lnTo>
                <a:lnTo>
                  <a:pt x="0" y="3234118"/>
                </a:lnTo>
                <a:lnTo>
                  <a:pt x="0" y="2299682"/>
                </a:lnTo>
                <a:lnTo>
                  <a:pt x="13436" y="2278639"/>
                </a:lnTo>
                <a:cubicBezTo>
                  <a:pt x="932125" y="948951"/>
                  <a:pt x="3341224" y="0"/>
                  <a:pt x="6168546" y="0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alpha val="0"/>
                </a:schemeClr>
              </a:gs>
              <a:gs pos="44000">
                <a:schemeClr val="accent5">
                  <a:alpha val="28000"/>
                </a:schemeClr>
              </a:gs>
              <a:gs pos="100000">
                <a:schemeClr val="tx2">
                  <a:alpha val="56000"/>
                </a:schemeClr>
              </a:gs>
            </a:gsLst>
            <a:lin ang="162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grpSp>
        <p:nvGrpSpPr>
          <p:cNvPr id="565" name="Group 564">
            <a:extLst>
              <a:ext uri="{FF2B5EF4-FFF2-40B4-BE49-F238E27FC236}">
                <a16:creationId xmlns:a16="http://schemas.microsoft.com/office/drawing/2014/main" id="{0BEFE5A9-599B-43EA-ACBD-4012195BC44E}"/>
              </a:ext>
            </a:extLst>
          </p:cNvPr>
          <p:cNvGrpSpPr/>
          <p:nvPr userDrawn="1"/>
        </p:nvGrpSpPr>
        <p:grpSpPr>
          <a:xfrm>
            <a:off x="442913" y="3789040"/>
            <a:ext cx="11306175" cy="2736304"/>
            <a:chOff x="294219" y="2997195"/>
            <a:chExt cx="11604033" cy="3746625"/>
          </a:xfrm>
        </p:grpSpPr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D7B059B3-EE88-4410-BE4F-77E28E7B562D}"/>
                </a:ext>
              </a:extLst>
            </p:cNvPr>
            <p:cNvSpPr/>
            <p:nvPr/>
          </p:nvSpPr>
          <p:spPr>
            <a:xfrm>
              <a:off x="6142252" y="5144897"/>
              <a:ext cx="335616" cy="217795"/>
            </a:xfrm>
            <a:custGeom>
              <a:avLst/>
              <a:gdLst>
                <a:gd name="connsiteX0" fmla="*/ 118402 w 335616"/>
                <a:gd name="connsiteY0" fmla="*/ 208045 h 217795"/>
                <a:gd name="connsiteX1" fmla="*/ 129401 w 335616"/>
                <a:gd name="connsiteY1" fmla="*/ 201361 h 217795"/>
                <a:gd name="connsiteX2" fmla="*/ 138291 w 335616"/>
                <a:gd name="connsiteY2" fmla="*/ 212624 h 217795"/>
                <a:gd name="connsiteX3" fmla="*/ 176079 w 335616"/>
                <a:gd name="connsiteY3" fmla="*/ 216802 h 217795"/>
                <a:gd name="connsiteX4" fmla="*/ 195887 w 335616"/>
                <a:gd name="connsiteY4" fmla="*/ 191835 h 217795"/>
                <a:gd name="connsiteX5" fmla="*/ 199946 w 335616"/>
                <a:gd name="connsiteY5" fmla="*/ 99854 h 217795"/>
                <a:gd name="connsiteX6" fmla="*/ 201205 w 335616"/>
                <a:gd name="connsiteY6" fmla="*/ 91832 h 217795"/>
                <a:gd name="connsiteX7" fmla="*/ 226735 w 335616"/>
                <a:gd name="connsiteY7" fmla="*/ 87153 h 217795"/>
                <a:gd name="connsiteX8" fmla="*/ 228887 w 335616"/>
                <a:gd name="connsiteY8" fmla="*/ 43334 h 217795"/>
                <a:gd name="connsiteX9" fmla="*/ 229577 w 335616"/>
                <a:gd name="connsiteY9" fmla="*/ 28929 h 217795"/>
                <a:gd name="connsiteX10" fmla="*/ 257990 w 335616"/>
                <a:gd name="connsiteY10" fmla="*/ 26923 h 217795"/>
                <a:gd name="connsiteX11" fmla="*/ 292085 w 335616"/>
                <a:gd name="connsiteY11" fmla="*/ 28427 h 217795"/>
                <a:gd name="connsiteX12" fmla="*/ 306332 w 335616"/>
                <a:gd name="connsiteY12" fmla="*/ 25854 h 217795"/>
                <a:gd name="connsiteX13" fmla="*/ 335557 w 335616"/>
                <a:gd name="connsiteY13" fmla="*/ 22144 h 217795"/>
                <a:gd name="connsiteX14" fmla="*/ 308970 w 335616"/>
                <a:gd name="connsiteY14" fmla="*/ 16027 h 217795"/>
                <a:gd name="connsiteX15" fmla="*/ 274266 w 335616"/>
                <a:gd name="connsiteY15" fmla="*/ 18801 h 217795"/>
                <a:gd name="connsiteX16" fmla="*/ 190732 w 335616"/>
                <a:gd name="connsiteY16" fmla="*/ 16562 h 217795"/>
                <a:gd name="connsiteX17" fmla="*/ 170722 w 335616"/>
                <a:gd name="connsiteY17" fmla="*/ 11181 h 217795"/>
                <a:gd name="connsiteX18" fmla="*/ 150995 w 335616"/>
                <a:gd name="connsiteY18" fmla="*/ 10111 h 217795"/>
                <a:gd name="connsiteX19" fmla="*/ 71967 w 335616"/>
                <a:gd name="connsiteY19" fmla="*/ 8574 h 217795"/>
                <a:gd name="connsiteX20" fmla="*/ 48749 w 335616"/>
                <a:gd name="connsiteY20" fmla="*/ 2324 h 217795"/>
                <a:gd name="connsiteX21" fmla="*/ 23259 w 335616"/>
                <a:gd name="connsiteY21" fmla="*/ 3126 h 217795"/>
                <a:gd name="connsiteX22" fmla="*/ 12259 w 335616"/>
                <a:gd name="connsiteY22" fmla="*/ 853 h 217795"/>
                <a:gd name="connsiteX23" fmla="*/ 82 w 335616"/>
                <a:gd name="connsiteY23" fmla="*/ 5365 h 217795"/>
                <a:gd name="connsiteX24" fmla="*/ 25288 w 335616"/>
                <a:gd name="connsiteY24" fmla="*/ 38789 h 217795"/>
                <a:gd name="connsiteX25" fmla="*/ 52078 w 335616"/>
                <a:gd name="connsiteY25" fmla="*/ 79465 h 217795"/>
                <a:gd name="connsiteX26" fmla="*/ 66284 w 335616"/>
                <a:gd name="connsiteY26" fmla="*/ 116231 h 217795"/>
                <a:gd name="connsiteX27" fmla="*/ 75660 w 335616"/>
                <a:gd name="connsiteY27" fmla="*/ 154000 h 217795"/>
                <a:gd name="connsiteX28" fmla="*/ 84103 w 335616"/>
                <a:gd name="connsiteY28" fmla="*/ 186621 h 217795"/>
                <a:gd name="connsiteX29" fmla="*/ 100055 w 335616"/>
                <a:gd name="connsiteY29" fmla="*/ 201795 h 217795"/>
                <a:gd name="connsiteX30" fmla="*/ 118645 w 335616"/>
                <a:gd name="connsiteY30" fmla="*/ 207879 h 217795"/>
                <a:gd name="connsiteX31" fmla="*/ 118402 w 335616"/>
                <a:gd name="connsiteY31" fmla="*/ 208045 h 21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5616" h="217795">
                  <a:moveTo>
                    <a:pt x="118402" y="208045"/>
                  </a:moveTo>
                  <a:cubicBezTo>
                    <a:pt x="119457" y="203834"/>
                    <a:pt x="124206" y="200926"/>
                    <a:pt x="129401" y="201361"/>
                  </a:cubicBezTo>
                  <a:cubicBezTo>
                    <a:pt x="135774" y="202497"/>
                    <a:pt x="135814" y="209483"/>
                    <a:pt x="138291" y="212624"/>
                  </a:cubicBezTo>
                  <a:cubicBezTo>
                    <a:pt x="142350" y="217505"/>
                    <a:pt x="168854" y="218240"/>
                    <a:pt x="176079" y="216802"/>
                  </a:cubicBezTo>
                  <a:cubicBezTo>
                    <a:pt x="195644" y="212926"/>
                    <a:pt x="195441" y="202865"/>
                    <a:pt x="195887" y="191835"/>
                  </a:cubicBezTo>
                  <a:lnTo>
                    <a:pt x="199946" y="99854"/>
                  </a:lnTo>
                  <a:cubicBezTo>
                    <a:pt x="199946" y="98383"/>
                    <a:pt x="198810" y="92901"/>
                    <a:pt x="201205" y="91832"/>
                  </a:cubicBezTo>
                  <a:cubicBezTo>
                    <a:pt x="206481" y="89526"/>
                    <a:pt x="226452" y="93570"/>
                    <a:pt x="226735" y="87153"/>
                  </a:cubicBezTo>
                  <a:cubicBezTo>
                    <a:pt x="227466" y="72546"/>
                    <a:pt x="228197" y="57950"/>
                    <a:pt x="228887" y="43334"/>
                  </a:cubicBezTo>
                  <a:cubicBezTo>
                    <a:pt x="229130" y="38521"/>
                    <a:pt x="229374" y="33742"/>
                    <a:pt x="229577" y="28929"/>
                  </a:cubicBezTo>
                  <a:cubicBezTo>
                    <a:pt x="229577" y="28728"/>
                    <a:pt x="254580" y="27625"/>
                    <a:pt x="257990" y="26923"/>
                  </a:cubicBezTo>
                  <a:cubicBezTo>
                    <a:pt x="272886" y="23581"/>
                    <a:pt x="280761" y="20005"/>
                    <a:pt x="292085" y="28427"/>
                  </a:cubicBezTo>
                  <a:cubicBezTo>
                    <a:pt x="298093" y="32873"/>
                    <a:pt x="300934" y="28126"/>
                    <a:pt x="306332" y="25854"/>
                  </a:cubicBezTo>
                  <a:cubicBezTo>
                    <a:pt x="314450" y="22511"/>
                    <a:pt x="326262" y="23113"/>
                    <a:pt x="335557" y="22144"/>
                  </a:cubicBezTo>
                  <a:cubicBezTo>
                    <a:pt x="329550" y="14423"/>
                    <a:pt x="322893" y="15459"/>
                    <a:pt x="308970" y="16027"/>
                  </a:cubicBezTo>
                  <a:cubicBezTo>
                    <a:pt x="297362" y="16462"/>
                    <a:pt x="285753" y="17387"/>
                    <a:pt x="274266" y="18801"/>
                  </a:cubicBezTo>
                  <a:cubicBezTo>
                    <a:pt x="247152" y="21977"/>
                    <a:pt x="218536" y="16261"/>
                    <a:pt x="190732" y="16562"/>
                  </a:cubicBezTo>
                  <a:cubicBezTo>
                    <a:pt x="179124" y="16562"/>
                    <a:pt x="178880" y="16796"/>
                    <a:pt x="170722" y="11181"/>
                  </a:cubicBezTo>
                  <a:cubicBezTo>
                    <a:pt x="167556" y="9008"/>
                    <a:pt x="155216" y="10178"/>
                    <a:pt x="150995" y="10111"/>
                  </a:cubicBezTo>
                  <a:cubicBezTo>
                    <a:pt x="124977" y="9509"/>
                    <a:pt x="97822" y="10546"/>
                    <a:pt x="71967" y="8574"/>
                  </a:cubicBezTo>
                  <a:cubicBezTo>
                    <a:pt x="62793" y="7872"/>
                    <a:pt x="57071" y="4228"/>
                    <a:pt x="48749" y="2324"/>
                  </a:cubicBezTo>
                  <a:cubicBezTo>
                    <a:pt x="42742" y="953"/>
                    <a:pt x="26141" y="5398"/>
                    <a:pt x="23259" y="3126"/>
                  </a:cubicBezTo>
                  <a:cubicBezTo>
                    <a:pt x="20377" y="853"/>
                    <a:pt x="18551" y="-1988"/>
                    <a:pt x="12259" y="853"/>
                  </a:cubicBezTo>
                  <a:cubicBezTo>
                    <a:pt x="12259" y="853"/>
                    <a:pt x="-729" y="6535"/>
                    <a:pt x="82" y="5365"/>
                  </a:cubicBezTo>
                  <a:cubicBezTo>
                    <a:pt x="-1907" y="17197"/>
                    <a:pt x="17536" y="29196"/>
                    <a:pt x="25288" y="38789"/>
                  </a:cubicBezTo>
                  <a:cubicBezTo>
                    <a:pt x="35802" y="52158"/>
                    <a:pt x="41078" y="66430"/>
                    <a:pt x="52078" y="79465"/>
                  </a:cubicBezTo>
                  <a:cubicBezTo>
                    <a:pt x="63078" y="92500"/>
                    <a:pt x="68598" y="101090"/>
                    <a:pt x="66284" y="116231"/>
                  </a:cubicBezTo>
                  <a:cubicBezTo>
                    <a:pt x="64376" y="128564"/>
                    <a:pt x="73185" y="141666"/>
                    <a:pt x="75660" y="154000"/>
                  </a:cubicBezTo>
                  <a:cubicBezTo>
                    <a:pt x="77852" y="164929"/>
                    <a:pt x="78096" y="176193"/>
                    <a:pt x="84103" y="186621"/>
                  </a:cubicBezTo>
                  <a:cubicBezTo>
                    <a:pt x="87634" y="192738"/>
                    <a:pt x="94332" y="196648"/>
                    <a:pt x="100055" y="201795"/>
                  </a:cubicBezTo>
                  <a:cubicBezTo>
                    <a:pt x="101110" y="202731"/>
                    <a:pt x="118402" y="216502"/>
                    <a:pt x="118645" y="207879"/>
                  </a:cubicBezTo>
                  <a:cubicBezTo>
                    <a:pt x="118483" y="204503"/>
                    <a:pt x="118320" y="210719"/>
                    <a:pt x="118402" y="20804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FA0EF274-7609-406F-8B5D-ED250021128C}"/>
                </a:ext>
              </a:extLst>
            </p:cNvPr>
            <p:cNvSpPr/>
            <p:nvPr/>
          </p:nvSpPr>
          <p:spPr>
            <a:xfrm>
              <a:off x="6477665" y="5136101"/>
              <a:ext cx="209571" cy="121020"/>
            </a:xfrm>
            <a:custGeom>
              <a:avLst/>
              <a:gdLst>
                <a:gd name="connsiteX0" fmla="*/ 143019 w 209571"/>
                <a:gd name="connsiteY0" fmla="*/ 6373 h 121020"/>
                <a:gd name="connsiteX1" fmla="*/ 117773 w 209571"/>
                <a:gd name="connsiteY1" fmla="*/ -312 h 121020"/>
                <a:gd name="connsiteX2" fmla="*/ 86843 w 209571"/>
                <a:gd name="connsiteY2" fmla="*/ 15197 h 121020"/>
                <a:gd name="connsiteX3" fmla="*/ 65047 w 209571"/>
                <a:gd name="connsiteY3" fmla="*/ 22751 h 121020"/>
                <a:gd name="connsiteX4" fmla="*/ 49135 w 209571"/>
                <a:gd name="connsiteY4" fmla="*/ 34516 h 121020"/>
                <a:gd name="connsiteX5" fmla="*/ -60 w 209571"/>
                <a:gd name="connsiteY5" fmla="*/ 31173 h 121020"/>
                <a:gd name="connsiteX6" fmla="*/ 16176 w 209571"/>
                <a:gd name="connsiteY6" fmla="*/ 43540 h 121020"/>
                <a:gd name="connsiteX7" fmla="*/ 24659 w 209571"/>
                <a:gd name="connsiteY7" fmla="*/ 61388 h 121020"/>
                <a:gd name="connsiteX8" fmla="*/ 61840 w 209571"/>
                <a:gd name="connsiteY8" fmla="*/ 89364 h 121020"/>
                <a:gd name="connsiteX9" fmla="*/ 86194 w 209571"/>
                <a:gd name="connsiteY9" fmla="*/ 102900 h 121020"/>
                <a:gd name="connsiteX10" fmla="*/ 100157 w 209571"/>
                <a:gd name="connsiteY10" fmla="*/ 112092 h 121020"/>
                <a:gd name="connsiteX11" fmla="*/ 121304 w 209571"/>
                <a:gd name="connsiteY11" fmla="*/ 115133 h 121020"/>
                <a:gd name="connsiteX12" fmla="*/ 150488 w 209571"/>
                <a:gd name="connsiteY12" fmla="*/ 120682 h 121020"/>
                <a:gd name="connsiteX13" fmla="*/ 178657 w 209571"/>
                <a:gd name="connsiteY13" fmla="*/ 105340 h 121020"/>
                <a:gd name="connsiteX14" fmla="*/ 183853 w 209571"/>
                <a:gd name="connsiteY14" fmla="*/ 94143 h 121020"/>
                <a:gd name="connsiteX15" fmla="*/ 193797 w 209571"/>
                <a:gd name="connsiteY15" fmla="*/ 86322 h 121020"/>
                <a:gd name="connsiteX16" fmla="*/ 200819 w 209571"/>
                <a:gd name="connsiteY16" fmla="*/ 76295 h 121020"/>
                <a:gd name="connsiteX17" fmla="*/ 196760 w 209571"/>
                <a:gd name="connsiteY17" fmla="*/ 59015 h 121020"/>
                <a:gd name="connsiteX18" fmla="*/ 206380 w 209571"/>
                <a:gd name="connsiteY18" fmla="*/ 23219 h 121020"/>
                <a:gd name="connsiteX19" fmla="*/ 172204 w 209571"/>
                <a:gd name="connsiteY19" fmla="*/ 12389 h 121020"/>
                <a:gd name="connsiteX20" fmla="*/ 143019 w 209571"/>
                <a:gd name="connsiteY20" fmla="*/ 6373 h 12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571" h="121020">
                  <a:moveTo>
                    <a:pt x="143019" y="6373"/>
                  </a:moveTo>
                  <a:cubicBezTo>
                    <a:pt x="142248" y="-2217"/>
                    <a:pt x="127352" y="89"/>
                    <a:pt x="117773" y="-312"/>
                  </a:cubicBezTo>
                  <a:cubicBezTo>
                    <a:pt x="101780" y="-980"/>
                    <a:pt x="99426" y="10985"/>
                    <a:pt x="86843" y="15197"/>
                  </a:cubicBezTo>
                  <a:cubicBezTo>
                    <a:pt x="78725" y="17871"/>
                    <a:pt x="71500" y="18539"/>
                    <a:pt x="65047" y="22751"/>
                  </a:cubicBezTo>
                  <a:cubicBezTo>
                    <a:pt x="59526" y="26494"/>
                    <a:pt x="55224" y="31140"/>
                    <a:pt x="49135" y="34516"/>
                  </a:cubicBezTo>
                  <a:cubicBezTo>
                    <a:pt x="40206" y="39496"/>
                    <a:pt x="12604" y="29636"/>
                    <a:pt x="-60" y="31173"/>
                  </a:cubicBezTo>
                  <a:cubicBezTo>
                    <a:pt x="3594" y="35853"/>
                    <a:pt x="14228" y="39262"/>
                    <a:pt x="16176" y="43540"/>
                  </a:cubicBezTo>
                  <a:cubicBezTo>
                    <a:pt x="18896" y="49255"/>
                    <a:pt x="18450" y="56575"/>
                    <a:pt x="24659" y="61388"/>
                  </a:cubicBezTo>
                  <a:cubicBezTo>
                    <a:pt x="35660" y="69911"/>
                    <a:pt x="63058" y="74758"/>
                    <a:pt x="61840" y="89364"/>
                  </a:cubicBezTo>
                  <a:cubicBezTo>
                    <a:pt x="61069" y="98823"/>
                    <a:pt x="75803" y="101329"/>
                    <a:pt x="86194" y="102900"/>
                  </a:cubicBezTo>
                  <a:cubicBezTo>
                    <a:pt x="96585" y="104471"/>
                    <a:pt x="93906" y="111156"/>
                    <a:pt x="100157" y="112092"/>
                  </a:cubicBezTo>
                  <a:cubicBezTo>
                    <a:pt x="104824" y="112794"/>
                    <a:pt x="118625" y="111824"/>
                    <a:pt x="121304" y="115133"/>
                  </a:cubicBezTo>
                  <a:cubicBezTo>
                    <a:pt x="125363" y="120013"/>
                    <a:pt x="143872" y="117774"/>
                    <a:pt x="150488" y="120682"/>
                  </a:cubicBezTo>
                  <a:cubicBezTo>
                    <a:pt x="159783" y="115702"/>
                    <a:pt x="170783" y="111256"/>
                    <a:pt x="178657" y="105340"/>
                  </a:cubicBezTo>
                  <a:cubicBezTo>
                    <a:pt x="182716" y="102232"/>
                    <a:pt x="183122" y="98121"/>
                    <a:pt x="183853" y="94143"/>
                  </a:cubicBezTo>
                  <a:cubicBezTo>
                    <a:pt x="184664" y="89598"/>
                    <a:pt x="189089" y="88963"/>
                    <a:pt x="193797" y="86322"/>
                  </a:cubicBezTo>
                  <a:cubicBezTo>
                    <a:pt x="200616" y="82545"/>
                    <a:pt x="203498" y="80941"/>
                    <a:pt x="200819" y="76295"/>
                  </a:cubicBezTo>
                  <a:cubicBezTo>
                    <a:pt x="198749" y="72518"/>
                    <a:pt x="192701" y="61823"/>
                    <a:pt x="196760" y="59015"/>
                  </a:cubicBezTo>
                  <a:cubicBezTo>
                    <a:pt x="202808" y="54804"/>
                    <a:pt x="215351" y="27931"/>
                    <a:pt x="206380" y="23219"/>
                  </a:cubicBezTo>
                  <a:cubicBezTo>
                    <a:pt x="197410" y="18506"/>
                    <a:pt x="182026" y="15865"/>
                    <a:pt x="172204" y="12389"/>
                  </a:cubicBezTo>
                  <a:cubicBezTo>
                    <a:pt x="162827" y="9328"/>
                    <a:pt x="153045" y="7305"/>
                    <a:pt x="143019" y="637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E8BD3EE8-AF33-4F48-98D0-4958509CB29E}"/>
                </a:ext>
              </a:extLst>
            </p:cNvPr>
            <p:cNvSpPr/>
            <p:nvPr/>
          </p:nvSpPr>
          <p:spPr>
            <a:xfrm>
              <a:off x="6340472" y="5167479"/>
              <a:ext cx="233256" cy="159093"/>
            </a:xfrm>
            <a:custGeom>
              <a:avLst/>
              <a:gdLst>
                <a:gd name="connsiteX0" fmla="*/ 216405 w 233256"/>
                <a:gd name="connsiteY0" fmla="*/ 70787 h 159093"/>
                <a:gd name="connsiteX1" fmla="*/ 188885 w 233256"/>
                <a:gd name="connsiteY1" fmla="*/ 42845 h 159093"/>
                <a:gd name="connsiteX2" fmla="*/ 164532 w 233256"/>
                <a:gd name="connsiteY2" fmla="*/ 31213 h 159093"/>
                <a:gd name="connsiteX3" fmla="*/ 155277 w 233256"/>
                <a:gd name="connsiteY3" fmla="*/ 16707 h 159093"/>
                <a:gd name="connsiteX4" fmla="*/ 148620 w 233256"/>
                <a:gd name="connsiteY4" fmla="*/ 9020 h 159093"/>
                <a:gd name="connsiteX5" fmla="*/ 137255 w 233256"/>
                <a:gd name="connsiteY5" fmla="*/ -339 h 159093"/>
                <a:gd name="connsiteX6" fmla="*/ 119355 w 233256"/>
                <a:gd name="connsiteY6" fmla="*/ 1032 h 159093"/>
                <a:gd name="connsiteX7" fmla="*/ 93784 w 233256"/>
                <a:gd name="connsiteY7" fmla="*/ 5945 h 159093"/>
                <a:gd name="connsiteX8" fmla="*/ 69186 w 233256"/>
                <a:gd name="connsiteY8" fmla="*/ 2302 h 159093"/>
                <a:gd name="connsiteX9" fmla="*/ 31438 w 233256"/>
                <a:gd name="connsiteY9" fmla="*/ 6446 h 159093"/>
                <a:gd name="connsiteX10" fmla="*/ 30139 w 233256"/>
                <a:gd name="connsiteY10" fmla="*/ 32985 h 159093"/>
                <a:gd name="connsiteX11" fmla="*/ 28678 w 233256"/>
                <a:gd name="connsiteY11" fmla="*/ 63701 h 159093"/>
                <a:gd name="connsiteX12" fmla="*/ 2010 w 233256"/>
                <a:gd name="connsiteY12" fmla="*/ 72725 h 159093"/>
                <a:gd name="connsiteX13" fmla="*/ -60 w 233256"/>
                <a:gd name="connsiteY13" fmla="*/ 120521 h 159093"/>
                <a:gd name="connsiteX14" fmla="*/ 17312 w 233256"/>
                <a:gd name="connsiteY14" fmla="*/ 136731 h 159093"/>
                <a:gd name="connsiteX15" fmla="*/ 19342 w 233256"/>
                <a:gd name="connsiteY15" fmla="*/ 145622 h 159093"/>
                <a:gd name="connsiteX16" fmla="*/ 13862 w 233256"/>
                <a:gd name="connsiteY16" fmla="*/ 149466 h 159093"/>
                <a:gd name="connsiteX17" fmla="*/ 53722 w 233256"/>
                <a:gd name="connsiteY17" fmla="*/ 151237 h 159093"/>
                <a:gd name="connsiteX18" fmla="*/ 68943 w 233256"/>
                <a:gd name="connsiteY18" fmla="*/ 138068 h 159093"/>
                <a:gd name="connsiteX19" fmla="*/ 86315 w 233256"/>
                <a:gd name="connsiteY19" fmla="*/ 131919 h 159093"/>
                <a:gd name="connsiteX20" fmla="*/ 137580 w 233256"/>
                <a:gd name="connsiteY20" fmla="*/ 137801 h 159093"/>
                <a:gd name="connsiteX21" fmla="*/ 147362 w 233256"/>
                <a:gd name="connsiteY21" fmla="*/ 121691 h 159093"/>
                <a:gd name="connsiteX22" fmla="*/ 174882 w 233256"/>
                <a:gd name="connsiteY22" fmla="*/ 111831 h 159093"/>
                <a:gd name="connsiteX23" fmla="*/ 196192 w 233256"/>
                <a:gd name="connsiteY23" fmla="*/ 99264 h 159093"/>
                <a:gd name="connsiteX24" fmla="*/ 217623 w 233256"/>
                <a:gd name="connsiteY24" fmla="*/ 88401 h 159093"/>
                <a:gd name="connsiteX25" fmla="*/ 216527 w 233256"/>
                <a:gd name="connsiteY25" fmla="*/ 70787 h 1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33256" h="159093">
                  <a:moveTo>
                    <a:pt x="216405" y="70787"/>
                  </a:moveTo>
                  <a:cubicBezTo>
                    <a:pt x="199236" y="70185"/>
                    <a:pt x="196111" y="50398"/>
                    <a:pt x="188885" y="42845"/>
                  </a:cubicBezTo>
                  <a:cubicBezTo>
                    <a:pt x="183893" y="37630"/>
                    <a:pt x="172650" y="33920"/>
                    <a:pt x="164532" y="31213"/>
                  </a:cubicBezTo>
                  <a:cubicBezTo>
                    <a:pt x="157672" y="28907"/>
                    <a:pt x="156414" y="20919"/>
                    <a:pt x="155277" y="16707"/>
                  </a:cubicBezTo>
                  <a:cubicBezTo>
                    <a:pt x="154912" y="13338"/>
                    <a:pt x="152355" y="10394"/>
                    <a:pt x="148620" y="9020"/>
                  </a:cubicBezTo>
                  <a:cubicBezTo>
                    <a:pt x="144074" y="6597"/>
                    <a:pt x="140218" y="3405"/>
                    <a:pt x="137255" y="-339"/>
                  </a:cubicBezTo>
                  <a:cubicBezTo>
                    <a:pt x="131329" y="554"/>
                    <a:pt x="125362" y="1012"/>
                    <a:pt x="119355" y="1032"/>
                  </a:cubicBezTo>
                  <a:cubicBezTo>
                    <a:pt x="109492" y="597"/>
                    <a:pt x="101049" y="11360"/>
                    <a:pt x="93784" y="5945"/>
                  </a:cubicBezTo>
                  <a:cubicBezTo>
                    <a:pt x="85098" y="-506"/>
                    <a:pt x="81607" y="-405"/>
                    <a:pt x="69186" y="2302"/>
                  </a:cubicBezTo>
                  <a:cubicBezTo>
                    <a:pt x="65655" y="3037"/>
                    <a:pt x="31397" y="7884"/>
                    <a:pt x="31438" y="6446"/>
                  </a:cubicBezTo>
                  <a:cubicBezTo>
                    <a:pt x="31032" y="15304"/>
                    <a:pt x="30585" y="24127"/>
                    <a:pt x="30139" y="32985"/>
                  </a:cubicBezTo>
                  <a:lnTo>
                    <a:pt x="28678" y="63701"/>
                  </a:lnTo>
                  <a:cubicBezTo>
                    <a:pt x="28191" y="73461"/>
                    <a:pt x="2416" y="63400"/>
                    <a:pt x="2010" y="72725"/>
                  </a:cubicBezTo>
                  <a:lnTo>
                    <a:pt x="-60" y="120521"/>
                  </a:lnTo>
                  <a:cubicBezTo>
                    <a:pt x="11833" y="123863"/>
                    <a:pt x="13862" y="129011"/>
                    <a:pt x="17312" y="136731"/>
                  </a:cubicBezTo>
                  <a:cubicBezTo>
                    <a:pt x="18327" y="139038"/>
                    <a:pt x="20722" y="143115"/>
                    <a:pt x="19342" y="145622"/>
                  </a:cubicBezTo>
                  <a:cubicBezTo>
                    <a:pt x="17962" y="148129"/>
                    <a:pt x="13984" y="146859"/>
                    <a:pt x="13862" y="149466"/>
                  </a:cubicBezTo>
                  <a:cubicBezTo>
                    <a:pt x="13132" y="165108"/>
                    <a:pt x="42275" y="157655"/>
                    <a:pt x="53722" y="151237"/>
                  </a:cubicBezTo>
                  <a:cubicBezTo>
                    <a:pt x="60541" y="147360"/>
                    <a:pt x="66792" y="144018"/>
                    <a:pt x="68943" y="138068"/>
                  </a:cubicBezTo>
                  <a:cubicBezTo>
                    <a:pt x="71094" y="132119"/>
                    <a:pt x="77061" y="127473"/>
                    <a:pt x="86315" y="131919"/>
                  </a:cubicBezTo>
                  <a:cubicBezTo>
                    <a:pt x="97437" y="137233"/>
                    <a:pt x="125647" y="146257"/>
                    <a:pt x="137580" y="137801"/>
                  </a:cubicBezTo>
                  <a:cubicBezTo>
                    <a:pt x="143100" y="133891"/>
                    <a:pt x="140218" y="123964"/>
                    <a:pt x="147362" y="121691"/>
                  </a:cubicBezTo>
                  <a:cubicBezTo>
                    <a:pt x="155480" y="119151"/>
                    <a:pt x="174151" y="121223"/>
                    <a:pt x="174882" y="111831"/>
                  </a:cubicBezTo>
                  <a:cubicBezTo>
                    <a:pt x="175694" y="101603"/>
                    <a:pt x="185557" y="102539"/>
                    <a:pt x="196192" y="99264"/>
                  </a:cubicBezTo>
                  <a:cubicBezTo>
                    <a:pt x="205730" y="96356"/>
                    <a:pt x="206988" y="89236"/>
                    <a:pt x="217623" y="88401"/>
                  </a:cubicBezTo>
                  <a:cubicBezTo>
                    <a:pt x="237471" y="86897"/>
                    <a:pt x="239663" y="71689"/>
                    <a:pt x="216527" y="707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1784FCDA-7CD8-4456-8777-7D4CE5BA1D6D}"/>
                </a:ext>
              </a:extLst>
            </p:cNvPr>
            <p:cNvSpPr/>
            <p:nvPr/>
          </p:nvSpPr>
          <p:spPr>
            <a:xfrm>
              <a:off x="6608164" y="5318598"/>
              <a:ext cx="34440" cy="28994"/>
            </a:xfrm>
            <a:custGeom>
              <a:avLst/>
              <a:gdLst>
                <a:gd name="connsiteX0" fmla="*/ 18609 w 34440"/>
                <a:gd name="connsiteY0" fmla="*/ -316 h 28994"/>
                <a:gd name="connsiteX1" fmla="*/ 749 w 34440"/>
                <a:gd name="connsiteY1" fmla="*/ 9477 h 28994"/>
                <a:gd name="connsiteX2" fmla="*/ 10937 w 34440"/>
                <a:gd name="connsiteY2" fmla="*/ 26490 h 28994"/>
                <a:gd name="connsiteX3" fmla="*/ 18609 w 34440"/>
                <a:gd name="connsiteY3" fmla="*/ -316 h 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40" h="28994">
                  <a:moveTo>
                    <a:pt x="18609" y="-316"/>
                  </a:moveTo>
                  <a:cubicBezTo>
                    <a:pt x="11709" y="-784"/>
                    <a:pt x="3631" y="6035"/>
                    <a:pt x="749" y="9477"/>
                  </a:cubicBezTo>
                  <a:cubicBezTo>
                    <a:pt x="-2782" y="13655"/>
                    <a:pt x="6107" y="23783"/>
                    <a:pt x="10937" y="26490"/>
                  </a:cubicBezTo>
                  <a:cubicBezTo>
                    <a:pt x="31070" y="37720"/>
                    <a:pt x="47914" y="1723"/>
                    <a:pt x="18609" y="-31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F9C9F9EF-110C-4DB9-BF02-1A5553B48765}"/>
                </a:ext>
              </a:extLst>
            </p:cNvPr>
            <p:cNvSpPr/>
            <p:nvPr/>
          </p:nvSpPr>
          <p:spPr>
            <a:xfrm>
              <a:off x="6513175" y="5364063"/>
              <a:ext cx="55100" cy="38722"/>
            </a:xfrm>
            <a:custGeom>
              <a:avLst/>
              <a:gdLst>
                <a:gd name="connsiteX0" fmla="*/ 39724 w 55100"/>
                <a:gd name="connsiteY0" fmla="*/ 2282 h 38722"/>
                <a:gd name="connsiteX1" fmla="*/ 5832 w 55100"/>
                <a:gd name="connsiteY1" fmla="*/ 15084 h 38722"/>
                <a:gd name="connsiteX2" fmla="*/ 10743 w 55100"/>
                <a:gd name="connsiteY2" fmla="*/ 36508 h 38722"/>
                <a:gd name="connsiteX3" fmla="*/ 22555 w 55100"/>
                <a:gd name="connsiteY3" fmla="*/ 37210 h 38722"/>
                <a:gd name="connsiteX4" fmla="*/ 41226 w 55100"/>
                <a:gd name="connsiteY4" fmla="*/ 29322 h 38722"/>
                <a:gd name="connsiteX5" fmla="*/ 55027 w 55100"/>
                <a:gd name="connsiteY5" fmla="*/ 16320 h 38722"/>
                <a:gd name="connsiteX6" fmla="*/ 39724 w 55100"/>
                <a:gd name="connsiteY6" fmla="*/ 2282 h 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100" h="38722">
                  <a:moveTo>
                    <a:pt x="39724" y="2282"/>
                  </a:moveTo>
                  <a:cubicBezTo>
                    <a:pt x="33636" y="-7310"/>
                    <a:pt x="8795" y="12309"/>
                    <a:pt x="5832" y="15084"/>
                  </a:cubicBezTo>
                  <a:cubicBezTo>
                    <a:pt x="-5290" y="24676"/>
                    <a:pt x="1042" y="26013"/>
                    <a:pt x="10743" y="36508"/>
                  </a:cubicBezTo>
                  <a:cubicBezTo>
                    <a:pt x="12529" y="38480"/>
                    <a:pt x="21134" y="39182"/>
                    <a:pt x="22555" y="37210"/>
                  </a:cubicBezTo>
                  <a:cubicBezTo>
                    <a:pt x="28278" y="29389"/>
                    <a:pt x="29090" y="28586"/>
                    <a:pt x="41226" y="29322"/>
                  </a:cubicBezTo>
                  <a:cubicBezTo>
                    <a:pt x="44960" y="29556"/>
                    <a:pt x="54783" y="18927"/>
                    <a:pt x="55027" y="16320"/>
                  </a:cubicBezTo>
                  <a:cubicBezTo>
                    <a:pt x="55514" y="10906"/>
                    <a:pt x="42850" y="6928"/>
                    <a:pt x="39724" y="22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16E4AFAB-DCDE-4371-9438-B0BDD1DC6AD8}"/>
                </a:ext>
              </a:extLst>
            </p:cNvPr>
            <p:cNvSpPr/>
            <p:nvPr/>
          </p:nvSpPr>
          <p:spPr>
            <a:xfrm>
              <a:off x="6249875" y="5246793"/>
              <a:ext cx="411255" cy="228285"/>
            </a:xfrm>
            <a:custGeom>
              <a:avLst/>
              <a:gdLst>
                <a:gd name="connsiteX0" fmla="*/ 391997 w 411255"/>
                <a:gd name="connsiteY0" fmla="*/ 94083 h 228285"/>
                <a:gd name="connsiteX1" fmla="*/ 377953 w 411255"/>
                <a:gd name="connsiteY1" fmla="*/ 99865 h 228285"/>
                <a:gd name="connsiteX2" fmla="*/ 359647 w 411255"/>
                <a:gd name="connsiteY2" fmla="*/ 86496 h 228285"/>
                <a:gd name="connsiteX3" fmla="*/ 366994 w 411255"/>
                <a:gd name="connsiteY3" fmla="*/ 74831 h 228285"/>
                <a:gd name="connsiteX4" fmla="*/ 391023 w 411255"/>
                <a:gd name="connsiteY4" fmla="*/ 77337 h 228285"/>
                <a:gd name="connsiteX5" fmla="*/ 395082 w 411255"/>
                <a:gd name="connsiteY5" fmla="*/ 51033 h 228285"/>
                <a:gd name="connsiteX6" fmla="*/ 383636 w 411255"/>
                <a:gd name="connsiteY6" fmla="*/ 24863 h 228285"/>
                <a:gd name="connsiteX7" fmla="*/ 362245 w 411255"/>
                <a:gd name="connsiteY7" fmla="*/ 7081 h 228285"/>
                <a:gd name="connsiteX8" fmla="*/ 324862 w 411255"/>
                <a:gd name="connsiteY8" fmla="*/ -339 h 228285"/>
                <a:gd name="connsiteX9" fmla="*/ 296164 w 411255"/>
                <a:gd name="connsiteY9" fmla="*/ 15304 h 228285"/>
                <a:gd name="connsiteX10" fmla="*/ 272703 w 411255"/>
                <a:gd name="connsiteY10" fmla="*/ 22289 h 228285"/>
                <a:gd name="connsiteX11" fmla="*/ 260039 w 411255"/>
                <a:gd name="connsiteY11" fmla="*/ 37764 h 228285"/>
                <a:gd name="connsiteX12" fmla="*/ 237878 w 411255"/>
                <a:gd name="connsiteY12" fmla="*/ 42209 h 228285"/>
                <a:gd name="connsiteX13" fmla="*/ 230044 w 411255"/>
                <a:gd name="connsiteY13" fmla="*/ 56448 h 228285"/>
                <a:gd name="connsiteX14" fmla="*/ 186491 w 411255"/>
                <a:gd name="connsiteY14" fmla="*/ 57016 h 228285"/>
                <a:gd name="connsiteX15" fmla="*/ 158809 w 411255"/>
                <a:gd name="connsiteY15" fmla="*/ 60793 h 228285"/>
                <a:gd name="connsiteX16" fmla="*/ 125078 w 411255"/>
                <a:gd name="connsiteY16" fmla="*/ 79343 h 228285"/>
                <a:gd name="connsiteX17" fmla="*/ 104784 w 411255"/>
                <a:gd name="connsiteY17" fmla="*/ 76836 h 228285"/>
                <a:gd name="connsiteX18" fmla="*/ 107828 w 411255"/>
                <a:gd name="connsiteY18" fmla="*/ 67778 h 228285"/>
                <a:gd name="connsiteX19" fmla="*/ 90537 w 411255"/>
                <a:gd name="connsiteY19" fmla="*/ 41040 h 228285"/>
                <a:gd name="connsiteX20" fmla="*/ 88304 w 411255"/>
                <a:gd name="connsiteY20" fmla="*/ 92178 h 228285"/>
                <a:gd name="connsiteX21" fmla="*/ 73165 w 411255"/>
                <a:gd name="connsiteY21" fmla="*/ 112499 h 228285"/>
                <a:gd name="connsiteX22" fmla="*/ 30789 w 411255"/>
                <a:gd name="connsiteY22" fmla="*/ 110661 h 228285"/>
                <a:gd name="connsiteX23" fmla="*/ 18084 w 411255"/>
                <a:gd name="connsiteY23" fmla="*/ 99665 h 228285"/>
                <a:gd name="connsiteX24" fmla="*/ -60 w 411255"/>
                <a:gd name="connsiteY24" fmla="*/ 107553 h 228285"/>
                <a:gd name="connsiteX25" fmla="*/ 20479 w 411255"/>
                <a:gd name="connsiteY25" fmla="*/ 139606 h 228285"/>
                <a:gd name="connsiteX26" fmla="*/ 39921 w 411255"/>
                <a:gd name="connsiteY26" fmla="*/ 166612 h 228285"/>
                <a:gd name="connsiteX27" fmla="*/ 44995 w 411255"/>
                <a:gd name="connsiteY27" fmla="*/ 178277 h 228285"/>
                <a:gd name="connsiteX28" fmla="*/ 37121 w 411255"/>
                <a:gd name="connsiteY28" fmla="*/ 186131 h 228285"/>
                <a:gd name="connsiteX29" fmla="*/ 44954 w 411255"/>
                <a:gd name="connsiteY29" fmla="*/ 210798 h 228285"/>
                <a:gd name="connsiteX30" fmla="*/ 67725 w 411255"/>
                <a:gd name="connsiteY30" fmla="*/ 222797 h 228285"/>
                <a:gd name="connsiteX31" fmla="*/ 96138 w 411255"/>
                <a:gd name="connsiteY31" fmla="*/ 222563 h 228285"/>
                <a:gd name="connsiteX32" fmla="*/ 134292 w 411255"/>
                <a:gd name="connsiteY32" fmla="*/ 217483 h 228285"/>
                <a:gd name="connsiteX33" fmla="*/ 186044 w 411255"/>
                <a:gd name="connsiteY33" fmla="*/ 218753 h 228285"/>
                <a:gd name="connsiteX34" fmla="*/ 202646 w 411255"/>
                <a:gd name="connsiteY34" fmla="*/ 216413 h 228285"/>
                <a:gd name="connsiteX35" fmla="*/ 217014 w 411255"/>
                <a:gd name="connsiteY35" fmla="*/ 217048 h 228285"/>
                <a:gd name="connsiteX36" fmla="*/ 223712 w 411255"/>
                <a:gd name="connsiteY36" fmla="*/ 210932 h 228285"/>
                <a:gd name="connsiteX37" fmla="*/ 242870 w 411255"/>
                <a:gd name="connsiteY37" fmla="*/ 210932 h 228285"/>
                <a:gd name="connsiteX38" fmla="*/ 312563 w 411255"/>
                <a:gd name="connsiteY38" fmla="*/ 179514 h 228285"/>
                <a:gd name="connsiteX39" fmla="*/ 365654 w 411255"/>
                <a:gd name="connsiteY39" fmla="*/ 138904 h 228285"/>
                <a:gd name="connsiteX40" fmla="*/ 396178 w 411255"/>
                <a:gd name="connsiteY40" fmla="*/ 121356 h 228285"/>
                <a:gd name="connsiteX41" fmla="*/ 411196 w 411255"/>
                <a:gd name="connsiteY41" fmla="*/ 94283 h 228285"/>
                <a:gd name="connsiteX42" fmla="*/ 391997 w 411255"/>
                <a:gd name="connsiteY42" fmla="*/ 94083 h 228285"/>
                <a:gd name="connsiteX43" fmla="*/ 308463 w 411255"/>
                <a:gd name="connsiteY43" fmla="*/ 145154 h 228285"/>
                <a:gd name="connsiteX44" fmla="*/ 294135 w 411255"/>
                <a:gd name="connsiteY44" fmla="*/ 145956 h 228285"/>
                <a:gd name="connsiteX45" fmla="*/ 279847 w 411255"/>
                <a:gd name="connsiteY45" fmla="*/ 155081 h 228285"/>
                <a:gd name="connsiteX46" fmla="*/ 261622 w 411255"/>
                <a:gd name="connsiteY46" fmla="*/ 138803 h 228285"/>
                <a:gd name="connsiteX47" fmla="*/ 298438 w 411255"/>
                <a:gd name="connsiteY47" fmla="*/ 118081 h 228285"/>
                <a:gd name="connsiteX48" fmla="*/ 315283 w 411255"/>
                <a:gd name="connsiteY48" fmla="*/ 129111 h 228285"/>
                <a:gd name="connsiteX49" fmla="*/ 308463 w 411255"/>
                <a:gd name="connsiteY49" fmla="*/ 145154 h 22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11255" h="228285">
                  <a:moveTo>
                    <a:pt x="391997" y="94083"/>
                  </a:moveTo>
                  <a:cubicBezTo>
                    <a:pt x="389074" y="91576"/>
                    <a:pt x="386720" y="100233"/>
                    <a:pt x="377953" y="99865"/>
                  </a:cubicBezTo>
                  <a:cubicBezTo>
                    <a:pt x="366750" y="99397"/>
                    <a:pt x="362732" y="93180"/>
                    <a:pt x="359647" y="86496"/>
                  </a:cubicBezTo>
                  <a:cubicBezTo>
                    <a:pt x="357090" y="81148"/>
                    <a:pt x="361108" y="78374"/>
                    <a:pt x="366994" y="74831"/>
                  </a:cubicBezTo>
                  <a:cubicBezTo>
                    <a:pt x="376289" y="69216"/>
                    <a:pt x="382012" y="72458"/>
                    <a:pt x="391023" y="77337"/>
                  </a:cubicBezTo>
                  <a:cubicBezTo>
                    <a:pt x="391023" y="68514"/>
                    <a:pt x="395082" y="59924"/>
                    <a:pt x="395082" y="51033"/>
                  </a:cubicBezTo>
                  <a:cubicBezTo>
                    <a:pt x="395082" y="42143"/>
                    <a:pt x="386071" y="33653"/>
                    <a:pt x="383636" y="24863"/>
                  </a:cubicBezTo>
                  <a:cubicBezTo>
                    <a:pt x="380186" y="12362"/>
                    <a:pt x="382093" y="9421"/>
                    <a:pt x="362245" y="7081"/>
                  </a:cubicBezTo>
                  <a:cubicBezTo>
                    <a:pt x="357902" y="6580"/>
                    <a:pt x="324862" y="-71"/>
                    <a:pt x="324862" y="-339"/>
                  </a:cubicBezTo>
                  <a:cubicBezTo>
                    <a:pt x="315566" y="7482"/>
                    <a:pt x="305013" y="8418"/>
                    <a:pt x="296164" y="15304"/>
                  </a:cubicBezTo>
                  <a:cubicBezTo>
                    <a:pt x="289346" y="20618"/>
                    <a:pt x="279929" y="18646"/>
                    <a:pt x="272703" y="22289"/>
                  </a:cubicBezTo>
                  <a:cubicBezTo>
                    <a:pt x="264585" y="26266"/>
                    <a:pt x="267711" y="33686"/>
                    <a:pt x="260039" y="37764"/>
                  </a:cubicBezTo>
                  <a:cubicBezTo>
                    <a:pt x="252368" y="41842"/>
                    <a:pt x="245265" y="39870"/>
                    <a:pt x="237878" y="42209"/>
                  </a:cubicBezTo>
                  <a:cubicBezTo>
                    <a:pt x="231911" y="44081"/>
                    <a:pt x="232844" y="52905"/>
                    <a:pt x="230044" y="56448"/>
                  </a:cubicBezTo>
                  <a:cubicBezTo>
                    <a:pt x="223671" y="64403"/>
                    <a:pt x="195867" y="60893"/>
                    <a:pt x="186491" y="57016"/>
                  </a:cubicBezTo>
                  <a:cubicBezTo>
                    <a:pt x="173218" y="51434"/>
                    <a:pt x="161894" y="46989"/>
                    <a:pt x="158809" y="60793"/>
                  </a:cubicBezTo>
                  <a:cubicBezTo>
                    <a:pt x="157348" y="67210"/>
                    <a:pt x="134455" y="79644"/>
                    <a:pt x="125078" y="79343"/>
                  </a:cubicBezTo>
                  <a:cubicBezTo>
                    <a:pt x="121019" y="79343"/>
                    <a:pt x="107950" y="78942"/>
                    <a:pt x="104784" y="76836"/>
                  </a:cubicBezTo>
                  <a:cubicBezTo>
                    <a:pt x="101618" y="74731"/>
                    <a:pt x="104297" y="68848"/>
                    <a:pt x="107828" y="67778"/>
                  </a:cubicBezTo>
                  <a:cubicBezTo>
                    <a:pt x="120492" y="64035"/>
                    <a:pt x="98452" y="43179"/>
                    <a:pt x="90537" y="41040"/>
                  </a:cubicBezTo>
                  <a:cubicBezTo>
                    <a:pt x="89766" y="58085"/>
                    <a:pt x="88995" y="75132"/>
                    <a:pt x="88304" y="92178"/>
                  </a:cubicBezTo>
                  <a:cubicBezTo>
                    <a:pt x="87817" y="103575"/>
                    <a:pt x="87330" y="105848"/>
                    <a:pt x="73165" y="112499"/>
                  </a:cubicBezTo>
                  <a:cubicBezTo>
                    <a:pt x="65574" y="116042"/>
                    <a:pt x="36065" y="117212"/>
                    <a:pt x="30789" y="110661"/>
                  </a:cubicBezTo>
                  <a:cubicBezTo>
                    <a:pt x="28231" y="107319"/>
                    <a:pt x="27055" y="97292"/>
                    <a:pt x="18084" y="99665"/>
                  </a:cubicBezTo>
                  <a:cubicBezTo>
                    <a:pt x="7166" y="102740"/>
                    <a:pt x="14471" y="108756"/>
                    <a:pt x="-60" y="107553"/>
                  </a:cubicBezTo>
                  <a:cubicBezTo>
                    <a:pt x="8221" y="117546"/>
                    <a:pt x="15121" y="128308"/>
                    <a:pt x="20479" y="139606"/>
                  </a:cubicBezTo>
                  <a:cubicBezTo>
                    <a:pt x="25634" y="149065"/>
                    <a:pt x="34198" y="157354"/>
                    <a:pt x="39921" y="166612"/>
                  </a:cubicBezTo>
                  <a:cubicBezTo>
                    <a:pt x="42154" y="170322"/>
                    <a:pt x="43859" y="174232"/>
                    <a:pt x="44995" y="178277"/>
                  </a:cubicBezTo>
                  <a:cubicBezTo>
                    <a:pt x="46781" y="184694"/>
                    <a:pt x="43047" y="183391"/>
                    <a:pt x="37121" y="186131"/>
                  </a:cubicBezTo>
                  <a:cubicBezTo>
                    <a:pt x="29977" y="189474"/>
                    <a:pt x="44589" y="205484"/>
                    <a:pt x="44954" y="210798"/>
                  </a:cubicBezTo>
                  <a:cubicBezTo>
                    <a:pt x="45320" y="216112"/>
                    <a:pt x="63220" y="219020"/>
                    <a:pt x="67725" y="222797"/>
                  </a:cubicBezTo>
                  <a:cubicBezTo>
                    <a:pt x="79902" y="233158"/>
                    <a:pt x="82257" y="225103"/>
                    <a:pt x="96138" y="222563"/>
                  </a:cubicBezTo>
                  <a:cubicBezTo>
                    <a:pt x="110020" y="220023"/>
                    <a:pt x="121141" y="221728"/>
                    <a:pt x="134292" y="217483"/>
                  </a:cubicBezTo>
                  <a:cubicBezTo>
                    <a:pt x="152315" y="211634"/>
                    <a:pt x="168185" y="217182"/>
                    <a:pt x="186044" y="218753"/>
                  </a:cubicBezTo>
                  <a:cubicBezTo>
                    <a:pt x="191727" y="219221"/>
                    <a:pt x="197491" y="218419"/>
                    <a:pt x="202646" y="216413"/>
                  </a:cubicBezTo>
                  <a:cubicBezTo>
                    <a:pt x="207273" y="214642"/>
                    <a:pt x="212834" y="218920"/>
                    <a:pt x="217014" y="217048"/>
                  </a:cubicBezTo>
                  <a:cubicBezTo>
                    <a:pt x="221195" y="215176"/>
                    <a:pt x="218151" y="211968"/>
                    <a:pt x="223712" y="210932"/>
                  </a:cubicBezTo>
                  <a:cubicBezTo>
                    <a:pt x="230044" y="209762"/>
                    <a:pt x="236538" y="211701"/>
                    <a:pt x="242870" y="210932"/>
                  </a:cubicBezTo>
                  <a:cubicBezTo>
                    <a:pt x="269294" y="208024"/>
                    <a:pt x="294135" y="191680"/>
                    <a:pt x="312563" y="179514"/>
                  </a:cubicBezTo>
                  <a:cubicBezTo>
                    <a:pt x="331802" y="166712"/>
                    <a:pt x="347389" y="152206"/>
                    <a:pt x="365654" y="138904"/>
                  </a:cubicBezTo>
                  <a:cubicBezTo>
                    <a:pt x="375233" y="132353"/>
                    <a:pt x="385421" y="126504"/>
                    <a:pt x="396178" y="121356"/>
                  </a:cubicBezTo>
                  <a:cubicBezTo>
                    <a:pt x="406528" y="116109"/>
                    <a:pt x="408882" y="102205"/>
                    <a:pt x="411196" y="94283"/>
                  </a:cubicBezTo>
                  <a:cubicBezTo>
                    <a:pt x="404823" y="93849"/>
                    <a:pt x="398410" y="93782"/>
                    <a:pt x="391997" y="94083"/>
                  </a:cubicBezTo>
                  <a:close/>
                  <a:moveTo>
                    <a:pt x="308463" y="145154"/>
                  </a:moveTo>
                  <a:cubicBezTo>
                    <a:pt x="308179" y="148296"/>
                    <a:pt x="296936" y="145421"/>
                    <a:pt x="294135" y="145956"/>
                  </a:cubicBezTo>
                  <a:cubicBezTo>
                    <a:pt x="284678" y="147828"/>
                    <a:pt x="291091" y="156819"/>
                    <a:pt x="279847" y="155081"/>
                  </a:cubicBezTo>
                  <a:cubicBezTo>
                    <a:pt x="274327" y="154245"/>
                    <a:pt x="258335" y="141511"/>
                    <a:pt x="261622" y="138803"/>
                  </a:cubicBezTo>
                  <a:cubicBezTo>
                    <a:pt x="271527" y="130682"/>
                    <a:pt x="280172" y="118281"/>
                    <a:pt x="298438" y="118081"/>
                  </a:cubicBezTo>
                  <a:cubicBezTo>
                    <a:pt x="304039" y="118081"/>
                    <a:pt x="311913" y="126337"/>
                    <a:pt x="315283" y="129111"/>
                  </a:cubicBezTo>
                  <a:cubicBezTo>
                    <a:pt x="323928" y="136330"/>
                    <a:pt x="308869" y="138503"/>
                    <a:pt x="308463" y="14515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35A7566A-2739-48B1-AB90-2A04B5A908C2}"/>
                </a:ext>
              </a:extLst>
            </p:cNvPr>
            <p:cNvSpPr/>
            <p:nvPr/>
          </p:nvSpPr>
          <p:spPr>
            <a:xfrm>
              <a:off x="6141988" y="4950998"/>
              <a:ext cx="316738" cy="214593"/>
            </a:xfrm>
            <a:custGeom>
              <a:avLst/>
              <a:gdLst>
                <a:gd name="connsiteX0" fmla="*/ 17719 w 316738"/>
                <a:gd name="connsiteY0" fmla="*/ 193782 h 214593"/>
                <a:gd name="connsiteX1" fmla="*/ 25430 w 316738"/>
                <a:gd name="connsiteY1" fmla="*/ 197859 h 214593"/>
                <a:gd name="connsiteX2" fmla="*/ 48810 w 316738"/>
                <a:gd name="connsiteY2" fmla="*/ 196322 h 214593"/>
                <a:gd name="connsiteX3" fmla="*/ 87411 w 316738"/>
                <a:gd name="connsiteY3" fmla="*/ 203007 h 214593"/>
                <a:gd name="connsiteX4" fmla="*/ 164532 w 316738"/>
                <a:gd name="connsiteY4" fmla="*/ 204477 h 214593"/>
                <a:gd name="connsiteX5" fmla="*/ 177926 w 316738"/>
                <a:gd name="connsiteY5" fmla="*/ 210159 h 214593"/>
                <a:gd name="connsiteX6" fmla="*/ 205000 w 316738"/>
                <a:gd name="connsiteY6" fmla="*/ 210594 h 214593"/>
                <a:gd name="connsiteX7" fmla="*/ 240678 w 316738"/>
                <a:gd name="connsiteY7" fmla="*/ 213401 h 214593"/>
                <a:gd name="connsiteX8" fmla="*/ 285327 w 316738"/>
                <a:gd name="connsiteY8" fmla="*/ 211530 h 214593"/>
                <a:gd name="connsiteX9" fmla="*/ 257280 w 316738"/>
                <a:gd name="connsiteY9" fmla="*/ 177137 h 214593"/>
                <a:gd name="connsiteX10" fmla="*/ 262393 w 316738"/>
                <a:gd name="connsiteY10" fmla="*/ 127235 h 214593"/>
                <a:gd name="connsiteX11" fmla="*/ 301522 w 316738"/>
                <a:gd name="connsiteY11" fmla="*/ 129608 h 214593"/>
                <a:gd name="connsiteX12" fmla="*/ 312928 w 316738"/>
                <a:gd name="connsiteY12" fmla="*/ 110256 h 214593"/>
                <a:gd name="connsiteX13" fmla="*/ 316541 w 316738"/>
                <a:gd name="connsiteY13" fmla="*/ 94781 h 214593"/>
                <a:gd name="connsiteX14" fmla="*/ 301725 w 316738"/>
                <a:gd name="connsiteY14" fmla="*/ 92575 h 214593"/>
                <a:gd name="connsiteX15" fmla="*/ 280659 w 316738"/>
                <a:gd name="connsiteY15" fmla="*/ 92575 h 214593"/>
                <a:gd name="connsiteX16" fmla="*/ 271161 w 316738"/>
                <a:gd name="connsiteY16" fmla="*/ 95917 h 214593"/>
                <a:gd name="connsiteX17" fmla="*/ 271729 w 316738"/>
                <a:gd name="connsiteY17" fmla="*/ 79740 h 214593"/>
                <a:gd name="connsiteX18" fmla="*/ 258010 w 316738"/>
                <a:gd name="connsiteY18" fmla="*/ 64733 h 214593"/>
                <a:gd name="connsiteX19" fmla="*/ 264585 w 316738"/>
                <a:gd name="connsiteY19" fmla="*/ 47286 h 214593"/>
                <a:gd name="connsiteX20" fmla="*/ 260202 w 316738"/>
                <a:gd name="connsiteY20" fmla="*/ 30407 h 214593"/>
                <a:gd name="connsiteX21" fmla="*/ 235848 w 316738"/>
                <a:gd name="connsiteY21" fmla="*/ 27065 h 214593"/>
                <a:gd name="connsiteX22" fmla="*/ 200697 w 316738"/>
                <a:gd name="connsiteY22" fmla="*/ 29772 h 214593"/>
                <a:gd name="connsiteX23" fmla="*/ 185598 w 316738"/>
                <a:gd name="connsiteY23" fmla="*/ 37426 h 214593"/>
                <a:gd name="connsiteX24" fmla="*/ 146713 w 316738"/>
                <a:gd name="connsiteY24" fmla="*/ 36123 h 214593"/>
                <a:gd name="connsiteX25" fmla="*/ 129909 w 316738"/>
                <a:gd name="connsiteY25" fmla="*/ 18742 h 214593"/>
                <a:gd name="connsiteX26" fmla="*/ 125850 w 316738"/>
                <a:gd name="connsiteY26" fmla="*/ 1195 h 214593"/>
                <a:gd name="connsiteX27" fmla="*/ 87046 w 316738"/>
                <a:gd name="connsiteY27" fmla="*/ 326 h 214593"/>
                <a:gd name="connsiteX28" fmla="*/ 38338 w 316738"/>
                <a:gd name="connsiteY28" fmla="*/ -8 h 214593"/>
                <a:gd name="connsiteX29" fmla="*/ 40043 w 316738"/>
                <a:gd name="connsiteY29" fmla="*/ 34351 h 214593"/>
                <a:gd name="connsiteX30" fmla="*/ 45685 w 316738"/>
                <a:gd name="connsiteY30" fmla="*/ 72187 h 214593"/>
                <a:gd name="connsiteX31" fmla="*/ 41626 w 316738"/>
                <a:gd name="connsiteY31" fmla="*/ 116339 h 214593"/>
                <a:gd name="connsiteX32" fmla="*/ 22792 w 316738"/>
                <a:gd name="connsiteY32" fmla="*/ 136627 h 214593"/>
                <a:gd name="connsiteX33" fmla="*/ 14675 w 316738"/>
                <a:gd name="connsiteY33" fmla="*/ 160224 h 214593"/>
                <a:gd name="connsiteX34" fmla="*/ -60 w 316738"/>
                <a:gd name="connsiteY34" fmla="*/ 199464 h 214593"/>
                <a:gd name="connsiteX35" fmla="*/ 17719 w 316738"/>
                <a:gd name="connsiteY35" fmla="*/ 193782 h 2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6738" h="214593">
                  <a:moveTo>
                    <a:pt x="17719" y="193782"/>
                  </a:moveTo>
                  <a:cubicBezTo>
                    <a:pt x="22508" y="193782"/>
                    <a:pt x="21331" y="197592"/>
                    <a:pt x="25430" y="197859"/>
                  </a:cubicBezTo>
                  <a:cubicBezTo>
                    <a:pt x="33548" y="198327"/>
                    <a:pt x="39718" y="194250"/>
                    <a:pt x="48810" y="196322"/>
                  </a:cubicBezTo>
                  <a:cubicBezTo>
                    <a:pt x="62895" y="199664"/>
                    <a:pt x="72149" y="202739"/>
                    <a:pt x="87411" y="203007"/>
                  </a:cubicBezTo>
                  <a:cubicBezTo>
                    <a:pt x="113145" y="203384"/>
                    <a:pt x="138838" y="203876"/>
                    <a:pt x="164532" y="204477"/>
                  </a:cubicBezTo>
                  <a:cubicBezTo>
                    <a:pt x="171554" y="204477"/>
                    <a:pt x="172893" y="206717"/>
                    <a:pt x="177926" y="210159"/>
                  </a:cubicBezTo>
                  <a:cubicBezTo>
                    <a:pt x="181539" y="212666"/>
                    <a:pt x="199926" y="210560"/>
                    <a:pt x="205000" y="210594"/>
                  </a:cubicBezTo>
                  <a:cubicBezTo>
                    <a:pt x="216974" y="210631"/>
                    <a:pt x="228907" y="211570"/>
                    <a:pt x="240678" y="213401"/>
                  </a:cubicBezTo>
                  <a:cubicBezTo>
                    <a:pt x="255615" y="215674"/>
                    <a:pt x="270755" y="212833"/>
                    <a:pt x="285327" y="211530"/>
                  </a:cubicBezTo>
                  <a:cubicBezTo>
                    <a:pt x="274449" y="200968"/>
                    <a:pt x="255980" y="189971"/>
                    <a:pt x="257280" y="177137"/>
                  </a:cubicBezTo>
                  <a:lnTo>
                    <a:pt x="262393" y="127235"/>
                  </a:lnTo>
                  <a:cubicBezTo>
                    <a:pt x="275423" y="128004"/>
                    <a:pt x="288493" y="128773"/>
                    <a:pt x="301522" y="129608"/>
                  </a:cubicBezTo>
                  <a:cubicBezTo>
                    <a:pt x="312197" y="130310"/>
                    <a:pt x="312157" y="113565"/>
                    <a:pt x="312928" y="110256"/>
                  </a:cubicBezTo>
                  <a:cubicBezTo>
                    <a:pt x="314105" y="105109"/>
                    <a:pt x="315323" y="99928"/>
                    <a:pt x="316541" y="94781"/>
                  </a:cubicBezTo>
                  <a:cubicBezTo>
                    <a:pt x="317961" y="88731"/>
                    <a:pt x="308138" y="92274"/>
                    <a:pt x="301725" y="92575"/>
                  </a:cubicBezTo>
                  <a:cubicBezTo>
                    <a:pt x="295312" y="92876"/>
                    <a:pt x="286667" y="90804"/>
                    <a:pt x="280659" y="92575"/>
                  </a:cubicBezTo>
                  <a:cubicBezTo>
                    <a:pt x="277940" y="93444"/>
                    <a:pt x="274814" y="96686"/>
                    <a:pt x="271161" y="95917"/>
                  </a:cubicBezTo>
                  <a:cubicBezTo>
                    <a:pt x="264464" y="94614"/>
                    <a:pt x="272866" y="82715"/>
                    <a:pt x="271729" y="79740"/>
                  </a:cubicBezTo>
                  <a:cubicBezTo>
                    <a:pt x="269497" y="74125"/>
                    <a:pt x="257564" y="70181"/>
                    <a:pt x="258010" y="64733"/>
                  </a:cubicBezTo>
                  <a:cubicBezTo>
                    <a:pt x="258497" y="58717"/>
                    <a:pt x="262962" y="53169"/>
                    <a:pt x="264585" y="47286"/>
                  </a:cubicBezTo>
                  <a:cubicBezTo>
                    <a:pt x="265965" y="42306"/>
                    <a:pt x="259918" y="36056"/>
                    <a:pt x="260202" y="30407"/>
                  </a:cubicBezTo>
                  <a:cubicBezTo>
                    <a:pt x="260486" y="24759"/>
                    <a:pt x="241937" y="28001"/>
                    <a:pt x="235848" y="27065"/>
                  </a:cubicBezTo>
                  <a:cubicBezTo>
                    <a:pt x="223671" y="24792"/>
                    <a:pt x="206583" y="15534"/>
                    <a:pt x="200697" y="29772"/>
                  </a:cubicBezTo>
                  <a:cubicBezTo>
                    <a:pt x="197410" y="37693"/>
                    <a:pt x="197897" y="36791"/>
                    <a:pt x="185598" y="37426"/>
                  </a:cubicBezTo>
                  <a:cubicBezTo>
                    <a:pt x="173299" y="38061"/>
                    <a:pt x="155358" y="44111"/>
                    <a:pt x="146713" y="36123"/>
                  </a:cubicBezTo>
                  <a:cubicBezTo>
                    <a:pt x="142654" y="32546"/>
                    <a:pt x="130883" y="22753"/>
                    <a:pt x="129909" y="18742"/>
                  </a:cubicBezTo>
                  <a:cubicBezTo>
                    <a:pt x="128813" y="14197"/>
                    <a:pt x="133968" y="4805"/>
                    <a:pt x="125850" y="1195"/>
                  </a:cubicBezTo>
                  <a:cubicBezTo>
                    <a:pt x="119436" y="-1713"/>
                    <a:pt x="94758" y="426"/>
                    <a:pt x="87046" y="326"/>
                  </a:cubicBezTo>
                  <a:cubicBezTo>
                    <a:pt x="70810" y="25"/>
                    <a:pt x="54331" y="-610"/>
                    <a:pt x="38338" y="-8"/>
                  </a:cubicBezTo>
                  <a:cubicBezTo>
                    <a:pt x="7653" y="1195"/>
                    <a:pt x="32940" y="24792"/>
                    <a:pt x="40043" y="34351"/>
                  </a:cubicBezTo>
                  <a:cubicBezTo>
                    <a:pt x="49541" y="47152"/>
                    <a:pt x="37607" y="58383"/>
                    <a:pt x="45685" y="72187"/>
                  </a:cubicBezTo>
                  <a:cubicBezTo>
                    <a:pt x="55751" y="89400"/>
                    <a:pt x="62449" y="101399"/>
                    <a:pt x="41626" y="116339"/>
                  </a:cubicBezTo>
                  <a:cubicBezTo>
                    <a:pt x="33630" y="121894"/>
                    <a:pt x="27217" y="128820"/>
                    <a:pt x="22792" y="136627"/>
                  </a:cubicBezTo>
                  <a:cubicBezTo>
                    <a:pt x="18490" y="144315"/>
                    <a:pt x="19545" y="152771"/>
                    <a:pt x="14675" y="160224"/>
                  </a:cubicBezTo>
                  <a:cubicBezTo>
                    <a:pt x="6232" y="173594"/>
                    <a:pt x="752" y="184457"/>
                    <a:pt x="-60" y="199464"/>
                  </a:cubicBezTo>
                  <a:cubicBezTo>
                    <a:pt x="8180" y="199063"/>
                    <a:pt x="10453" y="193748"/>
                    <a:pt x="17719" y="1937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8F3EBD05-B453-4631-8A0F-E96ACD54503F}"/>
                </a:ext>
              </a:extLst>
            </p:cNvPr>
            <p:cNvSpPr/>
            <p:nvPr/>
          </p:nvSpPr>
          <p:spPr>
            <a:xfrm>
              <a:off x="6399514" y="5007139"/>
              <a:ext cx="315259" cy="164009"/>
            </a:xfrm>
            <a:custGeom>
              <a:avLst/>
              <a:gdLst>
                <a:gd name="connsiteX0" fmla="*/ 247431 w 315259"/>
                <a:gd name="connsiteY0" fmla="*/ 7523 h 164009"/>
                <a:gd name="connsiteX1" fmla="*/ 224701 w 315259"/>
                <a:gd name="connsiteY1" fmla="*/ 471 h 164009"/>
                <a:gd name="connsiteX2" fmla="*/ 191418 w 315259"/>
                <a:gd name="connsiteY2" fmla="*/ 872 h 164009"/>
                <a:gd name="connsiteX3" fmla="*/ 189470 w 315259"/>
                <a:gd name="connsiteY3" fmla="*/ 8894 h 164009"/>
                <a:gd name="connsiteX4" fmla="*/ 180378 w 315259"/>
                <a:gd name="connsiteY4" fmla="*/ 17417 h 164009"/>
                <a:gd name="connsiteX5" fmla="*/ 184437 w 315259"/>
                <a:gd name="connsiteY5" fmla="*/ 23667 h 164009"/>
                <a:gd name="connsiteX6" fmla="*/ 181595 w 315259"/>
                <a:gd name="connsiteY6" fmla="*/ 33327 h 164009"/>
                <a:gd name="connsiteX7" fmla="*/ 179241 w 315259"/>
                <a:gd name="connsiteY7" fmla="*/ 61436 h 164009"/>
                <a:gd name="connsiteX8" fmla="*/ 204406 w 315259"/>
                <a:gd name="connsiteY8" fmla="*/ 66783 h 164009"/>
                <a:gd name="connsiteX9" fmla="*/ 208465 w 315259"/>
                <a:gd name="connsiteY9" fmla="*/ 82693 h 164009"/>
                <a:gd name="connsiteX10" fmla="*/ 176481 w 315259"/>
                <a:gd name="connsiteY10" fmla="*/ 71964 h 164009"/>
                <a:gd name="connsiteX11" fmla="*/ 156186 w 315259"/>
                <a:gd name="connsiteY11" fmla="*/ 65279 h 164009"/>
                <a:gd name="connsiteX12" fmla="*/ 134998 w 315259"/>
                <a:gd name="connsiteY12" fmla="*/ 54818 h 164009"/>
                <a:gd name="connsiteX13" fmla="*/ 116570 w 315259"/>
                <a:gd name="connsiteY13" fmla="*/ 58160 h 164009"/>
                <a:gd name="connsiteX14" fmla="*/ 92216 w 315259"/>
                <a:gd name="connsiteY14" fmla="*/ 50573 h 164009"/>
                <a:gd name="connsiteX15" fmla="*/ 77604 w 315259"/>
                <a:gd name="connsiteY15" fmla="*/ 43888 h 164009"/>
                <a:gd name="connsiteX16" fmla="*/ 60110 w 315259"/>
                <a:gd name="connsiteY16" fmla="*/ 35900 h 164009"/>
                <a:gd name="connsiteX17" fmla="*/ 52357 w 315259"/>
                <a:gd name="connsiteY17" fmla="*/ 69157 h 164009"/>
                <a:gd name="connsiteX18" fmla="*/ 5314 w 315259"/>
                <a:gd name="connsiteY18" fmla="*/ 71129 h 164009"/>
                <a:gd name="connsiteX19" fmla="*/ -4 w 315259"/>
                <a:gd name="connsiteY19" fmla="*/ 122935 h 164009"/>
                <a:gd name="connsiteX20" fmla="*/ 11240 w 315259"/>
                <a:gd name="connsiteY20" fmla="*/ 138945 h 164009"/>
                <a:gd name="connsiteX21" fmla="*/ 25609 w 315259"/>
                <a:gd name="connsiteY21" fmla="*/ 152849 h 164009"/>
                <a:gd name="connsiteX22" fmla="*/ 43955 w 315259"/>
                <a:gd name="connsiteY22" fmla="*/ 154320 h 164009"/>
                <a:gd name="connsiteX23" fmla="*/ 73748 w 315259"/>
                <a:gd name="connsiteY23" fmla="*/ 154621 h 164009"/>
                <a:gd name="connsiteX24" fmla="*/ 78456 w 315259"/>
                <a:gd name="connsiteY24" fmla="*/ 160102 h 164009"/>
                <a:gd name="connsiteX25" fmla="*/ 94977 w 315259"/>
                <a:gd name="connsiteY25" fmla="*/ 159935 h 164009"/>
                <a:gd name="connsiteX26" fmla="*/ 140031 w 315259"/>
                <a:gd name="connsiteY26" fmla="*/ 154387 h 164009"/>
                <a:gd name="connsiteX27" fmla="*/ 165359 w 315259"/>
                <a:gd name="connsiteY27" fmla="*/ 144360 h 164009"/>
                <a:gd name="connsiteX28" fmla="*/ 180865 w 315259"/>
                <a:gd name="connsiteY28" fmla="*/ 132895 h 164009"/>
                <a:gd name="connsiteX29" fmla="*/ 219709 w 315259"/>
                <a:gd name="connsiteY29" fmla="*/ 129820 h 164009"/>
                <a:gd name="connsiteX30" fmla="*/ 234078 w 315259"/>
                <a:gd name="connsiteY30" fmla="*/ 113777 h 164009"/>
                <a:gd name="connsiteX31" fmla="*/ 290903 w 315259"/>
                <a:gd name="connsiteY31" fmla="*/ 104987 h 164009"/>
                <a:gd name="connsiteX32" fmla="*/ 291837 w 315259"/>
                <a:gd name="connsiteY32" fmla="*/ 86537 h 164009"/>
                <a:gd name="connsiteX33" fmla="*/ 294232 w 315259"/>
                <a:gd name="connsiteY33" fmla="*/ 79852 h 164009"/>
                <a:gd name="connsiteX34" fmla="*/ 305312 w 315259"/>
                <a:gd name="connsiteY34" fmla="*/ 78883 h 164009"/>
                <a:gd name="connsiteX35" fmla="*/ 301903 w 315259"/>
                <a:gd name="connsiteY35" fmla="*/ 70560 h 164009"/>
                <a:gd name="connsiteX36" fmla="*/ 304176 w 315259"/>
                <a:gd name="connsiteY36" fmla="*/ 53848 h 164009"/>
                <a:gd name="connsiteX37" fmla="*/ 313430 w 315259"/>
                <a:gd name="connsiteY37" fmla="*/ 39142 h 164009"/>
                <a:gd name="connsiteX38" fmla="*/ 288062 w 315259"/>
                <a:gd name="connsiteY38" fmla="*/ 20358 h 164009"/>
                <a:gd name="connsiteX39" fmla="*/ 247431 w 315259"/>
                <a:gd name="connsiteY39" fmla="*/ 7523 h 164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5259" h="164009">
                  <a:moveTo>
                    <a:pt x="247431" y="7523"/>
                  </a:moveTo>
                  <a:cubicBezTo>
                    <a:pt x="237325" y="6822"/>
                    <a:pt x="234240" y="-1367"/>
                    <a:pt x="224701" y="471"/>
                  </a:cubicBezTo>
                  <a:cubicBezTo>
                    <a:pt x="217152" y="1942"/>
                    <a:pt x="196288" y="-2303"/>
                    <a:pt x="191418" y="872"/>
                  </a:cubicBezTo>
                  <a:cubicBezTo>
                    <a:pt x="188536" y="2710"/>
                    <a:pt x="190444" y="6621"/>
                    <a:pt x="189470" y="8894"/>
                  </a:cubicBezTo>
                  <a:cubicBezTo>
                    <a:pt x="187927" y="12470"/>
                    <a:pt x="180174" y="13139"/>
                    <a:pt x="180378" y="17417"/>
                  </a:cubicBezTo>
                  <a:cubicBezTo>
                    <a:pt x="180378" y="20057"/>
                    <a:pt x="184437" y="20592"/>
                    <a:pt x="184437" y="23667"/>
                  </a:cubicBezTo>
                  <a:cubicBezTo>
                    <a:pt x="183909" y="26959"/>
                    <a:pt x="182975" y="30198"/>
                    <a:pt x="181595" y="33327"/>
                  </a:cubicBezTo>
                  <a:cubicBezTo>
                    <a:pt x="177536" y="45058"/>
                    <a:pt x="169743" y="50306"/>
                    <a:pt x="179241" y="61436"/>
                  </a:cubicBezTo>
                  <a:cubicBezTo>
                    <a:pt x="185735" y="69090"/>
                    <a:pt x="192635" y="70560"/>
                    <a:pt x="204406" y="66783"/>
                  </a:cubicBezTo>
                  <a:cubicBezTo>
                    <a:pt x="214067" y="63708"/>
                    <a:pt x="210211" y="80153"/>
                    <a:pt x="208465" y="82693"/>
                  </a:cubicBezTo>
                  <a:cubicBezTo>
                    <a:pt x="199130" y="95093"/>
                    <a:pt x="178794" y="80019"/>
                    <a:pt x="176481" y="71964"/>
                  </a:cubicBezTo>
                  <a:cubicBezTo>
                    <a:pt x="174695" y="65580"/>
                    <a:pt x="165197" y="65915"/>
                    <a:pt x="156186" y="65279"/>
                  </a:cubicBezTo>
                  <a:cubicBezTo>
                    <a:pt x="147175" y="64644"/>
                    <a:pt x="144009" y="49370"/>
                    <a:pt x="134998" y="54818"/>
                  </a:cubicBezTo>
                  <a:cubicBezTo>
                    <a:pt x="129153" y="58160"/>
                    <a:pt x="126636" y="60968"/>
                    <a:pt x="116570" y="58160"/>
                  </a:cubicBezTo>
                  <a:cubicBezTo>
                    <a:pt x="111050" y="56523"/>
                    <a:pt x="94530" y="53715"/>
                    <a:pt x="92216" y="50573"/>
                  </a:cubicBezTo>
                  <a:cubicBezTo>
                    <a:pt x="87386" y="44289"/>
                    <a:pt x="92216" y="41348"/>
                    <a:pt x="77604" y="43888"/>
                  </a:cubicBezTo>
                  <a:cubicBezTo>
                    <a:pt x="66036" y="45860"/>
                    <a:pt x="68918" y="39042"/>
                    <a:pt x="60110" y="35900"/>
                  </a:cubicBezTo>
                  <a:cubicBezTo>
                    <a:pt x="57390" y="47040"/>
                    <a:pt x="54833" y="58127"/>
                    <a:pt x="52357" y="69157"/>
                  </a:cubicBezTo>
                  <a:cubicBezTo>
                    <a:pt x="50328" y="77813"/>
                    <a:pt x="13594" y="71563"/>
                    <a:pt x="5314" y="71129"/>
                  </a:cubicBezTo>
                  <a:cubicBezTo>
                    <a:pt x="3528" y="88375"/>
                    <a:pt x="1742" y="105645"/>
                    <a:pt x="-4" y="122935"/>
                  </a:cubicBezTo>
                  <a:cubicBezTo>
                    <a:pt x="-694" y="129620"/>
                    <a:pt x="5111" y="132962"/>
                    <a:pt x="11240" y="138945"/>
                  </a:cubicBezTo>
                  <a:lnTo>
                    <a:pt x="25609" y="152849"/>
                  </a:lnTo>
                  <a:cubicBezTo>
                    <a:pt x="30033" y="157127"/>
                    <a:pt x="36487" y="154721"/>
                    <a:pt x="43955" y="154320"/>
                  </a:cubicBezTo>
                  <a:cubicBezTo>
                    <a:pt x="53291" y="153852"/>
                    <a:pt x="64494" y="152849"/>
                    <a:pt x="73748" y="154621"/>
                  </a:cubicBezTo>
                  <a:cubicBezTo>
                    <a:pt x="77807" y="155423"/>
                    <a:pt x="76549" y="157629"/>
                    <a:pt x="78456" y="160102"/>
                  </a:cubicBezTo>
                  <a:cubicBezTo>
                    <a:pt x="83896" y="159180"/>
                    <a:pt x="89497" y="159123"/>
                    <a:pt x="94977" y="159935"/>
                  </a:cubicBezTo>
                  <a:cubicBezTo>
                    <a:pt x="118925" y="164848"/>
                    <a:pt x="123836" y="166620"/>
                    <a:pt x="140031" y="154387"/>
                  </a:cubicBezTo>
                  <a:cubicBezTo>
                    <a:pt x="147784" y="148538"/>
                    <a:pt x="155171" y="147702"/>
                    <a:pt x="165359" y="144360"/>
                  </a:cubicBezTo>
                  <a:cubicBezTo>
                    <a:pt x="175547" y="141017"/>
                    <a:pt x="175872" y="138176"/>
                    <a:pt x="180865" y="132895"/>
                  </a:cubicBezTo>
                  <a:cubicBezTo>
                    <a:pt x="187359" y="126044"/>
                    <a:pt x="209277" y="129352"/>
                    <a:pt x="219709" y="129820"/>
                  </a:cubicBezTo>
                  <a:cubicBezTo>
                    <a:pt x="215122" y="116083"/>
                    <a:pt x="213661" y="117153"/>
                    <a:pt x="234078" y="113777"/>
                  </a:cubicBezTo>
                  <a:cubicBezTo>
                    <a:pt x="252018" y="110802"/>
                    <a:pt x="272272" y="105454"/>
                    <a:pt x="290903" y="104987"/>
                  </a:cubicBezTo>
                  <a:cubicBezTo>
                    <a:pt x="285789" y="96831"/>
                    <a:pt x="289807" y="94960"/>
                    <a:pt x="291837" y="86537"/>
                  </a:cubicBezTo>
                  <a:cubicBezTo>
                    <a:pt x="292121" y="85300"/>
                    <a:pt x="291837" y="80554"/>
                    <a:pt x="294232" y="79852"/>
                  </a:cubicBezTo>
                  <a:cubicBezTo>
                    <a:pt x="296626" y="79150"/>
                    <a:pt x="304541" y="80287"/>
                    <a:pt x="305312" y="78883"/>
                  </a:cubicBezTo>
                  <a:cubicBezTo>
                    <a:pt x="305800" y="78047"/>
                    <a:pt x="301984" y="71931"/>
                    <a:pt x="301903" y="70560"/>
                  </a:cubicBezTo>
                  <a:cubicBezTo>
                    <a:pt x="301579" y="64925"/>
                    <a:pt x="302349" y="59283"/>
                    <a:pt x="304176" y="53848"/>
                  </a:cubicBezTo>
                  <a:cubicBezTo>
                    <a:pt x="307301" y="44423"/>
                    <a:pt x="319763" y="51275"/>
                    <a:pt x="313430" y="39142"/>
                  </a:cubicBezTo>
                  <a:cubicBezTo>
                    <a:pt x="308195" y="29115"/>
                    <a:pt x="302837" y="25372"/>
                    <a:pt x="288062" y="20358"/>
                  </a:cubicBezTo>
                  <a:cubicBezTo>
                    <a:pt x="277062" y="16381"/>
                    <a:pt x="258919" y="8292"/>
                    <a:pt x="247431" y="752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9C757150-7DD9-4E63-A1F5-A79B83B8964D}"/>
                </a:ext>
              </a:extLst>
            </p:cNvPr>
            <p:cNvSpPr/>
            <p:nvPr/>
          </p:nvSpPr>
          <p:spPr>
            <a:xfrm>
              <a:off x="6601734" y="4884983"/>
              <a:ext cx="53704" cy="26171"/>
            </a:xfrm>
            <a:custGeom>
              <a:avLst/>
              <a:gdLst>
                <a:gd name="connsiteX0" fmla="*/ 46389 w 53704"/>
                <a:gd name="connsiteY0" fmla="*/ -339 h 26171"/>
                <a:gd name="connsiteX1" fmla="*/ 6855 w 53704"/>
                <a:gd name="connsiteY1" fmla="*/ 10925 h 26171"/>
                <a:gd name="connsiteX2" fmla="*/ -45 w 53704"/>
                <a:gd name="connsiteY2" fmla="*/ 18880 h 26171"/>
                <a:gd name="connsiteX3" fmla="*/ 20615 w 53704"/>
                <a:gd name="connsiteY3" fmla="*/ 25832 h 26171"/>
                <a:gd name="connsiteX4" fmla="*/ 28733 w 53704"/>
                <a:gd name="connsiteY4" fmla="*/ 20885 h 26171"/>
                <a:gd name="connsiteX5" fmla="*/ 44684 w 53704"/>
                <a:gd name="connsiteY5" fmla="*/ 21453 h 26171"/>
                <a:gd name="connsiteX6" fmla="*/ 46389 w 53704"/>
                <a:gd name="connsiteY6" fmla="*/ -339 h 2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704" h="26171">
                  <a:moveTo>
                    <a:pt x="46389" y="-339"/>
                  </a:moveTo>
                  <a:cubicBezTo>
                    <a:pt x="32304" y="1098"/>
                    <a:pt x="8884" y="597"/>
                    <a:pt x="6855" y="10925"/>
                  </a:cubicBezTo>
                  <a:cubicBezTo>
                    <a:pt x="6002" y="15270"/>
                    <a:pt x="360" y="14267"/>
                    <a:pt x="-45" y="18880"/>
                  </a:cubicBezTo>
                  <a:cubicBezTo>
                    <a:pt x="-573" y="24829"/>
                    <a:pt x="13795" y="25865"/>
                    <a:pt x="20615" y="25832"/>
                  </a:cubicBezTo>
                  <a:cubicBezTo>
                    <a:pt x="28124" y="25832"/>
                    <a:pt x="25810" y="21587"/>
                    <a:pt x="28733" y="20885"/>
                  </a:cubicBezTo>
                  <a:cubicBezTo>
                    <a:pt x="32467" y="20083"/>
                    <a:pt x="40463" y="21654"/>
                    <a:pt x="44684" y="21453"/>
                  </a:cubicBezTo>
                  <a:cubicBezTo>
                    <a:pt x="61894" y="20618"/>
                    <a:pt x="49596" y="6112"/>
                    <a:pt x="46389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9AEA8002-7241-4F51-9E84-182D75E1CBAD}"/>
                </a:ext>
              </a:extLst>
            </p:cNvPr>
            <p:cNvSpPr/>
            <p:nvPr/>
          </p:nvSpPr>
          <p:spPr>
            <a:xfrm>
              <a:off x="6942382" y="4705688"/>
              <a:ext cx="327730" cy="214122"/>
            </a:xfrm>
            <a:custGeom>
              <a:avLst/>
              <a:gdLst>
                <a:gd name="connsiteX0" fmla="*/ 93738 w 327730"/>
                <a:gd name="connsiteY0" fmla="*/ 28216 h 214122"/>
                <a:gd name="connsiteX1" fmla="*/ 117199 w 327730"/>
                <a:gd name="connsiteY1" fmla="*/ 42254 h 214122"/>
                <a:gd name="connsiteX2" fmla="*/ 166719 w 327730"/>
                <a:gd name="connsiteY2" fmla="*/ 59233 h 214122"/>
                <a:gd name="connsiteX3" fmla="*/ 204995 w 327730"/>
                <a:gd name="connsiteY3" fmla="*/ 69261 h 214122"/>
                <a:gd name="connsiteX4" fmla="*/ 207552 w 327730"/>
                <a:gd name="connsiteY4" fmla="*/ 76881 h 214122"/>
                <a:gd name="connsiteX5" fmla="*/ 148534 w 327730"/>
                <a:gd name="connsiteY5" fmla="*/ 101982 h 214122"/>
                <a:gd name="connsiteX6" fmla="*/ 126494 w 327730"/>
                <a:gd name="connsiteY6" fmla="*/ 111541 h 214122"/>
                <a:gd name="connsiteX7" fmla="*/ 79816 w 327730"/>
                <a:gd name="connsiteY7" fmla="*/ 111541 h 214122"/>
                <a:gd name="connsiteX8" fmla="*/ 50754 w 327730"/>
                <a:gd name="connsiteY8" fmla="*/ 116889 h 214122"/>
                <a:gd name="connsiteX9" fmla="*/ 22341 w 327730"/>
                <a:gd name="connsiteY9" fmla="*/ 126916 h 214122"/>
                <a:gd name="connsiteX10" fmla="*/ 5618 w 327730"/>
                <a:gd name="connsiteY10" fmla="*/ 146669 h 214122"/>
                <a:gd name="connsiteX11" fmla="*/ 260 w 327730"/>
                <a:gd name="connsiteY11" fmla="*/ 188415 h 214122"/>
                <a:gd name="connsiteX12" fmla="*/ 10610 w 327730"/>
                <a:gd name="connsiteY12" fmla="*/ 213784 h 214122"/>
                <a:gd name="connsiteX13" fmla="*/ 97391 w 327730"/>
                <a:gd name="connsiteY13" fmla="*/ 172807 h 214122"/>
                <a:gd name="connsiteX14" fmla="*/ 171590 w 327730"/>
                <a:gd name="connsiteY14" fmla="*/ 149410 h 214122"/>
                <a:gd name="connsiteX15" fmla="*/ 221150 w 327730"/>
                <a:gd name="connsiteY15" fmla="*/ 124309 h 214122"/>
                <a:gd name="connsiteX16" fmla="*/ 252891 w 327730"/>
                <a:gd name="connsiteY16" fmla="*/ 97570 h 214122"/>
                <a:gd name="connsiteX17" fmla="*/ 311300 w 327730"/>
                <a:gd name="connsiteY17" fmla="*/ 51914 h 214122"/>
                <a:gd name="connsiteX18" fmla="*/ 327536 w 327730"/>
                <a:gd name="connsiteY18" fmla="*/ 19894 h 214122"/>
                <a:gd name="connsiteX19" fmla="*/ 303506 w 327730"/>
                <a:gd name="connsiteY19" fmla="*/ 17922 h 214122"/>
                <a:gd name="connsiteX20" fmla="*/ 199515 w 327730"/>
                <a:gd name="connsiteY20" fmla="*/ 16451 h 214122"/>
                <a:gd name="connsiteX21" fmla="*/ 157626 w 327730"/>
                <a:gd name="connsiteY21" fmla="*/ 17086 h 214122"/>
                <a:gd name="connsiteX22" fmla="*/ 121096 w 327730"/>
                <a:gd name="connsiteY22" fmla="*/ 17086 h 214122"/>
                <a:gd name="connsiteX23" fmla="*/ 86392 w 327730"/>
                <a:gd name="connsiteY23" fmla="*/ 3516 h 214122"/>
                <a:gd name="connsiteX24" fmla="*/ 93941 w 327730"/>
                <a:gd name="connsiteY24" fmla="*/ 28183 h 21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27730" h="214122">
                  <a:moveTo>
                    <a:pt x="93738" y="28216"/>
                  </a:moveTo>
                  <a:cubicBezTo>
                    <a:pt x="103399" y="32327"/>
                    <a:pt x="105915" y="38778"/>
                    <a:pt x="117199" y="42254"/>
                  </a:cubicBezTo>
                  <a:cubicBezTo>
                    <a:pt x="134044" y="47468"/>
                    <a:pt x="150605" y="53150"/>
                    <a:pt x="166719" y="59233"/>
                  </a:cubicBezTo>
                  <a:cubicBezTo>
                    <a:pt x="178855" y="64006"/>
                    <a:pt x="191722" y="67382"/>
                    <a:pt x="204995" y="69261"/>
                  </a:cubicBezTo>
                  <a:cubicBezTo>
                    <a:pt x="219526" y="71099"/>
                    <a:pt x="215629" y="73639"/>
                    <a:pt x="207552" y="76881"/>
                  </a:cubicBezTo>
                  <a:cubicBezTo>
                    <a:pt x="187501" y="84936"/>
                    <a:pt x="167977" y="93593"/>
                    <a:pt x="148534" y="101982"/>
                  </a:cubicBezTo>
                  <a:cubicBezTo>
                    <a:pt x="141512" y="105662"/>
                    <a:pt x="134166" y="108861"/>
                    <a:pt x="126494" y="111541"/>
                  </a:cubicBezTo>
                  <a:cubicBezTo>
                    <a:pt x="112694" y="115352"/>
                    <a:pt x="95281" y="107330"/>
                    <a:pt x="79816" y="111541"/>
                  </a:cubicBezTo>
                  <a:cubicBezTo>
                    <a:pt x="68045" y="114650"/>
                    <a:pt x="63824" y="117023"/>
                    <a:pt x="50754" y="116889"/>
                  </a:cubicBezTo>
                  <a:cubicBezTo>
                    <a:pt x="34518" y="116722"/>
                    <a:pt x="32285" y="120031"/>
                    <a:pt x="22341" y="126916"/>
                  </a:cubicBezTo>
                  <a:cubicBezTo>
                    <a:pt x="12397" y="133801"/>
                    <a:pt x="6795" y="137244"/>
                    <a:pt x="5618" y="146669"/>
                  </a:cubicBezTo>
                  <a:lnTo>
                    <a:pt x="260" y="188415"/>
                  </a:lnTo>
                  <a:cubicBezTo>
                    <a:pt x="-1161" y="199412"/>
                    <a:pt x="2127" y="203122"/>
                    <a:pt x="10610" y="213784"/>
                  </a:cubicBezTo>
                  <a:cubicBezTo>
                    <a:pt x="34964" y="198309"/>
                    <a:pt x="67436" y="184137"/>
                    <a:pt x="97391" y="172807"/>
                  </a:cubicBezTo>
                  <a:cubicBezTo>
                    <a:pt x="121502" y="163649"/>
                    <a:pt x="148047" y="159872"/>
                    <a:pt x="171590" y="149410"/>
                  </a:cubicBezTo>
                  <a:cubicBezTo>
                    <a:pt x="188718" y="141880"/>
                    <a:pt x="205279" y="133497"/>
                    <a:pt x="221150" y="124309"/>
                  </a:cubicBezTo>
                  <a:cubicBezTo>
                    <a:pt x="235600" y="116020"/>
                    <a:pt x="242013" y="107196"/>
                    <a:pt x="252891" y="97570"/>
                  </a:cubicBezTo>
                  <a:cubicBezTo>
                    <a:pt x="268761" y="83599"/>
                    <a:pt x="308743" y="70831"/>
                    <a:pt x="311300" y="51914"/>
                  </a:cubicBezTo>
                  <a:cubicBezTo>
                    <a:pt x="312802" y="40650"/>
                    <a:pt x="329321" y="31860"/>
                    <a:pt x="327536" y="19894"/>
                  </a:cubicBezTo>
                  <a:cubicBezTo>
                    <a:pt x="325749" y="7928"/>
                    <a:pt x="310934" y="16551"/>
                    <a:pt x="303506" y="17922"/>
                  </a:cubicBezTo>
                  <a:cubicBezTo>
                    <a:pt x="270750" y="24606"/>
                    <a:pt x="230445" y="8764"/>
                    <a:pt x="199515" y="16451"/>
                  </a:cubicBezTo>
                  <a:cubicBezTo>
                    <a:pt x="187338" y="19493"/>
                    <a:pt x="166800" y="12474"/>
                    <a:pt x="157626" y="17086"/>
                  </a:cubicBezTo>
                  <a:cubicBezTo>
                    <a:pt x="148453" y="21699"/>
                    <a:pt x="131203" y="20830"/>
                    <a:pt x="121096" y="17086"/>
                  </a:cubicBezTo>
                  <a:cubicBezTo>
                    <a:pt x="104129" y="10903"/>
                    <a:pt x="107133" y="-8516"/>
                    <a:pt x="86392" y="3516"/>
                  </a:cubicBezTo>
                  <a:cubicBezTo>
                    <a:pt x="75839" y="9666"/>
                    <a:pt x="79938" y="22200"/>
                    <a:pt x="93941" y="2818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D3B0EE78-FC35-4391-96E5-C41E560B907B}"/>
                </a:ext>
              </a:extLst>
            </p:cNvPr>
            <p:cNvSpPr/>
            <p:nvPr/>
          </p:nvSpPr>
          <p:spPr>
            <a:xfrm>
              <a:off x="5384867" y="4221478"/>
              <a:ext cx="360714" cy="171476"/>
            </a:xfrm>
            <a:custGeom>
              <a:avLst/>
              <a:gdLst>
                <a:gd name="connsiteX0" fmla="*/ 135835 w 360714"/>
                <a:gd name="connsiteY0" fmla="*/ 167127 h 171476"/>
                <a:gd name="connsiteX1" fmla="*/ 142370 w 360714"/>
                <a:gd name="connsiteY1" fmla="*/ 138750 h 171476"/>
                <a:gd name="connsiteX2" fmla="*/ 184624 w 360714"/>
                <a:gd name="connsiteY2" fmla="*/ 122039 h 171476"/>
                <a:gd name="connsiteX3" fmla="*/ 200860 w 360714"/>
                <a:gd name="connsiteY3" fmla="*/ 116758 h 171476"/>
                <a:gd name="connsiteX4" fmla="*/ 226472 w 360714"/>
                <a:gd name="connsiteY4" fmla="*/ 113616 h 171476"/>
                <a:gd name="connsiteX5" fmla="*/ 242992 w 360714"/>
                <a:gd name="connsiteY5" fmla="*/ 100246 h 171476"/>
                <a:gd name="connsiteX6" fmla="*/ 272298 w 360714"/>
                <a:gd name="connsiteY6" fmla="*/ 93796 h 171476"/>
                <a:gd name="connsiteX7" fmla="*/ 281349 w 360714"/>
                <a:gd name="connsiteY7" fmla="*/ 84437 h 171476"/>
                <a:gd name="connsiteX8" fmla="*/ 290969 w 360714"/>
                <a:gd name="connsiteY8" fmla="*/ 75513 h 171476"/>
                <a:gd name="connsiteX9" fmla="*/ 312076 w 360714"/>
                <a:gd name="connsiteY9" fmla="*/ 67023 h 171476"/>
                <a:gd name="connsiteX10" fmla="*/ 343086 w 360714"/>
                <a:gd name="connsiteY10" fmla="*/ 65419 h 171476"/>
                <a:gd name="connsiteX11" fmla="*/ 351204 w 360714"/>
                <a:gd name="connsiteY11" fmla="*/ 48206 h 171476"/>
                <a:gd name="connsiteX12" fmla="*/ 344466 w 360714"/>
                <a:gd name="connsiteY12" fmla="*/ 35872 h 171476"/>
                <a:gd name="connsiteX13" fmla="*/ 331680 w 360714"/>
                <a:gd name="connsiteY13" fmla="*/ 12476 h 171476"/>
                <a:gd name="connsiteX14" fmla="*/ 264139 w 360714"/>
                <a:gd name="connsiteY14" fmla="*/ 9134 h 171476"/>
                <a:gd name="connsiteX15" fmla="*/ 231667 w 360714"/>
                <a:gd name="connsiteY15" fmla="*/ 2950 h 171476"/>
                <a:gd name="connsiteX16" fmla="*/ 204675 w 360714"/>
                <a:gd name="connsiteY16" fmla="*/ 3518 h 171476"/>
                <a:gd name="connsiteX17" fmla="*/ 180037 w 360714"/>
                <a:gd name="connsiteY17" fmla="*/ 35371 h 171476"/>
                <a:gd name="connsiteX18" fmla="*/ 156333 w 360714"/>
                <a:gd name="connsiteY18" fmla="*/ 47838 h 171476"/>
                <a:gd name="connsiteX19" fmla="*/ 122684 w 360714"/>
                <a:gd name="connsiteY19" fmla="*/ 56395 h 171476"/>
                <a:gd name="connsiteX20" fmla="*/ 91349 w 360714"/>
                <a:gd name="connsiteY20" fmla="*/ 88682 h 171476"/>
                <a:gd name="connsiteX21" fmla="*/ 96747 w 360714"/>
                <a:gd name="connsiteY21" fmla="*/ 118362 h 171476"/>
                <a:gd name="connsiteX22" fmla="*/ 59364 w 360714"/>
                <a:gd name="connsiteY22" fmla="*/ 145101 h 171476"/>
                <a:gd name="connsiteX23" fmla="*/ 39719 w 360714"/>
                <a:gd name="connsiteY23" fmla="*/ 157467 h 171476"/>
                <a:gd name="connsiteX24" fmla="*/ -60 w 360714"/>
                <a:gd name="connsiteY24" fmla="*/ 171138 h 171476"/>
                <a:gd name="connsiteX25" fmla="*/ 86031 w 360714"/>
                <a:gd name="connsiteY25" fmla="*/ 164253 h 171476"/>
                <a:gd name="connsiteX26" fmla="*/ 135754 w 360714"/>
                <a:gd name="connsiteY26" fmla="*/ 167227 h 171476"/>
                <a:gd name="connsiteX27" fmla="*/ 135835 w 360714"/>
                <a:gd name="connsiteY27" fmla="*/ 167127 h 17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0714" h="171476">
                  <a:moveTo>
                    <a:pt x="135835" y="167127"/>
                  </a:moveTo>
                  <a:cubicBezTo>
                    <a:pt x="134292" y="156632"/>
                    <a:pt x="126053" y="146271"/>
                    <a:pt x="142370" y="138750"/>
                  </a:cubicBezTo>
                  <a:cubicBezTo>
                    <a:pt x="153370" y="133703"/>
                    <a:pt x="170499" y="123710"/>
                    <a:pt x="184624" y="122039"/>
                  </a:cubicBezTo>
                  <a:cubicBezTo>
                    <a:pt x="196517" y="120568"/>
                    <a:pt x="193716" y="120902"/>
                    <a:pt x="200860" y="116758"/>
                  </a:cubicBezTo>
                  <a:cubicBezTo>
                    <a:pt x="206339" y="113415"/>
                    <a:pt x="219450" y="114819"/>
                    <a:pt x="226472" y="113616"/>
                  </a:cubicBezTo>
                  <a:cubicBezTo>
                    <a:pt x="242261" y="110908"/>
                    <a:pt x="235442" y="105427"/>
                    <a:pt x="242992" y="100246"/>
                  </a:cubicBezTo>
                  <a:cubicBezTo>
                    <a:pt x="250542" y="95066"/>
                    <a:pt x="265276" y="99578"/>
                    <a:pt x="272298" y="93796"/>
                  </a:cubicBezTo>
                  <a:cubicBezTo>
                    <a:pt x="278021" y="89116"/>
                    <a:pt x="282161" y="91322"/>
                    <a:pt x="281349" y="84437"/>
                  </a:cubicBezTo>
                  <a:cubicBezTo>
                    <a:pt x="280659" y="78320"/>
                    <a:pt x="279929" y="76048"/>
                    <a:pt x="290969" y="75513"/>
                  </a:cubicBezTo>
                  <a:cubicBezTo>
                    <a:pt x="304607" y="74811"/>
                    <a:pt x="303146" y="68628"/>
                    <a:pt x="312076" y="67023"/>
                  </a:cubicBezTo>
                  <a:cubicBezTo>
                    <a:pt x="322345" y="65670"/>
                    <a:pt x="332695" y="65132"/>
                    <a:pt x="343086" y="65419"/>
                  </a:cubicBezTo>
                  <a:cubicBezTo>
                    <a:pt x="363381" y="65218"/>
                    <a:pt x="366100" y="55592"/>
                    <a:pt x="351204" y="48206"/>
                  </a:cubicBezTo>
                  <a:cubicBezTo>
                    <a:pt x="343086" y="44195"/>
                    <a:pt x="343898" y="42658"/>
                    <a:pt x="344466" y="35872"/>
                  </a:cubicBezTo>
                  <a:cubicBezTo>
                    <a:pt x="345319" y="26146"/>
                    <a:pt x="340407" y="20264"/>
                    <a:pt x="331680" y="12476"/>
                  </a:cubicBezTo>
                  <a:cubicBezTo>
                    <a:pt x="321533" y="3051"/>
                    <a:pt x="281795" y="7897"/>
                    <a:pt x="264139" y="9134"/>
                  </a:cubicBezTo>
                  <a:cubicBezTo>
                    <a:pt x="248918" y="10237"/>
                    <a:pt x="242789" y="7630"/>
                    <a:pt x="231667" y="2950"/>
                  </a:cubicBezTo>
                  <a:cubicBezTo>
                    <a:pt x="223549" y="-392"/>
                    <a:pt x="211372" y="-2598"/>
                    <a:pt x="204675" y="3518"/>
                  </a:cubicBezTo>
                  <a:cubicBezTo>
                    <a:pt x="193675" y="13545"/>
                    <a:pt x="189251" y="25043"/>
                    <a:pt x="180037" y="35371"/>
                  </a:cubicBezTo>
                  <a:cubicBezTo>
                    <a:pt x="175045" y="40953"/>
                    <a:pt x="166034" y="44830"/>
                    <a:pt x="156333" y="47838"/>
                  </a:cubicBezTo>
                  <a:cubicBezTo>
                    <a:pt x="146632" y="50846"/>
                    <a:pt x="128650" y="51481"/>
                    <a:pt x="122684" y="56395"/>
                  </a:cubicBezTo>
                  <a:cubicBezTo>
                    <a:pt x="111400" y="66589"/>
                    <a:pt x="100928" y="77375"/>
                    <a:pt x="91349" y="88682"/>
                  </a:cubicBezTo>
                  <a:cubicBezTo>
                    <a:pt x="80917" y="99946"/>
                    <a:pt x="102957" y="108736"/>
                    <a:pt x="96747" y="118362"/>
                  </a:cubicBezTo>
                  <a:cubicBezTo>
                    <a:pt x="89725" y="129458"/>
                    <a:pt x="74057" y="137146"/>
                    <a:pt x="59364" y="145101"/>
                  </a:cubicBezTo>
                  <a:cubicBezTo>
                    <a:pt x="52261" y="148944"/>
                    <a:pt x="47187" y="153791"/>
                    <a:pt x="39719" y="157467"/>
                  </a:cubicBezTo>
                  <a:cubicBezTo>
                    <a:pt x="27542" y="163551"/>
                    <a:pt x="10981" y="163952"/>
                    <a:pt x="-60" y="171138"/>
                  </a:cubicBezTo>
                  <a:cubicBezTo>
                    <a:pt x="28597" y="168688"/>
                    <a:pt x="57294" y="166392"/>
                    <a:pt x="86031" y="164253"/>
                  </a:cubicBezTo>
                  <a:cubicBezTo>
                    <a:pt x="104784" y="162849"/>
                    <a:pt x="124754" y="158470"/>
                    <a:pt x="135754" y="167227"/>
                  </a:cubicBezTo>
                  <a:cubicBezTo>
                    <a:pt x="134374" y="156030"/>
                    <a:pt x="131695" y="163818"/>
                    <a:pt x="135835" y="16712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842CB471-11B1-41A6-8B03-3991489D6EB1}"/>
                </a:ext>
              </a:extLst>
            </p:cNvPr>
            <p:cNvSpPr/>
            <p:nvPr/>
          </p:nvSpPr>
          <p:spPr>
            <a:xfrm>
              <a:off x="6013656" y="4177341"/>
              <a:ext cx="130254" cy="136433"/>
            </a:xfrm>
            <a:custGeom>
              <a:avLst/>
              <a:gdLst>
                <a:gd name="connsiteX0" fmla="*/ 31303 w 130254"/>
                <a:gd name="connsiteY0" fmla="*/ 33050 h 136433"/>
                <a:gd name="connsiteX1" fmla="*/ 6381 w 130254"/>
                <a:gd name="connsiteY1" fmla="*/ 61560 h 136433"/>
                <a:gd name="connsiteX2" fmla="*/ 21683 w 130254"/>
                <a:gd name="connsiteY2" fmla="*/ 82550 h 136433"/>
                <a:gd name="connsiteX3" fmla="*/ 29801 w 130254"/>
                <a:gd name="connsiteY3" fmla="*/ 93045 h 136433"/>
                <a:gd name="connsiteX4" fmla="*/ 52369 w 130254"/>
                <a:gd name="connsiteY4" fmla="*/ 101468 h 136433"/>
                <a:gd name="connsiteX5" fmla="*/ 70026 w 130254"/>
                <a:gd name="connsiteY5" fmla="*/ 136095 h 136433"/>
                <a:gd name="connsiteX6" fmla="*/ 87682 w 130254"/>
                <a:gd name="connsiteY6" fmla="*/ 122124 h 136433"/>
                <a:gd name="connsiteX7" fmla="*/ 90929 w 130254"/>
                <a:gd name="connsiteY7" fmla="*/ 108754 h 136433"/>
                <a:gd name="connsiteX8" fmla="*/ 109316 w 130254"/>
                <a:gd name="connsiteY8" fmla="*/ 98727 h 136433"/>
                <a:gd name="connsiteX9" fmla="*/ 126567 w 130254"/>
                <a:gd name="connsiteY9" fmla="*/ 94081 h 136433"/>
                <a:gd name="connsiteX10" fmla="*/ 118449 w 130254"/>
                <a:gd name="connsiteY10" fmla="*/ 76835 h 136433"/>
                <a:gd name="connsiteX11" fmla="*/ 104121 w 130254"/>
                <a:gd name="connsiteY11" fmla="*/ 69080 h 136433"/>
                <a:gd name="connsiteX12" fmla="*/ 81959 w 130254"/>
                <a:gd name="connsiteY12" fmla="*/ 66139 h 136433"/>
                <a:gd name="connsiteX13" fmla="*/ 96368 w 130254"/>
                <a:gd name="connsiteY13" fmla="*/ 54274 h 136433"/>
                <a:gd name="connsiteX14" fmla="*/ 114268 w 130254"/>
                <a:gd name="connsiteY14" fmla="*/ 41840 h 136433"/>
                <a:gd name="connsiteX15" fmla="*/ 99291 w 130254"/>
                <a:gd name="connsiteY15" fmla="*/ 25128 h 136433"/>
                <a:gd name="connsiteX16" fmla="*/ 114755 w 130254"/>
                <a:gd name="connsiteY16" fmla="*/ 9954 h 136433"/>
                <a:gd name="connsiteX17" fmla="*/ 97545 w 130254"/>
                <a:gd name="connsiteY17" fmla="*/ 9386 h 136433"/>
                <a:gd name="connsiteX18" fmla="*/ 82203 w 130254"/>
                <a:gd name="connsiteY18" fmla="*/ 528 h 136433"/>
                <a:gd name="connsiteX19" fmla="*/ 52653 w 130254"/>
                <a:gd name="connsiteY19" fmla="*/ 1999 h 136433"/>
                <a:gd name="connsiteX20" fmla="*/ 29233 w 130254"/>
                <a:gd name="connsiteY20" fmla="*/ 15369 h 136433"/>
                <a:gd name="connsiteX21" fmla="*/ 31262 w 130254"/>
                <a:gd name="connsiteY21" fmla="*/ 33050 h 136433"/>
                <a:gd name="connsiteX22" fmla="*/ 31303 w 130254"/>
                <a:gd name="connsiteY22" fmla="*/ 33050 h 136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0254" h="136433">
                  <a:moveTo>
                    <a:pt x="31303" y="33050"/>
                  </a:moveTo>
                  <a:cubicBezTo>
                    <a:pt x="42506" y="41974"/>
                    <a:pt x="18152" y="56212"/>
                    <a:pt x="6381" y="61560"/>
                  </a:cubicBezTo>
                  <a:cubicBezTo>
                    <a:pt x="-10220" y="69147"/>
                    <a:pt x="9060" y="77102"/>
                    <a:pt x="21683" y="82550"/>
                  </a:cubicBezTo>
                  <a:cubicBezTo>
                    <a:pt x="28786" y="85625"/>
                    <a:pt x="24849" y="90237"/>
                    <a:pt x="29801" y="93045"/>
                  </a:cubicBezTo>
                  <a:cubicBezTo>
                    <a:pt x="36173" y="96655"/>
                    <a:pt x="46727" y="97357"/>
                    <a:pt x="52369" y="101468"/>
                  </a:cubicBezTo>
                  <a:cubicBezTo>
                    <a:pt x="65723" y="111094"/>
                    <a:pt x="57929" y="127271"/>
                    <a:pt x="70026" y="136095"/>
                  </a:cubicBezTo>
                  <a:cubicBezTo>
                    <a:pt x="80011" y="132284"/>
                    <a:pt x="85003" y="128708"/>
                    <a:pt x="87682" y="122124"/>
                  </a:cubicBezTo>
                  <a:cubicBezTo>
                    <a:pt x="89468" y="117812"/>
                    <a:pt x="84069" y="112096"/>
                    <a:pt x="90929" y="108754"/>
                  </a:cubicBezTo>
                  <a:cubicBezTo>
                    <a:pt x="97789" y="105412"/>
                    <a:pt x="103106" y="102069"/>
                    <a:pt x="109316" y="98727"/>
                  </a:cubicBezTo>
                  <a:cubicBezTo>
                    <a:pt x="114187" y="96220"/>
                    <a:pt x="122954" y="96688"/>
                    <a:pt x="126567" y="94081"/>
                  </a:cubicBezTo>
                  <a:cubicBezTo>
                    <a:pt x="136227" y="87229"/>
                    <a:pt x="124172" y="81514"/>
                    <a:pt x="118449" y="76835"/>
                  </a:cubicBezTo>
                  <a:cubicBezTo>
                    <a:pt x="116623" y="75331"/>
                    <a:pt x="111468" y="64234"/>
                    <a:pt x="104121" y="69080"/>
                  </a:cubicBezTo>
                  <a:cubicBezTo>
                    <a:pt x="98600" y="72690"/>
                    <a:pt x="85693" y="69080"/>
                    <a:pt x="81959" y="66139"/>
                  </a:cubicBezTo>
                  <a:cubicBezTo>
                    <a:pt x="73191" y="59454"/>
                    <a:pt x="88291" y="56780"/>
                    <a:pt x="96368" y="54274"/>
                  </a:cubicBezTo>
                  <a:cubicBezTo>
                    <a:pt x="105298" y="51533"/>
                    <a:pt x="112604" y="47589"/>
                    <a:pt x="114268" y="41840"/>
                  </a:cubicBezTo>
                  <a:cubicBezTo>
                    <a:pt x="116866" y="33317"/>
                    <a:pt x="105866" y="31378"/>
                    <a:pt x="99291" y="25128"/>
                  </a:cubicBezTo>
                  <a:cubicBezTo>
                    <a:pt x="92715" y="18878"/>
                    <a:pt x="112442" y="15101"/>
                    <a:pt x="114755" y="9954"/>
                  </a:cubicBezTo>
                  <a:cubicBezTo>
                    <a:pt x="117759" y="3269"/>
                    <a:pt x="100833" y="9653"/>
                    <a:pt x="97545" y="9386"/>
                  </a:cubicBezTo>
                  <a:cubicBezTo>
                    <a:pt x="90361" y="8784"/>
                    <a:pt x="91213" y="1932"/>
                    <a:pt x="82203" y="528"/>
                  </a:cubicBezTo>
                  <a:cubicBezTo>
                    <a:pt x="72339" y="-1006"/>
                    <a:pt x="62192" y="-498"/>
                    <a:pt x="52653" y="1999"/>
                  </a:cubicBezTo>
                  <a:cubicBezTo>
                    <a:pt x="36782" y="6612"/>
                    <a:pt x="31059" y="5141"/>
                    <a:pt x="29233" y="15369"/>
                  </a:cubicBezTo>
                  <a:cubicBezTo>
                    <a:pt x="28299" y="20382"/>
                    <a:pt x="25661" y="28537"/>
                    <a:pt x="31262" y="33050"/>
                  </a:cubicBezTo>
                  <a:cubicBezTo>
                    <a:pt x="38812" y="39033"/>
                    <a:pt x="26310" y="29039"/>
                    <a:pt x="31303" y="330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AD6CB395-4E2A-45E6-BFB6-AA9D56F3C849}"/>
                </a:ext>
              </a:extLst>
            </p:cNvPr>
            <p:cNvSpPr/>
            <p:nvPr/>
          </p:nvSpPr>
          <p:spPr>
            <a:xfrm>
              <a:off x="5516142" y="4181838"/>
              <a:ext cx="639650" cy="342371"/>
            </a:xfrm>
            <a:custGeom>
              <a:avLst/>
              <a:gdLst>
                <a:gd name="connsiteX0" fmla="*/ 213394 w 639650"/>
                <a:gd name="connsiteY0" fmla="*/ 71368 h 342371"/>
                <a:gd name="connsiteX1" fmla="*/ 216438 w 639650"/>
                <a:gd name="connsiteY1" fmla="*/ 86810 h 342371"/>
                <a:gd name="connsiteX2" fmla="*/ 229468 w 639650"/>
                <a:gd name="connsiteY2" fmla="*/ 100915 h 342371"/>
                <a:gd name="connsiteX3" fmla="*/ 178203 w 639650"/>
                <a:gd name="connsiteY3" fmla="*/ 107265 h 342371"/>
                <a:gd name="connsiteX4" fmla="*/ 168298 w 639650"/>
                <a:gd name="connsiteY4" fmla="*/ 113950 h 342371"/>
                <a:gd name="connsiteX5" fmla="*/ 151576 w 639650"/>
                <a:gd name="connsiteY5" fmla="*/ 115788 h 342371"/>
                <a:gd name="connsiteX6" fmla="*/ 146705 w 639650"/>
                <a:gd name="connsiteY6" fmla="*/ 130929 h 342371"/>
                <a:gd name="connsiteX7" fmla="*/ 138100 w 639650"/>
                <a:gd name="connsiteY7" fmla="*/ 135374 h 342371"/>
                <a:gd name="connsiteX8" fmla="*/ 121012 w 639650"/>
                <a:gd name="connsiteY8" fmla="*/ 137681 h 342371"/>
                <a:gd name="connsiteX9" fmla="*/ 101691 w 639650"/>
                <a:gd name="connsiteY9" fmla="*/ 151585 h 342371"/>
                <a:gd name="connsiteX10" fmla="*/ 72913 w 639650"/>
                <a:gd name="connsiteY10" fmla="*/ 155362 h 342371"/>
                <a:gd name="connsiteX11" fmla="*/ 67108 w 639650"/>
                <a:gd name="connsiteY11" fmla="*/ 160141 h 342371"/>
                <a:gd name="connsiteX12" fmla="*/ 53348 w 639650"/>
                <a:gd name="connsiteY12" fmla="*/ 161712 h 342371"/>
                <a:gd name="connsiteX13" fmla="*/ 4316 w 639650"/>
                <a:gd name="connsiteY13" fmla="*/ 181766 h 342371"/>
                <a:gd name="connsiteX14" fmla="*/ 12434 w 639650"/>
                <a:gd name="connsiteY14" fmla="*/ 209842 h 342371"/>
                <a:gd name="connsiteX15" fmla="*/ 35935 w 639650"/>
                <a:gd name="connsiteY15" fmla="*/ 216527 h 342371"/>
                <a:gd name="connsiteX16" fmla="*/ 241726 w 639650"/>
                <a:gd name="connsiteY16" fmla="*/ 280032 h 342371"/>
                <a:gd name="connsiteX17" fmla="*/ 309592 w 639650"/>
                <a:gd name="connsiteY17" fmla="*/ 303428 h 342371"/>
                <a:gd name="connsiteX18" fmla="*/ 337436 w 639650"/>
                <a:gd name="connsiteY18" fmla="*/ 319806 h 342371"/>
                <a:gd name="connsiteX19" fmla="*/ 381233 w 639650"/>
                <a:gd name="connsiteY19" fmla="*/ 342033 h 342371"/>
                <a:gd name="connsiteX20" fmla="*/ 461763 w 639650"/>
                <a:gd name="connsiteY20" fmla="*/ 325655 h 342371"/>
                <a:gd name="connsiteX21" fmla="*/ 517290 w 639650"/>
                <a:gd name="connsiteY21" fmla="*/ 299819 h 342371"/>
                <a:gd name="connsiteX22" fmla="*/ 605369 w 639650"/>
                <a:gd name="connsiteY22" fmla="*/ 268100 h 342371"/>
                <a:gd name="connsiteX23" fmla="*/ 637029 w 639650"/>
                <a:gd name="connsiteY23" fmla="*/ 257003 h 342371"/>
                <a:gd name="connsiteX24" fmla="*/ 636826 w 639650"/>
                <a:gd name="connsiteY24" fmla="*/ 251722 h 342371"/>
                <a:gd name="connsiteX25" fmla="*/ 613325 w 639650"/>
                <a:gd name="connsiteY25" fmla="*/ 239890 h 342371"/>
                <a:gd name="connsiteX26" fmla="*/ 583045 w 639650"/>
                <a:gd name="connsiteY26" fmla="*/ 234041 h 342371"/>
                <a:gd name="connsiteX27" fmla="*/ 572126 w 639650"/>
                <a:gd name="connsiteY27" fmla="*/ 214221 h 342371"/>
                <a:gd name="connsiteX28" fmla="*/ 569447 w 639650"/>
                <a:gd name="connsiteY28" fmla="*/ 202456 h 342371"/>
                <a:gd name="connsiteX29" fmla="*/ 571152 w 639650"/>
                <a:gd name="connsiteY29" fmla="*/ 187682 h 342371"/>
                <a:gd name="connsiteX30" fmla="*/ 574277 w 639650"/>
                <a:gd name="connsiteY30" fmla="*/ 168798 h 342371"/>
                <a:gd name="connsiteX31" fmla="*/ 571274 w 639650"/>
                <a:gd name="connsiteY31" fmla="*/ 146705 h 342371"/>
                <a:gd name="connsiteX32" fmla="*/ 563156 w 639650"/>
                <a:gd name="connsiteY32" fmla="*/ 133603 h 342371"/>
                <a:gd name="connsiteX33" fmla="*/ 561329 w 639650"/>
                <a:gd name="connsiteY33" fmla="*/ 114719 h 342371"/>
                <a:gd name="connsiteX34" fmla="*/ 551872 w 639650"/>
                <a:gd name="connsiteY34" fmla="*/ 98675 h 342371"/>
                <a:gd name="connsiteX35" fmla="*/ 527518 w 639650"/>
                <a:gd name="connsiteY35" fmla="*/ 88648 h 342371"/>
                <a:gd name="connsiteX36" fmla="*/ 519400 w 639650"/>
                <a:gd name="connsiteY36" fmla="*/ 78153 h 342371"/>
                <a:gd name="connsiteX37" fmla="*/ 498131 w 639650"/>
                <a:gd name="connsiteY37" fmla="*/ 64784 h 342371"/>
                <a:gd name="connsiteX38" fmla="*/ 527315 w 639650"/>
                <a:gd name="connsiteY38" fmla="*/ 42557 h 342371"/>
                <a:gd name="connsiteX39" fmla="*/ 527315 w 639650"/>
                <a:gd name="connsiteY39" fmla="*/ 26447 h 342371"/>
                <a:gd name="connsiteX40" fmla="*/ 529020 w 639650"/>
                <a:gd name="connsiteY40" fmla="*/ 2014 h 342371"/>
                <a:gd name="connsiteX41" fmla="*/ 481327 w 639650"/>
                <a:gd name="connsiteY41" fmla="*/ 176 h 342371"/>
                <a:gd name="connsiteX42" fmla="*/ 438424 w 639650"/>
                <a:gd name="connsiteY42" fmla="*/ 7128 h 342371"/>
                <a:gd name="connsiteX43" fmla="*/ 412892 w 639650"/>
                <a:gd name="connsiteY43" fmla="*/ 5925 h 342371"/>
                <a:gd name="connsiteX44" fmla="*/ 367108 w 639650"/>
                <a:gd name="connsiteY44" fmla="*/ 8599 h 342371"/>
                <a:gd name="connsiteX45" fmla="*/ 282397 w 639650"/>
                <a:gd name="connsiteY45" fmla="*/ 19929 h 342371"/>
                <a:gd name="connsiteX46" fmla="*/ 251020 w 639650"/>
                <a:gd name="connsiteY46" fmla="*/ 30458 h 342371"/>
                <a:gd name="connsiteX47" fmla="*/ 197807 w 639650"/>
                <a:gd name="connsiteY47" fmla="*/ 49108 h 342371"/>
                <a:gd name="connsiteX48" fmla="*/ 213394 w 639650"/>
                <a:gd name="connsiteY48" fmla="*/ 71368 h 3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39650" h="342371">
                  <a:moveTo>
                    <a:pt x="213394" y="71368"/>
                  </a:moveTo>
                  <a:cubicBezTo>
                    <a:pt x="213394" y="73674"/>
                    <a:pt x="209335" y="86476"/>
                    <a:pt x="216438" y="86810"/>
                  </a:cubicBezTo>
                  <a:cubicBezTo>
                    <a:pt x="224556" y="87178"/>
                    <a:pt x="230685" y="97104"/>
                    <a:pt x="229468" y="100915"/>
                  </a:cubicBezTo>
                  <a:cubicBezTo>
                    <a:pt x="226748" y="109605"/>
                    <a:pt x="188878" y="102786"/>
                    <a:pt x="178203" y="107265"/>
                  </a:cubicBezTo>
                  <a:cubicBezTo>
                    <a:pt x="172277" y="109805"/>
                    <a:pt x="177431" y="111543"/>
                    <a:pt x="168298" y="113950"/>
                  </a:cubicBezTo>
                  <a:cubicBezTo>
                    <a:pt x="164240" y="114953"/>
                    <a:pt x="155107" y="114418"/>
                    <a:pt x="151576" y="115788"/>
                  </a:cubicBezTo>
                  <a:cubicBezTo>
                    <a:pt x="145487" y="118195"/>
                    <a:pt x="155878" y="130461"/>
                    <a:pt x="146705" y="130929"/>
                  </a:cubicBezTo>
                  <a:cubicBezTo>
                    <a:pt x="142240" y="131163"/>
                    <a:pt x="141063" y="134037"/>
                    <a:pt x="138100" y="135374"/>
                  </a:cubicBezTo>
                  <a:cubicBezTo>
                    <a:pt x="133595" y="137413"/>
                    <a:pt x="126207" y="137146"/>
                    <a:pt x="121012" y="137681"/>
                  </a:cubicBezTo>
                  <a:cubicBezTo>
                    <a:pt x="105547" y="139285"/>
                    <a:pt x="113502" y="147206"/>
                    <a:pt x="101691" y="151585"/>
                  </a:cubicBezTo>
                  <a:cubicBezTo>
                    <a:pt x="92761" y="154927"/>
                    <a:pt x="82452" y="153523"/>
                    <a:pt x="72913" y="155362"/>
                  </a:cubicBezTo>
                  <a:cubicBezTo>
                    <a:pt x="66865" y="156498"/>
                    <a:pt x="70721" y="158336"/>
                    <a:pt x="67108" y="160141"/>
                  </a:cubicBezTo>
                  <a:cubicBezTo>
                    <a:pt x="63496" y="161946"/>
                    <a:pt x="57204" y="161244"/>
                    <a:pt x="53348" y="161712"/>
                  </a:cubicBezTo>
                  <a:cubicBezTo>
                    <a:pt x="37518" y="163718"/>
                    <a:pt x="15884" y="175650"/>
                    <a:pt x="4316" y="181766"/>
                  </a:cubicBezTo>
                  <a:cubicBezTo>
                    <a:pt x="-5223" y="186914"/>
                    <a:pt x="2368" y="207235"/>
                    <a:pt x="12434" y="209842"/>
                  </a:cubicBezTo>
                  <a:cubicBezTo>
                    <a:pt x="20552" y="211948"/>
                    <a:pt x="28142" y="214221"/>
                    <a:pt x="35935" y="216527"/>
                  </a:cubicBezTo>
                  <a:cubicBezTo>
                    <a:pt x="105669" y="236581"/>
                    <a:pt x="174266" y="257748"/>
                    <a:pt x="241726" y="280032"/>
                  </a:cubicBezTo>
                  <a:cubicBezTo>
                    <a:pt x="264537" y="287552"/>
                    <a:pt x="287714" y="294905"/>
                    <a:pt x="309592" y="303428"/>
                  </a:cubicBezTo>
                  <a:cubicBezTo>
                    <a:pt x="320632" y="307640"/>
                    <a:pt x="324569" y="318837"/>
                    <a:pt x="337436" y="319806"/>
                  </a:cubicBezTo>
                  <a:cubicBezTo>
                    <a:pt x="361466" y="321577"/>
                    <a:pt x="379974" y="327092"/>
                    <a:pt x="381233" y="342033"/>
                  </a:cubicBezTo>
                  <a:cubicBezTo>
                    <a:pt x="406479" y="338122"/>
                    <a:pt x="441184" y="335615"/>
                    <a:pt x="461763" y="325655"/>
                  </a:cubicBezTo>
                  <a:cubicBezTo>
                    <a:pt x="479866" y="316898"/>
                    <a:pt x="497319" y="307138"/>
                    <a:pt x="517290" y="299819"/>
                  </a:cubicBezTo>
                  <a:cubicBezTo>
                    <a:pt x="546473" y="289080"/>
                    <a:pt x="575820" y="278504"/>
                    <a:pt x="605369" y="268100"/>
                  </a:cubicBezTo>
                  <a:cubicBezTo>
                    <a:pt x="615882" y="264399"/>
                    <a:pt x="626435" y="260703"/>
                    <a:pt x="637029" y="257003"/>
                  </a:cubicBezTo>
                  <a:cubicBezTo>
                    <a:pt x="641088" y="255532"/>
                    <a:pt x="639789" y="257003"/>
                    <a:pt x="636826" y="251722"/>
                  </a:cubicBezTo>
                  <a:cubicBezTo>
                    <a:pt x="631631" y="242731"/>
                    <a:pt x="626557" y="243466"/>
                    <a:pt x="613325" y="239890"/>
                  </a:cubicBezTo>
                  <a:cubicBezTo>
                    <a:pt x="603705" y="237283"/>
                    <a:pt x="590716" y="238887"/>
                    <a:pt x="583045" y="234041"/>
                  </a:cubicBezTo>
                  <a:cubicBezTo>
                    <a:pt x="575373" y="229194"/>
                    <a:pt x="581381" y="220471"/>
                    <a:pt x="572126" y="214221"/>
                  </a:cubicBezTo>
                  <a:cubicBezTo>
                    <a:pt x="565185" y="209575"/>
                    <a:pt x="560315" y="207536"/>
                    <a:pt x="569447" y="202456"/>
                  </a:cubicBezTo>
                  <a:cubicBezTo>
                    <a:pt x="579473" y="197008"/>
                    <a:pt x="574196" y="195102"/>
                    <a:pt x="571152" y="187682"/>
                  </a:cubicBezTo>
                  <a:cubicBezTo>
                    <a:pt x="568108" y="180262"/>
                    <a:pt x="581259" y="176452"/>
                    <a:pt x="574277" y="168798"/>
                  </a:cubicBezTo>
                  <a:cubicBezTo>
                    <a:pt x="568027" y="161913"/>
                    <a:pt x="579473" y="154827"/>
                    <a:pt x="571274" y="146705"/>
                  </a:cubicBezTo>
                  <a:cubicBezTo>
                    <a:pt x="568351" y="143831"/>
                    <a:pt x="556540" y="136845"/>
                    <a:pt x="563156" y="133603"/>
                  </a:cubicBezTo>
                  <a:cubicBezTo>
                    <a:pt x="569772" y="130361"/>
                    <a:pt x="563602" y="119999"/>
                    <a:pt x="561329" y="114719"/>
                  </a:cubicBezTo>
                  <a:cubicBezTo>
                    <a:pt x="559178" y="109007"/>
                    <a:pt x="556012" y="103595"/>
                    <a:pt x="551872" y="98675"/>
                  </a:cubicBezTo>
                  <a:cubicBezTo>
                    <a:pt x="546920" y="93294"/>
                    <a:pt x="534662" y="92726"/>
                    <a:pt x="527518" y="88648"/>
                  </a:cubicBezTo>
                  <a:cubicBezTo>
                    <a:pt x="522566" y="85841"/>
                    <a:pt x="526503" y="81228"/>
                    <a:pt x="519400" y="78153"/>
                  </a:cubicBezTo>
                  <a:cubicBezTo>
                    <a:pt x="509415" y="73842"/>
                    <a:pt x="501865" y="72204"/>
                    <a:pt x="498131" y="64784"/>
                  </a:cubicBezTo>
                  <a:cubicBezTo>
                    <a:pt x="493585" y="55893"/>
                    <a:pt x="519441" y="49910"/>
                    <a:pt x="527315" y="42557"/>
                  </a:cubicBezTo>
                  <a:cubicBezTo>
                    <a:pt x="534013" y="36240"/>
                    <a:pt x="530359" y="32530"/>
                    <a:pt x="527315" y="26447"/>
                  </a:cubicBezTo>
                  <a:cubicBezTo>
                    <a:pt x="523581" y="18826"/>
                    <a:pt x="526990" y="9735"/>
                    <a:pt x="529020" y="2014"/>
                  </a:cubicBezTo>
                  <a:cubicBezTo>
                    <a:pt x="511769" y="2014"/>
                    <a:pt x="498659" y="-1662"/>
                    <a:pt x="481327" y="176"/>
                  </a:cubicBezTo>
                  <a:cubicBezTo>
                    <a:pt x="465944" y="1780"/>
                    <a:pt x="453280" y="4588"/>
                    <a:pt x="438424" y="7128"/>
                  </a:cubicBezTo>
                  <a:cubicBezTo>
                    <a:pt x="428520" y="8799"/>
                    <a:pt x="422472" y="5958"/>
                    <a:pt x="412892" y="5925"/>
                  </a:cubicBezTo>
                  <a:cubicBezTo>
                    <a:pt x="397590" y="6162"/>
                    <a:pt x="382288" y="7055"/>
                    <a:pt x="367108" y="8599"/>
                  </a:cubicBezTo>
                  <a:cubicBezTo>
                    <a:pt x="342104" y="10671"/>
                    <a:pt x="302570" y="10471"/>
                    <a:pt x="282397" y="19929"/>
                  </a:cubicBezTo>
                  <a:cubicBezTo>
                    <a:pt x="270910" y="25311"/>
                    <a:pt x="265552" y="28319"/>
                    <a:pt x="251020" y="30458"/>
                  </a:cubicBezTo>
                  <a:cubicBezTo>
                    <a:pt x="231375" y="33366"/>
                    <a:pt x="215342" y="48139"/>
                    <a:pt x="197807" y="49108"/>
                  </a:cubicBezTo>
                  <a:cubicBezTo>
                    <a:pt x="204748" y="56796"/>
                    <a:pt x="212785" y="61943"/>
                    <a:pt x="213394" y="7136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498EF536-09DB-4514-905C-C6F023C405AC}"/>
                </a:ext>
              </a:extLst>
            </p:cNvPr>
            <p:cNvSpPr/>
            <p:nvPr/>
          </p:nvSpPr>
          <p:spPr>
            <a:xfrm>
              <a:off x="6077206" y="4259695"/>
              <a:ext cx="467370" cy="256659"/>
            </a:xfrm>
            <a:custGeom>
              <a:avLst/>
              <a:gdLst>
                <a:gd name="connsiteX0" fmla="*/ 51165 w 467370"/>
                <a:gd name="connsiteY0" fmla="*/ 13866 h 256659"/>
                <a:gd name="connsiteX1" fmla="*/ 24660 w 467370"/>
                <a:gd name="connsiteY1" fmla="*/ 33920 h 256659"/>
                <a:gd name="connsiteX2" fmla="*/ 306 w 467370"/>
                <a:gd name="connsiteY2" fmla="*/ 59356 h 256659"/>
                <a:gd name="connsiteX3" fmla="*/ 15689 w 467370"/>
                <a:gd name="connsiteY3" fmla="*/ 77171 h 256659"/>
                <a:gd name="connsiteX4" fmla="*/ 12970 w 467370"/>
                <a:gd name="connsiteY4" fmla="*/ 84357 h 256659"/>
                <a:gd name="connsiteX5" fmla="*/ 15811 w 467370"/>
                <a:gd name="connsiteY5" fmla="*/ 95721 h 256659"/>
                <a:gd name="connsiteX6" fmla="*/ 10941 w 467370"/>
                <a:gd name="connsiteY6" fmla="*/ 102405 h 256659"/>
                <a:gd name="connsiteX7" fmla="*/ 10941 w 467370"/>
                <a:gd name="connsiteY7" fmla="*/ 113001 h 256659"/>
                <a:gd name="connsiteX8" fmla="*/ 15487 w 467370"/>
                <a:gd name="connsiteY8" fmla="*/ 120788 h 256659"/>
                <a:gd name="connsiteX9" fmla="*/ 4121 w 467370"/>
                <a:gd name="connsiteY9" fmla="*/ 127039 h 256659"/>
                <a:gd name="connsiteX10" fmla="*/ 15852 w 467370"/>
                <a:gd name="connsiteY10" fmla="*/ 139907 h 256659"/>
                <a:gd name="connsiteX11" fmla="*/ 21818 w 467370"/>
                <a:gd name="connsiteY11" fmla="*/ 156050 h 256659"/>
                <a:gd name="connsiteX12" fmla="*/ 72961 w 467370"/>
                <a:gd name="connsiteY12" fmla="*/ 169754 h 256659"/>
                <a:gd name="connsiteX13" fmla="*/ 88304 w 467370"/>
                <a:gd name="connsiteY13" fmla="*/ 178645 h 256659"/>
                <a:gd name="connsiteX14" fmla="*/ 117610 w 467370"/>
                <a:gd name="connsiteY14" fmla="*/ 181987 h 256659"/>
                <a:gd name="connsiteX15" fmla="*/ 152883 w 467370"/>
                <a:gd name="connsiteY15" fmla="*/ 190878 h 256659"/>
                <a:gd name="connsiteX16" fmla="*/ 202037 w 467370"/>
                <a:gd name="connsiteY16" fmla="*/ 182655 h 256659"/>
                <a:gd name="connsiteX17" fmla="*/ 277778 w 467370"/>
                <a:gd name="connsiteY17" fmla="*/ 207690 h 256659"/>
                <a:gd name="connsiteX18" fmla="*/ 417934 w 467370"/>
                <a:gd name="connsiteY18" fmla="*/ 256321 h 256659"/>
                <a:gd name="connsiteX19" fmla="*/ 441801 w 467370"/>
                <a:gd name="connsiteY19" fmla="*/ 248366 h 256659"/>
                <a:gd name="connsiteX20" fmla="*/ 446509 w 467370"/>
                <a:gd name="connsiteY20" fmla="*/ 242517 h 256659"/>
                <a:gd name="connsiteX21" fmla="*/ 450284 w 467370"/>
                <a:gd name="connsiteY21" fmla="*/ 188271 h 256659"/>
                <a:gd name="connsiteX22" fmla="*/ 455195 w 467370"/>
                <a:gd name="connsiteY22" fmla="*/ 117847 h 256659"/>
                <a:gd name="connsiteX23" fmla="*/ 456657 w 467370"/>
                <a:gd name="connsiteY23" fmla="*/ 72625 h 256659"/>
                <a:gd name="connsiteX24" fmla="*/ 459458 w 467370"/>
                <a:gd name="connsiteY24" fmla="*/ 56414 h 256659"/>
                <a:gd name="connsiteX25" fmla="*/ 462299 w 467370"/>
                <a:gd name="connsiteY25" fmla="*/ 39970 h 256659"/>
                <a:gd name="connsiteX26" fmla="*/ 463476 w 467370"/>
                <a:gd name="connsiteY26" fmla="*/ 28539 h 256659"/>
                <a:gd name="connsiteX27" fmla="*/ 425768 w 467370"/>
                <a:gd name="connsiteY27" fmla="*/ 22891 h 256659"/>
                <a:gd name="connsiteX28" fmla="*/ 372190 w 467370"/>
                <a:gd name="connsiteY28" fmla="*/ 7416 h 256659"/>
                <a:gd name="connsiteX29" fmla="*/ 309072 w 467370"/>
                <a:gd name="connsiteY29" fmla="*/ 24729 h 256659"/>
                <a:gd name="connsiteX30" fmla="*/ 315526 w 467370"/>
                <a:gd name="connsiteY30" fmla="*/ 43413 h 256659"/>
                <a:gd name="connsiteX31" fmla="*/ 278995 w 467370"/>
                <a:gd name="connsiteY31" fmla="*/ 50966 h 256659"/>
                <a:gd name="connsiteX32" fmla="*/ 237716 w 467370"/>
                <a:gd name="connsiteY32" fmla="*/ 36728 h 256659"/>
                <a:gd name="connsiteX33" fmla="*/ 191484 w 467370"/>
                <a:gd name="connsiteY33" fmla="*/ 31213 h 256659"/>
                <a:gd name="connsiteX34" fmla="*/ 177602 w 467370"/>
                <a:gd name="connsiteY34" fmla="*/ 17844 h 256659"/>
                <a:gd name="connsiteX35" fmla="*/ 147485 w 467370"/>
                <a:gd name="connsiteY35" fmla="*/ 8819 h 256659"/>
                <a:gd name="connsiteX36" fmla="*/ 109980 w 467370"/>
                <a:gd name="connsiteY36" fmla="*/ 3438 h 256659"/>
                <a:gd name="connsiteX37" fmla="*/ 65331 w 467370"/>
                <a:gd name="connsiteY37" fmla="*/ -339 h 256659"/>
                <a:gd name="connsiteX38" fmla="*/ 51043 w 467370"/>
                <a:gd name="connsiteY38" fmla="*/ 13799 h 25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7370" h="256659">
                  <a:moveTo>
                    <a:pt x="51165" y="13866"/>
                  </a:moveTo>
                  <a:cubicBezTo>
                    <a:pt x="42357" y="15905"/>
                    <a:pt x="19180" y="27904"/>
                    <a:pt x="24660" y="33920"/>
                  </a:cubicBezTo>
                  <a:cubicBezTo>
                    <a:pt x="35295" y="45719"/>
                    <a:pt x="-4240" y="52972"/>
                    <a:pt x="306" y="59356"/>
                  </a:cubicBezTo>
                  <a:cubicBezTo>
                    <a:pt x="4852" y="65740"/>
                    <a:pt x="15446" y="70386"/>
                    <a:pt x="15689" y="77171"/>
                  </a:cubicBezTo>
                  <a:cubicBezTo>
                    <a:pt x="15405" y="79697"/>
                    <a:pt x="14472" y="82147"/>
                    <a:pt x="12970" y="84357"/>
                  </a:cubicBezTo>
                  <a:cubicBezTo>
                    <a:pt x="10494" y="89103"/>
                    <a:pt x="15202" y="91041"/>
                    <a:pt x="15811" y="95721"/>
                  </a:cubicBezTo>
                  <a:cubicBezTo>
                    <a:pt x="15689" y="98488"/>
                    <a:pt x="13863" y="101012"/>
                    <a:pt x="10941" y="102405"/>
                  </a:cubicBezTo>
                  <a:cubicBezTo>
                    <a:pt x="6232" y="105748"/>
                    <a:pt x="10941" y="109592"/>
                    <a:pt x="10941" y="113001"/>
                  </a:cubicBezTo>
                  <a:cubicBezTo>
                    <a:pt x="10941" y="114438"/>
                    <a:pt x="17394" y="119685"/>
                    <a:pt x="15487" y="120788"/>
                  </a:cubicBezTo>
                  <a:cubicBezTo>
                    <a:pt x="11550" y="122667"/>
                    <a:pt x="7734" y="124752"/>
                    <a:pt x="4121" y="127039"/>
                  </a:cubicBezTo>
                  <a:cubicBezTo>
                    <a:pt x="-1480" y="131317"/>
                    <a:pt x="12239" y="136798"/>
                    <a:pt x="15852" y="139907"/>
                  </a:cubicBezTo>
                  <a:cubicBezTo>
                    <a:pt x="21859" y="144954"/>
                    <a:pt x="15081" y="151806"/>
                    <a:pt x="21818" y="156050"/>
                  </a:cubicBezTo>
                  <a:cubicBezTo>
                    <a:pt x="34889" y="164306"/>
                    <a:pt x="64032" y="158022"/>
                    <a:pt x="72961" y="169754"/>
                  </a:cubicBezTo>
                  <a:cubicBezTo>
                    <a:pt x="78360" y="176840"/>
                    <a:pt x="75113" y="178076"/>
                    <a:pt x="88304" y="178645"/>
                  </a:cubicBezTo>
                  <a:cubicBezTo>
                    <a:pt x="98209" y="178835"/>
                    <a:pt x="108031" y="179955"/>
                    <a:pt x="117610" y="181987"/>
                  </a:cubicBezTo>
                  <a:cubicBezTo>
                    <a:pt x="137905" y="187034"/>
                    <a:pt x="132751" y="196794"/>
                    <a:pt x="152883" y="190878"/>
                  </a:cubicBezTo>
                  <a:cubicBezTo>
                    <a:pt x="169768" y="185931"/>
                    <a:pt x="184543" y="176973"/>
                    <a:pt x="202037" y="182655"/>
                  </a:cubicBezTo>
                  <a:cubicBezTo>
                    <a:pt x="227406" y="190878"/>
                    <a:pt x="252652" y="199223"/>
                    <a:pt x="277778" y="207690"/>
                  </a:cubicBezTo>
                  <a:cubicBezTo>
                    <a:pt x="324862" y="223532"/>
                    <a:pt x="371581" y="239743"/>
                    <a:pt x="417934" y="256321"/>
                  </a:cubicBezTo>
                  <a:cubicBezTo>
                    <a:pt x="418665" y="244757"/>
                    <a:pt x="421993" y="247464"/>
                    <a:pt x="441801" y="248366"/>
                  </a:cubicBezTo>
                  <a:cubicBezTo>
                    <a:pt x="448620" y="248700"/>
                    <a:pt x="446306" y="246127"/>
                    <a:pt x="446509" y="242517"/>
                  </a:cubicBezTo>
                  <a:lnTo>
                    <a:pt x="450284" y="188271"/>
                  </a:lnTo>
                  <a:cubicBezTo>
                    <a:pt x="451908" y="164784"/>
                    <a:pt x="453531" y="141310"/>
                    <a:pt x="455195" y="117847"/>
                  </a:cubicBezTo>
                  <a:cubicBezTo>
                    <a:pt x="456210" y="103207"/>
                    <a:pt x="460432" y="87331"/>
                    <a:pt x="456657" y="72625"/>
                  </a:cubicBezTo>
                  <a:cubicBezTo>
                    <a:pt x="455277" y="67210"/>
                    <a:pt x="452070" y="60793"/>
                    <a:pt x="459458" y="56414"/>
                  </a:cubicBezTo>
                  <a:cubicBezTo>
                    <a:pt x="466845" y="52036"/>
                    <a:pt x="460432" y="45485"/>
                    <a:pt x="462299" y="39970"/>
                  </a:cubicBezTo>
                  <a:cubicBezTo>
                    <a:pt x="463638" y="36093"/>
                    <a:pt x="472122" y="31514"/>
                    <a:pt x="463476" y="28539"/>
                  </a:cubicBezTo>
                  <a:cubicBezTo>
                    <a:pt x="452963" y="24896"/>
                    <a:pt x="437417" y="24361"/>
                    <a:pt x="425768" y="22891"/>
                  </a:cubicBezTo>
                  <a:cubicBezTo>
                    <a:pt x="402997" y="20016"/>
                    <a:pt x="398492" y="7482"/>
                    <a:pt x="372190" y="7416"/>
                  </a:cubicBezTo>
                  <a:cubicBezTo>
                    <a:pt x="356238" y="7416"/>
                    <a:pt x="310331" y="12897"/>
                    <a:pt x="309072" y="24729"/>
                  </a:cubicBezTo>
                  <a:cubicBezTo>
                    <a:pt x="308382" y="31146"/>
                    <a:pt x="318408" y="36928"/>
                    <a:pt x="315526" y="43413"/>
                  </a:cubicBezTo>
                  <a:cubicBezTo>
                    <a:pt x="311751" y="51869"/>
                    <a:pt x="291822" y="53440"/>
                    <a:pt x="278995" y="50966"/>
                  </a:cubicBezTo>
                  <a:cubicBezTo>
                    <a:pt x="263774" y="47892"/>
                    <a:pt x="253343" y="40004"/>
                    <a:pt x="237716" y="36728"/>
                  </a:cubicBezTo>
                  <a:cubicBezTo>
                    <a:pt x="222860" y="33620"/>
                    <a:pt x="205528" y="34990"/>
                    <a:pt x="191484" y="31213"/>
                  </a:cubicBezTo>
                  <a:cubicBezTo>
                    <a:pt x="178860" y="27871"/>
                    <a:pt x="179835" y="24161"/>
                    <a:pt x="177602" y="17844"/>
                  </a:cubicBezTo>
                  <a:cubicBezTo>
                    <a:pt x="175370" y="11527"/>
                    <a:pt x="156536" y="10892"/>
                    <a:pt x="147485" y="8819"/>
                  </a:cubicBezTo>
                  <a:cubicBezTo>
                    <a:pt x="135389" y="5454"/>
                    <a:pt x="122725" y="3639"/>
                    <a:pt x="109980" y="3438"/>
                  </a:cubicBezTo>
                  <a:cubicBezTo>
                    <a:pt x="93744" y="3705"/>
                    <a:pt x="80065" y="4842"/>
                    <a:pt x="65331" y="-339"/>
                  </a:cubicBezTo>
                  <a:cubicBezTo>
                    <a:pt x="63423" y="9254"/>
                    <a:pt x="66021" y="10257"/>
                    <a:pt x="51043" y="1379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3FF35FC3-16B8-469D-8A89-9538855F481B}"/>
                </a:ext>
              </a:extLst>
            </p:cNvPr>
            <p:cNvSpPr/>
            <p:nvPr/>
          </p:nvSpPr>
          <p:spPr>
            <a:xfrm>
              <a:off x="5313835" y="4644906"/>
              <a:ext cx="83371" cy="18712"/>
            </a:xfrm>
            <a:custGeom>
              <a:avLst/>
              <a:gdLst>
                <a:gd name="connsiteX0" fmla="*/ 40733 w 83371"/>
                <a:gd name="connsiteY0" fmla="*/ 7878 h 18712"/>
                <a:gd name="connsiteX1" fmla="*/ 60297 w 83371"/>
                <a:gd name="connsiteY1" fmla="*/ 9015 h 18712"/>
                <a:gd name="connsiteX2" fmla="*/ 83312 w 83371"/>
                <a:gd name="connsiteY2" fmla="*/ 5038 h 18712"/>
                <a:gd name="connsiteX3" fmla="*/ 50515 w 83371"/>
                <a:gd name="connsiteY3" fmla="*/ 693 h 18712"/>
                <a:gd name="connsiteX4" fmla="*/ 25187 w 83371"/>
                <a:gd name="connsiteY4" fmla="*/ 5004 h 18712"/>
                <a:gd name="connsiteX5" fmla="*/ -60 w 83371"/>
                <a:gd name="connsiteY5" fmla="*/ 18374 h 18712"/>
                <a:gd name="connsiteX6" fmla="*/ 40530 w 83371"/>
                <a:gd name="connsiteY6" fmla="*/ 7979 h 18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371" h="18712">
                  <a:moveTo>
                    <a:pt x="40733" y="7878"/>
                  </a:moveTo>
                  <a:cubicBezTo>
                    <a:pt x="45685" y="4536"/>
                    <a:pt x="55386" y="8213"/>
                    <a:pt x="60297" y="9015"/>
                  </a:cubicBezTo>
                  <a:cubicBezTo>
                    <a:pt x="68293" y="9961"/>
                    <a:pt x="76452" y="8554"/>
                    <a:pt x="83312" y="5038"/>
                  </a:cubicBezTo>
                  <a:cubicBezTo>
                    <a:pt x="69674" y="4302"/>
                    <a:pt x="61880" y="5338"/>
                    <a:pt x="50515" y="693"/>
                  </a:cubicBezTo>
                  <a:cubicBezTo>
                    <a:pt x="42113" y="-2650"/>
                    <a:pt x="33386" y="3032"/>
                    <a:pt x="25187" y="5004"/>
                  </a:cubicBezTo>
                  <a:cubicBezTo>
                    <a:pt x="7409" y="9249"/>
                    <a:pt x="1036" y="4804"/>
                    <a:pt x="-60" y="18374"/>
                  </a:cubicBezTo>
                  <a:cubicBezTo>
                    <a:pt x="12645" y="15031"/>
                    <a:pt x="30951" y="14496"/>
                    <a:pt x="40530" y="797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D9F897A4-B6A3-46CA-AD90-16EBED89B400}"/>
                </a:ext>
              </a:extLst>
            </p:cNvPr>
            <p:cNvSpPr/>
            <p:nvPr/>
          </p:nvSpPr>
          <p:spPr>
            <a:xfrm>
              <a:off x="5298334" y="4596601"/>
              <a:ext cx="169879" cy="77210"/>
            </a:xfrm>
            <a:custGeom>
              <a:avLst/>
              <a:gdLst>
                <a:gd name="connsiteX0" fmla="*/ 38252 w 169879"/>
                <a:gd name="connsiteY0" fmla="*/ 76839 h 77210"/>
                <a:gd name="connsiteX1" fmla="*/ 57208 w 169879"/>
                <a:gd name="connsiteY1" fmla="*/ 71057 h 77210"/>
                <a:gd name="connsiteX2" fmla="*/ 90248 w 169879"/>
                <a:gd name="connsiteY2" fmla="*/ 66578 h 77210"/>
                <a:gd name="connsiteX3" fmla="*/ 113465 w 169879"/>
                <a:gd name="connsiteY3" fmla="*/ 65308 h 77210"/>
                <a:gd name="connsiteX4" fmla="*/ 141229 w 169879"/>
                <a:gd name="connsiteY4" fmla="*/ 69319 h 77210"/>
                <a:gd name="connsiteX5" fmla="*/ 169641 w 169879"/>
                <a:gd name="connsiteY5" fmla="*/ 56952 h 77210"/>
                <a:gd name="connsiteX6" fmla="*/ 147317 w 169879"/>
                <a:gd name="connsiteY6" fmla="*/ 38335 h 77210"/>
                <a:gd name="connsiteX7" fmla="*/ 138834 w 169879"/>
                <a:gd name="connsiteY7" fmla="*/ 27573 h 77210"/>
                <a:gd name="connsiteX8" fmla="*/ 110015 w 169879"/>
                <a:gd name="connsiteY8" fmla="*/ 14504 h 77210"/>
                <a:gd name="connsiteX9" fmla="*/ 92480 w 169879"/>
                <a:gd name="connsiteY9" fmla="*/ 6349 h 77210"/>
                <a:gd name="connsiteX10" fmla="*/ 60577 w 169879"/>
                <a:gd name="connsiteY10" fmla="*/ 132 h 77210"/>
                <a:gd name="connsiteX11" fmla="*/ 29607 w 169879"/>
                <a:gd name="connsiteY11" fmla="*/ 5279 h 77210"/>
                <a:gd name="connsiteX12" fmla="*/ 6024 w 169879"/>
                <a:gd name="connsiteY12" fmla="*/ 15774 h 77210"/>
                <a:gd name="connsiteX13" fmla="*/ 4238 w 169879"/>
                <a:gd name="connsiteY13" fmla="*/ 45521 h 77210"/>
                <a:gd name="connsiteX14" fmla="*/ 40769 w 169879"/>
                <a:gd name="connsiteY14" fmla="*/ 53309 h 77210"/>
                <a:gd name="connsiteX15" fmla="*/ 73241 w 169879"/>
                <a:gd name="connsiteY15" fmla="*/ 52039 h 77210"/>
                <a:gd name="connsiteX16" fmla="*/ 99015 w 169879"/>
                <a:gd name="connsiteY16" fmla="*/ 53342 h 77210"/>
                <a:gd name="connsiteX17" fmla="*/ 70602 w 169879"/>
                <a:gd name="connsiteY17" fmla="*/ 56217 h 77210"/>
                <a:gd name="connsiteX18" fmla="*/ 41540 w 169879"/>
                <a:gd name="connsiteY18" fmla="*/ 61398 h 77210"/>
                <a:gd name="connsiteX19" fmla="*/ 16537 w 169879"/>
                <a:gd name="connsiteY19" fmla="*/ 70689 h 77210"/>
                <a:gd name="connsiteX20" fmla="*/ 30134 w 169879"/>
                <a:gd name="connsiteY20" fmla="*/ 74633 h 77210"/>
                <a:gd name="connsiteX21" fmla="*/ 38536 w 169879"/>
                <a:gd name="connsiteY21" fmla="*/ 76839 h 77210"/>
                <a:gd name="connsiteX22" fmla="*/ 38252 w 169879"/>
                <a:gd name="connsiteY22" fmla="*/ 76839 h 7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9879" h="77210">
                  <a:moveTo>
                    <a:pt x="38252" y="76839"/>
                  </a:moveTo>
                  <a:cubicBezTo>
                    <a:pt x="45639" y="76572"/>
                    <a:pt x="50429" y="71993"/>
                    <a:pt x="57208" y="71057"/>
                  </a:cubicBezTo>
                  <a:lnTo>
                    <a:pt x="90248" y="66578"/>
                  </a:lnTo>
                  <a:cubicBezTo>
                    <a:pt x="97838" y="65051"/>
                    <a:pt x="105712" y="64620"/>
                    <a:pt x="113465" y="65308"/>
                  </a:cubicBezTo>
                  <a:cubicBezTo>
                    <a:pt x="124302" y="66277"/>
                    <a:pt x="129173" y="69720"/>
                    <a:pt x="141229" y="69319"/>
                  </a:cubicBezTo>
                  <a:cubicBezTo>
                    <a:pt x="159129" y="68751"/>
                    <a:pt x="171468" y="68149"/>
                    <a:pt x="169641" y="56952"/>
                  </a:cubicBezTo>
                  <a:cubicBezTo>
                    <a:pt x="168302" y="48329"/>
                    <a:pt x="149996" y="46758"/>
                    <a:pt x="147317" y="38335"/>
                  </a:cubicBezTo>
                  <a:cubicBezTo>
                    <a:pt x="145856" y="33790"/>
                    <a:pt x="142325" y="31651"/>
                    <a:pt x="138834" y="27573"/>
                  </a:cubicBezTo>
                  <a:cubicBezTo>
                    <a:pt x="132258" y="20153"/>
                    <a:pt x="118782" y="20286"/>
                    <a:pt x="110015" y="14504"/>
                  </a:cubicBezTo>
                  <a:cubicBezTo>
                    <a:pt x="102790" y="9725"/>
                    <a:pt x="104129" y="5346"/>
                    <a:pt x="92480" y="6349"/>
                  </a:cubicBezTo>
                  <a:cubicBezTo>
                    <a:pt x="81481" y="7318"/>
                    <a:pt x="75676" y="-2575"/>
                    <a:pt x="60577" y="132"/>
                  </a:cubicBezTo>
                  <a:cubicBezTo>
                    <a:pt x="50429" y="2522"/>
                    <a:pt x="40079" y="4243"/>
                    <a:pt x="29607" y="5279"/>
                  </a:cubicBezTo>
                  <a:cubicBezTo>
                    <a:pt x="12194" y="6382"/>
                    <a:pt x="19175" y="12633"/>
                    <a:pt x="6024" y="15774"/>
                  </a:cubicBezTo>
                  <a:cubicBezTo>
                    <a:pt x="5497" y="26670"/>
                    <a:pt x="-6153" y="35829"/>
                    <a:pt x="4238" y="45521"/>
                  </a:cubicBezTo>
                  <a:cubicBezTo>
                    <a:pt x="13736" y="54613"/>
                    <a:pt x="21732" y="57821"/>
                    <a:pt x="40769" y="53309"/>
                  </a:cubicBezTo>
                  <a:cubicBezTo>
                    <a:pt x="58101" y="49198"/>
                    <a:pt x="58060" y="46624"/>
                    <a:pt x="73241" y="52039"/>
                  </a:cubicBezTo>
                  <a:cubicBezTo>
                    <a:pt x="80709" y="54679"/>
                    <a:pt x="90532" y="52874"/>
                    <a:pt x="99015" y="53342"/>
                  </a:cubicBezTo>
                  <a:cubicBezTo>
                    <a:pt x="90451" y="57534"/>
                    <a:pt x="80141" y="58573"/>
                    <a:pt x="70602" y="56217"/>
                  </a:cubicBezTo>
                  <a:cubicBezTo>
                    <a:pt x="58182" y="53543"/>
                    <a:pt x="53230" y="58623"/>
                    <a:pt x="41540" y="61398"/>
                  </a:cubicBezTo>
                  <a:cubicBezTo>
                    <a:pt x="33138" y="63403"/>
                    <a:pt x="13127" y="63904"/>
                    <a:pt x="16537" y="70689"/>
                  </a:cubicBezTo>
                  <a:cubicBezTo>
                    <a:pt x="19337" y="76171"/>
                    <a:pt x="22747" y="75335"/>
                    <a:pt x="30134" y="74633"/>
                  </a:cubicBezTo>
                  <a:cubicBezTo>
                    <a:pt x="35167" y="74132"/>
                    <a:pt x="34680" y="76973"/>
                    <a:pt x="38536" y="76839"/>
                  </a:cubicBezTo>
                  <a:cubicBezTo>
                    <a:pt x="43610" y="76639"/>
                    <a:pt x="33584" y="76973"/>
                    <a:pt x="38252" y="768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DA278160-AB92-46E2-AE95-AC9603EC2A0C}"/>
                </a:ext>
              </a:extLst>
            </p:cNvPr>
            <p:cNvSpPr/>
            <p:nvPr/>
          </p:nvSpPr>
          <p:spPr>
            <a:xfrm>
              <a:off x="5321506" y="4662856"/>
              <a:ext cx="78725" cy="30793"/>
            </a:xfrm>
            <a:custGeom>
              <a:avLst/>
              <a:gdLst>
                <a:gd name="connsiteX0" fmla="*/ 45157 w 78725"/>
                <a:gd name="connsiteY0" fmla="*/ 28567 h 30793"/>
                <a:gd name="connsiteX1" fmla="*/ 76249 w 78725"/>
                <a:gd name="connsiteY1" fmla="*/ 13058 h 30793"/>
                <a:gd name="connsiteX2" fmla="*/ 66995 w 78725"/>
                <a:gd name="connsiteY2" fmla="*/ 324 h 30793"/>
                <a:gd name="connsiteX3" fmla="*/ 30748 w 78725"/>
                <a:gd name="connsiteY3" fmla="*/ 5237 h 30793"/>
                <a:gd name="connsiteX4" fmla="*/ 14999 w 78725"/>
                <a:gd name="connsiteY4" fmla="*/ 10585 h 30793"/>
                <a:gd name="connsiteX5" fmla="*/ -60 w 78725"/>
                <a:gd name="connsiteY5" fmla="*/ 9615 h 30793"/>
                <a:gd name="connsiteX6" fmla="*/ 30626 w 78725"/>
                <a:gd name="connsiteY6" fmla="*/ 18907 h 30793"/>
                <a:gd name="connsiteX7" fmla="*/ 45157 w 78725"/>
                <a:gd name="connsiteY7" fmla="*/ 28567 h 30793"/>
                <a:gd name="connsiteX8" fmla="*/ 45157 w 78725"/>
                <a:gd name="connsiteY8" fmla="*/ 28567 h 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725" h="30793">
                  <a:moveTo>
                    <a:pt x="45157" y="28567"/>
                  </a:moveTo>
                  <a:cubicBezTo>
                    <a:pt x="50759" y="25592"/>
                    <a:pt x="78847" y="15197"/>
                    <a:pt x="76249" y="13058"/>
                  </a:cubicBezTo>
                  <a:cubicBezTo>
                    <a:pt x="68131" y="7075"/>
                    <a:pt x="91754" y="-3019"/>
                    <a:pt x="66995" y="324"/>
                  </a:cubicBezTo>
                  <a:cubicBezTo>
                    <a:pt x="55711" y="1828"/>
                    <a:pt x="41423" y="2362"/>
                    <a:pt x="30748" y="5237"/>
                  </a:cubicBezTo>
                  <a:cubicBezTo>
                    <a:pt x="25350" y="6674"/>
                    <a:pt x="21493" y="10351"/>
                    <a:pt x="14999" y="10585"/>
                  </a:cubicBezTo>
                  <a:cubicBezTo>
                    <a:pt x="8505" y="10818"/>
                    <a:pt x="10616" y="6975"/>
                    <a:pt x="-60" y="9615"/>
                  </a:cubicBezTo>
                  <a:cubicBezTo>
                    <a:pt x="10128" y="15464"/>
                    <a:pt x="19626" y="14796"/>
                    <a:pt x="30626" y="18907"/>
                  </a:cubicBezTo>
                  <a:cubicBezTo>
                    <a:pt x="35578" y="20779"/>
                    <a:pt x="32331" y="35619"/>
                    <a:pt x="45157" y="28567"/>
                  </a:cubicBezTo>
                  <a:cubicBezTo>
                    <a:pt x="51246" y="25358"/>
                    <a:pt x="44508" y="28934"/>
                    <a:pt x="45157" y="2856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C4B6C112-5851-4B6E-B680-77075FCB2E6D}"/>
                </a:ext>
              </a:extLst>
            </p:cNvPr>
            <p:cNvSpPr/>
            <p:nvPr/>
          </p:nvSpPr>
          <p:spPr>
            <a:xfrm>
              <a:off x="6221627" y="4663985"/>
              <a:ext cx="348298" cy="141382"/>
            </a:xfrm>
            <a:custGeom>
              <a:avLst/>
              <a:gdLst>
                <a:gd name="connsiteX0" fmla="*/ 323764 w 348298"/>
                <a:gd name="connsiteY0" fmla="*/ 86731 h 141382"/>
                <a:gd name="connsiteX1" fmla="*/ 307081 w 348298"/>
                <a:gd name="connsiteY1" fmla="*/ 71022 h 141382"/>
                <a:gd name="connsiteX2" fmla="*/ 290845 w 348298"/>
                <a:gd name="connsiteY2" fmla="*/ 57351 h 141382"/>
                <a:gd name="connsiteX3" fmla="*/ 266816 w 348298"/>
                <a:gd name="connsiteY3" fmla="*/ 46321 h 141382"/>
                <a:gd name="connsiteX4" fmla="*/ 257684 w 348298"/>
                <a:gd name="connsiteY4" fmla="*/ 40238 h 141382"/>
                <a:gd name="connsiteX5" fmla="*/ 253625 w 348298"/>
                <a:gd name="connsiteY5" fmla="*/ 22657 h 141382"/>
                <a:gd name="connsiteX6" fmla="*/ 213684 w 348298"/>
                <a:gd name="connsiteY6" fmla="*/ 364 h 141382"/>
                <a:gd name="connsiteX7" fmla="*/ 195013 w 348298"/>
                <a:gd name="connsiteY7" fmla="*/ 12630 h 141382"/>
                <a:gd name="connsiteX8" fmla="*/ 165951 w 348298"/>
                <a:gd name="connsiteY8" fmla="*/ 28808 h 141382"/>
                <a:gd name="connsiteX9" fmla="*/ 133113 w 348298"/>
                <a:gd name="connsiteY9" fmla="*/ 32150 h 141382"/>
                <a:gd name="connsiteX10" fmla="*/ 122723 w 348298"/>
                <a:gd name="connsiteY10" fmla="*/ 41776 h 141382"/>
                <a:gd name="connsiteX11" fmla="*/ 68657 w 348298"/>
                <a:gd name="connsiteY11" fmla="*/ 52471 h 141382"/>
                <a:gd name="connsiteX12" fmla="*/ 49661 w 348298"/>
                <a:gd name="connsiteY12" fmla="*/ 52471 h 141382"/>
                <a:gd name="connsiteX13" fmla="*/ 27864 w 348298"/>
                <a:gd name="connsiteY13" fmla="*/ 55814 h 141382"/>
                <a:gd name="connsiteX14" fmla="*/ 4282 w 348298"/>
                <a:gd name="connsiteY14" fmla="*/ 104512 h 141382"/>
                <a:gd name="connsiteX15" fmla="*/ 43532 w 348298"/>
                <a:gd name="connsiteY15" fmla="*/ 141044 h 141382"/>
                <a:gd name="connsiteX16" fmla="*/ 50960 w 348298"/>
                <a:gd name="connsiteY16" fmla="*/ 127675 h 141382"/>
                <a:gd name="connsiteX17" fmla="*/ 66668 w 348298"/>
                <a:gd name="connsiteY17" fmla="*/ 125067 h 141382"/>
                <a:gd name="connsiteX18" fmla="*/ 103199 w 348298"/>
                <a:gd name="connsiteY18" fmla="*/ 125903 h 141382"/>
                <a:gd name="connsiteX19" fmla="*/ 108760 w 348298"/>
                <a:gd name="connsiteY19" fmla="*/ 110929 h 141382"/>
                <a:gd name="connsiteX20" fmla="*/ 149796 w 348298"/>
                <a:gd name="connsiteY20" fmla="*/ 106651 h 141382"/>
                <a:gd name="connsiteX21" fmla="*/ 208326 w 348298"/>
                <a:gd name="connsiteY21" fmla="*/ 119452 h 141382"/>
                <a:gd name="connsiteX22" fmla="*/ 230529 w 348298"/>
                <a:gd name="connsiteY22" fmla="*/ 108991 h 141382"/>
                <a:gd name="connsiteX23" fmla="*/ 255776 w 348298"/>
                <a:gd name="connsiteY23" fmla="*/ 106618 h 141382"/>
                <a:gd name="connsiteX24" fmla="*/ 288775 w 348298"/>
                <a:gd name="connsiteY24" fmla="*/ 107654 h 141382"/>
                <a:gd name="connsiteX25" fmla="*/ 302048 w 348298"/>
                <a:gd name="connsiteY25" fmla="*/ 102540 h 141382"/>
                <a:gd name="connsiteX26" fmla="*/ 323885 w 348298"/>
                <a:gd name="connsiteY26" fmla="*/ 107019 h 141382"/>
                <a:gd name="connsiteX27" fmla="*/ 348239 w 348298"/>
                <a:gd name="connsiteY27" fmla="*/ 107219 h 141382"/>
                <a:gd name="connsiteX28" fmla="*/ 342069 w 348298"/>
                <a:gd name="connsiteY28" fmla="*/ 96357 h 141382"/>
                <a:gd name="connsiteX29" fmla="*/ 323358 w 348298"/>
                <a:gd name="connsiteY29" fmla="*/ 86931 h 141382"/>
                <a:gd name="connsiteX30" fmla="*/ 323764 w 348298"/>
                <a:gd name="connsiteY30" fmla="*/ 86731 h 14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8298" h="141382">
                  <a:moveTo>
                    <a:pt x="323764" y="86731"/>
                  </a:moveTo>
                  <a:cubicBezTo>
                    <a:pt x="324291" y="79778"/>
                    <a:pt x="315646" y="75199"/>
                    <a:pt x="307081" y="71022"/>
                  </a:cubicBezTo>
                  <a:cubicBezTo>
                    <a:pt x="298517" y="66844"/>
                    <a:pt x="297868" y="62532"/>
                    <a:pt x="290845" y="57351"/>
                  </a:cubicBezTo>
                  <a:cubicBezTo>
                    <a:pt x="283823" y="52171"/>
                    <a:pt x="278019" y="47892"/>
                    <a:pt x="266816" y="46321"/>
                  </a:cubicBezTo>
                  <a:cubicBezTo>
                    <a:pt x="260200" y="45386"/>
                    <a:pt x="263001" y="40940"/>
                    <a:pt x="257684" y="40238"/>
                  </a:cubicBezTo>
                  <a:cubicBezTo>
                    <a:pt x="232437" y="36896"/>
                    <a:pt x="261093" y="33219"/>
                    <a:pt x="253625" y="22657"/>
                  </a:cubicBezTo>
                  <a:cubicBezTo>
                    <a:pt x="247292" y="13667"/>
                    <a:pt x="234101" y="-4081"/>
                    <a:pt x="213684" y="364"/>
                  </a:cubicBezTo>
                  <a:cubicBezTo>
                    <a:pt x="200695" y="3305"/>
                    <a:pt x="202928" y="8352"/>
                    <a:pt x="195013" y="12630"/>
                  </a:cubicBezTo>
                  <a:cubicBezTo>
                    <a:pt x="184947" y="17530"/>
                    <a:pt x="175246" y="22932"/>
                    <a:pt x="165951" y="28808"/>
                  </a:cubicBezTo>
                  <a:cubicBezTo>
                    <a:pt x="158279" y="34122"/>
                    <a:pt x="143505" y="32150"/>
                    <a:pt x="133113" y="32150"/>
                  </a:cubicBezTo>
                  <a:cubicBezTo>
                    <a:pt x="115173" y="31849"/>
                    <a:pt x="129866" y="38534"/>
                    <a:pt x="122723" y="41776"/>
                  </a:cubicBezTo>
                  <a:cubicBezTo>
                    <a:pt x="105675" y="49597"/>
                    <a:pt x="85907" y="46956"/>
                    <a:pt x="68657" y="52471"/>
                  </a:cubicBezTo>
                  <a:cubicBezTo>
                    <a:pt x="58104" y="55814"/>
                    <a:pt x="58794" y="51068"/>
                    <a:pt x="49661" y="52471"/>
                  </a:cubicBezTo>
                  <a:cubicBezTo>
                    <a:pt x="42680" y="53441"/>
                    <a:pt x="35577" y="63234"/>
                    <a:pt x="27864" y="55814"/>
                  </a:cubicBezTo>
                  <a:cubicBezTo>
                    <a:pt x="4485" y="68114"/>
                    <a:pt x="-6921" y="86497"/>
                    <a:pt x="4282" y="104512"/>
                  </a:cubicBezTo>
                  <a:cubicBezTo>
                    <a:pt x="11953" y="116845"/>
                    <a:pt x="22628" y="133891"/>
                    <a:pt x="43532" y="141044"/>
                  </a:cubicBezTo>
                  <a:cubicBezTo>
                    <a:pt x="48078" y="136766"/>
                    <a:pt x="51406" y="133056"/>
                    <a:pt x="50960" y="127675"/>
                  </a:cubicBezTo>
                  <a:cubicBezTo>
                    <a:pt x="50960" y="125769"/>
                    <a:pt x="63542" y="125468"/>
                    <a:pt x="66668" y="125067"/>
                  </a:cubicBezTo>
                  <a:cubicBezTo>
                    <a:pt x="80306" y="123263"/>
                    <a:pt x="89358" y="124332"/>
                    <a:pt x="103199" y="125903"/>
                  </a:cubicBezTo>
                  <a:cubicBezTo>
                    <a:pt x="103199" y="119686"/>
                    <a:pt x="101575" y="115375"/>
                    <a:pt x="108760" y="110929"/>
                  </a:cubicBezTo>
                  <a:cubicBezTo>
                    <a:pt x="120936" y="103442"/>
                    <a:pt x="134778" y="97560"/>
                    <a:pt x="149796" y="106651"/>
                  </a:cubicBezTo>
                  <a:cubicBezTo>
                    <a:pt x="164814" y="115742"/>
                    <a:pt x="187828" y="116277"/>
                    <a:pt x="208326" y="119452"/>
                  </a:cubicBezTo>
                  <a:cubicBezTo>
                    <a:pt x="214496" y="120421"/>
                    <a:pt x="213725" y="106083"/>
                    <a:pt x="230529" y="108991"/>
                  </a:cubicBezTo>
                  <a:cubicBezTo>
                    <a:pt x="240595" y="110695"/>
                    <a:pt x="246400" y="108155"/>
                    <a:pt x="255776" y="106618"/>
                  </a:cubicBezTo>
                  <a:cubicBezTo>
                    <a:pt x="268277" y="104612"/>
                    <a:pt x="276923" y="107553"/>
                    <a:pt x="288775" y="107654"/>
                  </a:cubicBezTo>
                  <a:cubicBezTo>
                    <a:pt x="295107" y="107654"/>
                    <a:pt x="295432" y="102707"/>
                    <a:pt x="302048" y="102540"/>
                  </a:cubicBezTo>
                  <a:cubicBezTo>
                    <a:pt x="309598" y="102821"/>
                    <a:pt x="317026" y="104341"/>
                    <a:pt x="323885" y="107019"/>
                  </a:cubicBezTo>
                  <a:cubicBezTo>
                    <a:pt x="330948" y="109392"/>
                    <a:pt x="340689" y="107587"/>
                    <a:pt x="348239" y="107219"/>
                  </a:cubicBezTo>
                  <a:cubicBezTo>
                    <a:pt x="346494" y="104178"/>
                    <a:pt x="345398" y="98863"/>
                    <a:pt x="342069" y="96357"/>
                  </a:cubicBezTo>
                  <a:cubicBezTo>
                    <a:pt x="338741" y="93850"/>
                    <a:pt x="322992" y="91677"/>
                    <a:pt x="323358" y="86931"/>
                  </a:cubicBezTo>
                  <a:cubicBezTo>
                    <a:pt x="323967" y="83589"/>
                    <a:pt x="323520" y="89872"/>
                    <a:pt x="323764" y="8673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4FBF566B-0C85-49E6-98EC-2DD533961A42}"/>
                </a:ext>
              </a:extLst>
            </p:cNvPr>
            <p:cNvSpPr/>
            <p:nvPr/>
          </p:nvSpPr>
          <p:spPr>
            <a:xfrm>
              <a:off x="5885260" y="4612799"/>
              <a:ext cx="341831" cy="162926"/>
            </a:xfrm>
            <a:custGeom>
              <a:avLst/>
              <a:gdLst>
                <a:gd name="connsiteX0" fmla="*/ 210355 w 341831"/>
                <a:gd name="connsiteY0" fmla="*/ 117663 h 162926"/>
                <a:gd name="connsiteX1" fmla="*/ 231543 w 341831"/>
                <a:gd name="connsiteY1" fmla="*/ 115557 h 162926"/>
                <a:gd name="connsiteX2" fmla="*/ 249484 w 341831"/>
                <a:gd name="connsiteY2" fmla="*/ 126420 h 162926"/>
                <a:gd name="connsiteX3" fmla="*/ 280454 w 341831"/>
                <a:gd name="connsiteY3" fmla="*/ 92562 h 162926"/>
                <a:gd name="connsiteX4" fmla="*/ 294660 w 341831"/>
                <a:gd name="connsiteY4" fmla="*/ 80997 h 162926"/>
                <a:gd name="connsiteX5" fmla="*/ 305132 w 341831"/>
                <a:gd name="connsiteY5" fmla="*/ 60943 h 162926"/>
                <a:gd name="connsiteX6" fmla="*/ 334073 w 341831"/>
                <a:gd name="connsiteY6" fmla="*/ 40354 h 162926"/>
                <a:gd name="connsiteX7" fmla="*/ 332895 w 341831"/>
                <a:gd name="connsiteY7" fmla="*/ 24712 h 162926"/>
                <a:gd name="connsiteX8" fmla="*/ 326523 w 341831"/>
                <a:gd name="connsiteY8" fmla="*/ 17091 h 162926"/>
                <a:gd name="connsiteX9" fmla="*/ 320231 w 341831"/>
                <a:gd name="connsiteY9" fmla="*/ 5794 h 162926"/>
                <a:gd name="connsiteX10" fmla="*/ 299003 w 341831"/>
                <a:gd name="connsiteY10" fmla="*/ 3287 h 162926"/>
                <a:gd name="connsiteX11" fmla="*/ 266531 w 341831"/>
                <a:gd name="connsiteY11" fmla="*/ 8167 h 162926"/>
                <a:gd name="connsiteX12" fmla="*/ 234344 w 341831"/>
                <a:gd name="connsiteY12" fmla="*/ 6262 h 162926"/>
                <a:gd name="connsiteX13" fmla="*/ 218676 w 341831"/>
                <a:gd name="connsiteY13" fmla="*/ 6997 h 162926"/>
                <a:gd name="connsiteX14" fmla="*/ 198137 w 341831"/>
                <a:gd name="connsiteY14" fmla="*/ 15253 h 162926"/>
                <a:gd name="connsiteX15" fmla="*/ 134412 w 341831"/>
                <a:gd name="connsiteY15" fmla="*/ 9972 h 162926"/>
                <a:gd name="connsiteX16" fmla="*/ 111113 w 341831"/>
                <a:gd name="connsiteY16" fmla="*/ 3287 h 162926"/>
                <a:gd name="connsiteX17" fmla="*/ 77099 w 341831"/>
                <a:gd name="connsiteY17" fmla="*/ 1315 h 162926"/>
                <a:gd name="connsiteX18" fmla="*/ 47793 w 341831"/>
                <a:gd name="connsiteY18" fmla="*/ 2953 h 162926"/>
                <a:gd name="connsiteX19" fmla="*/ 37199 w 341831"/>
                <a:gd name="connsiteY19" fmla="*/ 17826 h 162926"/>
                <a:gd name="connsiteX20" fmla="*/ 26889 w 341831"/>
                <a:gd name="connsiteY20" fmla="*/ 55328 h 162926"/>
                <a:gd name="connsiteX21" fmla="*/ 5823 w 341831"/>
                <a:gd name="connsiteY21" fmla="*/ 84172 h 162926"/>
                <a:gd name="connsiteX22" fmla="*/ 15037 w 341831"/>
                <a:gd name="connsiteY22" fmla="*/ 126988 h 162926"/>
                <a:gd name="connsiteX23" fmla="*/ 79981 w 341831"/>
                <a:gd name="connsiteY23" fmla="*/ 143031 h 162926"/>
                <a:gd name="connsiteX24" fmla="*/ 94390 w 341831"/>
                <a:gd name="connsiteY24" fmla="*/ 160545 h 162926"/>
                <a:gd name="connsiteX25" fmla="*/ 127430 w 341831"/>
                <a:gd name="connsiteY25" fmla="*/ 158105 h 162926"/>
                <a:gd name="connsiteX26" fmla="*/ 158238 w 341831"/>
                <a:gd name="connsiteY26" fmla="*/ 156802 h 162926"/>
                <a:gd name="connsiteX27" fmla="*/ 176097 w 341831"/>
                <a:gd name="connsiteY27" fmla="*/ 142162 h 162926"/>
                <a:gd name="connsiteX28" fmla="*/ 204510 w 341831"/>
                <a:gd name="connsiteY28" fmla="*/ 120571 h 162926"/>
                <a:gd name="connsiteX29" fmla="*/ 210314 w 341831"/>
                <a:gd name="connsiteY29" fmla="*/ 117830 h 162926"/>
                <a:gd name="connsiteX30" fmla="*/ 210355 w 341831"/>
                <a:gd name="connsiteY30" fmla="*/ 117663 h 16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1831" h="162926">
                  <a:moveTo>
                    <a:pt x="210355" y="117663"/>
                  </a:moveTo>
                  <a:cubicBezTo>
                    <a:pt x="217336" y="116463"/>
                    <a:pt x="224440" y="115758"/>
                    <a:pt x="231543" y="115557"/>
                  </a:cubicBezTo>
                  <a:cubicBezTo>
                    <a:pt x="238890" y="116025"/>
                    <a:pt x="247779" y="126486"/>
                    <a:pt x="249484" y="126420"/>
                  </a:cubicBezTo>
                  <a:cubicBezTo>
                    <a:pt x="257602" y="126019"/>
                    <a:pt x="278180" y="97274"/>
                    <a:pt x="280454" y="92562"/>
                  </a:cubicBezTo>
                  <a:cubicBezTo>
                    <a:pt x="282402" y="88517"/>
                    <a:pt x="294619" y="84272"/>
                    <a:pt x="294660" y="80997"/>
                  </a:cubicBezTo>
                  <a:cubicBezTo>
                    <a:pt x="294660" y="73510"/>
                    <a:pt x="307527" y="68263"/>
                    <a:pt x="305132" y="60943"/>
                  </a:cubicBezTo>
                  <a:cubicBezTo>
                    <a:pt x="302332" y="52453"/>
                    <a:pt x="323113" y="42393"/>
                    <a:pt x="334073" y="40354"/>
                  </a:cubicBezTo>
                  <a:cubicBezTo>
                    <a:pt x="347954" y="37747"/>
                    <a:pt x="340242" y="27954"/>
                    <a:pt x="332895" y="24712"/>
                  </a:cubicBezTo>
                  <a:cubicBezTo>
                    <a:pt x="328065" y="22573"/>
                    <a:pt x="326117" y="20467"/>
                    <a:pt x="326523" y="17091"/>
                  </a:cubicBezTo>
                  <a:cubicBezTo>
                    <a:pt x="327416" y="9471"/>
                    <a:pt x="325752" y="11810"/>
                    <a:pt x="320231" y="5794"/>
                  </a:cubicBezTo>
                  <a:cubicBezTo>
                    <a:pt x="314711" y="-222"/>
                    <a:pt x="307689" y="-2696"/>
                    <a:pt x="299003" y="3287"/>
                  </a:cubicBezTo>
                  <a:cubicBezTo>
                    <a:pt x="288896" y="10239"/>
                    <a:pt x="281712" y="12345"/>
                    <a:pt x="266531" y="8167"/>
                  </a:cubicBezTo>
                  <a:cubicBezTo>
                    <a:pt x="256100" y="5293"/>
                    <a:pt x="245668" y="6061"/>
                    <a:pt x="234344" y="6262"/>
                  </a:cubicBezTo>
                  <a:cubicBezTo>
                    <a:pt x="229107" y="5881"/>
                    <a:pt x="223831" y="6128"/>
                    <a:pt x="218676" y="6997"/>
                  </a:cubicBezTo>
                  <a:cubicBezTo>
                    <a:pt x="211167" y="9270"/>
                    <a:pt x="206824" y="14350"/>
                    <a:pt x="198137" y="15253"/>
                  </a:cubicBezTo>
                  <a:cubicBezTo>
                    <a:pt x="172850" y="17826"/>
                    <a:pt x="158725" y="4089"/>
                    <a:pt x="134412" y="9972"/>
                  </a:cubicBezTo>
                  <a:cubicBezTo>
                    <a:pt x="117607" y="14050"/>
                    <a:pt x="121261" y="9805"/>
                    <a:pt x="111113" y="3287"/>
                  </a:cubicBezTo>
                  <a:cubicBezTo>
                    <a:pt x="105836" y="-55"/>
                    <a:pt x="82700" y="-1860"/>
                    <a:pt x="77099" y="1315"/>
                  </a:cubicBezTo>
                  <a:cubicBezTo>
                    <a:pt x="69346" y="5694"/>
                    <a:pt x="57494" y="1649"/>
                    <a:pt x="47793" y="2953"/>
                  </a:cubicBezTo>
                  <a:cubicBezTo>
                    <a:pt x="35251" y="4624"/>
                    <a:pt x="43734" y="13916"/>
                    <a:pt x="37199" y="17826"/>
                  </a:cubicBezTo>
                  <a:cubicBezTo>
                    <a:pt x="17838" y="29892"/>
                    <a:pt x="26077" y="40855"/>
                    <a:pt x="26889" y="55328"/>
                  </a:cubicBezTo>
                  <a:cubicBezTo>
                    <a:pt x="27620" y="67995"/>
                    <a:pt x="16295" y="74179"/>
                    <a:pt x="5823" y="84172"/>
                  </a:cubicBezTo>
                  <a:cubicBezTo>
                    <a:pt x="-3391" y="92963"/>
                    <a:pt x="-2822" y="121272"/>
                    <a:pt x="15037" y="126988"/>
                  </a:cubicBezTo>
                  <a:cubicBezTo>
                    <a:pt x="38336" y="134408"/>
                    <a:pt x="63745" y="126754"/>
                    <a:pt x="79981" y="143031"/>
                  </a:cubicBezTo>
                  <a:cubicBezTo>
                    <a:pt x="85947" y="149047"/>
                    <a:pt x="85014" y="155231"/>
                    <a:pt x="94390" y="160545"/>
                  </a:cubicBezTo>
                  <a:cubicBezTo>
                    <a:pt x="104497" y="166227"/>
                    <a:pt x="116268" y="158272"/>
                    <a:pt x="127430" y="158105"/>
                  </a:cubicBezTo>
                  <a:cubicBezTo>
                    <a:pt x="137740" y="158222"/>
                    <a:pt x="148009" y="157788"/>
                    <a:pt x="158238" y="156802"/>
                  </a:cubicBezTo>
                  <a:cubicBezTo>
                    <a:pt x="172241" y="155064"/>
                    <a:pt x="173013" y="150317"/>
                    <a:pt x="176097" y="142162"/>
                  </a:cubicBezTo>
                  <a:cubicBezTo>
                    <a:pt x="179629" y="132837"/>
                    <a:pt x="192942" y="127021"/>
                    <a:pt x="204510" y="120571"/>
                  </a:cubicBezTo>
                  <a:cubicBezTo>
                    <a:pt x="206255" y="119384"/>
                    <a:pt x="208204" y="118458"/>
                    <a:pt x="210314" y="117830"/>
                  </a:cubicBezTo>
                  <a:cubicBezTo>
                    <a:pt x="213927" y="117161"/>
                    <a:pt x="207148" y="118197"/>
                    <a:pt x="210355" y="11766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40595E2F-5959-4D06-893B-1012D2412E08}"/>
                </a:ext>
              </a:extLst>
            </p:cNvPr>
            <p:cNvSpPr/>
            <p:nvPr/>
          </p:nvSpPr>
          <p:spPr>
            <a:xfrm>
              <a:off x="5826564" y="4637285"/>
              <a:ext cx="86802" cy="106884"/>
            </a:xfrm>
            <a:custGeom>
              <a:avLst/>
              <a:gdLst>
                <a:gd name="connsiteX0" fmla="*/ 59932 w 86802"/>
                <a:gd name="connsiteY0" fmla="*/ 67674 h 106884"/>
                <a:gd name="connsiteX1" fmla="*/ 83840 w 86802"/>
                <a:gd name="connsiteY1" fmla="*/ 42974 h 106884"/>
                <a:gd name="connsiteX2" fmla="*/ 80999 w 86802"/>
                <a:gd name="connsiteY2" fmla="*/ 9049 h 106884"/>
                <a:gd name="connsiteX3" fmla="*/ 65980 w 86802"/>
                <a:gd name="connsiteY3" fmla="*/ 2632 h 106884"/>
                <a:gd name="connsiteX4" fmla="*/ 51530 w 86802"/>
                <a:gd name="connsiteY4" fmla="*/ 12425 h 106884"/>
                <a:gd name="connsiteX5" fmla="*/ 24660 w 86802"/>
                <a:gd name="connsiteY5" fmla="*/ 19845 h 106884"/>
                <a:gd name="connsiteX6" fmla="*/ -60 w 86802"/>
                <a:gd name="connsiteY6" fmla="*/ 27532 h 106884"/>
                <a:gd name="connsiteX7" fmla="*/ 9560 w 86802"/>
                <a:gd name="connsiteY7" fmla="*/ 40902 h 106884"/>
                <a:gd name="connsiteX8" fmla="*/ 21413 w 86802"/>
                <a:gd name="connsiteY8" fmla="*/ 45314 h 106884"/>
                <a:gd name="connsiteX9" fmla="*/ 22914 w 86802"/>
                <a:gd name="connsiteY9" fmla="*/ 55341 h 106884"/>
                <a:gd name="connsiteX10" fmla="*/ 28760 w 86802"/>
                <a:gd name="connsiteY10" fmla="*/ 77768 h 106884"/>
                <a:gd name="connsiteX11" fmla="*/ 32291 w 86802"/>
                <a:gd name="connsiteY11" fmla="*/ 106546 h 106884"/>
                <a:gd name="connsiteX12" fmla="*/ 70770 w 86802"/>
                <a:gd name="connsiteY12" fmla="*/ 100663 h 106884"/>
                <a:gd name="connsiteX13" fmla="*/ 59932 w 86802"/>
                <a:gd name="connsiteY13" fmla="*/ 67473 h 106884"/>
                <a:gd name="connsiteX14" fmla="*/ 59932 w 86802"/>
                <a:gd name="connsiteY14" fmla="*/ 67674 h 10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802" h="106884">
                  <a:moveTo>
                    <a:pt x="59932" y="67674"/>
                  </a:moveTo>
                  <a:cubicBezTo>
                    <a:pt x="61759" y="57948"/>
                    <a:pt x="78035" y="51731"/>
                    <a:pt x="83840" y="42974"/>
                  </a:cubicBezTo>
                  <a:cubicBezTo>
                    <a:pt x="90456" y="32947"/>
                    <a:pt x="84124" y="19009"/>
                    <a:pt x="80999" y="9049"/>
                  </a:cubicBezTo>
                  <a:cubicBezTo>
                    <a:pt x="70851" y="12926"/>
                    <a:pt x="68822" y="5439"/>
                    <a:pt x="65980" y="2632"/>
                  </a:cubicBezTo>
                  <a:cubicBezTo>
                    <a:pt x="54737" y="-7596"/>
                    <a:pt x="52139" y="11823"/>
                    <a:pt x="51530" y="12425"/>
                  </a:cubicBezTo>
                  <a:cubicBezTo>
                    <a:pt x="46010" y="17773"/>
                    <a:pt x="34117" y="19109"/>
                    <a:pt x="24660" y="19845"/>
                  </a:cubicBezTo>
                  <a:cubicBezTo>
                    <a:pt x="14187" y="20513"/>
                    <a:pt x="10088" y="27566"/>
                    <a:pt x="-60" y="27532"/>
                  </a:cubicBezTo>
                  <a:cubicBezTo>
                    <a:pt x="671" y="32546"/>
                    <a:pt x="1077" y="38495"/>
                    <a:pt x="9560" y="40902"/>
                  </a:cubicBezTo>
                  <a:cubicBezTo>
                    <a:pt x="13619" y="42071"/>
                    <a:pt x="18977" y="42907"/>
                    <a:pt x="21413" y="45314"/>
                  </a:cubicBezTo>
                  <a:cubicBezTo>
                    <a:pt x="24497" y="48355"/>
                    <a:pt x="18409" y="53068"/>
                    <a:pt x="22914" y="55341"/>
                  </a:cubicBezTo>
                  <a:cubicBezTo>
                    <a:pt x="30667" y="59585"/>
                    <a:pt x="27907" y="72052"/>
                    <a:pt x="28760" y="77768"/>
                  </a:cubicBezTo>
                  <a:cubicBezTo>
                    <a:pt x="30261" y="87327"/>
                    <a:pt x="31235" y="96953"/>
                    <a:pt x="32291" y="106546"/>
                  </a:cubicBezTo>
                  <a:cubicBezTo>
                    <a:pt x="36837" y="105844"/>
                    <a:pt x="69796" y="99861"/>
                    <a:pt x="70770" y="100663"/>
                  </a:cubicBezTo>
                  <a:cubicBezTo>
                    <a:pt x="63910" y="89232"/>
                    <a:pt x="57538" y="80341"/>
                    <a:pt x="59932" y="67473"/>
                  </a:cubicBezTo>
                  <a:cubicBezTo>
                    <a:pt x="61515" y="59285"/>
                    <a:pt x="58390" y="76030"/>
                    <a:pt x="59932" y="676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DCFB06AF-70E4-46D1-8C48-FCF8C423E17E}"/>
                </a:ext>
              </a:extLst>
            </p:cNvPr>
            <p:cNvSpPr/>
            <p:nvPr/>
          </p:nvSpPr>
          <p:spPr>
            <a:xfrm>
              <a:off x="5800993" y="4663223"/>
              <a:ext cx="57799" cy="87998"/>
            </a:xfrm>
            <a:custGeom>
              <a:avLst/>
              <a:gdLst>
                <a:gd name="connsiteX0" fmla="*/ 48486 w 57799"/>
                <a:gd name="connsiteY0" fmla="*/ 29603 h 87998"/>
                <a:gd name="connsiteX1" fmla="*/ 46984 w 57799"/>
                <a:gd name="connsiteY1" fmla="*/ 19576 h 87998"/>
                <a:gd name="connsiteX2" fmla="*/ 32534 w 57799"/>
                <a:gd name="connsiteY2" fmla="*/ 14261 h 87998"/>
                <a:gd name="connsiteX3" fmla="*/ 26324 w 57799"/>
                <a:gd name="connsiteY3" fmla="*/ 6039 h 87998"/>
                <a:gd name="connsiteX4" fmla="*/ -60 w 57799"/>
                <a:gd name="connsiteY4" fmla="*/ 825 h 87998"/>
                <a:gd name="connsiteX5" fmla="*/ 13619 w 57799"/>
                <a:gd name="connsiteY5" fmla="*/ 17738 h 87998"/>
                <a:gd name="connsiteX6" fmla="*/ 13619 w 57799"/>
                <a:gd name="connsiteY6" fmla="*/ 39129 h 87998"/>
                <a:gd name="connsiteX7" fmla="*/ 24091 w 57799"/>
                <a:gd name="connsiteY7" fmla="*/ 63194 h 87998"/>
                <a:gd name="connsiteX8" fmla="*/ 36268 w 57799"/>
                <a:gd name="connsiteY8" fmla="*/ 87660 h 87998"/>
                <a:gd name="connsiteX9" fmla="*/ 57740 w 57799"/>
                <a:gd name="connsiteY9" fmla="*/ 80975 h 87998"/>
                <a:gd name="connsiteX10" fmla="*/ 55711 w 57799"/>
                <a:gd name="connsiteY10" fmla="*/ 63394 h 87998"/>
                <a:gd name="connsiteX11" fmla="*/ 48364 w 57799"/>
                <a:gd name="connsiteY11" fmla="*/ 29770 h 87998"/>
                <a:gd name="connsiteX12" fmla="*/ 48486 w 57799"/>
                <a:gd name="connsiteY12" fmla="*/ 29603 h 8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799" h="87998">
                  <a:moveTo>
                    <a:pt x="48486" y="29603"/>
                  </a:moveTo>
                  <a:cubicBezTo>
                    <a:pt x="43980" y="27196"/>
                    <a:pt x="50069" y="22484"/>
                    <a:pt x="46984" y="19576"/>
                  </a:cubicBezTo>
                  <a:cubicBezTo>
                    <a:pt x="43899" y="16668"/>
                    <a:pt x="36999" y="16233"/>
                    <a:pt x="32534" y="14261"/>
                  </a:cubicBezTo>
                  <a:cubicBezTo>
                    <a:pt x="28962" y="12530"/>
                    <a:pt x="26608" y="9455"/>
                    <a:pt x="26324" y="6039"/>
                  </a:cubicBezTo>
                  <a:cubicBezTo>
                    <a:pt x="25106" y="1026"/>
                    <a:pt x="9479" y="-2183"/>
                    <a:pt x="-60" y="825"/>
                  </a:cubicBezTo>
                  <a:cubicBezTo>
                    <a:pt x="2376" y="7777"/>
                    <a:pt x="11712" y="11588"/>
                    <a:pt x="13619" y="17738"/>
                  </a:cubicBezTo>
                  <a:cubicBezTo>
                    <a:pt x="15771" y="24623"/>
                    <a:pt x="12604" y="32143"/>
                    <a:pt x="13619" y="39129"/>
                  </a:cubicBezTo>
                  <a:cubicBezTo>
                    <a:pt x="14918" y="47418"/>
                    <a:pt x="22305" y="54838"/>
                    <a:pt x="24091" y="63194"/>
                  </a:cubicBezTo>
                  <a:cubicBezTo>
                    <a:pt x="25431" y="72098"/>
                    <a:pt x="29611" y="80547"/>
                    <a:pt x="36268" y="87660"/>
                  </a:cubicBezTo>
                  <a:cubicBezTo>
                    <a:pt x="43047" y="84661"/>
                    <a:pt x="50272" y="82412"/>
                    <a:pt x="57740" y="80975"/>
                  </a:cubicBezTo>
                  <a:cubicBezTo>
                    <a:pt x="57091" y="75126"/>
                    <a:pt x="56441" y="69243"/>
                    <a:pt x="55711" y="63394"/>
                  </a:cubicBezTo>
                  <a:cubicBezTo>
                    <a:pt x="54737" y="55372"/>
                    <a:pt x="58309" y="35218"/>
                    <a:pt x="48364" y="29770"/>
                  </a:cubicBezTo>
                  <a:cubicBezTo>
                    <a:pt x="43209" y="26762"/>
                    <a:pt x="53722" y="32477"/>
                    <a:pt x="48486" y="2960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7FB9EEC9-562C-4E5B-98CF-1104973D1DAC}"/>
                </a:ext>
              </a:extLst>
            </p:cNvPr>
            <p:cNvSpPr/>
            <p:nvPr/>
          </p:nvSpPr>
          <p:spPr>
            <a:xfrm>
              <a:off x="6057146" y="4623042"/>
              <a:ext cx="208169" cy="196998"/>
            </a:xfrm>
            <a:custGeom>
              <a:avLst/>
              <a:gdLst>
                <a:gd name="connsiteX0" fmla="*/ 85879 w 208169"/>
                <a:gd name="connsiteY0" fmla="*/ 186098 h 196998"/>
                <a:gd name="connsiteX1" fmla="*/ 200625 w 208169"/>
                <a:gd name="connsiteY1" fmla="*/ 196660 h 196998"/>
                <a:gd name="connsiteX2" fmla="*/ 202980 w 208169"/>
                <a:gd name="connsiteY2" fmla="*/ 189307 h 196998"/>
                <a:gd name="connsiteX3" fmla="*/ 205050 w 208169"/>
                <a:gd name="connsiteY3" fmla="*/ 185296 h 196998"/>
                <a:gd name="connsiteX4" fmla="*/ 203183 w 208169"/>
                <a:gd name="connsiteY4" fmla="*/ 178611 h 196998"/>
                <a:gd name="connsiteX5" fmla="*/ 179722 w 208169"/>
                <a:gd name="connsiteY5" fmla="*/ 162334 h 196998"/>
                <a:gd name="connsiteX6" fmla="*/ 179073 w 208169"/>
                <a:gd name="connsiteY6" fmla="*/ 158190 h 196998"/>
                <a:gd name="connsiteX7" fmla="*/ 168763 w 208169"/>
                <a:gd name="connsiteY7" fmla="*/ 145021 h 196998"/>
                <a:gd name="connsiteX8" fmla="*/ 164704 w 208169"/>
                <a:gd name="connsiteY8" fmla="*/ 121190 h 196998"/>
                <a:gd name="connsiteX9" fmla="*/ 192548 w 208169"/>
                <a:gd name="connsiteY9" fmla="*/ 96322 h 196998"/>
                <a:gd name="connsiteX10" fmla="*/ 167058 w 208169"/>
                <a:gd name="connsiteY10" fmla="*/ 72257 h 196998"/>
                <a:gd name="connsiteX11" fmla="*/ 155693 w 208169"/>
                <a:gd name="connsiteY11" fmla="*/ 55546 h 196998"/>
                <a:gd name="connsiteX12" fmla="*/ 192224 w 208169"/>
                <a:gd name="connsiteY12" fmla="*/ 53808 h 196998"/>
                <a:gd name="connsiteX13" fmla="*/ 182076 w 208169"/>
                <a:gd name="connsiteY13" fmla="*/ 42611 h 196998"/>
                <a:gd name="connsiteX14" fmla="*/ 178382 w 208169"/>
                <a:gd name="connsiteY14" fmla="*/ 23827 h 196998"/>
                <a:gd name="connsiteX15" fmla="*/ 156667 w 208169"/>
                <a:gd name="connsiteY15" fmla="*/ -339 h 196998"/>
                <a:gd name="connsiteX16" fmla="*/ 166652 w 208169"/>
                <a:gd name="connsiteY16" fmla="*/ 16039 h 196998"/>
                <a:gd name="connsiteX17" fmla="*/ 157885 w 208169"/>
                <a:gd name="connsiteY17" fmla="*/ 30545 h 196998"/>
                <a:gd name="connsiteX18" fmla="*/ 133531 w 208169"/>
                <a:gd name="connsiteY18" fmla="*/ 53172 h 196998"/>
                <a:gd name="connsiteX19" fmla="*/ 123180 w 208169"/>
                <a:gd name="connsiteY19" fmla="*/ 70586 h 196998"/>
                <a:gd name="connsiteX20" fmla="*/ 108974 w 208169"/>
                <a:gd name="connsiteY20" fmla="*/ 82151 h 196998"/>
                <a:gd name="connsiteX21" fmla="*/ 78004 w 208169"/>
                <a:gd name="connsiteY21" fmla="*/ 116009 h 196998"/>
                <a:gd name="connsiteX22" fmla="*/ 69886 w 208169"/>
                <a:gd name="connsiteY22" fmla="*/ 108355 h 196998"/>
                <a:gd name="connsiteX23" fmla="*/ 49591 w 208169"/>
                <a:gd name="connsiteY23" fmla="*/ 107118 h 196998"/>
                <a:gd name="connsiteX24" fmla="*/ 23086 w 208169"/>
                <a:gd name="connsiteY24" fmla="*/ 115775 h 196998"/>
                <a:gd name="connsiteX25" fmla="*/ 6120 w 208169"/>
                <a:gd name="connsiteY25" fmla="*/ 126738 h 196998"/>
                <a:gd name="connsiteX26" fmla="*/ 883 w 208169"/>
                <a:gd name="connsiteY26" fmla="*/ 139673 h 196998"/>
                <a:gd name="connsiteX27" fmla="*/ 10179 w 208169"/>
                <a:gd name="connsiteY27" fmla="*/ 153778 h 196998"/>
                <a:gd name="connsiteX28" fmla="*/ 38591 w 208169"/>
                <a:gd name="connsiteY28" fmla="*/ 164072 h 196998"/>
                <a:gd name="connsiteX29" fmla="*/ 35020 w 208169"/>
                <a:gd name="connsiteY29" fmla="*/ 188204 h 196998"/>
                <a:gd name="connsiteX30" fmla="*/ 85879 w 208169"/>
                <a:gd name="connsiteY30" fmla="*/ 186098 h 19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8169" h="196998">
                  <a:moveTo>
                    <a:pt x="85879" y="186098"/>
                  </a:moveTo>
                  <a:cubicBezTo>
                    <a:pt x="126143" y="187468"/>
                    <a:pt x="164095" y="185095"/>
                    <a:pt x="200625" y="196660"/>
                  </a:cubicBezTo>
                  <a:cubicBezTo>
                    <a:pt x="201153" y="194157"/>
                    <a:pt x="201925" y="191697"/>
                    <a:pt x="202980" y="189307"/>
                  </a:cubicBezTo>
                  <a:lnTo>
                    <a:pt x="205050" y="185296"/>
                  </a:lnTo>
                  <a:cubicBezTo>
                    <a:pt x="209637" y="182555"/>
                    <a:pt x="209109" y="180349"/>
                    <a:pt x="203183" y="178611"/>
                  </a:cubicBezTo>
                  <a:cubicBezTo>
                    <a:pt x="200625" y="172796"/>
                    <a:pt x="184917" y="167949"/>
                    <a:pt x="179722" y="162334"/>
                  </a:cubicBezTo>
                  <a:cubicBezTo>
                    <a:pt x="178586" y="161097"/>
                    <a:pt x="179316" y="159560"/>
                    <a:pt x="179073" y="158190"/>
                  </a:cubicBezTo>
                  <a:cubicBezTo>
                    <a:pt x="178139" y="152975"/>
                    <a:pt x="171685" y="149700"/>
                    <a:pt x="168763" y="145021"/>
                  </a:cubicBezTo>
                  <a:cubicBezTo>
                    <a:pt x="165840" y="140341"/>
                    <a:pt x="160929" y="125835"/>
                    <a:pt x="164704" y="121190"/>
                  </a:cubicBezTo>
                  <a:cubicBezTo>
                    <a:pt x="171685" y="111330"/>
                    <a:pt x="181183" y="102843"/>
                    <a:pt x="192548" y="96322"/>
                  </a:cubicBezTo>
                  <a:cubicBezTo>
                    <a:pt x="182685" y="86897"/>
                    <a:pt x="182401" y="79611"/>
                    <a:pt x="167058" y="72257"/>
                  </a:cubicBezTo>
                  <a:cubicBezTo>
                    <a:pt x="163364" y="70453"/>
                    <a:pt x="144003" y="59122"/>
                    <a:pt x="155693" y="55546"/>
                  </a:cubicBezTo>
                  <a:cubicBezTo>
                    <a:pt x="161335" y="53808"/>
                    <a:pt x="190965" y="57250"/>
                    <a:pt x="192224" y="53808"/>
                  </a:cubicBezTo>
                  <a:cubicBezTo>
                    <a:pt x="192548" y="52905"/>
                    <a:pt x="182928" y="44182"/>
                    <a:pt x="182076" y="42611"/>
                  </a:cubicBezTo>
                  <a:cubicBezTo>
                    <a:pt x="178788" y="36294"/>
                    <a:pt x="180858" y="30077"/>
                    <a:pt x="178382" y="23827"/>
                  </a:cubicBezTo>
                  <a:cubicBezTo>
                    <a:pt x="175135" y="15671"/>
                    <a:pt x="175460" y="1332"/>
                    <a:pt x="156667" y="-339"/>
                  </a:cubicBezTo>
                  <a:cubicBezTo>
                    <a:pt x="153826" y="6346"/>
                    <a:pt x="153258" y="13231"/>
                    <a:pt x="166652" y="16039"/>
                  </a:cubicBezTo>
                  <a:cubicBezTo>
                    <a:pt x="178220" y="18412"/>
                    <a:pt x="166003" y="29609"/>
                    <a:pt x="157885" y="30545"/>
                  </a:cubicBezTo>
                  <a:cubicBezTo>
                    <a:pt x="143678" y="32183"/>
                    <a:pt x="135317" y="45753"/>
                    <a:pt x="133531" y="53172"/>
                  </a:cubicBezTo>
                  <a:cubicBezTo>
                    <a:pt x="131745" y="60593"/>
                    <a:pt x="123262" y="62966"/>
                    <a:pt x="123180" y="70586"/>
                  </a:cubicBezTo>
                  <a:cubicBezTo>
                    <a:pt x="123180" y="73929"/>
                    <a:pt x="111003" y="78107"/>
                    <a:pt x="108974" y="82151"/>
                  </a:cubicBezTo>
                  <a:cubicBezTo>
                    <a:pt x="106701" y="86864"/>
                    <a:pt x="86284" y="115574"/>
                    <a:pt x="78004" y="116009"/>
                  </a:cubicBezTo>
                  <a:cubicBezTo>
                    <a:pt x="77517" y="116009"/>
                    <a:pt x="70941" y="108890"/>
                    <a:pt x="69886" y="108355"/>
                  </a:cubicBezTo>
                  <a:cubicBezTo>
                    <a:pt x="61525" y="103642"/>
                    <a:pt x="58724" y="106383"/>
                    <a:pt x="49591" y="107118"/>
                  </a:cubicBezTo>
                  <a:cubicBezTo>
                    <a:pt x="35872" y="108221"/>
                    <a:pt x="33355" y="109625"/>
                    <a:pt x="23086" y="115775"/>
                  </a:cubicBezTo>
                  <a:cubicBezTo>
                    <a:pt x="19027" y="118215"/>
                    <a:pt x="7134" y="123161"/>
                    <a:pt x="6120" y="126738"/>
                  </a:cubicBezTo>
                  <a:cubicBezTo>
                    <a:pt x="4821" y="131163"/>
                    <a:pt x="3075" y="135492"/>
                    <a:pt x="883" y="139673"/>
                  </a:cubicBezTo>
                  <a:cubicBezTo>
                    <a:pt x="-2445" y="146123"/>
                    <a:pt x="3603" y="148263"/>
                    <a:pt x="10179" y="153778"/>
                  </a:cubicBezTo>
                  <a:cubicBezTo>
                    <a:pt x="19636" y="161799"/>
                    <a:pt x="32503" y="151271"/>
                    <a:pt x="38591" y="164072"/>
                  </a:cubicBezTo>
                  <a:cubicBezTo>
                    <a:pt x="42245" y="172060"/>
                    <a:pt x="29661" y="181653"/>
                    <a:pt x="35020" y="188204"/>
                  </a:cubicBezTo>
                  <a:cubicBezTo>
                    <a:pt x="41189" y="192348"/>
                    <a:pt x="76421" y="187803"/>
                    <a:pt x="85879" y="18609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1409D406-74F6-44C3-89EC-9301754B1DF2}"/>
                </a:ext>
              </a:extLst>
            </p:cNvPr>
            <p:cNvSpPr/>
            <p:nvPr/>
          </p:nvSpPr>
          <p:spPr>
            <a:xfrm>
              <a:off x="5565001" y="4681453"/>
              <a:ext cx="170453" cy="108306"/>
            </a:xfrm>
            <a:custGeom>
              <a:avLst/>
              <a:gdLst>
                <a:gd name="connsiteX0" fmla="*/ 163804 w 170453"/>
                <a:gd name="connsiteY0" fmla="*/ 82566 h 108306"/>
                <a:gd name="connsiteX1" fmla="*/ 168391 w 170453"/>
                <a:gd name="connsiteY1" fmla="*/ 38112 h 108306"/>
                <a:gd name="connsiteX2" fmla="*/ 160801 w 170453"/>
                <a:gd name="connsiteY2" fmla="*/ 12911 h 108306"/>
                <a:gd name="connsiteX3" fmla="*/ 122606 w 170453"/>
                <a:gd name="connsiteY3" fmla="*/ 10137 h 108306"/>
                <a:gd name="connsiteX4" fmla="*/ 92529 w 170453"/>
                <a:gd name="connsiteY4" fmla="*/ 6594 h 108306"/>
                <a:gd name="connsiteX5" fmla="*/ 59732 w 170453"/>
                <a:gd name="connsiteY5" fmla="*/ 4655 h 108306"/>
                <a:gd name="connsiteX6" fmla="*/ 37976 w 170453"/>
                <a:gd name="connsiteY6" fmla="*/ 9201 h 108306"/>
                <a:gd name="connsiteX7" fmla="*/ 21537 w 170453"/>
                <a:gd name="connsiteY7" fmla="*/ 5859 h 108306"/>
                <a:gd name="connsiteX8" fmla="*/ 4774 w 170453"/>
                <a:gd name="connsiteY8" fmla="*/ 9936 h 108306"/>
                <a:gd name="connsiteX9" fmla="*/ 17478 w 170453"/>
                <a:gd name="connsiteY9" fmla="*/ 37110 h 108306"/>
                <a:gd name="connsiteX10" fmla="*/ 7493 w 170453"/>
                <a:gd name="connsiteY10" fmla="*/ 41756 h 108306"/>
                <a:gd name="connsiteX11" fmla="*/ 5504 w 170453"/>
                <a:gd name="connsiteY11" fmla="*/ 55426 h 108306"/>
                <a:gd name="connsiteX12" fmla="*/ 2176 w 170453"/>
                <a:gd name="connsiteY12" fmla="*/ 70868 h 108306"/>
                <a:gd name="connsiteX13" fmla="*/ 9158 w 170453"/>
                <a:gd name="connsiteY13" fmla="*/ 80226 h 108306"/>
                <a:gd name="connsiteX14" fmla="*/ 31685 w 170453"/>
                <a:gd name="connsiteY14" fmla="*/ 88950 h 108306"/>
                <a:gd name="connsiteX15" fmla="*/ 25677 w 170453"/>
                <a:gd name="connsiteY15" fmla="*/ 107968 h 108306"/>
                <a:gd name="connsiteX16" fmla="*/ 82828 w 170453"/>
                <a:gd name="connsiteY16" fmla="*/ 96737 h 108306"/>
                <a:gd name="connsiteX17" fmla="*/ 164008 w 170453"/>
                <a:gd name="connsiteY17" fmla="*/ 91055 h 108306"/>
                <a:gd name="connsiteX18" fmla="*/ 164008 w 170453"/>
                <a:gd name="connsiteY18" fmla="*/ 82666 h 10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0453" h="108306">
                  <a:moveTo>
                    <a:pt x="163804" y="82566"/>
                  </a:moveTo>
                  <a:cubicBezTo>
                    <a:pt x="144159" y="68695"/>
                    <a:pt x="153251" y="52217"/>
                    <a:pt x="168391" y="38112"/>
                  </a:cubicBezTo>
                  <a:cubicBezTo>
                    <a:pt x="174723" y="32196"/>
                    <a:pt x="164332" y="18259"/>
                    <a:pt x="160801" y="12911"/>
                  </a:cubicBezTo>
                  <a:cubicBezTo>
                    <a:pt x="155118" y="4522"/>
                    <a:pt x="134214" y="5391"/>
                    <a:pt x="122606" y="10137"/>
                  </a:cubicBezTo>
                  <a:cubicBezTo>
                    <a:pt x="110997" y="14883"/>
                    <a:pt x="101174" y="13981"/>
                    <a:pt x="92529" y="6594"/>
                  </a:cubicBezTo>
                  <a:cubicBezTo>
                    <a:pt x="85060" y="177"/>
                    <a:pt x="60057" y="5357"/>
                    <a:pt x="59732" y="4655"/>
                  </a:cubicBezTo>
                  <a:cubicBezTo>
                    <a:pt x="53968" y="-7477"/>
                    <a:pt x="47028" y="5892"/>
                    <a:pt x="37976" y="9201"/>
                  </a:cubicBezTo>
                  <a:cubicBezTo>
                    <a:pt x="29858" y="12176"/>
                    <a:pt x="27951" y="7196"/>
                    <a:pt x="21537" y="5859"/>
                  </a:cubicBezTo>
                  <a:cubicBezTo>
                    <a:pt x="13095" y="3987"/>
                    <a:pt x="14313" y="13312"/>
                    <a:pt x="4774" y="9936"/>
                  </a:cubicBezTo>
                  <a:cubicBezTo>
                    <a:pt x="1892" y="20465"/>
                    <a:pt x="8833" y="28587"/>
                    <a:pt x="17478" y="37110"/>
                  </a:cubicBezTo>
                  <a:cubicBezTo>
                    <a:pt x="23486" y="43193"/>
                    <a:pt x="12283" y="41054"/>
                    <a:pt x="7493" y="41756"/>
                  </a:cubicBezTo>
                  <a:cubicBezTo>
                    <a:pt x="593" y="42691"/>
                    <a:pt x="11187" y="51783"/>
                    <a:pt x="5504" y="55426"/>
                  </a:cubicBezTo>
                  <a:cubicBezTo>
                    <a:pt x="-2248" y="60306"/>
                    <a:pt x="2947" y="65085"/>
                    <a:pt x="2176" y="70868"/>
                  </a:cubicBezTo>
                  <a:cubicBezTo>
                    <a:pt x="1162" y="78655"/>
                    <a:pt x="-5089" y="75881"/>
                    <a:pt x="9158" y="80226"/>
                  </a:cubicBezTo>
                  <a:cubicBezTo>
                    <a:pt x="16463" y="82432"/>
                    <a:pt x="27869" y="84137"/>
                    <a:pt x="31685" y="88950"/>
                  </a:cubicBezTo>
                  <a:cubicBezTo>
                    <a:pt x="35500" y="93763"/>
                    <a:pt x="26936" y="103088"/>
                    <a:pt x="25677" y="107968"/>
                  </a:cubicBezTo>
                  <a:cubicBezTo>
                    <a:pt x="44958" y="106965"/>
                    <a:pt x="64603" y="100581"/>
                    <a:pt x="82828" y="96737"/>
                  </a:cubicBezTo>
                  <a:cubicBezTo>
                    <a:pt x="109658" y="91156"/>
                    <a:pt x="136203" y="87646"/>
                    <a:pt x="164008" y="91055"/>
                  </a:cubicBezTo>
                  <a:cubicBezTo>
                    <a:pt x="165671" y="88425"/>
                    <a:pt x="165671" y="85297"/>
                    <a:pt x="164008" y="8266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43030F28-DC9F-4502-A625-042B97919DD5}"/>
                </a:ext>
              </a:extLst>
            </p:cNvPr>
            <p:cNvSpPr/>
            <p:nvPr/>
          </p:nvSpPr>
          <p:spPr>
            <a:xfrm>
              <a:off x="5715378" y="4664254"/>
              <a:ext cx="122064" cy="110842"/>
            </a:xfrm>
            <a:custGeom>
              <a:avLst/>
              <a:gdLst>
                <a:gd name="connsiteX0" fmla="*/ 101588 w 122064"/>
                <a:gd name="connsiteY0" fmla="*/ 44115 h 110842"/>
                <a:gd name="connsiteX1" fmla="*/ 99640 w 122064"/>
                <a:gd name="connsiteY1" fmla="*/ 20350 h 110842"/>
                <a:gd name="connsiteX2" fmla="*/ 85556 w 122064"/>
                <a:gd name="connsiteY2" fmla="*/ -339 h 110842"/>
                <a:gd name="connsiteX3" fmla="*/ 75530 w 122064"/>
                <a:gd name="connsiteY3" fmla="*/ 3505 h 110842"/>
                <a:gd name="connsiteX4" fmla="*/ 57143 w 122064"/>
                <a:gd name="connsiteY4" fmla="*/ 2870 h 110842"/>
                <a:gd name="connsiteX5" fmla="*/ 10546 w 122064"/>
                <a:gd name="connsiteY5" fmla="*/ 5009 h 110842"/>
                <a:gd name="connsiteX6" fmla="*/ 19638 w 122064"/>
                <a:gd name="connsiteY6" fmla="*/ 52504 h 110842"/>
                <a:gd name="connsiteX7" fmla="*/ 9247 w 122064"/>
                <a:gd name="connsiteY7" fmla="*/ 66943 h 110842"/>
                <a:gd name="connsiteX8" fmla="*/ -8 w 122064"/>
                <a:gd name="connsiteY8" fmla="*/ 81482 h 110842"/>
                <a:gd name="connsiteX9" fmla="*/ 8922 w 122064"/>
                <a:gd name="connsiteY9" fmla="*/ 95420 h 110842"/>
                <a:gd name="connsiteX10" fmla="*/ 21464 w 122064"/>
                <a:gd name="connsiteY10" fmla="*/ 109257 h 110842"/>
                <a:gd name="connsiteX11" fmla="*/ 64571 w 122064"/>
                <a:gd name="connsiteY11" fmla="*/ 104177 h 110842"/>
                <a:gd name="connsiteX12" fmla="*/ 122005 w 122064"/>
                <a:gd name="connsiteY12" fmla="*/ 86496 h 110842"/>
                <a:gd name="connsiteX13" fmla="*/ 101710 w 122064"/>
                <a:gd name="connsiteY13" fmla="*/ 44115 h 11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064" h="110842">
                  <a:moveTo>
                    <a:pt x="101588" y="44115"/>
                  </a:moveTo>
                  <a:cubicBezTo>
                    <a:pt x="96353" y="37129"/>
                    <a:pt x="99194" y="27804"/>
                    <a:pt x="99640" y="20350"/>
                  </a:cubicBezTo>
                  <a:cubicBezTo>
                    <a:pt x="100087" y="12897"/>
                    <a:pt x="88316" y="7416"/>
                    <a:pt x="85556" y="-339"/>
                  </a:cubicBezTo>
                  <a:cubicBezTo>
                    <a:pt x="78696" y="1767"/>
                    <a:pt x="82917" y="4407"/>
                    <a:pt x="75530" y="3505"/>
                  </a:cubicBezTo>
                  <a:cubicBezTo>
                    <a:pt x="69442" y="2940"/>
                    <a:pt x="63272" y="2730"/>
                    <a:pt x="57143" y="2870"/>
                  </a:cubicBezTo>
                  <a:cubicBezTo>
                    <a:pt x="41557" y="2529"/>
                    <a:pt x="25970" y="3244"/>
                    <a:pt x="10546" y="5009"/>
                  </a:cubicBezTo>
                  <a:cubicBezTo>
                    <a:pt x="-2605" y="6814"/>
                    <a:pt x="19192" y="45585"/>
                    <a:pt x="19638" y="52504"/>
                  </a:cubicBezTo>
                  <a:cubicBezTo>
                    <a:pt x="19881" y="56281"/>
                    <a:pt x="10830" y="62531"/>
                    <a:pt x="9247" y="66943"/>
                  </a:cubicBezTo>
                  <a:cubicBezTo>
                    <a:pt x="7420" y="71856"/>
                    <a:pt x="682" y="76536"/>
                    <a:pt x="-8" y="81482"/>
                  </a:cubicBezTo>
                  <a:cubicBezTo>
                    <a:pt x="-698" y="86429"/>
                    <a:pt x="5675" y="91743"/>
                    <a:pt x="8922" y="95420"/>
                  </a:cubicBezTo>
                  <a:cubicBezTo>
                    <a:pt x="14320" y="101503"/>
                    <a:pt x="11114" y="107586"/>
                    <a:pt x="21464" y="109257"/>
                  </a:cubicBezTo>
                  <a:cubicBezTo>
                    <a:pt x="39730" y="112232"/>
                    <a:pt x="46955" y="109625"/>
                    <a:pt x="64571" y="104177"/>
                  </a:cubicBezTo>
                  <a:cubicBezTo>
                    <a:pt x="83445" y="98294"/>
                    <a:pt x="103821" y="92980"/>
                    <a:pt x="122005" y="86496"/>
                  </a:cubicBezTo>
                  <a:cubicBezTo>
                    <a:pt x="109301" y="73126"/>
                    <a:pt x="111980" y="57952"/>
                    <a:pt x="101710" y="4411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3A7F2ECC-066E-49ED-A67F-94ABC2729259}"/>
                </a:ext>
              </a:extLst>
            </p:cNvPr>
            <p:cNvSpPr/>
            <p:nvPr/>
          </p:nvSpPr>
          <p:spPr>
            <a:xfrm>
              <a:off x="5363720" y="4655981"/>
              <a:ext cx="220179" cy="90441"/>
            </a:xfrm>
            <a:custGeom>
              <a:avLst/>
              <a:gdLst>
                <a:gd name="connsiteX0" fmla="*/ 75924 w 220179"/>
                <a:gd name="connsiteY0" fmla="*/ 54159 h 90441"/>
                <a:gd name="connsiteX1" fmla="*/ 110507 w 220179"/>
                <a:gd name="connsiteY1" fmla="*/ 46806 h 90441"/>
                <a:gd name="connsiteX2" fmla="*/ 132263 w 220179"/>
                <a:gd name="connsiteY2" fmla="*/ 57969 h 90441"/>
                <a:gd name="connsiteX3" fmla="*/ 141436 w 220179"/>
                <a:gd name="connsiteY3" fmla="*/ 72976 h 90441"/>
                <a:gd name="connsiteX4" fmla="*/ 169403 w 220179"/>
                <a:gd name="connsiteY4" fmla="*/ 75784 h 90441"/>
                <a:gd name="connsiteX5" fmla="*/ 182919 w 220179"/>
                <a:gd name="connsiteY5" fmla="*/ 89721 h 90441"/>
                <a:gd name="connsiteX6" fmla="*/ 194081 w 220179"/>
                <a:gd name="connsiteY6" fmla="*/ 81366 h 90441"/>
                <a:gd name="connsiteX7" fmla="*/ 202645 w 220179"/>
                <a:gd name="connsiteY7" fmla="*/ 84340 h 90441"/>
                <a:gd name="connsiteX8" fmla="*/ 210236 w 220179"/>
                <a:gd name="connsiteY8" fmla="*/ 76319 h 90441"/>
                <a:gd name="connsiteX9" fmla="*/ 206177 w 220179"/>
                <a:gd name="connsiteY9" fmla="*/ 68698 h 90441"/>
                <a:gd name="connsiteX10" fmla="*/ 216202 w 220179"/>
                <a:gd name="connsiteY10" fmla="*/ 60242 h 90441"/>
                <a:gd name="connsiteX11" fmla="*/ 213564 w 220179"/>
                <a:gd name="connsiteY11" fmla="*/ 53791 h 90441"/>
                <a:gd name="connsiteX12" fmla="*/ 204919 w 220179"/>
                <a:gd name="connsiteY12" fmla="*/ 47106 h 90441"/>
                <a:gd name="connsiteX13" fmla="*/ 206095 w 220179"/>
                <a:gd name="connsiteY13" fmla="*/ 35375 h 90441"/>
                <a:gd name="connsiteX14" fmla="*/ 198952 w 220179"/>
                <a:gd name="connsiteY14" fmla="*/ 27520 h 90441"/>
                <a:gd name="connsiteX15" fmla="*/ 190225 w 220179"/>
                <a:gd name="connsiteY15" fmla="*/ 23075 h 90441"/>
                <a:gd name="connsiteX16" fmla="*/ 194284 w 220179"/>
                <a:gd name="connsiteY16" fmla="*/ 17192 h 90441"/>
                <a:gd name="connsiteX17" fmla="*/ 184137 w 220179"/>
                <a:gd name="connsiteY17" fmla="*/ 12780 h 90441"/>
                <a:gd name="connsiteX18" fmla="*/ 175653 w 220179"/>
                <a:gd name="connsiteY18" fmla="*/ 2285 h 90441"/>
                <a:gd name="connsiteX19" fmla="*/ 156779 w 220179"/>
                <a:gd name="connsiteY19" fmla="*/ 6229 h 90441"/>
                <a:gd name="connsiteX20" fmla="*/ 132993 w 220179"/>
                <a:gd name="connsiteY20" fmla="*/ 7466 h 90441"/>
                <a:gd name="connsiteX21" fmla="*/ 124875 w 220179"/>
                <a:gd name="connsiteY21" fmla="*/ 11510 h 90441"/>
                <a:gd name="connsiteX22" fmla="*/ 114322 w 220179"/>
                <a:gd name="connsiteY22" fmla="*/ 12279 h 90441"/>
                <a:gd name="connsiteX23" fmla="*/ 105068 w 220179"/>
                <a:gd name="connsiteY23" fmla="*/ 5594 h 90441"/>
                <a:gd name="connsiteX24" fmla="*/ 38014 w 220179"/>
                <a:gd name="connsiteY24" fmla="*/ 5327 h 90441"/>
                <a:gd name="connsiteX25" fmla="*/ 33955 w 220179"/>
                <a:gd name="connsiteY25" fmla="*/ 19966 h 90441"/>
                <a:gd name="connsiteX26" fmla="*/ 12117 w 220179"/>
                <a:gd name="connsiteY26" fmla="*/ 30194 h 90441"/>
                <a:gd name="connsiteX27" fmla="*/ -60 w 220179"/>
                <a:gd name="connsiteY27" fmla="*/ 37547 h 90441"/>
                <a:gd name="connsiteX28" fmla="*/ 16501 w 220179"/>
                <a:gd name="connsiteY28" fmla="*/ 48042 h 90441"/>
                <a:gd name="connsiteX29" fmla="*/ 57618 w 220179"/>
                <a:gd name="connsiteY29" fmla="*/ 68564 h 90441"/>
                <a:gd name="connsiteX30" fmla="*/ 75762 w 220179"/>
                <a:gd name="connsiteY30" fmla="*/ 54192 h 90441"/>
                <a:gd name="connsiteX31" fmla="*/ 75924 w 220179"/>
                <a:gd name="connsiteY31" fmla="*/ 54159 h 9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0179" h="90441">
                  <a:moveTo>
                    <a:pt x="75924" y="54159"/>
                  </a:moveTo>
                  <a:cubicBezTo>
                    <a:pt x="75924" y="51485"/>
                    <a:pt x="105027" y="47240"/>
                    <a:pt x="110507" y="46806"/>
                  </a:cubicBezTo>
                  <a:cubicBezTo>
                    <a:pt x="118625" y="46170"/>
                    <a:pt x="128650" y="54760"/>
                    <a:pt x="132263" y="57969"/>
                  </a:cubicBezTo>
                  <a:cubicBezTo>
                    <a:pt x="136890" y="62047"/>
                    <a:pt x="138514" y="68297"/>
                    <a:pt x="141436" y="72976"/>
                  </a:cubicBezTo>
                  <a:cubicBezTo>
                    <a:pt x="155074" y="70068"/>
                    <a:pt x="163761" y="66626"/>
                    <a:pt x="169403" y="75784"/>
                  </a:cubicBezTo>
                  <a:cubicBezTo>
                    <a:pt x="171594" y="79360"/>
                    <a:pt x="170296" y="92496"/>
                    <a:pt x="182919" y="89721"/>
                  </a:cubicBezTo>
                  <a:cubicBezTo>
                    <a:pt x="188642" y="88518"/>
                    <a:pt x="189048" y="83304"/>
                    <a:pt x="194081" y="81366"/>
                  </a:cubicBezTo>
                  <a:cubicBezTo>
                    <a:pt x="194325" y="81366"/>
                    <a:pt x="202199" y="84240"/>
                    <a:pt x="202645" y="84340"/>
                  </a:cubicBezTo>
                  <a:cubicBezTo>
                    <a:pt x="204229" y="81633"/>
                    <a:pt x="211819" y="79494"/>
                    <a:pt x="210236" y="76319"/>
                  </a:cubicBezTo>
                  <a:cubicBezTo>
                    <a:pt x="208978" y="73812"/>
                    <a:pt x="203985" y="71773"/>
                    <a:pt x="206177" y="68698"/>
                  </a:cubicBezTo>
                  <a:cubicBezTo>
                    <a:pt x="209424" y="64052"/>
                    <a:pt x="228095" y="70135"/>
                    <a:pt x="216202" y="60242"/>
                  </a:cubicBezTo>
                  <a:cubicBezTo>
                    <a:pt x="212874" y="57434"/>
                    <a:pt x="214254" y="56900"/>
                    <a:pt x="213564" y="53791"/>
                  </a:cubicBezTo>
                  <a:cubicBezTo>
                    <a:pt x="212712" y="50048"/>
                    <a:pt x="206583" y="50148"/>
                    <a:pt x="204919" y="47106"/>
                  </a:cubicBezTo>
                  <a:cubicBezTo>
                    <a:pt x="203254" y="44065"/>
                    <a:pt x="204919" y="38985"/>
                    <a:pt x="206095" y="35375"/>
                  </a:cubicBezTo>
                  <a:cubicBezTo>
                    <a:pt x="200819" y="33536"/>
                    <a:pt x="200170" y="30829"/>
                    <a:pt x="198952" y="27520"/>
                  </a:cubicBezTo>
                  <a:cubicBezTo>
                    <a:pt x="197328" y="23208"/>
                    <a:pt x="192823" y="26016"/>
                    <a:pt x="190225" y="23075"/>
                  </a:cubicBezTo>
                  <a:cubicBezTo>
                    <a:pt x="187627" y="20134"/>
                    <a:pt x="195583" y="18329"/>
                    <a:pt x="194284" y="17192"/>
                  </a:cubicBezTo>
                  <a:cubicBezTo>
                    <a:pt x="192255" y="15220"/>
                    <a:pt x="186856" y="14452"/>
                    <a:pt x="184137" y="12780"/>
                  </a:cubicBezTo>
                  <a:cubicBezTo>
                    <a:pt x="180078" y="10307"/>
                    <a:pt x="179266" y="5260"/>
                    <a:pt x="175653" y="2285"/>
                  </a:cubicBezTo>
                  <a:cubicBezTo>
                    <a:pt x="168266" y="-3831"/>
                    <a:pt x="163476" y="2118"/>
                    <a:pt x="156779" y="6229"/>
                  </a:cubicBezTo>
                  <a:cubicBezTo>
                    <a:pt x="147362" y="11878"/>
                    <a:pt x="142410" y="4658"/>
                    <a:pt x="132993" y="7466"/>
                  </a:cubicBezTo>
                  <a:cubicBezTo>
                    <a:pt x="128934" y="8669"/>
                    <a:pt x="130517" y="12212"/>
                    <a:pt x="124875" y="11510"/>
                  </a:cubicBezTo>
                  <a:cubicBezTo>
                    <a:pt x="121344" y="11076"/>
                    <a:pt x="117042" y="9672"/>
                    <a:pt x="114322" y="12279"/>
                  </a:cubicBezTo>
                  <a:cubicBezTo>
                    <a:pt x="109086" y="17192"/>
                    <a:pt x="105189" y="7666"/>
                    <a:pt x="105068" y="5594"/>
                  </a:cubicBezTo>
                  <a:cubicBezTo>
                    <a:pt x="77507" y="13649"/>
                    <a:pt x="63342" y="6096"/>
                    <a:pt x="38014" y="5327"/>
                  </a:cubicBezTo>
                  <a:cubicBezTo>
                    <a:pt x="40124" y="12446"/>
                    <a:pt x="25837" y="13816"/>
                    <a:pt x="33955" y="19966"/>
                  </a:cubicBezTo>
                  <a:cubicBezTo>
                    <a:pt x="38744" y="23643"/>
                    <a:pt x="16785" y="27587"/>
                    <a:pt x="12117" y="30194"/>
                  </a:cubicBezTo>
                  <a:cubicBezTo>
                    <a:pt x="7815" y="32347"/>
                    <a:pt x="3715" y="34807"/>
                    <a:pt x="-60" y="37547"/>
                  </a:cubicBezTo>
                  <a:cubicBezTo>
                    <a:pt x="7206" y="40154"/>
                    <a:pt x="10372" y="44767"/>
                    <a:pt x="16501" y="48042"/>
                  </a:cubicBezTo>
                  <a:cubicBezTo>
                    <a:pt x="30423" y="55462"/>
                    <a:pt x="47349" y="58404"/>
                    <a:pt x="57618" y="68564"/>
                  </a:cubicBezTo>
                  <a:cubicBezTo>
                    <a:pt x="62814" y="65222"/>
                    <a:pt x="75600" y="59039"/>
                    <a:pt x="75762" y="54192"/>
                  </a:cubicBezTo>
                  <a:cubicBezTo>
                    <a:pt x="76046" y="49981"/>
                    <a:pt x="75843" y="57033"/>
                    <a:pt x="75924" y="5415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BD021212-5950-418F-BCF1-3157ABAD3711}"/>
                </a:ext>
              </a:extLst>
            </p:cNvPr>
            <p:cNvSpPr/>
            <p:nvPr/>
          </p:nvSpPr>
          <p:spPr>
            <a:xfrm>
              <a:off x="5477923" y="4725595"/>
              <a:ext cx="118376" cy="64026"/>
            </a:xfrm>
            <a:custGeom>
              <a:avLst/>
              <a:gdLst>
                <a:gd name="connsiteX0" fmla="*/ 96235 w 118376"/>
                <a:gd name="connsiteY0" fmla="*/ 35984 h 64026"/>
                <a:gd name="connsiteX1" fmla="*/ 88117 w 118376"/>
                <a:gd name="connsiteY1" fmla="*/ 19071 h 64026"/>
                <a:gd name="connsiteX2" fmla="*/ 64738 w 118376"/>
                <a:gd name="connsiteY2" fmla="*/ 20141 h 64026"/>
                <a:gd name="connsiteX3" fmla="*/ 47650 w 118376"/>
                <a:gd name="connsiteY3" fmla="*/ -315 h 64026"/>
                <a:gd name="connsiteX4" fmla="*/ 27355 w 118376"/>
                <a:gd name="connsiteY4" fmla="*/ 3362 h 64026"/>
                <a:gd name="connsiteX5" fmla="*/ 19237 w 118376"/>
                <a:gd name="connsiteY5" fmla="*/ 17266 h 64026"/>
                <a:gd name="connsiteX6" fmla="*/ 1174 w 118376"/>
                <a:gd name="connsiteY6" fmla="*/ 27628 h 64026"/>
                <a:gd name="connsiteX7" fmla="*/ 21672 w 118376"/>
                <a:gd name="connsiteY7" fmla="*/ 38356 h 64026"/>
                <a:gd name="connsiteX8" fmla="*/ 77280 w 118376"/>
                <a:gd name="connsiteY8" fmla="*/ 56505 h 64026"/>
                <a:gd name="connsiteX9" fmla="*/ 101350 w 118376"/>
                <a:gd name="connsiteY9" fmla="*/ 62756 h 64026"/>
                <a:gd name="connsiteX10" fmla="*/ 116165 w 118376"/>
                <a:gd name="connsiteY10" fmla="*/ 55269 h 64026"/>
                <a:gd name="connsiteX11" fmla="*/ 96317 w 118376"/>
                <a:gd name="connsiteY11" fmla="*/ 35984 h 64026"/>
                <a:gd name="connsiteX12" fmla="*/ 96235 w 118376"/>
                <a:gd name="connsiteY12" fmla="*/ 35984 h 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376" h="64026">
                  <a:moveTo>
                    <a:pt x="96235" y="35984"/>
                  </a:moveTo>
                  <a:cubicBezTo>
                    <a:pt x="79674" y="30937"/>
                    <a:pt x="91568" y="29867"/>
                    <a:pt x="88117" y="19071"/>
                  </a:cubicBezTo>
                  <a:cubicBezTo>
                    <a:pt x="83044" y="2928"/>
                    <a:pt x="76509" y="22046"/>
                    <a:pt x="64738" y="20141"/>
                  </a:cubicBezTo>
                  <a:cubicBezTo>
                    <a:pt x="53738" y="18403"/>
                    <a:pt x="59055" y="-1117"/>
                    <a:pt x="47650" y="-315"/>
                  </a:cubicBezTo>
                  <a:cubicBezTo>
                    <a:pt x="40790" y="471"/>
                    <a:pt x="34011" y="1701"/>
                    <a:pt x="27355" y="3362"/>
                  </a:cubicBezTo>
                  <a:cubicBezTo>
                    <a:pt x="30236" y="7908"/>
                    <a:pt x="24838" y="14091"/>
                    <a:pt x="19237" y="17266"/>
                  </a:cubicBezTo>
                  <a:cubicBezTo>
                    <a:pt x="13635" y="20441"/>
                    <a:pt x="5152" y="23316"/>
                    <a:pt x="1174" y="27628"/>
                  </a:cubicBezTo>
                  <a:cubicBezTo>
                    <a:pt x="-4914" y="34312"/>
                    <a:pt x="13067" y="35716"/>
                    <a:pt x="21672" y="38356"/>
                  </a:cubicBezTo>
                  <a:cubicBezTo>
                    <a:pt x="40465" y="44172"/>
                    <a:pt x="58203" y="50924"/>
                    <a:pt x="77280" y="56505"/>
                  </a:cubicBezTo>
                  <a:cubicBezTo>
                    <a:pt x="85114" y="58812"/>
                    <a:pt x="93069" y="61051"/>
                    <a:pt x="101350" y="62756"/>
                  </a:cubicBezTo>
                  <a:cubicBezTo>
                    <a:pt x="114866" y="65496"/>
                    <a:pt x="112471" y="61953"/>
                    <a:pt x="116165" y="55269"/>
                  </a:cubicBezTo>
                  <a:cubicBezTo>
                    <a:pt x="122943" y="43002"/>
                    <a:pt x="112999" y="41031"/>
                    <a:pt x="96317" y="35984"/>
                  </a:cubicBezTo>
                  <a:cubicBezTo>
                    <a:pt x="87062" y="33176"/>
                    <a:pt x="105449" y="38758"/>
                    <a:pt x="96235" y="3598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129B09FF-685B-473F-8777-AE32CC8DD6BD}"/>
                </a:ext>
              </a:extLst>
            </p:cNvPr>
            <p:cNvSpPr/>
            <p:nvPr/>
          </p:nvSpPr>
          <p:spPr>
            <a:xfrm>
              <a:off x="5423580" y="4703095"/>
              <a:ext cx="80456" cy="54210"/>
            </a:xfrm>
            <a:custGeom>
              <a:avLst/>
              <a:gdLst>
                <a:gd name="connsiteX0" fmla="*/ 79749 w 80456"/>
                <a:gd name="connsiteY0" fmla="*/ 34687 h 54210"/>
                <a:gd name="connsiteX1" fmla="*/ 69196 w 80456"/>
                <a:gd name="connsiteY1" fmla="*/ 8282 h 54210"/>
                <a:gd name="connsiteX2" fmla="*/ 50647 w 80456"/>
                <a:gd name="connsiteY2" fmla="*/ -308 h 54210"/>
                <a:gd name="connsiteX3" fmla="*/ 36522 w 80456"/>
                <a:gd name="connsiteY3" fmla="*/ 3034 h 54210"/>
                <a:gd name="connsiteX4" fmla="*/ 17931 w 80456"/>
                <a:gd name="connsiteY4" fmla="*/ 4271 h 54210"/>
                <a:gd name="connsiteX5" fmla="*/ 2751 w 80456"/>
                <a:gd name="connsiteY5" fmla="*/ 18242 h 54210"/>
                <a:gd name="connsiteX6" fmla="*/ 9042 w 80456"/>
                <a:gd name="connsiteY6" fmla="*/ 35255 h 54210"/>
                <a:gd name="connsiteX7" fmla="*/ 52351 w 80456"/>
                <a:gd name="connsiteY7" fmla="*/ 53872 h 54210"/>
                <a:gd name="connsiteX8" fmla="*/ 79749 w 80456"/>
                <a:gd name="connsiteY8" fmla="*/ 34586 h 54210"/>
                <a:gd name="connsiteX9" fmla="*/ 79749 w 80456"/>
                <a:gd name="connsiteY9" fmla="*/ 34687 h 54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456" h="54210">
                  <a:moveTo>
                    <a:pt x="79749" y="34687"/>
                  </a:moveTo>
                  <a:cubicBezTo>
                    <a:pt x="82063" y="24970"/>
                    <a:pt x="78086" y="14957"/>
                    <a:pt x="69196" y="8282"/>
                  </a:cubicBezTo>
                  <a:cubicBezTo>
                    <a:pt x="65746" y="5742"/>
                    <a:pt x="57466" y="-843"/>
                    <a:pt x="50647" y="-308"/>
                  </a:cubicBezTo>
                  <a:cubicBezTo>
                    <a:pt x="45857" y="508"/>
                    <a:pt x="41108" y="1624"/>
                    <a:pt x="36522" y="3034"/>
                  </a:cubicBezTo>
                  <a:cubicBezTo>
                    <a:pt x="30920" y="4405"/>
                    <a:pt x="22762" y="2366"/>
                    <a:pt x="17931" y="4271"/>
                  </a:cubicBezTo>
                  <a:cubicBezTo>
                    <a:pt x="13872" y="5942"/>
                    <a:pt x="7134" y="15435"/>
                    <a:pt x="2751" y="18242"/>
                  </a:cubicBezTo>
                  <a:cubicBezTo>
                    <a:pt x="-4555" y="22988"/>
                    <a:pt x="4131" y="30007"/>
                    <a:pt x="9042" y="35255"/>
                  </a:cubicBezTo>
                  <a:cubicBezTo>
                    <a:pt x="18134" y="45014"/>
                    <a:pt x="36115" y="49259"/>
                    <a:pt x="52351" y="53872"/>
                  </a:cubicBezTo>
                  <a:cubicBezTo>
                    <a:pt x="57466" y="46719"/>
                    <a:pt x="77964" y="41538"/>
                    <a:pt x="79749" y="34586"/>
                  </a:cubicBezTo>
                  <a:cubicBezTo>
                    <a:pt x="80602" y="31210"/>
                    <a:pt x="78857" y="38163"/>
                    <a:pt x="79749" y="346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11161687-DF8B-4A21-A932-503BA3B4A570}"/>
                </a:ext>
              </a:extLst>
            </p:cNvPr>
            <p:cNvSpPr/>
            <p:nvPr/>
          </p:nvSpPr>
          <p:spPr>
            <a:xfrm>
              <a:off x="5282134" y="4383762"/>
              <a:ext cx="242770" cy="135500"/>
            </a:xfrm>
            <a:custGeom>
              <a:avLst/>
              <a:gdLst>
                <a:gd name="connsiteX0" fmla="*/ 114282 w 242770"/>
                <a:gd name="connsiteY0" fmla="*/ 97827 h 135500"/>
                <a:gd name="connsiteX1" fmla="*/ 140422 w 242770"/>
                <a:gd name="connsiteY1" fmla="*/ 85561 h 135500"/>
                <a:gd name="connsiteX2" fmla="*/ 142776 w 242770"/>
                <a:gd name="connsiteY2" fmla="*/ 71824 h 135500"/>
                <a:gd name="connsiteX3" fmla="*/ 138717 w 242770"/>
                <a:gd name="connsiteY3" fmla="*/ 37163 h 135500"/>
                <a:gd name="connsiteX4" fmla="*/ 230247 w 242770"/>
                <a:gd name="connsiteY4" fmla="*/ 30646 h 135500"/>
                <a:gd name="connsiteX5" fmla="*/ 238690 w 242770"/>
                <a:gd name="connsiteY5" fmla="*/ 4976 h 135500"/>
                <a:gd name="connsiteX6" fmla="*/ 188967 w 242770"/>
                <a:gd name="connsiteY6" fmla="*/ 2002 h 135500"/>
                <a:gd name="connsiteX7" fmla="*/ 102876 w 242770"/>
                <a:gd name="connsiteY7" fmla="*/ 8887 h 135500"/>
                <a:gd name="connsiteX8" fmla="*/ 86356 w 242770"/>
                <a:gd name="connsiteY8" fmla="*/ 28306 h 135500"/>
                <a:gd name="connsiteX9" fmla="*/ 61678 w 242770"/>
                <a:gd name="connsiteY9" fmla="*/ 47190 h 135500"/>
                <a:gd name="connsiteX10" fmla="*/ 37324 w 242770"/>
                <a:gd name="connsiteY10" fmla="*/ 82018 h 135500"/>
                <a:gd name="connsiteX11" fmla="*/ -60 w 242770"/>
                <a:gd name="connsiteY11" fmla="*/ 135161 h 135500"/>
                <a:gd name="connsiteX12" fmla="*/ 87046 w 242770"/>
                <a:gd name="connsiteY12" fmla="*/ 127006 h 135500"/>
                <a:gd name="connsiteX13" fmla="*/ 117570 w 242770"/>
                <a:gd name="connsiteY13" fmla="*/ 124366 h 135500"/>
                <a:gd name="connsiteX14" fmla="*/ 114241 w 242770"/>
                <a:gd name="connsiteY14" fmla="*/ 97827 h 13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70" h="135500">
                  <a:moveTo>
                    <a:pt x="114282" y="97827"/>
                  </a:moveTo>
                  <a:cubicBezTo>
                    <a:pt x="113714" y="93616"/>
                    <a:pt x="135551" y="87800"/>
                    <a:pt x="140422" y="85561"/>
                  </a:cubicBezTo>
                  <a:cubicBezTo>
                    <a:pt x="146876" y="82219"/>
                    <a:pt x="143263" y="75868"/>
                    <a:pt x="142776" y="71824"/>
                  </a:cubicBezTo>
                  <a:cubicBezTo>
                    <a:pt x="141396" y="60259"/>
                    <a:pt x="139975" y="48695"/>
                    <a:pt x="138717" y="37163"/>
                  </a:cubicBezTo>
                  <a:cubicBezTo>
                    <a:pt x="169241" y="35024"/>
                    <a:pt x="199602" y="33153"/>
                    <a:pt x="230247" y="30646"/>
                  </a:cubicBezTo>
                  <a:cubicBezTo>
                    <a:pt x="250826" y="28941"/>
                    <a:pt x="240029" y="13934"/>
                    <a:pt x="238690" y="4976"/>
                  </a:cubicBezTo>
                  <a:cubicBezTo>
                    <a:pt x="227690" y="-3780"/>
                    <a:pt x="207720" y="598"/>
                    <a:pt x="188967" y="2002"/>
                  </a:cubicBezTo>
                  <a:cubicBezTo>
                    <a:pt x="160230" y="4231"/>
                    <a:pt x="131533" y="6524"/>
                    <a:pt x="102876" y="8887"/>
                  </a:cubicBezTo>
                  <a:cubicBezTo>
                    <a:pt x="93663" y="14870"/>
                    <a:pt x="92526" y="21722"/>
                    <a:pt x="86356" y="28306"/>
                  </a:cubicBezTo>
                  <a:cubicBezTo>
                    <a:pt x="80186" y="34891"/>
                    <a:pt x="69430" y="40807"/>
                    <a:pt x="61678" y="47190"/>
                  </a:cubicBezTo>
                  <a:cubicBezTo>
                    <a:pt x="49257" y="57452"/>
                    <a:pt x="48120" y="70754"/>
                    <a:pt x="37324" y="82018"/>
                  </a:cubicBezTo>
                  <a:cubicBezTo>
                    <a:pt x="22265" y="97961"/>
                    <a:pt x="144" y="117046"/>
                    <a:pt x="-60" y="135161"/>
                  </a:cubicBezTo>
                  <a:cubicBezTo>
                    <a:pt x="28962" y="132287"/>
                    <a:pt x="58025" y="129570"/>
                    <a:pt x="87046" y="127006"/>
                  </a:cubicBezTo>
                  <a:cubicBezTo>
                    <a:pt x="91754" y="126571"/>
                    <a:pt x="114160" y="126538"/>
                    <a:pt x="117570" y="124366"/>
                  </a:cubicBezTo>
                  <a:cubicBezTo>
                    <a:pt x="122116" y="121424"/>
                    <a:pt x="114769" y="102072"/>
                    <a:pt x="114241" y="9782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3D7D16EA-DC61-4323-9296-EA2DE70D43E1}"/>
                </a:ext>
              </a:extLst>
            </p:cNvPr>
            <p:cNvSpPr/>
            <p:nvPr/>
          </p:nvSpPr>
          <p:spPr>
            <a:xfrm>
              <a:off x="5282418" y="4389077"/>
              <a:ext cx="356516" cy="233063"/>
            </a:xfrm>
            <a:custGeom>
              <a:avLst/>
              <a:gdLst>
                <a:gd name="connsiteX0" fmla="*/ 38744 w 356516"/>
                <a:gd name="connsiteY0" fmla="*/ 213004 h 233063"/>
                <a:gd name="connsiteX1" fmla="*/ 88142 w 356516"/>
                <a:gd name="connsiteY1" fmla="*/ 207222 h 233063"/>
                <a:gd name="connsiteX2" fmla="*/ 108437 w 356516"/>
                <a:gd name="connsiteY2" fmla="*/ 213907 h 233063"/>
                <a:gd name="connsiteX3" fmla="*/ 119923 w 356516"/>
                <a:gd name="connsiteY3" fmla="*/ 217249 h 233063"/>
                <a:gd name="connsiteX4" fmla="*/ 164572 w 356516"/>
                <a:gd name="connsiteY4" fmla="*/ 231554 h 233063"/>
                <a:gd name="connsiteX5" fmla="*/ 173218 w 356516"/>
                <a:gd name="connsiteY5" fmla="*/ 219956 h 233063"/>
                <a:gd name="connsiteX6" fmla="*/ 199642 w 356516"/>
                <a:gd name="connsiteY6" fmla="*/ 221026 h 233063"/>
                <a:gd name="connsiteX7" fmla="*/ 226797 w 356516"/>
                <a:gd name="connsiteY7" fmla="*/ 217683 h 233063"/>
                <a:gd name="connsiteX8" fmla="*/ 240029 w 356516"/>
                <a:gd name="connsiteY8" fmla="*/ 214141 h 233063"/>
                <a:gd name="connsiteX9" fmla="*/ 275504 w 356516"/>
                <a:gd name="connsiteY9" fmla="*/ 211834 h 233063"/>
                <a:gd name="connsiteX10" fmla="*/ 356034 w 356516"/>
                <a:gd name="connsiteY10" fmla="*/ 202309 h 233063"/>
                <a:gd name="connsiteX11" fmla="*/ 343857 w 356516"/>
                <a:gd name="connsiteY11" fmla="*/ 177642 h 233063"/>
                <a:gd name="connsiteX12" fmla="*/ 329854 w 356516"/>
                <a:gd name="connsiteY12" fmla="*/ 127172 h 233063"/>
                <a:gd name="connsiteX13" fmla="*/ 304729 w 356516"/>
                <a:gd name="connsiteY13" fmla="*/ 37931 h 233063"/>
                <a:gd name="connsiteX14" fmla="*/ 355710 w 356516"/>
                <a:gd name="connsiteY14" fmla="*/ 34923 h 233063"/>
                <a:gd name="connsiteX15" fmla="*/ 275099 w 356516"/>
                <a:gd name="connsiteY15" fmla="*/ 10858 h 233063"/>
                <a:gd name="connsiteX16" fmla="*/ 238568 w 356516"/>
                <a:gd name="connsiteY16" fmla="*/ -339 h 233063"/>
                <a:gd name="connsiteX17" fmla="*/ 238243 w 356516"/>
                <a:gd name="connsiteY17" fmla="*/ 24562 h 233063"/>
                <a:gd name="connsiteX18" fmla="*/ 207557 w 356516"/>
                <a:gd name="connsiteY18" fmla="*/ 27002 h 233063"/>
                <a:gd name="connsiteX19" fmla="*/ 138555 w 356516"/>
                <a:gd name="connsiteY19" fmla="*/ 31848 h 233063"/>
                <a:gd name="connsiteX20" fmla="*/ 143547 w 356516"/>
                <a:gd name="connsiteY20" fmla="*/ 73461 h 233063"/>
                <a:gd name="connsiteX21" fmla="*/ 121832 w 356516"/>
                <a:gd name="connsiteY21" fmla="*/ 87666 h 233063"/>
                <a:gd name="connsiteX22" fmla="*/ 116473 w 356516"/>
                <a:gd name="connsiteY22" fmla="*/ 110260 h 233063"/>
                <a:gd name="connsiteX23" fmla="*/ 112780 w 356516"/>
                <a:gd name="connsiteY23" fmla="*/ 119452 h 233063"/>
                <a:gd name="connsiteX24" fmla="*/ 71987 w 356516"/>
                <a:gd name="connsiteY24" fmla="*/ 123028 h 233063"/>
                <a:gd name="connsiteX25" fmla="*/ -60 w 356516"/>
                <a:gd name="connsiteY25" fmla="*/ 129713 h 233063"/>
                <a:gd name="connsiteX26" fmla="*/ 16176 w 356516"/>
                <a:gd name="connsiteY26" fmla="*/ 145656 h 233063"/>
                <a:gd name="connsiteX27" fmla="*/ 25228 w 356516"/>
                <a:gd name="connsiteY27" fmla="*/ 169654 h 233063"/>
                <a:gd name="connsiteX28" fmla="*/ 33670 w 356516"/>
                <a:gd name="connsiteY28" fmla="*/ 195891 h 233063"/>
                <a:gd name="connsiteX29" fmla="*/ 22346 w 356516"/>
                <a:gd name="connsiteY29" fmla="*/ 223299 h 233063"/>
                <a:gd name="connsiteX30" fmla="*/ 39150 w 356516"/>
                <a:gd name="connsiteY30" fmla="*/ 213004 h 23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6516" h="233063">
                  <a:moveTo>
                    <a:pt x="38744" y="213004"/>
                  </a:moveTo>
                  <a:cubicBezTo>
                    <a:pt x="52788" y="213272"/>
                    <a:pt x="75843" y="204882"/>
                    <a:pt x="88142" y="207222"/>
                  </a:cubicBezTo>
                  <a:cubicBezTo>
                    <a:pt x="94677" y="208492"/>
                    <a:pt x="101821" y="214441"/>
                    <a:pt x="108437" y="213907"/>
                  </a:cubicBezTo>
                  <a:cubicBezTo>
                    <a:pt x="117204" y="213138"/>
                    <a:pt x="115621" y="213272"/>
                    <a:pt x="119923" y="217249"/>
                  </a:cubicBezTo>
                  <a:cubicBezTo>
                    <a:pt x="127027" y="223934"/>
                    <a:pt x="152395" y="236635"/>
                    <a:pt x="164572" y="231554"/>
                  </a:cubicBezTo>
                  <a:cubicBezTo>
                    <a:pt x="171554" y="228646"/>
                    <a:pt x="165181" y="222062"/>
                    <a:pt x="173218" y="219956"/>
                  </a:cubicBezTo>
                  <a:cubicBezTo>
                    <a:pt x="182229" y="217550"/>
                    <a:pt x="194731" y="229983"/>
                    <a:pt x="199642" y="221026"/>
                  </a:cubicBezTo>
                  <a:cubicBezTo>
                    <a:pt x="202686" y="215544"/>
                    <a:pt x="219084" y="219188"/>
                    <a:pt x="226797" y="217683"/>
                  </a:cubicBezTo>
                  <a:cubicBezTo>
                    <a:pt x="231099" y="216203"/>
                    <a:pt x="235524" y="215016"/>
                    <a:pt x="240029" y="214141"/>
                  </a:cubicBezTo>
                  <a:lnTo>
                    <a:pt x="275504" y="211834"/>
                  </a:lnTo>
                  <a:cubicBezTo>
                    <a:pt x="288290" y="210898"/>
                    <a:pt x="353558" y="211600"/>
                    <a:pt x="356034" y="202309"/>
                  </a:cubicBezTo>
                  <a:cubicBezTo>
                    <a:pt x="358875" y="191546"/>
                    <a:pt x="346577" y="187669"/>
                    <a:pt x="343857" y="177642"/>
                  </a:cubicBezTo>
                  <a:cubicBezTo>
                    <a:pt x="339230" y="160796"/>
                    <a:pt x="334562" y="143974"/>
                    <a:pt x="329854" y="127172"/>
                  </a:cubicBezTo>
                  <a:cubicBezTo>
                    <a:pt x="321574" y="97382"/>
                    <a:pt x="313212" y="67635"/>
                    <a:pt x="304729" y="37931"/>
                  </a:cubicBezTo>
                  <a:cubicBezTo>
                    <a:pt x="321736" y="36862"/>
                    <a:pt x="338702" y="35859"/>
                    <a:pt x="355710" y="34923"/>
                  </a:cubicBezTo>
                  <a:cubicBezTo>
                    <a:pt x="329001" y="26725"/>
                    <a:pt x="302131" y="18703"/>
                    <a:pt x="275099" y="10858"/>
                  </a:cubicBezTo>
                  <a:cubicBezTo>
                    <a:pt x="265438" y="8051"/>
                    <a:pt x="245062" y="4909"/>
                    <a:pt x="238568" y="-339"/>
                  </a:cubicBezTo>
                  <a:cubicBezTo>
                    <a:pt x="239014" y="2736"/>
                    <a:pt x="245427" y="23693"/>
                    <a:pt x="238243" y="24562"/>
                  </a:cubicBezTo>
                  <a:cubicBezTo>
                    <a:pt x="228136" y="25765"/>
                    <a:pt x="217948" y="26300"/>
                    <a:pt x="207557" y="27002"/>
                  </a:cubicBezTo>
                  <a:lnTo>
                    <a:pt x="138555" y="31848"/>
                  </a:lnTo>
                  <a:lnTo>
                    <a:pt x="143547" y="73461"/>
                  </a:lnTo>
                  <a:cubicBezTo>
                    <a:pt x="144480" y="81248"/>
                    <a:pt x="132263" y="83488"/>
                    <a:pt x="121832" y="87666"/>
                  </a:cubicBezTo>
                  <a:cubicBezTo>
                    <a:pt x="109127" y="92913"/>
                    <a:pt x="115540" y="102773"/>
                    <a:pt x="116473" y="110260"/>
                  </a:cubicBezTo>
                  <a:cubicBezTo>
                    <a:pt x="117001" y="114572"/>
                    <a:pt x="121263" y="118750"/>
                    <a:pt x="112780" y="119452"/>
                  </a:cubicBezTo>
                  <a:lnTo>
                    <a:pt x="71987" y="123028"/>
                  </a:lnTo>
                  <a:cubicBezTo>
                    <a:pt x="47958" y="125257"/>
                    <a:pt x="23929" y="127483"/>
                    <a:pt x="-60" y="129713"/>
                  </a:cubicBezTo>
                  <a:cubicBezTo>
                    <a:pt x="-60" y="137233"/>
                    <a:pt x="6557" y="141544"/>
                    <a:pt x="16176" y="145656"/>
                  </a:cubicBezTo>
                  <a:cubicBezTo>
                    <a:pt x="29368" y="151371"/>
                    <a:pt x="19099" y="161732"/>
                    <a:pt x="25228" y="169654"/>
                  </a:cubicBezTo>
                  <a:cubicBezTo>
                    <a:pt x="32859" y="179681"/>
                    <a:pt x="39921" y="183758"/>
                    <a:pt x="33670" y="195891"/>
                  </a:cubicBezTo>
                  <a:cubicBezTo>
                    <a:pt x="28556" y="205918"/>
                    <a:pt x="22792" y="212603"/>
                    <a:pt x="22346" y="223299"/>
                  </a:cubicBezTo>
                  <a:cubicBezTo>
                    <a:pt x="30707" y="221293"/>
                    <a:pt x="29246" y="212804"/>
                    <a:pt x="39150" y="21300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96A95437-53F1-49A9-8243-0299C13A6BD0}"/>
                </a:ext>
              </a:extLst>
            </p:cNvPr>
            <p:cNvSpPr/>
            <p:nvPr/>
          </p:nvSpPr>
          <p:spPr>
            <a:xfrm>
              <a:off x="5644096" y="4597126"/>
              <a:ext cx="234543" cy="98251"/>
            </a:xfrm>
            <a:custGeom>
              <a:avLst/>
              <a:gdLst>
                <a:gd name="connsiteX0" fmla="*/ 234324 w 234543"/>
                <a:gd name="connsiteY0" fmla="*/ 49475 h 98251"/>
                <a:gd name="connsiteX1" fmla="*/ 220685 w 234543"/>
                <a:gd name="connsiteY1" fmla="*/ 41153 h 98251"/>
                <a:gd name="connsiteX2" fmla="*/ 216626 w 234543"/>
                <a:gd name="connsiteY2" fmla="*/ 37476 h 98251"/>
                <a:gd name="connsiteX3" fmla="*/ 197103 w 234543"/>
                <a:gd name="connsiteY3" fmla="*/ 34468 h 98251"/>
                <a:gd name="connsiteX4" fmla="*/ 188132 w 234543"/>
                <a:gd name="connsiteY4" fmla="*/ 30223 h 98251"/>
                <a:gd name="connsiteX5" fmla="*/ 173520 w 234543"/>
                <a:gd name="connsiteY5" fmla="*/ 18458 h 98251"/>
                <a:gd name="connsiteX6" fmla="*/ 162520 w 234543"/>
                <a:gd name="connsiteY6" fmla="*/ -125 h 98251"/>
                <a:gd name="connsiteX7" fmla="*/ 122824 w 234543"/>
                <a:gd name="connsiteY7" fmla="*/ 5189 h 98251"/>
                <a:gd name="connsiteX8" fmla="*/ 99525 w 234543"/>
                <a:gd name="connsiteY8" fmla="*/ 10938 h 98251"/>
                <a:gd name="connsiteX9" fmla="*/ 87064 w 234543"/>
                <a:gd name="connsiteY9" fmla="*/ 16386 h 98251"/>
                <a:gd name="connsiteX10" fmla="*/ 62710 w 234543"/>
                <a:gd name="connsiteY10" fmla="*/ 26613 h 98251"/>
                <a:gd name="connsiteX11" fmla="*/ 48910 w 234543"/>
                <a:gd name="connsiteY11" fmla="*/ 31861 h 98251"/>
                <a:gd name="connsiteX12" fmla="*/ 36733 w 234543"/>
                <a:gd name="connsiteY12" fmla="*/ 33398 h 98251"/>
                <a:gd name="connsiteX13" fmla="*/ 31497 w 234543"/>
                <a:gd name="connsiteY13" fmla="*/ 46066 h 98251"/>
                <a:gd name="connsiteX14" fmla="*/ 19320 w 234543"/>
                <a:gd name="connsiteY14" fmla="*/ 59201 h 98251"/>
                <a:gd name="connsiteX15" fmla="*/ 3084 w 234543"/>
                <a:gd name="connsiteY15" fmla="*/ 61675 h 98251"/>
                <a:gd name="connsiteX16" fmla="*/ 729 w 234543"/>
                <a:gd name="connsiteY16" fmla="*/ 81729 h 98251"/>
                <a:gd name="connsiteX17" fmla="*/ 13312 w 234543"/>
                <a:gd name="connsiteY17" fmla="*/ 90853 h 98251"/>
                <a:gd name="connsiteX18" fmla="*/ 26991 w 234543"/>
                <a:gd name="connsiteY18" fmla="*/ 97304 h 98251"/>
                <a:gd name="connsiteX19" fmla="*/ 60112 w 234543"/>
                <a:gd name="connsiteY19" fmla="*/ 91021 h 98251"/>
                <a:gd name="connsiteX20" fmla="*/ 81178 w 234543"/>
                <a:gd name="connsiteY20" fmla="*/ 86141 h 98251"/>
                <a:gd name="connsiteX21" fmla="*/ 81706 w 234543"/>
                <a:gd name="connsiteY21" fmla="*/ 72069 h 98251"/>
                <a:gd name="connsiteX22" fmla="*/ 118237 w 234543"/>
                <a:gd name="connsiteY22" fmla="*/ 69997 h 98251"/>
                <a:gd name="connsiteX23" fmla="*/ 146650 w 234543"/>
                <a:gd name="connsiteY23" fmla="*/ 70565 h 98251"/>
                <a:gd name="connsiteX24" fmla="*/ 167229 w 234543"/>
                <a:gd name="connsiteY24" fmla="*/ 66621 h 98251"/>
                <a:gd name="connsiteX25" fmla="*/ 190771 w 234543"/>
                <a:gd name="connsiteY25" fmla="*/ 65685 h 98251"/>
                <a:gd name="connsiteX26" fmla="*/ 207007 w 234543"/>
                <a:gd name="connsiteY26" fmla="*/ 59937 h 98251"/>
                <a:gd name="connsiteX27" fmla="*/ 234202 w 234543"/>
                <a:gd name="connsiteY27" fmla="*/ 49408 h 98251"/>
                <a:gd name="connsiteX28" fmla="*/ 234324 w 234543"/>
                <a:gd name="connsiteY28" fmla="*/ 49475 h 9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4543" h="98251">
                  <a:moveTo>
                    <a:pt x="234324" y="49475"/>
                  </a:moveTo>
                  <a:cubicBezTo>
                    <a:pt x="225800" y="45197"/>
                    <a:pt x="220929" y="48740"/>
                    <a:pt x="220685" y="41153"/>
                  </a:cubicBezTo>
                  <a:cubicBezTo>
                    <a:pt x="220685" y="39247"/>
                    <a:pt x="221741" y="36407"/>
                    <a:pt x="216626" y="37476"/>
                  </a:cubicBezTo>
                  <a:cubicBezTo>
                    <a:pt x="206276" y="39682"/>
                    <a:pt x="204166" y="38813"/>
                    <a:pt x="197103" y="34468"/>
                  </a:cubicBezTo>
                  <a:cubicBezTo>
                    <a:pt x="193409" y="32195"/>
                    <a:pt x="189391" y="33966"/>
                    <a:pt x="188132" y="30223"/>
                  </a:cubicBezTo>
                  <a:cubicBezTo>
                    <a:pt x="186103" y="24073"/>
                    <a:pt x="182572" y="22001"/>
                    <a:pt x="173520" y="18458"/>
                  </a:cubicBezTo>
                  <a:cubicBezTo>
                    <a:pt x="165443" y="14805"/>
                    <a:pt x="161059" y="7361"/>
                    <a:pt x="162520" y="-125"/>
                  </a:cubicBezTo>
                  <a:cubicBezTo>
                    <a:pt x="142226" y="476"/>
                    <a:pt x="140683" y="-2933"/>
                    <a:pt x="122824" y="5189"/>
                  </a:cubicBezTo>
                  <a:cubicBezTo>
                    <a:pt x="115639" y="8531"/>
                    <a:pt x="106588" y="8164"/>
                    <a:pt x="99525" y="10938"/>
                  </a:cubicBezTo>
                  <a:cubicBezTo>
                    <a:pt x="93802" y="13144"/>
                    <a:pt x="97942" y="17622"/>
                    <a:pt x="87064" y="16386"/>
                  </a:cubicBezTo>
                  <a:cubicBezTo>
                    <a:pt x="76835" y="15182"/>
                    <a:pt x="69245" y="22536"/>
                    <a:pt x="62710" y="26613"/>
                  </a:cubicBezTo>
                  <a:cubicBezTo>
                    <a:pt x="56175" y="30691"/>
                    <a:pt x="61736" y="35237"/>
                    <a:pt x="48910" y="31861"/>
                  </a:cubicBezTo>
                  <a:cubicBezTo>
                    <a:pt x="42781" y="30256"/>
                    <a:pt x="39046" y="28719"/>
                    <a:pt x="36733" y="33398"/>
                  </a:cubicBezTo>
                  <a:cubicBezTo>
                    <a:pt x="34419" y="38078"/>
                    <a:pt x="35312" y="41855"/>
                    <a:pt x="31497" y="46066"/>
                  </a:cubicBezTo>
                  <a:cubicBezTo>
                    <a:pt x="27681" y="50277"/>
                    <a:pt x="26951" y="56661"/>
                    <a:pt x="19320" y="59201"/>
                  </a:cubicBezTo>
                  <a:cubicBezTo>
                    <a:pt x="14205" y="60873"/>
                    <a:pt x="8239" y="60171"/>
                    <a:pt x="3084" y="61675"/>
                  </a:cubicBezTo>
                  <a:cubicBezTo>
                    <a:pt x="6169" y="60739"/>
                    <a:pt x="1460" y="80258"/>
                    <a:pt x="729" y="81729"/>
                  </a:cubicBezTo>
                  <a:cubicBezTo>
                    <a:pt x="-2923" y="89483"/>
                    <a:pt x="6940" y="85439"/>
                    <a:pt x="13312" y="90853"/>
                  </a:cubicBezTo>
                  <a:cubicBezTo>
                    <a:pt x="17250" y="93811"/>
                    <a:pt x="21917" y="96017"/>
                    <a:pt x="26991" y="97304"/>
                  </a:cubicBezTo>
                  <a:cubicBezTo>
                    <a:pt x="37788" y="100212"/>
                    <a:pt x="48341" y="91789"/>
                    <a:pt x="60112" y="91021"/>
                  </a:cubicBezTo>
                  <a:cubicBezTo>
                    <a:pt x="70057" y="90385"/>
                    <a:pt x="87632" y="97271"/>
                    <a:pt x="81178" y="86141"/>
                  </a:cubicBezTo>
                  <a:cubicBezTo>
                    <a:pt x="78743" y="81896"/>
                    <a:pt x="70097" y="73674"/>
                    <a:pt x="81706" y="72069"/>
                  </a:cubicBezTo>
                  <a:cubicBezTo>
                    <a:pt x="93802" y="70676"/>
                    <a:pt x="106019" y="69984"/>
                    <a:pt x="118237" y="69997"/>
                  </a:cubicBezTo>
                  <a:cubicBezTo>
                    <a:pt x="127694" y="69553"/>
                    <a:pt x="137233" y="69743"/>
                    <a:pt x="146650" y="70565"/>
                  </a:cubicBezTo>
                  <a:cubicBezTo>
                    <a:pt x="154768" y="71568"/>
                    <a:pt x="154768" y="65619"/>
                    <a:pt x="167229" y="66621"/>
                  </a:cubicBezTo>
                  <a:cubicBezTo>
                    <a:pt x="174738" y="67223"/>
                    <a:pt x="184277" y="69128"/>
                    <a:pt x="190771" y="65685"/>
                  </a:cubicBezTo>
                  <a:cubicBezTo>
                    <a:pt x="196494" y="62644"/>
                    <a:pt x="199132" y="60438"/>
                    <a:pt x="207007" y="59937"/>
                  </a:cubicBezTo>
                  <a:cubicBezTo>
                    <a:pt x="214881" y="59435"/>
                    <a:pt x="237246" y="56594"/>
                    <a:pt x="234202" y="49408"/>
                  </a:cubicBezTo>
                  <a:cubicBezTo>
                    <a:pt x="229818" y="47236"/>
                    <a:pt x="234324" y="49542"/>
                    <a:pt x="234324" y="4947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7321B146-F510-49E2-AB2A-702157FF2EE8}"/>
                </a:ext>
              </a:extLst>
            </p:cNvPr>
            <p:cNvSpPr/>
            <p:nvPr/>
          </p:nvSpPr>
          <p:spPr>
            <a:xfrm>
              <a:off x="5806005" y="4438655"/>
              <a:ext cx="455408" cy="208423"/>
            </a:xfrm>
            <a:custGeom>
              <a:avLst/>
              <a:gdLst>
                <a:gd name="connsiteX0" fmla="*/ 437600 w 455408"/>
                <a:gd name="connsiteY0" fmla="*/ 30400 h 208423"/>
                <a:gd name="connsiteX1" fmla="*/ 436302 w 455408"/>
                <a:gd name="connsiteY1" fmla="*/ 8474 h 208423"/>
                <a:gd name="connsiteX2" fmla="*/ 409269 w 455408"/>
                <a:gd name="connsiteY2" fmla="*/ 13053 h 208423"/>
                <a:gd name="connsiteX3" fmla="*/ 356096 w 455408"/>
                <a:gd name="connsiteY3" fmla="*/ -316 h 208423"/>
                <a:gd name="connsiteX4" fmla="*/ 298012 w 455408"/>
                <a:gd name="connsiteY4" fmla="*/ 17432 h 208423"/>
                <a:gd name="connsiteX5" fmla="*/ 169424 w 455408"/>
                <a:gd name="connsiteY5" fmla="*/ 69974 h 208423"/>
                <a:gd name="connsiteX6" fmla="*/ 138697 w 455408"/>
                <a:gd name="connsiteY6" fmla="*/ 77427 h 208423"/>
                <a:gd name="connsiteX7" fmla="*/ 116413 w 455408"/>
                <a:gd name="connsiteY7" fmla="*/ 81438 h 208423"/>
                <a:gd name="connsiteX8" fmla="*/ 117225 w 455408"/>
                <a:gd name="connsiteY8" fmla="*/ 97247 h 208423"/>
                <a:gd name="connsiteX9" fmla="*/ 84388 w 455408"/>
                <a:gd name="connsiteY9" fmla="*/ 147984 h 208423"/>
                <a:gd name="connsiteX10" fmla="*/ 23503 w 455408"/>
                <a:gd name="connsiteY10" fmla="*/ 155505 h 208423"/>
                <a:gd name="connsiteX11" fmla="*/ -38 w 455408"/>
                <a:gd name="connsiteY11" fmla="*/ 162390 h 208423"/>
                <a:gd name="connsiteX12" fmla="*/ 8080 w 455408"/>
                <a:gd name="connsiteY12" fmla="*/ 174824 h 208423"/>
                <a:gd name="connsiteX13" fmla="*/ 26061 w 455408"/>
                <a:gd name="connsiteY13" fmla="*/ 188795 h 208423"/>
                <a:gd name="connsiteX14" fmla="*/ 43027 w 455408"/>
                <a:gd name="connsiteY14" fmla="*/ 197518 h 208423"/>
                <a:gd name="connsiteX15" fmla="*/ 58532 w 455408"/>
                <a:gd name="connsiteY15" fmla="*/ 199724 h 208423"/>
                <a:gd name="connsiteX16" fmla="*/ 72171 w 455408"/>
                <a:gd name="connsiteY16" fmla="*/ 208047 h 208423"/>
                <a:gd name="connsiteX17" fmla="*/ 82196 w 455408"/>
                <a:gd name="connsiteY17" fmla="*/ 199858 h 208423"/>
                <a:gd name="connsiteX18" fmla="*/ 91979 w 455408"/>
                <a:gd name="connsiteY18" fmla="*/ 207679 h 208423"/>
                <a:gd name="connsiteX19" fmla="*/ 116333 w 455408"/>
                <a:gd name="connsiteY19" fmla="*/ 191903 h 208423"/>
                <a:gd name="connsiteX20" fmla="*/ 138982 w 455408"/>
                <a:gd name="connsiteY20" fmla="*/ 176829 h 208423"/>
                <a:gd name="connsiteX21" fmla="*/ 156232 w 455408"/>
                <a:gd name="connsiteY21" fmla="*/ 175392 h 208423"/>
                <a:gd name="connsiteX22" fmla="*/ 172468 w 455408"/>
                <a:gd name="connsiteY22" fmla="*/ 175225 h 208423"/>
                <a:gd name="connsiteX23" fmla="*/ 193006 w 455408"/>
                <a:gd name="connsiteY23" fmla="*/ 179904 h 208423"/>
                <a:gd name="connsiteX24" fmla="*/ 206685 w 455408"/>
                <a:gd name="connsiteY24" fmla="*/ 186187 h 208423"/>
                <a:gd name="connsiteX25" fmla="*/ 249507 w 455408"/>
                <a:gd name="connsiteY25" fmla="*/ 187625 h 208423"/>
                <a:gd name="connsiteX26" fmla="*/ 291964 w 455408"/>
                <a:gd name="connsiteY26" fmla="*/ 183547 h 208423"/>
                <a:gd name="connsiteX27" fmla="*/ 340672 w 455408"/>
                <a:gd name="connsiteY27" fmla="*/ 180940 h 208423"/>
                <a:gd name="connsiteX28" fmla="*/ 381952 w 455408"/>
                <a:gd name="connsiteY28" fmla="*/ 175024 h 208423"/>
                <a:gd name="connsiteX29" fmla="*/ 390070 w 455408"/>
                <a:gd name="connsiteY29" fmla="*/ 173620 h 208423"/>
                <a:gd name="connsiteX30" fmla="*/ 390760 w 455408"/>
                <a:gd name="connsiteY30" fmla="*/ 163994 h 208423"/>
                <a:gd name="connsiteX31" fmla="*/ 396605 w 455408"/>
                <a:gd name="connsiteY31" fmla="*/ 153566 h 208423"/>
                <a:gd name="connsiteX32" fmla="*/ 443242 w 455408"/>
                <a:gd name="connsiteY32" fmla="*/ 120142 h 208423"/>
                <a:gd name="connsiteX33" fmla="*/ 448560 w 455408"/>
                <a:gd name="connsiteY33" fmla="*/ 82173 h 208423"/>
                <a:gd name="connsiteX34" fmla="*/ 455216 w 455408"/>
                <a:gd name="connsiteY34" fmla="*/ 55902 h 208423"/>
                <a:gd name="connsiteX35" fmla="*/ 437600 w 455408"/>
                <a:gd name="connsiteY35" fmla="*/ 30400 h 208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55408" h="208423">
                  <a:moveTo>
                    <a:pt x="437600" y="30400"/>
                  </a:moveTo>
                  <a:cubicBezTo>
                    <a:pt x="437600" y="23080"/>
                    <a:pt x="436829" y="15761"/>
                    <a:pt x="436302" y="8474"/>
                  </a:cubicBezTo>
                  <a:cubicBezTo>
                    <a:pt x="428184" y="10814"/>
                    <a:pt x="415438" y="17599"/>
                    <a:pt x="409269" y="13053"/>
                  </a:cubicBezTo>
                  <a:cubicBezTo>
                    <a:pt x="395468" y="3026"/>
                    <a:pt x="377568" y="319"/>
                    <a:pt x="356096" y="-316"/>
                  </a:cubicBezTo>
                  <a:cubicBezTo>
                    <a:pt x="337019" y="-951"/>
                    <a:pt x="313355" y="11950"/>
                    <a:pt x="298012" y="17432"/>
                  </a:cubicBezTo>
                  <a:cubicBezTo>
                    <a:pt x="253850" y="32693"/>
                    <a:pt x="210906" y="50244"/>
                    <a:pt x="169424" y="69974"/>
                  </a:cubicBezTo>
                  <a:cubicBezTo>
                    <a:pt x="161306" y="73951"/>
                    <a:pt x="148683" y="75388"/>
                    <a:pt x="138697" y="77427"/>
                  </a:cubicBezTo>
                  <a:cubicBezTo>
                    <a:pt x="131310" y="78965"/>
                    <a:pt x="123963" y="80335"/>
                    <a:pt x="116413" y="81438"/>
                  </a:cubicBezTo>
                  <a:cubicBezTo>
                    <a:pt x="116738" y="86719"/>
                    <a:pt x="117022" y="91966"/>
                    <a:pt x="117225" y="97247"/>
                  </a:cubicBezTo>
                  <a:cubicBezTo>
                    <a:pt x="117915" y="113224"/>
                    <a:pt x="122868" y="144809"/>
                    <a:pt x="84388" y="147984"/>
                  </a:cubicBezTo>
                  <a:cubicBezTo>
                    <a:pt x="66407" y="149455"/>
                    <a:pt x="38846" y="149622"/>
                    <a:pt x="23503" y="155505"/>
                  </a:cubicBezTo>
                  <a:cubicBezTo>
                    <a:pt x="14331" y="159081"/>
                    <a:pt x="530" y="155237"/>
                    <a:pt x="-38" y="162390"/>
                  </a:cubicBezTo>
                  <a:cubicBezTo>
                    <a:pt x="-404" y="166902"/>
                    <a:pt x="4021" y="171113"/>
                    <a:pt x="8080" y="174824"/>
                  </a:cubicBezTo>
                  <a:cubicBezTo>
                    <a:pt x="14493" y="180873"/>
                    <a:pt x="23463" y="180940"/>
                    <a:pt x="26061" y="188795"/>
                  </a:cubicBezTo>
                  <a:cubicBezTo>
                    <a:pt x="26751" y="190867"/>
                    <a:pt x="39577" y="196883"/>
                    <a:pt x="43027" y="197518"/>
                  </a:cubicBezTo>
                  <a:cubicBezTo>
                    <a:pt x="51470" y="199089"/>
                    <a:pt x="58248" y="192137"/>
                    <a:pt x="58532" y="199724"/>
                  </a:cubicBezTo>
                  <a:cubicBezTo>
                    <a:pt x="58817" y="207311"/>
                    <a:pt x="63647" y="203768"/>
                    <a:pt x="72171" y="208047"/>
                  </a:cubicBezTo>
                  <a:cubicBezTo>
                    <a:pt x="70507" y="204270"/>
                    <a:pt x="73673" y="198621"/>
                    <a:pt x="82196" y="199858"/>
                  </a:cubicBezTo>
                  <a:cubicBezTo>
                    <a:pt x="89909" y="200994"/>
                    <a:pt x="85038" y="206075"/>
                    <a:pt x="91979" y="207679"/>
                  </a:cubicBezTo>
                  <a:cubicBezTo>
                    <a:pt x="104845" y="210620"/>
                    <a:pt x="108580" y="196783"/>
                    <a:pt x="116333" y="191903"/>
                  </a:cubicBezTo>
                  <a:cubicBezTo>
                    <a:pt x="127860" y="184750"/>
                    <a:pt x="112841" y="175559"/>
                    <a:pt x="138982" y="176829"/>
                  </a:cubicBezTo>
                  <a:cubicBezTo>
                    <a:pt x="145882" y="177163"/>
                    <a:pt x="150753" y="178467"/>
                    <a:pt x="156232" y="175392"/>
                  </a:cubicBezTo>
                  <a:cubicBezTo>
                    <a:pt x="163457" y="171314"/>
                    <a:pt x="164350" y="174322"/>
                    <a:pt x="172468" y="175225"/>
                  </a:cubicBezTo>
                  <a:cubicBezTo>
                    <a:pt x="180586" y="176127"/>
                    <a:pt x="188014" y="174690"/>
                    <a:pt x="193006" y="179904"/>
                  </a:cubicBezTo>
                  <a:cubicBezTo>
                    <a:pt x="195523" y="182544"/>
                    <a:pt x="199338" y="188861"/>
                    <a:pt x="206685" y="186187"/>
                  </a:cubicBezTo>
                  <a:cubicBezTo>
                    <a:pt x="223976" y="179837"/>
                    <a:pt x="233840" y="182310"/>
                    <a:pt x="249507" y="187625"/>
                  </a:cubicBezTo>
                  <a:cubicBezTo>
                    <a:pt x="263633" y="191923"/>
                    <a:pt x="279422" y="190406"/>
                    <a:pt x="291964" y="183547"/>
                  </a:cubicBezTo>
                  <a:cubicBezTo>
                    <a:pt x="300569" y="179202"/>
                    <a:pt x="330240" y="177899"/>
                    <a:pt x="340672" y="180940"/>
                  </a:cubicBezTo>
                  <a:cubicBezTo>
                    <a:pt x="362388" y="187357"/>
                    <a:pt x="366244" y="183313"/>
                    <a:pt x="381952" y="175024"/>
                  </a:cubicBezTo>
                  <a:cubicBezTo>
                    <a:pt x="384306" y="173620"/>
                    <a:pt x="387229" y="173109"/>
                    <a:pt x="390070" y="173620"/>
                  </a:cubicBezTo>
                  <a:cubicBezTo>
                    <a:pt x="390110" y="170405"/>
                    <a:pt x="390313" y="167190"/>
                    <a:pt x="390760" y="163994"/>
                  </a:cubicBezTo>
                  <a:cubicBezTo>
                    <a:pt x="391693" y="160385"/>
                    <a:pt x="395468" y="157309"/>
                    <a:pt x="396605" y="153566"/>
                  </a:cubicBezTo>
                  <a:cubicBezTo>
                    <a:pt x="400217" y="141400"/>
                    <a:pt x="427859" y="128031"/>
                    <a:pt x="443242" y="120142"/>
                  </a:cubicBezTo>
                  <a:cubicBezTo>
                    <a:pt x="453999" y="114761"/>
                    <a:pt x="448357" y="90061"/>
                    <a:pt x="448560" y="82173"/>
                  </a:cubicBezTo>
                  <a:cubicBezTo>
                    <a:pt x="448844" y="73550"/>
                    <a:pt x="456434" y="64058"/>
                    <a:pt x="455216" y="55902"/>
                  </a:cubicBezTo>
                  <a:cubicBezTo>
                    <a:pt x="453999" y="47747"/>
                    <a:pt x="437479" y="38054"/>
                    <a:pt x="437600" y="3040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C0E946D3-5DD6-430D-8C36-B357E6F72D5A}"/>
                </a:ext>
              </a:extLst>
            </p:cNvPr>
            <p:cNvSpPr/>
            <p:nvPr/>
          </p:nvSpPr>
          <p:spPr>
            <a:xfrm>
              <a:off x="6195863" y="4439773"/>
              <a:ext cx="299337" cy="282878"/>
            </a:xfrm>
            <a:custGeom>
              <a:avLst/>
              <a:gdLst>
                <a:gd name="connsiteX0" fmla="*/ 299278 w 299337"/>
                <a:gd name="connsiteY0" fmla="*/ 76343 h 282878"/>
                <a:gd name="connsiteX1" fmla="*/ 159121 w 299337"/>
                <a:gd name="connsiteY1" fmla="*/ 27712 h 282878"/>
                <a:gd name="connsiteX2" fmla="*/ 83381 w 299337"/>
                <a:gd name="connsiteY2" fmla="*/ 2678 h 282878"/>
                <a:gd name="connsiteX3" fmla="*/ 72624 w 299337"/>
                <a:gd name="connsiteY3" fmla="*/ -230 h 282878"/>
                <a:gd name="connsiteX4" fmla="*/ 53466 w 299337"/>
                <a:gd name="connsiteY4" fmla="*/ 5285 h 282878"/>
                <a:gd name="connsiteX5" fmla="*/ 47337 w 299337"/>
                <a:gd name="connsiteY5" fmla="*/ 20492 h 282878"/>
                <a:gd name="connsiteX6" fmla="*/ 52248 w 299337"/>
                <a:gd name="connsiteY6" fmla="*/ 34697 h 282878"/>
                <a:gd name="connsiteX7" fmla="*/ 62193 w 299337"/>
                <a:gd name="connsiteY7" fmla="*/ 50540 h 282878"/>
                <a:gd name="connsiteX8" fmla="*/ 58905 w 299337"/>
                <a:gd name="connsiteY8" fmla="*/ 83563 h 282878"/>
                <a:gd name="connsiteX9" fmla="*/ 56632 w 299337"/>
                <a:gd name="connsiteY9" fmla="*/ 113276 h 282878"/>
                <a:gd name="connsiteX10" fmla="*/ 36337 w 299337"/>
                <a:gd name="connsiteY10" fmla="*/ 128952 h 282878"/>
                <a:gd name="connsiteX11" fmla="*/ 14500 w 299337"/>
                <a:gd name="connsiteY11" fmla="*/ 182430 h 282878"/>
                <a:gd name="connsiteX12" fmla="*/ 33455 w 299337"/>
                <a:gd name="connsiteY12" fmla="*/ 191287 h 282878"/>
                <a:gd name="connsiteX13" fmla="*/ 38367 w 299337"/>
                <a:gd name="connsiteY13" fmla="*/ 204656 h 282878"/>
                <a:gd name="connsiteX14" fmla="*/ 41614 w 299337"/>
                <a:gd name="connsiteY14" fmla="*/ 222304 h 282878"/>
                <a:gd name="connsiteX15" fmla="*/ 53425 w 299337"/>
                <a:gd name="connsiteY15" fmla="*/ 237311 h 282878"/>
                <a:gd name="connsiteX16" fmla="*/ 15190 w 299337"/>
                <a:gd name="connsiteY16" fmla="*/ 240252 h 282878"/>
                <a:gd name="connsiteX17" fmla="*/ 42750 w 299337"/>
                <a:gd name="connsiteY17" fmla="*/ 263850 h 282878"/>
                <a:gd name="connsiteX18" fmla="*/ 72381 w 299337"/>
                <a:gd name="connsiteY18" fmla="*/ 277854 h 282878"/>
                <a:gd name="connsiteX19" fmla="*/ 84883 w 299337"/>
                <a:gd name="connsiteY19" fmla="*/ 278990 h 282878"/>
                <a:gd name="connsiteX20" fmla="*/ 104447 w 299337"/>
                <a:gd name="connsiteY20" fmla="*/ 274879 h 282878"/>
                <a:gd name="connsiteX21" fmla="*/ 144347 w 299337"/>
                <a:gd name="connsiteY21" fmla="*/ 267493 h 282878"/>
                <a:gd name="connsiteX22" fmla="*/ 147715 w 299337"/>
                <a:gd name="connsiteY22" fmla="*/ 258970 h 282878"/>
                <a:gd name="connsiteX23" fmla="*/ 170446 w 299337"/>
                <a:gd name="connsiteY23" fmla="*/ 256664 h 282878"/>
                <a:gd name="connsiteX24" fmla="*/ 217814 w 299337"/>
                <a:gd name="connsiteY24" fmla="*/ 238448 h 282878"/>
                <a:gd name="connsiteX25" fmla="*/ 227231 w 299337"/>
                <a:gd name="connsiteY25" fmla="*/ 229056 h 282878"/>
                <a:gd name="connsiteX26" fmla="*/ 256537 w 299337"/>
                <a:gd name="connsiteY26" fmla="*/ 225279 h 282878"/>
                <a:gd name="connsiteX27" fmla="*/ 259053 w 299337"/>
                <a:gd name="connsiteY27" fmla="*/ 218594 h 282878"/>
                <a:gd name="connsiteX28" fmla="*/ 249352 w 299337"/>
                <a:gd name="connsiteY28" fmla="*/ 211909 h 282878"/>
                <a:gd name="connsiteX29" fmla="*/ 245821 w 299337"/>
                <a:gd name="connsiteY29" fmla="*/ 194696 h 282878"/>
                <a:gd name="connsiteX30" fmla="*/ 238149 w 299337"/>
                <a:gd name="connsiteY30" fmla="*/ 183833 h 282878"/>
                <a:gd name="connsiteX31" fmla="*/ 236729 w 299337"/>
                <a:gd name="connsiteY31" fmla="*/ 174809 h 282878"/>
                <a:gd name="connsiteX32" fmla="*/ 247242 w 299337"/>
                <a:gd name="connsiteY32" fmla="*/ 169227 h 282878"/>
                <a:gd name="connsiteX33" fmla="*/ 254061 w 299337"/>
                <a:gd name="connsiteY33" fmla="*/ 159200 h 282878"/>
                <a:gd name="connsiteX34" fmla="*/ 266765 w 299337"/>
                <a:gd name="connsiteY34" fmla="*/ 147067 h 282878"/>
                <a:gd name="connsiteX35" fmla="*/ 295178 w 299337"/>
                <a:gd name="connsiteY35" fmla="*/ 135804 h 282878"/>
                <a:gd name="connsiteX36" fmla="*/ 296518 w 299337"/>
                <a:gd name="connsiteY36" fmla="*/ 119292 h 282878"/>
                <a:gd name="connsiteX37" fmla="*/ 299278 w 299337"/>
                <a:gd name="connsiteY37" fmla="*/ 76343 h 28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9337" h="282878">
                  <a:moveTo>
                    <a:pt x="299278" y="76343"/>
                  </a:moveTo>
                  <a:cubicBezTo>
                    <a:pt x="252924" y="59765"/>
                    <a:pt x="206205" y="43555"/>
                    <a:pt x="159121" y="27712"/>
                  </a:cubicBezTo>
                  <a:cubicBezTo>
                    <a:pt x="133996" y="19266"/>
                    <a:pt x="108749" y="10923"/>
                    <a:pt x="83381" y="2678"/>
                  </a:cubicBezTo>
                  <a:cubicBezTo>
                    <a:pt x="81229" y="1976"/>
                    <a:pt x="75263" y="-932"/>
                    <a:pt x="72624" y="-230"/>
                  </a:cubicBezTo>
                  <a:lnTo>
                    <a:pt x="53466" y="5285"/>
                  </a:lnTo>
                  <a:cubicBezTo>
                    <a:pt x="42385" y="8627"/>
                    <a:pt x="46891" y="13707"/>
                    <a:pt x="47337" y="20492"/>
                  </a:cubicBezTo>
                  <a:cubicBezTo>
                    <a:pt x="47662" y="25807"/>
                    <a:pt x="46687" y="30118"/>
                    <a:pt x="52248" y="34697"/>
                  </a:cubicBezTo>
                  <a:cubicBezTo>
                    <a:pt x="58621" y="39911"/>
                    <a:pt x="56794" y="45727"/>
                    <a:pt x="62193" y="50540"/>
                  </a:cubicBezTo>
                  <a:cubicBezTo>
                    <a:pt x="70757" y="58161"/>
                    <a:pt x="59189" y="73937"/>
                    <a:pt x="58905" y="83563"/>
                  </a:cubicBezTo>
                  <a:cubicBezTo>
                    <a:pt x="58864" y="93496"/>
                    <a:pt x="58093" y="103416"/>
                    <a:pt x="56632" y="113276"/>
                  </a:cubicBezTo>
                  <a:cubicBezTo>
                    <a:pt x="55333" y="120529"/>
                    <a:pt x="44699" y="123872"/>
                    <a:pt x="36337" y="128952"/>
                  </a:cubicBezTo>
                  <a:cubicBezTo>
                    <a:pt x="17422" y="140450"/>
                    <a:pt x="-21097" y="169060"/>
                    <a:pt x="14500" y="182430"/>
                  </a:cubicBezTo>
                  <a:cubicBezTo>
                    <a:pt x="22983" y="185772"/>
                    <a:pt x="28057" y="185003"/>
                    <a:pt x="33455" y="191287"/>
                  </a:cubicBezTo>
                  <a:cubicBezTo>
                    <a:pt x="37514" y="195833"/>
                    <a:pt x="36175" y="199910"/>
                    <a:pt x="38367" y="204656"/>
                  </a:cubicBezTo>
                  <a:cubicBezTo>
                    <a:pt x="41127" y="210539"/>
                    <a:pt x="39503" y="216388"/>
                    <a:pt x="41614" y="222304"/>
                  </a:cubicBezTo>
                  <a:cubicBezTo>
                    <a:pt x="42548" y="224911"/>
                    <a:pt x="53791" y="235874"/>
                    <a:pt x="53425" y="237311"/>
                  </a:cubicBezTo>
                  <a:cubicBezTo>
                    <a:pt x="51558" y="242124"/>
                    <a:pt x="15312" y="234203"/>
                    <a:pt x="15190" y="240252"/>
                  </a:cubicBezTo>
                  <a:cubicBezTo>
                    <a:pt x="15190" y="252987"/>
                    <a:pt x="32360" y="254123"/>
                    <a:pt x="42750" y="263850"/>
                  </a:cubicBezTo>
                  <a:cubicBezTo>
                    <a:pt x="49123" y="269799"/>
                    <a:pt x="54927" y="292126"/>
                    <a:pt x="72381" y="277854"/>
                  </a:cubicBezTo>
                  <a:cubicBezTo>
                    <a:pt x="76440" y="274512"/>
                    <a:pt x="80864" y="277854"/>
                    <a:pt x="84883" y="278990"/>
                  </a:cubicBezTo>
                  <a:cubicBezTo>
                    <a:pt x="88901" y="280127"/>
                    <a:pt x="99170" y="275381"/>
                    <a:pt x="104447" y="274879"/>
                  </a:cubicBezTo>
                  <a:cubicBezTo>
                    <a:pt x="118085" y="273950"/>
                    <a:pt x="131520" y="271463"/>
                    <a:pt x="144347" y="267493"/>
                  </a:cubicBezTo>
                  <a:cubicBezTo>
                    <a:pt x="153357" y="264585"/>
                    <a:pt x="146863" y="263415"/>
                    <a:pt x="147715" y="258970"/>
                  </a:cubicBezTo>
                  <a:cubicBezTo>
                    <a:pt x="148568" y="254524"/>
                    <a:pt x="166143" y="256563"/>
                    <a:pt x="170446" y="256664"/>
                  </a:cubicBezTo>
                  <a:cubicBezTo>
                    <a:pt x="191836" y="257131"/>
                    <a:pt x="202917" y="245935"/>
                    <a:pt x="217814" y="238448"/>
                  </a:cubicBezTo>
                  <a:cubicBezTo>
                    <a:pt x="223334" y="235673"/>
                    <a:pt x="222117" y="231763"/>
                    <a:pt x="227231" y="229056"/>
                  </a:cubicBezTo>
                  <a:cubicBezTo>
                    <a:pt x="237459" y="223574"/>
                    <a:pt x="244319" y="224477"/>
                    <a:pt x="256537" y="225279"/>
                  </a:cubicBezTo>
                  <a:cubicBezTo>
                    <a:pt x="254507" y="223674"/>
                    <a:pt x="258120" y="220198"/>
                    <a:pt x="259053" y="218594"/>
                  </a:cubicBezTo>
                  <a:cubicBezTo>
                    <a:pt x="259987" y="216990"/>
                    <a:pt x="251706" y="213982"/>
                    <a:pt x="249352" y="211909"/>
                  </a:cubicBezTo>
                  <a:cubicBezTo>
                    <a:pt x="242574" y="206461"/>
                    <a:pt x="251788" y="199543"/>
                    <a:pt x="245821" y="194696"/>
                  </a:cubicBezTo>
                  <a:cubicBezTo>
                    <a:pt x="241194" y="190919"/>
                    <a:pt x="224552" y="191020"/>
                    <a:pt x="238149" y="183833"/>
                  </a:cubicBezTo>
                  <a:cubicBezTo>
                    <a:pt x="242655" y="181494"/>
                    <a:pt x="238149" y="177383"/>
                    <a:pt x="236729" y="174809"/>
                  </a:cubicBezTo>
                  <a:cubicBezTo>
                    <a:pt x="233441" y="169561"/>
                    <a:pt x="244400" y="172737"/>
                    <a:pt x="247242" y="169227"/>
                  </a:cubicBezTo>
                  <a:cubicBezTo>
                    <a:pt x="249393" y="166620"/>
                    <a:pt x="247242" y="159702"/>
                    <a:pt x="254061" y="159200"/>
                  </a:cubicBezTo>
                  <a:cubicBezTo>
                    <a:pt x="267293" y="158198"/>
                    <a:pt x="261489" y="151513"/>
                    <a:pt x="266765" y="147067"/>
                  </a:cubicBezTo>
                  <a:cubicBezTo>
                    <a:pt x="274558" y="140383"/>
                    <a:pt x="292864" y="144494"/>
                    <a:pt x="295178" y="135804"/>
                  </a:cubicBezTo>
                  <a:cubicBezTo>
                    <a:pt x="296152" y="130339"/>
                    <a:pt x="296639" y="124817"/>
                    <a:pt x="296518" y="119292"/>
                  </a:cubicBezTo>
                  <a:cubicBezTo>
                    <a:pt x="297410" y="104964"/>
                    <a:pt x="298344" y="90648"/>
                    <a:pt x="299278" y="7634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78AC4A1C-E788-4A80-8E89-B3484528952C}"/>
                </a:ext>
              </a:extLst>
            </p:cNvPr>
            <p:cNvSpPr/>
            <p:nvPr/>
          </p:nvSpPr>
          <p:spPr>
            <a:xfrm>
              <a:off x="6524787" y="4291648"/>
              <a:ext cx="322605" cy="201383"/>
            </a:xfrm>
            <a:custGeom>
              <a:avLst/>
              <a:gdLst>
                <a:gd name="connsiteX0" fmla="*/ 315326 w 322605"/>
                <a:gd name="connsiteY0" fmla="*/ 59122 h 201383"/>
                <a:gd name="connsiteX1" fmla="*/ 296817 w 322605"/>
                <a:gd name="connsiteY1" fmla="*/ 27470 h 201383"/>
                <a:gd name="connsiteX2" fmla="*/ 268891 w 322605"/>
                <a:gd name="connsiteY2" fmla="*/ 26500 h 201383"/>
                <a:gd name="connsiteX3" fmla="*/ 222050 w 322605"/>
                <a:gd name="connsiteY3" fmla="*/ 19013 h 201383"/>
                <a:gd name="connsiteX4" fmla="*/ 162628 w 322605"/>
                <a:gd name="connsiteY4" fmla="*/ 18646 h 201383"/>
                <a:gd name="connsiteX5" fmla="*/ 138558 w 322605"/>
                <a:gd name="connsiteY5" fmla="*/ 23158 h 201383"/>
                <a:gd name="connsiteX6" fmla="*/ 98779 w 322605"/>
                <a:gd name="connsiteY6" fmla="*/ 13666 h 201383"/>
                <a:gd name="connsiteX7" fmla="*/ 20279 w 322605"/>
                <a:gd name="connsiteY7" fmla="*/ -339 h 201383"/>
                <a:gd name="connsiteX8" fmla="*/ 15490 w 322605"/>
                <a:gd name="connsiteY8" fmla="*/ 17443 h 201383"/>
                <a:gd name="connsiteX9" fmla="*/ 7372 w 322605"/>
                <a:gd name="connsiteY9" fmla="*/ 33319 h 201383"/>
                <a:gd name="connsiteX10" fmla="*/ 9198 w 322605"/>
                <a:gd name="connsiteY10" fmla="*/ 62932 h 201383"/>
                <a:gd name="connsiteX11" fmla="*/ 2663 w 322605"/>
                <a:gd name="connsiteY11" fmla="*/ 156919 h 201383"/>
                <a:gd name="connsiteX12" fmla="*/ 5951 w 322605"/>
                <a:gd name="connsiteY12" fmla="*/ 181084 h 201383"/>
                <a:gd name="connsiteX13" fmla="*/ 48449 w 322605"/>
                <a:gd name="connsiteY13" fmla="*/ 183224 h 201383"/>
                <a:gd name="connsiteX14" fmla="*/ 165590 w 322605"/>
                <a:gd name="connsiteY14" fmla="*/ 190142 h 201383"/>
                <a:gd name="connsiteX15" fmla="*/ 187387 w 322605"/>
                <a:gd name="connsiteY15" fmla="*/ 190343 h 201383"/>
                <a:gd name="connsiteX16" fmla="*/ 236095 w 322605"/>
                <a:gd name="connsiteY16" fmla="*/ 194086 h 201383"/>
                <a:gd name="connsiteX17" fmla="*/ 252331 w 322605"/>
                <a:gd name="connsiteY17" fmla="*/ 197830 h 201383"/>
                <a:gd name="connsiteX18" fmla="*/ 272626 w 322605"/>
                <a:gd name="connsiteY18" fmla="*/ 195958 h 201383"/>
                <a:gd name="connsiteX19" fmla="*/ 294260 w 322605"/>
                <a:gd name="connsiteY19" fmla="*/ 189474 h 201383"/>
                <a:gd name="connsiteX20" fmla="*/ 309644 w 322605"/>
                <a:gd name="connsiteY20" fmla="*/ 184561 h 201383"/>
                <a:gd name="connsiteX21" fmla="*/ 281718 w 322605"/>
                <a:gd name="connsiteY21" fmla="*/ 114772 h 201383"/>
                <a:gd name="connsiteX22" fmla="*/ 269297 w 322605"/>
                <a:gd name="connsiteY22" fmla="*/ 96322 h 201383"/>
                <a:gd name="connsiteX23" fmla="*/ 255821 w 322605"/>
                <a:gd name="connsiteY23" fmla="*/ 80513 h 201383"/>
                <a:gd name="connsiteX24" fmla="*/ 240032 w 322605"/>
                <a:gd name="connsiteY24" fmla="*/ 43747 h 201383"/>
                <a:gd name="connsiteX25" fmla="*/ 276116 w 322605"/>
                <a:gd name="connsiteY25" fmla="*/ 87198 h 201383"/>
                <a:gd name="connsiteX26" fmla="*/ 297020 w 322605"/>
                <a:gd name="connsiteY26" fmla="*/ 84290 h 201383"/>
                <a:gd name="connsiteX27" fmla="*/ 308223 w 322605"/>
                <a:gd name="connsiteY27" fmla="*/ 69984 h 201383"/>
                <a:gd name="connsiteX28" fmla="*/ 315326 w 322605"/>
                <a:gd name="connsiteY28" fmla="*/ 59122 h 20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2605" h="201383">
                  <a:moveTo>
                    <a:pt x="315326" y="59122"/>
                  </a:moveTo>
                  <a:cubicBezTo>
                    <a:pt x="309197" y="48560"/>
                    <a:pt x="303027" y="38008"/>
                    <a:pt x="296817" y="27470"/>
                  </a:cubicBezTo>
                  <a:cubicBezTo>
                    <a:pt x="289389" y="32684"/>
                    <a:pt x="279323" y="27470"/>
                    <a:pt x="268891" y="26500"/>
                  </a:cubicBezTo>
                  <a:cubicBezTo>
                    <a:pt x="249936" y="24729"/>
                    <a:pt x="239586" y="25230"/>
                    <a:pt x="222050" y="19013"/>
                  </a:cubicBezTo>
                  <a:cubicBezTo>
                    <a:pt x="206951" y="13599"/>
                    <a:pt x="177646" y="15437"/>
                    <a:pt x="162628" y="18646"/>
                  </a:cubicBezTo>
                  <a:cubicBezTo>
                    <a:pt x="153454" y="20584"/>
                    <a:pt x="150451" y="24161"/>
                    <a:pt x="138558" y="23158"/>
                  </a:cubicBezTo>
                  <a:cubicBezTo>
                    <a:pt x="124514" y="21955"/>
                    <a:pt x="111809" y="16774"/>
                    <a:pt x="98779" y="13666"/>
                  </a:cubicBezTo>
                  <a:cubicBezTo>
                    <a:pt x="80108" y="9153"/>
                    <a:pt x="32213" y="9387"/>
                    <a:pt x="20279" y="-339"/>
                  </a:cubicBezTo>
                  <a:cubicBezTo>
                    <a:pt x="15449" y="5878"/>
                    <a:pt x="13582" y="10658"/>
                    <a:pt x="15490" y="17443"/>
                  </a:cubicBezTo>
                  <a:cubicBezTo>
                    <a:pt x="17194" y="23659"/>
                    <a:pt x="6438" y="26868"/>
                    <a:pt x="7372" y="33319"/>
                  </a:cubicBezTo>
                  <a:cubicBezTo>
                    <a:pt x="8995" y="43132"/>
                    <a:pt x="9604" y="53035"/>
                    <a:pt x="9198" y="62932"/>
                  </a:cubicBezTo>
                  <a:cubicBezTo>
                    <a:pt x="7047" y="94283"/>
                    <a:pt x="4855" y="125611"/>
                    <a:pt x="2663" y="156919"/>
                  </a:cubicBezTo>
                  <a:cubicBezTo>
                    <a:pt x="2298" y="162167"/>
                    <a:pt x="-5008" y="180583"/>
                    <a:pt x="5951" y="181084"/>
                  </a:cubicBezTo>
                  <a:cubicBezTo>
                    <a:pt x="20116" y="181753"/>
                    <a:pt x="34363" y="182488"/>
                    <a:pt x="48449" y="183224"/>
                  </a:cubicBezTo>
                  <a:cubicBezTo>
                    <a:pt x="87536" y="185252"/>
                    <a:pt x="126584" y="187559"/>
                    <a:pt x="165590" y="190142"/>
                  </a:cubicBezTo>
                  <a:cubicBezTo>
                    <a:pt x="172734" y="190610"/>
                    <a:pt x="181096" y="192215"/>
                    <a:pt x="187387" y="190343"/>
                  </a:cubicBezTo>
                  <a:cubicBezTo>
                    <a:pt x="198103" y="187000"/>
                    <a:pt x="221442" y="192983"/>
                    <a:pt x="236095" y="194086"/>
                  </a:cubicBezTo>
                  <a:cubicBezTo>
                    <a:pt x="244984" y="194755"/>
                    <a:pt x="245999" y="194487"/>
                    <a:pt x="252331" y="197830"/>
                  </a:cubicBezTo>
                  <a:cubicBezTo>
                    <a:pt x="263858" y="204046"/>
                    <a:pt x="265928" y="200036"/>
                    <a:pt x="272626" y="195958"/>
                  </a:cubicBezTo>
                  <a:cubicBezTo>
                    <a:pt x="279323" y="191880"/>
                    <a:pt x="288862" y="195958"/>
                    <a:pt x="294260" y="189474"/>
                  </a:cubicBezTo>
                  <a:cubicBezTo>
                    <a:pt x="299009" y="183725"/>
                    <a:pt x="300024" y="185363"/>
                    <a:pt x="309644" y="184561"/>
                  </a:cubicBezTo>
                  <a:cubicBezTo>
                    <a:pt x="350233" y="181218"/>
                    <a:pt x="282124" y="124398"/>
                    <a:pt x="281718" y="114772"/>
                  </a:cubicBezTo>
                  <a:cubicBezTo>
                    <a:pt x="281718" y="108087"/>
                    <a:pt x="268080" y="103308"/>
                    <a:pt x="269297" y="96322"/>
                  </a:cubicBezTo>
                  <a:cubicBezTo>
                    <a:pt x="270434" y="90139"/>
                    <a:pt x="261707" y="85460"/>
                    <a:pt x="255821" y="80513"/>
                  </a:cubicBezTo>
                  <a:cubicBezTo>
                    <a:pt x="251762" y="77171"/>
                    <a:pt x="225988" y="45284"/>
                    <a:pt x="240032" y="43747"/>
                  </a:cubicBezTo>
                  <a:cubicBezTo>
                    <a:pt x="243157" y="43413"/>
                    <a:pt x="270799" y="83187"/>
                    <a:pt x="276116" y="87198"/>
                  </a:cubicBezTo>
                  <a:cubicBezTo>
                    <a:pt x="286020" y="94685"/>
                    <a:pt x="292352" y="90774"/>
                    <a:pt x="297020" y="84290"/>
                  </a:cubicBezTo>
                  <a:cubicBezTo>
                    <a:pt x="298359" y="82351"/>
                    <a:pt x="307573" y="68480"/>
                    <a:pt x="308223" y="69984"/>
                  </a:cubicBezTo>
                  <a:cubicBezTo>
                    <a:pt x="309522" y="65957"/>
                    <a:pt x="311957" y="62237"/>
                    <a:pt x="315326" y="5912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3E213CC7-088C-459B-878A-86467F4928C2}"/>
                </a:ext>
              </a:extLst>
            </p:cNvPr>
            <p:cNvSpPr/>
            <p:nvPr/>
          </p:nvSpPr>
          <p:spPr>
            <a:xfrm>
              <a:off x="6066398" y="4809203"/>
              <a:ext cx="152648" cy="107365"/>
            </a:xfrm>
            <a:custGeom>
              <a:avLst/>
              <a:gdLst>
                <a:gd name="connsiteX0" fmla="*/ 73379 w 152648"/>
                <a:gd name="connsiteY0" fmla="*/ 102013 h 107365"/>
                <a:gd name="connsiteX1" fmla="*/ 75774 w 152648"/>
                <a:gd name="connsiteY1" fmla="*/ 84834 h 107365"/>
                <a:gd name="connsiteX2" fmla="*/ 100818 w 152648"/>
                <a:gd name="connsiteY2" fmla="*/ 76277 h 107365"/>
                <a:gd name="connsiteX3" fmla="*/ 116120 w 152648"/>
                <a:gd name="connsiteY3" fmla="*/ 79920 h 107365"/>
                <a:gd name="connsiteX4" fmla="*/ 148348 w 152648"/>
                <a:gd name="connsiteY4" fmla="*/ 80823 h 107365"/>
                <a:gd name="connsiteX5" fmla="*/ 150662 w 152648"/>
                <a:gd name="connsiteY5" fmla="*/ 51911 h 107365"/>
                <a:gd name="connsiteX6" fmla="*/ 144817 w 152648"/>
                <a:gd name="connsiteY6" fmla="*/ 30654 h 107365"/>
                <a:gd name="connsiteX7" fmla="*/ 123629 w 152648"/>
                <a:gd name="connsiteY7" fmla="*/ 19424 h 107365"/>
                <a:gd name="connsiteX8" fmla="*/ 118596 w 152648"/>
                <a:gd name="connsiteY8" fmla="*/ 1375 h 107365"/>
                <a:gd name="connsiteX9" fmla="*/ 73948 w 152648"/>
                <a:gd name="connsiteY9" fmla="*/ 539 h 107365"/>
                <a:gd name="connsiteX10" fmla="*/ 70132 w 152648"/>
                <a:gd name="connsiteY10" fmla="*/ 22933 h 107365"/>
                <a:gd name="connsiteX11" fmla="*/ 38513 w 152648"/>
                <a:gd name="connsiteY11" fmla="*/ 23902 h 107365"/>
                <a:gd name="connsiteX12" fmla="*/ 18867 w 152648"/>
                <a:gd name="connsiteY12" fmla="*/ 25106 h 107365"/>
                <a:gd name="connsiteX13" fmla="*/ 24955 w 152648"/>
                <a:gd name="connsiteY13" fmla="*/ 37238 h 107365"/>
                <a:gd name="connsiteX14" fmla="*/ 13875 w 152648"/>
                <a:gd name="connsiteY14" fmla="*/ 41116 h 107365"/>
                <a:gd name="connsiteX15" fmla="*/ 6162 w 152648"/>
                <a:gd name="connsiteY15" fmla="*/ 50775 h 107365"/>
                <a:gd name="connsiteX16" fmla="*/ 9328 w 152648"/>
                <a:gd name="connsiteY16" fmla="*/ 66918 h 107365"/>
                <a:gd name="connsiteX17" fmla="*/ 60147 w 152648"/>
                <a:gd name="connsiteY17" fmla="*/ 107027 h 107365"/>
                <a:gd name="connsiteX18" fmla="*/ 73379 w 152648"/>
                <a:gd name="connsiteY18" fmla="*/ 102013 h 10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2648" h="107365">
                  <a:moveTo>
                    <a:pt x="73379" y="102013"/>
                  </a:moveTo>
                  <a:cubicBezTo>
                    <a:pt x="91320" y="102013"/>
                    <a:pt x="75287" y="90215"/>
                    <a:pt x="75774" y="84834"/>
                  </a:cubicBezTo>
                  <a:cubicBezTo>
                    <a:pt x="76423" y="77614"/>
                    <a:pt x="97205" y="84165"/>
                    <a:pt x="100818" y="76277"/>
                  </a:cubicBezTo>
                  <a:cubicBezTo>
                    <a:pt x="105242" y="66684"/>
                    <a:pt x="111899" y="75508"/>
                    <a:pt x="116120" y="79920"/>
                  </a:cubicBezTo>
                  <a:cubicBezTo>
                    <a:pt x="120341" y="84332"/>
                    <a:pt x="144533" y="86605"/>
                    <a:pt x="148348" y="80823"/>
                  </a:cubicBezTo>
                  <a:cubicBezTo>
                    <a:pt x="153057" y="71675"/>
                    <a:pt x="153869" y="61487"/>
                    <a:pt x="150662" y="51911"/>
                  </a:cubicBezTo>
                  <a:cubicBezTo>
                    <a:pt x="145913" y="39912"/>
                    <a:pt x="125050" y="42486"/>
                    <a:pt x="144817" y="30654"/>
                  </a:cubicBezTo>
                  <a:cubicBezTo>
                    <a:pt x="160810" y="21162"/>
                    <a:pt x="134954" y="17485"/>
                    <a:pt x="123629" y="19424"/>
                  </a:cubicBezTo>
                  <a:cubicBezTo>
                    <a:pt x="108489" y="22031"/>
                    <a:pt x="117419" y="6723"/>
                    <a:pt x="118596" y="1375"/>
                  </a:cubicBezTo>
                  <a:cubicBezTo>
                    <a:pt x="105242" y="1007"/>
                    <a:pt x="86977" y="-1700"/>
                    <a:pt x="73948" y="539"/>
                  </a:cubicBezTo>
                  <a:cubicBezTo>
                    <a:pt x="65221" y="2043"/>
                    <a:pt x="76545" y="18755"/>
                    <a:pt x="70132" y="22933"/>
                  </a:cubicBezTo>
                  <a:cubicBezTo>
                    <a:pt x="66844" y="25106"/>
                    <a:pt x="43546" y="23769"/>
                    <a:pt x="38513" y="23902"/>
                  </a:cubicBezTo>
                  <a:cubicBezTo>
                    <a:pt x="31815" y="24069"/>
                    <a:pt x="25524" y="24437"/>
                    <a:pt x="18867" y="25106"/>
                  </a:cubicBezTo>
                  <a:cubicBezTo>
                    <a:pt x="9734" y="33929"/>
                    <a:pt x="19963" y="29484"/>
                    <a:pt x="24955" y="37238"/>
                  </a:cubicBezTo>
                  <a:cubicBezTo>
                    <a:pt x="26457" y="39611"/>
                    <a:pt x="15782" y="40581"/>
                    <a:pt x="13875" y="41116"/>
                  </a:cubicBezTo>
                  <a:cubicBezTo>
                    <a:pt x="7664" y="42854"/>
                    <a:pt x="9816" y="47800"/>
                    <a:pt x="6162" y="50775"/>
                  </a:cubicBezTo>
                  <a:cubicBezTo>
                    <a:pt x="-3741" y="59031"/>
                    <a:pt x="-1184" y="58362"/>
                    <a:pt x="9328" y="66918"/>
                  </a:cubicBezTo>
                  <a:cubicBezTo>
                    <a:pt x="24875" y="79653"/>
                    <a:pt x="39446" y="96498"/>
                    <a:pt x="60147" y="107027"/>
                  </a:cubicBezTo>
                  <a:cubicBezTo>
                    <a:pt x="63435" y="103815"/>
                    <a:pt x="68265" y="101976"/>
                    <a:pt x="73379" y="10201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80EDBAAF-4649-40A6-BB94-6DA858A81E0E}"/>
                </a:ext>
              </a:extLst>
            </p:cNvPr>
            <p:cNvSpPr/>
            <p:nvPr/>
          </p:nvSpPr>
          <p:spPr>
            <a:xfrm>
              <a:off x="6079224" y="4810515"/>
              <a:ext cx="58975" cy="24131"/>
            </a:xfrm>
            <a:custGeom>
              <a:avLst/>
              <a:gdLst>
                <a:gd name="connsiteX0" fmla="*/ 57346 w 58975"/>
                <a:gd name="connsiteY0" fmla="*/ 21621 h 24131"/>
                <a:gd name="connsiteX1" fmla="*/ 58564 w 58975"/>
                <a:gd name="connsiteY1" fmla="*/ -339 h 24131"/>
                <a:gd name="connsiteX2" fmla="*/ 12495 w 58975"/>
                <a:gd name="connsiteY2" fmla="*/ 898 h 24131"/>
                <a:gd name="connsiteX3" fmla="*/ 6203 w 58975"/>
                <a:gd name="connsiteY3" fmla="*/ 12529 h 24131"/>
                <a:gd name="connsiteX4" fmla="*/ 6203 w 58975"/>
                <a:gd name="connsiteY4" fmla="*/ 23793 h 24131"/>
                <a:gd name="connsiteX5" fmla="*/ 57346 w 58975"/>
                <a:gd name="connsiteY5" fmla="*/ 21621 h 2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975" h="24131">
                  <a:moveTo>
                    <a:pt x="57346" y="21621"/>
                  </a:moveTo>
                  <a:cubicBezTo>
                    <a:pt x="58889" y="14374"/>
                    <a:pt x="59294" y="6995"/>
                    <a:pt x="58564" y="-339"/>
                  </a:cubicBezTo>
                  <a:cubicBezTo>
                    <a:pt x="44967" y="3004"/>
                    <a:pt x="26782" y="831"/>
                    <a:pt x="12495" y="898"/>
                  </a:cubicBezTo>
                  <a:cubicBezTo>
                    <a:pt x="15620" y="5544"/>
                    <a:pt x="15701" y="10557"/>
                    <a:pt x="6203" y="12529"/>
                  </a:cubicBezTo>
                  <a:cubicBezTo>
                    <a:pt x="-10033" y="15872"/>
                    <a:pt x="10993" y="19214"/>
                    <a:pt x="6203" y="23793"/>
                  </a:cubicBezTo>
                  <a:cubicBezTo>
                    <a:pt x="22967" y="22022"/>
                    <a:pt x="40258" y="22189"/>
                    <a:pt x="57346" y="2162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3519CC23-B5F0-408D-92F7-17FB60451A16}"/>
                </a:ext>
              </a:extLst>
            </p:cNvPr>
            <p:cNvSpPr/>
            <p:nvPr/>
          </p:nvSpPr>
          <p:spPr>
            <a:xfrm>
              <a:off x="6126482" y="4788559"/>
              <a:ext cx="199106" cy="147629"/>
            </a:xfrm>
            <a:custGeom>
              <a:avLst/>
              <a:gdLst>
                <a:gd name="connsiteX0" fmla="*/ 52586 w 199106"/>
                <a:gd name="connsiteY0" fmla="*/ 138634 h 147629"/>
                <a:gd name="connsiteX1" fmla="*/ 64763 w 199106"/>
                <a:gd name="connsiteY1" fmla="*/ 141976 h 147629"/>
                <a:gd name="connsiteX2" fmla="*/ 88710 w 199106"/>
                <a:gd name="connsiteY2" fmla="*/ 136896 h 147629"/>
                <a:gd name="connsiteX3" fmla="*/ 96220 w 199106"/>
                <a:gd name="connsiteY3" fmla="*/ 144583 h 147629"/>
                <a:gd name="connsiteX4" fmla="*/ 113754 w 199106"/>
                <a:gd name="connsiteY4" fmla="*/ 137899 h 147629"/>
                <a:gd name="connsiteX5" fmla="*/ 129179 w 199106"/>
                <a:gd name="connsiteY5" fmla="*/ 124997 h 147629"/>
                <a:gd name="connsiteX6" fmla="*/ 135632 w 199106"/>
                <a:gd name="connsiteY6" fmla="*/ 93245 h 147629"/>
                <a:gd name="connsiteX7" fmla="*/ 154060 w 199106"/>
                <a:gd name="connsiteY7" fmla="*/ 78973 h 147629"/>
                <a:gd name="connsiteX8" fmla="*/ 170012 w 199106"/>
                <a:gd name="connsiteY8" fmla="*/ 56445 h 147629"/>
                <a:gd name="connsiteX9" fmla="*/ 184381 w 199106"/>
                <a:gd name="connsiteY9" fmla="*/ 28102 h 147629"/>
                <a:gd name="connsiteX10" fmla="*/ 198506 w 199106"/>
                <a:gd name="connsiteY10" fmla="*/ 996 h 147629"/>
                <a:gd name="connsiteX11" fmla="*/ 160108 w 199106"/>
                <a:gd name="connsiteY11" fmla="*/ 461 h 147629"/>
                <a:gd name="connsiteX12" fmla="*/ 145455 w 199106"/>
                <a:gd name="connsiteY12" fmla="*/ 7981 h 147629"/>
                <a:gd name="connsiteX13" fmla="*/ 131248 w 199106"/>
                <a:gd name="connsiteY13" fmla="*/ 31378 h 147629"/>
                <a:gd name="connsiteX14" fmla="*/ 94312 w 199106"/>
                <a:gd name="connsiteY14" fmla="*/ 22387 h 147629"/>
                <a:gd name="connsiteX15" fmla="*/ 67319 w 199106"/>
                <a:gd name="connsiteY15" fmla="*/ 22387 h 147629"/>
                <a:gd name="connsiteX16" fmla="*/ 55508 w 199106"/>
                <a:gd name="connsiteY16" fmla="*/ 37661 h 147629"/>
                <a:gd name="connsiteX17" fmla="*/ 88629 w 199106"/>
                <a:gd name="connsiteY17" fmla="*/ 45750 h 147629"/>
                <a:gd name="connsiteX18" fmla="*/ 74220 w 199106"/>
                <a:gd name="connsiteY18" fmla="*/ 58852 h 147629"/>
                <a:gd name="connsiteX19" fmla="*/ 90456 w 199106"/>
                <a:gd name="connsiteY19" fmla="*/ 72689 h 147629"/>
                <a:gd name="connsiteX20" fmla="*/ 76168 w 199106"/>
                <a:gd name="connsiteY20" fmla="*/ 105210 h 147629"/>
                <a:gd name="connsiteX21" fmla="*/ 55873 w 199106"/>
                <a:gd name="connsiteY21" fmla="*/ 100698 h 147629"/>
                <a:gd name="connsiteX22" fmla="*/ 43291 w 199106"/>
                <a:gd name="connsiteY22" fmla="*/ 93044 h 147629"/>
                <a:gd name="connsiteX23" fmla="*/ 33873 w 199106"/>
                <a:gd name="connsiteY23" fmla="*/ 101768 h 147629"/>
                <a:gd name="connsiteX24" fmla="*/ 15527 w 199106"/>
                <a:gd name="connsiteY24" fmla="*/ 105611 h 147629"/>
                <a:gd name="connsiteX25" fmla="*/ 21291 w 199106"/>
                <a:gd name="connsiteY25" fmla="*/ 121120 h 147629"/>
                <a:gd name="connsiteX26" fmla="*/ -60 w 199106"/>
                <a:gd name="connsiteY26" fmla="*/ 127805 h 147629"/>
                <a:gd name="connsiteX27" fmla="*/ 26486 w 199106"/>
                <a:gd name="connsiteY27" fmla="*/ 147291 h 147629"/>
                <a:gd name="connsiteX28" fmla="*/ 52423 w 199106"/>
                <a:gd name="connsiteY28" fmla="*/ 138935 h 147629"/>
                <a:gd name="connsiteX29" fmla="*/ 52586 w 199106"/>
                <a:gd name="connsiteY29" fmla="*/ 138634 h 14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99106" h="147629">
                  <a:moveTo>
                    <a:pt x="52586" y="138634"/>
                  </a:moveTo>
                  <a:cubicBezTo>
                    <a:pt x="57050" y="139603"/>
                    <a:pt x="59323" y="142645"/>
                    <a:pt x="64763" y="141976"/>
                  </a:cubicBezTo>
                  <a:cubicBezTo>
                    <a:pt x="73327" y="140974"/>
                    <a:pt x="78685" y="134657"/>
                    <a:pt x="88710" y="136896"/>
                  </a:cubicBezTo>
                  <a:cubicBezTo>
                    <a:pt x="93256" y="137932"/>
                    <a:pt x="93337" y="144951"/>
                    <a:pt x="96220" y="144583"/>
                  </a:cubicBezTo>
                  <a:cubicBezTo>
                    <a:pt x="103201" y="143714"/>
                    <a:pt x="106083" y="138467"/>
                    <a:pt x="113754" y="137899"/>
                  </a:cubicBezTo>
                  <a:cubicBezTo>
                    <a:pt x="127758" y="136829"/>
                    <a:pt x="117529" y="127270"/>
                    <a:pt x="129179" y="124997"/>
                  </a:cubicBezTo>
                  <a:cubicBezTo>
                    <a:pt x="138067" y="123259"/>
                    <a:pt x="135145" y="98593"/>
                    <a:pt x="135632" y="93245"/>
                  </a:cubicBezTo>
                  <a:cubicBezTo>
                    <a:pt x="136322" y="85657"/>
                    <a:pt x="145820" y="83819"/>
                    <a:pt x="154060" y="78973"/>
                  </a:cubicBezTo>
                  <a:cubicBezTo>
                    <a:pt x="162299" y="74127"/>
                    <a:pt x="164370" y="63197"/>
                    <a:pt x="170012" y="56445"/>
                  </a:cubicBezTo>
                  <a:cubicBezTo>
                    <a:pt x="178130" y="46686"/>
                    <a:pt x="179226" y="38196"/>
                    <a:pt x="184381" y="28102"/>
                  </a:cubicBezTo>
                  <a:cubicBezTo>
                    <a:pt x="189536" y="18008"/>
                    <a:pt x="201753" y="13128"/>
                    <a:pt x="198506" y="996"/>
                  </a:cubicBezTo>
                  <a:cubicBezTo>
                    <a:pt x="184015" y="60"/>
                    <a:pt x="174680" y="-1177"/>
                    <a:pt x="160108" y="461"/>
                  </a:cubicBezTo>
                  <a:cubicBezTo>
                    <a:pt x="146551" y="1998"/>
                    <a:pt x="147931" y="661"/>
                    <a:pt x="145455" y="7981"/>
                  </a:cubicBezTo>
                  <a:cubicBezTo>
                    <a:pt x="142654" y="16203"/>
                    <a:pt x="132994" y="22387"/>
                    <a:pt x="131248" y="31378"/>
                  </a:cubicBezTo>
                  <a:cubicBezTo>
                    <a:pt x="120005" y="27801"/>
                    <a:pt x="106894" y="23256"/>
                    <a:pt x="94312" y="22387"/>
                  </a:cubicBezTo>
                  <a:cubicBezTo>
                    <a:pt x="85585" y="21785"/>
                    <a:pt x="76087" y="22387"/>
                    <a:pt x="67319" y="22387"/>
                  </a:cubicBezTo>
                  <a:cubicBezTo>
                    <a:pt x="53275" y="22052"/>
                    <a:pt x="56523" y="30241"/>
                    <a:pt x="55508" y="37661"/>
                  </a:cubicBezTo>
                  <a:cubicBezTo>
                    <a:pt x="54371" y="45683"/>
                    <a:pt x="87087" y="31679"/>
                    <a:pt x="88629" y="45750"/>
                  </a:cubicBezTo>
                  <a:cubicBezTo>
                    <a:pt x="89360" y="52635"/>
                    <a:pt x="73165" y="52435"/>
                    <a:pt x="74220" y="58852"/>
                  </a:cubicBezTo>
                  <a:cubicBezTo>
                    <a:pt x="75275" y="65269"/>
                    <a:pt x="88183" y="66673"/>
                    <a:pt x="90456" y="72689"/>
                  </a:cubicBezTo>
                  <a:cubicBezTo>
                    <a:pt x="93094" y="79374"/>
                    <a:pt x="96017" y="107985"/>
                    <a:pt x="76168" y="105210"/>
                  </a:cubicBezTo>
                  <a:cubicBezTo>
                    <a:pt x="70770" y="104475"/>
                    <a:pt x="58796" y="103673"/>
                    <a:pt x="55873" y="100698"/>
                  </a:cubicBezTo>
                  <a:cubicBezTo>
                    <a:pt x="54290" y="99060"/>
                    <a:pt x="48973" y="89434"/>
                    <a:pt x="43291" y="93044"/>
                  </a:cubicBezTo>
                  <a:cubicBezTo>
                    <a:pt x="39597" y="95417"/>
                    <a:pt x="41342" y="101835"/>
                    <a:pt x="33873" y="101768"/>
                  </a:cubicBezTo>
                  <a:cubicBezTo>
                    <a:pt x="28638" y="101768"/>
                    <a:pt x="15974" y="100564"/>
                    <a:pt x="15527" y="105611"/>
                  </a:cubicBezTo>
                  <a:cubicBezTo>
                    <a:pt x="15121" y="110124"/>
                    <a:pt x="25593" y="116842"/>
                    <a:pt x="21291" y="121120"/>
                  </a:cubicBezTo>
                  <a:cubicBezTo>
                    <a:pt x="16988" y="125398"/>
                    <a:pt x="5055" y="122591"/>
                    <a:pt x="-60" y="127805"/>
                  </a:cubicBezTo>
                  <a:cubicBezTo>
                    <a:pt x="10494" y="132544"/>
                    <a:pt x="19546" y="139209"/>
                    <a:pt x="26486" y="147291"/>
                  </a:cubicBezTo>
                  <a:cubicBezTo>
                    <a:pt x="31114" y="145352"/>
                    <a:pt x="45929" y="137598"/>
                    <a:pt x="52423" y="138935"/>
                  </a:cubicBezTo>
                  <a:cubicBezTo>
                    <a:pt x="57700" y="139737"/>
                    <a:pt x="49744" y="138066"/>
                    <a:pt x="52586" y="13863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BBD16363-2288-44A1-88E6-5422152967E1}"/>
                </a:ext>
              </a:extLst>
            </p:cNvPr>
            <p:cNvSpPr/>
            <p:nvPr/>
          </p:nvSpPr>
          <p:spPr>
            <a:xfrm>
              <a:off x="6429155" y="4471099"/>
              <a:ext cx="486444" cy="336473"/>
            </a:xfrm>
            <a:custGeom>
              <a:avLst/>
              <a:gdLst>
                <a:gd name="connsiteX0" fmla="*/ 398416 w 486444"/>
                <a:gd name="connsiteY0" fmla="*/ 4708 h 336473"/>
                <a:gd name="connsiteX1" fmla="*/ 385468 w 486444"/>
                <a:gd name="connsiteY1" fmla="*/ 13933 h 336473"/>
                <a:gd name="connsiteX2" fmla="*/ 364442 w 486444"/>
                <a:gd name="connsiteY2" fmla="*/ 20150 h 336473"/>
                <a:gd name="connsiteX3" fmla="*/ 343457 w 486444"/>
                <a:gd name="connsiteY3" fmla="*/ 15571 h 336473"/>
                <a:gd name="connsiteX4" fmla="*/ 316221 w 486444"/>
                <a:gd name="connsiteY4" fmla="*/ 13565 h 336473"/>
                <a:gd name="connsiteX5" fmla="*/ 299620 w 486444"/>
                <a:gd name="connsiteY5" fmla="*/ 10223 h 336473"/>
                <a:gd name="connsiteX6" fmla="*/ 278757 w 486444"/>
                <a:gd name="connsiteY6" fmla="*/ 12061 h 336473"/>
                <a:gd name="connsiteX7" fmla="*/ 241415 w 486444"/>
                <a:gd name="connsiteY7" fmla="*/ 9621 h 336473"/>
                <a:gd name="connsiteX8" fmla="*/ 118509 w 486444"/>
                <a:gd name="connsiteY8" fmla="*/ 2669 h 336473"/>
                <a:gd name="connsiteX9" fmla="*/ 96266 w 486444"/>
                <a:gd name="connsiteY9" fmla="*/ 7148 h 336473"/>
                <a:gd name="connsiteX10" fmla="*/ 94561 w 486444"/>
                <a:gd name="connsiteY10" fmla="*/ 31915 h 336473"/>
                <a:gd name="connsiteX11" fmla="*/ 85428 w 486444"/>
                <a:gd name="connsiteY11" fmla="*/ 36995 h 336473"/>
                <a:gd name="connsiteX12" fmla="*/ 65945 w 486444"/>
                <a:gd name="connsiteY12" fmla="*/ 45452 h 336473"/>
                <a:gd name="connsiteX13" fmla="*/ 63550 w 486444"/>
                <a:gd name="connsiteY13" fmla="*/ 82552 h 336473"/>
                <a:gd name="connsiteX14" fmla="*/ 62455 w 486444"/>
                <a:gd name="connsiteY14" fmla="*/ 101804 h 336473"/>
                <a:gd name="connsiteX15" fmla="*/ 50683 w 486444"/>
                <a:gd name="connsiteY15" fmla="*/ 110594 h 336473"/>
                <a:gd name="connsiteX16" fmla="*/ 29739 w 486444"/>
                <a:gd name="connsiteY16" fmla="*/ 124665 h 336473"/>
                <a:gd name="connsiteX17" fmla="*/ 15046 w 486444"/>
                <a:gd name="connsiteY17" fmla="*/ 135762 h 336473"/>
                <a:gd name="connsiteX18" fmla="*/ 3396 w 486444"/>
                <a:gd name="connsiteY18" fmla="*/ 143617 h 336473"/>
                <a:gd name="connsiteX19" fmla="*/ 190 w 486444"/>
                <a:gd name="connsiteY19" fmla="*/ 158791 h 336473"/>
                <a:gd name="connsiteX20" fmla="*/ 12367 w 486444"/>
                <a:gd name="connsiteY20" fmla="*/ 163504 h 336473"/>
                <a:gd name="connsiteX21" fmla="*/ 13381 w 486444"/>
                <a:gd name="connsiteY21" fmla="*/ 178043 h 336473"/>
                <a:gd name="connsiteX22" fmla="*/ 25558 w 486444"/>
                <a:gd name="connsiteY22" fmla="*/ 187234 h 336473"/>
                <a:gd name="connsiteX23" fmla="*/ 27101 w 486444"/>
                <a:gd name="connsiteY23" fmla="*/ 197262 h 336473"/>
                <a:gd name="connsiteX24" fmla="*/ 42606 w 486444"/>
                <a:gd name="connsiteY24" fmla="*/ 211065 h 336473"/>
                <a:gd name="connsiteX25" fmla="*/ 47680 w 486444"/>
                <a:gd name="connsiteY25" fmla="*/ 218653 h 336473"/>
                <a:gd name="connsiteX26" fmla="*/ 38222 w 486444"/>
                <a:gd name="connsiteY26" fmla="*/ 227944 h 336473"/>
                <a:gd name="connsiteX27" fmla="*/ 49953 w 486444"/>
                <a:gd name="connsiteY27" fmla="*/ 233325 h 336473"/>
                <a:gd name="connsiteX28" fmla="*/ 59085 w 486444"/>
                <a:gd name="connsiteY28" fmla="*/ 239409 h 336473"/>
                <a:gd name="connsiteX29" fmla="*/ 86808 w 486444"/>
                <a:gd name="connsiteY29" fmla="*/ 253213 h 336473"/>
                <a:gd name="connsiteX30" fmla="*/ 90502 w 486444"/>
                <a:gd name="connsiteY30" fmla="*/ 259530 h 336473"/>
                <a:gd name="connsiteX31" fmla="*/ 106373 w 486444"/>
                <a:gd name="connsiteY31" fmla="*/ 267719 h 336473"/>
                <a:gd name="connsiteX32" fmla="*/ 119686 w 486444"/>
                <a:gd name="connsiteY32" fmla="*/ 283060 h 336473"/>
                <a:gd name="connsiteX33" fmla="*/ 135191 w 486444"/>
                <a:gd name="connsiteY33" fmla="*/ 289979 h 336473"/>
                <a:gd name="connsiteX34" fmla="*/ 160885 w 486444"/>
                <a:gd name="connsiteY34" fmla="*/ 314077 h 336473"/>
                <a:gd name="connsiteX35" fmla="*/ 191002 w 486444"/>
                <a:gd name="connsiteY35" fmla="*/ 315548 h 336473"/>
                <a:gd name="connsiteX36" fmla="*/ 209267 w 486444"/>
                <a:gd name="connsiteY36" fmla="*/ 316550 h 336473"/>
                <a:gd name="connsiteX37" fmla="*/ 240237 w 486444"/>
                <a:gd name="connsiteY37" fmla="*/ 333496 h 336473"/>
                <a:gd name="connsiteX38" fmla="*/ 267067 w 486444"/>
                <a:gd name="connsiteY38" fmla="*/ 333997 h 336473"/>
                <a:gd name="connsiteX39" fmla="*/ 288661 w 486444"/>
                <a:gd name="connsiteY39" fmla="*/ 333496 h 336473"/>
                <a:gd name="connsiteX40" fmla="*/ 315085 w 486444"/>
                <a:gd name="connsiteY40" fmla="*/ 334566 h 336473"/>
                <a:gd name="connsiteX41" fmla="*/ 339439 w 486444"/>
                <a:gd name="connsiteY41" fmla="*/ 322667 h 336473"/>
                <a:gd name="connsiteX42" fmla="*/ 376700 w 486444"/>
                <a:gd name="connsiteY42" fmla="*/ 325742 h 336473"/>
                <a:gd name="connsiteX43" fmla="*/ 370409 w 486444"/>
                <a:gd name="connsiteY43" fmla="*/ 308763 h 336473"/>
                <a:gd name="connsiteX44" fmla="*/ 340413 w 486444"/>
                <a:gd name="connsiteY44" fmla="*/ 283026 h 336473"/>
                <a:gd name="connsiteX45" fmla="*/ 316506 w 486444"/>
                <a:gd name="connsiteY45" fmla="*/ 269089 h 336473"/>
                <a:gd name="connsiteX46" fmla="*/ 313827 w 486444"/>
                <a:gd name="connsiteY46" fmla="*/ 254149 h 336473"/>
                <a:gd name="connsiteX47" fmla="*/ 336923 w 486444"/>
                <a:gd name="connsiteY47" fmla="*/ 253179 h 336473"/>
                <a:gd name="connsiteX48" fmla="*/ 349099 w 486444"/>
                <a:gd name="connsiteY48" fmla="*/ 227276 h 336473"/>
                <a:gd name="connsiteX49" fmla="*/ 351250 w 486444"/>
                <a:gd name="connsiteY49" fmla="*/ 218653 h 336473"/>
                <a:gd name="connsiteX50" fmla="*/ 368623 w 486444"/>
                <a:gd name="connsiteY50" fmla="*/ 212603 h 336473"/>
                <a:gd name="connsiteX51" fmla="*/ 373737 w 486444"/>
                <a:gd name="connsiteY51" fmla="*/ 200637 h 336473"/>
                <a:gd name="connsiteX52" fmla="*/ 389202 w 486444"/>
                <a:gd name="connsiteY52" fmla="*/ 189975 h 336473"/>
                <a:gd name="connsiteX53" fmla="*/ 402028 w 486444"/>
                <a:gd name="connsiteY53" fmla="*/ 186633 h 336473"/>
                <a:gd name="connsiteX54" fmla="*/ 413718 w 486444"/>
                <a:gd name="connsiteY54" fmla="*/ 174968 h 336473"/>
                <a:gd name="connsiteX55" fmla="*/ 422201 w 486444"/>
                <a:gd name="connsiteY55" fmla="*/ 144887 h 336473"/>
                <a:gd name="connsiteX56" fmla="*/ 438681 w 486444"/>
                <a:gd name="connsiteY56" fmla="*/ 130214 h 336473"/>
                <a:gd name="connsiteX57" fmla="*/ 445135 w 486444"/>
                <a:gd name="connsiteY57" fmla="*/ 117981 h 336473"/>
                <a:gd name="connsiteX58" fmla="*/ 478580 w 486444"/>
                <a:gd name="connsiteY58" fmla="*/ 107787 h 336473"/>
                <a:gd name="connsiteX59" fmla="*/ 468352 w 486444"/>
                <a:gd name="connsiteY59" fmla="*/ 88735 h 336473"/>
                <a:gd name="connsiteX60" fmla="*/ 458407 w 486444"/>
                <a:gd name="connsiteY60" fmla="*/ 56782 h 336473"/>
                <a:gd name="connsiteX61" fmla="*/ 451710 w 486444"/>
                <a:gd name="connsiteY61" fmla="*/ 27804 h 336473"/>
                <a:gd name="connsiteX62" fmla="*/ 416113 w 486444"/>
                <a:gd name="connsiteY62" fmla="*/ -339 h 336473"/>
                <a:gd name="connsiteX63" fmla="*/ 398416 w 486444"/>
                <a:gd name="connsiteY63" fmla="*/ 4708 h 33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444" h="336473">
                  <a:moveTo>
                    <a:pt x="398416" y="4708"/>
                  </a:moveTo>
                  <a:cubicBezTo>
                    <a:pt x="391475" y="4140"/>
                    <a:pt x="389445" y="11894"/>
                    <a:pt x="385468" y="13933"/>
                  </a:cubicBezTo>
                  <a:cubicBezTo>
                    <a:pt x="378121" y="17677"/>
                    <a:pt x="370652" y="14334"/>
                    <a:pt x="364442" y="20150"/>
                  </a:cubicBezTo>
                  <a:cubicBezTo>
                    <a:pt x="358232" y="25966"/>
                    <a:pt x="348693" y="16808"/>
                    <a:pt x="343457" y="15571"/>
                  </a:cubicBezTo>
                  <a:cubicBezTo>
                    <a:pt x="335583" y="13833"/>
                    <a:pt x="324421" y="14134"/>
                    <a:pt x="316221" y="13565"/>
                  </a:cubicBezTo>
                  <a:cubicBezTo>
                    <a:pt x="310417" y="13722"/>
                    <a:pt x="304694" y="12566"/>
                    <a:pt x="299620" y="10223"/>
                  </a:cubicBezTo>
                  <a:cubicBezTo>
                    <a:pt x="290284" y="6145"/>
                    <a:pt x="286956" y="12630"/>
                    <a:pt x="278757" y="12061"/>
                  </a:cubicBezTo>
                  <a:lnTo>
                    <a:pt x="241415" y="9621"/>
                  </a:lnTo>
                  <a:cubicBezTo>
                    <a:pt x="200460" y="7015"/>
                    <a:pt x="159464" y="4698"/>
                    <a:pt x="118509" y="2669"/>
                  </a:cubicBezTo>
                  <a:cubicBezTo>
                    <a:pt x="104830" y="2001"/>
                    <a:pt x="96875" y="-1341"/>
                    <a:pt x="96266" y="7148"/>
                  </a:cubicBezTo>
                  <a:lnTo>
                    <a:pt x="94561" y="31915"/>
                  </a:lnTo>
                  <a:cubicBezTo>
                    <a:pt x="94155" y="37630"/>
                    <a:pt x="95616" y="37463"/>
                    <a:pt x="85428" y="36995"/>
                  </a:cubicBezTo>
                  <a:cubicBezTo>
                    <a:pt x="65864" y="36093"/>
                    <a:pt x="66635" y="34723"/>
                    <a:pt x="65945" y="45452"/>
                  </a:cubicBezTo>
                  <a:cubicBezTo>
                    <a:pt x="65174" y="57818"/>
                    <a:pt x="64362" y="70185"/>
                    <a:pt x="63550" y="82552"/>
                  </a:cubicBezTo>
                  <a:cubicBezTo>
                    <a:pt x="63144" y="88936"/>
                    <a:pt x="63550" y="95453"/>
                    <a:pt x="62455" y="101804"/>
                  </a:cubicBezTo>
                  <a:cubicBezTo>
                    <a:pt x="61359" y="108154"/>
                    <a:pt x="60222" y="109057"/>
                    <a:pt x="50683" y="110594"/>
                  </a:cubicBezTo>
                  <a:cubicBezTo>
                    <a:pt x="32661" y="113502"/>
                    <a:pt x="37248" y="116777"/>
                    <a:pt x="29739" y="124665"/>
                  </a:cubicBezTo>
                  <a:cubicBezTo>
                    <a:pt x="23975" y="130682"/>
                    <a:pt x="17562" y="127573"/>
                    <a:pt x="15046" y="135762"/>
                  </a:cubicBezTo>
                  <a:cubicBezTo>
                    <a:pt x="13503" y="141010"/>
                    <a:pt x="311" y="138670"/>
                    <a:pt x="3396" y="143617"/>
                  </a:cubicBezTo>
                  <a:cubicBezTo>
                    <a:pt x="8105" y="151137"/>
                    <a:pt x="-1718" y="152541"/>
                    <a:pt x="190" y="158791"/>
                  </a:cubicBezTo>
                  <a:cubicBezTo>
                    <a:pt x="1529" y="163103"/>
                    <a:pt x="9160" y="160796"/>
                    <a:pt x="12367" y="163504"/>
                  </a:cubicBezTo>
                  <a:cubicBezTo>
                    <a:pt x="17238" y="167481"/>
                    <a:pt x="10500" y="173531"/>
                    <a:pt x="13381" y="178043"/>
                  </a:cubicBezTo>
                  <a:cubicBezTo>
                    <a:pt x="15249" y="180951"/>
                    <a:pt x="26776" y="185095"/>
                    <a:pt x="25558" y="187234"/>
                  </a:cubicBezTo>
                  <a:cubicBezTo>
                    <a:pt x="22555" y="192616"/>
                    <a:pt x="21499" y="192716"/>
                    <a:pt x="27101" y="197262"/>
                  </a:cubicBezTo>
                  <a:cubicBezTo>
                    <a:pt x="32702" y="201807"/>
                    <a:pt x="40170" y="206186"/>
                    <a:pt x="42606" y="211065"/>
                  </a:cubicBezTo>
                  <a:cubicBezTo>
                    <a:pt x="43864" y="213672"/>
                    <a:pt x="46665" y="216012"/>
                    <a:pt x="47680" y="218653"/>
                  </a:cubicBezTo>
                  <a:cubicBezTo>
                    <a:pt x="50602" y="224970"/>
                    <a:pt x="43093" y="224067"/>
                    <a:pt x="38222" y="227944"/>
                  </a:cubicBezTo>
                  <a:cubicBezTo>
                    <a:pt x="33352" y="231821"/>
                    <a:pt x="46706" y="232924"/>
                    <a:pt x="49953" y="233325"/>
                  </a:cubicBezTo>
                  <a:cubicBezTo>
                    <a:pt x="55270" y="234027"/>
                    <a:pt x="52469" y="238473"/>
                    <a:pt x="59085" y="239409"/>
                  </a:cubicBezTo>
                  <a:cubicBezTo>
                    <a:pt x="71912" y="241214"/>
                    <a:pt x="79380" y="247129"/>
                    <a:pt x="86808" y="253213"/>
                  </a:cubicBezTo>
                  <a:cubicBezTo>
                    <a:pt x="89365" y="255285"/>
                    <a:pt x="88188" y="257591"/>
                    <a:pt x="90502" y="259530"/>
                  </a:cubicBezTo>
                  <a:cubicBezTo>
                    <a:pt x="94277" y="262872"/>
                    <a:pt x="101705" y="265078"/>
                    <a:pt x="106373" y="267719"/>
                  </a:cubicBezTo>
                  <a:cubicBezTo>
                    <a:pt x="114937" y="272598"/>
                    <a:pt x="112420" y="279116"/>
                    <a:pt x="119686" y="283060"/>
                  </a:cubicBezTo>
                  <a:cubicBezTo>
                    <a:pt x="123258" y="284998"/>
                    <a:pt x="133689" y="287372"/>
                    <a:pt x="135191" y="289979"/>
                  </a:cubicBezTo>
                  <a:cubicBezTo>
                    <a:pt x="139981" y="298334"/>
                    <a:pt x="147612" y="309197"/>
                    <a:pt x="160885" y="314077"/>
                  </a:cubicBezTo>
                  <a:cubicBezTo>
                    <a:pt x="172372" y="318255"/>
                    <a:pt x="180733" y="309999"/>
                    <a:pt x="191002" y="315548"/>
                  </a:cubicBezTo>
                  <a:cubicBezTo>
                    <a:pt x="195061" y="317653"/>
                    <a:pt x="202367" y="312740"/>
                    <a:pt x="209267" y="316550"/>
                  </a:cubicBezTo>
                  <a:cubicBezTo>
                    <a:pt x="215275" y="319893"/>
                    <a:pt x="233946" y="334398"/>
                    <a:pt x="240237" y="333496"/>
                  </a:cubicBezTo>
                  <a:cubicBezTo>
                    <a:pt x="249330" y="332193"/>
                    <a:pt x="258665" y="330154"/>
                    <a:pt x="267067" y="333997"/>
                  </a:cubicBezTo>
                  <a:cubicBezTo>
                    <a:pt x="276971" y="338576"/>
                    <a:pt x="277905" y="334532"/>
                    <a:pt x="288661" y="333496"/>
                  </a:cubicBezTo>
                  <a:cubicBezTo>
                    <a:pt x="293532" y="333028"/>
                    <a:pt x="313583" y="338777"/>
                    <a:pt x="315085" y="334566"/>
                  </a:cubicBezTo>
                  <a:cubicBezTo>
                    <a:pt x="316181" y="331524"/>
                    <a:pt x="333878" y="324204"/>
                    <a:pt x="339439" y="322667"/>
                  </a:cubicBezTo>
                  <a:cubicBezTo>
                    <a:pt x="355188" y="318188"/>
                    <a:pt x="362291" y="320828"/>
                    <a:pt x="376700" y="325742"/>
                  </a:cubicBezTo>
                  <a:cubicBezTo>
                    <a:pt x="380759" y="314846"/>
                    <a:pt x="385305" y="314378"/>
                    <a:pt x="370409" y="308763"/>
                  </a:cubicBezTo>
                  <a:cubicBezTo>
                    <a:pt x="355512" y="303147"/>
                    <a:pt x="351657" y="291082"/>
                    <a:pt x="340413" y="283026"/>
                  </a:cubicBezTo>
                  <a:cubicBezTo>
                    <a:pt x="331686" y="276776"/>
                    <a:pt x="329779" y="272298"/>
                    <a:pt x="316506" y="269089"/>
                  </a:cubicBezTo>
                  <a:cubicBezTo>
                    <a:pt x="303233" y="265880"/>
                    <a:pt x="303842" y="259062"/>
                    <a:pt x="313827" y="254149"/>
                  </a:cubicBezTo>
                  <a:cubicBezTo>
                    <a:pt x="319347" y="251474"/>
                    <a:pt x="334771" y="257023"/>
                    <a:pt x="336923" y="253179"/>
                  </a:cubicBezTo>
                  <a:cubicBezTo>
                    <a:pt x="341915" y="244155"/>
                    <a:pt x="339236" y="235064"/>
                    <a:pt x="349099" y="227276"/>
                  </a:cubicBezTo>
                  <a:cubicBezTo>
                    <a:pt x="353889" y="223499"/>
                    <a:pt x="349099" y="221460"/>
                    <a:pt x="351250" y="218653"/>
                  </a:cubicBezTo>
                  <a:cubicBezTo>
                    <a:pt x="354011" y="215076"/>
                    <a:pt x="365173" y="216346"/>
                    <a:pt x="368623" y="212603"/>
                  </a:cubicBezTo>
                  <a:cubicBezTo>
                    <a:pt x="372073" y="208859"/>
                    <a:pt x="370693" y="204381"/>
                    <a:pt x="373737" y="200637"/>
                  </a:cubicBezTo>
                  <a:cubicBezTo>
                    <a:pt x="376781" y="196894"/>
                    <a:pt x="384534" y="193117"/>
                    <a:pt x="389202" y="189975"/>
                  </a:cubicBezTo>
                  <a:cubicBezTo>
                    <a:pt x="393870" y="186833"/>
                    <a:pt x="396265" y="188337"/>
                    <a:pt x="402028" y="186633"/>
                  </a:cubicBezTo>
                  <a:cubicBezTo>
                    <a:pt x="409578" y="184226"/>
                    <a:pt x="409578" y="178879"/>
                    <a:pt x="413718" y="174968"/>
                  </a:cubicBezTo>
                  <a:cubicBezTo>
                    <a:pt x="425043" y="164172"/>
                    <a:pt x="418508" y="156652"/>
                    <a:pt x="422201" y="144887"/>
                  </a:cubicBezTo>
                  <a:cubicBezTo>
                    <a:pt x="424150" y="138570"/>
                    <a:pt x="434094" y="135662"/>
                    <a:pt x="438681" y="130214"/>
                  </a:cubicBezTo>
                  <a:cubicBezTo>
                    <a:pt x="441847" y="126437"/>
                    <a:pt x="438397" y="120187"/>
                    <a:pt x="445135" y="117981"/>
                  </a:cubicBezTo>
                  <a:cubicBezTo>
                    <a:pt x="455932" y="114204"/>
                    <a:pt x="468352" y="112265"/>
                    <a:pt x="478580" y="107787"/>
                  </a:cubicBezTo>
                  <a:cubicBezTo>
                    <a:pt x="496115" y="100099"/>
                    <a:pt x="480285" y="96055"/>
                    <a:pt x="468352" y="88735"/>
                  </a:cubicBezTo>
                  <a:cubicBezTo>
                    <a:pt x="454430" y="80212"/>
                    <a:pt x="458205" y="66742"/>
                    <a:pt x="458407" y="56782"/>
                  </a:cubicBezTo>
                  <a:cubicBezTo>
                    <a:pt x="458407" y="48259"/>
                    <a:pt x="458894" y="35959"/>
                    <a:pt x="451710" y="27804"/>
                  </a:cubicBezTo>
                  <a:cubicBezTo>
                    <a:pt x="442456" y="17309"/>
                    <a:pt x="418305" y="11727"/>
                    <a:pt x="416113" y="-339"/>
                  </a:cubicBezTo>
                  <a:cubicBezTo>
                    <a:pt x="409740" y="3405"/>
                    <a:pt x="408239" y="5510"/>
                    <a:pt x="398416" y="470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622F6494-40FB-4FDC-9CDC-40734A0329CF}"/>
                </a:ext>
              </a:extLst>
            </p:cNvPr>
            <p:cNvSpPr/>
            <p:nvPr/>
          </p:nvSpPr>
          <p:spPr>
            <a:xfrm>
              <a:off x="6995223" y="4679829"/>
              <a:ext cx="52754" cy="31250"/>
            </a:xfrm>
            <a:custGeom>
              <a:avLst/>
              <a:gdLst>
                <a:gd name="connsiteX0" fmla="*/ 20602 w 52754"/>
                <a:gd name="connsiteY0" fmla="*/ 1098 h 31250"/>
                <a:gd name="connsiteX1" fmla="*/ -17 w 52754"/>
                <a:gd name="connsiteY1" fmla="*/ 20518 h 31250"/>
                <a:gd name="connsiteX2" fmla="*/ 30953 w 52754"/>
                <a:gd name="connsiteY2" fmla="*/ 30912 h 31250"/>
                <a:gd name="connsiteX3" fmla="*/ 44226 w 52754"/>
                <a:gd name="connsiteY3" fmla="*/ 23893 h 31250"/>
                <a:gd name="connsiteX4" fmla="*/ 29451 w 52754"/>
                <a:gd name="connsiteY4" fmla="*/ 16941 h 31250"/>
                <a:gd name="connsiteX5" fmla="*/ 51572 w 52754"/>
                <a:gd name="connsiteY5" fmla="*/ 11393 h 31250"/>
                <a:gd name="connsiteX6" fmla="*/ 42927 w 52754"/>
                <a:gd name="connsiteY6" fmla="*/ -339 h 31250"/>
                <a:gd name="connsiteX7" fmla="*/ 20602 w 52754"/>
                <a:gd name="connsiteY7" fmla="*/ 1098 h 31250"/>
                <a:gd name="connsiteX8" fmla="*/ 20602 w 52754"/>
                <a:gd name="connsiteY8" fmla="*/ 1098 h 3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" h="31250">
                  <a:moveTo>
                    <a:pt x="20602" y="1098"/>
                  </a:moveTo>
                  <a:cubicBezTo>
                    <a:pt x="12484" y="7081"/>
                    <a:pt x="-910" y="11727"/>
                    <a:pt x="-17" y="20518"/>
                  </a:cubicBezTo>
                  <a:cubicBezTo>
                    <a:pt x="1160" y="32082"/>
                    <a:pt x="20278" y="23258"/>
                    <a:pt x="30953" y="30912"/>
                  </a:cubicBezTo>
                  <a:cubicBezTo>
                    <a:pt x="35174" y="28302"/>
                    <a:pt x="39599" y="25956"/>
                    <a:pt x="44226" y="23893"/>
                  </a:cubicBezTo>
                  <a:cubicBezTo>
                    <a:pt x="42440" y="23024"/>
                    <a:pt x="27300" y="19080"/>
                    <a:pt x="29451" y="16941"/>
                  </a:cubicBezTo>
                  <a:cubicBezTo>
                    <a:pt x="34078" y="12362"/>
                    <a:pt x="47229" y="14869"/>
                    <a:pt x="51572" y="11393"/>
                  </a:cubicBezTo>
                  <a:cubicBezTo>
                    <a:pt x="55916" y="7917"/>
                    <a:pt x="46499" y="2235"/>
                    <a:pt x="42927" y="-339"/>
                  </a:cubicBezTo>
                  <a:cubicBezTo>
                    <a:pt x="33388" y="1767"/>
                    <a:pt x="31481" y="3004"/>
                    <a:pt x="20602" y="1098"/>
                  </a:cubicBezTo>
                  <a:cubicBezTo>
                    <a:pt x="18695" y="2502"/>
                    <a:pt x="27503" y="2302"/>
                    <a:pt x="20602" y="109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CB6EE2CB-C747-4493-A8FE-C09C991BD207}"/>
                </a:ext>
              </a:extLst>
            </p:cNvPr>
            <p:cNvSpPr/>
            <p:nvPr/>
          </p:nvSpPr>
          <p:spPr>
            <a:xfrm>
              <a:off x="6850846" y="4573341"/>
              <a:ext cx="187363" cy="108264"/>
            </a:xfrm>
            <a:custGeom>
              <a:avLst/>
              <a:gdLst>
                <a:gd name="connsiteX0" fmla="*/ 37122 w 187363"/>
                <a:gd name="connsiteY0" fmla="*/ 11861 h 108264"/>
                <a:gd name="connsiteX1" fmla="*/ 20318 w 187363"/>
                <a:gd name="connsiteY1" fmla="*/ 17175 h 108264"/>
                <a:gd name="connsiteX2" fmla="*/ 12768 w 187363"/>
                <a:gd name="connsiteY2" fmla="*/ 31614 h 108264"/>
                <a:gd name="connsiteX3" fmla="*/ -17 w 187363"/>
                <a:gd name="connsiteY3" fmla="*/ 46287 h 108264"/>
                <a:gd name="connsiteX4" fmla="*/ 17071 w 187363"/>
                <a:gd name="connsiteY4" fmla="*/ 59657 h 108264"/>
                <a:gd name="connsiteX5" fmla="*/ 32576 w 187363"/>
                <a:gd name="connsiteY5" fmla="*/ 61094 h 108264"/>
                <a:gd name="connsiteX6" fmla="*/ 45849 w 187363"/>
                <a:gd name="connsiteY6" fmla="*/ 54409 h 108264"/>
                <a:gd name="connsiteX7" fmla="*/ 61273 w 187363"/>
                <a:gd name="connsiteY7" fmla="*/ 62531 h 108264"/>
                <a:gd name="connsiteX8" fmla="*/ 73815 w 187363"/>
                <a:gd name="connsiteY8" fmla="*/ 61462 h 108264"/>
                <a:gd name="connsiteX9" fmla="*/ 83272 w 187363"/>
                <a:gd name="connsiteY9" fmla="*/ 64136 h 108264"/>
                <a:gd name="connsiteX10" fmla="*/ 113634 w 187363"/>
                <a:gd name="connsiteY10" fmla="*/ 68581 h 108264"/>
                <a:gd name="connsiteX11" fmla="*/ 141479 w 187363"/>
                <a:gd name="connsiteY11" fmla="*/ 88635 h 108264"/>
                <a:gd name="connsiteX12" fmla="*/ 187304 w 187363"/>
                <a:gd name="connsiteY12" fmla="*/ 106416 h 108264"/>
                <a:gd name="connsiteX13" fmla="*/ 149515 w 187363"/>
                <a:gd name="connsiteY13" fmla="*/ 74497 h 108264"/>
                <a:gd name="connsiteX14" fmla="*/ 128936 w 187363"/>
                <a:gd name="connsiteY14" fmla="*/ 63032 h 108264"/>
                <a:gd name="connsiteX15" fmla="*/ 108641 w 187363"/>
                <a:gd name="connsiteY15" fmla="*/ 56114 h 108264"/>
                <a:gd name="connsiteX16" fmla="*/ 86195 w 187363"/>
                <a:gd name="connsiteY16" fmla="*/ 34856 h 108264"/>
                <a:gd name="connsiteX17" fmla="*/ 67240 w 187363"/>
                <a:gd name="connsiteY17" fmla="*/ -339 h 108264"/>
                <a:gd name="connsiteX18" fmla="*/ 37001 w 187363"/>
                <a:gd name="connsiteY18" fmla="*/ 12128 h 1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7363" h="108264">
                  <a:moveTo>
                    <a:pt x="37122" y="11861"/>
                  </a:moveTo>
                  <a:cubicBezTo>
                    <a:pt x="32251" y="14034"/>
                    <a:pt x="23687" y="13900"/>
                    <a:pt x="20318" y="17175"/>
                  </a:cubicBezTo>
                  <a:cubicBezTo>
                    <a:pt x="15812" y="21587"/>
                    <a:pt x="19141" y="26902"/>
                    <a:pt x="12768" y="31614"/>
                  </a:cubicBezTo>
                  <a:cubicBezTo>
                    <a:pt x="6396" y="36327"/>
                    <a:pt x="104" y="39235"/>
                    <a:pt x="-17" y="46287"/>
                  </a:cubicBezTo>
                  <a:cubicBezTo>
                    <a:pt x="-261" y="56916"/>
                    <a:pt x="-17" y="57651"/>
                    <a:pt x="17071" y="59657"/>
                  </a:cubicBezTo>
                  <a:cubicBezTo>
                    <a:pt x="22266" y="60225"/>
                    <a:pt x="29532" y="64202"/>
                    <a:pt x="32576" y="61094"/>
                  </a:cubicBezTo>
                  <a:cubicBezTo>
                    <a:pt x="35174" y="58487"/>
                    <a:pt x="37528" y="51267"/>
                    <a:pt x="45849" y="54409"/>
                  </a:cubicBezTo>
                  <a:cubicBezTo>
                    <a:pt x="51613" y="56515"/>
                    <a:pt x="54291" y="61595"/>
                    <a:pt x="61273" y="62531"/>
                  </a:cubicBezTo>
                  <a:cubicBezTo>
                    <a:pt x="65494" y="62484"/>
                    <a:pt x="69675" y="62127"/>
                    <a:pt x="73815" y="61462"/>
                  </a:cubicBezTo>
                  <a:cubicBezTo>
                    <a:pt x="77306" y="61462"/>
                    <a:pt x="79822" y="63668"/>
                    <a:pt x="83272" y="64136"/>
                  </a:cubicBezTo>
                  <a:cubicBezTo>
                    <a:pt x="93136" y="65439"/>
                    <a:pt x="105922" y="63868"/>
                    <a:pt x="113634" y="68581"/>
                  </a:cubicBezTo>
                  <a:cubicBezTo>
                    <a:pt x="123375" y="74834"/>
                    <a:pt x="132670" y="81529"/>
                    <a:pt x="141479" y="88635"/>
                  </a:cubicBezTo>
                  <a:cubicBezTo>
                    <a:pt x="157714" y="101069"/>
                    <a:pt x="161773" y="112031"/>
                    <a:pt x="187304" y="106416"/>
                  </a:cubicBezTo>
                  <a:cubicBezTo>
                    <a:pt x="173301" y="96389"/>
                    <a:pt x="163437" y="84591"/>
                    <a:pt x="149515" y="74497"/>
                  </a:cubicBezTo>
                  <a:cubicBezTo>
                    <a:pt x="143305" y="69928"/>
                    <a:pt x="136405" y="66071"/>
                    <a:pt x="128936" y="63032"/>
                  </a:cubicBezTo>
                  <a:cubicBezTo>
                    <a:pt x="122645" y="60526"/>
                    <a:pt x="112700" y="60091"/>
                    <a:pt x="108641" y="56114"/>
                  </a:cubicBezTo>
                  <a:cubicBezTo>
                    <a:pt x="101213" y="48961"/>
                    <a:pt x="91310" y="42744"/>
                    <a:pt x="86195" y="34856"/>
                  </a:cubicBezTo>
                  <a:cubicBezTo>
                    <a:pt x="78077" y="22389"/>
                    <a:pt x="80675" y="11460"/>
                    <a:pt x="67240" y="-339"/>
                  </a:cubicBezTo>
                  <a:cubicBezTo>
                    <a:pt x="58757" y="5845"/>
                    <a:pt x="46945" y="7516"/>
                    <a:pt x="37001" y="1212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C0F7627A-AFF3-4D6C-9CC6-EC940CDA07FA}"/>
                </a:ext>
              </a:extLst>
            </p:cNvPr>
            <p:cNvSpPr/>
            <p:nvPr/>
          </p:nvSpPr>
          <p:spPr>
            <a:xfrm>
              <a:off x="6734835" y="4627182"/>
              <a:ext cx="423569" cy="199254"/>
            </a:xfrm>
            <a:custGeom>
              <a:avLst/>
              <a:gdLst>
                <a:gd name="connsiteX0" fmla="*/ 26006 w 423569"/>
                <a:gd name="connsiteY0" fmla="*/ 118989 h 199254"/>
                <a:gd name="connsiteX1" fmla="*/ 46057 w 423569"/>
                <a:gd name="connsiteY1" fmla="*/ 136202 h 199254"/>
                <a:gd name="connsiteX2" fmla="*/ 69356 w 423569"/>
                <a:gd name="connsiteY2" fmla="*/ 153917 h 199254"/>
                <a:gd name="connsiteX3" fmla="*/ 71020 w 423569"/>
                <a:gd name="connsiteY3" fmla="*/ 169459 h 199254"/>
                <a:gd name="connsiteX4" fmla="*/ 99433 w 423569"/>
                <a:gd name="connsiteY4" fmla="*/ 175608 h 199254"/>
                <a:gd name="connsiteX5" fmla="*/ 126507 w 423569"/>
                <a:gd name="connsiteY5" fmla="*/ 188109 h 199254"/>
                <a:gd name="connsiteX6" fmla="*/ 153661 w 423569"/>
                <a:gd name="connsiteY6" fmla="*/ 194794 h 199254"/>
                <a:gd name="connsiteX7" fmla="*/ 177163 w 423569"/>
                <a:gd name="connsiteY7" fmla="*/ 198136 h 199254"/>
                <a:gd name="connsiteX8" fmla="*/ 214424 w 423569"/>
                <a:gd name="connsiteY8" fmla="*/ 190214 h 199254"/>
                <a:gd name="connsiteX9" fmla="*/ 224409 w 423569"/>
                <a:gd name="connsiteY9" fmla="*/ 196064 h 199254"/>
                <a:gd name="connsiteX10" fmla="*/ 244258 w 423569"/>
                <a:gd name="connsiteY10" fmla="*/ 195362 h 199254"/>
                <a:gd name="connsiteX11" fmla="*/ 273076 w 423569"/>
                <a:gd name="connsiteY11" fmla="*/ 194626 h 199254"/>
                <a:gd name="connsiteX12" fmla="*/ 306360 w 423569"/>
                <a:gd name="connsiteY12" fmla="*/ 188176 h 199254"/>
                <a:gd name="connsiteX13" fmla="*/ 338304 w 423569"/>
                <a:gd name="connsiteY13" fmla="*/ 188443 h 199254"/>
                <a:gd name="connsiteX14" fmla="*/ 420985 w 423569"/>
                <a:gd name="connsiteY14" fmla="*/ 153114 h 199254"/>
                <a:gd name="connsiteX15" fmla="*/ 409458 w 423569"/>
                <a:gd name="connsiteY15" fmla="*/ 147332 h 199254"/>
                <a:gd name="connsiteX16" fmla="*/ 374266 w 423569"/>
                <a:gd name="connsiteY16" fmla="*/ 137706 h 199254"/>
                <a:gd name="connsiteX17" fmla="*/ 311515 w 423569"/>
                <a:gd name="connsiteY17" fmla="*/ 114610 h 199254"/>
                <a:gd name="connsiteX18" fmla="*/ 292559 w 423569"/>
                <a:gd name="connsiteY18" fmla="*/ 98601 h 199254"/>
                <a:gd name="connsiteX19" fmla="*/ 285943 w 423569"/>
                <a:gd name="connsiteY19" fmla="*/ 89342 h 199254"/>
                <a:gd name="connsiteX20" fmla="*/ 286390 w 423569"/>
                <a:gd name="connsiteY20" fmla="*/ 80351 h 199254"/>
                <a:gd name="connsiteX21" fmla="*/ 261021 w 423569"/>
                <a:gd name="connsiteY21" fmla="*/ 76073 h 199254"/>
                <a:gd name="connsiteX22" fmla="*/ 277663 w 423569"/>
                <a:gd name="connsiteY22" fmla="*/ 56019 h 199254"/>
                <a:gd name="connsiteX23" fmla="*/ 226235 w 423569"/>
                <a:gd name="connsiteY23" fmla="*/ 12568 h 199254"/>
                <a:gd name="connsiteX24" fmla="*/ 199284 w 423569"/>
                <a:gd name="connsiteY24" fmla="*/ 9995 h 199254"/>
                <a:gd name="connsiteX25" fmla="*/ 189827 w 423569"/>
                <a:gd name="connsiteY25" fmla="*/ 7321 h 199254"/>
                <a:gd name="connsiteX26" fmla="*/ 172860 w 423569"/>
                <a:gd name="connsiteY26" fmla="*/ 6987 h 199254"/>
                <a:gd name="connsiteX27" fmla="*/ 151753 w 423569"/>
                <a:gd name="connsiteY27" fmla="*/ 3042 h 199254"/>
                <a:gd name="connsiteX28" fmla="*/ 117617 w 423569"/>
                <a:gd name="connsiteY28" fmla="*/ 4580 h 199254"/>
                <a:gd name="connsiteX29" fmla="*/ 105440 w 423569"/>
                <a:gd name="connsiteY29" fmla="*/ 21292 h 199254"/>
                <a:gd name="connsiteX30" fmla="*/ 79706 w 423569"/>
                <a:gd name="connsiteY30" fmla="*/ 36433 h 199254"/>
                <a:gd name="connsiteX31" fmla="*/ 68139 w 423569"/>
                <a:gd name="connsiteY31" fmla="*/ 44287 h 199254"/>
                <a:gd name="connsiteX32" fmla="*/ 63024 w 423569"/>
                <a:gd name="connsiteY32" fmla="*/ 56253 h 199254"/>
                <a:gd name="connsiteX33" fmla="*/ 48736 w 423569"/>
                <a:gd name="connsiteY33" fmla="*/ 60899 h 199254"/>
                <a:gd name="connsiteX34" fmla="*/ 46301 w 423569"/>
                <a:gd name="connsiteY34" fmla="*/ 68519 h 199254"/>
                <a:gd name="connsiteX35" fmla="*/ 33515 w 423569"/>
                <a:gd name="connsiteY35" fmla="*/ 90779 h 199254"/>
                <a:gd name="connsiteX36" fmla="*/ 15656 w 423569"/>
                <a:gd name="connsiteY36" fmla="*/ 96996 h 199254"/>
                <a:gd name="connsiteX37" fmla="*/ 394 w 423569"/>
                <a:gd name="connsiteY37" fmla="*/ 108527 h 199254"/>
                <a:gd name="connsiteX38" fmla="*/ 26006 w 423569"/>
                <a:gd name="connsiteY38" fmla="*/ 118922 h 199254"/>
                <a:gd name="connsiteX39" fmla="*/ 26006 w 423569"/>
                <a:gd name="connsiteY39" fmla="*/ 118989 h 199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23569" h="199254">
                  <a:moveTo>
                    <a:pt x="26006" y="118989"/>
                  </a:moveTo>
                  <a:cubicBezTo>
                    <a:pt x="29416" y="125440"/>
                    <a:pt x="40903" y="130152"/>
                    <a:pt x="46057" y="136202"/>
                  </a:cubicBezTo>
                  <a:cubicBezTo>
                    <a:pt x="52227" y="143488"/>
                    <a:pt x="55393" y="150507"/>
                    <a:pt x="69356" y="153917"/>
                  </a:cubicBezTo>
                  <a:cubicBezTo>
                    <a:pt x="81046" y="156791"/>
                    <a:pt x="73131" y="163442"/>
                    <a:pt x="71020" y="169459"/>
                  </a:cubicBezTo>
                  <a:cubicBezTo>
                    <a:pt x="80234" y="172259"/>
                    <a:pt x="89732" y="174318"/>
                    <a:pt x="99433" y="175608"/>
                  </a:cubicBezTo>
                  <a:cubicBezTo>
                    <a:pt x="109986" y="177480"/>
                    <a:pt x="117861" y="184132"/>
                    <a:pt x="126507" y="188109"/>
                  </a:cubicBezTo>
                  <a:cubicBezTo>
                    <a:pt x="135152" y="192086"/>
                    <a:pt x="143351" y="193022"/>
                    <a:pt x="153661" y="194794"/>
                  </a:cubicBezTo>
                  <a:cubicBezTo>
                    <a:pt x="160155" y="195963"/>
                    <a:pt x="171642" y="200776"/>
                    <a:pt x="177163" y="198136"/>
                  </a:cubicBezTo>
                  <a:cubicBezTo>
                    <a:pt x="185889" y="193791"/>
                    <a:pt x="201313" y="186839"/>
                    <a:pt x="214424" y="190214"/>
                  </a:cubicBezTo>
                  <a:cubicBezTo>
                    <a:pt x="219010" y="191351"/>
                    <a:pt x="218808" y="194827"/>
                    <a:pt x="224409" y="196064"/>
                  </a:cubicBezTo>
                  <a:cubicBezTo>
                    <a:pt x="230010" y="197300"/>
                    <a:pt x="239427" y="195495"/>
                    <a:pt x="244258" y="195362"/>
                  </a:cubicBezTo>
                  <a:cubicBezTo>
                    <a:pt x="252822" y="195128"/>
                    <a:pt x="265648" y="197100"/>
                    <a:pt x="273076" y="194626"/>
                  </a:cubicBezTo>
                  <a:cubicBezTo>
                    <a:pt x="283183" y="191284"/>
                    <a:pt x="293371" y="186738"/>
                    <a:pt x="306360" y="188176"/>
                  </a:cubicBezTo>
                  <a:cubicBezTo>
                    <a:pt x="317360" y="189412"/>
                    <a:pt x="328968" y="192822"/>
                    <a:pt x="338304" y="188443"/>
                  </a:cubicBezTo>
                  <a:cubicBezTo>
                    <a:pt x="365093" y="175455"/>
                    <a:pt x="392694" y="163663"/>
                    <a:pt x="420985" y="153114"/>
                  </a:cubicBezTo>
                  <a:cubicBezTo>
                    <a:pt x="429671" y="149772"/>
                    <a:pt x="413476" y="147934"/>
                    <a:pt x="409458" y="147332"/>
                  </a:cubicBezTo>
                  <a:cubicBezTo>
                    <a:pt x="397281" y="145330"/>
                    <a:pt x="385469" y="142095"/>
                    <a:pt x="374266" y="137706"/>
                  </a:cubicBezTo>
                  <a:cubicBezTo>
                    <a:pt x="356610" y="131021"/>
                    <a:pt x="324017" y="124905"/>
                    <a:pt x="311515" y="114610"/>
                  </a:cubicBezTo>
                  <a:cubicBezTo>
                    <a:pt x="305020" y="109263"/>
                    <a:pt x="297430" y="104583"/>
                    <a:pt x="292559" y="98601"/>
                  </a:cubicBezTo>
                  <a:cubicBezTo>
                    <a:pt x="290042" y="95676"/>
                    <a:pt x="287810" y="92581"/>
                    <a:pt x="285943" y="89342"/>
                  </a:cubicBezTo>
                  <a:cubicBezTo>
                    <a:pt x="282899" y="83727"/>
                    <a:pt x="298120" y="86401"/>
                    <a:pt x="286390" y="80351"/>
                  </a:cubicBezTo>
                  <a:cubicBezTo>
                    <a:pt x="279043" y="76508"/>
                    <a:pt x="263740" y="84362"/>
                    <a:pt x="261021" y="76073"/>
                  </a:cubicBezTo>
                  <a:cubicBezTo>
                    <a:pt x="257774" y="66313"/>
                    <a:pt x="268571" y="62470"/>
                    <a:pt x="277663" y="56019"/>
                  </a:cubicBezTo>
                  <a:cubicBezTo>
                    <a:pt x="286755" y="49568"/>
                    <a:pt x="238494" y="17782"/>
                    <a:pt x="226235" y="12568"/>
                  </a:cubicBezTo>
                  <a:cubicBezTo>
                    <a:pt x="219985" y="9794"/>
                    <a:pt x="206631" y="10964"/>
                    <a:pt x="199284" y="9995"/>
                  </a:cubicBezTo>
                  <a:cubicBezTo>
                    <a:pt x="195834" y="9527"/>
                    <a:pt x="193317" y="7354"/>
                    <a:pt x="189827" y="7321"/>
                  </a:cubicBezTo>
                  <a:cubicBezTo>
                    <a:pt x="183738" y="7321"/>
                    <a:pt x="178705" y="9961"/>
                    <a:pt x="172860" y="6987"/>
                  </a:cubicBezTo>
                  <a:cubicBezTo>
                    <a:pt x="167015" y="4012"/>
                    <a:pt x="157477" y="-5280"/>
                    <a:pt x="151753" y="3042"/>
                  </a:cubicBezTo>
                  <a:cubicBezTo>
                    <a:pt x="146030" y="11365"/>
                    <a:pt x="132636" y="5248"/>
                    <a:pt x="117617" y="4580"/>
                  </a:cubicBezTo>
                  <a:cubicBezTo>
                    <a:pt x="116724" y="11265"/>
                    <a:pt x="110149" y="15510"/>
                    <a:pt x="105440" y="21292"/>
                  </a:cubicBezTo>
                  <a:cubicBezTo>
                    <a:pt x="98581" y="29781"/>
                    <a:pt x="88961" y="29514"/>
                    <a:pt x="79706" y="36433"/>
                  </a:cubicBezTo>
                  <a:cubicBezTo>
                    <a:pt x="76297" y="39006"/>
                    <a:pt x="70574" y="41312"/>
                    <a:pt x="68139" y="44287"/>
                  </a:cubicBezTo>
                  <a:cubicBezTo>
                    <a:pt x="65094" y="48031"/>
                    <a:pt x="66352" y="52643"/>
                    <a:pt x="63024" y="56253"/>
                  </a:cubicBezTo>
                  <a:cubicBezTo>
                    <a:pt x="60304" y="59228"/>
                    <a:pt x="53445" y="59595"/>
                    <a:pt x="48736" y="60899"/>
                  </a:cubicBezTo>
                  <a:cubicBezTo>
                    <a:pt x="42607" y="62537"/>
                    <a:pt x="49305" y="65478"/>
                    <a:pt x="46301" y="68519"/>
                  </a:cubicBezTo>
                  <a:cubicBezTo>
                    <a:pt x="39685" y="74866"/>
                    <a:pt x="35302" y="82554"/>
                    <a:pt x="33515" y="90779"/>
                  </a:cubicBezTo>
                  <a:cubicBezTo>
                    <a:pt x="30877" y="99737"/>
                    <a:pt x="29172" y="97464"/>
                    <a:pt x="15656" y="96996"/>
                  </a:cubicBezTo>
                  <a:cubicBezTo>
                    <a:pt x="8715" y="96695"/>
                    <a:pt x="-2447" y="104416"/>
                    <a:pt x="394" y="108527"/>
                  </a:cubicBezTo>
                  <a:cubicBezTo>
                    <a:pt x="4453" y="114443"/>
                    <a:pt x="22516" y="112338"/>
                    <a:pt x="26006" y="118922"/>
                  </a:cubicBezTo>
                  <a:cubicBezTo>
                    <a:pt x="28929" y="124537"/>
                    <a:pt x="23084" y="113474"/>
                    <a:pt x="26006" y="11898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F1B039A1-1C5F-4C0C-87EB-F7D0B24D7CC9}"/>
                </a:ext>
              </a:extLst>
            </p:cNvPr>
            <p:cNvSpPr/>
            <p:nvPr/>
          </p:nvSpPr>
          <p:spPr>
            <a:xfrm>
              <a:off x="6855555" y="4258324"/>
              <a:ext cx="45401" cy="29986"/>
            </a:xfrm>
            <a:custGeom>
              <a:avLst/>
              <a:gdLst>
                <a:gd name="connsiteX0" fmla="*/ 40165 w 45401"/>
                <a:gd name="connsiteY0" fmla="*/ 13800 h 29986"/>
                <a:gd name="connsiteX1" fmla="*/ 33914 w 45401"/>
                <a:gd name="connsiteY1" fmla="*/ 129 h 29986"/>
                <a:gd name="connsiteX2" fmla="*/ 22305 w 45401"/>
                <a:gd name="connsiteY2" fmla="*/ 6814 h 29986"/>
                <a:gd name="connsiteX3" fmla="*/ -60 w 45401"/>
                <a:gd name="connsiteY3" fmla="*/ 24997 h 29986"/>
                <a:gd name="connsiteX4" fmla="*/ 14147 w 45401"/>
                <a:gd name="connsiteY4" fmla="*/ 29643 h 29986"/>
                <a:gd name="connsiteX5" fmla="*/ 40165 w 45401"/>
                <a:gd name="connsiteY5" fmla="*/ 13800 h 2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01" h="29986">
                  <a:moveTo>
                    <a:pt x="40165" y="13800"/>
                  </a:moveTo>
                  <a:cubicBezTo>
                    <a:pt x="49988" y="10190"/>
                    <a:pt x="44670" y="2102"/>
                    <a:pt x="33914" y="129"/>
                  </a:cubicBezTo>
                  <a:cubicBezTo>
                    <a:pt x="23158" y="-1842"/>
                    <a:pt x="26689" y="2803"/>
                    <a:pt x="22305" y="6814"/>
                  </a:cubicBezTo>
                  <a:cubicBezTo>
                    <a:pt x="15527" y="13131"/>
                    <a:pt x="6557" y="18613"/>
                    <a:pt x="-60" y="24997"/>
                  </a:cubicBezTo>
                  <a:cubicBezTo>
                    <a:pt x="2741" y="25899"/>
                    <a:pt x="11265" y="29810"/>
                    <a:pt x="14147" y="29643"/>
                  </a:cubicBezTo>
                  <a:cubicBezTo>
                    <a:pt x="21656" y="23165"/>
                    <a:pt x="30464" y="17804"/>
                    <a:pt x="40165" y="1380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65743EF4-B10A-4CCA-9207-9EBFE814A520}"/>
                </a:ext>
              </a:extLst>
            </p:cNvPr>
            <p:cNvSpPr/>
            <p:nvPr/>
          </p:nvSpPr>
          <p:spPr>
            <a:xfrm>
              <a:off x="6870995" y="4223293"/>
              <a:ext cx="223796" cy="82218"/>
            </a:xfrm>
            <a:custGeom>
              <a:avLst/>
              <a:gdLst>
                <a:gd name="connsiteX0" fmla="*/ 24725 w 223796"/>
                <a:gd name="connsiteY0" fmla="*/ 48831 h 82218"/>
                <a:gd name="connsiteX1" fmla="*/ 3253 w 223796"/>
                <a:gd name="connsiteY1" fmla="*/ 61264 h 82218"/>
                <a:gd name="connsiteX2" fmla="*/ 1670 w 223796"/>
                <a:gd name="connsiteY2" fmla="*/ 70422 h 82218"/>
                <a:gd name="connsiteX3" fmla="*/ 28987 w 223796"/>
                <a:gd name="connsiteY3" fmla="*/ 81853 h 82218"/>
                <a:gd name="connsiteX4" fmla="*/ 64625 w 223796"/>
                <a:gd name="connsiteY4" fmla="*/ 75168 h 82218"/>
                <a:gd name="connsiteX5" fmla="*/ 112602 w 223796"/>
                <a:gd name="connsiteY5" fmla="*/ 66980 h 82218"/>
                <a:gd name="connsiteX6" fmla="*/ 178439 w 223796"/>
                <a:gd name="connsiteY6" fmla="*/ 49399 h 82218"/>
                <a:gd name="connsiteX7" fmla="*/ 183553 w 223796"/>
                <a:gd name="connsiteY7" fmla="*/ 34258 h 82218"/>
                <a:gd name="connsiteX8" fmla="*/ 187206 w 223796"/>
                <a:gd name="connsiteY8" fmla="*/ 17546 h 82218"/>
                <a:gd name="connsiteX9" fmla="*/ 223737 w 223796"/>
                <a:gd name="connsiteY9" fmla="*/ 8789 h 82218"/>
                <a:gd name="connsiteX10" fmla="*/ 169550 w 223796"/>
                <a:gd name="connsiteY10" fmla="*/ 3909 h 82218"/>
                <a:gd name="connsiteX11" fmla="*/ 133668 w 223796"/>
                <a:gd name="connsiteY11" fmla="*/ 6917 h 82218"/>
                <a:gd name="connsiteX12" fmla="*/ 97909 w 223796"/>
                <a:gd name="connsiteY12" fmla="*/ 2806 h 82218"/>
                <a:gd name="connsiteX13" fmla="*/ 60566 w 223796"/>
                <a:gd name="connsiteY13" fmla="*/ 3675 h 82218"/>
                <a:gd name="connsiteX14" fmla="*/ 35928 w 223796"/>
                <a:gd name="connsiteY14" fmla="*/ 4845 h 82218"/>
                <a:gd name="connsiteX15" fmla="*/ 16485 w 223796"/>
                <a:gd name="connsiteY15" fmla="*/ 13468 h 82218"/>
                <a:gd name="connsiteX16" fmla="*/ 16729 w 223796"/>
                <a:gd name="connsiteY16" fmla="*/ 24766 h 82218"/>
                <a:gd name="connsiteX17" fmla="*/ 11168 w 223796"/>
                <a:gd name="connsiteY17" fmla="*/ 34358 h 82218"/>
                <a:gd name="connsiteX18" fmla="*/ 24522 w 223796"/>
                <a:gd name="connsiteY18" fmla="*/ 48831 h 82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3796" h="82218">
                  <a:moveTo>
                    <a:pt x="24725" y="48831"/>
                  </a:moveTo>
                  <a:cubicBezTo>
                    <a:pt x="16851" y="52079"/>
                    <a:pt x="9626" y="56267"/>
                    <a:pt x="3253" y="61264"/>
                  </a:cubicBezTo>
                  <a:cubicBezTo>
                    <a:pt x="-2104" y="65074"/>
                    <a:pt x="331" y="65475"/>
                    <a:pt x="1670" y="70422"/>
                  </a:cubicBezTo>
                  <a:cubicBezTo>
                    <a:pt x="2320" y="72695"/>
                    <a:pt x="24644" y="81619"/>
                    <a:pt x="28987" y="81853"/>
                  </a:cubicBezTo>
                  <a:cubicBezTo>
                    <a:pt x="37511" y="82321"/>
                    <a:pt x="55127" y="76572"/>
                    <a:pt x="64625" y="75168"/>
                  </a:cubicBezTo>
                  <a:cubicBezTo>
                    <a:pt x="80861" y="72929"/>
                    <a:pt x="96732" y="69820"/>
                    <a:pt x="112602" y="66980"/>
                  </a:cubicBezTo>
                  <a:cubicBezTo>
                    <a:pt x="132897" y="63303"/>
                    <a:pt x="170037" y="61832"/>
                    <a:pt x="178439" y="49399"/>
                  </a:cubicBezTo>
                  <a:cubicBezTo>
                    <a:pt x="181645" y="44586"/>
                    <a:pt x="175679" y="38335"/>
                    <a:pt x="183553" y="34258"/>
                  </a:cubicBezTo>
                  <a:cubicBezTo>
                    <a:pt x="191427" y="30180"/>
                    <a:pt x="176206" y="22125"/>
                    <a:pt x="187206" y="17546"/>
                  </a:cubicBezTo>
                  <a:cubicBezTo>
                    <a:pt x="196298" y="13635"/>
                    <a:pt x="213184" y="11697"/>
                    <a:pt x="223737" y="8789"/>
                  </a:cubicBezTo>
                  <a:cubicBezTo>
                    <a:pt x="209206" y="3709"/>
                    <a:pt x="185299" y="4110"/>
                    <a:pt x="169550" y="3909"/>
                  </a:cubicBezTo>
                  <a:cubicBezTo>
                    <a:pt x="156642" y="3709"/>
                    <a:pt x="147225" y="8254"/>
                    <a:pt x="133668" y="6917"/>
                  </a:cubicBezTo>
                  <a:cubicBezTo>
                    <a:pt x="125550" y="6115"/>
                    <a:pt x="103510" y="7552"/>
                    <a:pt x="97909" y="2806"/>
                  </a:cubicBezTo>
                  <a:cubicBezTo>
                    <a:pt x="91617" y="-2575"/>
                    <a:pt x="70470" y="4745"/>
                    <a:pt x="60566" y="3675"/>
                  </a:cubicBezTo>
                  <a:cubicBezTo>
                    <a:pt x="49648" y="2472"/>
                    <a:pt x="39297" y="-5383"/>
                    <a:pt x="35928" y="4845"/>
                  </a:cubicBezTo>
                  <a:cubicBezTo>
                    <a:pt x="34021" y="10661"/>
                    <a:pt x="27810" y="13602"/>
                    <a:pt x="16485" y="13468"/>
                  </a:cubicBezTo>
                  <a:cubicBezTo>
                    <a:pt x="13644" y="18448"/>
                    <a:pt x="16729" y="20153"/>
                    <a:pt x="16729" y="24766"/>
                  </a:cubicBezTo>
                  <a:cubicBezTo>
                    <a:pt x="16729" y="28108"/>
                    <a:pt x="12427" y="31149"/>
                    <a:pt x="11168" y="34358"/>
                  </a:cubicBezTo>
                  <a:cubicBezTo>
                    <a:pt x="23670" y="35127"/>
                    <a:pt x="38607" y="43650"/>
                    <a:pt x="24522" y="4883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10C6FABF-7C05-485A-951A-2E3C5E2E8958}"/>
                </a:ext>
              </a:extLst>
            </p:cNvPr>
            <p:cNvSpPr/>
            <p:nvPr/>
          </p:nvSpPr>
          <p:spPr>
            <a:xfrm>
              <a:off x="9582064" y="4891177"/>
              <a:ext cx="114017" cy="81248"/>
            </a:xfrm>
            <a:custGeom>
              <a:avLst/>
              <a:gdLst>
                <a:gd name="connsiteX0" fmla="*/ 57038 w 114017"/>
                <a:gd name="connsiteY0" fmla="*/ 620 h 81248"/>
                <a:gd name="connsiteX1" fmla="*/ 36175 w 114017"/>
                <a:gd name="connsiteY1" fmla="*/ 3060 h 81248"/>
                <a:gd name="connsiteX2" fmla="*/ 43765 w 114017"/>
                <a:gd name="connsiteY2" fmla="*/ 17165 h 81248"/>
                <a:gd name="connsiteX3" fmla="*/ 29518 w 114017"/>
                <a:gd name="connsiteY3" fmla="*/ 15794 h 81248"/>
                <a:gd name="connsiteX4" fmla="*/ 23389 w 114017"/>
                <a:gd name="connsiteY4" fmla="*/ 30634 h 81248"/>
                <a:gd name="connsiteX5" fmla="*/ 2363 w 114017"/>
                <a:gd name="connsiteY5" fmla="*/ 44806 h 81248"/>
                <a:gd name="connsiteX6" fmla="*/ 1105 w 114017"/>
                <a:gd name="connsiteY6" fmla="*/ 57707 h 81248"/>
                <a:gd name="connsiteX7" fmla="*/ 22699 w 114017"/>
                <a:gd name="connsiteY7" fmla="*/ 65829 h 81248"/>
                <a:gd name="connsiteX8" fmla="*/ 78956 w 114017"/>
                <a:gd name="connsiteY8" fmla="*/ 71678 h 81248"/>
                <a:gd name="connsiteX9" fmla="*/ 97384 w 114017"/>
                <a:gd name="connsiteY9" fmla="*/ 80101 h 81248"/>
                <a:gd name="connsiteX10" fmla="*/ 106719 w 114017"/>
                <a:gd name="connsiteY10" fmla="*/ 69807 h 81248"/>
                <a:gd name="connsiteX11" fmla="*/ 111185 w 114017"/>
                <a:gd name="connsiteY11" fmla="*/ 30367 h 81248"/>
                <a:gd name="connsiteX12" fmla="*/ 105298 w 114017"/>
                <a:gd name="connsiteY12" fmla="*/ 18769 h 81248"/>
                <a:gd name="connsiteX13" fmla="*/ 90768 w 114017"/>
                <a:gd name="connsiteY13" fmla="*/ 11416 h 81248"/>
                <a:gd name="connsiteX14" fmla="*/ 57038 w 114017"/>
                <a:gd name="connsiteY14" fmla="*/ 620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81248">
                  <a:moveTo>
                    <a:pt x="57038" y="620"/>
                  </a:moveTo>
                  <a:cubicBezTo>
                    <a:pt x="48635" y="1121"/>
                    <a:pt x="36540" y="-3124"/>
                    <a:pt x="36175" y="3060"/>
                  </a:cubicBezTo>
                  <a:cubicBezTo>
                    <a:pt x="35890" y="8274"/>
                    <a:pt x="44698" y="13455"/>
                    <a:pt x="43765" y="17165"/>
                  </a:cubicBezTo>
                  <a:cubicBezTo>
                    <a:pt x="42384" y="22646"/>
                    <a:pt x="34510" y="16596"/>
                    <a:pt x="29518" y="15794"/>
                  </a:cubicBezTo>
                  <a:cubicBezTo>
                    <a:pt x="19451" y="14157"/>
                    <a:pt x="22009" y="26757"/>
                    <a:pt x="23389" y="30634"/>
                  </a:cubicBezTo>
                  <a:cubicBezTo>
                    <a:pt x="26880" y="40026"/>
                    <a:pt x="-2305" y="37887"/>
                    <a:pt x="2363" y="44806"/>
                  </a:cubicBezTo>
                  <a:cubicBezTo>
                    <a:pt x="5123" y="48884"/>
                    <a:pt x="-2954" y="54833"/>
                    <a:pt x="1105" y="57707"/>
                  </a:cubicBezTo>
                  <a:cubicBezTo>
                    <a:pt x="7721" y="61371"/>
                    <a:pt x="15027" y="64115"/>
                    <a:pt x="22699" y="65829"/>
                  </a:cubicBezTo>
                  <a:cubicBezTo>
                    <a:pt x="44373" y="71912"/>
                    <a:pt x="58864" y="67902"/>
                    <a:pt x="78956" y="71678"/>
                  </a:cubicBezTo>
                  <a:cubicBezTo>
                    <a:pt x="86506" y="73116"/>
                    <a:pt x="90280" y="78363"/>
                    <a:pt x="97384" y="80101"/>
                  </a:cubicBezTo>
                  <a:cubicBezTo>
                    <a:pt x="110697" y="83644"/>
                    <a:pt x="106435" y="74687"/>
                    <a:pt x="106719" y="69807"/>
                  </a:cubicBezTo>
                  <a:cubicBezTo>
                    <a:pt x="107531" y="54465"/>
                    <a:pt x="119140" y="48081"/>
                    <a:pt x="111185" y="30367"/>
                  </a:cubicBezTo>
                  <a:cubicBezTo>
                    <a:pt x="109439" y="26523"/>
                    <a:pt x="107490" y="22646"/>
                    <a:pt x="105298" y="18769"/>
                  </a:cubicBezTo>
                  <a:cubicBezTo>
                    <a:pt x="100104" y="9577"/>
                    <a:pt x="101443" y="14524"/>
                    <a:pt x="90768" y="11416"/>
                  </a:cubicBezTo>
                  <a:cubicBezTo>
                    <a:pt x="80092" y="8307"/>
                    <a:pt x="67793" y="-48"/>
                    <a:pt x="57038" y="6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16F54669-20C4-4A03-876B-36D1EB4BEAA6}"/>
                </a:ext>
              </a:extLst>
            </p:cNvPr>
            <p:cNvSpPr/>
            <p:nvPr/>
          </p:nvSpPr>
          <p:spPr>
            <a:xfrm>
              <a:off x="8413553" y="4703992"/>
              <a:ext cx="112986" cy="117151"/>
            </a:xfrm>
            <a:custGeom>
              <a:avLst/>
              <a:gdLst>
                <a:gd name="connsiteX0" fmla="*/ 98411 w 112986"/>
                <a:gd name="connsiteY0" fmla="*/ 107020 h 117151"/>
                <a:gd name="connsiteX1" fmla="*/ 101699 w 112986"/>
                <a:gd name="connsiteY1" fmla="*/ 81752 h 117151"/>
                <a:gd name="connsiteX2" fmla="*/ 95245 w 112986"/>
                <a:gd name="connsiteY2" fmla="*/ 73463 h 117151"/>
                <a:gd name="connsiteX3" fmla="*/ 77548 w 112986"/>
                <a:gd name="connsiteY3" fmla="*/ 79713 h 117151"/>
                <a:gd name="connsiteX4" fmla="*/ 72677 w 112986"/>
                <a:gd name="connsiteY4" fmla="*/ 66878 h 117151"/>
                <a:gd name="connsiteX5" fmla="*/ 87654 w 112986"/>
                <a:gd name="connsiteY5" fmla="*/ 62834 h 117151"/>
                <a:gd name="connsiteX6" fmla="*/ 111725 w 112986"/>
                <a:gd name="connsiteY6" fmla="*/ 54110 h 117151"/>
                <a:gd name="connsiteX7" fmla="*/ 60622 w 112986"/>
                <a:gd name="connsiteY7" fmla="*/ 34056 h 117151"/>
                <a:gd name="connsiteX8" fmla="*/ 49947 w 112986"/>
                <a:gd name="connsiteY8" fmla="*/ 22324 h 117151"/>
                <a:gd name="connsiteX9" fmla="*/ 28799 w 112986"/>
                <a:gd name="connsiteY9" fmla="*/ 5980 h 117151"/>
                <a:gd name="connsiteX10" fmla="*/ 7449 w 112986"/>
                <a:gd name="connsiteY10" fmla="*/ 2638 h 117151"/>
                <a:gd name="connsiteX11" fmla="*/ 18733 w 112986"/>
                <a:gd name="connsiteY11" fmla="*/ 13534 h 117151"/>
                <a:gd name="connsiteX12" fmla="*/ 19788 w 112986"/>
                <a:gd name="connsiteY12" fmla="*/ 21823 h 117151"/>
                <a:gd name="connsiteX13" fmla="*/ 2497 w 112986"/>
                <a:gd name="connsiteY13" fmla="*/ 28173 h 117151"/>
                <a:gd name="connsiteX14" fmla="*/ -60 w 112986"/>
                <a:gd name="connsiteY14" fmla="*/ 81016 h 117151"/>
                <a:gd name="connsiteX15" fmla="*/ 32412 w 112986"/>
                <a:gd name="connsiteY15" fmla="*/ 86297 h 117151"/>
                <a:gd name="connsiteX16" fmla="*/ 57943 w 112986"/>
                <a:gd name="connsiteY16" fmla="*/ 79111 h 117151"/>
                <a:gd name="connsiteX17" fmla="*/ 73367 w 112986"/>
                <a:gd name="connsiteY17" fmla="*/ 116813 h 117151"/>
                <a:gd name="connsiteX18" fmla="*/ 86356 w 112986"/>
                <a:gd name="connsiteY18" fmla="*/ 114440 h 117151"/>
                <a:gd name="connsiteX19" fmla="*/ 98533 w 112986"/>
                <a:gd name="connsiteY19" fmla="*/ 107020 h 117151"/>
                <a:gd name="connsiteX20" fmla="*/ 98411 w 112986"/>
                <a:gd name="connsiteY20" fmla="*/ 107020 h 11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2986" h="117151">
                  <a:moveTo>
                    <a:pt x="98411" y="107020"/>
                  </a:moveTo>
                  <a:cubicBezTo>
                    <a:pt x="99345" y="98564"/>
                    <a:pt x="100887" y="90308"/>
                    <a:pt x="101699" y="81752"/>
                  </a:cubicBezTo>
                  <a:cubicBezTo>
                    <a:pt x="101983" y="78777"/>
                    <a:pt x="104093" y="69986"/>
                    <a:pt x="95245" y="73463"/>
                  </a:cubicBezTo>
                  <a:cubicBezTo>
                    <a:pt x="90090" y="75501"/>
                    <a:pt x="84854" y="79880"/>
                    <a:pt x="77548" y="79713"/>
                  </a:cubicBezTo>
                  <a:cubicBezTo>
                    <a:pt x="67522" y="79713"/>
                    <a:pt x="71176" y="69218"/>
                    <a:pt x="72677" y="66878"/>
                  </a:cubicBezTo>
                  <a:cubicBezTo>
                    <a:pt x="76046" y="61664"/>
                    <a:pt x="79375" y="62633"/>
                    <a:pt x="87654" y="62834"/>
                  </a:cubicBezTo>
                  <a:cubicBezTo>
                    <a:pt x="96787" y="62740"/>
                    <a:pt x="105474" y="59588"/>
                    <a:pt x="111725" y="54110"/>
                  </a:cubicBezTo>
                  <a:cubicBezTo>
                    <a:pt x="121507" y="45086"/>
                    <a:pt x="68618" y="37733"/>
                    <a:pt x="60622" y="34056"/>
                  </a:cubicBezTo>
                  <a:cubicBezTo>
                    <a:pt x="55304" y="31483"/>
                    <a:pt x="48445" y="26034"/>
                    <a:pt x="49947" y="22324"/>
                  </a:cubicBezTo>
                  <a:cubicBezTo>
                    <a:pt x="53722" y="13400"/>
                    <a:pt x="38582" y="11061"/>
                    <a:pt x="28799" y="5980"/>
                  </a:cubicBezTo>
                  <a:cubicBezTo>
                    <a:pt x="21250" y="2070"/>
                    <a:pt x="14633" y="-4047"/>
                    <a:pt x="7449" y="2638"/>
                  </a:cubicBezTo>
                  <a:cubicBezTo>
                    <a:pt x="3878" y="5980"/>
                    <a:pt x="14755" y="11094"/>
                    <a:pt x="18733" y="13534"/>
                  </a:cubicBezTo>
                  <a:cubicBezTo>
                    <a:pt x="23401" y="16475"/>
                    <a:pt x="27582" y="20586"/>
                    <a:pt x="19788" y="21823"/>
                  </a:cubicBezTo>
                  <a:cubicBezTo>
                    <a:pt x="9236" y="23528"/>
                    <a:pt x="5055" y="19283"/>
                    <a:pt x="2497" y="28173"/>
                  </a:cubicBezTo>
                  <a:cubicBezTo>
                    <a:pt x="-2373" y="45220"/>
                    <a:pt x="6556" y="64071"/>
                    <a:pt x="-60" y="81016"/>
                  </a:cubicBezTo>
                  <a:cubicBezTo>
                    <a:pt x="10574" y="82821"/>
                    <a:pt x="21777" y="84693"/>
                    <a:pt x="32412" y="86297"/>
                  </a:cubicBezTo>
                  <a:cubicBezTo>
                    <a:pt x="46741" y="88503"/>
                    <a:pt x="45441" y="79245"/>
                    <a:pt x="57943" y="79111"/>
                  </a:cubicBezTo>
                  <a:cubicBezTo>
                    <a:pt x="80268" y="78877"/>
                    <a:pt x="71054" y="110195"/>
                    <a:pt x="73367" y="116813"/>
                  </a:cubicBezTo>
                  <a:cubicBezTo>
                    <a:pt x="76695" y="116111"/>
                    <a:pt x="84327" y="116211"/>
                    <a:pt x="86356" y="114440"/>
                  </a:cubicBezTo>
                  <a:cubicBezTo>
                    <a:pt x="89603" y="111171"/>
                    <a:pt x="93783" y="108621"/>
                    <a:pt x="98533" y="107020"/>
                  </a:cubicBezTo>
                  <a:cubicBezTo>
                    <a:pt x="100278" y="89807"/>
                    <a:pt x="92282" y="108825"/>
                    <a:pt x="98411" y="1070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FC389DA1-176B-4CD8-92BA-83CF4E84914B}"/>
                </a:ext>
              </a:extLst>
            </p:cNvPr>
            <p:cNvSpPr/>
            <p:nvPr/>
          </p:nvSpPr>
          <p:spPr>
            <a:xfrm>
              <a:off x="7839479" y="4448072"/>
              <a:ext cx="840911" cy="486434"/>
            </a:xfrm>
            <a:custGeom>
              <a:avLst/>
              <a:gdLst>
                <a:gd name="connsiteX0" fmla="*/ 576166 w 840911"/>
                <a:gd name="connsiteY0" fmla="*/ 304550 h 486434"/>
                <a:gd name="connsiteX1" fmla="*/ 589723 w 840911"/>
                <a:gd name="connsiteY1" fmla="*/ 277811 h 486434"/>
                <a:gd name="connsiteX2" fmla="*/ 580834 w 840911"/>
                <a:gd name="connsiteY2" fmla="*/ 260230 h 486434"/>
                <a:gd name="connsiteX3" fmla="*/ 620612 w 840911"/>
                <a:gd name="connsiteY3" fmla="*/ 269388 h 486434"/>
                <a:gd name="connsiteX4" fmla="*/ 626904 w 840911"/>
                <a:gd name="connsiteY4" fmla="*/ 284428 h 486434"/>
                <a:gd name="connsiteX5" fmla="*/ 644519 w 840911"/>
                <a:gd name="connsiteY5" fmla="*/ 292350 h 486434"/>
                <a:gd name="connsiteX6" fmla="*/ 683242 w 840911"/>
                <a:gd name="connsiteY6" fmla="*/ 312036 h 486434"/>
                <a:gd name="connsiteX7" fmla="*/ 645412 w 840911"/>
                <a:gd name="connsiteY7" fmla="*/ 325606 h 486434"/>
                <a:gd name="connsiteX8" fmla="*/ 669320 w 840911"/>
                <a:gd name="connsiteY8" fmla="*/ 329450 h 486434"/>
                <a:gd name="connsiteX9" fmla="*/ 675976 w 840911"/>
                <a:gd name="connsiteY9" fmla="*/ 334163 h 486434"/>
                <a:gd name="connsiteX10" fmla="*/ 672486 w 840911"/>
                <a:gd name="connsiteY10" fmla="*/ 363007 h 486434"/>
                <a:gd name="connsiteX11" fmla="*/ 702522 w 840911"/>
                <a:gd name="connsiteY11" fmla="*/ 335767 h 486434"/>
                <a:gd name="connsiteX12" fmla="*/ 723872 w 840911"/>
                <a:gd name="connsiteY12" fmla="*/ 341516 h 486434"/>
                <a:gd name="connsiteX13" fmla="*/ 745669 w 840911"/>
                <a:gd name="connsiteY13" fmla="*/ 327512 h 486434"/>
                <a:gd name="connsiteX14" fmla="*/ 766451 w 840911"/>
                <a:gd name="connsiteY14" fmla="*/ 304416 h 486434"/>
                <a:gd name="connsiteX15" fmla="*/ 813129 w 840911"/>
                <a:gd name="connsiteY15" fmla="*/ 301073 h 486434"/>
                <a:gd name="connsiteX16" fmla="*/ 827823 w 840911"/>
                <a:gd name="connsiteY16" fmla="*/ 306755 h 486434"/>
                <a:gd name="connsiteX17" fmla="*/ 840852 w 840911"/>
                <a:gd name="connsiteY17" fmla="*/ 290044 h 486434"/>
                <a:gd name="connsiteX18" fmla="*/ 824616 w 840911"/>
                <a:gd name="connsiteY18" fmla="*/ 275972 h 486434"/>
                <a:gd name="connsiteX19" fmla="*/ 803956 w 840911"/>
                <a:gd name="connsiteY19" fmla="*/ 262035 h 486434"/>
                <a:gd name="connsiteX20" fmla="*/ 769130 w 840911"/>
                <a:gd name="connsiteY20" fmla="*/ 252008 h 486434"/>
                <a:gd name="connsiteX21" fmla="*/ 730975 w 840911"/>
                <a:gd name="connsiteY21" fmla="*/ 254147 h 486434"/>
                <a:gd name="connsiteX22" fmla="*/ 699274 w 840911"/>
                <a:gd name="connsiteY22" fmla="*/ 258057 h 486434"/>
                <a:gd name="connsiteX23" fmla="*/ 693389 w 840911"/>
                <a:gd name="connsiteY23" fmla="*/ 267516 h 486434"/>
                <a:gd name="connsiteX24" fmla="*/ 626944 w 840911"/>
                <a:gd name="connsiteY24" fmla="*/ 255383 h 486434"/>
                <a:gd name="connsiteX25" fmla="*/ 608272 w 840911"/>
                <a:gd name="connsiteY25" fmla="*/ 239474 h 486434"/>
                <a:gd name="connsiteX26" fmla="*/ 604213 w 840911"/>
                <a:gd name="connsiteY26" fmla="*/ 224701 h 486434"/>
                <a:gd name="connsiteX27" fmla="*/ 587978 w 840911"/>
                <a:gd name="connsiteY27" fmla="*/ 236766 h 486434"/>
                <a:gd name="connsiteX28" fmla="*/ 563624 w 840911"/>
                <a:gd name="connsiteY28" fmla="*/ 244053 h 486434"/>
                <a:gd name="connsiteX29" fmla="*/ 507570 w 840911"/>
                <a:gd name="connsiteY29" fmla="*/ 222896 h 486434"/>
                <a:gd name="connsiteX30" fmla="*/ 490806 w 840911"/>
                <a:gd name="connsiteY30" fmla="*/ 208022 h 486434"/>
                <a:gd name="connsiteX31" fmla="*/ 456507 w 840911"/>
                <a:gd name="connsiteY31" fmla="*/ 198697 h 486434"/>
                <a:gd name="connsiteX32" fmla="*/ 432153 w 840911"/>
                <a:gd name="connsiteY32" fmla="*/ 183356 h 486434"/>
                <a:gd name="connsiteX33" fmla="*/ 407556 w 840911"/>
                <a:gd name="connsiteY33" fmla="*/ 167546 h 486434"/>
                <a:gd name="connsiteX34" fmla="*/ 383771 w 840911"/>
                <a:gd name="connsiteY34" fmla="*/ 153675 h 486434"/>
                <a:gd name="connsiteX35" fmla="*/ 394649 w 840911"/>
                <a:gd name="connsiteY35" fmla="*/ 134256 h 486434"/>
                <a:gd name="connsiteX36" fmla="*/ 399520 w 840911"/>
                <a:gd name="connsiteY36" fmla="*/ 123394 h 486434"/>
                <a:gd name="connsiteX37" fmla="*/ 386206 w 840911"/>
                <a:gd name="connsiteY37" fmla="*/ 110024 h 486434"/>
                <a:gd name="connsiteX38" fmla="*/ 363516 w 840911"/>
                <a:gd name="connsiteY38" fmla="*/ 93981 h 486434"/>
                <a:gd name="connsiteX39" fmla="*/ 353856 w 840911"/>
                <a:gd name="connsiteY39" fmla="*/ 76534 h 486434"/>
                <a:gd name="connsiteX40" fmla="*/ 355317 w 840911"/>
                <a:gd name="connsiteY40" fmla="*/ 69642 h 486434"/>
                <a:gd name="connsiteX41" fmla="*/ 356129 w 840911"/>
                <a:gd name="connsiteY41" fmla="*/ 69247 h 486434"/>
                <a:gd name="connsiteX42" fmla="*/ 367656 w 840911"/>
                <a:gd name="connsiteY42" fmla="*/ 73592 h 486434"/>
                <a:gd name="connsiteX43" fmla="*/ 380645 w 840911"/>
                <a:gd name="connsiteY43" fmla="*/ 65337 h 486434"/>
                <a:gd name="connsiteX44" fmla="*/ 375247 w 840911"/>
                <a:gd name="connsiteY44" fmla="*/ 46954 h 486434"/>
                <a:gd name="connsiteX45" fmla="*/ 363882 w 840911"/>
                <a:gd name="connsiteY45" fmla="*/ 24226 h 486434"/>
                <a:gd name="connsiteX46" fmla="*/ 334941 w 840911"/>
                <a:gd name="connsiteY46" fmla="*/ 11792 h 486434"/>
                <a:gd name="connsiteX47" fmla="*/ 265939 w 840911"/>
                <a:gd name="connsiteY47" fmla="*/ 7046 h 486434"/>
                <a:gd name="connsiteX48" fmla="*/ 232452 w 840911"/>
                <a:gd name="connsiteY48" fmla="*/ 1063 h 486434"/>
                <a:gd name="connsiteX49" fmla="*/ 232452 w 840911"/>
                <a:gd name="connsiteY49" fmla="*/ 12929 h 486434"/>
                <a:gd name="connsiteX50" fmla="*/ 239109 w 840911"/>
                <a:gd name="connsiteY50" fmla="*/ 41539 h 486434"/>
                <a:gd name="connsiteX51" fmla="*/ 257617 w 840911"/>
                <a:gd name="connsiteY51" fmla="*/ 52536 h 486434"/>
                <a:gd name="connsiteX52" fmla="*/ 241869 w 840911"/>
                <a:gd name="connsiteY52" fmla="*/ 55109 h 486434"/>
                <a:gd name="connsiteX53" fmla="*/ 232858 w 840911"/>
                <a:gd name="connsiteY53" fmla="*/ 65604 h 486434"/>
                <a:gd name="connsiteX54" fmla="*/ 212319 w 840911"/>
                <a:gd name="connsiteY54" fmla="*/ 73091 h 486434"/>
                <a:gd name="connsiteX55" fmla="*/ 205216 w 840911"/>
                <a:gd name="connsiteY55" fmla="*/ 81146 h 486434"/>
                <a:gd name="connsiteX56" fmla="*/ 189468 w 840911"/>
                <a:gd name="connsiteY56" fmla="*/ 81815 h 486434"/>
                <a:gd name="connsiteX57" fmla="*/ 174165 w 840911"/>
                <a:gd name="connsiteY57" fmla="*/ 94148 h 486434"/>
                <a:gd name="connsiteX58" fmla="*/ 152734 w 840911"/>
                <a:gd name="connsiteY58" fmla="*/ 97056 h 486434"/>
                <a:gd name="connsiteX59" fmla="*/ 130247 w 840911"/>
                <a:gd name="connsiteY59" fmla="*/ 108353 h 486434"/>
                <a:gd name="connsiteX60" fmla="*/ 116609 w 840911"/>
                <a:gd name="connsiteY60" fmla="*/ 107183 h 486434"/>
                <a:gd name="connsiteX61" fmla="*/ 98262 w 840911"/>
                <a:gd name="connsiteY61" fmla="*/ 105880 h 486434"/>
                <a:gd name="connsiteX62" fmla="*/ 76628 w 840911"/>
                <a:gd name="connsiteY62" fmla="*/ 99964 h 486434"/>
                <a:gd name="connsiteX63" fmla="*/ 52274 w 840911"/>
                <a:gd name="connsiteY63" fmla="*/ 110191 h 486434"/>
                <a:gd name="connsiteX64" fmla="*/ 67495 w 840911"/>
                <a:gd name="connsiteY64" fmla="*/ 123327 h 486434"/>
                <a:gd name="connsiteX65" fmla="*/ 67292 w 840911"/>
                <a:gd name="connsiteY65" fmla="*/ 134256 h 486434"/>
                <a:gd name="connsiteX66" fmla="*/ 77967 w 840911"/>
                <a:gd name="connsiteY66" fmla="*/ 148829 h 486434"/>
                <a:gd name="connsiteX67" fmla="*/ 42451 w 840911"/>
                <a:gd name="connsiteY67" fmla="*/ 159324 h 486434"/>
                <a:gd name="connsiteX68" fmla="*/ 9046 w 840911"/>
                <a:gd name="connsiteY68" fmla="*/ 155982 h 486434"/>
                <a:gd name="connsiteX69" fmla="*/ 6326 w 840911"/>
                <a:gd name="connsiteY69" fmla="*/ 171523 h 486434"/>
                <a:gd name="connsiteX70" fmla="*/ 39813 w 840911"/>
                <a:gd name="connsiteY70" fmla="*/ 185294 h 486434"/>
                <a:gd name="connsiteX71" fmla="*/ 47931 w 840911"/>
                <a:gd name="connsiteY71" fmla="*/ 191444 h 486434"/>
                <a:gd name="connsiteX72" fmla="*/ 10304 w 840911"/>
                <a:gd name="connsiteY72" fmla="*/ 191812 h 486434"/>
                <a:gd name="connsiteX73" fmla="*/ 47119 w 840911"/>
                <a:gd name="connsiteY73" fmla="*/ 224701 h 486434"/>
                <a:gd name="connsiteX74" fmla="*/ 97978 w 840911"/>
                <a:gd name="connsiteY74" fmla="*/ 219754 h 486434"/>
                <a:gd name="connsiteX75" fmla="*/ 111251 w 840911"/>
                <a:gd name="connsiteY75" fmla="*/ 214874 h 486434"/>
                <a:gd name="connsiteX76" fmla="*/ 111616 w 840911"/>
                <a:gd name="connsiteY76" fmla="*/ 231853 h 486434"/>
                <a:gd name="connsiteX77" fmla="*/ 103498 w 840911"/>
                <a:gd name="connsiteY77" fmla="*/ 252877 h 486434"/>
                <a:gd name="connsiteX78" fmla="*/ 102930 w 840911"/>
                <a:gd name="connsiteY78" fmla="*/ 279615 h 486434"/>
                <a:gd name="connsiteX79" fmla="*/ 121398 w 840911"/>
                <a:gd name="connsiteY79" fmla="*/ 366216 h 486434"/>
                <a:gd name="connsiteX80" fmla="*/ 129516 w 840911"/>
                <a:gd name="connsiteY80" fmla="*/ 402715 h 486434"/>
                <a:gd name="connsiteX81" fmla="*/ 146361 w 840911"/>
                <a:gd name="connsiteY81" fmla="*/ 437141 h 486434"/>
                <a:gd name="connsiteX82" fmla="*/ 153952 w 840911"/>
                <a:gd name="connsiteY82" fmla="*/ 472236 h 486434"/>
                <a:gd name="connsiteX83" fmla="*/ 193161 w 840911"/>
                <a:gd name="connsiteY83" fmla="*/ 479622 h 486434"/>
                <a:gd name="connsiteX84" fmla="*/ 214836 w 840911"/>
                <a:gd name="connsiteY84" fmla="*/ 474408 h 486434"/>
                <a:gd name="connsiteX85" fmla="*/ 230382 w 840911"/>
                <a:gd name="connsiteY85" fmla="*/ 464013 h 486434"/>
                <a:gd name="connsiteX86" fmla="*/ 249378 w 840911"/>
                <a:gd name="connsiteY86" fmla="*/ 456827 h 486434"/>
                <a:gd name="connsiteX87" fmla="*/ 259160 w 840911"/>
                <a:gd name="connsiteY87" fmla="*/ 438912 h 486434"/>
                <a:gd name="connsiteX88" fmla="*/ 281444 w 840911"/>
                <a:gd name="connsiteY88" fmla="*/ 411338 h 486434"/>
                <a:gd name="connsiteX89" fmla="*/ 302023 w 840911"/>
                <a:gd name="connsiteY89" fmla="*/ 377513 h 486434"/>
                <a:gd name="connsiteX90" fmla="*/ 331694 w 840911"/>
                <a:gd name="connsiteY90" fmla="*/ 375708 h 486434"/>
                <a:gd name="connsiteX91" fmla="*/ 360553 w 840911"/>
                <a:gd name="connsiteY91" fmla="*/ 368756 h 486434"/>
                <a:gd name="connsiteX92" fmla="*/ 414172 w 840911"/>
                <a:gd name="connsiteY92" fmla="*/ 359899 h 486434"/>
                <a:gd name="connsiteX93" fmla="*/ 460851 w 840911"/>
                <a:gd name="connsiteY93" fmla="*/ 347566 h 486434"/>
                <a:gd name="connsiteX94" fmla="*/ 509558 w 840911"/>
                <a:gd name="connsiteY94" fmla="*/ 334731 h 486434"/>
                <a:gd name="connsiteX95" fmla="*/ 557738 w 840911"/>
                <a:gd name="connsiteY95" fmla="*/ 333327 h 486434"/>
                <a:gd name="connsiteX96" fmla="*/ 577140 w 840911"/>
                <a:gd name="connsiteY96" fmla="*/ 327044 h 486434"/>
                <a:gd name="connsiteX97" fmla="*/ 576612 w 840911"/>
                <a:gd name="connsiteY97" fmla="*/ 304850 h 486434"/>
                <a:gd name="connsiteX98" fmla="*/ 576166 w 840911"/>
                <a:gd name="connsiteY98" fmla="*/ 304550 h 486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840911" h="486434">
                  <a:moveTo>
                    <a:pt x="576166" y="304550"/>
                  </a:moveTo>
                  <a:cubicBezTo>
                    <a:pt x="573649" y="295826"/>
                    <a:pt x="570402" y="275438"/>
                    <a:pt x="589723" y="277811"/>
                  </a:cubicBezTo>
                  <a:cubicBezTo>
                    <a:pt x="613306" y="280652"/>
                    <a:pt x="581118" y="263305"/>
                    <a:pt x="580834" y="260230"/>
                  </a:cubicBezTo>
                  <a:cubicBezTo>
                    <a:pt x="579778" y="247729"/>
                    <a:pt x="616147" y="265979"/>
                    <a:pt x="620612" y="269388"/>
                  </a:cubicBezTo>
                  <a:cubicBezTo>
                    <a:pt x="627634" y="274602"/>
                    <a:pt x="621220" y="279081"/>
                    <a:pt x="626904" y="284428"/>
                  </a:cubicBezTo>
                  <a:cubicBezTo>
                    <a:pt x="632586" y="289776"/>
                    <a:pt x="636199" y="290278"/>
                    <a:pt x="644519" y="292350"/>
                  </a:cubicBezTo>
                  <a:cubicBezTo>
                    <a:pt x="656412" y="295258"/>
                    <a:pt x="697286" y="302778"/>
                    <a:pt x="683242" y="312036"/>
                  </a:cubicBezTo>
                  <a:cubicBezTo>
                    <a:pt x="671593" y="319623"/>
                    <a:pt x="649228" y="314577"/>
                    <a:pt x="645412" y="325606"/>
                  </a:cubicBezTo>
                  <a:cubicBezTo>
                    <a:pt x="640217" y="340614"/>
                    <a:pt x="660471" y="332926"/>
                    <a:pt x="669320" y="329450"/>
                  </a:cubicBezTo>
                  <a:cubicBezTo>
                    <a:pt x="675813" y="326910"/>
                    <a:pt x="676098" y="330720"/>
                    <a:pt x="675976" y="334163"/>
                  </a:cubicBezTo>
                  <a:cubicBezTo>
                    <a:pt x="675733" y="343922"/>
                    <a:pt x="673541" y="353381"/>
                    <a:pt x="672486" y="363007"/>
                  </a:cubicBezTo>
                  <a:cubicBezTo>
                    <a:pt x="688072" y="358562"/>
                    <a:pt x="695054" y="346296"/>
                    <a:pt x="702522" y="335767"/>
                  </a:cubicBezTo>
                  <a:cubicBezTo>
                    <a:pt x="705810" y="331155"/>
                    <a:pt x="717621" y="339711"/>
                    <a:pt x="723872" y="341516"/>
                  </a:cubicBezTo>
                  <a:cubicBezTo>
                    <a:pt x="729027" y="343053"/>
                    <a:pt x="743680" y="330219"/>
                    <a:pt x="745669" y="327512"/>
                  </a:cubicBezTo>
                  <a:cubicBezTo>
                    <a:pt x="751351" y="319891"/>
                    <a:pt x="756953" y="310399"/>
                    <a:pt x="766451" y="304416"/>
                  </a:cubicBezTo>
                  <a:cubicBezTo>
                    <a:pt x="772539" y="300539"/>
                    <a:pt x="802981" y="297330"/>
                    <a:pt x="813129" y="301073"/>
                  </a:cubicBezTo>
                  <a:cubicBezTo>
                    <a:pt x="812885" y="301073"/>
                    <a:pt x="833424" y="317250"/>
                    <a:pt x="827823" y="306755"/>
                  </a:cubicBezTo>
                  <a:cubicBezTo>
                    <a:pt x="820882" y="293921"/>
                    <a:pt x="834764" y="297865"/>
                    <a:pt x="840852" y="290044"/>
                  </a:cubicBezTo>
                  <a:cubicBezTo>
                    <a:pt x="833302" y="287433"/>
                    <a:pt x="827376" y="282330"/>
                    <a:pt x="824616" y="275972"/>
                  </a:cubicBezTo>
                  <a:cubicBezTo>
                    <a:pt x="819907" y="267850"/>
                    <a:pt x="820922" y="259929"/>
                    <a:pt x="803956" y="262035"/>
                  </a:cubicBezTo>
                  <a:cubicBezTo>
                    <a:pt x="794579" y="263204"/>
                    <a:pt x="781023" y="252208"/>
                    <a:pt x="769130" y="252008"/>
                  </a:cubicBezTo>
                  <a:cubicBezTo>
                    <a:pt x="761702" y="252008"/>
                    <a:pt x="735319" y="252008"/>
                    <a:pt x="730975" y="254147"/>
                  </a:cubicBezTo>
                  <a:cubicBezTo>
                    <a:pt x="721843" y="258993"/>
                    <a:pt x="711817" y="258659"/>
                    <a:pt x="699274" y="258057"/>
                  </a:cubicBezTo>
                  <a:cubicBezTo>
                    <a:pt x="688193" y="257523"/>
                    <a:pt x="694404" y="261700"/>
                    <a:pt x="693389" y="267516"/>
                  </a:cubicBezTo>
                  <a:cubicBezTo>
                    <a:pt x="691035" y="280886"/>
                    <a:pt x="640826" y="261232"/>
                    <a:pt x="626944" y="255383"/>
                  </a:cubicBezTo>
                  <a:cubicBezTo>
                    <a:pt x="617527" y="251372"/>
                    <a:pt x="607583" y="246125"/>
                    <a:pt x="608272" y="239474"/>
                  </a:cubicBezTo>
                  <a:cubicBezTo>
                    <a:pt x="608272" y="239140"/>
                    <a:pt x="615213" y="220222"/>
                    <a:pt x="604213" y="224701"/>
                  </a:cubicBezTo>
                  <a:cubicBezTo>
                    <a:pt x="593214" y="229179"/>
                    <a:pt x="589521" y="226205"/>
                    <a:pt x="587978" y="236766"/>
                  </a:cubicBezTo>
                  <a:cubicBezTo>
                    <a:pt x="586760" y="246125"/>
                    <a:pt x="578155" y="246593"/>
                    <a:pt x="563624" y="244053"/>
                  </a:cubicBezTo>
                  <a:cubicBezTo>
                    <a:pt x="540122" y="240009"/>
                    <a:pt x="527377" y="231853"/>
                    <a:pt x="507570" y="222896"/>
                  </a:cubicBezTo>
                  <a:cubicBezTo>
                    <a:pt x="495068" y="217280"/>
                    <a:pt x="497625" y="215442"/>
                    <a:pt x="490806" y="208022"/>
                  </a:cubicBezTo>
                  <a:cubicBezTo>
                    <a:pt x="482201" y="198630"/>
                    <a:pt x="469577" y="202273"/>
                    <a:pt x="456507" y="198697"/>
                  </a:cubicBezTo>
                  <a:cubicBezTo>
                    <a:pt x="447091" y="196123"/>
                    <a:pt x="441976" y="186798"/>
                    <a:pt x="432153" y="183356"/>
                  </a:cubicBezTo>
                  <a:cubicBezTo>
                    <a:pt x="419489" y="178944"/>
                    <a:pt x="417176" y="172493"/>
                    <a:pt x="407556" y="167546"/>
                  </a:cubicBezTo>
                  <a:cubicBezTo>
                    <a:pt x="398708" y="163001"/>
                    <a:pt x="392051" y="158422"/>
                    <a:pt x="383771" y="153675"/>
                  </a:cubicBezTo>
                  <a:cubicBezTo>
                    <a:pt x="373583" y="147893"/>
                    <a:pt x="385760" y="136395"/>
                    <a:pt x="394649" y="134256"/>
                  </a:cubicBezTo>
                  <a:cubicBezTo>
                    <a:pt x="405080" y="131750"/>
                    <a:pt x="408896" y="130914"/>
                    <a:pt x="399520" y="123394"/>
                  </a:cubicBezTo>
                  <a:cubicBezTo>
                    <a:pt x="394080" y="119115"/>
                    <a:pt x="392538" y="113935"/>
                    <a:pt x="386206" y="110024"/>
                  </a:cubicBezTo>
                  <a:cubicBezTo>
                    <a:pt x="377520" y="104576"/>
                    <a:pt x="371715" y="99997"/>
                    <a:pt x="363516" y="93981"/>
                  </a:cubicBezTo>
                  <a:cubicBezTo>
                    <a:pt x="353450" y="86795"/>
                    <a:pt x="359904" y="83954"/>
                    <a:pt x="353856" y="76534"/>
                  </a:cubicBezTo>
                  <a:cubicBezTo>
                    <a:pt x="351948" y="74298"/>
                    <a:pt x="352598" y="71213"/>
                    <a:pt x="355317" y="69642"/>
                  </a:cubicBezTo>
                  <a:cubicBezTo>
                    <a:pt x="355561" y="69495"/>
                    <a:pt x="355845" y="69361"/>
                    <a:pt x="356129" y="69247"/>
                  </a:cubicBezTo>
                  <a:cubicBezTo>
                    <a:pt x="360553" y="67576"/>
                    <a:pt x="364247" y="72222"/>
                    <a:pt x="367656" y="73592"/>
                  </a:cubicBezTo>
                  <a:cubicBezTo>
                    <a:pt x="382025" y="79575"/>
                    <a:pt x="385191" y="71721"/>
                    <a:pt x="380645" y="65337"/>
                  </a:cubicBezTo>
                  <a:cubicBezTo>
                    <a:pt x="375166" y="57716"/>
                    <a:pt x="369930" y="53505"/>
                    <a:pt x="375247" y="46954"/>
                  </a:cubicBezTo>
                  <a:cubicBezTo>
                    <a:pt x="383364" y="36927"/>
                    <a:pt x="369889" y="34587"/>
                    <a:pt x="363882" y="24226"/>
                  </a:cubicBezTo>
                  <a:cubicBezTo>
                    <a:pt x="357874" y="13864"/>
                    <a:pt x="349675" y="2267"/>
                    <a:pt x="334941" y="11792"/>
                  </a:cubicBezTo>
                  <a:cubicBezTo>
                    <a:pt x="320207" y="21318"/>
                    <a:pt x="286233" y="15803"/>
                    <a:pt x="265939" y="7046"/>
                  </a:cubicBezTo>
                  <a:cubicBezTo>
                    <a:pt x="255750" y="2567"/>
                    <a:pt x="242965" y="-2981"/>
                    <a:pt x="232452" y="1063"/>
                  </a:cubicBezTo>
                  <a:cubicBezTo>
                    <a:pt x="225551" y="3603"/>
                    <a:pt x="232452" y="8550"/>
                    <a:pt x="232452" y="12929"/>
                  </a:cubicBezTo>
                  <a:cubicBezTo>
                    <a:pt x="231843" y="20616"/>
                    <a:pt x="224334" y="34220"/>
                    <a:pt x="239109" y="41539"/>
                  </a:cubicBezTo>
                  <a:cubicBezTo>
                    <a:pt x="241909" y="42943"/>
                    <a:pt x="264761" y="48224"/>
                    <a:pt x="257617" y="52536"/>
                  </a:cubicBezTo>
                  <a:cubicBezTo>
                    <a:pt x="254451" y="54441"/>
                    <a:pt x="246090" y="52937"/>
                    <a:pt x="241869" y="55109"/>
                  </a:cubicBezTo>
                  <a:cubicBezTo>
                    <a:pt x="237363" y="57552"/>
                    <a:pt x="234156" y="61299"/>
                    <a:pt x="232858" y="65604"/>
                  </a:cubicBezTo>
                  <a:cubicBezTo>
                    <a:pt x="229164" y="75331"/>
                    <a:pt x="222386" y="68946"/>
                    <a:pt x="212319" y="73091"/>
                  </a:cubicBezTo>
                  <a:cubicBezTo>
                    <a:pt x="207611" y="74996"/>
                    <a:pt x="208910" y="78907"/>
                    <a:pt x="205216" y="81146"/>
                  </a:cubicBezTo>
                  <a:cubicBezTo>
                    <a:pt x="201523" y="83386"/>
                    <a:pt x="194744" y="81714"/>
                    <a:pt x="189468" y="81815"/>
                  </a:cubicBezTo>
                  <a:cubicBezTo>
                    <a:pt x="182689" y="81815"/>
                    <a:pt x="177291" y="91407"/>
                    <a:pt x="174165" y="94148"/>
                  </a:cubicBezTo>
                  <a:cubicBezTo>
                    <a:pt x="168685" y="98760"/>
                    <a:pt x="162313" y="96889"/>
                    <a:pt x="152734" y="97056"/>
                  </a:cubicBezTo>
                  <a:cubicBezTo>
                    <a:pt x="140029" y="97290"/>
                    <a:pt x="139867" y="105211"/>
                    <a:pt x="130247" y="108353"/>
                  </a:cubicBezTo>
                  <a:cubicBezTo>
                    <a:pt x="124970" y="110058"/>
                    <a:pt x="122129" y="109289"/>
                    <a:pt x="116609" y="107183"/>
                  </a:cubicBezTo>
                  <a:cubicBezTo>
                    <a:pt x="106746" y="103406"/>
                    <a:pt x="106461" y="106682"/>
                    <a:pt x="98262" y="105880"/>
                  </a:cubicBezTo>
                  <a:cubicBezTo>
                    <a:pt x="90063" y="105077"/>
                    <a:pt x="85274" y="97825"/>
                    <a:pt x="76628" y="99964"/>
                  </a:cubicBezTo>
                  <a:cubicBezTo>
                    <a:pt x="68875" y="101902"/>
                    <a:pt x="53857" y="104576"/>
                    <a:pt x="52274" y="110191"/>
                  </a:cubicBezTo>
                  <a:cubicBezTo>
                    <a:pt x="50772" y="115138"/>
                    <a:pt x="65466" y="118581"/>
                    <a:pt x="67495" y="123327"/>
                  </a:cubicBezTo>
                  <a:cubicBezTo>
                    <a:pt x="69078" y="126937"/>
                    <a:pt x="65993" y="130413"/>
                    <a:pt x="67292" y="134256"/>
                  </a:cubicBezTo>
                  <a:cubicBezTo>
                    <a:pt x="69119" y="139604"/>
                    <a:pt x="73868" y="143849"/>
                    <a:pt x="77967" y="148829"/>
                  </a:cubicBezTo>
                  <a:cubicBezTo>
                    <a:pt x="95299" y="170086"/>
                    <a:pt x="62584" y="161831"/>
                    <a:pt x="42451" y="159324"/>
                  </a:cubicBezTo>
                  <a:cubicBezTo>
                    <a:pt x="30274" y="157786"/>
                    <a:pt x="19478" y="151035"/>
                    <a:pt x="9046" y="155982"/>
                  </a:cubicBezTo>
                  <a:cubicBezTo>
                    <a:pt x="-3131" y="161797"/>
                    <a:pt x="-2116" y="162031"/>
                    <a:pt x="6326" y="171523"/>
                  </a:cubicBezTo>
                  <a:cubicBezTo>
                    <a:pt x="14201" y="180224"/>
                    <a:pt x="26621" y="185331"/>
                    <a:pt x="39813" y="185294"/>
                  </a:cubicBezTo>
                  <a:cubicBezTo>
                    <a:pt x="46104" y="185495"/>
                    <a:pt x="60108" y="189338"/>
                    <a:pt x="47931" y="191444"/>
                  </a:cubicBezTo>
                  <a:cubicBezTo>
                    <a:pt x="39813" y="192915"/>
                    <a:pt x="4744" y="184124"/>
                    <a:pt x="10304" y="191812"/>
                  </a:cubicBezTo>
                  <a:cubicBezTo>
                    <a:pt x="19721" y="204737"/>
                    <a:pt x="32222" y="215930"/>
                    <a:pt x="47119" y="224701"/>
                  </a:cubicBezTo>
                  <a:cubicBezTo>
                    <a:pt x="63355" y="234026"/>
                    <a:pt x="106746" y="225035"/>
                    <a:pt x="97978" y="219754"/>
                  </a:cubicBezTo>
                  <a:cubicBezTo>
                    <a:pt x="90916" y="215476"/>
                    <a:pt x="109262" y="209092"/>
                    <a:pt x="111251" y="214874"/>
                  </a:cubicBezTo>
                  <a:cubicBezTo>
                    <a:pt x="113037" y="219954"/>
                    <a:pt x="105406" y="226973"/>
                    <a:pt x="111616" y="231853"/>
                  </a:cubicBezTo>
                  <a:cubicBezTo>
                    <a:pt x="120708" y="239073"/>
                    <a:pt x="104959" y="246559"/>
                    <a:pt x="103498" y="252877"/>
                  </a:cubicBezTo>
                  <a:cubicBezTo>
                    <a:pt x="102159" y="261747"/>
                    <a:pt x="101956" y="270711"/>
                    <a:pt x="102930" y="279615"/>
                  </a:cubicBezTo>
                  <a:cubicBezTo>
                    <a:pt x="104310" y="308794"/>
                    <a:pt x="112428" y="336837"/>
                    <a:pt x="121398" y="366216"/>
                  </a:cubicBezTo>
                  <a:cubicBezTo>
                    <a:pt x="125132" y="378382"/>
                    <a:pt x="125457" y="390548"/>
                    <a:pt x="129516" y="402715"/>
                  </a:cubicBezTo>
                  <a:cubicBezTo>
                    <a:pt x="133575" y="414279"/>
                    <a:pt x="143601" y="425309"/>
                    <a:pt x="146361" y="437141"/>
                  </a:cubicBezTo>
                  <a:cubicBezTo>
                    <a:pt x="149324" y="449775"/>
                    <a:pt x="145225" y="459234"/>
                    <a:pt x="153952" y="472236"/>
                  </a:cubicBezTo>
                  <a:cubicBezTo>
                    <a:pt x="162070" y="484502"/>
                    <a:pt x="180010" y="492290"/>
                    <a:pt x="193161" y="479622"/>
                  </a:cubicBezTo>
                  <a:cubicBezTo>
                    <a:pt x="197220" y="475578"/>
                    <a:pt x="207570" y="475444"/>
                    <a:pt x="214836" y="474408"/>
                  </a:cubicBezTo>
                  <a:cubicBezTo>
                    <a:pt x="225146" y="472904"/>
                    <a:pt x="224090" y="468292"/>
                    <a:pt x="230382" y="464013"/>
                  </a:cubicBezTo>
                  <a:cubicBezTo>
                    <a:pt x="236673" y="459735"/>
                    <a:pt x="245846" y="464448"/>
                    <a:pt x="249378" y="456827"/>
                  </a:cubicBezTo>
                  <a:cubicBezTo>
                    <a:pt x="252260" y="450677"/>
                    <a:pt x="253762" y="444260"/>
                    <a:pt x="259160" y="438912"/>
                  </a:cubicBezTo>
                  <a:cubicBezTo>
                    <a:pt x="268820" y="429387"/>
                    <a:pt x="281687" y="424975"/>
                    <a:pt x="281444" y="411338"/>
                  </a:cubicBezTo>
                  <a:cubicBezTo>
                    <a:pt x="281444" y="401311"/>
                    <a:pt x="285908" y="381958"/>
                    <a:pt x="302023" y="377513"/>
                  </a:cubicBezTo>
                  <a:cubicBezTo>
                    <a:pt x="309735" y="375374"/>
                    <a:pt x="322642" y="378148"/>
                    <a:pt x="331694" y="375708"/>
                  </a:cubicBezTo>
                  <a:cubicBezTo>
                    <a:pt x="341070" y="372790"/>
                    <a:pt x="350731" y="370464"/>
                    <a:pt x="360553" y="368756"/>
                  </a:cubicBezTo>
                  <a:cubicBezTo>
                    <a:pt x="378900" y="366116"/>
                    <a:pt x="396759" y="363843"/>
                    <a:pt x="414172" y="359899"/>
                  </a:cubicBezTo>
                  <a:cubicBezTo>
                    <a:pt x="429596" y="356557"/>
                    <a:pt x="443843" y="348702"/>
                    <a:pt x="460851" y="347566"/>
                  </a:cubicBezTo>
                  <a:cubicBezTo>
                    <a:pt x="482201" y="346162"/>
                    <a:pt x="502617" y="348735"/>
                    <a:pt x="509558" y="334731"/>
                  </a:cubicBezTo>
                  <a:cubicBezTo>
                    <a:pt x="514957" y="323735"/>
                    <a:pt x="541706" y="329751"/>
                    <a:pt x="557738" y="333327"/>
                  </a:cubicBezTo>
                  <a:cubicBezTo>
                    <a:pt x="573771" y="336904"/>
                    <a:pt x="575394" y="337973"/>
                    <a:pt x="577140" y="327044"/>
                  </a:cubicBezTo>
                  <a:cubicBezTo>
                    <a:pt x="578560" y="319677"/>
                    <a:pt x="578398" y="312163"/>
                    <a:pt x="576612" y="304850"/>
                  </a:cubicBezTo>
                  <a:cubicBezTo>
                    <a:pt x="573812" y="296361"/>
                    <a:pt x="577871" y="310933"/>
                    <a:pt x="576166" y="3045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3B3E4CC4-6072-444B-9999-62F1B242D943}"/>
                </a:ext>
              </a:extLst>
            </p:cNvPr>
            <p:cNvSpPr/>
            <p:nvPr/>
          </p:nvSpPr>
          <p:spPr>
            <a:xfrm>
              <a:off x="8595882" y="4264621"/>
              <a:ext cx="937115" cy="380378"/>
            </a:xfrm>
            <a:custGeom>
              <a:avLst/>
              <a:gdLst>
                <a:gd name="connsiteX0" fmla="*/ 910125 w 937115"/>
                <a:gd name="connsiteY0" fmla="*/ 342541 h 380378"/>
                <a:gd name="connsiteX1" fmla="*/ 884148 w 937115"/>
                <a:gd name="connsiteY1" fmla="*/ 331712 h 380378"/>
                <a:gd name="connsiteX2" fmla="*/ 864137 w 937115"/>
                <a:gd name="connsiteY2" fmla="*/ 325628 h 380378"/>
                <a:gd name="connsiteX3" fmla="*/ 833492 w 937115"/>
                <a:gd name="connsiteY3" fmla="*/ 314064 h 380378"/>
                <a:gd name="connsiteX4" fmla="*/ 822938 w 937115"/>
                <a:gd name="connsiteY4" fmla="*/ 298956 h 380378"/>
                <a:gd name="connsiteX5" fmla="*/ 840758 w 937115"/>
                <a:gd name="connsiteY5" fmla="*/ 290968 h 380378"/>
                <a:gd name="connsiteX6" fmla="*/ 875259 w 937115"/>
                <a:gd name="connsiteY6" fmla="*/ 277599 h 380378"/>
                <a:gd name="connsiteX7" fmla="*/ 835846 w 937115"/>
                <a:gd name="connsiteY7" fmla="*/ 260887 h 380378"/>
                <a:gd name="connsiteX8" fmla="*/ 814253 w 937115"/>
                <a:gd name="connsiteY8" fmla="*/ 245880 h 380378"/>
                <a:gd name="connsiteX9" fmla="*/ 742003 w 937115"/>
                <a:gd name="connsiteY9" fmla="*/ 234683 h 380378"/>
                <a:gd name="connsiteX10" fmla="*/ 689601 w 937115"/>
                <a:gd name="connsiteY10" fmla="*/ 223586 h 380378"/>
                <a:gd name="connsiteX11" fmla="*/ 631355 w 937115"/>
                <a:gd name="connsiteY11" fmla="*/ 199454 h 380378"/>
                <a:gd name="connsiteX12" fmla="*/ 592551 w 937115"/>
                <a:gd name="connsiteY12" fmla="*/ 168136 h 380378"/>
                <a:gd name="connsiteX13" fmla="*/ 572459 w 937115"/>
                <a:gd name="connsiteY13" fmla="*/ 154466 h 380378"/>
                <a:gd name="connsiteX14" fmla="*/ 542666 w 937115"/>
                <a:gd name="connsiteY14" fmla="*/ 141398 h 380378"/>
                <a:gd name="connsiteX15" fmla="*/ 509586 w 937115"/>
                <a:gd name="connsiteY15" fmla="*/ 130368 h 380378"/>
                <a:gd name="connsiteX16" fmla="*/ 476302 w 937115"/>
                <a:gd name="connsiteY16" fmla="*/ 125555 h 380378"/>
                <a:gd name="connsiteX17" fmla="*/ 441313 w 937115"/>
                <a:gd name="connsiteY17" fmla="*/ 90661 h 380378"/>
                <a:gd name="connsiteX18" fmla="*/ 423454 w 937115"/>
                <a:gd name="connsiteY18" fmla="*/ 74918 h 380378"/>
                <a:gd name="connsiteX19" fmla="*/ 393417 w 937115"/>
                <a:gd name="connsiteY19" fmla="*/ 57972 h 380378"/>
                <a:gd name="connsiteX20" fmla="*/ 359809 w 937115"/>
                <a:gd name="connsiteY20" fmla="*/ 40024 h 380378"/>
                <a:gd name="connsiteX21" fmla="*/ 325187 w 937115"/>
                <a:gd name="connsiteY21" fmla="*/ 38018 h 380378"/>
                <a:gd name="connsiteX22" fmla="*/ 304892 w 937115"/>
                <a:gd name="connsiteY22" fmla="*/ 46107 h 380378"/>
                <a:gd name="connsiteX23" fmla="*/ 309762 w 937115"/>
                <a:gd name="connsiteY23" fmla="*/ 65158 h 380378"/>
                <a:gd name="connsiteX24" fmla="*/ 284434 w 937115"/>
                <a:gd name="connsiteY24" fmla="*/ 66963 h 380378"/>
                <a:gd name="connsiteX25" fmla="*/ 271161 w 937115"/>
                <a:gd name="connsiteY25" fmla="*/ 67431 h 380378"/>
                <a:gd name="connsiteX26" fmla="*/ 248350 w 937115"/>
                <a:gd name="connsiteY26" fmla="*/ 53560 h 380378"/>
                <a:gd name="connsiteX27" fmla="*/ 217380 w 937115"/>
                <a:gd name="connsiteY27" fmla="*/ 44703 h 380378"/>
                <a:gd name="connsiteX28" fmla="*/ 202849 w 937115"/>
                <a:gd name="connsiteY28" fmla="*/ 29295 h 380378"/>
                <a:gd name="connsiteX29" fmla="*/ 145171 w 937115"/>
                <a:gd name="connsiteY29" fmla="*/ 4194 h 380378"/>
                <a:gd name="connsiteX30" fmla="*/ 83353 w 937115"/>
                <a:gd name="connsiteY30" fmla="*/ 3625 h 380378"/>
                <a:gd name="connsiteX31" fmla="*/ 51367 w 937115"/>
                <a:gd name="connsiteY31" fmla="*/ 4829 h 380378"/>
                <a:gd name="connsiteX32" fmla="*/ 13295 w 937115"/>
                <a:gd name="connsiteY32" fmla="*/ -285 h 380378"/>
                <a:gd name="connsiteX33" fmla="*/ -60 w 937115"/>
                <a:gd name="connsiteY33" fmla="*/ -285 h 380378"/>
                <a:gd name="connsiteX34" fmla="*/ 41261 w 937115"/>
                <a:gd name="connsiteY34" fmla="*/ 38988 h 380378"/>
                <a:gd name="connsiteX35" fmla="*/ 63342 w 937115"/>
                <a:gd name="connsiteY35" fmla="*/ 57872 h 380378"/>
                <a:gd name="connsiteX36" fmla="*/ 71460 w 937115"/>
                <a:gd name="connsiteY36" fmla="*/ 83541 h 380378"/>
                <a:gd name="connsiteX37" fmla="*/ 70932 w 937115"/>
                <a:gd name="connsiteY37" fmla="*/ 112586 h 380378"/>
                <a:gd name="connsiteX38" fmla="*/ 134820 w 937115"/>
                <a:gd name="connsiteY38" fmla="*/ 141565 h 380378"/>
                <a:gd name="connsiteX39" fmla="*/ 172813 w 937115"/>
                <a:gd name="connsiteY39" fmla="*/ 178865 h 380378"/>
                <a:gd name="connsiteX40" fmla="*/ 182960 w 937115"/>
                <a:gd name="connsiteY40" fmla="*/ 200758 h 380378"/>
                <a:gd name="connsiteX41" fmla="*/ 221195 w 937115"/>
                <a:gd name="connsiteY41" fmla="*/ 215063 h 380378"/>
                <a:gd name="connsiteX42" fmla="*/ 289792 w 937115"/>
                <a:gd name="connsiteY42" fmla="*/ 237958 h 380378"/>
                <a:gd name="connsiteX43" fmla="*/ 321533 w 937115"/>
                <a:gd name="connsiteY43" fmla="*/ 250124 h 380378"/>
                <a:gd name="connsiteX44" fmla="*/ 361596 w 937115"/>
                <a:gd name="connsiteY44" fmla="*/ 272619 h 380378"/>
                <a:gd name="connsiteX45" fmla="*/ 390495 w 937115"/>
                <a:gd name="connsiteY45" fmla="*/ 288027 h 380378"/>
                <a:gd name="connsiteX46" fmla="*/ 420248 w 937115"/>
                <a:gd name="connsiteY46" fmla="*/ 304171 h 380378"/>
                <a:gd name="connsiteX47" fmla="*/ 450527 w 937115"/>
                <a:gd name="connsiteY47" fmla="*/ 309552 h 380378"/>
                <a:gd name="connsiteX48" fmla="*/ 511412 w 937115"/>
                <a:gd name="connsiteY48" fmla="*/ 316805 h 380378"/>
                <a:gd name="connsiteX49" fmla="*/ 590603 w 937115"/>
                <a:gd name="connsiteY49" fmla="*/ 342374 h 380378"/>
                <a:gd name="connsiteX50" fmla="*/ 633830 w 937115"/>
                <a:gd name="connsiteY50" fmla="*/ 341572 h 380378"/>
                <a:gd name="connsiteX51" fmla="*/ 658387 w 937115"/>
                <a:gd name="connsiteY51" fmla="*/ 333550 h 380378"/>
                <a:gd name="connsiteX52" fmla="*/ 665287 w 937115"/>
                <a:gd name="connsiteY52" fmla="*/ 317974 h 380378"/>
                <a:gd name="connsiteX53" fmla="*/ 694188 w 937115"/>
                <a:gd name="connsiteY53" fmla="*/ 328570 h 380378"/>
                <a:gd name="connsiteX54" fmla="*/ 739892 w 937115"/>
                <a:gd name="connsiteY54" fmla="*/ 342507 h 380378"/>
                <a:gd name="connsiteX55" fmla="*/ 788112 w 937115"/>
                <a:gd name="connsiteY55" fmla="*/ 352534 h 380378"/>
                <a:gd name="connsiteX56" fmla="*/ 822532 w 937115"/>
                <a:gd name="connsiteY56" fmla="*/ 350228 h 380378"/>
                <a:gd name="connsiteX57" fmla="*/ 870023 w 937115"/>
                <a:gd name="connsiteY57" fmla="*/ 358851 h 380378"/>
                <a:gd name="connsiteX58" fmla="*/ 910125 w 937115"/>
                <a:gd name="connsiteY58" fmla="*/ 371820 h 380378"/>
                <a:gd name="connsiteX59" fmla="*/ 936427 w 937115"/>
                <a:gd name="connsiteY59" fmla="*/ 375162 h 380378"/>
                <a:gd name="connsiteX60" fmla="*/ 910369 w 937115"/>
                <a:gd name="connsiteY60" fmla="*/ 342641 h 380378"/>
                <a:gd name="connsiteX61" fmla="*/ 910125 w 937115"/>
                <a:gd name="connsiteY61" fmla="*/ 342541 h 38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37115" h="380378">
                  <a:moveTo>
                    <a:pt x="910125" y="342541"/>
                  </a:moveTo>
                  <a:cubicBezTo>
                    <a:pt x="904646" y="335164"/>
                    <a:pt x="894620" y="330969"/>
                    <a:pt x="884148" y="331712"/>
                  </a:cubicBezTo>
                  <a:cubicBezTo>
                    <a:pt x="872986" y="333082"/>
                    <a:pt x="874975" y="332915"/>
                    <a:pt x="864137" y="325628"/>
                  </a:cubicBezTo>
                  <a:cubicBezTo>
                    <a:pt x="854680" y="319278"/>
                    <a:pt x="844776" y="316938"/>
                    <a:pt x="833492" y="314064"/>
                  </a:cubicBezTo>
                  <a:cubicBezTo>
                    <a:pt x="825374" y="312025"/>
                    <a:pt x="812954" y="299892"/>
                    <a:pt x="822938" y="298956"/>
                  </a:cubicBezTo>
                  <a:cubicBezTo>
                    <a:pt x="832923" y="298020"/>
                    <a:pt x="832761" y="294110"/>
                    <a:pt x="840758" y="290968"/>
                  </a:cubicBezTo>
                  <a:cubicBezTo>
                    <a:pt x="852244" y="286513"/>
                    <a:pt x="863731" y="282054"/>
                    <a:pt x="875259" y="277599"/>
                  </a:cubicBezTo>
                  <a:cubicBezTo>
                    <a:pt x="863082" y="269276"/>
                    <a:pt x="848470" y="268006"/>
                    <a:pt x="835846" y="260887"/>
                  </a:cubicBezTo>
                  <a:cubicBezTo>
                    <a:pt x="826430" y="255539"/>
                    <a:pt x="826632" y="250860"/>
                    <a:pt x="814253" y="245880"/>
                  </a:cubicBezTo>
                  <a:cubicBezTo>
                    <a:pt x="788437" y="235251"/>
                    <a:pt x="766641" y="240264"/>
                    <a:pt x="742003" y="234683"/>
                  </a:cubicBezTo>
                  <a:cubicBezTo>
                    <a:pt x="724874" y="230839"/>
                    <a:pt x="706243" y="227764"/>
                    <a:pt x="689601" y="223586"/>
                  </a:cubicBezTo>
                  <a:cubicBezTo>
                    <a:pt x="668008" y="218138"/>
                    <a:pt x="651203" y="207309"/>
                    <a:pt x="631355" y="199454"/>
                  </a:cubicBezTo>
                  <a:cubicBezTo>
                    <a:pt x="609680" y="190898"/>
                    <a:pt x="611060" y="177662"/>
                    <a:pt x="592551" y="168136"/>
                  </a:cubicBezTo>
                  <a:cubicBezTo>
                    <a:pt x="584149" y="163825"/>
                    <a:pt x="580983" y="158678"/>
                    <a:pt x="572459" y="154466"/>
                  </a:cubicBezTo>
                  <a:cubicBezTo>
                    <a:pt x="562474" y="149553"/>
                    <a:pt x="552732" y="146846"/>
                    <a:pt x="542666" y="141398"/>
                  </a:cubicBezTo>
                  <a:cubicBezTo>
                    <a:pt x="531829" y="135515"/>
                    <a:pt x="522047" y="133543"/>
                    <a:pt x="509586" y="130368"/>
                  </a:cubicBezTo>
                  <a:cubicBezTo>
                    <a:pt x="499276" y="127727"/>
                    <a:pt x="485232" y="130134"/>
                    <a:pt x="476302" y="125555"/>
                  </a:cubicBezTo>
                  <a:cubicBezTo>
                    <a:pt x="456007" y="115093"/>
                    <a:pt x="434210" y="104164"/>
                    <a:pt x="441313" y="90661"/>
                  </a:cubicBezTo>
                  <a:cubicBezTo>
                    <a:pt x="445169" y="83341"/>
                    <a:pt x="435022" y="80032"/>
                    <a:pt x="423454" y="74918"/>
                  </a:cubicBezTo>
                  <a:cubicBezTo>
                    <a:pt x="412536" y="70072"/>
                    <a:pt x="405230" y="61816"/>
                    <a:pt x="393417" y="57972"/>
                  </a:cubicBezTo>
                  <a:cubicBezTo>
                    <a:pt x="379698" y="53494"/>
                    <a:pt x="371418" y="46174"/>
                    <a:pt x="359809" y="40024"/>
                  </a:cubicBezTo>
                  <a:cubicBezTo>
                    <a:pt x="350637" y="35177"/>
                    <a:pt x="335455" y="37350"/>
                    <a:pt x="325187" y="38018"/>
                  </a:cubicBezTo>
                  <a:cubicBezTo>
                    <a:pt x="316297" y="38620"/>
                    <a:pt x="304323" y="40291"/>
                    <a:pt x="304892" y="46107"/>
                  </a:cubicBezTo>
                  <a:cubicBezTo>
                    <a:pt x="305460" y="51923"/>
                    <a:pt x="313010" y="60914"/>
                    <a:pt x="309762" y="65158"/>
                  </a:cubicBezTo>
                  <a:cubicBezTo>
                    <a:pt x="305175" y="71108"/>
                    <a:pt x="295393" y="67899"/>
                    <a:pt x="284434" y="66963"/>
                  </a:cubicBezTo>
                  <a:cubicBezTo>
                    <a:pt x="281065" y="66662"/>
                    <a:pt x="274328" y="68267"/>
                    <a:pt x="271161" y="67431"/>
                  </a:cubicBezTo>
                  <a:cubicBezTo>
                    <a:pt x="261744" y="64924"/>
                    <a:pt x="257036" y="57070"/>
                    <a:pt x="248350" y="53560"/>
                  </a:cubicBezTo>
                  <a:cubicBezTo>
                    <a:pt x="235524" y="48413"/>
                    <a:pt x="228705" y="52257"/>
                    <a:pt x="217380" y="44703"/>
                  </a:cubicBezTo>
                  <a:cubicBezTo>
                    <a:pt x="208085" y="38486"/>
                    <a:pt x="204188" y="36447"/>
                    <a:pt x="202849" y="29295"/>
                  </a:cubicBezTo>
                  <a:cubicBezTo>
                    <a:pt x="201712" y="23078"/>
                    <a:pt x="156699" y="6734"/>
                    <a:pt x="145171" y="4194"/>
                  </a:cubicBezTo>
                  <a:cubicBezTo>
                    <a:pt x="124105" y="-486"/>
                    <a:pt x="103404" y="4428"/>
                    <a:pt x="83353" y="3625"/>
                  </a:cubicBezTo>
                  <a:cubicBezTo>
                    <a:pt x="71379" y="3158"/>
                    <a:pt x="62449" y="5130"/>
                    <a:pt x="51367" y="4829"/>
                  </a:cubicBezTo>
                  <a:cubicBezTo>
                    <a:pt x="38785" y="4528"/>
                    <a:pt x="25958" y="718"/>
                    <a:pt x="13295" y="-285"/>
                  </a:cubicBezTo>
                  <a:cubicBezTo>
                    <a:pt x="7855" y="-720"/>
                    <a:pt x="5461" y="1687"/>
                    <a:pt x="-60" y="-285"/>
                  </a:cubicBezTo>
                  <a:cubicBezTo>
                    <a:pt x="1402" y="12115"/>
                    <a:pt x="17719" y="31400"/>
                    <a:pt x="41261" y="38988"/>
                  </a:cubicBezTo>
                  <a:cubicBezTo>
                    <a:pt x="51287" y="42330"/>
                    <a:pt x="64154" y="51923"/>
                    <a:pt x="63342" y="57872"/>
                  </a:cubicBezTo>
                  <a:cubicBezTo>
                    <a:pt x="61880" y="68300"/>
                    <a:pt x="80552" y="74316"/>
                    <a:pt x="71460" y="83541"/>
                  </a:cubicBezTo>
                  <a:cubicBezTo>
                    <a:pt x="60581" y="94471"/>
                    <a:pt x="41829" y="99184"/>
                    <a:pt x="70932" y="112586"/>
                  </a:cubicBezTo>
                  <a:cubicBezTo>
                    <a:pt x="90212" y="121444"/>
                    <a:pt x="123699" y="128529"/>
                    <a:pt x="134820" y="141565"/>
                  </a:cubicBezTo>
                  <a:cubicBezTo>
                    <a:pt x="146470" y="155168"/>
                    <a:pt x="173218" y="163658"/>
                    <a:pt x="172813" y="178865"/>
                  </a:cubicBezTo>
                  <a:cubicBezTo>
                    <a:pt x="172609" y="186319"/>
                    <a:pt x="182838" y="193806"/>
                    <a:pt x="182960" y="200758"/>
                  </a:cubicBezTo>
                  <a:cubicBezTo>
                    <a:pt x="182960" y="206072"/>
                    <a:pt x="214863" y="212556"/>
                    <a:pt x="221195" y="215063"/>
                  </a:cubicBezTo>
                  <a:cubicBezTo>
                    <a:pt x="243357" y="223753"/>
                    <a:pt x="267428" y="229502"/>
                    <a:pt x="289792" y="237958"/>
                  </a:cubicBezTo>
                  <a:cubicBezTo>
                    <a:pt x="300345" y="241936"/>
                    <a:pt x="311223" y="245813"/>
                    <a:pt x="321533" y="250124"/>
                  </a:cubicBezTo>
                  <a:cubicBezTo>
                    <a:pt x="336470" y="256442"/>
                    <a:pt x="346171" y="267906"/>
                    <a:pt x="361596" y="272619"/>
                  </a:cubicBezTo>
                  <a:cubicBezTo>
                    <a:pt x="374340" y="276529"/>
                    <a:pt x="379333" y="282646"/>
                    <a:pt x="390495" y="288027"/>
                  </a:cubicBezTo>
                  <a:cubicBezTo>
                    <a:pt x="404945" y="294712"/>
                    <a:pt x="409938" y="294912"/>
                    <a:pt x="420248" y="304171"/>
                  </a:cubicBezTo>
                  <a:cubicBezTo>
                    <a:pt x="427513" y="310855"/>
                    <a:pt x="441923" y="309485"/>
                    <a:pt x="450527" y="309552"/>
                  </a:cubicBezTo>
                  <a:cubicBezTo>
                    <a:pt x="470376" y="309552"/>
                    <a:pt x="490184" y="310086"/>
                    <a:pt x="511412" y="316805"/>
                  </a:cubicBezTo>
                  <a:cubicBezTo>
                    <a:pt x="540312" y="326063"/>
                    <a:pt x="559633" y="340435"/>
                    <a:pt x="590603" y="342374"/>
                  </a:cubicBezTo>
                  <a:cubicBezTo>
                    <a:pt x="605986" y="343376"/>
                    <a:pt x="618041" y="339766"/>
                    <a:pt x="633830" y="341572"/>
                  </a:cubicBezTo>
                  <a:cubicBezTo>
                    <a:pt x="647266" y="343109"/>
                    <a:pt x="661391" y="344379"/>
                    <a:pt x="658387" y="333550"/>
                  </a:cubicBezTo>
                  <a:cubicBezTo>
                    <a:pt x="656317" y="326163"/>
                    <a:pt x="651203" y="319211"/>
                    <a:pt x="665287" y="317974"/>
                  </a:cubicBezTo>
                  <a:cubicBezTo>
                    <a:pt x="676775" y="316972"/>
                    <a:pt x="685582" y="323055"/>
                    <a:pt x="694188" y="328570"/>
                  </a:cubicBezTo>
                  <a:cubicBezTo>
                    <a:pt x="707380" y="336885"/>
                    <a:pt x="723290" y="341742"/>
                    <a:pt x="739892" y="342507"/>
                  </a:cubicBezTo>
                  <a:cubicBezTo>
                    <a:pt x="757264" y="342808"/>
                    <a:pt x="770700" y="347086"/>
                    <a:pt x="788112" y="352534"/>
                  </a:cubicBezTo>
                  <a:cubicBezTo>
                    <a:pt x="803983" y="357681"/>
                    <a:pt x="810153" y="351365"/>
                    <a:pt x="822532" y="350228"/>
                  </a:cubicBezTo>
                  <a:cubicBezTo>
                    <a:pt x="839662" y="348657"/>
                    <a:pt x="852325" y="354339"/>
                    <a:pt x="870023" y="358851"/>
                  </a:cubicBezTo>
                  <a:cubicBezTo>
                    <a:pt x="885853" y="362929"/>
                    <a:pt x="895878" y="363798"/>
                    <a:pt x="910125" y="371820"/>
                  </a:cubicBezTo>
                  <a:cubicBezTo>
                    <a:pt x="916903" y="375597"/>
                    <a:pt x="941257" y="386192"/>
                    <a:pt x="936427" y="375162"/>
                  </a:cubicBezTo>
                  <a:cubicBezTo>
                    <a:pt x="931597" y="364132"/>
                    <a:pt x="917147" y="353537"/>
                    <a:pt x="910369" y="342641"/>
                  </a:cubicBezTo>
                  <a:cubicBezTo>
                    <a:pt x="903996" y="332748"/>
                    <a:pt x="916214" y="352367"/>
                    <a:pt x="910125" y="34254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A0CCB4A3-25E2-4750-B245-255917DDDB26}"/>
                </a:ext>
              </a:extLst>
            </p:cNvPr>
            <p:cNvSpPr/>
            <p:nvPr/>
          </p:nvSpPr>
          <p:spPr>
            <a:xfrm>
              <a:off x="6822397" y="4283659"/>
              <a:ext cx="46897" cy="70523"/>
            </a:xfrm>
            <a:custGeom>
              <a:avLst/>
              <a:gdLst>
                <a:gd name="connsiteX0" fmla="*/ 16011 w 46897"/>
                <a:gd name="connsiteY0" fmla="*/ 68948 h 70523"/>
                <a:gd name="connsiteX1" fmla="*/ 19055 w 46897"/>
                <a:gd name="connsiteY1" fmla="*/ 70185 h 70523"/>
                <a:gd name="connsiteX2" fmla="*/ 31922 w 46897"/>
                <a:gd name="connsiteY2" fmla="*/ 46387 h 70523"/>
                <a:gd name="connsiteX3" fmla="*/ 27213 w 46897"/>
                <a:gd name="connsiteY3" fmla="*/ 25030 h 70523"/>
                <a:gd name="connsiteX4" fmla="*/ 32125 w 46897"/>
                <a:gd name="connsiteY4" fmla="*/ 16340 h 70523"/>
                <a:gd name="connsiteX5" fmla="*/ 45438 w 46897"/>
                <a:gd name="connsiteY5" fmla="*/ 12362 h 70523"/>
                <a:gd name="connsiteX6" fmla="*/ 32937 w 46897"/>
                <a:gd name="connsiteY6" fmla="*/ -339 h 70523"/>
                <a:gd name="connsiteX7" fmla="*/ 12642 w 46897"/>
                <a:gd name="connsiteY7" fmla="*/ 24261 h 70523"/>
                <a:gd name="connsiteX8" fmla="*/ 465 w 46897"/>
                <a:gd name="connsiteY8" fmla="*/ 38366 h 70523"/>
                <a:gd name="connsiteX9" fmla="*/ 16011 w 46897"/>
                <a:gd name="connsiteY9" fmla="*/ 68948 h 7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897" h="70523">
                  <a:moveTo>
                    <a:pt x="16011" y="68948"/>
                  </a:moveTo>
                  <a:lnTo>
                    <a:pt x="19055" y="70185"/>
                  </a:lnTo>
                  <a:cubicBezTo>
                    <a:pt x="21653" y="63500"/>
                    <a:pt x="23114" y="51568"/>
                    <a:pt x="31922" y="46387"/>
                  </a:cubicBezTo>
                  <a:cubicBezTo>
                    <a:pt x="44707" y="38733"/>
                    <a:pt x="24656" y="33018"/>
                    <a:pt x="27213" y="25030"/>
                  </a:cubicBezTo>
                  <a:cubicBezTo>
                    <a:pt x="27904" y="21835"/>
                    <a:pt x="29608" y="18840"/>
                    <a:pt x="32125" y="16340"/>
                  </a:cubicBezTo>
                  <a:cubicBezTo>
                    <a:pt x="37320" y="11794"/>
                    <a:pt x="42881" y="19314"/>
                    <a:pt x="45438" y="12362"/>
                  </a:cubicBezTo>
                  <a:cubicBezTo>
                    <a:pt x="48726" y="3539"/>
                    <a:pt x="46859" y="4207"/>
                    <a:pt x="32937" y="-339"/>
                  </a:cubicBezTo>
                  <a:cubicBezTo>
                    <a:pt x="24819" y="7482"/>
                    <a:pt x="21287" y="16373"/>
                    <a:pt x="12642" y="24261"/>
                  </a:cubicBezTo>
                  <a:cubicBezTo>
                    <a:pt x="7852" y="28639"/>
                    <a:pt x="-2499" y="32985"/>
                    <a:pt x="465" y="38366"/>
                  </a:cubicBezTo>
                  <a:cubicBezTo>
                    <a:pt x="5619" y="46354"/>
                    <a:pt x="20394" y="61328"/>
                    <a:pt x="16011" y="6894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18ACAD52-4A38-4970-AA22-0DB6BCCC908D}"/>
                </a:ext>
              </a:extLst>
            </p:cNvPr>
            <p:cNvSpPr/>
            <p:nvPr/>
          </p:nvSpPr>
          <p:spPr>
            <a:xfrm>
              <a:off x="6843161" y="4288773"/>
              <a:ext cx="134529" cy="74737"/>
            </a:xfrm>
            <a:custGeom>
              <a:avLst/>
              <a:gdLst>
                <a:gd name="connsiteX0" fmla="*/ 128300 w 134529"/>
                <a:gd name="connsiteY0" fmla="*/ 3772 h 74737"/>
                <a:gd name="connsiteX1" fmla="*/ 87305 w 134529"/>
                <a:gd name="connsiteY1" fmla="*/ 10290 h 74737"/>
                <a:gd name="connsiteX2" fmla="*/ 56822 w 134529"/>
                <a:gd name="connsiteY2" fmla="*/ 16373 h 74737"/>
                <a:gd name="connsiteX3" fmla="*/ 27556 w 134529"/>
                <a:gd name="connsiteY3" fmla="*/ -339 h 74737"/>
                <a:gd name="connsiteX4" fmla="*/ 9372 w 134529"/>
                <a:gd name="connsiteY4" fmla="*/ 43112 h 74737"/>
                <a:gd name="connsiteX5" fmla="*/ 483 w 134529"/>
                <a:gd name="connsiteY5" fmla="*/ 60024 h 74737"/>
                <a:gd name="connsiteX6" fmla="*/ 19804 w 134529"/>
                <a:gd name="connsiteY6" fmla="*/ 72725 h 74737"/>
                <a:gd name="connsiteX7" fmla="*/ 56943 w 134529"/>
                <a:gd name="connsiteY7" fmla="*/ 62698 h 74737"/>
                <a:gd name="connsiteX8" fmla="*/ 91120 w 134529"/>
                <a:gd name="connsiteY8" fmla="*/ 55813 h 74737"/>
                <a:gd name="connsiteX9" fmla="*/ 68552 w 134529"/>
                <a:gd name="connsiteY9" fmla="*/ 39870 h 74737"/>
                <a:gd name="connsiteX10" fmla="*/ 100374 w 134529"/>
                <a:gd name="connsiteY10" fmla="*/ 31915 h 74737"/>
                <a:gd name="connsiteX11" fmla="*/ 134470 w 134529"/>
                <a:gd name="connsiteY11" fmla="*/ 29743 h 74737"/>
                <a:gd name="connsiteX12" fmla="*/ 128300 w 134529"/>
                <a:gd name="connsiteY12" fmla="*/ 3872 h 74737"/>
                <a:gd name="connsiteX13" fmla="*/ 128300 w 134529"/>
                <a:gd name="connsiteY13" fmla="*/ 3772 h 7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4529" h="74737">
                  <a:moveTo>
                    <a:pt x="128300" y="3772"/>
                  </a:moveTo>
                  <a:cubicBezTo>
                    <a:pt x="116123" y="5911"/>
                    <a:pt x="100577" y="10457"/>
                    <a:pt x="87305" y="10290"/>
                  </a:cubicBezTo>
                  <a:cubicBezTo>
                    <a:pt x="76670" y="10290"/>
                    <a:pt x="66157" y="16975"/>
                    <a:pt x="56822" y="16373"/>
                  </a:cubicBezTo>
                  <a:cubicBezTo>
                    <a:pt x="45497" y="15771"/>
                    <a:pt x="27191" y="5677"/>
                    <a:pt x="27556" y="-339"/>
                  </a:cubicBezTo>
                  <a:cubicBezTo>
                    <a:pt x="22726" y="14067"/>
                    <a:pt x="20088" y="30210"/>
                    <a:pt x="9372" y="43112"/>
                  </a:cubicBezTo>
                  <a:cubicBezTo>
                    <a:pt x="5516" y="48399"/>
                    <a:pt x="2513" y="54088"/>
                    <a:pt x="483" y="60024"/>
                  </a:cubicBezTo>
                  <a:cubicBezTo>
                    <a:pt x="-2602" y="67511"/>
                    <a:pt x="7952" y="69349"/>
                    <a:pt x="19804" y="72725"/>
                  </a:cubicBezTo>
                  <a:cubicBezTo>
                    <a:pt x="43062" y="79410"/>
                    <a:pt x="42696" y="64002"/>
                    <a:pt x="56943" y="62698"/>
                  </a:cubicBezTo>
                  <a:cubicBezTo>
                    <a:pt x="66644" y="61796"/>
                    <a:pt x="87670" y="63667"/>
                    <a:pt x="91120" y="55813"/>
                  </a:cubicBezTo>
                  <a:cubicBezTo>
                    <a:pt x="93149" y="51200"/>
                    <a:pt x="75290" y="41741"/>
                    <a:pt x="68552" y="39870"/>
                  </a:cubicBezTo>
                  <a:cubicBezTo>
                    <a:pt x="56903" y="36527"/>
                    <a:pt x="96681" y="31648"/>
                    <a:pt x="100374" y="31915"/>
                  </a:cubicBezTo>
                  <a:cubicBezTo>
                    <a:pt x="113201" y="32751"/>
                    <a:pt x="122496" y="28573"/>
                    <a:pt x="134470" y="29743"/>
                  </a:cubicBezTo>
                  <a:cubicBezTo>
                    <a:pt x="132359" y="21153"/>
                    <a:pt x="128584" y="12429"/>
                    <a:pt x="128300" y="3872"/>
                  </a:cubicBezTo>
                  <a:cubicBezTo>
                    <a:pt x="108167" y="7349"/>
                    <a:pt x="128422" y="6914"/>
                    <a:pt x="128300" y="377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0B3A3A74-930C-4848-A4C5-27BABC2AE530}"/>
                </a:ext>
              </a:extLst>
            </p:cNvPr>
            <p:cNvSpPr/>
            <p:nvPr/>
          </p:nvSpPr>
          <p:spPr>
            <a:xfrm>
              <a:off x="7961290" y="4271307"/>
              <a:ext cx="354072" cy="83448"/>
            </a:xfrm>
            <a:custGeom>
              <a:avLst/>
              <a:gdLst>
                <a:gd name="connsiteX0" fmla="*/ 330718 w 354072"/>
                <a:gd name="connsiteY0" fmla="*/ 63219 h 83448"/>
                <a:gd name="connsiteX1" fmla="*/ 290900 w 354072"/>
                <a:gd name="connsiteY1" fmla="*/ 47409 h 83448"/>
                <a:gd name="connsiteX2" fmla="*/ 235454 w 354072"/>
                <a:gd name="connsiteY2" fmla="*/ 31968 h 83448"/>
                <a:gd name="connsiteX3" fmla="*/ 188289 w 354072"/>
                <a:gd name="connsiteY3" fmla="*/ 16325 h 83448"/>
                <a:gd name="connsiteX4" fmla="*/ 147699 w 354072"/>
                <a:gd name="connsiteY4" fmla="*/ 16325 h 83448"/>
                <a:gd name="connsiteX5" fmla="*/ 95298 w 354072"/>
                <a:gd name="connsiteY5" fmla="*/ 817 h 83448"/>
                <a:gd name="connsiteX6" fmla="*/ 76099 w 354072"/>
                <a:gd name="connsiteY6" fmla="*/ 3725 h 83448"/>
                <a:gd name="connsiteX7" fmla="*/ 52557 w 354072"/>
                <a:gd name="connsiteY7" fmla="*/ 9273 h 83448"/>
                <a:gd name="connsiteX8" fmla="*/ 53328 w 354072"/>
                <a:gd name="connsiteY8" fmla="*/ 23411 h 83448"/>
                <a:gd name="connsiteX9" fmla="*/ 78088 w 354072"/>
                <a:gd name="connsiteY9" fmla="*/ 28057 h 83448"/>
                <a:gd name="connsiteX10" fmla="*/ 121316 w 354072"/>
                <a:gd name="connsiteY10" fmla="*/ 52323 h 83448"/>
                <a:gd name="connsiteX11" fmla="*/ 110397 w 354072"/>
                <a:gd name="connsiteY11" fmla="*/ 51721 h 83448"/>
                <a:gd name="connsiteX12" fmla="*/ 96678 w 354072"/>
                <a:gd name="connsiteY12" fmla="*/ 54729 h 83448"/>
                <a:gd name="connsiteX13" fmla="*/ 68265 w 354072"/>
                <a:gd name="connsiteY13" fmla="*/ 49816 h 83448"/>
                <a:gd name="connsiteX14" fmla="*/ 886 w 354072"/>
                <a:gd name="connsiteY14" fmla="*/ 46474 h 83448"/>
                <a:gd name="connsiteX15" fmla="*/ 21181 w 354072"/>
                <a:gd name="connsiteY15" fmla="*/ 53392 h 83448"/>
                <a:gd name="connsiteX16" fmla="*/ 55885 w 354072"/>
                <a:gd name="connsiteY16" fmla="*/ 62885 h 83448"/>
                <a:gd name="connsiteX17" fmla="*/ 85962 w 354072"/>
                <a:gd name="connsiteY17" fmla="*/ 72076 h 83448"/>
                <a:gd name="connsiteX18" fmla="*/ 118109 w 354072"/>
                <a:gd name="connsiteY18" fmla="*/ 79195 h 83448"/>
                <a:gd name="connsiteX19" fmla="*/ 141652 w 354072"/>
                <a:gd name="connsiteY19" fmla="*/ 79028 h 83448"/>
                <a:gd name="connsiteX20" fmla="*/ 172662 w 354072"/>
                <a:gd name="connsiteY20" fmla="*/ 71942 h 83448"/>
                <a:gd name="connsiteX21" fmla="*/ 206027 w 354072"/>
                <a:gd name="connsiteY21" fmla="*/ 78159 h 83448"/>
                <a:gd name="connsiteX22" fmla="*/ 236834 w 354072"/>
                <a:gd name="connsiteY22" fmla="*/ 78460 h 83448"/>
                <a:gd name="connsiteX23" fmla="*/ 274177 w 354072"/>
                <a:gd name="connsiteY23" fmla="*/ 82638 h 83448"/>
                <a:gd name="connsiteX24" fmla="*/ 313346 w 354072"/>
                <a:gd name="connsiteY24" fmla="*/ 78326 h 83448"/>
                <a:gd name="connsiteX25" fmla="*/ 350364 w 354072"/>
                <a:gd name="connsiteY25" fmla="*/ 77691 h 83448"/>
                <a:gd name="connsiteX26" fmla="*/ 330515 w 354072"/>
                <a:gd name="connsiteY26" fmla="*/ 63152 h 83448"/>
                <a:gd name="connsiteX27" fmla="*/ 330718 w 354072"/>
                <a:gd name="connsiteY27" fmla="*/ 63219 h 83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4072" h="83448">
                  <a:moveTo>
                    <a:pt x="330718" y="63219"/>
                  </a:moveTo>
                  <a:cubicBezTo>
                    <a:pt x="323372" y="55130"/>
                    <a:pt x="304132" y="51755"/>
                    <a:pt x="290900" y="47409"/>
                  </a:cubicBezTo>
                  <a:cubicBezTo>
                    <a:pt x="272837" y="41310"/>
                    <a:pt x="254329" y="36152"/>
                    <a:pt x="235454" y="31968"/>
                  </a:cubicBezTo>
                  <a:cubicBezTo>
                    <a:pt x="216174" y="27890"/>
                    <a:pt x="204890" y="25450"/>
                    <a:pt x="188289" y="16325"/>
                  </a:cubicBezTo>
                  <a:cubicBezTo>
                    <a:pt x="171688" y="7201"/>
                    <a:pt x="157644" y="9641"/>
                    <a:pt x="147699" y="16325"/>
                  </a:cubicBezTo>
                  <a:cubicBezTo>
                    <a:pt x="139581" y="22007"/>
                    <a:pt x="107110" y="3257"/>
                    <a:pt x="95298" y="817"/>
                  </a:cubicBezTo>
                  <a:cubicBezTo>
                    <a:pt x="83486" y="-1623"/>
                    <a:pt x="82309" y="15"/>
                    <a:pt x="76099" y="3725"/>
                  </a:cubicBezTo>
                  <a:cubicBezTo>
                    <a:pt x="69889" y="7435"/>
                    <a:pt x="58808" y="6198"/>
                    <a:pt x="52557" y="9273"/>
                  </a:cubicBezTo>
                  <a:cubicBezTo>
                    <a:pt x="40989" y="14922"/>
                    <a:pt x="45981" y="15590"/>
                    <a:pt x="53328" y="23411"/>
                  </a:cubicBezTo>
                  <a:cubicBezTo>
                    <a:pt x="57387" y="27623"/>
                    <a:pt x="73623" y="32269"/>
                    <a:pt x="78088" y="28057"/>
                  </a:cubicBezTo>
                  <a:cubicBezTo>
                    <a:pt x="82553" y="23846"/>
                    <a:pt x="125781" y="49716"/>
                    <a:pt x="121316" y="52323"/>
                  </a:cubicBezTo>
                  <a:cubicBezTo>
                    <a:pt x="119774" y="53225"/>
                    <a:pt x="112386" y="51788"/>
                    <a:pt x="110397" y="51721"/>
                  </a:cubicBezTo>
                  <a:cubicBezTo>
                    <a:pt x="103943" y="51487"/>
                    <a:pt x="102279" y="54361"/>
                    <a:pt x="96678" y="54729"/>
                  </a:cubicBezTo>
                  <a:cubicBezTo>
                    <a:pt x="87424" y="55364"/>
                    <a:pt x="78210" y="49716"/>
                    <a:pt x="68265" y="49816"/>
                  </a:cubicBezTo>
                  <a:cubicBezTo>
                    <a:pt x="47605" y="49816"/>
                    <a:pt x="15174" y="35945"/>
                    <a:pt x="886" y="46474"/>
                  </a:cubicBezTo>
                  <a:cubicBezTo>
                    <a:pt x="-4837" y="50685"/>
                    <a:pt x="17122" y="52690"/>
                    <a:pt x="21181" y="53392"/>
                  </a:cubicBezTo>
                  <a:cubicBezTo>
                    <a:pt x="32708" y="55364"/>
                    <a:pt x="45210" y="62283"/>
                    <a:pt x="55885" y="62885"/>
                  </a:cubicBezTo>
                  <a:cubicBezTo>
                    <a:pt x="70376" y="63687"/>
                    <a:pt x="72121" y="69569"/>
                    <a:pt x="85962" y="72076"/>
                  </a:cubicBezTo>
                  <a:cubicBezTo>
                    <a:pt x="96840" y="74048"/>
                    <a:pt x="106988" y="77357"/>
                    <a:pt x="118109" y="79195"/>
                  </a:cubicBezTo>
                  <a:cubicBezTo>
                    <a:pt x="127729" y="80833"/>
                    <a:pt x="136537" y="83975"/>
                    <a:pt x="141652" y="79028"/>
                  </a:cubicBezTo>
                  <a:cubicBezTo>
                    <a:pt x="149972" y="70940"/>
                    <a:pt x="156466" y="74616"/>
                    <a:pt x="172662" y="71942"/>
                  </a:cubicBezTo>
                  <a:cubicBezTo>
                    <a:pt x="184352" y="69790"/>
                    <a:pt x="196610" y="72073"/>
                    <a:pt x="206027" y="78159"/>
                  </a:cubicBezTo>
                  <a:cubicBezTo>
                    <a:pt x="213414" y="82738"/>
                    <a:pt x="230381" y="80599"/>
                    <a:pt x="236834" y="78460"/>
                  </a:cubicBezTo>
                  <a:cubicBezTo>
                    <a:pt x="250472" y="73948"/>
                    <a:pt x="259159" y="80198"/>
                    <a:pt x="274177" y="82638"/>
                  </a:cubicBezTo>
                  <a:cubicBezTo>
                    <a:pt x="288343" y="84978"/>
                    <a:pt x="298531" y="77825"/>
                    <a:pt x="313346" y="78326"/>
                  </a:cubicBezTo>
                  <a:cubicBezTo>
                    <a:pt x="325767" y="78761"/>
                    <a:pt x="337700" y="77424"/>
                    <a:pt x="350364" y="77691"/>
                  </a:cubicBezTo>
                  <a:cubicBezTo>
                    <a:pt x="364651" y="77958"/>
                    <a:pt x="332505" y="65324"/>
                    <a:pt x="330515" y="63152"/>
                  </a:cubicBezTo>
                  <a:cubicBezTo>
                    <a:pt x="321505" y="53192"/>
                    <a:pt x="338349" y="71842"/>
                    <a:pt x="330718" y="6321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A04EA380-5D6C-474D-ADE9-F3F2B7C7F11A}"/>
                </a:ext>
              </a:extLst>
            </p:cNvPr>
            <p:cNvSpPr/>
            <p:nvPr/>
          </p:nvSpPr>
          <p:spPr>
            <a:xfrm>
              <a:off x="7033704" y="4095635"/>
              <a:ext cx="209823" cy="72781"/>
            </a:xfrm>
            <a:custGeom>
              <a:avLst/>
              <a:gdLst>
                <a:gd name="connsiteX0" fmla="*/ 81729 w 209823"/>
                <a:gd name="connsiteY0" fmla="*/ 47307 h 72781"/>
                <a:gd name="connsiteX1" fmla="*/ 112293 w 209823"/>
                <a:gd name="connsiteY1" fmla="*/ 60676 h 72781"/>
                <a:gd name="connsiteX2" fmla="*/ 164410 w 209823"/>
                <a:gd name="connsiteY2" fmla="*/ 65590 h 72781"/>
                <a:gd name="connsiteX3" fmla="*/ 193229 w 209823"/>
                <a:gd name="connsiteY3" fmla="*/ 71071 h 72781"/>
                <a:gd name="connsiteX4" fmla="*/ 209465 w 209823"/>
                <a:gd name="connsiteY4" fmla="*/ 70001 h 72781"/>
                <a:gd name="connsiteX5" fmla="*/ 206908 w 209823"/>
                <a:gd name="connsiteY5" fmla="*/ 57668 h 72781"/>
                <a:gd name="connsiteX6" fmla="*/ 185598 w 209823"/>
                <a:gd name="connsiteY6" fmla="*/ 47173 h 72781"/>
                <a:gd name="connsiteX7" fmla="*/ 174923 w 209823"/>
                <a:gd name="connsiteY7" fmla="*/ 36478 h 72781"/>
                <a:gd name="connsiteX8" fmla="*/ 146510 w 209823"/>
                <a:gd name="connsiteY8" fmla="*/ 32667 h 72781"/>
                <a:gd name="connsiteX9" fmla="*/ 121791 w 209823"/>
                <a:gd name="connsiteY9" fmla="*/ 26885 h 72781"/>
                <a:gd name="connsiteX10" fmla="*/ 63788 w 209823"/>
                <a:gd name="connsiteY10" fmla="*/ 12179 h 72781"/>
                <a:gd name="connsiteX11" fmla="*/ -60 w 209823"/>
                <a:gd name="connsiteY11" fmla="*/ 915 h 72781"/>
                <a:gd name="connsiteX12" fmla="*/ 47024 w 209823"/>
                <a:gd name="connsiteY12" fmla="*/ 20501 h 72781"/>
                <a:gd name="connsiteX13" fmla="*/ 48283 w 209823"/>
                <a:gd name="connsiteY13" fmla="*/ 44299 h 72781"/>
                <a:gd name="connsiteX14" fmla="*/ 81526 w 209823"/>
                <a:gd name="connsiteY14" fmla="*/ 47340 h 72781"/>
                <a:gd name="connsiteX15" fmla="*/ 81729 w 209823"/>
                <a:gd name="connsiteY15" fmla="*/ 47307 h 7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823" h="72781">
                  <a:moveTo>
                    <a:pt x="81729" y="47307"/>
                  </a:moveTo>
                  <a:cubicBezTo>
                    <a:pt x="98330" y="45201"/>
                    <a:pt x="95408" y="60676"/>
                    <a:pt x="112293" y="60676"/>
                  </a:cubicBezTo>
                  <a:cubicBezTo>
                    <a:pt x="129868" y="60011"/>
                    <a:pt x="147484" y="61669"/>
                    <a:pt x="164410" y="65590"/>
                  </a:cubicBezTo>
                  <a:cubicBezTo>
                    <a:pt x="155156" y="54092"/>
                    <a:pt x="189495" y="70202"/>
                    <a:pt x="193229" y="71071"/>
                  </a:cubicBezTo>
                  <a:cubicBezTo>
                    <a:pt x="195543" y="71606"/>
                    <a:pt x="212184" y="74413"/>
                    <a:pt x="209465" y="70001"/>
                  </a:cubicBezTo>
                  <a:cubicBezTo>
                    <a:pt x="205406" y="63317"/>
                    <a:pt x="192580" y="63317"/>
                    <a:pt x="206908" y="57668"/>
                  </a:cubicBezTo>
                  <a:cubicBezTo>
                    <a:pt x="201550" y="55295"/>
                    <a:pt x="186856" y="50984"/>
                    <a:pt x="185598" y="47173"/>
                  </a:cubicBezTo>
                  <a:cubicBezTo>
                    <a:pt x="183366" y="40488"/>
                    <a:pt x="183000" y="40956"/>
                    <a:pt x="174923" y="36478"/>
                  </a:cubicBezTo>
                  <a:cubicBezTo>
                    <a:pt x="168794" y="33135"/>
                    <a:pt x="153938" y="32935"/>
                    <a:pt x="146510" y="32667"/>
                  </a:cubicBezTo>
                  <a:cubicBezTo>
                    <a:pt x="131654" y="32133"/>
                    <a:pt x="133927" y="32667"/>
                    <a:pt x="121791" y="26885"/>
                  </a:cubicBezTo>
                  <a:cubicBezTo>
                    <a:pt x="100441" y="16858"/>
                    <a:pt x="90009" y="15287"/>
                    <a:pt x="63788" y="12179"/>
                  </a:cubicBezTo>
                  <a:cubicBezTo>
                    <a:pt x="40043" y="9371"/>
                    <a:pt x="25755" y="-4533"/>
                    <a:pt x="-60" y="915"/>
                  </a:cubicBezTo>
                  <a:cubicBezTo>
                    <a:pt x="13579" y="6697"/>
                    <a:pt x="44914" y="9405"/>
                    <a:pt x="47024" y="20501"/>
                  </a:cubicBezTo>
                  <a:cubicBezTo>
                    <a:pt x="48851" y="30027"/>
                    <a:pt x="68740" y="37213"/>
                    <a:pt x="48283" y="44299"/>
                  </a:cubicBezTo>
                  <a:cubicBezTo>
                    <a:pt x="57821" y="45703"/>
                    <a:pt x="71947" y="48543"/>
                    <a:pt x="81526" y="47340"/>
                  </a:cubicBezTo>
                  <a:cubicBezTo>
                    <a:pt x="92485" y="45937"/>
                    <a:pt x="76655" y="47908"/>
                    <a:pt x="81729" y="473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C731A0D5-D2F3-413A-8C58-562D62EBC0D4}"/>
                </a:ext>
              </a:extLst>
            </p:cNvPr>
            <p:cNvSpPr/>
            <p:nvPr/>
          </p:nvSpPr>
          <p:spPr>
            <a:xfrm>
              <a:off x="6586881" y="4093371"/>
              <a:ext cx="582855" cy="150147"/>
            </a:xfrm>
            <a:custGeom>
              <a:avLst/>
              <a:gdLst>
                <a:gd name="connsiteX0" fmla="*/ 569669 w 582855"/>
                <a:gd name="connsiteY0" fmla="*/ 131994 h 150147"/>
                <a:gd name="connsiteX1" fmla="*/ 571577 w 582855"/>
                <a:gd name="connsiteY1" fmla="*/ 111939 h 150147"/>
                <a:gd name="connsiteX2" fmla="*/ 579694 w 582855"/>
                <a:gd name="connsiteY2" fmla="*/ 92854 h 150147"/>
                <a:gd name="connsiteX3" fmla="*/ 555341 w 582855"/>
                <a:gd name="connsiteY3" fmla="*/ 77045 h 150147"/>
                <a:gd name="connsiteX4" fmla="*/ 523113 w 582855"/>
                <a:gd name="connsiteY4" fmla="*/ 49704 h 150147"/>
                <a:gd name="connsiteX5" fmla="*/ 489667 w 582855"/>
                <a:gd name="connsiteY5" fmla="*/ 48201 h 150147"/>
                <a:gd name="connsiteX6" fmla="*/ 455449 w 582855"/>
                <a:gd name="connsiteY6" fmla="*/ 52445 h 150147"/>
                <a:gd name="connsiteX7" fmla="*/ 396026 w 582855"/>
                <a:gd name="connsiteY7" fmla="*/ 47499 h 150147"/>
                <a:gd name="connsiteX8" fmla="*/ 336440 w 582855"/>
                <a:gd name="connsiteY8" fmla="*/ 35733 h 150147"/>
                <a:gd name="connsiteX9" fmla="*/ 315049 w 582855"/>
                <a:gd name="connsiteY9" fmla="*/ 27344 h 150147"/>
                <a:gd name="connsiteX10" fmla="*/ 304821 w 582855"/>
                <a:gd name="connsiteY10" fmla="*/ 24838 h 150147"/>
                <a:gd name="connsiteX11" fmla="*/ 178424 w 582855"/>
                <a:gd name="connsiteY11" fmla="*/ 22464 h 150147"/>
                <a:gd name="connsiteX12" fmla="*/ 131259 w 582855"/>
                <a:gd name="connsiteY12" fmla="*/ 25439 h 150147"/>
                <a:gd name="connsiteX13" fmla="*/ 96067 w 582855"/>
                <a:gd name="connsiteY13" fmla="*/ 28347 h 150147"/>
                <a:gd name="connsiteX14" fmla="*/ 40013 w 582855"/>
                <a:gd name="connsiteY14" fmla="*/ 33962 h 150147"/>
                <a:gd name="connsiteX15" fmla="*/ 4173 w 582855"/>
                <a:gd name="connsiteY15" fmla="*/ 45527 h 150147"/>
                <a:gd name="connsiteX16" fmla="*/ 22032 w 582855"/>
                <a:gd name="connsiteY16" fmla="*/ 49905 h 150147"/>
                <a:gd name="connsiteX17" fmla="*/ 24751 w 582855"/>
                <a:gd name="connsiteY17" fmla="*/ 62339 h 150147"/>
                <a:gd name="connsiteX18" fmla="*/ 22844 w 582855"/>
                <a:gd name="connsiteY18" fmla="*/ 76343 h 150147"/>
                <a:gd name="connsiteX19" fmla="*/ 20124 w 582855"/>
                <a:gd name="connsiteY19" fmla="*/ 86136 h 150147"/>
                <a:gd name="connsiteX20" fmla="*/ 42530 w 582855"/>
                <a:gd name="connsiteY20" fmla="*/ 97835 h 150147"/>
                <a:gd name="connsiteX21" fmla="*/ 57142 w 582855"/>
                <a:gd name="connsiteY21" fmla="*/ 103283 h 150147"/>
                <a:gd name="connsiteX22" fmla="*/ 81902 w 582855"/>
                <a:gd name="connsiteY22" fmla="*/ 108998 h 150147"/>
                <a:gd name="connsiteX23" fmla="*/ 118960 w 582855"/>
                <a:gd name="connsiteY23" fmla="*/ 121699 h 150147"/>
                <a:gd name="connsiteX24" fmla="*/ 158089 w 582855"/>
                <a:gd name="connsiteY24" fmla="*/ 112708 h 150147"/>
                <a:gd name="connsiteX25" fmla="*/ 204564 w 582855"/>
                <a:gd name="connsiteY25" fmla="*/ 129988 h 150147"/>
                <a:gd name="connsiteX26" fmla="*/ 258833 w 582855"/>
                <a:gd name="connsiteY26" fmla="*/ 122134 h 150147"/>
                <a:gd name="connsiteX27" fmla="*/ 275515 w 582855"/>
                <a:gd name="connsiteY27" fmla="*/ 124841 h 150147"/>
                <a:gd name="connsiteX28" fmla="*/ 310706 w 582855"/>
                <a:gd name="connsiteY28" fmla="*/ 124841 h 150147"/>
                <a:gd name="connsiteX29" fmla="*/ 304334 w 582855"/>
                <a:gd name="connsiteY29" fmla="*/ 131526 h 150147"/>
                <a:gd name="connsiteX30" fmla="*/ 300599 w 582855"/>
                <a:gd name="connsiteY30" fmla="*/ 143558 h 150147"/>
                <a:gd name="connsiteX31" fmla="*/ 323411 w 582855"/>
                <a:gd name="connsiteY31" fmla="*/ 130489 h 150147"/>
                <a:gd name="connsiteX32" fmla="*/ 344680 w 582855"/>
                <a:gd name="connsiteY32" fmla="*/ 133832 h 150147"/>
                <a:gd name="connsiteX33" fmla="*/ 375609 w 582855"/>
                <a:gd name="connsiteY33" fmla="*/ 130824 h 150147"/>
                <a:gd name="connsiteX34" fmla="*/ 388882 w 582855"/>
                <a:gd name="connsiteY34" fmla="*/ 135269 h 150147"/>
                <a:gd name="connsiteX35" fmla="*/ 417782 w 582855"/>
                <a:gd name="connsiteY35" fmla="*/ 137074 h 150147"/>
                <a:gd name="connsiteX36" fmla="*/ 469818 w 582855"/>
                <a:gd name="connsiteY36" fmla="*/ 135603 h 150147"/>
                <a:gd name="connsiteX37" fmla="*/ 505496 w 582855"/>
                <a:gd name="connsiteY37" fmla="*/ 138277 h 150147"/>
                <a:gd name="connsiteX38" fmla="*/ 522138 w 582855"/>
                <a:gd name="connsiteY38" fmla="*/ 134567 h 150147"/>
                <a:gd name="connsiteX39" fmla="*/ 545071 w 582855"/>
                <a:gd name="connsiteY39" fmla="*/ 140550 h 150147"/>
                <a:gd name="connsiteX40" fmla="*/ 574783 w 582855"/>
                <a:gd name="connsiteY40" fmla="*/ 149407 h 150147"/>
                <a:gd name="connsiteX41" fmla="*/ 569466 w 582855"/>
                <a:gd name="connsiteY41" fmla="*/ 132227 h 150147"/>
                <a:gd name="connsiteX42" fmla="*/ 51459 w 582855"/>
                <a:gd name="connsiteY42" fmla="*/ 22264 h 150147"/>
                <a:gd name="connsiteX43" fmla="*/ 95702 w 582855"/>
                <a:gd name="connsiteY43" fmla="*/ 21228 h 150147"/>
                <a:gd name="connsiteX44" fmla="*/ 80481 w 582855"/>
                <a:gd name="connsiteY44" fmla="*/ 14376 h 150147"/>
                <a:gd name="connsiteX45" fmla="*/ 64245 w 582855"/>
                <a:gd name="connsiteY45" fmla="*/ 1474 h 150147"/>
                <a:gd name="connsiteX46" fmla="*/ 17445 w 582855"/>
                <a:gd name="connsiteY46" fmla="*/ 1675 h 150147"/>
                <a:gd name="connsiteX47" fmla="*/ 18947 w 582855"/>
                <a:gd name="connsiteY47" fmla="*/ 14242 h 150147"/>
                <a:gd name="connsiteX48" fmla="*/ 2711 w 582855"/>
                <a:gd name="connsiteY48" fmla="*/ 24604 h 150147"/>
                <a:gd name="connsiteX49" fmla="*/ 51419 w 582855"/>
                <a:gd name="connsiteY49" fmla="*/ 22264 h 15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82855" h="150147">
                  <a:moveTo>
                    <a:pt x="569669" y="131994"/>
                  </a:moveTo>
                  <a:cubicBezTo>
                    <a:pt x="565610" y="130991"/>
                    <a:pt x="573038" y="115282"/>
                    <a:pt x="571577" y="111939"/>
                  </a:cubicBezTo>
                  <a:cubicBezTo>
                    <a:pt x="568776" y="104800"/>
                    <a:pt x="572104" y="96992"/>
                    <a:pt x="579694" y="92854"/>
                  </a:cubicBezTo>
                  <a:cubicBezTo>
                    <a:pt x="593008" y="84666"/>
                    <a:pt x="559400" y="84365"/>
                    <a:pt x="555341" y="77045"/>
                  </a:cubicBezTo>
                  <a:cubicBezTo>
                    <a:pt x="549171" y="65547"/>
                    <a:pt x="551525" y="50874"/>
                    <a:pt x="523113" y="49704"/>
                  </a:cubicBezTo>
                  <a:cubicBezTo>
                    <a:pt x="511260" y="49237"/>
                    <a:pt x="499976" y="45593"/>
                    <a:pt x="489667" y="48201"/>
                  </a:cubicBezTo>
                  <a:cubicBezTo>
                    <a:pt x="478545" y="50828"/>
                    <a:pt x="467017" y="52255"/>
                    <a:pt x="455449" y="52445"/>
                  </a:cubicBezTo>
                  <a:cubicBezTo>
                    <a:pt x="436128" y="53014"/>
                    <a:pt x="415874" y="48267"/>
                    <a:pt x="396026" y="47499"/>
                  </a:cubicBezTo>
                  <a:cubicBezTo>
                    <a:pt x="374351" y="46663"/>
                    <a:pt x="356004" y="40814"/>
                    <a:pt x="336440" y="35733"/>
                  </a:cubicBezTo>
                  <a:cubicBezTo>
                    <a:pt x="327876" y="33528"/>
                    <a:pt x="325319" y="28247"/>
                    <a:pt x="315049" y="27344"/>
                  </a:cubicBezTo>
                  <a:cubicBezTo>
                    <a:pt x="311477" y="27097"/>
                    <a:pt x="307987" y="26241"/>
                    <a:pt x="304821" y="24838"/>
                  </a:cubicBezTo>
                  <a:cubicBezTo>
                    <a:pt x="269467" y="9697"/>
                    <a:pt x="212763" y="12504"/>
                    <a:pt x="178424" y="22464"/>
                  </a:cubicBezTo>
                  <a:cubicBezTo>
                    <a:pt x="162188" y="27144"/>
                    <a:pt x="150539" y="27411"/>
                    <a:pt x="131259" y="25439"/>
                  </a:cubicBezTo>
                  <a:cubicBezTo>
                    <a:pt x="114617" y="23768"/>
                    <a:pt x="101750" y="18988"/>
                    <a:pt x="96067" y="28347"/>
                  </a:cubicBezTo>
                  <a:cubicBezTo>
                    <a:pt x="89289" y="39444"/>
                    <a:pt x="56452" y="35032"/>
                    <a:pt x="40013" y="33962"/>
                  </a:cubicBezTo>
                  <a:cubicBezTo>
                    <a:pt x="33681" y="33594"/>
                    <a:pt x="-14377" y="36168"/>
                    <a:pt x="4173" y="45527"/>
                  </a:cubicBezTo>
                  <a:cubicBezTo>
                    <a:pt x="8515" y="47699"/>
                    <a:pt x="20611" y="45293"/>
                    <a:pt x="22032" y="49905"/>
                  </a:cubicBezTo>
                  <a:cubicBezTo>
                    <a:pt x="23533" y="53946"/>
                    <a:pt x="24427" y="58121"/>
                    <a:pt x="24751" y="62339"/>
                  </a:cubicBezTo>
                  <a:cubicBezTo>
                    <a:pt x="24142" y="67519"/>
                    <a:pt x="10545" y="70528"/>
                    <a:pt x="22844" y="76343"/>
                  </a:cubicBezTo>
                  <a:cubicBezTo>
                    <a:pt x="36482" y="82794"/>
                    <a:pt x="21423" y="82660"/>
                    <a:pt x="20124" y="86136"/>
                  </a:cubicBezTo>
                  <a:cubicBezTo>
                    <a:pt x="19678" y="87306"/>
                    <a:pt x="39242" y="96899"/>
                    <a:pt x="42530" y="97835"/>
                  </a:cubicBezTo>
                  <a:cubicBezTo>
                    <a:pt x="45817" y="98770"/>
                    <a:pt x="57345" y="100642"/>
                    <a:pt x="57142" y="103283"/>
                  </a:cubicBezTo>
                  <a:cubicBezTo>
                    <a:pt x="56614" y="109366"/>
                    <a:pt x="76341" y="105087"/>
                    <a:pt x="81902" y="108998"/>
                  </a:cubicBezTo>
                  <a:cubicBezTo>
                    <a:pt x="94728" y="117956"/>
                    <a:pt x="94485" y="124139"/>
                    <a:pt x="118960" y="121699"/>
                  </a:cubicBezTo>
                  <a:cubicBezTo>
                    <a:pt x="138362" y="119827"/>
                    <a:pt x="132436" y="109700"/>
                    <a:pt x="158089" y="112708"/>
                  </a:cubicBezTo>
                  <a:cubicBezTo>
                    <a:pt x="176070" y="114847"/>
                    <a:pt x="187476" y="129420"/>
                    <a:pt x="204564" y="129988"/>
                  </a:cubicBezTo>
                  <a:cubicBezTo>
                    <a:pt x="223154" y="130720"/>
                    <a:pt x="241663" y="128036"/>
                    <a:pt x="258833" y="122134"/>
                  </a:cubicBezTo>
                  <a:cubicBezTo>
                    <a:pt x="265692" y="119794"/>
                    <a:pt x="269345" y="122535"/>
                    <a:pt x="275515" y="124841"/>
                  </a:cubicBezTo>
                  <a:cubicBezTo>
                    <a:pt x="287692" y="129353"/>
                    <a:pt x="299463" y="120128"/>
                    <a:pt x="310706" y="124841"/>
                  </a:cubicBezTo>
                  <a:cubicBezTo>
                    <a:pt x="314440" y="126412"/>
                    <a:pt x="305552" y="130623"/>
                    <a:pt x="304334" y="131526"/>
                  </a:cubicBezTo>
                  <a:cubicBezTo>
                    <a:pt x="297961" y="135770"/>
                    <a:pt x="303319" y="138778"/>
                    <a:pt x="300599" y="143558"/>
                  </a:cubicBezTo>
                  <a:cubicBezTo>
                    <a:pt x="320894" y="143792"/>
                    <a:pt x="314319" y="136238"/>
                    <a:pt x="323411" y="130489"/>
                  </a:cubicBezTo>
                  <a:cubicBezTo>
                    <a:pt x="329458" y="126679"/>
                    <a:pt x="337739" y="132996"/>
                    <a:pt x="344680" y="133832"/>
                  </a:cubicBezTo>
                  <a:cubicBezTo>
                    <a:pt x="356167" y="135068"/>
                    <a:pt x="364975" y="131826"/>
                    <a:pt x="375609" y="130824"/>
                  </a:cubicBezTo>
                  <a:cubicBezTo>
                    <a:pt x="380683" y="130356"/>
                    <a:pt x="383727" y="134600"/>
                    <a:pt x="388882" y="135269"/>
                  </a:cubicBezTo>
                  <a:cubicBezTo>
                    <a:pt x="398380" y="136472"/>
                    <a:pt x="408203" y="136138"/>
                    <a:pt x="417782" y="137074"/>
                  </a:cubicBezTo>
                  <a:cubicBezTo>
                    <a:pt x="435358" y="138812"/>
                    <a:pt x="451268" y="134166"/>
                    <a:pt x="469818" y="135603"/>
                  </a:cubicBezTo>
                  <a:cubicBezTo>
                    <a:pt x="483700" y="136673"/>
                    <a:pt x="492751" y="134734"/>
                    <a:pt x="505496" y="138277"/>
                  </a:cubicBezTo>
                  <a:cubicBezTo>
                    <a:pt x="508825" y="139213"/>
                    <a:pt x="516415" y="134333"/>
                    <a:pt x="522138" y="134567"/>
                  </a:cubicBezTo>
                  <a:cubicBezTo>
                    <a:pt x="531920" y="135002"/>
                    <a:pt x="536548" y="138845"/>
                    <a:pt x="545071" y="140550"/>
                  </a:cubicBezTo>
                  <a:cubicBezTo>
                    <a:pt x="555868" y="142722"/>
                    <a:pt x="564027" y="146967"/>
                    <a:pt x="574783" y="149407"/>
                  </a:cubicBezTo>
                  <a:cubicBezTo>
                    <a:pt x="588868" y="152749"/>
                    <a:pt x="577137" y="134199"/>
                    <a:pt x="569466" y="132227"/>
                  </a:cubicBezTo>
                  <a:close/>
                  <a:moveTo>
                    <a:pt x="51459" y="22264"/>
                  </a:moveTo>
                  <a:cubicBezTo>
                    <a:pt x="56695" y="21495"/>
                    <a:pt x="96717" y="25606"/>
                    <a:pt x="95702" y="21228"/>
                  </a:cubicBezTo>
                  <a:cubicBezTo>
                    <a:pt x="94972" y="18353"/>
                    <a:pt x="84297" y="15713"/>
                    <a:pt x="80481" y="14376"/>
                  </a:cubicBezTo>
                  <a:cubicBezTo>
                    <a:pt x="70455" y="10833"/>
                    <a:pt x="66965" y="7691"/>
                    <a:pt x="64245" y="1474"/>
                  </a:cubicBezTo>
                  <a:cubicBezTo>
                    <a:pt x="58441" y="3145"/>
                    <a:pt x="17161" y="-3506"/>
                    <a:pt x="17445" y="1675"/>
                  </a:cubicBezTo>
                  <a:cubicBezTo>
                    <a:pt x="17648" y="5586"/>
                    <a:pt x="23696" y="10699"/>
                    <a:pt x="18947" y="14242"/>
                  </a:cubicBezTo>
                  <a:cubicBezTo>
                    <a:pt x="13914" y="18072"/>
                    <a:pt x="8475" y="21539"/>
                    <a:pt x="2711" y="24604"/>
                  </a:cubicBezTo>
                  <a:cubicBezTo>
                    <a:pt x="26497" y="35667"/>
                    <a:pt x="29663" y="25339"/>
                    <a:pt x="51419" y="2226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148B50A0-EF70-4261-87FA-706BCA838761}"/>
                </a:ext>
              </a:extLst>
            </p:cNvPr>
            <p:cNvSpPr/>
            <p:nvPr/>
          </p:nvSpPr>
          <p:spPr>
            <a:xfrm>
              <a:off x="8199897" y="4458334"/>
              <a:ext cx="65768" cy="37521"/>
            </a:xfrm>
            <a:custGeom>
              <a:avLst/>
              <a:gdLst>
                <a:gd name="connsiteX0" fmla="*/ 36503 w 65768"/>
                <a:gd name="connsiteY0" fmla="*/ 1664 h 37521"/>
                <a:gd name="connsiteX1" fmla="*/ 581 w 65768"/>
                <a:gd name="connsiteY1" fmla="*/ 6778 h 37521"/>
                <a:gd name="connsiteX2" fmla="*/ 15274 w 65768"/>
                <a:gd name="connsiteY2" fmla="*/ 35522 h 37521"/>
                <a:gd name="connsiteX3" fmla="*/ 63617 w 65768"/>
                <a:gd name="connsiteY3" fmla="*/ 27199 h 37521"/>
                <a:gd name="connsiteX4" fmla="*/ 36503 w 65768"/>
                <a:gd name="connsiteY4" fmla="*/ 1664 h 3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68" h="37521">
                  <a:moveTo>
                    <a:pt x="36503" y="1664"/>
                  </a:moveTo>
                  <a:cubicBezTo>
                    <a:pt x="25828" y="-1344"/>
                    <a:pt x="-4858" y="-1913"/>
                    <a:pt x="581" y="6778"/>
                  </a:cubicBezTo>
                  <a:cubicBezTo>
                    <a:pt x="6507" y="16236"/>
                    <a:pt x="21769" y="27300"/>
                    <a:pt x="15274" y="35522"/>
                  </a:cubicBezTo>
                  <a:cubicBezTo>
                    <a:pt x="36138" y="40168"/>
                    <a:pt x="50790" y="34319"/>
                    <a:pt x="63617" y="27199"/>
                  </a:cubicBezTo>
                  <a:cubicBezTo>
                    <a:pt x="73196" y="21885"/>
                    <a:pt x="47381" y="4672"/>
                    <a:pt x="36503" y="166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594B56DF-38CB-4895-BA15-279B052A9ACB}"/>
                </a:ext>
              </a:extLst>
            </p:cNvPr>
            <p:cNvSpPr/>
            <p:nvPr/>
          </p:nvSpPr>
          <p:spPr>
            <a:xfrm>
              <a:off x="9573297" y="4823195"/>
              <a:ext cx="236299" cy="81508"/>
            </a:xfrm>
            <a:custGeom>
              <a:avLst/>
              <a:gdLst>
                <a:gd name="connsiteX0" fmla="*/ 228812 w 236299"/>
                <a:gd name="connsiteY0" fmla="*/ 35112 h 81508"/>
                <a:gd name="connsiteX1" fmla="*/ 204093 w 236299"/>
                <a:gd name="connsiteY1" fmla="*/ 18400 h 81508"/>
                <a:gd name="connsiteX2" fmla="*/ 183433 w 236299"/>
                <a:gd name="connsiteY2" fmla="*/ 23213 h 81508"/>
                <a:gd name="connsiteX3" fmla="*/ 157861 w 236299"/>
                <a:gd name="connsiteY3" fmla="*/ 21642 h 81508"/>
                <a:gd name="connsiteX4" fmla="*/ 143209 w 236299"/>
                <a:gd name="connsiteY4" fmla="*/ 17564 h 81508"/>
                <a:gd name="connsiteX5" fmla="*/ 139880 w 236299"/>
                <a:gd name="connsiteY5" fmla="*/ 25118 h 81508"/>
                <a:gd name="connsiteX6" fmla="*/ 110412 w 236299"/>
                <a:gd name="connsiteY6" fmla="*/ 7437 h 81508"/>
                <a:gd name="connsiteX7" fmla="*/ 77940 w 236299"/>
                <a:gd name="connsiteY7" fmla="*/ 7437 h 81508"/>
                <a:gd name="connsiteX8" fmla="*/ 4351 w 236299"/>
                <a:gd name="connsiteY8" fmla="*/ 2390 h 81508"/>
                <a:gd name="connsiteX9" fmla="*/ 17380 w 236299"/>
                <a:gd name="connsiteY9" fmla="*/ 33040 h 81508"/>
                <a:gd name="connsiteX10" fmla="*/ 130 w 236299"/>
                <a:gd name="connsiteY10" fmla="*/ 37552 h 81508"/>
                <a:gd name="connsiteX11" fmla="*/ 6583 w 236299"/>
                <a:gd name="connsiteY11" fmla="*/ 52759 h 81508"/>
                <a:gd name="connsiteX12" fmla="*/ 25173 w 236299"/>
                <a:gd name="connsiteY12" fmla="*/ 56536 h 81508"/>
                <a:gd name="connsiteX13" fmla="*/ 52937 w 236299"/>
                <a:gd name="connsiteY13" fmla="*/ 68201 h 81508"/>
                <a:gd name="connsiteX14" fmla="*/ 78021 w 236299"/>
                <a:gd name="connsiteY14" fmla="*/ 71142 h 81508"/>
                <a:gd name="connsiteX15" fmla="*/ 110493 w 236299"/>
                <a:gd name="connsiteY15" fmla="*/ 81169 h 81508"/>
                <a:gd name="connsiteX16" fmla="*/ 94257 w 236299"/>
                <a:gd name="connsiteY16" fmla="*/ 48281 h 81508"/>
                <a:gd name="connsiteX17" fmla="*/ 144832 w 236299"/>
                <a:gd name="connsiteY17" fmla="*/ 52091 h 81508"/>
                <a:gd name="connsiteX18" fmla="*/ 181728 w 236299"/>
                <a:gd name="connsiteY18" fmla="*/ 49451 h 81508"/>
                <a:gd name="connsiteX19" fmla="*/ 236240 w 236299"/>
                <a:gd name="connsiteY19" fmla="*/ 39423 h 81508"/>
                <a:gd name="connsiteX20" fmla="*/ 228771 w 236299"/>
                <a:gd name="connsiteY20" fmla="*/ 35179 h 81508"/>
                <a:gd name="connsiteX21" fmla="*/ 228812 w 236299"/>
                <a:gd name="connsiteY21" fmla="*/ 35112 h 8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6299" h="81508">
                  <a:moveTo>
                    <a:pt x="228812" y="35112"/>
                  </a:moveTo>
                  <a:cubicBezTo>
                    <a:pt x="217934" y="32304"/>
                    <a:pt x="214200" y="18400"/>
                    <a:pt x="204093" y="18400"/>
                  </a:cubicBezTo>
                  <a:cubicBezTo>
                    <a:pt x="197153" y="18400"/>
                    <a:pt x="192159" y="27191"/>
                    <a:pt x="183433" y="23213"/>
                  </a:cubicBezTo>
                  <a:cubicBezTo>
                    <a:pt x="174706" y="19236"/>
                    <a:pt x="168049" y="25319"/>
                    <a:pt x="157861" y="21642"/>
                  </a:cubicBezTo>
                  <a:cubicBezTo>
                    <a:pt x="155223" y="20673"/>
                    <a:pt x="146050" y="16595"/>
                    <a:pt x="143209" y="17564"/>
                  </a:cubicBezTo>
                  <a:cubicBezTo>
                    <a:pt x="140368" y="18534"/>
                    <a:pt x="146780" y="27090"/>
                    <a:pt x="139880" y="25118"/>
                  </a:cubicBezTo>
                  <a:cubicBezTo>
                    <a:pt x="128433" y="21348"/>
                    <a:pt x="118286" y="15268"/>
                    <a:pt x="110412" y="7437"/>
                  </a:cubicBezTo>
                  <a:cubicBezTo>
                    <a:pt x="100793" y="-1420"/>
                    <a:pt x="86342" y="7437"/>
                    <a:pt x="77940" y="7437"/>
                  </a:cubicBezTo>
                  <a:cubicBezTo>
                    <a:pt x="55616" y="7437"/>
                    <a:pt x="20222" y="-5932"/>
                    <a:pt x="4351" y="2390"/>
                  </a:cubicBezTo>
                  <a:cubicBezTo>
                    <a:pt x="25580" y="12751"/>
                    <a:pt x="44007" y="31134"/>
                    <a:pt x="17380" y="33040"/>
                  </a:cubicBezTo>
                  <a:cubicBezTo>
                    <a:pt x="12956" y="33340"/>
                    <a:pt x="-1900" y="32638"/>
                    <a:pt x="130" y="37552"/>
                  </a:cubicBezTo>
                  <a:cubicBezTo>
                    <a:pt x="1753" y="41529"/>
                    <a:pt x="2686" y="49283"/>
                    <a:pt x="6583" y="52759"/>
                  </a:cubicBezTo>
                  <a:cubicBezTo>
                    <a:pt x="12469" y="58040"/>
                    <a:pt x="18192" y="53762"/>
                    <a:pt x="25173" y="56536"/>
                  </a:cubicBezTo>
                  <a:cubicBezTo>
                    <a:pt x="37675" y="61516"/>
                    <a:pt x="42018" y="67666"/>
                    <a:pt x="52937" y="68201"/>
                  </a:cubicBezTo>
                  <a:cubicBezTo>
                    <a:pt x="61338" y="68636"/>
                    <a:pt x="69173" y="68201"/>
                    <a:pt x="78021" y="71142"/>
                  </a:cubicBezTo>
                  <a:cubicBezTo>
                    <a:pt x="89509" y="74919"/>
                    <a:pt x="98843" y="80802"/>
                    <a:pt x="110493" y="81169"/>
                  </a:cubicBezTo>
                  <a:cubicBezTo>
                    <a:pt x="105744" y="73248"/>
                    <a:pt x="85003" y="53361"/>
                    <a:pt x="94257" y="48281"/>
                  </a:cubicBezTo>
                  <a:cubicBezTo>
                    <a:pt x="102781" y="43501"/>
                    <a:pt x="131640" y="51021"/>
                    <a:pt x="144832" y="52091"/>
                  </a:cubicBezTo>
                  <a:cubicBezTo>
                    <a:pt x="159323" y="53261"/>
                    <a:pt x="175030" y="56904"/>
                    <a:pt x="181728" y="49451"/>
                  </a:cubicBezTo>
                  <a:cubicBezTo>
                    <a:pt x="192281" y="37652"/>
                    <a:pt x="212535" y="38421"/>
                    <a:pt x="236240" y="39423"/>
                  </a:cubicBezTo>
                  <a:lnTo>
                    <a:pt x="228771" y="35179"/>
                  </a:lnTo>
                  <a:cubicBezTo>
                    <a:pt x="216352" y="31903"/>
                    <a:pt x="231166" y="35680"/>
                    <a:pt x="228812" y="3511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2634EA1B-7580-4051-8001-39C36FE5DC64}"/>
                </a:ext>
              </a:extLst>
            </p:cNvPr>
            <p:cNvSpPr/>
            <p:nvPr/>
          </p:nvSpPr>
          <p:spPr>
            <a:xfrm>
              <a:off x="8220183" y="4580534"/>
              <a:ext cx="212447" cy="113527"/>
            </a:xfrm>
            <a:custGeom>
              <a:avLst/>
              <a:gdLst>
                <a:gd name="connsiteX0" fmla="*/ 212266 w 212447"/>
                <a:gd name="connsiteY0" fmla="*/ 93374 h 113527"/>
                <a:gd name="connsiteX1" fmla="*/ 143020 w 212447"/>
                <a:gd name="connsiteY1" fmla="*/ 65599 h 113527"/>
                <a:gd name="connsiteX2" fmla="*/ 83069 w 212447"/>
                <a:gd name="connsiteY2" fmla="*/ 22850 h 113527"/>
                <a:gd name="connsiteX3" fmla="*/ 61191 w 212447"/>
                <a:gd name="connsiteY3" fmla="*/ 5169 h 113527"/>
                <a:gd name="connsiteX4" fmla="*/ 31154 w 212447"/>
                <a:gd name="connsiteY4" fmla="*/ 356 h 113527"/>
                <a:gd name="connsiteX5" fmla="*/ 4324 w 212447"/>
                <a:gd name="connsiteY5" fmla="*/ 8812 h 113527"/>
                <a:gd name="connsiteX6" fmla="*/ 13092 w 212447"/>
                <a:gd name="connsiteY6" fmla="*/ 28165 h 113527"/>
                <a:gd name="connsiteX7" fmla="*/ 65859 w 212447"/>
                <a:gd name="connsiteY7" fmla="*/ 59215 h 113527"/>
                <a:gd name="connsiteX8" fmla="*/ 92445 w 212447"/>
                <a:gd name="connsiteY8" fmla="*/ 68240 h 113527"/>
                <a:gd name="connsiteX9" fmla="*/ 115297 w 212447"/>
                <a:gd name="connsiteY9" fmla="*/ 84116 h 113527"/>
                <a:gd name="connsiteX10" fmla="*/ 170905 w 212447"/>
                <a:gd name="connsiteY10" fmla="*/ 108916 h 113527"/>
                <a:gd name="connsiteX11" fmla="*/ 200860 w 212447"/>
                <a:gd name="connsiteY11" fmla="*/ 112726 h 113527"/>
                <a:gd name="connsiteX12" fmla="*/ 212388 w 212447"/>
                <a:gd name="connsiteY12" fmla="*/ 93374 h 113527"/>
                <a:gd name="connsiteX13" fmla="*/ 212266 w 212447"/>
                <a:gd name="connsiteY13" fmla="*/ 93374 h 11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447" h="113527">
                  <a:moveTo>
                    <a:pt x="212266" y="93374"/>
                  </a:moveTo>
                  <a:cubicBezTo>
                    <a:pt x="188196" y="85907"/>
                    <a:pt x="165020" y="76609"/>
                    <a:pt x="143020" y="65599"/>
                  </a:cubicBezTo>
                  <a:cubicBezTo>
                    <a:pt x="119883" y="53233"/>
                    <a:pt x="102105" y="37289"/>
                    <a:pt x="83069" y="22850"/>
                  </a:cubicBezTo>
                  <a:cubicBezTo>
                    <a:pt x="75722" y="17269"/>
                    <a:pt x="69309" y="10350"/>
                    <a:pt x="61191" y="5169"/>
                  </a:cubicBezTo>
                  <a:cubicBezTo>
                    <a:pt x="49014" y="-2652"/>
                    <a:pt x="43778" y="2696"/>
                    <a:pt x="31154" y="356"/>
                  </a:cubicBezTo>
                  <a:cubicBezTo>
                    <a:pt x="16867" y="-2251"/>
                    <a:pt x="10007" y="2896"/>
                    <a:pt x="4324" y="8812"/>
                  </a:cubicBezTo>
                  <a:cubicBezTo>
                    <a:pt x="-3793" y="17068"/>
                    <a:pt x="-505" y="19876"/>
                    <a:pt x="13092" y="28165"/>
                  </a:cubicBezTo>
                  <a:cubicBezTo>
                    <a:pt x="30140" y="38526"/>
                    <a:pt x="50556" y="47818"/>
                    <a:pt x="65859" y="59215"/>
                  </a:cubicBezTo>
                  <a:cubicBezTo>
                    <a:pt x="75032" y="66101"/>
                    <a:pt x="78807" y="66970"/>
                    <a:pt x="92445" y="68240"/>
                  </a:cubicBezTo>
                  <a:cubicBezTo>
                    <a:pt x="110873" y="69944"/>
                    <a:pt x="106489" y="76796"/>
                    <a:pt x="115297" y="84116"/>
                  </a:cubicBezTo>
                  <a:cubicBezTo>
                    <a:pt x="125810" y="92839"/>
                    <a:pt x="154913" y="105139"/>
                    <a:pt x="170905" y="108916"/>
                  </a:cubicBezTo>
                  <a:cubicBezTo>
                    <a:pt x="179023" y="110888"/>
                    <a:pt x="193148" y="114464"/>
                    <a:pt x="200860" y="112726"/>
                  </a:cubicBezTo>
                  <a:cubicBezTo>
                    <a:pt x="213037" y="109952"/>
                    <a:pt x="201510" y="96015"/>
                    <a:pt x="212388" y="93374"/>
                  </a:cubicBezTo>
                  <a:cubicBezTo>
                    <a:pt x="210318" y="92706"/>
                    <a:pt x="210764" y="93742"/>
                    <a:pt x="212266" y="933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676AF6CB-520E-482D-80C8-EEC031F8D195}"/>
                </a:ext>
              </a:extLst>
            </p:cNvPr>
            <p:cNvSpPr/>
            <p:nvPr/>
          </p:nvSpPr>
          <p:spPr>
            <a:xfrm>
              <a:off x="8488924" y="4737662"/>
              <a:ext cx="245491" cy="308176"/>
            </a:xfrm>
            <a:custGeom>
              <a:avLst/>
              <a:gdLst>
                <a:gd name="connsiteX0" fmla="*/ 125571 w 245491"/>
                <a:gd name="connsiteY0" fmla="*/ 288130 h 308176"/>
                <a:gd name="connsiteX1" fmla="*/ 122242 w 245491"/>
                <a:gd name="connsiteY1" fmla="*/ 276298 h 308176"/>
                <a:gd name="connsiteX2" fmla="*/ 125449 w 245491"/>
                <a:gd name="connsiteY2" fmla="*/ 259385 h 308176"/>
                <a:gd name="connsiteX3" fmla="*/ 113718 w 245491"/>
                <a:gd name="connsiteY3" fmla="*/ 237393 h 308176"/>
                <a:gd name="connsiteX4" fmla="*/ 124961 w 245491"/>
                <a:gd name="connsiteY4" fmla="*/ 225962 h 308176"/>
                <a:gd name="connsiteX5" fmla="*/ 131415 w 245491"/>
                <a:gd name="connsiteY5" fmla="*/ 220614 h 308176"/>
                <a:gd name="connsiteX6" fmla="*/ 132024 w 245491"/>
                <a:gd name="connsiteY6" fmla="*/ 208047 h 308176"/>
                <a:gd name="connsiteX7" fmla="*/ 118467 w 245491"/>
                <a:gd name="connsiteY7" fmla="*/ 179770 h 308176"/>
                <a:gd name="connsiteX8" fmla="*/ 134703 w 245491"/>
                <a:gd name="connsiteY8" fmla="*/ 157911 h 308176"/>
                <a:gd name="connsiteX9" fmla="*/ 176754 w 245491"/>
                <a:gd name="connsiteY9" fmla="*/ 159215 h 308176"/>
                <a:gd name="connsiteX10" fmla="*/ 218075 w 245491"/>
                <a:gd name="connsiteY10" fmla="*/ 158847 h 308176"/>
                <a:gd name="connsiteX11" fmla="*/ 245432 w 245491"/>
                <a:gd name="connsiteY11" fmla="*/ 148987 h 308176"/>
                <a:gd name="connsiteX12" fmla="*/ 217019 w 245491"/>
                <a:gd name="connsiteY12" fmla="*/ 140464 h 308176"/>
                <a:gd name="connsiteX13" fmla="*/ 203462 w 245491"/>
                <a:gd name="connsiteY13" fmla="*/ 125992 h 308176"/>
                <a:gd name="connsiteX14" fmla="*/ 209510 w 245491"/>
                <a:gd name="connsiteY14" fmla="*/ 110015 h 308176"/>
                <a:gd name="connsiteX15" fmla="*/ 196481 w 245491"/>
                <a:gd name="connsiteY15" fmla="*/ 90663 h 308176"/>
                <a:gd name="connsiteX16" fmla="*/ 183816 w 245491"/>
                <a:gd name="connsiteY16" fmla="*/ 80034 h 308176"/>
                <a:gd name="connsiteX17" fmla="*/ 171639 w 245491"/>
                <a:gd name="connsiteY17" fmla="*/ 71244 h 308176"/>
                <a:gd name="connsiteX18" fmla="*/ 221119 w 245491"/>
                <a:gd name="connsiteY18" fmla="*/ 41163 h 308176"/>
                <a:gd name="connsiteX19" fmla="*/ 219535 w 245491"/>
                <a:gd name="connsiteY19" fmla="*/ 22613 h 308176"/>
                <a:gd name="connsiteX20" fmla="*/ 211093 w 245491"/>
                <a:gd name="connsiteY20" fmla="*/ 4831 h 308176"/>
                <a:gd name="connsiteX21" fmla="*/ 178621 w 245491"/>
                <a:gd name="connsiteY21" fmla="*/ 17031 h 308176"/>
                <a:gd name="connsiteX22" fmla="*/ 166079 w 245491"/>
                <a:gd name="connsiteY22" fmla="*/ 13120 h 308176"/>
                <a:gd name="connsiteX23" fmla="*/ 133607 w 245491"/>
                <a:gd name="connsiteY23" fmla="*/ 11917 h 308176"/>
                <a:gd name="connsiteX24" fmla="*/ 86279 w 245491"/>
                <a:gd name="connsiteY24" fmla="*/ 45775 h 308176"/>
                <a:gd name="connsiteX25" fmla="*/ 70937 w 245491"/>
                <a:gd name="connsiteY25" fmla="*/ 50588 h 308176"/>
                <a:gd name="connsiteX26" fmla="*/ 53483 w 245491"/>
                <a:gd name="connsiteY26" fmla="*/ 46210 h 308176"/>
                <a:gd name="connsiteX27" fmla="*/ 28318 w 245491"/>
                <a:gd name="connsiteY27" fmla="*/ 73149 h 308176"/>
                <a:gd name="connsiteX28" fmla="*/ 11269 w 245491"/>
                <a:gd name="connsiteY28" fmla="*/ 80970 h 308176"/>
                <a:gd name="connsiteX29" fmla="*/ 3679 w 245491"/>
                <a:gd name="connsiteY29" fmla="*/ 93337 h 308176"/>
                <a:gd name="connsiteX30" fmla="*/ 27708 w 245491"/>
                <a:gd name="connsiteY30" fmla="*/ 116733 h 308176"/>
                <a:gd name="connsiteX31" fmla="*/ 35826 w 245491"/>
                <a:gd name="connsiteY31" fmla="*/ 145912 h 308176"/>
                <a:gd name="connsiteX32" fmla="*/ 24461 w 245491"/>
                <a:gd name="connsiteY32" fmla="*/ 171448 h 308176"/>
                <a:gd name="connsiteX33" fmla="*/ 28033 w 245491"/>
                <a:gd name="connsiteY33" fmla="*/ 186087 h 308176"/>
                <a:gd name="connsiteX34" fmla="*/ 61520 w 245491"/>
                <a:gd name="connsiteY34" fmla="*/ 191068 h 308176"/>
                <a:gd name="connsiteX35" fmla="*/ 91434 w 245491"/>
                <a:gd name="connsiteY35" fmla="*/ 182912 h 308176"/>
                <a:gd name="connsiteX36" fmla="*/ 98862 w 245491"/>
                <a:gd name="connsiteY36" fmla="*/ 224926 h 308176"/>
                <a:gd name="connsiteX37" fmla="*/ 96751 w 245491"/>
                <a:gd name="connsiteY37" fmla="*/ 248322 h 308176"/>
                <a:gd name="connsiteX38" fmla="*/ 104585 w 245491"/>
                <a:gd name="connsiteY38" fmla="*/ 273089 h 308176"/>
                <a:gd name="connsiteX39" fmla="*/ 96914 w 245491"/>
                <a:gd name="connsiteY39" fmla="*/ 285790 h 308176"/>
                <a:gd name="connsiteX40" fmla="*/ 90055 w 245491"/>
                <a:gd name="connsiteY40" fmla="*/ 307081 h 308176"/>
                <a:gd name="connsiteX41" fmla="*/ 125571 w 245491"/>
                <a:gd name="connsiteY41" fmla="*/ 288130 h 30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45491" h="308176">
                  <a:moveTo>
                    <a:pt x="125571" y="288130"/>
                  </a:moveTo>
                  <a:cubicBezTo>
                    <a:pt x="127600" y="283918"/>
                    <a:pt x="123216" y="280609"/>
                    <a:pt x="122242" y="276298"/>
                  </a:cubicBezTo>
                  <a:cubicBezTo>
                    <a:pt x="120902" y="270482"/>
                    <a:pt x="126585" y="265468"/>
                    <a:pt x="125449" y="259385"/>
                  </a:cubicBezTo>
                  <a:cubicBezTo>
                    <a:pt x="124068" y="251832"/>
                    <a:pt x="114651" y="245047"/>
                    <a:pt x="113718" y="237393"/>
                  </a:cubicBezTo>
                  <a:cubicBezTo>
                    <a:pt x="112906" y="230507"/>
                    <a:pt x="122161" y="231243"/>
                    <a:pt x="124961" y="225962"/>
                  </a:cubicBezTo>
                  <a:cubicBezTo>
                    <a:pt x="127234" y="221583"/>
                    <a:pt x="126260" y="222051"/>
                    <a:pt x="131415" y="220614"/>
                  </a:cubicBezTo>
                  <a:cubicBezTo>
                    <a:pt x="140142" y="218208"/>
                    <a:pt x="130116" y="212325"/>
                    <a:pt x="132024" y="208047"/>
                  </a:cubicBezTo>
                  <a:cubicBezTo>
                    <a:pt x="136083" y="198655"/>
                    <a:pt x="114205" y="188962"/>
                    <a:pt x="118467" y="179770"/>
                  </a:cubicBezTo>
                  <a:cubicBezTo>
                    <a:pt x="122079" y="172016"/>
                    <a:pt x="129020" y="164964"/>
                    <a:pt x="134703" y="157911"/>
                  </a:cubicBezTo>
                  <a:cubicBezTo>
                    <a:pt x="143064" y="147116"/>
                    <a:pt x="164577" y="164596"/>
                    <a:pt x="176754" y="159215"/>
                  </a:cubicBezTo>
                  <a:cubicBezTo>
                    <a:pt x="183005" y="156374"/>
                    <a:pt x="208576" y="158580"/>
                    <a:pt x="218075" y="158847"/>
                  </a:cubicBezTo>
                  <a:cubicBezTo>
                    <a:pt x="226193" y="159048"/>
                    <a:pt x="235812" y="145812"/>
                    <a:pt x="245432" y="148987"/>
                  </a:cubicBezTo>
                  <a:cubicBezTo>
                    <a:pt x="243808" y="144843"/>
                    <a:pt x="221890" y="147550"/>
                    <a:pt x="217019" y="140464"/>
                  </a:cubicBezTo>
                  <a:cubicBezTo>
                    <a:pt x="211296" y="132509"/>
                    <a:pt x="221402" y="131774"/>
                    <a:pt x="203462" y="125992"/>
                  </a:cubicBezTo>
                  <a:cubicBezTo>
                    <a:pt x="194329" y="123084"/>
                    <a:pt x="212960" y="114561"/>
                    <a:pt x="209510" y="110015"/>
                  </a:cubicBezTo>
                  <a:cubicBezTo>
                    <a:pt x="203421" y="102127"/>
                    <a:pt x="189581" y="100423"/>
                    <a:pt x="196481" y="90663"/>
                  </a:cubicBezTo>
                  <a:cubicBezTo>
                    <a:pt x="199930" y="85750"/>
                    <a:pt x="193274" y="83009"/>
                    <a:pt x="183816" y="80034"/>
                  </a:cubicBezTo>
                  <a:cubicBezTo>
                    <a:pt x="171639" y="76224"/>
                    <a:pt x="167946" y="79266"/>
                    <a:pt x="171639" y="71244"/>
                  </a:cubicBezTo>
                  <a:cubicBezTo>
                    <a:pt x="179352" y="55100"/>
                    <a:pt x="215233" y="58042"/>
                    <a:pt x="221119" y="41163"/>
                  </a:cubicBezTo>
                  <a:cubicBezTo>
                    <a:pt x="222661" y="36751"/>
                    <a:pt x="230616" y="26858"/>
                    <a:pt x="219535" y="22613"/>
                  </a:cubicBezTo>
                  <a:cubicBezTo>
                    <a:pt x="204802" y="16964"/>
                    <a:pt x="219535" y="11817"/>
                    <a:pt x="211093" y="4831"/>
                  </a:cubicBezTo>
                  <a:cubicBezTo>
                    <a:pt x="194857" y="-8538"/>
                    <a:pt x="173182" y="7104"/>
                    <a:pt x="178621" y="17031"/>
                  </a:cubicBezTo>
                  <a:cubicBezTo>
                    <a:pt x="182680" y="24184"/>
                    <a:pt x="166931" y="17031"/>
                    <a:pt x="166079" y="13120"/>
                  </a:cubicBezTo>
                  <a:cubicBezTo>
                    <a:pt x="164821" y="7505"/>
                    <a:pt x="137138" y="11683"/>
                    <a:pt x="133607" y="11917"/>
                  </a:cubicBezTo>
                  <a:cubicBezTo>
                    <a:pt x="105194" y="13689"/>
                    <a:pt x="103327" y="35314"/>
                    <a:pt x="86279" y="45775"/>
                  </a:cubicBezTo>
                  <a:cubicBezTo>
                    <a:pt x="81084" y="49118"/>
                    <a:pt x="80272" y="54298"/>
                    <a:pt x="70937" y="50588"/>
                  </a:cubicBezTo>
                  <a:cubicBezTo>
                    <a:pt x="65498" y="48449"/>
                    <a:pt x="56568" y="41931"/>
                    <a:pt x="53483" y="46210"/>
                  </a:cubicBezTo>
                  <a:cubicBezTo>
                    <a:pt x="51129" y="49552"/>
                    <a:pt x="34081" y="74887"/>
                    <a:pt x="28318" y="73149"/>
                  </a:cubicBezTo>
                  <a:cubicBezTo>
                    <a:pt x="21335" y="71077"/>
                    <a:pt x="13949" y="78597"/>
                    <a:pt x="11269" y="80970"/>
                  </a:cubicBezTo>
                  <a:cubicBezTo>
                    <a:pt x="4532" y="86987"/>
                    <a:pt x="-5616" y="80068"/>
                    <a:pt x="3679" y="93337"/>
                  </a:cubicBezTo>
                  <a:cubicBezTo>
                    <a:pt x="9687" y="101994"/>
                    <a:pt x="22309" y="107976"/>
                    <a:pt x="27708" y="116733"/>
                  </a:cubicBezTo>
                  <a:cubicBezTo>
                    <a:pt x="32863" y="125881"/>
                    <a:pt x="35623" y="135825"/>
                    <a:pt x="35826" y="145912"/>
                  </a:cubicBezTo>
                  <a:cubicBezTo>
                    <a:pt x="36557" y="155639"/>
                    <a:pt x="33837" y="164830"/>
                    <a:pt x="24461" y="171448"/>
                  </a:cubicBezTo>
                  <a:cubicBezTo>
                    <a:pt x="15085" y="178066"/>
                    <a:pt x="16546" y="178133"/>
                    <a:pt x="28033" y="186087"/>
                  </a:cubicBezTo>
                  <a:cubicBezTo>
                    <a:pt x="40616" y="194811"/>
                    <a:pt x="48693" y="193842"/>
                    <a:pt x="61520" y="191068"/>
                  </a:cubicBezTo>
                  <a:cubicBezTo>
                    <a:pt x="65010" y="190265"/>
                    <a:pt x="92855" y="184115"/>
                    <a:pt x="91434" y="182912"/>
                  </a:cubicBezTo>
                  <a:cubicBezTo>
                    <a:pt x="107143" y="196282"/>
                    <a:pt x="102394" y="212994"/>
                    <a:pt x="98862" y="224926"/>
                  </a:cubicBezTo>
                  <a:cubicBezTo>
                    <a:pt x="96021" y="232493"/>
                    <a:pt x="95291" y="240491"/>
                    <a:pt x="96751" y="248322"/>
                  </a:cubicBezTo>
                  <a:cubicBezTo>
                    <a:pt x="99106" y="257246"/>
                    <a:pt x="106494" y="264031"/>
                    <a:pt x="104585" y="273089"/>
                  </a:cubicBezTo>
                  <a:cubicBezTo>
                    <a:pt x="103530" y="278170"/>
                    <a:pt x="98822" y="281211"/>
                    <a:pt x="96914" y="285790"/>
                  </a:cubicBezTo>
                  <a:cubicBezTo>
                    <a:pt x="93707" y="293477"/>
                    <a:pt x="96386" y="300129"/>
                    <a:pt x="90055" y="307081"/>
                  </a:cubicBezTo>
                  <a:cubicBezTo>
                    <a:pt x="100932" y="311927"/>
                    <a:pt x="121024" y="292074"/>
                    <a:pt x="125571" y="28813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081A4634-DA5B-4CD1-A4F9-E27C988525AC}"/>
                </a:ext>
              </a:extLst>
            </p:cNvPr>
            <p:cNvSpPr/>
            <p:nvPr/>
          </p:nvSpPr>
          <p:spPr>
            <a:xfrm>
              <a:off x="8451389" y="4681739"/>
              <a:ext cx="85719" cy="39555"/>
            </a:xfrm>
            <a:custGeom>
              <a:avLst/>
              <a:gdLst>
                <a:gd name="connsiteX0" fmla="*/ 85660 w 85719"/>
                <a:gd name="connsiteY0" fmla="*/ 24122 h 39555"/>
                <a:gd name="connsiteX1" fmla="*/ 62483 w 85719"/>
                <a:gd name="connsiteY1" fmla="*/ 12691 h 39555"/>
                <a:gd name="connsiteX2" fmla="*/ 36100 w 85719"/>
                <a:gd name="connsiteY2" fmla="*/ 258 h 39555"/>
                <a:gd name="connsiteX3" fmla="*/ 6306 w 85719"/>
                <a:gd name="connsiteY3" fmla="*/ 16502 h 39555"/>
                <a:gd name="connsiteX4" fmla="*/ 62564 w 85719"/>
                <a:gd name="connsiteY4" fmla="*/ 36389 h 39555"/>
                <a:gd name="connsiteX5" fmla="*/ 85660 w 85719"/>
                <a:gd name="connsiteY5" fmla="*/ 24122 h 39555"/>
                <a:gd name="connsiteX6" fmla="*/ 85660 w 85719"/>
                <a:gd name="connsiteY6" fmla="*/ 24122 h 3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19" h="39555">
                  <a:moveTo>
                    <a:pt x="85660" y="24122"/>
                  </a:moveTo>
                  <a:cubicBezTo>
                    <a:pt x="79124" y="17437"/>
                    <a:pt x="73239" y="15232"/>
                    <a:pt x="62483" y="12691"/>
                  </a:cubicBezTo>
                  <a:cubicBezTo>
                    <a:pt x="51726" y="10151"/>
                    <a:pt x="46937" y="1929"/>
                    <a:pt x="36100" y="258"/>
                  </a:cubicBezTo>
                  <a:cubicBezTo>
                    <a:pt x="17428" y="-2617"/>
                    <a:pt x="-13460" y="5238"/>
                    <a:pt x="6306" y="16502"/>
                  </a:cubicBezTo>
                  <a:cubicBezTo>
                    <a:pt x="23313" y="26228"/>
                    <a:pt x="43487" y="29303"/>
                    <a:pt x="62564" y="36389"/>
                  </a:cubicBezTo>
                  <a:cubicBezTo>
                    <a:pt x="91707" y="47184"/>
                    <a:pt x="71534" y="23554"/>
                    <a:pt x="85660" y="24122"/>
                  </a:cubicBezTo>
                  <a:cubicBezTo>
                    <a:pt x="72102" y="10419"/>
                    <a:pt x="82737" y="23989"/>
                    <a:pt x="85660" y="2412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0D0EFF1F-CDE3-4A1D-A3E5-9BF668346FE8}"/>
                </a:ext>
              </a:extLst>
            </p:cNvPr>
            <p:cNvSpPr/>
            <p:nvPr/>
          </p:nvSpPr>
          <p:spPr>
            <a:xfrm>
              <a:off x="8734044" y="4882602"/>
              <a:ext cx="188707" cy="252818"/>
            </a:xfrm>
            <a:custGeom>
              <a:avLst/>
              <a:gdLst>
                <a:gd name="connsiteX0" fmla="*/ 183940 w 188707"/>
                <a:gd name="connsiteY0" fmla="*/ 66917 h 252818"/>
                <a:gd name="connsiteX1" fmla="*/ 166161 w 188707"/>
                <a:gd name="connsiteY1" fmla="*/ 42552 h 252818"/>
                <a:gd name="connsiteX2" fmla="*/ 152198 w 188707"/>
                <a:gd name="connsiteY2" fmla="*/ 29851 h 252818"/>
                <a:gd name="connsiteX3" fmla="*/ 137262 w 188707"/>
                <a:gd name="connsiteY3" fmla="*/ 17150 h 252818"/>
                <a:gd name="connsiteX4" fmla="*/ 113191 w 188707"/>
                <a:gd name="connsiteY4" fmla="*/ 18754 h 252818"/>
                <a:gd name="connsiteX5" fmla="*/ 86930 w 188707"/>
                <a:gd name="connsiteY5" fmla="*/ 12872 h 252818"/>
                <a:gd name="connsiteX6" fmla="*/ 76945 w 188707"/>
                <a:gd name="connsiteY6" fmla="*/ 7423 h 252818"/>
                <a:gd name="connsiteX7" fmla="*/ 64768 w 188707"/>
                <a:gd name="connsiteY7" fmla="*/ 6120 h 252818"/>
                <a:gd name="connsiteX8" fmla="*/ 51495 w 188707"/>
                <a:gd name="connsiteY8" fmla="*/ 104 h 252818"/>
                <a:gd name="connsiteX9" fmla="*/ 37654 w 188707"/>
                <a:gd name="connsiteY9" fmla="*/ 705 h 252818"/>
                <a:gd name="connsiteX10" fmla="*/ 67893 w 188707"/>
                <a:gd name="connsiteY10" fmla="*/ 43387 h 252818"/>
                <a:gd name="connsiteX11" fmla="*/ 89771 w 188707"/>
                <a:gd name="connsiteY11" fmla="*/ 53748 h 252818"/>
                <a:gd name="connsiteX12" fmla="*/ 86362 w 188707"/>
                <a:gd name="connsiteY12" fmla="*/ 70059 h 252818"/>
                <a:gd name="connsiteX13" fmla="*/ 90055 w 188707"/>
                <a:gd name="connsiteY13" fmla="*/ 92319 h 252818"/>
                <a:gd name="connsiteX14" fmla="*/ 114897 w 188707"/>
                <a:gd name="connsiteY14" fmla="*/ 144728 h 252818"/>
                <a:gd name="connsiteX15" fmla="*/ 127682 w 188707"/>
                <a:gd name="connsiteY15" fmla="*/ 170731 h 252818"/>
                <a:gd name="connsiteX16" fmla="*/ 117982 w 188707"/>
                <a:gd name="connsiteY16" fmla="*/ 198673 h 252818"/>
                <a:gd name="connsiteX17" fmla="*/ 104221 w 188707"/>
                <a:gd name="connsiteY17" fmla="*/ 213848 h 252818"/>
                <a:gd name="connsiteX18" fmla="*/ 80598 w 188707"/>
                <a:gd name="connsiteY18" fmla="*/ 220064 h 252818"/>
                <a:gd name="connsiteX19" fmla="*/ 53646 w 188707"/>
                <a:gd name="connsiteY19" fmla="*/ 213380 h 252818"/>
                <a:gd name="connsiteX20" fmla="*/ 55432 w 188707"/>
                <a:gd name="connsiteY20" fmla="*/ 229323 h 252818"/>
                <a:gd name="connsiteX21" fmla="*/ 31078 w 188707"/>
                <a:gd name="connsiteY21" fmla="*/ 219630 h 252818"/>
                <a:gd name="connsiteX22" fmla="*/ 3924 w 188707"/>
                <a:gd name="connsiteY22" fmla="*/ 220398 h 252818"/>
                <a:gd name="connsiteX23" fmla="*/ 5142 w 188707"/>
                <a:gd name="connsiteY23" fmla="*/ 235673 h 252818"/>
                <a:gd name="connsiteX24" fmla="*/ 9201 w 188707"/>
                <a:gd name="connsiteY24" fmla="*/ 251850 h 252818"/>
                <a:gd name="connsiteX25" fmla="*/ 42565 w 188707"/>
                <a:gd name="connsiteY25" fmla="*/ 248875 h 252818"/>
                <a:gd name="connsiteX26" fmla="*/ 48695 w 188707"/>
                <a:gd name="connsiteY26" fmla="*/ 245533 h 252818"/>
                <a:gd name="connsiteX27" fmla="*/ 60222 w 188707"/>
                <a:gd name="connsiteY27" fmla="*/ 239684 h 252818"/>
                <a:gd name="connsiteX28" fmla="*/ 89406 w 188707"/>
                <a:gd name="connsiteY28" fmla="*/ 246369 h 252818"/>
                <a:gd name="connsiteX29" fmla="*/ 132796 w 188707"/>
                <a:gd name="connsiteY29" fmla="*/ 246369 h 252818"/>
                <a:gd name="connsiteX30" fmla="*/ 164497 w 188707"/>
                <a:gd name="connsiteY30" fmla="*/ 199910 h 252818"/>
                <a:gd name="connsiteX31" fmla="*/ 155689 w 188707"/>
                <a:gd name="connsiteY31" fmla="*/ 164180 h 252818"/>
                <a:gd name="connsiteX32" fmla="*/ 140630 w 188707"/>
                <a:gd name="connsiteY32" fmla="*/ 150811 h 252818"/>
                <a:gd name="connsiteX33" fmla="*/ 121919 w 188707"/>
                <a:gd name="connsiteY33" fmla="*/ 127815 h 252818"/>
                <a:gd name="connsiteX34" fmla="*/ 124557 w 188707"/>
                <a:gd name="connsiteY34" fmla="*/ 80822 h 252818"/>
                <a:gd name="connsiteX35" fmla="*/ 138722 w 188707"/>
                <a:gd name="connsiteY35" fmla="*/ 79752 h 252818"/>
                <a:gd name="connsiteX36" fmla="*/ 149073 w 188707"/>
                <a:gd name="connsiteY36" fmla="*/ 71630 h 252818"/>
                <a:gd name="connsiteX37" fmla="*/ 166649 w 188707"/>
                <a:gd name="connsiteY37" fmla="*/ 73402 h 252818"/>
                <a:gd name="connsiteX38" fmla="*/ 188648 w 188707"/>
                <a:gd name="connsiteY38" fmla="*/ 71262 h 252818"/>
                <a:gd name="connsiteX39" fmla="*/ 184223 w 188707"/>
                <a:gd name="connsiteY39" fmla="*/ 66616 h 252818"/>
                <a:gd name="connsiteX40" fmla="*/ 183940 w 188707"/>
                <a:gd name="connsiteY40" fmla="*/ 66917 h 2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88707" h="252818">
                  <a:moveTo>
                    <a:pt x="183940" y="66917"/>
                  </a:moveTo>
                  <a:cubicBezTo>
                    <a:pt x="172696" y="61803"/>
                    <a:pt x="157759" y="48000"/>
                    <a:pt x="166161" y="42552"/>
                  </a:cubicBezTo>
                  <a:cubicBezTo>
                    <a:pt x="173305" y="37939"/>
                    <a:pt x="158327" y="33160"/>
                    <a:pt x="152198" y="29851"/>
                  </a:cubicBezTo>
                  <a:cubicBezTo>
                    <a:pt x="147531" y="27344"/>
                    <a:pt x="141443" y="18320"/>
                    <a:pt x="137262" y="17150"/>
                  </a:cubicBezTo>
                  <a:cubicBezTo>
                    <a:pt x="129266" y="15388"/>
                    <a:pt x="120741" y="15956"/>
                    <a:pt x="113191" y="18754"/>
                  </a:cubicBezTo>
                  <a:cubicBezTo>
                    <a:pt x="110391" y="19924"/>
                    <a:pt x="90745" y="14242"/>
                    <a:pt x="86930" y="12872"/>
                  </a:cubicBezTo>
                  <a:cubicBezTo>
                    <a:pt x="83399" y="11331"/>
                    <a:pt x="80030" y="9506"/>
                    <a:pt x="76945" y="7423"/>
                  </a:cubicBezTo>
                  <a:cubicBezTo>
                    <a:pt x="70613" y="3747"/>
                    <a:pt x="70531" y="7423"/>
                    <a:pt x="64768" y="6120"/>
                  </a:cubicBezTo>
                  <a:cubicBezTo>
                    <a:pt x="59694" y="5050"/>
                    <a:pt x="56406" y="1440"/>
                    <a:pt x="51495" y="104"/>
                  </a:cubicBezTo>
                  <a:cubicBezTo>
                    <a:pt x="46584" y="-1233"/>
                    <a:pt x="41916" y="906"/>
                    <a:pt x="37654" y="705"/>
                  </a:cubicBezTo>
                  <a:cubicBezTo>
                    <a:pt x="46096" y="12370"/>
                    <a:pt x="46503" y="36535"/>
                    <a:pt x="67893" y="43387"/>
                  </a:cubicBezTo>
                  <a:cubicBezTo>
                    <a:pt x="76011" y="45994"/>
                    <a:pt x="92003" y="44290"/>
                    <a:pt x="89771" y="53748"/>
                  </a:cubicBezTo>
                  <a:cubicBezTo>
                    <a:pt x="88837" y="57793"/>
                    <a:pt x="99147" y="72065"/>
                    <a:pt x="86362" y="70059"/>
                  </a:cubicBezTo>
                  <a:cubicBezTo>
                    <a:pt x="47517" y="64076"/>
                    <a:pt x="83723" y="80354"/>
                    <a:pt x="90055" y="92319"/>
                  </a:cubicBezTo>
                  <a:cubicBezTo>
                    <a:pt x="98783" y="108864"/>
                    <a:pt x="101055" y="128350"/>
                    <a:pt x="114897" y="144728"/>
                  </a:cubicBezTo>
                  <a:cubicBezTo>
                    <a:pt x="123582" y="154988"/>
                    <a:pt x="133284" y="160102"/>
                    <a:pt x="127682" y="170731"/>
                  </a:cubicBezTo>
                  <a:cubicBezTo>
                    <a:pt x="122730" y="180123"/>
                    <a:pt x="115505" y="187042"/>
                    <a:pt x="117982" y="198673"/>
                  </a:cubicBezTo>
                  <a:cubicBezTo>
                    <a:pt x="120254" y="208968"/>
                    <a:pt x="120904" y="213012"/>
                    <a:pt x="104221" y="213848"/>
                  </a:cubicBezTo>
                  <a:cubicBezTo>
                    <a:pt x="93140" y="214416"/>
                    <a:pt x="89447" y="217457"/>
                    <a:pt x="80598" y="220064"/>
                  </a:cubicBezTo>
                  <a:cubicBezTo>
                    <a:pt x="73819" y="222070"/>
                    <a:pt x="55351" y="210639"/>
                    <a:pt x="53646" y="213380"/>
                  </a:cubicBezTo>
                  <a:cubicBezTo>
                    <a:pt x="51292" y="217324"/>
                    <a:pt x="60912" y="226548"/>
                    <a:pt x="55432" y="229323"/>
                  </a:cubicBezTo>
                  <a:cubicBezTo>
                    <a:pt x="50683" y="231696"/>
                    <a:pt x="35340" y="221602"/>
                    <a:pt x="31078" y="219630"/>
                  </a:cubicBezTo>
                  <a:cubicBezTo>
                    <a:pt x="24300" y="216555"/>
                    <a:pt x="12164" y="220833"/>
                    <a:pt x="3924" y="220398"/>
                  </a:cubicBezTo>
                  <a:cubicBezTo>
                    <a:pt x="9972" y="231127"/>
                    <a:pt x="18739" y="229991"/>
                    <a:pt x="5142" y="235673"/>
                  </a:cubicBezTo>
                  <a:cubicBezTo>
                    <a:pt x="-2124" y="238715"/>
                    <a:pt x="-2651" y="255961"/>
                    <a:pt x="9201" y="251850"/>
                  </a:cubicBezTo>
                  <a:cubicBezTo>
                    <a:pt x="16831" y="249210"/>
                    <a:pt x="37614" y="252318"/>
                    <a:pt x="42565" y="248875"/>
                  </a:cubicBezTo>
                  <a:cubicBezTo>
                    <a:pt x="44229" y="247706"/>
                    <a:pt x="44027" y="243795"/>
                    <a:pt x="48695" y="245533"/>
                  </a:cubicBezTo>
                  <a:cubicBezTo>
                    <a:pt x="55067" y="248006"/>
                    <a:pt x="57137" y="241121"/>
                    <a:pt x="60222" y="239684"/>
                  </a:cubicBezTo>
                  <a:cubicBezTo>
                    <a:pt x="66230" y="236910"/>
                    <a:pt x="81369" y="245600"/>
                    <a:pt x="89406" y="246369"/>
                  </a:cubicBezTo>
                  <a:cubicBezTo>
                    <a:pt x="103775" y="248077"/>
                    <a:pt x="118427" y="248077"/>
                    <a:pt x="132796" y="246369"/>
                  </a:cubicBezTo>
                  <a:cubicBezTo>
                    <a:pt x="159261" y="242157"/>
                    <a:pt x="162792" y="215786"/>
                    <a:pt x="164497" y="199910"/>
                  </a:cubicBezTo>
                  <a:cubicBezTo>
                    <a:pt x="165715" y="188913"/>
                    <a:pt x="165106" y="175878"/>
                    <a:pt x="155689" y="164180"/>
                  </a:cubicBezTo>
                  <a:cubicBezTo>
                    <a:pt x="152158" y="159801"/>
                    <a:pt x="144770" y="155657"/>
                    <a:pt x="140630" y="150811"/>
                  </a:cubicBezTo>
                  <a:cubicBezTo>
                    <a:pt x="133933" y="143223"/>
                    <a:pt x="127926" y="135503"/>
                    <a:pt x="121919" y="127815"/>
                  </a:cubicBezTo>
                  <a:cubicBezTo>
                    <a:pt x="111812" y="114880"/>
                    <a:pt x="100528" y="84799"/>
                    <a:pt x="124557" y="80822"/>
                  </a:cubicBezTo>
                  <a:cubicBezTo>
                    <a:pt x="129062" y="80086"/>
                    <a:pt x="134136" y="80320"/>
                    <a:pt x="138722" y="79752"/>
                  </a:cubicBezTo>
                  <a:cubicBezTo>
                    <a:pt x="145622" y="78917"/>
                    <a:pt x="144080" y="73870"/>
                    <a:pt x="149073" y="71630"/>
                  </a:cubicBezTo>
                  <a:cubicBezTo>
                    <a:pt x="154065" y="69391"/>
                    <a:pt x="160560" y="72700"/>
                    <a:pt x="166649" y="73402"/>
                  </a:cubicBezTo>
                  <a:cubicBezTo>
                    <a:pt x="175538" y="74438"/>
                    <a:pt x="180814" y="70627"/>
                    <a:pt x="188648" y="71262"/>
                  </a:cubicBezTo>
                  <a:cubicBezTo>
                    <a:pt x="187674" y="69424"/>
                    <a:pt x="186172" y="67826"/>
                    <a:pt x="184223" y="66616"/>
                  </a:cubicBezTo>
                  <a:cubicBezTo>
                    <a:pt x="176552" y="63575"/>
                    <a:pt x="185319" y="67519"/>
                    <a:pt x="183940" y="6691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B41C57D5-76A4-4329-BBBA-28E8FB6A887E}"/>
                </a:ext>
              </a:extLst>
            </p:cNvPr>
            <p:cNvSpPr/>
            <p:nvPr/>
          </p:nvSpPr>
          <p:spPr>
            <a:xfrm>
              <a:off x="8702424" y="5027948"/>
              <a:ext cx="151933" cy="84654"/>
            </a:xfrm>
            <a:custGeom>
              <a:avLst/>
              <a:gdLst>
                <a:gd name="connsiteX0" fmla="*/ 55879 w 151933"/>
                <a:gd name="connsiteY0" fmla="*/ 73282 h 84654"/>
                <a:gd name="connsiteX1" fmla="*/ 86849 w 151933"/>
                <a:gd name="connsiteY1" fmla="*/ 84044 h 84654"/>
                <a:gd name="connsiteX2" fmla="*/ 100365 w 151933"/>
                <a:gd name="connsiteY2" fmla="*/ 73148 h 84654"/>
                <a:gd name="connsiteX3" fmla="*/ 135638 w 151933"/>
                <a:gd name="connsiteY3" fmla="*/ 68469 h 84654"/>
                <a:gd name="connsiteX4" fmla="*/ 151873 w 151933"/>
                <a:gd name="connsiteY4" fmla="*/ 35714 h 84654"/>
                <a:gd name="connsiteX5" fmla="*/ 110838 w 151933"/>
                <a:gd name="connsiteY5" fmla="*/ 27825 h 84654"/>
                <a:gd name="connsiteX6" fmla="*/ 88432 w 151933"/>
                <a:gd name="connsiteY6" fmla="*/ 17798 h 84654"/>
                <a:gd name="connsiteX7" fmla="*/ 46584 w 151933"/>
                <a:gd name="connsiteY7" fmla="*/ 2156 h 84654"/>
                <a:gd name="connsiteX8" fmla="*/ 1245 w 151933"/>
                <a:gd name="connsiteY8" fmla="*/ 8540 h 84654"/>
                <a:gd name="connsiteX9" fmla="*/ -54 w 151933"/>
                <a:gd name="connsiteY9" fmla="*/ 30199 h 84654"/>
                <a:gd name="connsiteX10" fmla="*/ 2665 w 151933"/>
                <a:gd name="connsiteY10" fmla="*/ 41195 h 84654"/>
                <a:gd name="connsiteX11" fmla="*/ 5304 w 151933"/>
                <a:gd name="connsiteY11" fmla="*/ 52158 h 84654"/>
                <a:gd name="connsiteX12" fmla="*/ 15371 w 151933"/>
                <a:gd name="connsiteY12" fmla="*/ 57840 h 84654"/>
                <a:gd name="connsiteX13" fmla="*/ 19633 w 151933"/>
                <a:gd name="connsiteY13" fmla="*/ 66731 h 84654"/>
                <a:gd name="connsiteX14" fmla="*/ 34042 w 151933"/>
                <a:gd name="connsiteY14" fmla="*/ 72011 h 84654"/>
                <a:gd name="connsiteX15" fmla="*/ 55879 w 151933"/>
                <a:gd name="connsiteY15" fmla="*/ 73282 h 8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933" h="84654">
                  <a:moveTo>
                    <a:pt x="55879" y="73282"/>
                  </a:moveTo>
                  <a:cubicBezTo>
                    <a:pt x="57787" y="69572"/>
                    <a:pt x="81451" y="86651"/>
                    <a:pt x="86849" y="84044"/>
                  </a:cubicBezTo>
                  <a:cubicBezTo>
                    <a:pt x="99026" y="77994"/>
                    <a:pt x="68705" y="60347"/>
                    <a:pt x="100365" y="73148"/>
                  </a:cubicBezTo>
                  <a:cubicBezTo>
                    <a:pt x="112542" y="77994"/>
                    <a:pt x="124192" y="69070"/>
                    <a:pt x="135638" y="68469"/>
                  </a:cubicBezTo>
                  <a:cubicBezTo>
                    <a:pt x="162265" y="67165"/>
                    <a:pt x="145298" y="48414"/>
                    <a:pt x="151873" y="35714"/>
                  </a:cubicBezTo>
                  <a:cubicBezTo>
                    <a:pt x="142092" y="36482"/>
                    <a:pt x="114572" y="20573"/>
                    <a:pt x="110838" y="27825"/>
                  </a:cubicBezTo>
                  <a:cubicBezTo>
                    <a:pt x="106008" y="37151"/>
                    <a:pt x="91842" y="23046"/>
                    <a:pt x="88432" y="17798"/>
                  </a:cubicBezTo>
                  <a:cubicBezTo>
                    <a:pt x="85022" y="12551"/>
                    <a:pt x="54824" y="4964"/>
                    <a:pt x="46584" y="2156"/>
                  </a:cubicBezTo>
                  <a:cubicBezTo>
                    <a:pt x="35422" y="-1687"/>
                    <a:pt x="-2124" y="-2155"/>
                    <a:pt x="1245" y="8540"/>
                  </a:cubicBezTo>
                  <a:cubicBezTo>
                    <a:pt x="3031" y="14122"/>
                    <a:pt x="5304" y="26455"/>
                    <a:pt x="-54" y="30199"/>
                  </a:cubicBezTo>
                  <a:cubicBezTo>
                    <a:pt x="1124" y="29530"/>
                    <a:pt x="3356" y="39758"/>
                    <a:pt x="2665" y="41195"/>
                  </a:cubicBezTo>
                  <a:cubicBezTo>
                    <a:pt x="1083" y="44537"/>
                    <a:pt x="-3788" y="49451"/>
                    <a:pt x="5304" y="52158"/>
                  </a:cubicBezTo>
                  <a:cubicBezTo>
                    <a:pt x="10175" y="53595"/>
                    <a:pt x="20647" y="53963"/>
                    <a:pt x="15371" y="57840"/>
                  </a:cubicBezTo>
                  <a:cubicBezTo>
                    <a:pt x="11312" y="60881"/>
                    <a:pt x="11555" y="64825"/>
                    <a:pt x="19633" y="66731"/>
                  </a:cubicBezTo>
                  <a:cubicBezTo>
                    <a:pt x="23245" y="67600"/>
                    <a:pt x="33433" y="68335"/>
                    <a:pt x="34042" y="72011"/>
                  </a:cubicBezTo>
                  <a:cubicBezTo>
                    <a:pt x="35137" y="77460"/>
                    <a:pt x="54093" y="76958"/>
                    <a:pt x="55879" y="732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B6C8B2E2-0CB9-4A72-8AFE-05B008455DCD}"/>
                </a:ext>
              </a:extLst>
            </p:cNvPr>
            <p:cNvSpPr/>
            <p:nvPr/>
          </p:nvSpPr>
          <p:spPr>
            <a:xfrm>
              <a:off x="8695328" y="4879335"/>
              <a:ext cx="168389" cy="184697"/>
            </a:xfrm>
            <a:custGeom>
              <a:avLst/>
              <a:gdLst>
                <a:gd name="connsiteX0" fmla="*/ 128852 w 168389"/>
                <a:gd name="connsiteY0" fmla="*/ 96923 h 184697"/>
                <a:gd name="connsiteX1" fmla="*/ 108233 w 168389"/>
                <a:gd name="connsiteY1" fmla="*/ 77270 h 184697"/>
                <a:gd name="connsiteX2" fmla="*/ 131207 w 168389"/>
                <a:gd name="connsiteY2" fmla="*/ 71956 h 184697"/>
                <a:gd name="connsiteX3" fmla="*/ 118259 w 168389"/>
                <a:gd name="connsiteY3" fmla="*/ 48025 h 184697"/>
                <a:gd name="connsiteX4" fmla="*/ 90617 w 168389"/>
                <a:gd name="connsiteY4" fmla="*/ 29174 h 184697"/>
                <a:gd name="connsiteX5" fmla="*/ 82499 w 168389"/>
                <a:gd name="connsiteY5" fmla="*/ 15804 h 184697"/>
                <a:gd name="connsiteX6" fmla="*/ 79779 w 168389"/>
                <a:gd name="connsiteY6" fmla="*/ 8685 h 184697"/>
                <a:gd name="connsiteX7" fmla="*/ 64964 w 168389"/>
                <a:gd name="connsiteY7" fmla="*/ 730 h 184697"/>
                <a:gd name="connsiteX8" fmla="*/ 56399 w 168389"/>
                <a:gd name="connsiteY8" fmla="*/ 17442 h 184697"/>
                <a:gd name="connsiteX9" fmla="*/ 37404 w 168389"/>
                <a:gd name="connsiteY9" fmla="*/ 7415 h 184697"/>
                <a:gd name="connsiteX10" fmla="*/ 5541 w 168389"/>
                <a:gd name="connsiteY10" fmla="*/ 16941 h 184697"/>
                <a:gd name="connsiteX11" fmla="*/ 11101 w 168389"/>
                <a:gd name="connsiteY11" fmla="*/ 38299 h 184697"/>
                <a:gd name="connsiteX12" fmla="*/ 12765 w 168389"/>
                <a:gd name="connsiteY12" fmla="*/ 61227 h 184697"/>
                <a:gd name="connsiteX13" fmla="*/ 8991 w 168389"/>
                <a:gd name="connsiteY13" fmla="*/ 75365 h 184697"/>
                <a:gd name="connsiteX14" fmla="*/ 35130 w 168389"/>
                <a:gd name="connsiteY14" fmla="*/ 73895 h 184697"/>
                <a:gd name="connsiteX15" fmla="*/ 51366 w 168389"/>
                <a:gd name="connsiteY15" fmla="*/ 82484 h 184697"/>
                <a:gd name="connsiteX16" fmla="*/ 90658 w 168389"/>
                <a:gd name="connsiteY16" fmla="*/ 88534 h 184697"/>
                <a:gd name="connsiteX17" fmla="*/ 107624 w 168389"/>
                <a:gd name="connsiteY17" fmla="*/ 116376 h 184697"/>
                <a:gd name="connsiteX18" fmla="*/ 99506 w 168389"/>
                <a:gd name="connsiteY18" fmla="*/ 125868 h 184697"/>
                <a:gd name="connsiteX19" fmla="*/ 108071 w 168389"/>
                <a:gd name="connsiteY19" fmla="*/ 135595 h 184697"/>
                <a:gd name="connsiteX20" fmla="*/ 98451 w 168389"/>
                <a:gd name="connsiteY20" fmla="*/ 169286 h 184697"/>
                <a:gd name="connsiteX21" fmla="*/ 108112 w 168389"/>
                <a:gd name="connsiteY21" fmla="*/ 179313 h 184697"/>
                <a:gd name="connsiteX22" fmla="*/ 125159 w 168389"/>
                <a:gd name="connsiteY22" fmla="*/ 174433 h 184697"/>
                <a:gd name="connsiteX23" fmla="*/ 151177 w 168389"/>
                <a:gd name="connsiteY23" fmla="*/ 184159 h 184697"/>
                <a:gd name="connsiteX24" fmla="*/ 168184 w 168389"/>
                <a:gd name="connsiteY24" fmla="*/ 169453 h 184697"/>
                <a:gd name="connsiteX25" fmla="*/ 148904 w 168389"/>
                <a:gd name="connsiteY25" fmla="*/ 136931 h 184697"/>
                <a:gd name="connsiteX26" fmla="*/ 129015 w 168389"/>
                <a:gd name="connsiteY26" fmla="*/ 97124 h 184697"/>
                <a:gd name="connsiteX27" fmla="*/ 128852 w 168389"/>
                <a:gd name="connsiteY27" fmla="*/ 96923 h 18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389" h="184697">
                  <a:moveTo>
                    <a:pt x="128852" y="96923"/>
                  </a:moveTo>
                  <a:cubicBezTo>
                    <a:pt x="131004" y="92812"/>
                    <a:pt x="112008" y="81214"/>
                    <a:pt x="108233" y="77270"/>
                  </a:cubicBezTo>
                  <a:cubicBezTo>
                    <a:pt x="96056" y="64402"/>
                    <a:pt x="128527" y="76869"/>
                    <a:pt x="131207" y="71956"/>
                  </a:cubicBezTo>
                  <a:cubicBezTo>
                    <a:pt x="133886" y="67043"/>
                    <a:pt x="129705" y="50364"/>
                    <a:pt x="118259" y="48025"/>
                  </a:cubicBezTo>
                  <a:cubicBezTo>
                    <a:pt x="98207" y="43914"/>
                    <a:pt x="95772" y="41674"/>
                    <a:pt x="90617" y="29174"/>
                  </a:cubicBezTo>
                  <a:cubicBezTo>
                    <a:pt x="88952" y="25196"/>
                    <a:pt x="80470" y="19414"/>
                    <a:pt x="82499" y="15804"/>
                  </a:cubicBezTo>
                  <a:cubicBezTo>
                    <a:pt x="82702" y="13237"/>
                    <a:pt x="81728" y="10701"/>
                    <a:pt x="79779" y="8685"/>
                  </a:cubicBezTo>
                  <a:cubicBezTo>
                    <a:pt x="74625" y="1265"/>
                    <a:pt x="69389" y="6178"/>
                    <a:pt x="64964" y="730"/>
                  </a:cubicBezTo>
                  <a:cubicBezTo>
                    <a:pt x="59931" y="-5486"/>
                    <a:pt x="56440" y="17442"/>
                    <a:pt x="56399" y="17442"/>
                  </a:cubicBezTo>
                  <a:cubicBezTo>
                    <a:pt x="50798" y="28405"/>
                    <a:pt x="41300" y="6513"/>
                    <a:pt x="37404" y="7415"/>
                  </a:cubicBezTo>
                  <a:cubicBezTo>
                    <a:pt x="25917" y="10390"/>
                    <a:pt x="18935" y="17442"/>
                    <a:pt x="5541" y="16941"/>
                  </a:cubicBezTo>
                  <a:cubicBezTo>
                    <a:pt x="11101" y="22957"/>
                    <a:pt x="1157" y="35758"/>
                    <a:pt x="11101" y="38299"/>
                  </a:cubicBezTo>
                  <a:cubicBezTo>
                    <a:pt x="34359" y="44315"/>
                    <a:pt x="16703" y="53072"/>
                    <a:pt x="12765" y="61227"/>
                  </a:cubicBezTo>
                  <a:cubicBezTo>
                    <a:pt x="11630" y="63533"/>
                    <a:pt x="-12887" y="75532"/>
                    <a:pt x="8991" y="75365"/>
                  </a:cubicBezTo>
                  <a:cubicBezTo>
                    <a:pt x="17839" y="75365"/>
                    <a:pt x="25877" y="73025"/>
                    <a:pt x="35130" y="73895"/>
                  </a:cubicBezTo>
                  <a:cubicBezTo>
                    <a:pt x="45684" y="74931"/>
                    <a:pt x="43939" y="79276"/>
                    <a:pt x="51366" y="82484"/>
                  </a:cubicBezTo>
                  <a:cubicBezTo>
                    <a:pt x="65452" y="88601"/>
                    <a:pt x="75112" y="77939"/>
                    <a:pt x="90658" y="88534"/>
                  </a:cubicBezTo>
                  <a:cubicBezTo>
                    <a:pt x="98207" y="93681"/>
                    <a:pt x="111683" y="111195"/>
                    <a:pt x="107624" y="116376"/>
                  </a:cubicBezTo>
                  <a:cubicBezTo>
                    <a:pt x="105148" y="119718"/>
                    <a:pt x="101048" y="122259"/>
                    <a:pt x="99506" y="125868"/>
                  </a:cubicBezTo>
                  <a:cubicBezTo>
                    <a:pt x="97964" y="129478"/>
                    <a:pt x="105513" y="132553"/>
                    <a:pt x="108071" y="135595"/>
                  </a:cubicBezTo>
                  <a:cubicBezTo>
                    <a:pt x="116189" y="145622"/>
                    <a:pt x="113104" y="166043"/>
                    <a:pt x="98451" y="169286"/>
                  </a:cubicBezTo>
                  <a:cubicBezTo>
                    <a:pt x="100399" y="170990"/>
                    <a:pt x="106975" y="178410"/>
                    <a:pt x="108112" y="179313"/>
                  </a:cubicBezTo>
                  <a:cubicBezTo>
                    <a:pt x="114443" y="183491"/>
                    <a:pt x="118989" y="173597"/>
                    <a:pt x="125159" y="174433"/>
                  </a:cubicBezTo>
                  <a:cubicBezTo>
                    <a:pt x="135022" y="175836"/>
                    <a:pt x="141111" y="182655"/>
                    <a:pt x="151177" y="184159"/>
                  </a:cubicBezTo>
                  <a:cubicBezTo>
                    <a:pt x="162786" y="185930"/>
                    <a:pt x="166967" y="175536"/>
                    <a:pt x="168184" y="169453"/>
                  </a:cubicBezTo>
                  <a:cubicBezTo>
                    <a:pt x="170051" y="160061"/>
                    <a:pt x="153531" y="146992"/>
                    <a:pt x="148904" y="136931"/>
                  </a:cubicBezTo>
                  <a:cubicBezTo>
                    <a:pt x="144277" y="126871"/>
                    <a:pt x="124144" y="106850"/>
                    <a:pt x="129015" y="97124"/>
                  </a:cubicBezTo>
                  <a:cubicBezTo>
                    <a:pt x="130923" y="92979"/>
                    <a:pt x="126864" y="100934"/>
                    <a:pt x="128852" y="9692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AC7969E0-299E-42DE-A3A8-FDE9F6559FB2}"/>
                </a:ext>
              </a:extLst>
            </p:cNvPr>
            <p:cNvSpPr/>
            <p:nvPr/>
          </p:nvSpPr>
          <p:spPr>
            <a:xfrm>
              <a:off x="8552051" y="4892623"/>
              <a:ext cx="255915" cy="257455"/>
            </a:xfrm>
            <a:custGeom>
              <a:avLst/>
              <a:gdLst>
                <a:gd name="connsiteX0" fmla="*/ 152958 w 255915"/>
                <a:gd name="connsiteY0" fmla="*/ 152087 h 257455"/>
                <a:gd name="connsiteX1" fmla="*/ 153648 w 255915"/>
                <a:gd name="connsiteY1" fmla="*/ 139486 h 257455"/>
                <a:gd name="connsiteX2" fmla="*/ 185308 w 255915"/>
                <a:gd name="connsiteY2" fmla="*/ 135108 h 257455"/>
                <a:gd name="connsiteX3" fmla="*/ 212625 w 255915"/>
                <a:gd name="connsiteY3" fmla="*/ 143497 h 257455"/>
                <a:gd name="connsiteX4" fmla="*/ 241565 w 255915"/>
                <a:gd name="connsiteY4" fmla="*/ 155931 h 257455"/>
                <a:gd name="connsiteX5" fmla="*/ 243960 w 255915"/>
                <a:gd name="connsiteY5" fmla="*/ 116056 h 257455"/>
                <a:gd name="connsiteX6" fmla="*/ 248506 w 255915"/>
                <a:gd name="connsiteY6" fmla="*/ 105494 h 257455"/>
                <a:gd name="connsiteX7" fmla="*/ 242824 w 255915"/>
                <a:gd name="connsiteY7" fmla="*/ 87446 h 257455"/>
                <a:gd name="connsiteX8" fmla="*/ 223544 w 255915"/>
                <a:gd name="connsiteY8" fmla="*/ 70734 h 257455"/>
                <a:gd name="connsiteX9" fmla="*/ 194400 w 255915"/>
                <a:gd name="connsiteY9" fmla="*/ 69096 h 257455"/>
                <a:gd name="connsiteX10" fmla="*/ 184253 w 255915"/>
                <a:gd name="connsiteY10" fmla="*/ 61743 h 257455"/>
                <a:gd name="connsiteX11" fmla="*/ 164363 w 255915"/>
                <a:gd name="connsiteY11" fmla="*/ 61074 h 257455"/>
                <a:gd name="connsiteX12" fmla="*/ 144068 w 255915"/>
                <a:gd name="connsiteY12" fmla="*/ 54657 h 257455"/>
                <a:gd name="connsiteX13" fmla="*/ 158234 w 255915"/>
                <a:gd name="connsiteY13" fmla="*/ 25779 h 257455"/>
                <a:gd name="connsiteX14" fmla="*/ 151050 w 255915"/>
                <a:gd name="connsiteY14" fmla="*/ 13747 h 257455"/>
                <a:gd name="connsiteX15" fmla="*/ 151050 w 255915"/>
                <a:gd name="connsiteY15" fmla="*/ 6460 h 257455"/>
                <a:gd name="connsiteX16" fmla="*/ 139726 w 255915"/>
                <a:gd name="connsiteY16" fmla="*/ 4956 h 257455"/>
                <a:gd name="connsiteX17" fmla="*/ 86553 w 255915"/>
                <a:gd name="connsiteY17" fmla="*/ 243 h 257455"/>
                <a:gd name="connsiteX18" fmla="*/ 55908 w 255915"/>
                <a:gd name="connsiteY18" fmla="*/ 23640 h 257455"/>
                <a:gd name="connsiteX19" fmla="*/ 68694 w 255915"/>
                <a:gd name="connsiteY19" fmla="*/ 53220 h 257455"/>
                <a:gd name="connsiteX20" fmla="*/ 68085 w 255915"/>
                <a:gd name="connsiteY20" fmla="*/ 65787 h 257455"/>
                <a:gd name="connsiteX21" fmla="*/ 55583 w 255915"/>
                <a:gd name="connsiteY21" fmla="*/ 75547 h 257455"/>
                <a:gd name="connsiteX22" fmla="*/ 53878 w 255915"/>
                <a:gd name="connsiteY22" fmla="*/ 91089 h 257455"/>
                <a:gd name="connsiteX23" fmla="*/ 60495 w 255915"/>
                <a:gd name="connsiteY23" fmla="*/ 115789 h 257455"/>
                <a:gd name="connsiteX24" fmla="*/ 62240 w 255915"/>
                <a:gd name="connsiteY24" fmla="*/ 133303 h 257455"/>
                <a:gd name="connsiteX25" fmla="*/ 52458 w 255915"/>
                <a:gd name="connsiteY25" fmla="*/ 141191 h 257455"/>
                <a:gd name="connsiteX26" fmla="*/ 20229 w 255915"/>
                <a:gd name="connsiteY26" fmla="*/ 159039 h 257455"/>
                <a:gd name="connsiteX27" fmla="*/ 949 w 255915"/>
                <a:gd name="connsiteY27" fmla="*/ 180029 h 257455"/>
                <a:gd name="connsiteX28" fmla="*/ 13126 w 255915"/>
                <a:gd name="connsiteY28" fmla="*/ 196741 h 257455"/>
                <a:gd name="connsiteX29" fmla="*/ 31513 w 255915"/>
                <a:gd name="connsiteY29" fmla="*/ 224917 h 257455"/>
                <a:gd name="connsiteX30" fmla="*/ 57734 w 255915"/>
                <a:gd name="connsiteY30" fmla="*/ 244637 h 257455"/>
                <a:gd name="connsiteX31" fmla="*/ 70520 w 255915"/>
                <a:gd name="connsiteY31" fmla="*/ 256168 h 257455"/>
                <a:gd name="connsiteX32" fmla="*/ 89110 w 255915"/>
                <a:gd name="connsiteY32" fmla="*/ 254397 h 257455"/>
                <a:gd name="connsiteX33" fmla="*/ 55583 w 255915"/>
                <a:gd name="connsiteY33" fmla="*/ 228259 h 257455"/>
                <a:gd name="connsiteX34" fmla="*/ 51524 w 255915"/>
                <a:gd name="connsiteY34" fmla="*/ 198178 h 257455"/>
                <a:gd name="connsiteX35" fmla="*/ 47465 w 255915"/>
                <a:gd name="connsiteY35" fmla="*/ 185043 h 257455"/>
                <a:gd name="connsiteX36" fmla="*/ 34882 w 255915"/>
                <a:gd name="connsiteY36" fmla="*/ 173578 h 257455"/>
                <a:gd name="connsiteX37" fmla="*/ 55989 w 255915"/>
                <a:gd name="connsiteY37" fmla="*/ 150182 h 257455"/>
                <a:gd name="connsiteX38" fmla="*/ 81479 w 255915"/>
                <a:gd name="connsiteY38" fmla="*/ 130696 h 257455"/>
                <a:gd name="connsiteX39" fmla="*/ 104129 w 255915"/>
                <a:gd name="connsiteY39" fmla="*/ 125381 h 257455"/>
                <a:gd name="connsiteX40" fmla="*/ 117604 w 255915"/>
                <a:gd name="connsiteY40" fmla="*/ 144299 h 257455"/>
                <a:gd name="connsiteX41" fmla="*/ 150076 w 255915"/>
                <a:gd name="connsiteY41" fmla="*/ 166091 h 257455"/>
                <a:gd name="connsiteX42" fmla="*/ 152958 w 255915"/>
                <a:gd name="connsiteY42" fmla="*/ 152087 h 25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5915" h="257455">
                  <a:moveTo>
                    <a:pt x="152958" y="152087"/>
                  </a:moveTo>
                  <a:cubicBezTo>
                    <a:pt x="154947" y="148109"/>
                    <a:pt x="148899" y="142428"/>
                    <a:pt x="153648" y="139486"/>
                  </a:cubicBezTo>
                  <a:cubicBezTo>
                    <a:pt x="160711" y="135308"/>
                    <a:pt x="174592" y="134239"/>
                    <a:pt x="185308" y="135108"/>
                  </a:cubicBezTo>
                  <a:cubicBezTo>
                    <a:pt x="196024" y="135977"/>
                    <a:pt x="202681" y="140756"/>
                    <a:pt x="212625" y="143497"/>
                  </a:cubicBezTo>
                  <a:cubicBezTo>
                    <a:pt x="225776" y="147140"/>
                    <a:pt x="232920" y="148143"/>
                    <a:pt x="241565" y="155931"/>
                  </a:cubicBezTo>
                  <a:cubicBezTo>
                    <a:pt x="258329" y="152221"/>
                    <a:pt x="261860" y="125849"/>
                    <a:pt x="243960" y="116056"/>
                  </a:cubicBezTo>
                  <a:cubicBezTo>
                    <a:pt x="238643" y="113115"/>
                    <a:pt x="246842" y="107232"/>
                    <a:pt x="248506" y="105494"/>
                  </a:cubicBezTo>
                  <a:cubicBezTo>
                    <a:pt x="255366" y="98275"/>
                    <a:pt x="249034" y="96136"/>
                    <a:pt x="242824" y="87446"/>
                  </a:cubicBezTo>
                  <a:cubicBezTo>
                    <a:pt x="237750" y="80393"/>
                    <a:pt x="236127" y="74343"/>
                    <a:pt x="223544" y="70734"/>
                  </a:cubicBezTo>
                  <a:cubicBezTo>
                    <a:pt x="212341" y="67392"/>
                    <a:pt x="205116" y="73742"/>
                    <a:pt x="194400" y="69096"/>
                  </a:cubicBezTo>
                  <a:cubicBezTo>
                    <a:pt x="189529" y="66957"/>
                    <a:pt x="189976" y="63648"/>
                    <a:pt x="184253" y="61743"/>
                  </a:cubicBezTo>
                  <a:cubicBezTo>
                    <a:pt x="177799" y="60098"/>
                    <a:pt x="170939" y="59868"/>
                    <a:pt x="164363" y="61074"/>
                  </a:cubicBezTo>
                  <a:cubicBezTo>
                    <a:pt x="158722" y="61643"/>
                    <a:pt x="135423" y="63347"/>
                    <a:pt x="144068" y="54657"/>
                  </a:cubicBezTo>
                  <a:cubicBezTo>
                    <a:pt x="148127" y="50680"/>
                    <a:pt x="183319" y="31027"/>
                    <a:pt x="158234" y="25779"/>
                  </a:cubicBezTo>
                  <a:cubicBezTo>
                    <a:pt x="147194" y="23506"/>
                    <a:pt x="148087" y="19094"/>
                    <a:pt x="151050" y="13747"/>
                  </a:cubicBezTo>
                  <a:cubicBezTo>
                    <a:pt x="152471" y="11206"/>
                    <a:pt x="153770" y="9468"/>
                    <a:pt x="151050" y="6460"/>
                  </a:cubicBezTo>
                  <a:cubicBezTo>
                    <a:pt x="146626" y="1146"/>
                    <a:pt x="145815" y="4789"/>
                    <a:pt x="139726" y="4956"/>
                  </a:cubicBezTo>
                  <a:cubicBezTo>
                    <a:pt x="121825" y="5698"/>
                    <a:pt x="103885" y="4107"/>
                    <a:pt x="86553" y="243"/>
                  </a:cubicBezTo>
                  <a:cubicBezTo>
                    <a:pt x="67759" y="-3968"/>
                    <a:pt x="60778" y="15786"/>
                    <a:pt x="55908" y="23640"/>
                  </a:cubicBezTo>
                  <a:cubicBezTo>
                    <a:pt x="50022" y="32999"/>
                    <a:pt x="72996" y="43694"/>
                    <a:pt x="68694" y="53220"/>
                  </a:cubicBezTo>
                  <a:cubicBezTo>
                    <a:pt x="66785" y="57498"/>
                    <a:pt x="76812" y="63247"/>
                    <a:pt x="68085" y="65787"/>
                  </a:cubicBezTo>
                  <a:cubicBezTo>
                    <a:pt x="61915" y="67492"/>
                    <a:pt x="63214" y="74577"/>
                    <a:pt x="55583" y="75547"/>
                  </a:cubicBezTo>
                  <a:cubicBezTo>
                    <a:pt x="46410" y="76750"/>
                    <a:pt x="50996" y="86644"/>
                    <a:pt x="53878" y="91089"/>
                  </a:cubicBezTo>
                  <a:cubicBezTo>
                    <a:pt x="60170" y="100615"/>
                    <a:pt x="64229" y="106764"/>
                    <a:pt x="60495" y="115789"/>
                  </a:cubicBezTo>
                  <a:cubicBezTo>
                    <a:pt x="57978" y="121772"/>
                    <a:pt x="64918" y="127755"/>
                    <a:pt x="62240" y="133303"/>
                  </a:cubicBezTo>
                  <a:cubicBezTo>
                    <a:pt x="61103" y="136177"/>
                    <a:pt x="55259" y="139118"/>
                    <a:pt x="52458" y="141191"/>
                  </a:cubicBezTo>
                  <a:cubicBezTo>
                    <a:pt x="42189" y="148778"/>
                    <a:pt x="27008" y="151218"/>
                    <a:pt x="20229" y="159039"/>
                  </a:cubicBezTo>
                  <a:cubicBezTo>
                    <a:pt x="14181" y="166091"/>
                    <a:pt x="6226" y="172642"/>
                    <a:pt x="949" y="180029"/>
                  </a:cubicBezTo>
                  <a:cubicBezTo>
                    <a:pt x="-3475" y="186246"/>
                    <a:pt x="7769" y="190357"/>
                    <a:pt x="13126" y="196741"/>
                  </a:cubicBezTo>
                  <a:cubicBezTo>
                    <a:pt x="20757" y="205421"/>
                    <a:pt x="26927" y="214896"/>
                    <a:pt x="31513" y="224917"/>
                  </a:cubicBezTo>
                  <a:cubicBezTo>
                    <a:pt x="35369" y="234309"/>
                    <a:pt x="55137" y="234075"/>
                    <a:pt x="57734" y="244637"/>
                  </a:cubicBezTo>
                  <a:cubicBezTo>
                    <a:pt x="59439" y="251589"/>
                    <a:pt x="57734" y="252458"/>
                    <a:pt x="70520" y="256168"/>
                  </a:cubicBezTo>
                  <a:cubicBezTo>
                    <a:pt x="82007" y="259510"/>
                    <a:pt x="78354" y="252826"/>
                    <a:pt x="89110" y="254397"/>
                  </a:cubicBezTo>
                  <a:cubicBezTo>
                    <a:pt x="82900" y="242130"/>
                    <a:pt x="64310" y="238186"/>
                    <a:pt x="55583" y="228259"/>
                  </a:cubicBezTo>
                  <a:cubicBezTo>
                    <a:pt x="46207" y="217631"/>
                    <a:pt x="56070" y="208706"/>
                    <a:pt x="51524" y="198178"/>
                  </a:cubicBezTo>
                  <a:cubicBezTo>
                    <a:pt x="49535" y="193766"/>
                    <a:pt x="52701" y="188987"/>
                    <a:pt x="47465" y="185043"/>
                  </a:cubicBezTo>
                  <a:cubicBezTo>
                    <a:pt x="42229" y="181098"/>
                    <a:pt x="33746" y="178358"/>
                    <a:pt x="34882" y="173578"/>
                  </a:cubicBezTo>
                  <a:cubicBezTo>
                    <a:pt x="36790" y="165356"/>
                    <a:pt x="48155" y="156031"/>
                    <a:pt x="55989" y="150182"/>
                  </a:cubicBezTo>
                  <a:cubicBezTo>
                    <a:pt x="63822" y="144332"/>
                    <a:pt x="76284" y="138651"/>
                    <a:pt x="81479" y="130696"/>
                  </a:cubicBezTo>
                  <a:cubicBezTo>
                    <a:pt x="85091" y="125281"/>
                    <a:pt x="88176" y="115956"/>
                    <a:pt x="104129" y="125381"/>
                  </a:cubicBezTo>
                  <a:cubicBezTo>
                    <a:pt x="113951" y="131231"/>
                    <a:pt x="102667" y="138550"/>
                    <a:pt x="117604" y="144299"/>
                  </a:cubicBezTo>
                  <a:cubicBezTo>
                    <a:pt x="134612" y="150984"/>
                    <a:pt x="137046" y="157234"/>
                    <a:pt x="150076" y="166091"/>
                  </a:cubicBezTo>
                  <a:cubicBezTo>
                    <a:pt x="154947" y="161613"/>
                    <a:pt x="150523" y="157167"/>
                    <a:pt x="152958" y="1520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1F678A35-8A5F-4127-B1D4-FB9046BA6AD0}"/>
                </a:ext>
              </a:extLst>
            </p:cNvPr>
            <p:cNvSpPr/>
            <p:nvPr/>
          </p:nvSpPr>
          <p:spPr>
            <a:xfrm>
              <a:off x="6228729" y="3797783"/>
              <a:ext cx="311866" cy="137635"/>
            </a:xfrm>
            <a:custGeom>
              <a:avLst/>
              <a:gdLst>
                <a:gd name="connsiteX0" fmla="*/ 3593 w 311866"/>
                <a:gd name="connsiteY0" fmla="*/ 24726 h 137635"/>
                <a:gd name="connsiteX1" fmla="*/ 710 w 311866"/>
                <a:gd name="connsiteY1" fmla="*/ 47755 h 137635"/>
                <a:gd name="connsiteX2" fmla="*/ 16946 w 311866"/>
                <a:gd name="connsiteY2" fmla="*/ 71352 h 137635"/>
                <a:gd name="connsiteX3" fmla="*/ 43695 w 311866"/>
                <a:gd name="connsiteY3" fmla="*/ 94214 h 137635"/>
                <a:gd name="connsiteX4" fmla="*/ 63990 w 311866"/>
                <a:gd name="connsiteY4" fmla="*/ 100899 h 137635"/>
                <a:gd name="connsiteX5" fmla="*/ 79455 w 311866"/>
                <a:gd name="connsiteY5" fmla="*/ 108152 h 137635"/>
                <a:gd name="connsiteX6" fmla="*/ 87329 w 311866"/>
                <a:gd name="connsiteY6" fmla="*/ 104809 h 137635"/>
                <a:gd name="connsiteX7" fmla="*/ 101008 w 311866"/>
                <a:gd name="connsiteY7" fmla="*/ 105578 h 137635"/>
                <a:gd name="connsiteX8" fmla="*/ 112576 w 311866"/>
                <a:gd name="connsiteY8" fmla="*/ 113199 h 137635"/>
                <a:gd name="connsiteX9" fmla="*/ 134697 w 311866"/>
                <a:gd name="connsiteY9" fmla="*/ 117377 h 137635"/>
                <a:gd name="connsiteX10" fmla="*/ 156575 w 311866"/>
                <a:gd name="connsiteY10" fmla="*/ 125766 h 137635"/>
                <a:gd name="connsiteX11" fmla="*/ 178331 w 311866"/>
                <a:gd name="connsiteY11" fmla="*/ 127738 h 137635"/>
                <a:gd name="connsiteX12" fmla="*/ 205323 w 311866"/>
                <a:gd name="connsiteY12" fmla="*/ 128306 h 137635"/>
                <a:gd name="connsiteX13" fmla="*/ 235441 w 311866"/>
                <a:gd name="connsiteY13" fmla="*/ 131180 h 137635"/>
                <a:gd name="connsiteX14" fmla="*/ 265640 w 311866"/>
                <a:gd name="connsiteY14" fmla="*/ 137297 h 137635"/>
                <a:gd name="connsiteX15" fmla="*/ 268684 w 311866"/>
                <a:gd name="connsiteY15" fmla="*/ 123694 h 137635"/>
                <a:gd name="connsiteX16" fmla="*/ 296529 w 311866"/>
                <a:gd name="connsiteY16" fmla="*/ 111060 h 137635"/>
                <a:gd name="connsiteX17" fmla="*/ 309274 w 311866"/>
                <a:gd name="connsiteY17" fmla="*/ 98292 h 137635"/>
                <a:gd name="connsiteX18" fmla="*/ 296772 w 311866"/>
                <a:gd name="connsiteY18" fmla="*/ 79541 h 137635"/>
                <a:gd name="connsiteX19" fmla="*/ 297543 w 311866"/>
                <a:gd name="connsiteY19" fmla="*/ 70650 h 137635"/>
                <a:gd name="connsiteX20" fmla="*/ 287680 w 311866"/>
                <a:gd name="connsiteY20" fmla="*/ 63966 h 137635"/>
                <a:gd name="connsiteX21" fmla="*/ 311790 w 311866"/>
                <a:gd name="connsiteY21" fmla="*/ 49326 h 137635"/>
                <a:gd name="connsiteX22" fmla="*/ 306879 w 311866"/>
                <a:gd name="connsiteY22" fmla="*/ 41305 h 137635"/>
                <a:gd name="connsiteX23" fmla="*/ 302536 w 311866"/>
                <a:gd name="connsiteY23" fmla="*/ 26030 h 137635"/>
                <a:gd name="connsiteX24" fmla="*/ 275990 w 311866"/>
                <a:gd name="connsiteY24" fmla="*/ 16905 h 137635"/>
                <a:gd name="connsiteX25" fmla="*/ 193674 w 311866"/>
                <a:gd name="connsiteY25" fmla="*/ 12560 h 137635"/>
                <a:gd name="connsiteX26" fmla="*/ 182106 w 311866"/>
                <a:gd name="connsiteY26" fmla="*/ 10388 h 137635"/>
                <a:gd name="connsiteX27" fmla="*/ 162136 w 311866"/>
                <a:gd name="connsiteY27" fmla="*/ 12126 h 137635"/>
                <a:gd name="connsiteX28" fmla="*/ 137782 w 311866"/>
                <a:gd name="connsiteY28" fmla="*/ 1029 h 137635"/>
                <a:gd name="connsiteX29" fmla="*/ 68779 w 311866"/>
                <a:gd name="connsiteY29" fmla="*/ 9118 h 137635"/>
                <a:gd name="connsiteX30" fmla="*/ 27419 w 311866"/>
                <a:gd name="connsiteY30" fmla="*/ 16270 h 137635"/>
                <a:gd name="connsiteX31" fmla="*/ 3511 w 311866"/>
                <a:gd name="connsiteY31" fmla="*/ 22621 h 137635"/>
                <a:gd name="connsiteX32" fmla="*/ 3511 w 311866"/>
                <a:gd name="connsiteY32" fmla="*/ 24693 h 137635"/>
                <a:gd name="connsiteX33" fmla="*/ 3593 w 311866"/>
                <a:gd name="connsiteY33" fmla="*/ 24726 h 13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11866" h="137635">
                  <a:moveTo>
                    <a:pt x="3593" y="24726"/>
                  </a:moveTo>
                  <a:cubicBezTo>
                    <a:pt x="7367" y="30041"/>
                    <a:pt x="-2862" y="45549"/>
                    <a:pt x="710" y="47755"/>
                  </a:cubicBezTo>
                  <a:cubicBezTo>
                    <a:pt x="12644" y="55209"/>
                    <a:pt x="14024" y="61659"/>
                    <a:pt x="16946" y="71352"/>
                  </a:cubicBezTo>
                  <a:cubicBezTo>
                    <a:pt x="19869" y="81045"/>
                    <a:pt x="25430" y="90571"/>
                    <a:pt x="43695" y="94214"/>
                  </a:cubicBezTo>
                  <a:cubicBezTo>
                    <a:pt x="50352" y="95584"/>
                    <a:pt x="60256" y="97323"/>
                    <a:pt x="63990" y="100899"/>
                  </a:cubicBezTo>
                  <a:cubicBezTo>
                    <a:pt x="67074" y="103706"/>
                    <a:pt x="70809" y="109054"/>
                    <a:pt x="79455" y="108152"/>
                  </a:cubicBezTo>
                  <a:lnTo>
                    <a:pt x="87329" y="104809"/>
                  </a:lnTo>
                  <a:cubicBezTo>
                    <a:pt x="91915" y="104813"/>
                    <a:pt x="96462" y="105070"/>
                    <a:pt x="101008" y="105578"/>
                  </a:cubicBezTo>
                  <a:cubicBezTo>
                    <a:pt x="110708" y="105812"/>
                    <a:pt x="105473" y="112029"/>
                    <a:pt x="112576" y="113199"/>
                  </a:cubicBezTo>
                  <a:cubicBezTo>
                    <a:pt x="119679" y="114368"/>
                    <a:pt x="129786" y="113199"/>
                    <a:pt x="134697" y="117377"/>
                  </a:cubicBezTo>
                  <a:cubicBezTo>
                    <a:pt x="139608" y="121555"/>
                    <a:pt x="143992" y="128406"/>
                    <a:pt x="156575" y="125766"/>
                  </a:cubicBezTo>
                  <a:cubicBezTo>
                    <a:pt x="164937" y="124028"/>
                    <a:pt x="169929" y="126835"/>
                    <a:pt x="178331" y="127738"/>
                  </a:cubicBezTo>
                  <a:cubicBezTo>
                    <a:pt x="187667" y="128774"/>
                    <a:pt x="196272" y="126668"/>
                    <a:pt x="205323" y="128306"/>
                  </a:cubicBezTo>
                  <a:cubicBezTo>
                    <a:pt x="215227" y="130144"/>
                    <a:pt x="225618" y="129476"/>
                    <a:pt x="235441" y="131180"/>
                  </a:cubicBezTo>
                  <a:cubicBezTo>
                    <a:pt x="246197" y="133019"/>
                    <a:pt x="254194" y="135960"/>
                    <a:pt x="265640" y="137297"/>
                  </a:cubicBezTo>
                  <a:cubicBezTo>
                    <a:pt x="270348" y="132718"/>
                    <a:pt x="260729" y="127738"/>
                    <a:pt x="268684" y="123694"/>
                  </a:cubicBezTo>
                  <a:cubicBezTo>
                    <a:pt x="277533" y="119248"/>
                    <a:pt x="288005" y="115672"/>
                    <a:pt x="296529" y="111060"/>
                  </a:cubicBezTo>
                  <a:cubicBezTo>
                    <a:pt x="305946" y="105979"/>
                    <a:pt x="316255" y="107082"/>
                    <a:pt x="309274" y="98292"/>
                  </a:cubicBezTo>
                  <a:cubicBezTo>
                    <a:pt x="303835" y="91607"/>
                    <a:pt x="296772" y="87128"/>
                    <a:pt x="296772" y="79541"/>
                  </a:cubicBezTo>
                  <a:cubicBezTo>
                    <a:pt x="296772" y="77268"/>
                    <a:pt x="299898" y="72856"/>
                    <a:pt x="297543" y="70650"/>
                  </a:cubicBezTo>
                  <a:cubicBezTo>
                    <a:pt x="295189" y="68444"/>
                    <a:pt x="287558" y="66573"/>
                    <a:pt x="287680" y="63966"/>
                  </a:cubicBezTo>
                  <a:cubicBezTo>
                    <a:pt x="288167" y="56412"/>
                    <a:pt x="312521" y="58651"/>
                    <a:pt x="311790" y="49326"/>
                  </a:cubicBezTo>
                  <a:cubicBezTo>
                    <a:pt x="311831" y="46154"/>
                    <a:pt x="310005" y="43163"/>
                    <a:pt x="306879" y="41305"/>
                  </a:cubicBezTo>
                  <a:cubicBezTo>
                    <a:pt x="296001" y="35823"/>
                    <a:pt x="306270" y="31578"/>
                    <a:pt x="302536" y="26030"/>
                  </a:cubicBezTo>
                  <a:cubicBezTo>
                    <a:pt x="298802" y="20482"/>
                    <a:pt x="277695" y="20248"/>
                    <a:pt x="275990" y="16905"/>
                  </a:cubicBezTo>
                  <a:cubicBezTo>
                    <a:pt x="249728" y="18309"/>
                    <a:pt x="219652" y="15401"/>
                    <a:pt x="193674" y="12560"/>
                  </a:cubicBezTo>
                  <a:cubicBezTo>
                    <a:pt x="189778" y="12045"/>
                    <a:pt x="185881" y="11320"/>
                    <a:pt x="182106" y="10388"/>
                  </a:cubicBezTo>
                  <a:cubicBezTo>
                    <a:pt x="166398" y="7045"/>
                    <a:pt x="174962" y="10154"/>
                    <a:pt x="162136" y="12126"/>
                  </a:cubicBezTo>
                  <a:cubicBezTo>
                    <a:pt x="137295" y="15936"/>
                    <a:pt x="147889" y="4071"/>
                    <a:pt x="137782" y="1029"/>
                  </a:cubicBezTo>
                  <a:cubicBezTo>
                    <a:pt x="122277" y="-3617"/>
                    <a:pt x="81362" y="4706"/>
                    <a:pt x="68779" y="9118"/>
                  </a:cubicBezTo>
                  <a:cubicBezTo>
                    <a:pt x="55628" y="13570"/>
                    <a:pt x="41625" y="15996"/>
                    <a:pt x="27419" y="16270"/>
                  </a:cubicBezTo>
                  <a:cubicBezTo>
                    <a:pt x="20356" y="16638"/>
                    <a:pt x="6230" y="23323"/>
                    <a:pt x="3511" y="22621"/>
                  </a:cubicBezTo>
                  <a:cubicBezTo>
                    <a:pt x="3511" y="23323"/>
                    <a:pt x="3511" y="23991"/>
                    <a:pt x="3511" y="24693"/>
                  </a:cubicBezTo>
                  <a:cubicBezTo>
                    <a:pt x="5784" y="27768"/>
                    <a:pt x="3186" y="24125"/>
                    <a:pt x="3593" y="2472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333B102E-54E0-4647-A8CE-708E93D27559}"/>
                </a:ext>
              </a:extLst>
            </p:cNvPr>
            <p:cNvSpPr/>
            <p:nvPr/>
          </p:nvSpPr>
          <p:spPr>
            <a:xfrm>
              <a:off x="6270368" y="4014879"/>
              <a:ext cx="113999" cy="58813"/>
            </a:xfrm>
            <a:custGeom>
              <a:avLst/>
              <a:gdLst>
                <a:gd name="connsiteX0" fmla="*/ 83642 w 113999"/>
                <a:gd name="connsiteY0" fmla="*/ 53194 h 58813"/>
                <a:gd name="connsiteX1" fmla="*/ 100771 w 113999"/>
                <a:gd name="connsiteY1" fmla="*/ 38120 h 58813"/>
                <a:gd name="connsiteX2" fmla="*/ 113841 w 113999"/>
                <a:gd name="connsiteY2" fmla="*/ 22879 h 58813"/>
                <a:gd name="connsiteX3" fmla="*/ 84778 w 113999"/>
                <a:gd name="connsiteY3" fmla="*/ 3694 h 58813"/>
                <a:gd name="connsiteX4" fmla="*/ 47030 w 113999"/>
                <a:gd name="connsiteY4" fmla="*/ 1321 h 58813"/>
                <a:gd name="connsiteX5" fmla="*/ 34853 w 113999"/>
                <a:gd name="connsiteY5" fmla="*/ -50 h 58813"/>
                <a:gd name="connsiteX6" fmla="*/ 14071 w 113999"/>
                <a:gd name="connsiteY6" fmla="*/ 1822 h 58813"/>
                <a:gd name="connsiteX7" fmla="*/ 1894 w 113999"/>
                <a:gd name="connsiteY7" fmla="*/ 8239 h 58813"/>
                <a:gd name="connsiteX8" fmla="*/ 14518 w 113999"/>
                <a:gd name="connsiteY8" fmla="*/ 17999 h 58813"/>
                <a:gd name="connsiteX9" fmla="*/ 40373 w 113999"/>
                <a:gd name="connsiteY9" fmla="*/ 35446 h 58813"/>
                <a:gd name="connsiteX10" fmla="*/ 82262 w 113999"/>
                <a:gd name="connsiteY10" fmla="*/ 58475 h 58813"/>
                <a:gd name="connsiteX11" fmla="*/ 83804 w 113999"/>
                <a:gd name="connsiteY11" fmla="*/ 53194 h 58813"/>
                <a:gd name="connsiteX12" fmla="*/ 83642 w 113999"/>
                <a:gd name="connsiteY12" fmla="*/ 53194 h 5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99" h="58813">
                  <a:moveTo>
                    <a:pt x="83642" y="53194"/>
                  </a:moveTo>
                  <a:cubicBezTo>
                    <a:pt x="82100" y="48548"/>
                    <a:pt x="95575" y="41128"/>
                    <a:pt x="100771" y="38120"/>
                  </a:cubicBezTo>
                  <a:cubicBezTo>
                    <a:pt x="110228" y="32605"/>
                    <a:pt x="112948" y="31603"/>
                    <a:pt x="113841" y="22879"/>
                  </a:cubicBezTo>
                  <a:cubicBezTo>
                    <a:pt x="115018" y="11782"/>
                    <a:pt x="105723" y="6869"/>
                    <a:pt x="84778" y="3694"/>
                  </a:cubicBezTo>
                  <a:cubicBezTo>
                    <a:pt x="73008" y="1922"/>
                    <a:pt x="59126" y="2290"/>
                    <a:pt x="47030" y="1321"/>
                  </a:cubicBezTo>
                  <a:cubicBezTo>
                    <a:pt x="42931" y="1120"/>
                    <a:pt x="38872" y="662"/>
                    <a:pt x="34853" y="-50"/>
                  </a:cubicBezTo>
                  <a:cubicBezTo>
                    <a:pt x="27506" y="-1754"/>
                    <a:pt x="20931" y="4763"/>
                    <a:pt x="14071" y="1822"/>
                  </a:cubicBezTo>
                  <a:cubicBezTo>
                    <a:pt x="5953" y="-1721"/>
                    <a:pt x="-4438" y="4162"/>
                    <a:pt x="1894" y="8239"/>
                  </a:cubicBezTo>
                  <a:cubicBezTo>
                    <a:pt x="6522" y="11314"/>
                    <a:pt x="14640" y="13520"/>
                    <a:pt x="14518" y="17999"/>
                  </a:cubicBezTo>
                  <a:cubicBezTo>
                    <a:pt x="14518" y="25152"/>
                    <a:pt x="42038" y="29463"/>
                    <a:pt x="40373" y="35446"/>
                  </a:cubicBezTo>
                  <a:cubicBezTo>
                    <a:pt x="38994" y="40861"/>
                    <a:pt x="75606" y="55500"/>
                    <a:pt x="82262" y="58475"/>
                  </a:cubicBezTo>
                  <a:cubicBezTo>
                    <a:pt x="83277" y="56841"/>
                    <a:pt x="83804" y="55029"/>
                    <a:pt x="83804" y="53194"/>
                  </a:cubicBezTo>
                  <a:cubicBezTo>
                    <a:pt x="82506" y="49785"/>
                    <a:pt x="83926" y="54097"/>
                    <a:pt x="83642" y="5319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61CF9893-D6A3-43A1-922F-CE96DE826CFB}"/>
                </a:ext>
              </a:extLst>
            </p:cNvPr>
            <p:cNvSpPr/>
            <p:nvPr/>
          </p:nvSpPr>
          <p:spPr>
            <a:xfrm>
              <a:off x="6211771" y="3988098"/>
              <a:ext cx="172294" cy="78776"/>
            </a:xfrm>
            <a:custGeom>
              <a:avLst/>
              <a:gdLst>
                <a:gd name="connsiteX0" fmla="*/ 98970 w 172294"/>
                <a:gd name="connsiteY0" fmla="*/ 62327 h 78776"/>
                <a:gd name="connsiteX1" fmla="*/ 86306 w 172294"/>
                <a:gd name="connsiteY1" fmla="*/ 54606 h 78776"/>
                <a:gd name="connsiteX2" fmla="*/ 71775 w 172294"/>
                <a:gd name="connsiteY2" fmla="*/ 41839 h 78776"/>
                <a:gd name="connsiteX3" fmla="*/ 58421 w 172294"/>
                <a:gd name="connsiteY3" fmla="*/ 32981 h 78776"/>
                <a:gd name="connsiteX4" fmla="*/ 82775 w 172294"/>
                <a:gd name="connsiteY4" fmla="*/ 28169 h 78776"/>
                <a:gd name="connsiteX5" fmla="*/ 130183 w 172294"/>
                <a:gd name="connsiteY5" fmla="*/ 29840 h 78776"/>
                <a:gd name="connsiteX6" fmla="*/ 172235 w 172294"/>
                <a:gd name="connsiteY6" fmla="*/ 39131 h 78776"/>
                <a:gd name="connsiteX7" fmla="*/ 166430 w 172294"/>
                <a:gd name="connsiteY7" fmla="*/ 25194 h 78776"/>
                <a:gd name="connsiteX8" fmla="*/ 153035 w 172294"/>
                <a:gd name="connsiteY8" fmla="*/ 12426 h 78776"/>
                <a:gd name="connsiteX9" fmla="*/ 112730 w 172294"/>
                <a:gd name="connsiteY9" fmla="*/ 11156 h 78776"/>
                <a:gd name="connsiteX10" fmla="*/ 72911 w 172294"/>
                <a:gd name="connsiteY10" fmla="*/ 1697 h 78776"/>
                <a:gd name="connsiteX11" fmla="*/ 49004 w 172294"/>
                <a:gd name="connsiteY11" fmla="*/ 14097 h 78776"/>
                <a:gd name="connsiteX12" fmla="*/ 34148 w 172294"/>
                <a:gd name="connsiteY12" fmla="*/ 20247 h 78776"/>
                <a:gd name="connsiteX13" fmla="*/ 11986 w 172294"/>
                <a:gd name="connsiteY13" fmla="*/ 20648 h 78776"/>
                <a:gd name="connsiteX14" fmla="*/ 17668 w 172294"/>
                <a:gd name="connsiteY14" fmla="*/ 29205 h 78776"/>
                <a:gd name="connsiteX15" fmla="*/ 43524 w 172294"/>
                <a:gd name="connsiteY15" fmla="*/ 48991 h 78776"/>
                <a:gd name="connsiteX16" fmla="*/ 58177 w 172294"/>
                <a:gd name="connsiteY16" fmla="*/ 59018 h 78776"/>
                <a:gd name="connsiteX17" fmla="*/ 81435 w 172294"/>
                <a:gd name="connsiteY17" fmla="*/ 64968 h 78776"/>
                <a:gd name="connsiteX18" fmla="*/ 95520 w 172294"/>
                <a:gd name="connsiteY18" fmla="*/ 72956 h 78776"/>
                <a:gd name="connsiteX19" fmla="*/ 124460 w 172294"/>
                <a:gd name="connsiteY19" fmla="*/ 78438 h 78776"/>
                <a:gd name="connsiteX20" fmla="*/ 98807 w 172294"/>
                <a:gd name="connsiteY20" fmla="*/ 62294 h 78776"/>
                <a:gd name="connsiteX21" fmla="*/ 98970 w 172294"/>
                <a:gd name="connsiteY21" fmla="*/ 62327 h 7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294" h="78776">
                  <a:moveTo>
                    <a:pt x="98970" y="62327"/>
                  </a:moveTo>
                  <a:cubicBezTo>
                    <a:pt x="99660" y="59854"/>
                    <a:pt x="89026" y="55943"/>
                    <a:pt x="86306" y="54606"/>
                  </a:cubicBezTo>
                  <a:cubicBezTo>
                    <a:pt x="77376" y="50161"/>
                    <a:pt x="76727" y="47120"/>
                    <a:pt x="71775" y="41839"/>
                  </a:cubicBezTo>
                  <a:cubicBezTo>
                    <a:pt x="68731" y="38496"/>
                    <a:pt x="59598" y="36658"/>
                    <a:pt x="58421" y="32981"/>
                  </a:cubicBezTo>
                  <a:cubicBezTo>
                    <a:pt x="55580" y="24960"/>
                    <a:pt x="76524" y="30040"/>
                    <a:pt x="82775" y="28169"/>
                  </a:cubicBezTo>
                  <a:cubicBezTo>
                    <a:pt x="94627" y="24826"/>
                    <a:pt x="116951" y="29071"/>
                    <a:pt x="130183" y="29840"/>
                  </a:cubicBezTo>
                  <a:cubicBezTo>
                    <a:pt x="144837" y="30481"/>
                    <a:pt x="159164" y="33647"/>
                    <a:pt x="172235" y="39131"/>
                  </a:cubicBezTo>
                  <a:cubicBezTo>
                    <a:pt x="171585" y="35488"/>
                    <a:pt x="170286" y="28336"/>
                    <a:pt x="166430" y="25194"/>
                  </a:cubicBezTo>
                  <a:cubicBezTo>
                    <a:pt x="159895" y="19913"/>
                    <a:pt x="154253" y="19813"/>
                    <a:pt x="153035" y="12426"/>
                  </a:cubicBezTo>
                  <a:cubicBezTo>
                    <a:pt x="140006" y="14164"/>
                    <a:pt x="125029" y="15568"/>
                    <a:pt x="112730" y="11156"/>
                  </a:cubicBezTo>
                  <a:cubicBezTo>
                    <a:pt x="97590" y="5708"/>
                    <a:pt x="90527" y="-4754"/>
                    <a:pt x="72911" y="1697"/>
                  </a:cubicBezTo>
                  <a:cubicBezTo>
                    <a:pt x="61424" y="5908"/>
                    <a:pt x="58015" y="9251"/>
                    <a:pt x="49004" y="14097"/>
                  </a:cubicBezTo>
                  <a:cubicBezTo>
                    <a:pt x="42550" y="17439"/>
                    <a:pt x="45229" y="21784"/>
                    <a:pt x="34148" y="20247"/>
                  </a:cubicBezTo>
                  <a:cubicBezTo>
                    <a:pt x="26761" y="19442"/>
                    <a:pt x="19292" y="19579"/>
                    <a:pt x="11986" y="20648"/>
                  </a:cubicBezTo>
                  <a:cubicBezTo>
                    <a:pt x="-10460" y="22520"/>
                    <a:pt x="2610" y="28035"/>
                    <a:pt x="17668" y="29205"/>
                  </a:cubicBezTo>
                  <a:cubicBezTo>
                    <a:pt x="31834" y="30341"/>
                    <a:pt x="35772" y="43109"/>
                    <a:pt x="43524" y="48991"/>
                  </a:cubicBezTo>
                  <a:cubicBezTo>
                    <a:pt x="48192" y="52534"/>
                    <a:pt x="53103" y="55880"/>
                    <a:pt x="58177" y="59018"/>
                  </a:cubicBezTo>
                  <a:cubicBezTo>
                    <a:pt x="64347" y="62862"/>
                    <a:pt x="74413" y="62361"/>
                    <a:pt x="81435" y="64968"/>
                  </a:cubicBezTo>
                  <a:cubicBezTo>
                    <a:pt x="87564" y="67307"/>
                    <a:pt x="86996" y="70884"/>
                    <a:pt x="95520" y="72956"/>
                  </a:cubicBezTo>
                  <a:cubicBezTo>
                    <a:pt x="105342" y="75329"/>
                    <a:pt x="115165" y="75095"/>
                    <a:pt x="124460" y="78438"/>
                  </a:cubicBezTo>
                  <a:cubicBezTo>
                    <a:pt x="120726" y="75363"/>
                    <a:pt x="97915" y="65837"/>
                    <a:pt x="98807" y="62294"/>
                  </a:cubicBezTo>
                  <a:cubicBezTo>
                    <a:pt x="99619" y="59252"/>
                    <a:pt x="98280" y="64333"/>
                    <a:pt x="98970" y="6232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6068E60E-0CAC-4C10-BFD5-CF5E979915A7}"/>
                </a:ext>
              </a:extLst>
            </p:cNvPr>
            <p:cNvSpPr/>
            <p:nvPr/>
          </p:nvSpPr>
          <p:spPr>
            <a:xfrm>
              <a:off x="6377195" y="4071988"/>
              <a:ext cx="54753" cy="62869"/>
            </a:xfrm>
            <a:custGeom>
              <a:avLst/>
              <a:gdLst>
                <a:gd name="connsiteX0" fmla="*/ 35629 w 54753"/>
                <a:gd name="connsiteY0" fmla="*/ 53640 h 62869"/>
                <a:gd name="connsiteX1" fmla="*/ 53164 w 54753"/>
                <a:gd name="connsiteY1" fmla="*/ 40739 h 62869"/>
                <a:gd name="connsiteX2" fmla="*/ 40541 w 54753"/>
                <a:gd name="connsiteY2" fmla="*/ 29241 h 62869"/>
                <a:gd name="connsiteX3" fmla="*/ 42529 w 54753"/>
                <a:gd name="connsiteY3" fmla="*/ 8820 h 62869"/>
                <a:gd name="connsiteX4" fmla="*/ 15131 w 54753"/>
                <a:gd name="connsiteY4" fmla="*/ -339 h 62869"/>
                <a:gd name="connsiteX5" fmla="*/ 6080 w 54753"/>
                <a:gd name="connsiteY5" fmla="*/ 3238 h 62869"/>
                <a:gd name="connsiteX6" fmla="*/ 6973 w 54753"/>
                <a:gd name="connsiteY6" fmla="*/ 14134 h 62869"/>
                <a:gd name="connsiteX7" fmla="*/ 763 w 54753"/>
                <a:gd name="connsiteY7" fmla="*/ 29776 h 62869"/>
                <a:gd name="connsiteX8" fmla="*/ 26050 w 54753"/>
                <a:gd name="connsiteY8" fmla="*/ 62531 h 62869"/>
                <a:gd name="connsiteX9" fmla="*/ 35629 w 54753"/>
                <a:gd name="connsiteY9" fmla="*/ 53640 h 6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53" h="62869">
                  <a:moveTo>
                    <a:pt x="35629" y="53640"/>
                  </a:moveTo>
                  <a:cubicBezTo>
                    <a:pt x="40459" y="53273"/>
                    <a:pt x="50810" y="42978"/>
                    <a:pt x="53164" y="40739"/>
                  </a:cubicBezTo>
                  <a:cubicBezTo>
                    <a:pt x="59130" y="35090"/>
                    <a:pt x="46101" y="34054"/>
                    <a:pt x="40541" y="29241"/>
                  </a:cubicBezTo>
                  <a:cubicBezTo>
                    <a:pt x="33843" y="23392"/>
                    <a:pt x="38795" y="14568"/>
                    <a:pt x="42529" y="8820"/>
                  </a:cubicBezTo>
                  <a:cubicBezTo>
                    <a:pt x="35629" y="5911"/>
                    <a:pt x="24305" y="-105"/>
                    <a:pt x="15131" y="-339"/>
                  </a:cubicBezTo>
                  <a:cubicBezTo>
                    <a:pt x="11681" y="-88"/>
                    <a:pt x="8474" y="1182"/>
                    <a:pt x="6080" y="3238"/>
                  </a:cubicBezTo>
                  <a:cubicBezTo>
                    <a:pt x="-1348" y="8686"/>
                    <a:pt x="-2688" y="9922"/>
                    <a:pt x="6973" y="14134"/>
                  </a:cubicBezTo>
                  <a:cubicBezTo>
                    <a:pt x="18135" y="18880"/>
                    <a:pt x="2914" y="24395"/>
                    <a:pt x="763" y="29776"/>
                  </a:cubicBezTo>
                  <a:cubicBezTo>
                    <a:pt x="-3296" y="39803"/>
                    <a:pt x="8069" y="57350"/>
                    <a:pt x="26050" y="62531"/>
                  </a:cubicBezTo>
                  <a:cubicBezTo>
                    <a:pt x="27552" y="60325"/>
                    <a:pt x="29663" y="54075"/>
                    <a:pt x="35629" y="5364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839D6DDB-6F5C-4A44-979C-21B344464262}"/>
                </a:ext>
              </a:extLst>
            </p:cNvPr>
            <p:cNvSpPr/>
            <p:nvPr/>
          </p:nvSpPr>
          <p:spPr>
            <a:xfrm>
              <a:off x="6080322" y="3930777"/>
              <a:ext cx="237694" cy="57088"/>
            </a:xfrm>
            <a:custGeom>
              <a:avLst/>
              <a:gdLst>
                <a:gd name="connsiteX0" fmla="*/ 203062 w 237694"/>
                <a:gd name="connsiteY0" fmla="*/ 5372 h 57088"/>
                <a:gd name="connsiteX1" fmla="*/ 172173 w 237694"/>
                <a:gd name="connsiteY1" fmla="*/ 1228 h 57088"/>
                <a:gd name="connsiteX2" fmla="*/ 138768 w 237694"/>
                <a:gd name="connsiteY2" fmla="*/ 8213 h 57088"/>
                <a:gd name="connsiteX3" fmla="*/ 111613 w 237694"/>
                <a:gd name="connsiteY3" fmla="*/ 17438 h 57088"/>
                <a:gd name="connsiteX4" fmla="*/ 101425 w 237694"/>
                <a:gd name="connsiteY4" fmla="*/ 30808 h 57088"/>
                <a:gd name="connsiteX5" fmla="*/ 65462 w 237694"/>
                <a:gd name="connsiteY5" fmla="*/ 31443 h 57088"/>
                <a:gd name="connsiteX6" fmla="*/ 48374 w 237694"/>
                <a:gd name="connsiteY6" fmla="*/ 34785 h 57088"/>
                <a:gd name="connsiteX7" fmla="*/ 27146 w 237694"/>
                <a:gd name="connsiteY7" fmla="*/ 33114 h 57088"/>
                <a:gd name="connsiteX8" fmla="*/ 14401 w 237694"/>
                <a:gd name="connsiteY8" fmla="*/ 35153 h 57088"/>
                <a:gd name="connsiteX9" fmla="*/ -50 w 237694"/>
                <a:gd name="connsiteY9" fmla="*/ 36724 h 57088"/>
                <a:gd name="connsiteX10" fmla="*/ 31083 w 237694"/>
                <a:gd name="connsiteY10" fmla="*/ 46751 h 57088"/>
                <a:gd name="connsiteX11" fmla="*/ 87909 w 237694"/>
                <a:gd name="connsiteY11" fmla="*/ 48890 h 57088"/>
                <a:gd name="connsiteX12" fmla="*/ 136007 w 237694"/>
                <a:gd name="connsiteY12" fmla="*/ 54472 h 57088"/>
                <a:gd name="connsiteX13" fmla="*/ 159590 w 237694"/>
                <a:gd name="connsiteY13" fmla="*/ 56243 h 57088"/>
                <a:gd name="connsiteX14" fmla="*/ 183944 w 237694"/>
                <a:gd name="connsiteY14" fmla="*/ 51831 h 57088"/>
                <a:gd name="connsiteX15" fmla="*/ 203833 w 237694"/>
                <a:gd name="connsiteY15" fmla="*/ 48790 h 57088"/>
                <a:gd name="connsiteX16" fmla="*/ 211951 w 237694"/>
                <a:gd name="connsiteY16" fmla="*/ 44545 h 57088"/>
                <a:gd name="connsiteX17" fmla="*/ 226523 w 237694"/>
                <a:gd name="connsiteY17" fmla="*/ 30841 h 57088"/>
                <a:gd name="connsiteX18" fmla="*/ 232854 w 237694"/>
                <a:gd name="connsiteY18" fmla="*/ 14530 h 57088"/>
                <a:gd name="connsiteX19" fmla="*/ 226198 w 237694"/>
                <a:gd name="connsiteY19" fmla="*/ 7846 h 57088"/>
                <a:gd name="connsiteX20" fmla="*/ 203102 w 237694"/>
                <a:gd name="connsiteY20" fmla="*/ 5439 h 5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694" h="57088">
                  <a:moveTo>
                    <a:pt x="203062" y="5372"/>
                  </a:moveTo>
                  <a:cubicBezTo>
                    <a:pt x="199003" y="2866"/>
                    <a:pt x="174649" y="-3184"/>
                    <a:pt x="172173" y="1228"/>
                  </a:cubicBezTo>
                  <a:cubicBezTo>
                    <a:pt x="167261" y="10286"/>
                    <a:pt x="155369" y="10720"/>
                    <a:pt x="138768" y="8213"/>
                  </a:cubicBezTo>
                  <a:cubicBezTo>
                    <a:pt x="133694" y="11556"/>
                    <a:pt x="119122" y="15232"/>
                    <a:pt x="111613" y="17438"/>
                  </a:cubicBezTo>
                  <a:cubicBezTo>
                    <a:pt x="101790" y="20313"/>
                    <a:pt x="115672" y="32646"/>
                    <a:pt x="101425" y="30808"/>
                  </a:cubicBezTo>
                  <a:cubicBezTo>
                    <a:pt x="88842" y="29337"/>
                    <a:pt x="78167" y="28435"/>
                    <a:pt x="65462" y="31443"/>
                  </a:cubicBezTo>
                  <a:cubicBezTo>
                    <a:pt x="59211" y="32913"/>
                    <a:pt x="56127" y="35520"/>
                    <a:pt x="48374" y="34785"/>
                  </a:cubicBezTo>
                  <a:cubicBezTo>
                    <a:pt x="40621" y="34050"/>
                    <a:pt x="35061" y="31008"/>
                    <a:pt x="27146" y="33114"/>
                  </a:cubicBezTo>
                  <a:cubicBezTo>
                    <a:pt x="21301" y="34685"/>
                    <a:pt x="21706" y="37693"/>
                    <a:pt x="14401" y="35153"/>
                  </a:cubicBezTo>
                  <a:cubicBezTo>
                    <a:pt x="8312" y="33014"/>
                    <a:pt x="154" y="30741"/>
                    <a:pt x="-50" y="36724"/>
                  </a:cubicBezTo>
                  <a:cubicBezTo>
                    <a:pt x="-537" y="48856"/>
                    <a:pt x="16958" y="43408"/>
                    <a:pt x="31083" y="46751"/>
                  </a:cubicBezTo>
                  <a:cubicBezTo>
                    <a:pt x="51378" y="51230"/>
                    <a:pt x="76746" y="35420"/>
                    <a:pt x="87909" y="48890"/>
                  </a:cubicBezTo>
                  <a:cubicBezTo>
                    <a:pt x="92536" y="54472"/>
                    <a:pt x="125901" y="53201"/>
                    <a:pt x="136007" y="54472"/>
                  </a:cubicBezTo>
                  <a:cubicBezTo>
                    <a:pt x="142705" y="55307"/>
                    <a:pt x="152730" y="57814"/>
                    <a:pt x="159590" y="56243"/>
                  </a:cubicBezTo>
                  <a:cubicBezTo>
                    <a:pt x="167708" y="54438"/>
                    <a:pt x="174568" y="51697"/>
                    <a:pt x="183944" y="51831"/>
                  </a:cubicBezTo>
                  <a:cubicBezTo>
                    <a:pt x="190722" y="51778"/>
                    <a:pt x="197460" y="50748"/>
                    <a:pt x="203833" y="48790"/>
                  </a:cubicBezTo>
                  <a:cubicBezTo>
                    <a:pt x="207445" y="47854"/>
                    <a:pt x="207648" y="44779"/>
                    <a:pt x="211951" y="44545"/>
                  </a:cubicBezTo>
                  <a:cubicBezTo>
                    <a:pt x="223803" y="43910"/>
                    <a:pt x="209718" y="30373"/>
                    <a:pt x="226523" y="30841"/>
                  </a:cubicBezTo>
                  <a:cubicBezTo>
                    <a:pt x="244382" y="31343"/>
                    <a:pt x="236142" y="18541"/>
                    <a:pt x="232854" y="14530"/>
                  </a:cubicBezTo>
                  <a:cubicBezTo>
                    <a:pt x="231678" y="13060"/>
                    <a:pt x="229851" y="7344"/>
                    <a:pt x="226198" y="7846"/>
                  </a:cubicBezTo>
                  <a:cubicBezTo>
                    <a:pt x="218567" y="8915"/>
                    <a:pt x="208826" y="8949"/>
                    <a:pt x="203102" y="54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76B2245A-34C7-41A3-B7BC-3D8C070309CD}"/>
                </a:ext>
              </a:extLst>
            </p:cNvPr>
            <p:cNvSpPr/>
            <p:nvPr/>
          </p:nvSpPr>
          <p:spPr>
            <a:xfrm>
              <a:off x="6289492" y="3943352"/>
              <a:ext cx="206623" cy="58577"/>
            </a:xfrm>
            <a:custGeom>
              <a:avLst/>
              <a:gdLst>
                <a:gd name="connsiteX0" fmla="*/ 203172 w 206623"/>
                <a:gd name="connsiteY0" fmla="*/ 12885 h 58577"/>
                <a:gd name="connsiteX1" fmla="*/ 148255 w 206623"/>
                <a:gd name="connsiteY1" fmla="*/ -117 h 58577"/>
                <a:gd name="connsiteX2" fmla="*/ 114524 w 206623"/>
                <a:gd name="connsiteY2" fmla="*/ 8574 h 58577"/>
                <a:gd name="connsiteX3" fmla="*/ 31194 w 206623"/>
                <a:gd name="connsiteY3" fmla="*/ 9409 h 58577"/>
                <a:gd name="connsiteX4" fmla="*/ 21939 w 206623"/>
                <a:gd name="connsiteY4" fmla="*/ 17966 h 58577"/>
                <a:gd name="connsiteX5" fmla="*/ 9478 w 206623"/>
                <a:gd name="connsiteY5" fmla="*/ 21676 h 58577"/>
                <a:gd name="connsiteX6" fmla="*/ 2050 w 206623"/>
                <a:gd name="connsiteY6" fmla="*/ 39323 h 58577"/>
                <a:gd name="connsiteX7" fmla="*/ 72068 w 206623"/>
                <a:gd name="connsiteY7" fmla="*/ 57505 h 58577"/>
                <a:gd name="connsiteX8" fmla="*/ 109369 w 206623"/>
                <a:gd name="connsiteY8" fmla="*/ 52392 h 58577"/>
                <a:gd name="connsiteX9" fmla="*/ 145535 w 206623"/>
                <a:gd name="connsiteY9" fmla="*/ 52392 h 58577"/>
                <a:gd name="connsiteX10" fmla="*/ 176221 w 206623"/>
                <a:gd name="connsiteY10" fmla="*/ 30132 h 58577"/>
                <a:gd name="connsiteX11" fmla="*/ 203172 w 206623"/>
                <a:gd name="connsiteY11" fmla="*/ 13052 h 5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623" h="58577">
                  <a:moveTo>
                    <a:pt x="203172" y="12885"/>
                  </a:moveTo>
                  <a:cubicBezTo>
                    <a:pt x="184339" y="8874"/>
                    <a:pt x="168225" y="2858"/>
                    <a:pt x="148255" y="-117"/>
                  </a:cubicBezTo>
                  <a:cubicBezTo>
                    <a:pt x="135225" y="-2022"/>
                    <a:pt x="127351" y="8975"/>
                    <a:pt x="114524" y="8574"/>
                  </a:cubicBezTo>
                  <a:cubicBezTo>
                    <a:pt x="88750" y="7805"/>
                    <a:pt x="52422" y="25586"/>
                    <a:pt x="31194" y="9409"/>
                  </a:cubicBezTo>
                  <a:cubicBezTo>
                    <a:pt x="26364" y="11648"/>
                    <a:pt x="28271" y="16963"/>
                    <a:pt x="21939" y="17966"/>
                  </a:cubicBezTo>
                  <a:cubicBezTo>
                    <a:pt x="14471" y="19169"/>
                    <a:pt x="8545" y="15860"/>
                    <a:pt x="9478" y="21676"/>
                  </a:cubicBezTo>
                  <a:cubicBezTo>
                    <a:pt x="10818" y="30265"/>
                    <a:pt x="-5784" y="31703"/>
                    <a:pt x="2050" y="39323"/>
                  </a:cubicBezTo>
                  <a:cubicBezTo>
                    <a:pt x="14552" y="51222"/>
                    <a:pt x="44954" y="61048"/>
                    <a:pt x="72068" y="57505"/>
                  </a:cubicBezTo>
                  <a:cubicBezTo>
                    <a:pt x="82621" y="56102"/>
                    <a:pt x="98451" y="51924"/>
                    <a:pt x="109369" y="52392"/>
                  </a:cubicBezTo>
                  <a:cubicBezTo>
                    <a:pt x="126377" y="53127"/>
                    <a:pt x="129299" y="57840"/>
                    <a:pt x="145535" y="52392"/>
                  </a:cubicBezTo>
                  <a:cubicBezTo>
                    <a:pt x="160188" y="47311"/>
                    <a:pt x="167535" y="37819"/>
                    <a:pt x="176221" y="30132"/>
                  </a:cubicBezTo>
                  <a:cubicBezTo>
                    <a:pt x="181132" y="25686"/>
                    <a:pt x="217704" y="16161"/>
                    <a:pt x="203172" y="1305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33469F86-4A71-4482-874C-0BD8134E0F3A}"/>
                </a:ext>
              </a:extLst>
            </p:cNvPr>
            <p:cNvSpPr/>
            <p:nvPr/>
          </p:nvSpPr>
          <p:spPr>
            <a:xfrm>
              <a:off x="6170692" y="3886353"/>
              <a:ext cx="199978" cy="55817"/>
            </a:xfrm>
            <a:custGeom>
              <a:avLst/>
              <a:gdLst>
                <a:gd name="connsiteX0" fmla="*/ 189406 w 199978"/>
                <a:gd name="connsiteY0" fmla="*/ 26601 h 55817"/>
                <a:gd name="connsiteX1" fmla="*/ 166554 w 199978"/>
                <a:gd name="connsiteY1" fmla="*/ 20651 h 55817"/>
                <a:gd name="connsiteX2" fmla="*/ 137695 w 199978"/>
                <a:gd name="connsiteY2" fmla="*/ 19515 h 55817"/>
                <a:gd name="connsiteX3" fmla="*/ 119754 w 199978"/>
                <a:gd name="connsiteY3" fmla="*/ 10658 h 55817"/>
                <a:gd name="connsiteX4" fmla="*/ 82858 w 199978"/>
                <a:gd name="connsiteY4" fmla="*/ -339 h 55817"/>
                <a:gd name="connsiteX5" fmla="*/ 59722 w 199978"/>
                <a:gd name="connsiteY5" fmla="*/ 2736 h 55817"/>
                <a:gd name="connsiteX6" fmla="*/ 15763 w 199978"/>
                <a:gd name="connsiteY6" fmla="*/ 12596 h 55817"/>
                <a:gd name="connsiteX7" fmla="*/ 5778 w 199978"/>
                <a:gd name="connsiteY7" fmla="*/ 25966 h 55817"/>
                <a:gd name="connsiteX8" fmla="*/ 27981 w 199978"/>
                <a:gd name="connsiteY8" fmla="*/ 42677 h 55817"/>
                <a:gd name="connsiteX9" fmla="*/ 48276 w 199978"/>
                <a:gd name="connsiteY9" fmla="*/ 52705 h 55817"/>
                <a:gd name="connsiteX10" fmla="*/ 81681 w 199978"/>
                <a:gd name="connsiteY10" fmla="*/ 45719 h 55817"/>
                <a:gd name="connsiteX11" fmla="*/ 112570 w 199978"/>
                <a:gd name="connsiteY11" fmla="*/ 49864 h 55817"/>
                <a:gd name="connsiteX12" fmla="*/ 139684 w 199978"/>
                <a:gd name="connsiteY12" fmla="*/ 55479 h 55817"/>
                <a:gd name="connsiteX13" fmla="*/ 168097 w 199978"/>
                <a:gd name="connsiteY13" fmla="*/ 48025 h 55817"/>
                <a:gd name="connsiteX14" fmla="*/ 199919 w 199978"/>
                <a:gd name="connsiteY14" fmla="*/ 35090 h 55817"/>
                <a:gd name="connsiteX15" fmla="*/ 189366 w 199978"/>
                <a:gd name="connsiteY15" fmla="*/ 26668 h 55817"/>
                <a:gd name="connsiteX16" fmla="*/ 189406 w 199978"/>
                <a:gd name="connsiteY16" fmla="*/ 26601 h 5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9978" h="55817">
                  <a:moveTo>
                    <a:pt x="189406" y="26601"/>
                  </a:moveTo>
                  <a:cubicBezTo>
                    <a:pt x="180030" y="23459"/>
                    <a:pt x="170288" y="27169"/>
                    <a:pt x="166554" y="20651"/>
                  </a:cubicBezTo>
                  <a:cubicBezTo>
                    <a:pt x="161521" y="11828"/>
                    <a:pt x="145245" y="18713"/>
                    <a:pt x="137695" y="19515"/>
                  </a:cubicBezTo>
                  <a:cubicBezTo>
                    <a:pt x="126979" y="20651"/>
                    <a:pt x="125072" y="13298"/>
                    <a:pt x="119754" y="10658"/>
                  </a:cubicBezTo>
                  <a:cubicBezTo>
                    <a:pt x="109647" y="5711"/>
                    <a:pt x="94061" y="3973"/>
                    <a:pt x="82858" y="-339"/>
                  </a:cubicBezTo>
                  <a:cubicBezTo>
                    <a:pt x="79976" y="3405"/>
                    <a:pt x="66622" y="1266"/>
                    <a:pt x="59722" y="2736"/>
                  </a:cubicBezTo>
                  <a:cubicBezTo>
                    <a:pt x="45110" y="5778"/>
                    <a:pt x="30863" y="10424"/>
                    <a:pt x="15763" y="12596"/>
                  </a:cubicBezTo>
                  <a:cubicBezTo>
                    <a:pt x="-7860" y="15939"/>
                    <a:pt x="542" y="15939"/>
                    <a:pt x="5778" y="25966"/>
                  </a:cubicBezTo>
                  <a:cubicBezTo>
                    <a:pt x="10365" y="34723"/>
                    <a:pt x="13896" y="37463"/>
                    <a:pt x="27981" y="42677"/>
                  </a:cubicBezTo>
                  <a:cubicBezTo>
                    <a:pt x="30741" y="43680"/>
                    <a:pt x="52091" y="50331"/>
                    <a:pt x="48276" y="52705"/>
                  </a:cubicBezTo>
                  <a:cubicBezTo>
                    <a:pt x="64877" y="55211"/>
                    <a:pt x="76689" y="54777"/>
                    <a:pt x="81681" y="45719"/>
                  </a:cubicBezTo>
                  <a:cubicBezTo>
                    <a:pt x="84076" y="41307"/>
                    <a:pt x="108511" y="47357"/>
                    <a:pt x="112570" y="49864"/>
                  </a:cubicBezTo>
                  <a:cubicBezTo>
                    <a:pt x="122839" y="56114"/>
                    <a:pt x="134894" y="48560"/>
                    <a:pt x="139684" y="55479"/>
                  </a:cubicBezTo>
                  <a:cubicBezTo>
                    <a:pt x="145854" y="48527"/>
                    <a:pt x="156448" y="50766"/>
                    <a:pt x="168097" y="48025"/>
                  </a:cubicBezTo>
                  <a:cubicBezTo>
                    <a:pt x="180274" y="45117"/>
                    <a:pt x="187377" y="38332"/>
                    <a:pt x="199919" y="35090"/>
                  </a:cubicBezTo>
                  <a:cubicBezTo>
                    <a:pt x="196307" y="32617"/>
                    <a:pt x="194602" y="28405"/>
                    <a:pt x="189366" y="26668"/>
                  </a:cubicBezTo>
                  <a:cubicBezTo>
                    <a:pt x="184130" y="24930"/>
                    <a:pt x="193587" y="28038"/>
                    <a:pt x="189406" y="266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6C1B62F6-740F-41DC-BE86-23771428ED78}"/>
                </a:ext>
              </a:extLst>
            </p:cNvPr>
            <p:cNvSpPr/>
            <p:nvPr/>
          </p:nvSpPr>
          <p:spPr>
            <a:xfrm>
              <a:off x="6311144" y="3922767"/>
              <a:ext cx="183284" cy="36936"/>
            </a:xfrm>
            <a:custGeom>
              <a:avLst/>
              <a:gdLst>
                <a:gd name="connsiteX0" fmla="*/ 136343 w 183284"/>
                <a:gd name="connsiteY0" fmla="*/ 4659 h 36936"/>
                <a:gd name="connsiteX1" fmla="*/ 117510 w 183284"/>
                <a:gd name="connsiteY1" fmla="*/ 2420 h 36936"/>
                <a:gd name="connsiteX2" fmla="*/ 88772 w 183284"/>
                <a:gd name="connsiteY2" fmla="*/ 1518 h 36936"/>
                <a:gd name="connsiteX3" fmla="*/ 45910 w 183284"/>
                <a:gd name="connsiteY3" fmla="*/ 3155 h 36936"/>
                <a:gd name="connsiteX4" fmla="*/ 27685 w 183284"/>
                <a:gd name="connsiteY4" fmla="*/ 11545 h 36936"/>
                <a:gd name="connsiteX5" fmla="*/ 3331 w 183284"/>
                <a:gd name="connsiteY5" fmla="*/ 15388 h 36936"/>
                <a:gd name="connsiteX6" fmla="*/ 29389 w 183284"/>
                <a:gd name="connsiteY6" fmla="*/ 36011 h 36936"/>
                <a:gd name="connsiteX7" fmla="*/ 59223 w 183284"/>
                <a:gd name="connsiteY7" fmla="*/ 32468 h 36936"/>
                <a:gd name="connsiteX8" fmla="*/ 95753 w 183284"/>
                <a:gd name="connsiteY8" fmla="*/ 28791 h 36936"/>
                <a:gd name="connsiteX9" fmla="*/ 126399 w 183284"/>
                <a:gd name="connsiteY9" fmla="*/ 20469 h 36936"/>
                <a:gd name="connsiteX10" fmla="*/ 173767 w 183284"/>
                <a:gd name="connsiteY10" fmla="*/ 30730 h 36936"/>
                <a:gd name="connsiteX11" fmla="*/ 183225 w 183284"/>
                <a:gd name="connsiteY11" fmla="*/ 12180 h 36936"/>
                <a:gd name="connsiteX12" fmla="*/ 136141 w 183284"/>
                <a:gd name="connsiteY12" fmla="*/ 4659 h 36936"/>
                <a:gd name="connsiteX13" fmla="*/ 136343 w 183284"/>
                <a:gd name="connsiteY13" fmla="*/ 4659 h 3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284" h="36936">
                  <a:moveTo>
                    <a:pt x="136343" y="4659"/>
                  </a:moveTo>
                  <a:cubicBezTo>
                    <a:pt x="129443" y="4659"/>
                    <a:pt x="124166" y="2888"/>
                    <a:pt x="117510" y="2420"/>
                  </a:cubicBezTo>
                  <a:cubicBezTo>
                    <a:pt x="107281" y="1718"/>
                    <a:pt x="99366" y="3623"/>
                    <a:pt x="88772" y="1518"/>
                  </a:cubicBezTo>
                  <a:cubicBezTo>
                    <a:pt x="75418" y="-1123"/>
                    <a:pt x="55854" y="-1257"/>
                    <a:pt x="45910" y="3155"/>
                  </a:cubicBezTo>
                  <a:cubicBezTo>
                    <a:pt x="39455" y="5996"/>
                    <a:pt x="35681" y="9840"/>
                    <a:pt x="27685" y="11545"/>
                  </a:cubicBezTo>
                  <a:cubicBezTo>
                    <a:pt x="20703" y="13216"/>
                    <a:pt x="8607" y="12246"/>
                    <a:pt x="3331" y="15388"/>
                  </a:cubicBezTo>
                  <a:cubicBezTo>
                    <a:pt x="-8846" y="23042"/>
                    <a:pt x="14574" y="34640"/>
                    <a:pt x="29389" y="36011"/>
                  </a:cubicBezTo>
                  <a:cubicBezTo>
                    <a:pt x="42743" y="37214"/>
                    <a:pt x="50618" y="36813"/>
                    <a:pt x="59223" y="32468"/>
                  </a:cubicBezTo>
                  <a:cubicBezTo>
                    <a:pt x="68762" y="27655"/>
                    <a:pt x="84876" y="31097"/>
                    <a:pt x="95753" y="28791"/>
                  </a:cubicBezTo>
                  <a:cubicBezTo>
                    <a:pt x="105049" y="26819"/>
                    <a:pt x="116048" y="18931"/>
                    <a:pt x="126399" y="20469"/>
                  </a:cubicBezTo>
                  <a:cubicBezTo>
                    <a:pt x="143406" y="22942"/>
                    <a:pt x="157085" y="28123"/>
                    <a:pt x="173767" y="30730"/>
                  </a:cubicBezTo>
                  <a:cubicBezTo>
                    <a:pt x="158871" y="23142"/>
                    <a:pt x="176162" y="18263"/>
                    <a:pt x="183225" y="12180"/>
                  </a:cubicBezTo>
                  <a:cubicBezTo>
                    <a:pt x="166989" y="10308"/>
                    <a:pt x="152904" y="4325"/>
                    <a:pt x="136141" y="4659"/>
                  </a:cubicBezTo>
                  <a:cubicBezTo>
                    <a:pt x="125425" y="4826"/>
                    <a:pt x="147181" y="4459"/>
                    <a:pt x="136343" y="465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655E5AFF-93E2-4E0C-8FCE-7C80D6F96C8C}"/>
                </a:ext>
              </a:extLst>
            </p:cNvPr>
            <p:cNvSpPr/>
            <p:nvPr/>
          </p:nvSpPr>
          <p:spPr>
            <a:xfrm>
              <a:off x="5471653" y="4099795"/>
              <a:ext cx="98768" cy="104363"/>
            </a:xfrm>
            <a:custGeom>
              <a:avLst/>
              <a:gdLst>
                <a:gd name="connsiteX0" fmla="*/ 79369 w 98768"/>
                <a:gd name="connsiteY0" fmla="*/ 81951 h 104363"/>
                <a:gd name="connsiteX1" fmla="*/ 71738 w 98768"/>
                <a:gd name="connsiteY1" fmla="*/ 73829 h 104363"/>
                <a:gd name="connsiteX2" fmla="*/ 79856 w 98768"/>
                <a:gd name="connsiteY2" fmla="*/ 61295 h 104363"/>
                <a:gd name="connsiteX3" fmla="*/ 76041 w 98768"/>
                <a:gd name="connsiteY3" fmla="*/ 48294 h 104363"/>
                <a:gd name="connsiteX4" fmla="*/ 83225 w 98768"/>
                <a:gd name="connsiteY4" fmla="*/ 33186 h 104363"/>
                <a:gd name="connsiteX5" fmla="*/ 78598 w 98768"/>
                <a:gd name="connsiteY5" fmla="*/ 18045 h 104363"/>
                <a:gd name="connsiteX6" fmla="*/ 95727 w 98768"/>
                <a:gd name="connsiteY6" fmla="*/ 5712 h 104363"/>
                <a:gd name="connsiteX7" fmla="*/ 74580 w 98768"/>
                <a:gd name="connsiteY7" fmla="*/ 732 h 104363"/>
                <a:gd name="connsiteX8" fmla="*/ 43285 w 98768"/>
                <a:gd name="connsiteY8" fmla="*/ 4442 h 104363"/>
                <a:gd name="connsiteX9" fmla="*/ 24330 w 98768"/>
                <a:gd name="connsiteY9" fmla="*/ 2470 h 104363"/>
                <a:gd name="connsiteX10" fmla="*/ 15765 w 98768"/>
                <a:gd name="connsiteY10" fmla="*/ 9656 h 104363"/>
                <a:gd name="connsiteX11" fmla="*/ 19215 w 98768"/>
                <a:gd name="connsiteY11" fmla="*/ 17845 h 104363"/>
                <a:gd name="connsiteX12" fmla="*/ 5009 w 98768"/>
                <a:gd name="connsiteY12" fmla="*/ 56449 h 104363"/>
                <a:gd name="connsiteX13" fmla="*/ 16293 w 98768"/>
                <a:gd name="connsiteY13" fmla="*/ 72492 h 104363"/>
                <a:gd name="connsiteX14" fmla="*/ 24411 w 98768"/>
                <a:gd name="connsiteY14" fmla="*/ 90341 h 104363"/>
                <a:gd name="connsiteX15" fmla="*/ 28470 w 98768"/>
                <a:gd name="connsiteY15" fmla="*/ 103877 h 104363"/>
                <a:gd name="connsiteX16" fmla="*/ 72712 w 98768"/>
                <a:gd name="connsiteY16" fmla="*/ 98396 h 104363"/>
                <a:gd name="connsiteX17" fmla="*/ 79085 w 98768"/>
                <a:gd name="connsiteY17" fmla="*/ 81951 h 10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768" h="104363">
                  <a:moveTo>
                    <a:pt x="79369" y="81951"/>
                  </a:moveTo>
                  <a:cubicBezTo>
                    <a:pt x="91546" y="79979"/>
                    <a:pt x="74904" y="75266"/>
                    <a:pt x="71738" y="73829"/>
                  </a:cubicBezTo>
                  <a:cubicBezTo>
                    <a:pt x="61550" y="69250"/>
                    <a:pt x="84281" y="64404"/>
                    <a:pt x="79856" y="61295"/>
                  </a:cubicBezTo>
                  <a:cubicBezTo>
                    <a:pt x="74215" y="57218"/>
                    <a:pt x="53189" y="49764"/>
                    <a:pt x="76041" y="48294"/>
                  </a:cubicBezTo>
                  <a:cubicBezTo>
                    <a:pt x="79004" y="43451"/>
                    <a:pt x="81399" y="38394"/>
                    <a:pt x="83225" y="33186"/>
                  </a:cubicBezTo>
                  <a:cubicBezTo>
                    <a:pt x="84321" y="28607"/>
                    <a:pt x="72550" y="22157"/>
                    <a:pt x="78598" y="18045"/>
                  </a:cubicBezTo>
                  <a:cubicBezTo>
                    <a:pt x="81318" y="16174"/>
                    <a:pt x="107376" y="7250"/>
                    <a:pt x="95727" y="5712"/>
                  </a:cubicBezTo>
                  <a:cubicBezTo>
                    <a:pt x="86472" y="4509"/>
                    <a:pt x="86310" y="-1407"/>
                    <a:pt x="74580" y="732"/>
                  </a:cubicBezTo>
                  <a:cubicBezTo>
                    <a:pt x="64351" y="2968"/>
                    <a:pt x="53839" y="4211"/>
                    <a:pt x="43285" y="4442"/>
                  </a:cubicBezTo>
                  <a:cubicBezTo>
                    <a:pt x="33706" y="4709"/>
                    <a:pt x="34193" y="-4950"/>
                    <a:pt x="24330" y="2470"/>
                  </a:cubicBezTo>
                  <a:cubicBezTo>
                    <a:pt x="17876" y="7417"/>
                    <a:pt x="15847" y="1267"/>
                    <a:pt x="15765" y="9656"/>
                  </a:cubicBezTo>
                  <a:cubicBezTo>
                    <a:pt x="16090" y="12574"/>
                    <a:pt x="17267" y="15385"/>
                    <a:pt x="19215" y="17845"/>
                  </a:cubicBezTo>
                  <a:cubicBezTo>
                    <a:pt x="24857" y="28540"/>
                    <a:pt x="15156" y="46556"/>
                    <a:pt x="5009" y="56449"/>
                  </a:cubicBezTo>
                  <a:cubicBezTo>
                    <a:pt x="-5139" y="66342"/>
                    <a:pt x="625" y="67278"/>
                    <a:pt x="16293" y="72492"/>
                  </a:cubicBezTo>
                  <a:cubicBezTo>
                    <a:pt x="25953" y="75835"/>
                    <a:pt x="24939" y="84892"/>
                    <a:pt x="24411" y="90341"/>
                  </a:cubicBezTo>
                  <a:cubicBezTo>
                    <a:pt x="24167" y="93683"/>
                    <a:pt x="19418" y="103275"/>
                    <a:pt x="28470" y="103877"/>
                  </a:cubicBezTo>
                  <a:cubicBezTo>
                    <a:pt x="43245" y="104880"/>
                    <a:pt x="58668" y="100535"/>
                    <a:pt x="72712" y="98396"/>
                  </a:cubicBezTo>
                  <a:cubicBezTo>
                    <a:pt x="65609" y="93382"/>
                    <a:pt x="64310" y="84358"/>
                    <a:pt x="79085" y="8195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44FFFEC3-9B8F-4652-9BB1-2BAFBD088A71}"/>
                </a:ext>
              </a:extLst>
            </p:cNvPr>
            <p:cNvSpPr/>
            <p:nvPr/>
          </p:nvSpPr>
          <p:spPr>
            <a:xfrm>
              <a:off x="5865003" y="3830870"/>
              <a:ext cx="134281" cy="60630"/>
            </a:xfrm>
            <a:custGeom>
              <a:avLst/>
              <a:gdLst>
                <a:gd name="connsiteX0" fmla="*/ 43006 w 134281"/>
                <a:gd name="connsiteY0" fmla="*/ 48125 h 60630"/>
                <a:gd name="connsiteX1" fmla="*/ 96909 w 134281"/>
                <a:gd name="connsiteY1" fmla="*/ 60292 h 60630"/>
                <a:gd name="connsiteX2" fmla="*/ 100116 w 134281"/>
                <a:gd name="connsiteY2" fmla="*/ 40237 h 60630"/>
                <a:gd name="connsiteX3" fmla="*/ 110750 w 134281"/>
                <a:gd name="connsiteY3" fmla="*/ 38466 h 60630"/>
                <a:gd name="connsiteX4" fmla="*/ 121669 w 134281"/>
                <a:gd name="connsiteY4" fmla="*/ 31180 h 60630"/>
                <a:gd name="connsiteX5" fmla="*/ 116392 w 134281"/>
                <a:gd name="connsiteY5" fmla="*/ 19515 h 60630"/>
                <a:gd name="connsiteX6" fmla="*/ 126783 w 134281"/>
                <a:gd name="connsiteY6" fmla="*/ 14902 h 60630"/>
                <a:gd name="connsiteX7" fmla="*/ 131735 w 134281"/>
                <a:gd name="connsiteY7" fmla="*/ -339 h 60630"/>
                <a:gd name="connsiteX8" fmla="*/ 75600 w 134281"/>
                <a:gd name="connsiteY8" fmla="*/ 8184 h 60630"/>
                <a:gd name="connsiteX9" fmla="*/ 77264 w 134281"/>
                <a:gd name="connsiteY9" fmla="*/ 16005 h 60630"/>
                <a:gd name="connsiteX10" fmla="*/ 60744 w 134281"/>
                <a:gd name="connsiteY10" fmla="*/ 15471 h 60630"/>
                <a:gd name="connsiteX11" fmla="*/ 34442 w 134281"/>
                <a:gd name="connsiteY11" fmla="*/ 28606 h 60630"/>
                <a:gd name="connsiteX12" fmla="*/ 27095 w 134281"/>
                <a:gd name="connsiteY12" fmla="*/ 40438 h 60630"/>
                <a:gd name="connsiteX13" fmla="*/ -60 w 134281"/>
                <a:gd name="connsiteY13" fmla="*/ 52270 h 60630"/>
                <a:gd name="connsiteX14" fmla="*/ 43006 w 134281"/>
                <a:gd name="connsiteY14" fmla="*/ 47958 h 60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4281" h="60630">
                  <a:moveTo>
                    <a:pt x="43006" y="48125"/>
                  </a:moveTo>
                  <a:cubicBezTo>
                    <a:pt x="55913" y="41040"/>
                    <a:pt x="87370" y="56715"/>
                    <a:pt x="96909" y="60292"/>
                  </a:cubicBezTo>
                  <a:cubicBezTo>
                    <a:pt x="98979" y="53741"/>
                    <a:pt x="100034" y="47006"/>
                    <a:pt x="100116" y="40237"/>
                  </a:cubicBezTo>
                  <a:cubicBezTo>
                    <a:pt x="100116" y="38165"/>
                    <a:pt x="108843" y="38667"/>
                    <a:pt x="110750" y="38466"/>
                  </a:cubicBezTo>
                  <a:cubicBezTo>
                    <a:pt x="121588" y="37363"/>
                    <a:pt x="117204" y="34823"/>
                    <a:pt x="121669" y="31180"/>
                  </a:cubicBezTo>
                  <a:cubicBezTo>
                    <a:pt x="129381" y="24896"/>
                    <a:pt x="124591" y="25598"/>
                    <a:pt x="116392" y="19515"/>
                  </a:cubicBezTo>
                  <a:cubicBezTo>
                    <a:pt x="115053" y="18512"/>
                    <a:pt x="126662" y="14936"/>
                    <a:pt x="126783" y="14902"/>
                  </a:cubicBezTo>
                  <a:cubicBezTo>
                    <a:pt x="136646" y="10390"/>
                    <a:pt x="134901" y="5611"/>
                    <a:pt x="131735" y="-339"/>
                  </a:cubicBezTo>
                  <a:cubicBezTo>
                    <a:pt x="127960" y="5009"/>
                    <a:pt x="85260" y="-2511"/>
                    <a:pt x="75600" y="8184"/>
                  </a:cubicBezTo>
                  <a:cubicBezTo>
                    <a:pt x="72596" y="11527"/>
                    <a:pt x="78806" y="13799"/>
                    <a:pt x="77264" y="16005"/>
                  </a:cubicBezTo>
                  <a:cubicBezTo>
                    <a:pt x="75356" y="18779"/>
                    <a:pt x="61880" y="18345"/>
                    <a:pt x="60744" y="15471"/>
                  </a:cubicBezTo>
                  <a:cubicBezTo>
                    <a:pt x="57659" y="7817"/>
                    <a:pt x="36999" y="26901"/>
                    <a:pt x="34442" y="28606"/>
                  </a:cubicBezTo>
                  <a:cubicBezTo>
                    <a:pt x="29002" y="32182"/>
                    <a:pt x="32006" y="36628"/>
                    <a:pt x="27095" y="40438"/>
                  </a:cubicBezTo>
                  <a:cubicBezTo>
                    <a:pt x="20479" y="45552"/>
                    <a:pt x="9803" y="49061"/>
                    <a:pt x="-60" y="52270"/>
                  </a:cubicBezTo>
                  <a:cubicBezTo>
                    <a:pt x="13213" y="55044"/>
                    <a:pt x="32412" y="53807"/>
                    <a:pt x="43006" y="4795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115049E6-0AD0-4EAB-9A17-607F8883EBAD}"/>
                </a:ext>
              </a:extLst>
            </p:cNvPr>
            <p:cNvSpPr/>
            <p:nvPr/>
          </p:nvSpPr>
          <p:spPr>
            <a:xfrm>
              <a:off x="5953073" y="3907544"/>
              <a:ext cx="21928" cy="15575"/>
            </a:xfrm>
            <a:custGeom>
              <a:avLst/>
              <a:gdLst>
                <a:gd name="connsiteX0" fmla="*/ 11275 w 21928"/>
                <a:gd name="connsiteY0" fmla="*/ -339 h 15575"/>
                <a:gd name="connsiteX1" fmla="*/ 154 w 21928"/>
                <a:gd name="connsiteY1" fmla="*/ 14334 h 15575"/>
                <a:gd name="connsiteX2" fmla="*/ 21869 w 21928"/>
                <a:gd name="connsiteY2" fmla="*/ 15237 h 15575"/>
                <a:gd name="connsiteX3" fmla="*/ 11275 w 21928"/>
                <a:gd name="connsiteY3" fmla="*/ -339 h 15575"/>
                <a:gd name="connsiteX4" fmla="*/ 11275 w 21928"/>
                <a:gd name="connsiteY4" fmla="*/ -339 h 1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8" h="15575">
                  <a:moveTo>
                    <a:pt x="11275" y="-339"/>
                  </a:moveTo>
                  <a:cubicBezTo>
                    <a:pt x="3604" y="1543"/>
                    <a:pt x="-1145" y="7833"/>
                    <a:pt x="154" y="14334"/>
                  </a:cubicBezTo>
                  <a:cubicBezTo>
                    <a:pt x="7419" y="14047"/>
                    <a:pt x="14685" y="14348"/>
                    <a:pt x="21869" y="15237"/>
                  </a:cubicBezTo>
                  <a:cubicBezTo>
                    <a:pt x="21301" y="12396"/>
                    <a:pt x="9286" y="1867"/>
                    <a:pt x="11275" y="-339"/>
                  </a:cubicBezTo>
                  <a:cubicBezTo>
                    <a:pt x="4821" y="1633"/>
                    <a:pt x="10707" y="229"/>
                    <a:pt x="1127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7A65BE01-03B3-4A1D-A89E-06AFCC9707ED}"/>
                </a:ext>
              </a:extLst>
            </p:cNvPr>
            <p:cNvSpPr/>
            <p:nvPr/>
          </p:nvSpPr>
          <p:spPr>
            <a:xfrm>
              <a:off x="5843409" y="3877581"/>
              <a:ext cx="125644" cy="44646"/>
            </a:xfrm>
            <a:custGeom>
              <a:avLst/>
              <a:gdLst>
                <a:gd name="connsiteX0" fmla="*/ 4040 w 125644"/>
                <a:gd name="connsiteY0" fmla="*/ 13380 h 44646"/>
                <a:gd name="connsiteX1" fmla="*/ 16217 w 125644"/>
                <a:gd name="connsiteY1" fmla="*/ 19463 h 44646"/>
                <a:gd name="connsiteX2" fmla="*/ 39191 w 125644"/>
                <a:gd name="connsiteY2" fmla="*/ 25647 h 44646"/>
                <a:gd name="connsiteX3" fmla="*/ 55427 w 125644"/>
                <a:gd name="connsiteY3" fmla="*/ 33000 h 44646"/>
                <a:gd name="connsiteX4" fmla="*/ 76777 w 125644"/>
                <a:gd name="connsiteY4" fmla="*/ 30693 h 44646"/>
                <a:gd name="connsiteX5" fmla="*/ 87899 w 125644"/>
                <a:gd name="connsiteY5" fmla="*/ 39317 h 44646"/>
                <a:gd name="connsiteX6" fmla="*/ 110060 w 125644"/>
                <a:gd name="connsiteY6" fmla="*/ 44297 h 44646"/>
                <a:gd name="connsiteX7" fmla="*/ 121182 w 125644"/>
                <a:gd name="connsiteY7" fmla="*/ 29624 h 44646"/>
                <a:gd name="connsiteX8" fmla="*/ 119802 w 125644"/>
                <a:gd name="connsiteY8" fmla="*/ 16689 h 44646"/>
                <a:gd name="connsiteX9" fmla="*/ 69958 w 125644"/>
                <a:gd name="connsiteY9" fmla="*/ -23 h 44646"/>
                <a:gd name="connsiteX10" fmla="*/ 39759 w 125644"/>
                <a:gd name="connsiteY10" fmla="*/ 7297 h 44646"/>
                <a:gd name="connsiteX11" fmla="*/ 21778 w 125644"/>
                <a:gd name="connsiteY11" fmla="*/ 5893 h 44646"/>
                <a:gd name="connsiteX12" fmla="*/ -60 w 125644"/>
                <a:gd name="connsiteY12" fmla="*/ 11408 h 44646"/>
                <a:gd name="connsiteX13" fmla="*/ 4284 w 125644"/>
                <a:gd name="connsiteY13" fmla="*/ 13547 h 44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5644" h="44646">
                  <a:moveTo>
                    <a:pt x="4040" y="13380"/>
                  </a:moveTo>
                  <a:cubicBezTo>
                    <a:pt x="4405" y="14483"/>
                    <a:pt x="12726" y="22672"/>
                    <a:pt x="16217" y="19463"/>
                  </a:cubicBezTo>
                  <a:cubicBezTo>
                    <a:pt x="18206" y="17558"/>
                    <a:pt x="35862" y="24945"/>
                    <a:pt x="39191" y="25647"/>
                  </a:cubicBezTo>
                  <a:cubicBezTo>
                    <a:pt x="48445" y="27552"/>
                    <a:pt x="52017" y="28287"/>
                    <a:pt x="55427" y="33000"/>
                  </a:cubicBezTo>
                  <a:cubicBezTo>
                    <a:pt x="60663" y="40286"/>
                    <a:pt x="69796" y="31596"/>
                    <a:pt x="76777" y="30693"/>
                  </a:cubicBezTo>
                  <a:cubicBezTo>
                    <a:pt x="78888" y="30393"/>
                    <a:pt x="78279" y="40487"/>
                    <a:pt x="87899" y="39317"/>
                  </a:cubicBezTo>
                  <a:cubicBezTo>
                    <a:pt x="94637" y="38448"/>
                    <a:pt x="100684" y="44598"/>
                    <a:pt x="110060" y="44297"/>
                  </a:cubicBezTo>
                  <a:cubicBezTo>
                    <a:pt x="108762" y="37796"/>
                    <a:pt x="113510" y="31506"/>
                    <a:pt x="121182" y="29624"/>
                  </a:cubicBezTo>
                  <a:cubicBezTo>
                    <a:pt x="127920" y="22605"/>
                    <a:pt x="126500" y="23775"/>
                    <a:pt x="119802" y="16689"/>
                  </a:cubicBezTo>
                  <a:cubicBezTo>
                    <a:pt x="114282" y="10873"/>
                    <a:pt x="85950" y="-2563"/>
                    <a:pt x="69958" y="-23"/>
                  </a:cubicBezTo>
                  <a:cubicBezTo>
                    <a:pt x="59364" y="1548"/>
                    <a:pt x="51652" y="6094"/>
                    <a:pt x="39759" y="7297"/>
                  </a:cubicBezTo>
                  <a:cubicBezTo>
                    <a:pt x="33711" y="7915"/>
                    <a:pt x="27582" y="7437"/>
                    <a:pt x="21778" y="5893"/>
                  </a:cubicBezTo>
                  <a:cubicBezTo>
                    <a:pt x="14756" y="8377"/>
                    <a:pt x="7449" y="10228"/>
                    <a:pt x="-60" y="11408"/>
                  </a:cubicBezTo>
                  <a:cubicBezTo>
                    <a:pt x="1645" y="11645"/>
                    <a:pt x="3228" y="12411"/>
                    <a:pt x="4284" y="1354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F2F54C8E-C58E-41FB-8949-2F61D70C9EDA}"/>
                </a:ext>
              </a:extLst>
            </p:cNvPr>
            <p:cNvSpPr/>
            <p:nvPr/>
          </p:nvSpPr>
          <p:spPr>
            <a:xfrm>
              <a:off x="6423857" y="3958679"/>
              <a:ext cx="287585" cy="102513"/>
            </a:xfrm>
            <a:custGeom>
              <a:avLst/>
              <a:gdLst>
                <a:gd name="connsiteX0" fmla="*/ 257834 w 287585"/>
                <a:gd name="connsiteY0" fmla="*/ 69486 h 102513"/>
                <a:gd name="connsiteX1" fmla="*/ 240908 w 287585"/>
                <a:gd name="connsiteY1" fmla="*/ 34793 h 102513"/>
                <a:gd name="connsiteX2" fmla="*/ 213469 w 287585"/>
                <a:gd name="connsiteY2" fmla="*/ 9457 h 102513"/>
                <a:gd name="connsiteX3" fmla="*/ 191226 w 287585"/>
                <a:gd name="connsiteY3" fmla="*/ 1335 h 102513"/>
                <a:gd name="connsiteX4" fmla="*/ 169429 w 287585"/>
                <a:gd name="connsiteY4" fmla="*/ 6483 h 102513"/>
                <a:gd name="connsiteX5" fmla="*/ 142275 w 287585"/>
                <a:gd name="connsiteY5" fmla="*/ 8889 h 102513"/>
                <a:gd name="connsiteX6" fmla="*/ 119220 w 287585"/>
                <a:gd name="connsiteY6" fmla="*/ 4110 h 102513"/>
                <a:gd name="connsiteX7" fmla="*/ 74003 w 287585"/>
                <a:gd name="connsiteY7" fmla="*/ -302 h 102513"/>
                <a:gd name="connsiteX8" fmla="*/ 44616 w 287585"/>
                <a:gd name="connsiteY8" fmla="*/ 12265 h 102513"/>
                <a:gd name="connsiteX9" fmla="*/ 17542 w 287585"/>
                <a:gd name="connsiteY9" fmla="*/ 34291 h 102513"/>
                <a:gd name="connsiteX10" fmla="*/ 6259 w 287585"/>
                <a:gd name="connsiteY10" fmla="*/ 49131 h 102513"/>
                <a:gd name="connsiteX11" fmla="*/ 18436 w 287585"/>
                <a:gd name="connsiteY11" fmla="*/ 58156 h 102513"/>
                <a:gd name="connsiteX12" fmla="*/ 20749 w 287585"/>
                <a:gd name="connsiteY12" fmla="*/ 65743 h 102513"/>
                <a:gd name="connsiteX13" fmla="*/ 49690 w 287585"/>
                <a:gd name="connsiteY13" fmla="*/ 72427 h 102513"/>
                <a:gd name="connsiteX14" fmla="*/ 58944 w 287585"/>
                <a:gd name="connsiteY14" fmla="*/ 79814 h 102513"/>
                <a:gd name="connsiteX15" fmla="*/ 74084 w 287585"/>
                <a:gd name="connsiteY15" fmla="*/ 89641 h 102513"/>
                <a:gd name="connsiteX16" fmla="*/ 161271 w 287585"/>
                <a:gd name="connsiteY16" fmla="*/ 94788 h 102513"/>
                <a:gd name="connsiteX17" fmla="*/ 207056 w 287585"/>
                <a:gd name="connsiteY17" fmla="*/ 90643 h 102513"/>
                <a:gd name="connsiteX18" fmla="*/ 251502 w 287585"/>
                <a:gd name="connsiteY18" fmla="*/ 102174 h 102513"/>
                <a:gd name="connsiteX19" fmla="*/ 255886 w 287585"/>
                <a:gd name="connsiteY19" fmla="*/ 86432 h 102513"/>
                <a:gd name="connsiteX20" fmla="*/ 280240 w 287585"/>
                <a:gd name="connsiteY20" fmla="*/ 80115 h 102513"/>
                <a:gd name="connsiteX21" fmla="*/ 280240 w 287585"/>
                <a:gd name="connsiteY21" fmla="*/ 67949 h 102513"/>
                <a:gd name="connsiteX22" fmla="*/ 257469 w 287585"/>
                <a:gd name="connsiteY22" fmla="*/ 69319 h 102513"/>
                <a:gd name="connsiteX23" fmla="*/ 257834 w 287585"/>
                <a:gd name="connsiteY23" fmla="*/ 69486 h 10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7585" h="102513">
                  <a:moveTo>
                    <a:pt x="257834" y="69486"/>
                  </a:moveTo>
                  <a:cubicBezTo>
                    <a:pt x="227067" y="65342"/>
                    <a:pt x="249229" y="45120"/>
                    <a:pt x="240908" y="34793"/>
                  </a:cubicBezTo>
                  <a:cubicBezTo>
                    <a:pt x="233643" y="25868"/>
                    <a:pt x="221709" y="18081"/>
                    <a:pt x="213469" y="9457"/>
                  </a:cubicBezTo>
                  <a:cubicBezTo>
                    <a:pt x="206610" y="2171"/>
                    <a:pt x="207137" y="-2408"/>
                    <a:pt x="191226" y="1335"/>
                  </a:cubicBezTo>
                  <a:cubicBezTo>
                    <a:pt x="183514" y="3140"/>
                    <a:pt x="179496" y="6984"/>
                    <a:pt x="169429" y="6483"/>
                  </a:cubicBezTo>
                  <a:cubicBezTo>
                    <a:pt x="158632" y="5948"/>
                    <a:pt x="151732" y="9223"/>
                    <a:pt x="142275" y="8889"/>
                  </a:cubicBezTo>
                  <a:cubicBezTo>
                    <a:pt x="134847" y="8655"/>
                    <a:pt x="127703" y="4477"/>
                    <a:pt x="119220" y="4110"/>
                  </a:cubicBezTo>
                  <a:cubicBezTo>
                    <a:pt x="103430" y="3408"/>
                    <a:pt x="90198" y="-770"/>
                    <a:pt x="74003" y="-302"/>
                  </a:cubicBezTo>
                  <a:cubicBezTo>
                    <a:pt x="77778" y="3876"/>
                    <a:pt x="48797" y="8789"/>
                    <a:pt x="44616" y="12265"/>
                  </a:cubicBezTo>
                  <a:cubicBezTo>
                    <a:pt x="35930" y="19384"/>
                    <a:pt x="29638" y="28509"/>
                    <a:pt x="17542" y="34291"/>
                  </a:cubicBezTo>
                  <a:cubicBezTo>
                    <a:pt x="1306" y="42045"/>
                    <a:pt x="-6405" y="38068"/>
                    <a:pt x="6259" y="49131"/>
                  </a:cubicBezTo>
                  <a:cubicBezTo>
                    <a:pt x="10318" y="52808"/>
                    <a:pt x="6989" y="57755"/>
                    <a:pt x="18436" y="58156"/>
                  </a:cubicBezTo>
                  <a:cubicBezTo>
                    <a:pt x="24402" y="58356"/>
                    <a:pt x="21074" y="64205"/>
                    <a:pt x="20749" y="65743"/>
                  </a:cubicBezTo>
                  <a:cubicBezTo>
                    <a:pt x="19653" y="71191"/>
                    <a:pt x="42384" y="71124"/>
                    <a:pt x="49690" y="72427"/>
                  </a:cubicBezTo>
                  <a:cubicBezTo>
                    <a:pt x="58295" y="74132"/>
                    <a:pt x="56874" y="75369"/>
                    <a:pt x="58944" y="79814"/>
                  </a:cubicBezTo>
                  <a:cubicBezTo>
                    <a:pt x="61014" y="84259"/>
                    <a:pt x="66738" y="85997"/>
                    <a:pt x="74084" y="89641"/>
                  </a:cubicBezTo>
                  <a:cubicBezTo>
                    <a:pt x="85936" y="95423"/>
                    <a:pt x="148891" y="97930"/>
                    <a:pt x="161271" y="94788"/>
                  </a:cubicBezTo>
                  <a:cubicBezTo>
                    <a:pt x="176654" y="90777"/>
                    <a:pt x="188547" y="88437"/>
                    <a:pt x="207056" y="90643"/>
                  </a:cubicBezTo>
                  <a:cubicBezTo>
                    <a:pt x="224916" y="92849"/>
                    <a:pt x="235104" y="98230"/>
                    <a:pt x="251502" y="102174"/>
                  </a:cubicBezTo>
                  <a:cubicBezTo>
                    <a:pt x="254343" y="96893"/>
                    <a:pt x="251218" y="91613"/>
                    <a:pt x="255886" y="86432"/>
                  </a:cubicBezTo>
                  <a:cubicBezTo>
                    <a:pt x="261974" y="79747"/>
                    <a:pt x="269239" y="81820"/>
                    <a:pt x="280240" y="80115"/>
                  </a:cubicBezTo>
                  <a:cubicBezTo>
                    <a:pt x="292416" y="78276"/>
                    <a:pt x="287140" y="71057"/>
                    <a:pt x="280240" y="67949"/>
                  </a:cubicBezTo>
                  <a:cubicBezTo>
                    <a:pt x="271513" y="63904"/>
                    <a:pt x="266155" y="70522"/>
                    <a:pt x="257469" y="69319"/>
                  </a:cubicBezTo>
                  <a:cubicBezTo>
                    <a:pt x="251218" y="68584"/>
                    <a:pt x="260675" y="69854"/>
                    <a:pt x="257834" y="6948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F4FD1044-338A-416E-8513-B5D000B69127}"/>
                </a:ext>
              </a:extLst>
            </p:cNvPr>
            <p:cNvSpPr/>
            <p:nvPr/>
          </p:nvSpPr>
          <p:spPr>
            <a:xfrm>
              <a:off x="6628172" y="3957177"/>
              <a:ext cx="95700" cy="66045"/>
            </a:xfrm>
            <a:custGeom>
              <a:avLst/>
              <a:gdLst>
                <a:gd name="connsiteX0" fmla="*/ 71785 w 95700"/>
                <a:gd name="connsiteY0" fmla="*/ 18513 h 66045"/>
                <a:gd name="connsiteX1" fmla="*/ 44955 w 95700"/>
                <a:gd name="connsiteY1" fmla="*/ 6948 h 66045"/>
                <a:gd name="connsiteX2" fmla="*/ -60 w 95700"/>
                <a:gd name="connsiteY2" fmla="*/ 832 h 66045"/>
                <a:gd name="connsiteX3" fmla="*/ 36471 w 95700"/>
                <a:gd name="connsiteY3" fmla="*/ 36294 h 66045"/>
                <a:gd name="connsiteX4" fmla="*/ 42235 w 95700"/>
                <a:gd name="connsiteY4" fmla="*/ 65707 h 66045"/>
                <a:gd name="connsiteX5" fmla="*/ 61880 w 95700"/>
                <a:gd name="connsiteY5" fmla="*/ 51770 h 66045"/>
                <a:gd name="connsiteX6" fmla="*/ 83190 w 95700"/>
                <a:gd name="connsiteY6" fmla="*/ 46756 h 66045"/>
                <a:gd name="connsiteX7" fmla="*/ 71663 w 95700"/>
                <a:gd name="connsiteY7" fmla="*/ 18513 h 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00" h="66045">
                  <a:moveTo>
                    <a:pt x="71785" y="18513"/>
                  </a:moveTo>
                  <a:cubicBezTo>
                    <a:pt x="67726" y="10057"/>
                    <a:pt x="55549" y="10959"/>
                    <a:pt x="44955" y="6948"/>
                  </a:cubicBezTo>
                  <a:cubicBezTo>
                    <a:pt x="26202" y="-70"/>
                    <a:pt x="23320" y="-1809"/>
                    <a:pt x="-60" y="832"/>
                  </a:cubicBezTo>
                  <a:cubicBezTo>
                    <a:pt x="10778" y="12998"/>
                    <a:pt x="26649" y="24061"/>
                    <a:pt x="36471" y="36294"/>
                  </a:cubicBezTo>
                  <a:cubicBezTo>
                    <a:pt x="44224" y="45887"/>
                    <a:pt x="24660" y="56850"/>
                    <a:pt x="42235" y="65707"/>
                  </a:cubicBezTo>
                  <a:cubicBezTo>
                    <a:pt x="47958" y="62365"/>
                    <a:pt x="61434" y="56750"/>
                    <a:pt x="61880" y="51770"/>
                  </a:cubicBezTo>
                  <a:cubicBezTo>
                    <a:pt x="62571" y="44015"/>
                    <a:pt x="70729" y="43948"/>
                    <a:pt x="83190" y="46756"/>
                  </a:cubicBezTo>
                  <a:cubicBezTo>
                    <a:pt x="115662" y="54176"/>
                    <a:pt x="74707" y="24663"/>
                    <a:pt x="71663" y="1851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9CB87760-F305-4323-9559-DAA63874E5E5}"/>
                </a:ext>
              </a:extLst>
            </p:cNvPr>
            <p:cNvSpPr/>
            <p:nvPr/>
          </p:nvSpPr>
          <p:spPr>
            <a:xfrm>
              <a:off x="6475048" y="4042872"/>
              <a:ext cx="200289" cy="62244"/>
            </a:xfrm>
            <a:custGeom>
              <a:avLst/>
              <a:gdLst>
                <a:gd name="connsiteX0" fmla="*/ 155946 w 200289"/>
                <a:gd name="connsiteY0" fmla="*/ 6617 h 62244"/>
                <a:gd name="connsiteX1" fmla="*/ 110161 w 200289"/>
                <a:gd name="connsiteY1" fmla="*/ 10762 h 62244"/>
                <a:gd name="connsiteX2" fmla="*/ 56947 w 200289"/>
                <a:gd name="connsiteY2" fmla="*/ 9826 h 62244"/>
                <a:gd name="connsiteX3" fmla="*/ 14004 w 200289"/>
                <a:gd name="connsiteY3" fmla="*/ 835 h 62244"/>
                <a:gd name="connsiteX4" fmla="*/ 1258 w 200289"/>
                <a:gd name="connsiteY4" fmla="*/ 3222 h 62244"/>
                <a:gd name="connsiteX5" fmla="*/ -41 w 200289"/>
                <a:gd name="connsiteY5" fmla="*/ 5949 h 62244"/>
                <a:gd name="connsiteX6" fmla="*/ 15505 w 200289"/>
                <a:gd name="connsiteY6" fmla="*/ 20956 h 62244"/>
                <a:gd name="connsiteX7" fmla="*/ 4424 w 200289"/>
                <a:gd name="connsiteY7" fmla="*/ 39607 h 62244"/>
                <a:gd name="connsiteX8" fmla="*/ 38276 w 200289"/>
                <a:gd name="connsiteY8" fmla="*/ 55249 h 62244"/>
                <a:gd name="connsiteX9" fmla="*/ 91043 w 200289"/>
                <a:gd name="connsiteY9" fmla="*/ 60831 h 62244"/>
                <a:gd name="connsiteX10" fmla="*/ 108983 w 200289"/>
                <a:gd name="connsiteY10" fmla="*/ 61800 h 62244"/>
                <a:gd name="connsiteX11" fmla="*/ 130212 w 200289"/>
                <a:gd name="connsiteY11" fmla="*/ 55416 h 62244"/>
                <a:gd name="connsiteX12" fmla="*/ 169219 w 200289"/>
                <a:gd name="connsiteY12" fmla="*/ 46492 h 62244"/>
                <a:gd name="connsiteX13" fmla="*/ 172750 w 200289"/>
                <a:gd name="connsiteY13" fmla="*/ 31952 h 62244"/>
                <a:gd name="connsiteX14" fmla="*/ 200230 w 200289"/>
                <a:gd name="connsiteY14" fmla="*/ 18149 h 62244"/>
                <a:gd name="connsiteX15" fmla="*/ 155783 w 200289"/>
                <a:gd name="connsiteY15" fmla="*/ 6617 h 62244"/>
                <a:gd name="connsiteX16" fmla="*/ 155946 w 200289"/>
                <a:gd name="connsiteY16" fmla="*/ 6617 h 6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289" h="62244">
                  <a:moveTo>
                    <a:pt x="155946" y="6617"/>
                  </a:moveTo>
                  <a:cubicBezTo>
                    <a:pt x="137437" y="4411"/>
                    <a:pt x="125544" y="6617"/>
                    <a:pt x="110161" y="10762"/>
                  </a:cubicBezTo>
                  <a:cubicBezTo>
                    <a:pt x="97131" y="14104"/>
                    <a:pt x="71519" y="10996"/>
                    <a:pt x="56947" y="9826"/>
                  </a:cubicBezTo>
                  <a:cubicBezTo>
                    <a:pt x="38560" y="8355"/>
                    <a:pt x="28048" y="6684"/>
                    <a:pt x="14004" y="835"/>
                  </a:cubicBezTo>
                  <a:cubicBezTo>
                    <a:pt x="9660" y="-1408"/>
                    <a:pt x="3978" y="-341"/>
                    <a:pt x="1258" y="3222"/>
                  </a:cubicBezTo>
                  <a:cubicBezTo>
                    <a:pt x="609" y="4054"/>
                    <a:pt x="162" y="4980"/>
                    <a:pt x="-41" y="5949"/>
                  </a:cubicBezTo>
                  <a:cubicBezTo>
                    <a:pt x="-609" y="11798"/>
                    <a:pt x="11812" y="15709"/>
                    <a:pt x="15505" y="20956"/>
                  </a:cubicBezTo>
                  <a:cubicBezTo>
                    <a:pt x="18103" y="24666"/>
                    <a:pt x="-9620" y="31485"/>
                    <a:pt x="4424" y="39607"/>
                  </a:cubicBezTo>
                  <a:cubicBezTo>
                    <a:pt x="16601" y="46759"/>
                    <a:pt x="20052" y="54981"/>
                    <a:pt x="38276" y="55249"/>
                  </a:cubicBezTo>
                  <a:cubicBezTo>
                    <a:pt x="57394" y="55583"/>
                    <a:pt x="72696" y="58825"/>
                    <a:pt x="91043" y="60831"/>
                  </a:cubicBezTo>
                  <a:cubicBezTo>
                    <a:pt x="96969" y="61770"/>
                    <a:pt x="102976" y="62097"/>
                    <a:pt x="108983" y="61800"/>
                  </a:cubicBezTo>
                  <a:cubicBezTo>
                    <a:pt x="118644" y="60797"/>
                    <a:pt x="115640" y="55416"/>
                    <a:pt x="130212" y="55416"/>
                  </a:cubicBezTo>
                  <a:cubicBezTo>
                    <a:pt x="123677" y="40576"/>
                    <a:pt x="191299" y="62535"/>
                    <a:pt x="169219" y="46492"/>
                  </a:cubicBezTo>
                  <a:cubicBezTo>
                    <a:pt x="159193" y="39205"/>
                    <a:pt x="165160" y="36665"/>
                    <a:pt x="172750" y="31952"/>
                  </a:cubicBezTo>
                  <a:cubicBezTo>
                    <a:pt x="178392" y="28610"/>
                    <a:pt x="198159" y="21925"/>
                    <a:pt x="200230" y="18149"/>
                  </a:cubicBezTo>
                  <a:cubicBezTo>
                    <a:pt x="183994" y="14205"/>
                    <a:pt x="173643" y="8823"/>
                    <a:pt x="155783" y="6617"/>
                  </a:cubicBezTo>
                  <a:cubicBezTo>
                    <a:pt x="148234" y="5715"/>
                    <a:pt x="163496" y="7553"/>
                    <a:pt x="155946" y="661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99799FAB-3BCD-49C8-939E-267447C2689F}"/>
                </a:ext>
              </a:extLst>
            </p:cNvPr>
            <p:cNvSpPr/>
            <p:nvPr/>
          </p:nvSpPr>
          <p:spPr>
            <a:xfrm>
              <a:off x="6415335" y="4078606"/>
              <a:ext cx="83118" cy="31284"/>
            </a:xfrm>
            <a:custGeom>
              <a:avLst/>
              <a:gdLst>
                <a:gd name="connsiteX0" fmla="*/ 18027 w 83118"/>
                <a:gd name="connsiteY0" fmla="*/ 30946 h 31284"/>
                <a:gd name="connsiteX1" fmla="*/ 36090 w 83118"/>
                <a:gd name="connsiteY1" fmla="*/ 30946 h 31284"/>
                <a:gd name="connsiteX2" fmla="*/ 51514 w 83118"/>
                <a:gd name="connsiteY2" fmla="*/ 26400 h 31284"/>
                <a:gd name="connsiteX3" fmla="*/ 67141 w 83118"/>
                <a:gd name="connsiteY3" fmla="*/ 25197 h 31284"/>
                <a:gd name="connsiteX4" fmla="*/ 61743 w 83118"/>
                <a:gd name="connsiteY4" fmla="*/ -339 h 31284"/>
                <a:gd name="connsiteX5" fmla="*/ 4389 w 83118"/>
                <a:gd name="connsiteY5" fmla="*/ 2302 h 31284"/>
                <a:gd name="connsiteX6" fmla="*/ 18027 w 83118"/>
                <a:gd name="connsiteY6" fmla="*/ 30946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18" h="31284">
                  <a:moveTo>
                    <a:pt x="18027" y="30946"/>
                  </a:moveTo>
                  <a:cubicBezTo>
                    <a:pt x="24035" y="30612"/>
                    <a:pt x="30083" y="30612"/>
                    <a:pt x="36090" y="30946"/>
                  </a:cubicBezTo>
                  <a:cubicBezTo>
                    <a:pt x="43477" y="30712"/>
                    <a:pt x="45832" y="28105"/>
                    <a:pt x="51514" y="26400"/>
                  </a:cubicBezTo>
                  <a:cubicBezTo>
                    <a:pt x="54721" y="25464"/>
                    <a:pt x="63082" y="25966"/>
                    <a:pt x="67141" y="25197"/>
                  </a:cubicBezTo>
                  <a:cubicBezTo>
                    <a:pt x="107041" y="17509"/>
                    <a:pt x="59023" y="11827"/>
                    <a:pt x="61743" y="-339"/>
                  </a:cubicBezTo>
                  <a:cubicBezTo>
                    <a:pt x="50540" y="62"/>
                    <a:pt x="13360" y="5911"/>
                    <a:pt x="4389" y="2302"/>
                  </a:cubicBezTo>
                  <a:cubicBezTo>
                    <a:pt x="-3810" y="14836"/>
                    <a:pt x="-1455" y="22289"/>
                    <a:pt x="18027" y="3094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888CBCBE-C99A-489B-BC54-0DA4AE40E028}"/>
                </a:ext>
              </a:extLst>
            </p:cNvPr>
            <p:cNvSpPr/>
            <p:nvPr/>
          </p:nvSpPr>
          <p:spPr>
            <a:xfrm>
              <a:off x="6479265" y="3873979"/>
              <a:ext cx="581597" cy="183001"/>
            </a:xfrm>
            <a:custGeom>
              <a:avLst/>
              <a:gdLst>
                <a:gd name="connsiteX0" fmla="*/ 514155 w 581597"/>
                <a:gd name="connsiteY0" fmla="*/ 129954 h 183001"/>
                <a:gd name="connsiteX1" fmla="*/ 549752 w 581597"/>
                <a:gd name="connsiteY1" fmla="*/ 124706 h 183001"/>
                <a:gd name="connsiteX2" fmla="*/ 567246 w 581597"/>
                <a:gd name="connsiteY2" fmla="*/ 126310 h 183001"/>
                <a:gd name="connsiteX3" fmla="*/ 571995 w 581597"/>
                <a:gd name="connsiteY3" fmla="*/ 114378 h 183001"/>
                <a:gd name="connsiteX4" fmla="*/ 577475 w 581597"/>
                <a:gd name="connsiteY4" fmla="*/ 108061 h 183001"/>
                <a:gd name="connsiteX5" fmla="*/ 576054 w 581597"/>
                <a:gd name="connsiteY5" fmla="*/ 99405 h 183001"/>
                <a:gd name="connsiteX6" fmla="*/ 532664 w 581597"/>
                <a:gd name="connsiteY6" fmla="*/ 78949 h 183001"/>
                <a:gd name="connsiteX7" fmla="*/ 498812 w 581597"/>
                <a:gd name="connsiteY7" fmla="*/ 65346 h 183001"/>
                <a:gd name="connsiteX8" fmla="*/ 471942 w 581597"/>
                <a:gd name="connsiteY8" fmla="*/ 65346 h 183001"/>
                <a:gd name="connsiteX9" fmla="*/ 458384 w 581597"/>
                <a:gd name="connsiteY9" fmla="*/ 61034 h 183001"/>
                <a:gd name="connsiteX10" fmla="*/ 442148 w 581597"/>
                <a:gd name="connsiteY10" fmla="*/ 58394 h 183001"/>
                <a:gd name="connsiteX11" fmla="*/ 413735 w 581597"/>
                <a:gd name="connsiteY11" fmla="*/ 38340 h 183001"/>
                <a:gd name="connsiteX12" fmla="*/ 392792 w 581597"/>
                <a:gd name="connsiteY12" fmla="*/ 14609 h 183001"/>
                <a:gd name="connsiteX13" fmla="*/ 352526 w 581597"/>
                <a:gd name="connsiteY13" fmla="*/ 7089 h 183001"/>
                <a:gd name="connsiteX14" fmla="*/ 331785 w 581597"/>
                <a:gd name="connsiteY14" fmla="*/ 9328 h 183001"/>
                <a:gd name="connsiteX15" fmla="*/ 320420 w 581597"/>
                <a:gd name="connsiteY15" fmla="*/ 8927 h 183001"/>
                <a:gd name="connsiteX16" fmla="*/ 302966 w 581597"/>
                <a:gd name="connsiteY16" fmla="*/ 7891 h 183001"/>
                <a:gd name="connsiteX17" fmla="*/ 274554 w 581597"/>
                <a:gd name="connsiteY17" fmla="*/ 17483 h 183001"/>
                <a:gd name="connsiteX18" fmla="*/ 238023 w 581597"/>
                <a:gd name="connsiteY18" fmla="*/ 19689 h 183001"/>
                <a:gd name="connsiteX19" fmla="*/ 222030 w 581597"/>
                <a:gd name="connsiteY19" fmla="*/ 14709 h 183001"/>
                <a:gd name="connsiteX20" fmla="*/ 197270 w 581597"/>
                <a:gd name="connsiteY20" fmla="*/ 12035 h 183001"/>
                <a:gd name="connsiteX21" fmla="*/ 180060 w 581597"/>
                <a:gd name="connsiteY21" fmla="*/ 11601 h 183001"/>
                <a:gd name="connsiteX22" fmla="*/ 147589 w 581597"/>
                <a:gd name="connsiteY22" fmla="*/ 7256 h 183001"/>
                <a:gd name="connsiteX23" fmla="*/ 96851 w 581597"/>
                <a:gd name="connsiteY23" fmla="*/ -231 h 183001"/>
                <a:gd name="connsiteX24" fmla="*/ 46845 w 581597"/>
                <a:gd name="connsiteY24" fmla="*/ 6086 h 183001"/>
                <a:gd name="connsiteX25" fmla="*/ 59022 w 581597"/>
                <a:gd name="connsiteY25" fmla="*/ 21795 h 183001"/>
                <a:gd name="connsiteX26" fmla="*/ 44003 w 581597"/>
                <a:gd name="connsiteY26" fmla="*/ 35666 h 183001"/>
                <a:gd name="connsiteX27" fmla="*/ 18432 w 581597"/>
                <a:gd name="connsiteY27" fmla="*/ 47197 h 183001"/>
                <a:gd name="connsiteX28" fmla="*/ 14698 w 581597"/>
                <a:gd name="connsiteY28" fmla="*/ 61302 h 183001"/>
                <a:gd name="connsiteX29" fmla="*/ 1587 w 581597"/>
                <a:gd name="connsiteY29" fmla="*/ 76543 h 183001"/>
                <a:gd name="connsiteX30" fmla="*/ 40391 w 581597"/>
                <a:gd name="connsiteY30" fmla="*/ 85367 h 183001"/>
                <a:gd name="connsiteX31" fmla="*/ 83010 w 581597"/>
                <a:gd name="connsiteY31" fmla="*/ 92553 h 183001"/>
                <a:gd name="connsiteX32" fmla="*/ 127903 w 581597"/>
                <a:gd name="connsiteY32" fmla="*/ 89210 h 183001"/>
                <a:gd name="connsiteX33" fmla="*/ 157695 w 581597"/>
                <a:gd name="connsiteY33" fmla="*/ 83060 h 183001"/>
                <a:gd name="connsiteX34" fmla="*/ 193942 w 581597"/>
                <a:gd name="connsiteY34" fmla="*/ 90079 h 183001"/>
                <a:gd name="connsiteX35" fmla="*/ 220772 w 581597"/>
                <a:gd name="connsiteY35" fmla="*/ 101644 h 183001"/>
                <a:gd name="connsiteX36" fmla="*/ 244476 w 581597"/>
                <a:gd name="connsiteY36" fmla="*/ 126076 h 183001"/>
                <a:gd name="connsiteX37" fmla="*/ 224182 w 581597"/>
                <a:gd name="connsiteY37" fmla="*/ 128149 h 183001"/>
                <a:gd name="connsiteX38" fmla="*/ 207377 w 581597"/>
                <a:gd name="connsiteY38" fmla="*/ 138777 h 183001"/>
                <a:gd name="connsiteX39" fmla="*/ 195850 w 581597"/>
                <a:gd name="connsiteY39" fmla="*/ 152882 h 183001"/>
                <a:gd name="connsiteX40" fmla="*/ 232096 w 581597"/>
                <a:gd name="connsiteY40" fmla="*/ 156225 h 183001"/>
                <a:gd name="connsiteX41" fmla="*/ 254218 w 581597"/>
                <a:gd name="connsiteY41" fmla="*/ 142187 h 183001"/>
                <a:gd name="connsiteX42" fmla="*/ 285066 w 581597"/>
                <a:gd name="connsiteY42" fmla="*/ 128817 h 183001"/>
                <a:gd name="connsiteX43" fmla="*/ 319892 w 581597"/>
                <a:gd name="connsiteY43" fmla="*/ 132694 h 183001"/>
                <a:gd name="connsiteX44" fmla="*/ 325453 w 581597"/>
                <a:gd name="connsiteY44" fmla="*/ 142220 h 183001"/>
                <a:gd name="connsiteX45" fmla="*/ 352486 w 581597"/>
                <a:gd name="connsiteY45" fmla="*/ 153183 h 183001"/>
                <a:gd name="connsiteX46" fmla="*/ 324397 w 581597"/>
                <a:gd name="connsiteY46" fmla="*/ 157595 h 183001"/>
                <a:gd name="connsiteX47" fmla="*/ 355976 w 581597"/>
                <a:gd name="connsiteY47" fmla="*/ 167823 h 183001"/>
                <a:gd name="connsiteX48" fmla="*/ 366611 w 581597"/>
                <a:gd name="connsiteY48" fmla="*/ 182562 h 183001"/>
                <a:gd name="connsiteX49" fmla="*/ 419865 w 581597"/>
                <a:gd name="connsiteY49" fmla="*/ 174407 h 183001"/>
                <a:gd name="connsiteX50" fmla="*/ 457573 w 581597"/>
                <a:gd name="connsiteY50" fmla="*/ 175711 h 183001"/>
                <a:gd name="connsiteX51" fmla="*/ 425750 w 581597"/>
                <a:gd name="connsiteY51" fmla="*/ 168391 h 183001"/>
                <a:gd name="connsiteX52" fmla="*/ 401397 w 581597"/>
                <a:gd name="connsiteY52" fmla="*/ 155322 h 183001"/>
                <a:gd name="connsiteX53" fmla="*/ 419946 w 581597"/>
                <a:gd name="connsiteY53" fmla="*/ 145462 h 183001"/>
                <a:gd name="connsiteX54" fmla="*/ 468654 w 581597"/>
                <a:gd name="connsiteY54" fmla="*/ 141518 h 183001"/>
                <a:gd name="connsiteX55" fmla="*/ 502099 w 581597"/>
                <a:gd name="connsiteY55" fmla="*/ 138176 h 183001"/>
                <a:gd name="connsiteX56" fmla="*/ 514276 w 581597"/>
                <a:gd name="connsiteY56" fmla="*/ 130020 h 18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1597" h="183001">
                  <a:moveTo>
                    <a:pt x="514155" y="129954"/>
                  </a:moveTo>
                  <a:cubicBezTo>
                    <a:pt x="528929" y="130254"/>
                    <a:pt x="532704" y="121899"/>
                    <a:pt x="549752" y="124706"/>
                  </a:cubicBezTo>
                  <a:cubicBezTo>
                    <a:pt x="551051" y="124940"/>
                    <a:pt x="567002" y="128049"/>
                    <a:pt x="567246" y="126310"/>
                  </a:cubicBezTo>
                  <a:cubicBezTo>
                    <a:pt x="567936" y="121698"/>
                    <a:pt x="578571" y="119425"/>
                    <a:pt x="571995" y="114378"/>
                  </a:cubicBezTo>
                  <a:cubicBezTo>
                    <a:pt x="565419" y="109331"/>
                    <a:pt x="569194" y="109331"/>
                    <a:pt x="577475" y="108061"/>
                  </a:cubicBezTo>
                  <a:cubicBezTo>
                    <a:pt x="587297" y="106557"/>
                    <a:pt x="568180" y="102279"/>
                    <a:pt x="576054" y="99405"/>
                  </a:cubicBezTo>
                  <a:cubicBezTo>
                    <a:pt x="598419" y="91249"/>
                    <a:pt x="546018" y="81389"/>
                    <a:pt x="532664" y="78949"/>
                  </a:cubicBezTo>
                  <a:cubicBezTo>
                    <a:pt x="515332" y="75607"/>
                    <a:pt x="507701" y="75440"/>
                    <a:pt x="498812" y="65346"/>
                  </a:cubicBezTo>
                  <a:cubicBezTo>
                    <a:pt x="494266" y="60199"/>
                    <a:pt x="477624" y="65613"/>
                    <a:pt x="471942" y="65346"/>
                  </a:cubicBezTo>
                  <a:cubicBezTo>
                    <a:pt x="467030" y="64928"/>
                    <a:pt x="462362" y="63441"/>
                    <a:pt x="458384" y="61034"/>
                  </a:cubicBezTo>
                  <a:cubicBezTo>
                    <a:pt x="451768" y="57692"/>
                    <a:pt x="449698" y="59330"/>
                    <a:pt x="442148" y="58394"/>
                  </a:cubicBezTo>
                  <a:cubicBezTo>
                    <a:pt x="429971" y="56856"/>
                    <a:pt x="436466" y="40479"/>
                    <a:pt x="413735" y="38340"/>
                  </a:cubicBezTo>
                  <a:cubicBezTo>
                    <a:pt x="387352" y="35933"/>
                    <a:pt x="397865" y="23600"/>
                    <a:pt x="392792" y="14609"/>
                  </a:cubicBezTo>
                  <a:cubicBezTo>
                    <a:pt x="387718" y="5618"/>
                    <a:pt x="365880" y="8860"/>
                    <a:pt x="352526" y="7089"/>
                  </a:cubicBezTo>
                  <a:cubicBezTo>
                    <a:pt x="342460" y="5785"/>
                    <a:pt x="340349" y="7790"/>
                    <a:pt x="331785" y="9328"/>
                  </a:cubicBezTo>
                  <a:cubicBezTo>
                    <a:pt x="328010" y="9896"/>
                    <a:pt x="324113" y="9759"/>
                    <a:pt x="320420" y="8927"/>
                  </a:cubicBezTo>
                  <a:cubicBezTo>
                    <a:pt x="313316" y="7022"/>
                    <a:pt x="311653" y="7857"/>
                    <a:pt x="302966" y="7891"/>
                  </a:cubicBezTo>
                  <a:cubicBezTo>
                    <a:pt x="294280" y="7924"/>
                    <a:pt x="275162" y="11835"/>
                    <a:pt x="274554" y="17483"/>
                  </a:cubicBezTo>
                  <a:cubicBezTo>
                    <a:pt x="273458" y="28747"/>
                    <a:pt x="253122" y="16046"/>
                    <a:pt x="238023" y="19689"/>
                  </a:cubicBezTo>
                  <a:cubicBezTo>
                    <a:pt x="233720" y="20725"/>
                    <a:pt x="226211" y="15344"/>
                    <a:pt x="222030" y="14709"/>
                  </a:cubicBezTo>
                  <a:cubicBezTo>
                    <a:pt x="215171" y="13673"/>
                    <a:pt x="204617" y="12804"/>
                    <a:pt x="197270" y="12035"/>
                  </a:cubicBezTo>
                  <a:cubicBezTo>
                    <a:pt x="191588" y="11434"/>
                    <a:pt x="188503" y="13606"/>
                    <a:pt x="180060" y="11601"/>
                  </a:cubicBezTo>
                  <a:cubicBezTo>
                    <a:pt x="169020" y="8994"/>
                    <a:pt x="158183" y="9495"/>
                    <a:pt x="147589" y="7256"/>
                  </a:cubicBezTo>
                  <a:cubicBezTo>
                    <a:pt x="131028" y="3395"/>
                    <a:pt x="114021" y="885"/>
                    <a:pt x="96851" y="-231"/>
                  </a:cubicBezTo>
                  <a:cubicBezTo>
                    <a:pt x="75379" y="-1401"/>
                    <a:pt x="66612" y="7389"/>
                    <a:pt x="46845" y="6086"/>
                  </a:cubicBezTo>
                  <a:cubicBezTo>
                    <a:pt x="47738" y="12035"/>
                    <a:pt x="54963" y="16347"/>
                    <a:pt x="59022" y="21795"/>
                  </a:cubicBezTo>
                  <a:cubicBezTo>
                    <a:pt x="66044" y="30585"/>
                    <a:pt x="54557" y="30786"/>
                    <a:pt x="44003" y="35666"/>
                  </a:cubicBezTo>
                  <a:cubicBezTo>
                    <a:pt x="35602" y="39576"/>
                    <a:pt x="26550" y="43119"/>
                    <a:pt x="18432" y="47197"/>
                  </a:cubicBezTo>
                  <a:cubicBezTo>
                    <a:pt x="11167" y="50873"/>
                    <a:pt x="21476" y="58828"/>
                    <a:pt x="14698" y="61302"/>
                  </a:cubicBezTo>
                  <a:cubicBezTo>
                    <a:pt x="7229" y="64042"/>
                    <a:pt x="-4380" y="71329"/>
                    <a:pt x="1587" y="76543"/>
                  </a:cubicBezTo>
                  <a:cubicBezTo>
                    <a:pt x="11532" y="85032"/>
                    <a:pt x="25292" y="83227"/>
                    <a:pt x="40391" y="85367"/>
                  </a:cubicBezTo>
                  <a:cubicBezTo>
                    <a:pt x="51431" y="87038"/>
                    <a:pt x="75095" y="87840"/>
                    <a:pt x="83010" y="92553"/>
                  </a:cubicBezTo>
                  <a:cubicBezTo>
                    <a:pt x="86054" y="94291"/>
                    <a:pt x="123113" y="90514"/>
                    <a:pt x="127903" y="89210"/>
                  </a:cubicBezTo>
                  <a:cubicBezTo>
                    <a:pt x="137441" y="86025"/>
                    <a:pt x="147467" y="83953"/>
                    <a:pt x="157695" y="83060"/>
                  </a:cubicBezTo>
                  <a:cubicBezTo>
                    <a:pt x="176164" y="81456"/>
                    <a:pt x="178883" y="84431"/>
                    <a:pt x="193942" y="90079"/>
                  </a:cubicBezTo>
                  <a:cubicBezTo>
                    <a:pt x="204617" y="94090"/>
                    <a:pt x="216672" y="93188"/>
                    <a:pt x="220772" y="101644"/>
                  </a:cubicBezTo>
                  <a:cubicBezTo>
                    <a:pt x="225156" y="110768"/>
                    <a:pt x="240214" y="117286"/>
                    <a:pt x="244476" y="126076"/>
                  </a:cubicBezTo>
                  <a:cubicBezTo>
                    <a:pt x="249266" y="136104"/>
                    <a:pt x="235790" y="130422"/>
                    <a:pt x="224182" y="128149"/>
                  </a:cubicBezTo>
                  <a:cubicBezTo>
                    <a:pt x="210462" y="125441"/>
                    <a:pt x="212329" y="135067"/>
                    <a:pt x="207377" y="138777"/>
                  </a:cubicBezTo>
                  <a:cubicBezTo>
                    <a:pt x="202425" y="142488"/>
                    <a:pt x="182618" y="149807"/>
                    <a:pt x="195850" y="152882"/>
                  </a:cubicBezTo>
                  <a:cubicBezTo>
                    <a:pt x="212492" y="156826"/>
                    <a:pt x="216145" y="147668"/>
                    <a:pt x="232096" y="156225"/>
                  </a:cubicBezTo>
                  <a:cubicBezTo>
                    <a:pt x="231691" y="147133"/>
                    <a:pt x="243867" y="147501"/>
                    <a:pt x="254218" y="142187"/>
                  </a:cubicBezTo>
                  <a:cubicBezTo>
                    <a:pt x="266111" y="136070"/>
                    <a:pt x="267247" y="130422"/>
                    <a:pt x="285066" y="128817"/>
                  </a:cubicBezTo>
                  <a:cubicBezTo>
                    <a:pt x="289612" y="128383"/>
                    <a:pt x="326752" y="126979"/>
                    <a:pt x="319892" y="132694"/>
                  </a:cubicBezTo>
                  <a:cubicBezTo>
                    <a:pt x="314129" y="137474"/>
                    <a:pt x="310557" y="140215"/>
                    <a:pt x="325453" y="142220"/>
                  </a:cubicBezTo>
                  <a:cubicBezTo>
                    <a:pt x="338766" y="143958"/>
                    <a:pt x="393441" y="147768"/>
                    <a:pt x="352486" y="153183"/>
                  </a:cubicBezTo>
                  <a:cubicBezTo>
                    <a:pt x="349563" y="153551"/>
                    <a:pt x="323830" y="155456"/>
                    <a:pt x="324397" y="157595"/>
                  </a:cubicBezTo>
                  <a:cubicBezTo>
                    <a:pt x="325453" y="161606"/>
                    <a:pt x="350334" y="165349"/>
                    <a:pt x="355976" y="167823"/>
                  </a:cubicBezTo>
                  <a:cubicBezTo>
                    <a:pt x="365962" y="172168"/>
                    <a:pt x="343799" y="183866"/>
                    <a:pt x="366611" y="182562"/>
                  </a:cubicBezTo>
                  <a:cubicBezTo>
                    <a:pt x="384714" y="181493"/>
                    <a:pt x="401762" y="175878"/>
                    <a:pt x="419865" y="174407"/>
                  </a:cubicBezTo>
                  <a:cubicBezTo>
                    <a:pt x="427171" y="173805"/>
                    <a:pt x="453189" y="178618"/>
                    <a:pt x="457573" y="175711"/>
                  </a:cubicBezTo>
                  <a:cubicBezTo>
                    <a:pt x="464595" y="170998"/>
                    <a:pt x="427983" y="168491"/>
                    <a:pt x="425750" y="168391"/>
                  </a:cubicBezTo>
                  <a:cubicBezTo>
                    <a:pt x="411747" y="167789"/>
                    <a:pt x="402573" y="162575"/>
                    <a:pt x="401397" y="155322"/>
                  </a:cubicBezTo>
                  <a:cubicBezTo>
                    <a:pt x="400382" y="149607"/>
                    <a:pt x="411585" y="147468"/>
                    <a:pt x="419946" y="145462"/>
                  </a:cubicBezTo>
                  <a:cubicBezTo>
                    <a:pt x="435776" y="141652"/>
                    <a:pt x="451809" y="143123"/>
                    <a:pt x="468654" y="141518"/>
                  </a:cubicBezTo>
                  <a:cubicBezTo>
                    <a:pt x="479978" y="140449"/>
                    <a:pt x="490450" y="138577"/>
                    <a:pt x="502099" y="138176"/>
                  </a:cubicBezTo>
                  <a:cubicBezTo>
                    <a:pt x="518335" y="137608"/>
                    <a:pt x="506564" y="129887"/>
                    <a:pt x="514276" y="1300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8D2470E2-5064-4572-ADC9-D9676865D7A3}"/>
                </a:ext>
              </a:extLst>
            </p:cNvPr>
            <p:cNvSpPr/>
            <p:nvPr/>
          </p:nvSpPr>
          <p:spPr>
            <a:xfrm>
              <a:off x="6516987" y="3780341"/>
              <a:ext cx="310360" cy="117538"/>
            </a:xfrm>
            <a:custGeom>
              <a:avLst/>
              <a:gdLst>
                <a:gd name="connsiteX0" fmla="*/ 295038 w 310360"/>
                <a:gd name="connsiteY0" fmla="*/ 64095 h 117538"/>
                <a:gd name="connsiteX1" fmla="*/ 266625 w 310360"/>
                <a:gd name="connsiteY1" fmla="*/ 44509 h 117538"/>
                <a:gd name="connsiteX2" fmla="*/ 259278 w 310360"/>
                <a:gd name="connsiteY2" fmla="*/ 32610 h 117538"/>
                <a:gd name="connsiteX3" fmla="*/ 258101 w 310360"/>
                <a:gd name="connsiteY3" fmla="*/ 17469 h 117538"/>
                <a:gd name="connsiteX4" fmla="*/ 238049 w 310360"/>
                <a:gd name="connsiteY4" fmla="*/ 11687 h 117538"/>
                <a:gd name="connsiteX5" fmla="*/ 209637 w 310360"/>
                <a:gd name="connsiteY5" fmla="*/ 9748 h 117538"/>
                <a:gd name="connsiteX6" fmla="*/ 185608 w 310360"/>
                <a:gd name="connsiteY6" fmla="*/ 4333 h 117538"/>
                <a:gd name="connsiteX7" fmla="*/ 163040 w 310360"/>
                <a:gd name="connsiteY7" fmla="*/ 991 h 117538"/>
                <a:gd name="connsiteX8" fmla="*/ 142380 w 310360"/>
                <a:gd name="connsiteY8" fmla="*/ 5604 h 117538"/>
                <a:gd name="connsiteX9" fmla="*/ 117011 w 310360"/>
                <a:gd name="connsiteY9" fmla="*/ 15129 h 117538"/>
                <a:gd name="connsiteX10" fmla="*/ 86244 w 310360"/>
                <a:gd name="connsiteY10" fmla="*/ 30571 h 117538"/>
                <a:gd name="connsiteX11" fmla="*/ 78126 w 310360"/>
                <a:gd name="connsiteY11" fmla="*/ 40431 h 117538"/>
                <a:gd name="connsiteX12" fmla="*/ 51662 w 310360"/>
                <a:gd name="connsiteY12" fmla="*/ 45110 h 117538"/>
                <a:gd name="connsiteX13" fmla="*/ 24425 w 310360"/>
                <a:gd name="connsiteY13" fmla="*/ 44776 h 117538"/>
                <a:gd name="connsiteX14" fmla="*/ 18824 w 310360"/>
                <a:gd name="connsiteY14" fmla="*/ 58781 h 117538"/>
                <a:gd name="connsiteX15" fmla="*/ 1817 w 310360"/>
                <a:gd name="connsiteY15" fmla="*/ 79269 h 117538"/>
                <a:gd name="connsiteX16" fmla="*/ 9489 w 310360"/>
                <a:gd name="connsiteY16" fmla="*/ 87959 h 117538"/>
                <a:gd name="connsiteX17" fmla="*/ 21097 w 310360"/>
                <a:gd name="connsiteY17" fmla="*/ 100159 h 117538"/>
                <a:gd name="connsiteX18" fmla="*/ 40824 w 310360"/>
                <a:gd name="connsiteY18" fmla="*/ 93474 h 117538"/>
                <a:gd name="connsiteX19" fmla="*/ 72525 w 310360"/>
                <a:gd name="connsiteY19" fmla="*/ 94611 h 117538"/>
                <a:gd name="connsiteX20" fmla="*/ 122653 w 310360"/>
                <a:gd name="connsiteY20" fmla="*/ 102298 h 117538"/>
                <a:gd name="connsiteX21" fmla="*/ 149320 w 310360"/>
                <a:gd name="connsiteY21" fmla="*/ 107011 h 117538"/>
                <a:gd name="connsiteX22" fmla="*/ 168032 w 310360"/>
                <a:gd name="connsiteY22" fmla="*/ 108147 h 117538"/>
                <a:gd name="connsiteX23" fmla="*/ 189017 w 310360"/>
                <a:gd name="connsiteY23" fmla="*/ 110019 h 117538"/>
                <a:gd name="connsiteX24" fmla="*/ 209312 w 310360"/>
                <a:gd name="connsiteY24" fmla="*/ 113361 h 117538"/>
                <a:gd name="connsiteX25" fmla="*/ 230418 w 310360"/>
                <a:gd name="connsiteY25" fmla="*/ 116704 h 117538"/>
                <a:gd name="connsiteX26" fmla="*/ 241053 w 310360"/>
                <a:gd name="connsiteY26" fmla="*/ 108314 h 117538"/>
                <a:gd name="connsiteX27" fmla="*/ 279005 w 310360"/>
                <a:gd name="connsiteY27" fmla="*/ 101128 h 117538"/>
                <a:gd name="connsiteX28" fmla="*/ 284890 w 310360"/>
                <a:gd name="connsiteY28" fmla="*/ 79570 h 117538"/>
                <a:gd name="connsiteX29" fmla="*/ 295038 w 310360"/>
                <a:gd name="connsiteY29" fmla="*/ 64362 h 117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10360" h="117538">
                  <a:moveTo>
                    <a:pt x="295038" y="64095"/>
                  </a:moveTo>
                  <a:cubicBezTo>
                    <a:pt x="284931" y="62056"/>
                    <a:pt x="270968" y="49088"/>
                    <a:pt x="266625" y="44509"/>
                  </a:cubicBezTo>
                  <a:cubicBezTo>
                    <a:pt x="261551" y="39161"/>
                    <a:pt x="257208" y="38894"/>
                    <a:pt x="259278" y="32610"/>
                  </a:cubicBezTo>
                  <a:cubicBezTo>
                    <a:pt x="260171" y="30003"/>
                    <a:pt x="263784" y="19240"/>
                    <a:pt x="258101" y="17469"/>
                  </a:cubicBezTo>
                  <a:cubicBezTo>
                    <a:pt x="251607" y="15163"/>
                    <a:pt x="244869" y="13231"/>
                    <a:pt x="238049" y="11687"/>
                  </a:cubicBezTo>
                  <a:cubicBezTo>
                    <a:pt x="229485" y="9949"/>
                    <a:pt x="214183" y="14795"/>
                    <a:pt x="209637" y="9748"/>
                  </a:cubicBezTo>
                  <a:cubicBezTo>
                    <a:pt x="203548" y="3264"/>
                    <a:pt x="196161" y="5871"/>
                    <a:pt x="185608" y="4333"/>
                  </a:cubicBezTo>
                  <a:cubicBezTo>
                    <a:pt x="175054" y="2796"/>
                    <a:pt x="174648" y="-2886"/>
                    <a:pt x="163040" y="991"/>
                  </a:cubicBezTo>
                  <a:cubicBezTo>
                    <a:pt x="153907" y="4099"/>
                    <a:pt x="155612" y="6941"/>
                    <a:pt x="142380" y="5604"/>
                  </a:cubicBezTo>
                  <a:cubicBezTo>
                    <a:pt x="130933" y="4467"/>
                    <a:pt x="114819" y="8043"/>
                    <a:pt x="117011" y="15129"/>
                  </a:cubicBezTo>
                  <a:cubicBezTo>
                    <a:pt x="119649" y="23819"/>
                    <a:pt x="95579" y="24923"/>
                    <a:pt x="86244" y="30571"/>
                  </a:cubicBezTo>
                  <a:cubicBezTo>
                    <a:pt x="83606" y="32142"/>
                    <a:pt x="83200" y="40598"/>
                    <a:pt x="78126" y="40431"/>
                  </a:cubicBezTo>
                  <a:cubicBezTo>
                    <a:pt x="68953" y="39866"/>
                    <a:pt x="59739" y="41490"/>
                    <a:pt x="51662" y="45110"/>
                  </a:cubicBezTo>
                  <a:cubicBezTo>
                    <a:pt x="44233" y="47951"/>
                    <a:pt x="32950" y="45344"/>
                    <a:pt x="24425" y="44776"/>
                  </a:cubicBezTo>
                  <a:cubicBezTo>
                    <a:pt x="8961" y="43773"/>
                    <a:pt x="8190" y="53333"/>
                    <a:pt x="18824" y="58781"/>
                  </a:cubicBezTo>
                  <a:cubicBezTo>
                    <a:pt x="38794" y="68808"/>
                    <a:pt x="10706" y="74222"/>
                    <a:pt x="1817" y="79269"/>
                  </a:cubicBezTo>
                  <a:cubicBezTo>
                    <a:pt x="-4353" y="82845"/>
                    <a:pt x="6404" y="85085"/>
                    <a:pt x="9489" y="87959"/>
                  </a:cubicBezTo>
                  <a:cubicBezTo>
                    <a:pt x="15049" y="93173"/>
                    <a:pt x="-537" y="102766"/>
                    <a:pt x="21097" y="100159"/>
                  </a:cubicBezTo>
                  <a:cubicBezTo>
                    <a:pt x="29215" y="99190"/>
                    <a:pt x="32422" y="94377"/>
                    <a:pt x="40824" y="93474"/>
                  </a:cubicBezTo>
                  <a:cubicBezTo>
                    <a:pt x="50160" y="92271"/>
                    <a:pt x="63026" y="93909"/>
                    <a:pt x="72525" y="94611"/>
                  </a:cubicBezTo>
                  <a:cubicBezTo>
                    <a:pt x="90424" y="95914"/>
                    <a:pt x="105808" y="101596"/>
                    <a:pt x="122653" y="102298"/>
                  </a:cubicBezTo>
                  <a:cubicBezTo>
                    <a:pt x="132719" y="102699"/>
                    <a:pt x="139822" y="105640"/>
                    <a:pt x="149320" y="107011"/>
                  </a:cubicBezTo>
                  <a:cubicBezTo>
                    <a:pt x="158006" y="108381"/>
                    <a:pt x="158494" y="105874"/>
                    <a:pt x="168032" y="108147"/>
                  </a:cubicBezTo>
                  <a:cubicBezTo>
                    <a:pt x="175501" y="109952"/>
                    <a:pt x="182238" y="107312"/>
                    <a:pt x="189017" y="110019"/>
                  </a:cubicBezTo>
                  <a:cubicBezTo>
                    <a:pt x="198312" y="113662"/>
                    <a:pt x="198596" y="112927"/>
                    <a:pt x="209312" y="113361"/>
                  </a:cubicBezTo>
                  <a:cubicBezTo>
                    <a:pt x="215319" y="113528"/>
                    <a:pt x="225954" y="113963"/>
                    <a:pt x="230418" y="116704"/>
                  </a:cubicBezTo>
                  <a:cubicBezTo>
                    <a:pt x="234884" y="119444"/>
                    <a:pt x="238049" y="110019"/>
                    <a:pt x="241053" y="108314"/>
                  </a:cubicBezTo>
                  <a:cubicBezTo>
                    <a:pt x="255097" y="101228"/>
                    <a:pt x="261348" y="103869"/>
                    <a:pt x="279005" y="101128"/>
                  </a:cubicBezTo>
                  <a:cubicBezTo>
                    <a:pt x="271698" y="94711"/>
                    <a:pt x="258994" y="72083"/>
                    <a:pt x="284890" y="79570"/>
                  </a:cubicBezTo>
                  <a:cubicBezTo>
                    <a:pt x="307580" y="86255"/>
                    <a:pt x="323450" y="70111"/>
                    <a:pt x="295038" y="6436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DBDFB25D-697B-4680-8D63-7AE59619EFAB}"/>
                </a:ext>
              </a:extLst>
            </p:cNvPr>
            <p:cNvSpPr/>
            <p:nvPr/>
          </p:nvSpPr>
          <p:spPr>
            <a:xfrm>
              <a:off x="6446448" y="3728458"/>
              <a:ext cx="244029" cy="62102"/>
            </a:xfrm>
            <a:custGeom>
              <a:avLst/>
              <a:gdLst>
                <a:gd name="connsiteX0" fmla="*/ 80271 w 244029"/>
                <a:gd name="connsiteY0" fmla="*/ 38601 h 62102"/>
                <a:gd name="connsiteX1" fmla="*/ 154145 w 244029"/>
                <a:gd name="connsiteY1" fmla="*/ 47359 h 62102"/>
                <a:gd name="connsiteX2" fmla="*/ 173628 w 244029"/>
                <a:gd name="connsiteY2" fmla="*/ 55313 h 62102"/>
                <a:gd name="connsiteX3" fmla="*/ 190189 w 244029"/>
                <a:gd name="connsiteY3" fmla="*/ 61764 h 62102"/>
                <a:gd name="connsiteX4" fmla="*/ 205044 w 244029"/>
                <a:gd name="connsiteY4" fmla="*/ 57152 h 62102"/>
                <a:gd name="connsiteX5" fmla="*/ 225339 w 244029"/>
                <a:gd name="connsiteY5" fmla="*/ 57386 h 62102"/>
                <a:gd name="connsiteX6" fmla="*/ 243970 w 244029"/>
                <a:gd name="connsiteY6" fmla="*/ 51369 h 62102"/>
                <a:gd name="connsiteX7" fmla="*/ 232402 w 244029"/>
                <a:gd name="connsiteY7" fmla="*/ 37064 h 62102"/>
                <a:gd name="connsiteX8" fmla="*/ 225055 w 244029"/>
                <a:gd name="connsiteY8" fmla="*/ 20352 h 62102"/>
                <a:gd name="connsiteX9" fmla="*/ 197008 w 244029"/>
                <a:gd name="connsiteY9" fmla="*/ 13233 h 62102"/>
                <a:gd name="connsiteX10" fmla="*/ 175414 w 244029"/>
                <a:gd name="connsiteY10" fmla="*/ 9891 h 62102"/>
                <a:gd name="connsiteX11" fmla="*/ 127559 w 244029"/>
                <a:gd name="connsiteY11" fmla="*/ -337 h 62102"/>
                <a:gd name="connsiteX12" fmla="*/ 96954 w 244029"/>
                <a:gd name="connsiteY12" fmla="*/ 22257 h 62102"/>
                <a:gd name="connsiteX13" fmla="*/ 59084 w 244029"/>
                <a:gd name="connsiteY13" fmla="*/ 4643 h 62102"/>
                <a:gd name="connsiteX14" fmla="*/ 14881 w 244029"/>
                <a:gd name="connsiteY14" fmla="*/ 17277 h 62102"/>
                <a:gd name="connsiteX15" fmla="*/ 14881 w 244029"/>
                <a:gd name="connsiteY15" fmla="*/ 38936 h 62102"/>
                <a:gd name="connsiteX16" fmla="*/ 49504 w 244029"/>
                <a:gd name="connsiteY16" fmla="*/ 35593 h 62102"/>
                <a:gd name="connsiteX17" fmla="*/ 80271 w 244029"/>
                <a:gd name="connsiteY17" fmla="*/ 38601 h 6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4029" h="62102">
                  <a:moveTo>
                    <a:pt x="80271" y="38601"/>
                  </a:moveTo>
                  <a:cubicBezTo>
                    <a:pt x="107426" y="39738"/>
                    <a:pt x="131252" y="40273"/>
                    <a:pt x="154145" y="47359"/>
                  </a:cubicBezTo>
                  <a:cubicBezTo>
                    <a:pt x="160923" y="49531"/>
                    <a:pt x="167418" y="52192"/>
                    <a:pt x="173628" y="55313"/>
                  </a:cubicBezTo>
                  <a:cubicBezTo>
                    <a:pt x="178986" y="57736"/>
                    <a:pt x="184506" y="59889"/>
                    <a:pt x="190189" y="61764"/>
                  </a:cubicBezTo>
                  <a:cubicBezTo>
                    <a:pt x="194329" y="58850"/>
                    <a:pt x="199605" y="57218"/>
                    <a:pt x="205044" y="57152"/>
                  </a:cubicBezTo>
                  <a:cubicBezTo>
                    <a:pt x="211052" y="56951"/>
                    <a:pt x="220185" y="59558"/>
                    <a:pt x="225339" y="57386"/>
                  </a:cubicBezTo>
                  <a:cubicBezTo>
                    <a:pt x="232240" y="54478"/>
                    <a:pt x="233904" y="51837"/>
                    <a:pt x="243970" y="51369"/>
                  </a:cubicBezTo>
                  <a:cubicBezTo>
                    <a:pt x="239465" y="45888"/>
                    <a:pt x="239302" y="42211"/>
                    <a:pt x="232402" y="37064"/>
                  </a:cubicBezTo>
                  <a:cubicBezTo>
                    <a:pt x="224284" y="31148"/>
                    <a:pt x="234350" y="25867"/>
                    <a:pt x="225055" y="20352"/>
                  </a:cubicBezTo>
                  <a:cubicBezTo>
                    <a:pt x="215760" y="14837"/>
                    <a:pt x="211985" y="14503"/>
                    <a:pt x="197008" y="13233"/>
                  </a:cubicBezTo>
                  <a:cubicBezTo>
                    <a:pt x="187997" y="12498"/>
                    <a:pt x="183410" y="12798"/>
                    <a:pt x="175414" y="9891"/>
                  </a:cubicBezTo>
                  <a:cubicBezTo>
                    <a:pt x="156134" y="2905"/>
                    <a:pt x="152116" y="-136"/>
                    <a:pt x="127559" y="-337"/>
                  </a:cubicBezTo>
                  <a:cubicBezTo>
                    <a:pt x="96020" y="-571"/>
                    <a:pt x="130440" y="23060"/>
                    <a:pt x="96954" y="22257"/>
                  </a:cubicBezTo>
                  <a:cubicBezTo>
                    <a:pt x="75725" y="21756"/>
                    <a:pt x="69190" y="13200"/>
                    <a:pt x="59084" y="4643"/>
                  </a:cubicBezTo>
                  <a:cubicBezTo>
                    <a:pt x="48977" y="-3913"/>
                    <a:pt x="17357" y="11328"/>
                    <a:pt x="14881" y="17277"/>
                  </a:cubicBezTo>
                  <a:cubicBezTo>
                    <a:pt x="12649" y="22458"/>
                    <a:pt x="-17591" y="40674"/>
                    <a:pt x="14881" y="38936"/>
                  </a:cubicBezTo>
                  <a:cubicBezTo>
                    <a:pt x="27464" y="38301"/>
                    <a:pt x="36435" y="34858"/>
                    <a:pt x="49504" y="35593"/>
                  </a:cubicBezTo>
                  <a:cubicBezTo>
                    <a:pt x="59733" y="36228"/>
                    <a:pt x="69921" y="38167"/>
                    <a:pt x="80271" y="386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AF44F927-4564-4EFD-8747-62B9A063F068}"/>
                </a:ext>
              </a:extLst>
            </p:cNvPr>
            <p:cNvSpPr/>
            <p:nvPr/>
          </p:nvSpPr>
          <p:spPr>
            <a:xfrm>
              <a:off x="6444001" y="3764324"/>
              <a:ext cx="191040" cy="62949"/>
            </a:xfrm>
            <a:custGeom>
              <a:avLst/>
              <a:gdLst>
                <a:gd name="connsiteX0" fmla="*/ 24715 w 191040"/>
                <a:gd name="connsiteY0" fmla="*/ 28205 h 62949"/>
                <a:gd name="connsiteX1" fmla="*/ 62301 w 191040"/>
                <a:gd name="connsiteY1" fmla="*/ 41575 h 62949"/>
                <a:gd name="connsiteX2" fmla="*/ 85681 w 191040"/>
                <a:gd name="connsiteY2" fmla="*/ 58019 h 62949"/>
                <a:gd name="connsiteX3" fmla="*/ 140234 w 191040"/>
                <a:gd name="connsiteY3" fmla="*/ 56816 h 62949"/>
                <a:gd name="connsiteX4" fmla="*/ 174085 w 191040"/>
                <a:gd name="connsiteY4" fmla="*/ 41508 h 62949"/>
                <a:gd name="connsiteX5" fmla="*/ 183786 w 191040"/>
                <a:gd name="connsiteY5" fmla="*/ 22757 h 62949"/>
                <a:gd name="connsiteX6" fmla="*/ 156591 w 191040"/>
                <a:gd name="connsiteY6" fmla="*/ 11560 h 62949"/>
                <a:gd name="connsiteX7" fmla="*/ 135322 w 191040"/>
                <a:gd name="connsiteY7" fmla="*/ 5711 h 62949"/>
                <a:gd name="connsiteX8" fmla="*/ 110969 w 191040"/>
                <a:gd name="connsiteY8" fmla="*/ 5042 h 62949"/>
                <a:gd name="connsiteX9" fmla="*/ 78497 w 191040"/>
                <a:gd name="connsiteY9" fmla="*/ 2436 h 62949"/>
                <a:gd name="connsiteX10" fmla="*/ 44970 w 191040"/>
                <a:gd name="connsiteY10" fmla="*/ -339 h 62949"/>
                <a:gd name="connsiteX11" fmla="*/ 7221 w 191040"/>
                <a:gd name="connsiteY11" fmla="*/ 3472 h 62949"/>
                <a:gd name="connsiteX12" fmla="*/ 36 w 191040"/>
                <a:gd name="connsiteY12" fmla="*/ 24094 h 62949"/>
                <a:gd name="connsiteX13" fmla="*/ 24756 w 191040"/>
                <a:gd name="connsiteY13" fmla="*/ 28272 h 62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1040" h="62949">
                  <a:moveTo>
                    <a:pt x="24715" y="28205"/>
                  </a:moveTo>
                  <a:cubicBezTo>
                    <a:pt x="33604" y="35124"/>
                    <a:pt x="65305" y="30210"/>
                    <a:pt x="62301" y="41575"/>
                  </a:cubicBezTo>
                  <a:cubicBezTo>
                    <a:pt x="58243" y="55512"/>
                    <a:pt x="71028" y="48527"/>
                    <a:pt x="85681" y="58019"/>
                  </a:cubicBezTo>
                  <a:cubicBezTo>
                    <a:pt x="101673" y="68447"/>
                    <a:pt x="123633" y="58019"/>
                    <a:pt x="140234" y="56816"/>
                  </a:cubicBezTo>
                  <a:cubicBezTo>
                    <a:pt x="161178" y="55178"/>
                    <a:pt x="152411" y="44048"/>
                    <a:pt x="174085" y="41508"/>
                  </a:cubicBezTo>
                  <a:cubicBezTo>
                    <a:pt x="191295" y="39536"/>
                    <a:pt x="196816" y="27704"/>
                    <a:pt x="183786" y="22757"/>
                  </a:cubicBezTo>
                  <a:cubicBezTo>
                    <a:pt x="174370" y="19214"/>
                    <a:pt x="166658" y="14702"/>
                    <a:pt x="156591" y="11560"/>
                  </a:cubicBezTo>
                  <a:cubicBezTo>
                    <a:pt x="147824" y="8853"/>
                    <a:pt x="142750" y="9354"/>
                    <a:pt x="135322" y="5711"/>
                  </a:cubicBezTo>
                  <a:cubicBezTo>
                    <a:pt x="129640" y="2970"/>
                    <a:pt x="117665" y="5343"/>
                    <a:pt x="110969" y="5042"/>
                  </a:cubicBezTo>
                  <a:cubicBezTo>
                    <a:pt x="100293" y="4541"/>
                    <a:pt x="89172" y="3505"/>
                    <a:pt x="78497" y="2436"/>
                  </a:cubicBezTo>
                  <a:cubicBezTo>
                    <a:pt x="67415" y="938"/>
                    <a:pt x="56213" y="12"/>
                    <a:pt x="44970" y="-339"/>
                  </a:cubicBezTo>
                  <a:cubicBezTo>
                    <a:pt x="31981" y="-339"/>
                    <a:pt x="20900" y="3371"/>
                    <a:pt x="7221" y="3472"/>
                  </a:cubicBezTo>
                  <a:cubicBezTo>
                    <a:pt x="16272" y="13499"/>
                    <a:pt x="3162" y="15872"/>
                    <a:pt x="36" y="24094"/>
                  </a:cubicBezTo>
                  <a:cubicBezTo>
                    <a:pt x="-1709" y="28506"/>
                    <a:pt x="20859" y="25264"/>
                    <a:pt x="24756" y="2827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A1CF79A7-BC2D-4951-BA8C-4E26BCD90AFC}"/>
                </a:ext>
              </a:extLst>
            </p:cNvPr>
            <p:cNvSpPr/>
            <p:nvPr/>
          </p:nvSpPr>
          <p:spPr>
            <a:xfrm>
              <a:off x="5968715" y="3960557"/>
              <a:ext cx="145062" cy="40840"/>
            </a:xfrm>
            <a:custGeom>
              <a:avLst/>
              <a:gdLst>
                <a:gd name="connsiteX0" fmla="*/ 128848 w 145062"/>
                <a:gd name="connsiteY0" fmla="*/ 16336 h 40840"/>
                <a:gd name="connsiteX1" fmla="*/ 112206 w 145062"/>
                <a:gd name="connsiteY1" fmla="*/ 11857 h 40840"/>
                <a:gd name="connsiteX2" fmla="*/ 93291 w 145062"/>
                <a:gd name="connsiteY2" fmla="*/ 493 h 40840"/>
                <a:gd name="connsiteX3" fmla="*/ 32407 w 145062"/>
                <a:gd name="connsiteY3" fmla="*/ 5641 h 40840"/>
                <a:gd name="connsiteX4" fmla="*/ 463 w 145062"/>
                <a:gd name="connsiteY4" fmla="*/ 32814 h 40840"/>
                <a:gd name="connsiteX5" fmla="*/ 21042 w 145062"/>
                <a:gd name="connsiteY5" fmla="*/ 31978 h 40840"/>
                <a:gd name="connsiteX6" fmla="*/ 26887 w 145062"/>
                <a:gd name="connsiteY6" fmla="*/ 40501 h 40840"/>
                <a:gd name="connsiteX7" fmla="*/ 66746 w 145062"/>
                <a:gd name="connsiteY7" fmla="*/ 30474 h 40840"/>
                <a:gd name="connsiteX8" fmla="*/ 96295 w 145062"/>
                <a:gd name="connsiteY8" fmla="*/ 37694 h 40840"/>
                <a:gd name="connsiteX9" fmla="*/ 104048 w 145062"/>
                <a:gd name="connsiteY9" fmla="*/ 28636 h 40840"/>
                <a:gd name="connsiteX10" fmla="*/ 124343 w 145062"/>
                <a:gd name="connsiteY10" fmla="*/ 26497 h 40840"/>
                <a:gd name="connsiteX11" fmla="*/ 136885 w 145062"/>
                <a:gd name="connsiteY11" fmla="*/ 23422 h 40840"/>
                <a:gd name="connsiteX12" fmla="*/ 145003 w 145062"/>
                <a:gd name="connsiteY12" fmla="*/ 17339 h 40840"/>
                <a:gd name="connsiteX13" fmla="*/ 128767 w 145062"/>
                <a:gd name="connsiteY13" fmla="*/ 16303 h 40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062" h="40840">
                  <a:moveTo>
                    <a:pt x="128848" y="16336"/>
                  </a:moveTo>
                  <a:cubicBezTo>
                    <a:pt x="124383" y="17372"/>
                    <a:pt x="112247" y="14866"/>
                    <a:pt x="112206" y="11857"/>
                  </a:cubicBezTo>
                  <a:cubicBezTo>
                    <a:pt x="112206" y="3869"/>
                    <a:pt x="108147" y="2699"/>
                    <a:pt x="93291" y="493"/>
                  </a:cubicBezTo>
                  <a:cubicBezTo>
                    <a:pt x="76690" y="-2013"/>
                    <a:pt x="45883" y="1563"/>
                    <a:pt x="32407" y="5641"/>
                  </a:cubicBezTo>
                  <a:cubicBezTo>
                    <a:pt x="22746" y="8448"/>
                    <a:pt x="-4124" y="26764"/>
                    <a:pt x="463" y="32814"/>
                  </a:cubicBezTo>
                  <a:cubicBezTo>
                    <a:pt x="1883" y="34686"/>
                    <a:pt x="20758" y="23389"/>
                    <a:pt x="21042" y="31978"/>
                  </a:cubicBezTo>
                  <a:cubicBezTo>
                    <a:pt x="21042" y="35789"/>
                    <a:pt x="28510" y="36056"/>
                    <a:pt x="26887" y="40501"/>
                  </a:cubicBezTo>
                  <a:cubicBezTo>
                    <a:pt x="47182" y="39298"/>
                    <a:pt x="57329" y="40869"/>
                    <a:pt x="66746" y="30474"/>
                  </a:cubicBezTo>
                  <a:cubicBezTo>
                    <a:pt x="76163" y="20080"/>
                    <a:pt x="90410" y="45515"/>
                    <a:pt x="96295" y="37694"/>
                  </a:cubicBezTo>
                  <a:cubicBezTo>
                    <a:pt x="98731" y="34352"/>
                    <a:pt x="95199" y="29639"/>
                    <a:pt x="104048" y="28636"/>
                  </a:cubicBezTo>
                  <a:cubicBezTo>
                    <a:pt x="108553" y="28101"/>
                    <a:pt x="124586" y="31143"/>
                    <a:pt x="124343" y="26497"/>
                  </a:cubicBezTo>
                  <a:cubicBezTo>
                    <a:pt x="124099" y="21851"/>
                    <a:pt x="133638" y="26163"/>
                    <a:pt x="136885" y="23422"/>
                  </a:cubicBezTo>
                  <a:cubicBezTo>
                    <a:pt x="140132" y="20681"/>
                    <a:pt x="139645" y="19211"/>
                    <a:pt x="145003" y="17339"/>
                  </a:cubicBezTo>
                  <a:cubicBezTo>
                    <a:pt x="139808" y="15731"/>
                    <a:pt x="134206" y="15370"/>
                    <a:pt x="128767" y="1630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68F98B27-A133-466C-B018-288BC5295D5E}"/>
                </a:ext>
              </a:extLst>
            </p:cNvPr>
            <p:cNvSpPr/>
            <p:nvPr/>
          </p:nvSpPr>
          <p:spPr>
            <a:xfrm>
              <a:off x="5962009" y="3797513"/>
              <a:ext cx="292952" cy="169520"/>
            </a:xfrm>
            <a:custGeom>
              <a:avLst/>
              <a:gdLst>
                <a:gd name="connsiteX0" fmla="*/ 35907 w 292952"/>
                <a:gd name="connsiteY0" fmla="*/ 44750 h 169520"/>
                <a:gd name="connsiteX1" fmla="*/ 26693 w 292952"/>
                <a:gd name="connsiteY1" fmla="*/ 57083 h 169520"/>
                <a:gd name="connsiteX2" fmla="*/ 18575 w 292952"/>
                <a:gd name="connsiteY2" fmla="*/ 71255 h 169520"/>
                <a:gd name="connsiteX3" fmla="*/ 5139 w 292952"/>
                <a:gd name="connsiteY3" fmla="*/ 72425 h 169520"/>
                <a:gd name="connsiteX4" fmla="*/ 3394 w 292952"/>
                <a:gd name="connsiteY4" fmla="*/ 80513 h 169520"/>
                <a:gd name="connsiteX5" fmla="*/ 7697 w 292952"/>
                <a:gd name="connsiteY5" fmla="*/ 102372 h 169520"/>
                <a:gd name="connsiteX6" fmla="*/ 6276 w 292952"/>
                <a:gd name="connsiteY6" fmla="*/ 114371 h 169520"/>
                <a:gd name="connsiteX7" fmla="*/ 12973 w 292952"/>
                <a:gd name="connsiteY7" fmla="*/ 125267 h 169520"/>
                <a:gd name="connsiteX8" fmla="*/ 41386 w 292952"/>
                <a:gd name="connsiteY8" fmla="*/ 132152 h 169520"/>
                <a:gd name="connsiteX9" fmla="*/ 65740 w 292952"/>
                <a:gd name="connsiteY9" fmla="*/ 140575 h 169520"/>
                <a:gd name="connsiteX10" fmla="*/ 50235 w 292952"/>
                <a:gd name="connsiteY10" fmla="*/ 165075 h 169520"/>
                <a:gd name="connsiteX11" fmla="*/ 112946 w 292952"/>
                <a:gd name="connsiteY11" fmla="*/ 166278 h 169520"/>
                <a:gd name="connsiteX12" fmla="*/ 132794 w 292952"/>
                <a:gd name="connsiteY12" fmla="*/ 168450 h 169520"/>
                <a:gd name="connsiteX13" fmla="*/ 156336 w 292952"/>
                <a:gd name="connsiteY13" fmla="*/ 166011 h 169520"/>
                <a:gd name="connsiteX14" fmla="*/ 179716 w 292952"/>
                <a:gd name="connsiteY14" fmla="*/ 166211 h 169520"/>
                <a:gd name="connsiteX15" fmla="*/ 209225 w 292952"/>
                <a:gd name="connsiteY15" fmla="*/ 162568 h 169520"/>
                <a:gd name="connsiteX16" fmla="*/ 223350 w 292952"/>
                <a:gd name="connsiteY16" fmla="*/ 164373 h 169520"/>
                <a:gd name="connsiteX17" fmla="*/ 226841 w 292952"/>
                <a:gd name="connsiteY17" fmla="*/ 152073 h 169520"/>
                <a:gd name="connsiteX18" fmla="*/ 257364 w 292952"/>
                <a:gd name="connsiteY18" fmla="*/ 141444 h 169520"/>
                <a:gd name="connsiteX19" fmla="*/ 223553 w 292952"/>
                <a:gd name="connsiteY19" fmla="*/ 126704 h 169520"/>
                <a:gd name="connsiteX20" fmla="*/ 210605 w 292952"/>
                <a:gd name="connsiteY20" fmla="*/ 103308 h 169520"/>
                <a:gd name="connsiteX21" fmla="*/ 245065 w 292952"/>
                <a:gd name="connsiteY21" fmla="*/ 96623 h 169520"/>
                <a:gd name="connsiteX22" fmla="*/ 272220 w 292952"/>
                <a:gd name="connsiteY22" fmla="*/ 90473 h 169520"/>
                <a:gd name="connsiteX23" fmla="*/ 289836 w 292952"/>
                <a:gd name="connsiteY23" fmla="*/ 90473 h 169520"/>
                <a:gd name="connsiteX24" fmla="*/ 285452 w 292952"/>
                <a:gd name="connsiteY24" fmla="*/ 75600 h 169520"/>
                <a:gd name="connsiteX25" fmla="*/ 271489 w 292952"/>
                <a:gd name="connsiteY25" fmla="*/ 49797 h 169520"/>
                <a:gd name="connsiteX26" fmla="*/ 270393 w 292952"/>
                <a:gd name="connsiteY26" fmla="*/ 25197 h 169520"/>
                <a:gd name="connsiteX27" fmla="*/ 256146 w 292952"/>
                <a:gd name="connsiteY27" fmla="*/ 15638 h 169520"/>
                <a:gd name="connsiteX28" fmla="*/ 247744 w 292952"/>
                <a:gd name="connsiteY28" fmla="*/ 10658 h 169520"/>
                <a:gd name="connsiteX29" fmla="*/ 221239 w 292952"/>
                <a:gd name="connsiteY29" fmla="*/ 9254 h 169520"/>
                <a:gd name="connsiteX30" fmla="*/ 166037 w 292952"/>
                <a:gd name="connsiteY30" fmla="*/ 19582 h 169520"/>
                <a:gd name="connsiteX31" fmla="*/ 169000 w 292952"/>
                <a:gd name="connsiteY31" fmla="*/ 9555 h 169520"/>
                <a:gd name="connsiteX32" fmla="*/ 140222 w 292952"/>
                <a:gd name="connsiteY32" fmla="*/ 11226 h 169520"/>
                <a:gd name="connsiteX33" fmla="*/ 120171 w 292952"/>
                <a:gd name="connsiteY33" fmla="*/ 1199 h 169520"/>
                <a:gd name="connsiteX34" fmla="*/ 84776 w 292952"/>
                <a:gd name="connsiteY34" fmla="*/ -339 h 169520"/>
                <a:gd name="connsiteX35" fmla="*/ 99714 w 292952"/>
                <a:gd name="connsiteY35" fmla="*/ 22256 h 169520"/>
                <a:gd name="connsiteX36" fmla="*/ 83478 w 292952"/>
                <a:gd name="connsiteY36" fmla="*/ 30712 h 169520"/>
                <a:gd name="connsiteX37" fmla="*/ 45973 w 292952"/>
                <a:gd name="connsiteY37" fmla="*/ 27370 h 169520"/>
                <a:gd name="connsiteX38" fmla="*/ 36150 w 292952"/>
                <a:gd name="connsiteY38" fmla="*/ 45151 h 169520"/>
                <a:gd name="connsiteX39" fmla="*/ 35907 w 292952"/>
                <a:gd name="connsiteY39" fmla="*/ 44750 h 16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92952" h="169520">
                  <a:moveTo>
                    <a:pt x="35907" y="44750"/>
                  </a:moveTo>
                  <a:cubicBezTo>
                    <a:pt x="26693" y="52069"/>
                    <a:pt x="14394" y="49697"/>
                    <a:pt x="26693" y="57083"/>
                  </a:cubicBezTo>
                  <a:cubicBezTo>
                    <a:pt x="31807" y="60158"/>
                    <a:pt x="26206" y="69416"/>
                    <a:pt x="18575" y="71255"/>
                  </a:cubicBezTo>
                  <a:cubicBezTo>
                    <a:pt x="14191" y="72100"/>
                    <a:pt x="9645" y="72495"/>
                    <a:pt x="5139" y="72425"/>
                  </a:cubicBezTo>
                  <a:cubicBezTo>
                    <a:pt x="1649" y="72425"/>
                    <a:pt x="4206" y="79510"/>
                    <a:pt x="3394" y="80513"/>
                  </a:cubicBezTo>
                  <a:cubicBezTo>
                    <a:pt x="-3222" y="88835"/>
                    <a:pt x="471" y="95253"/>
                    <a:pt x="7697" y="102372"/>
                  </a:cubicBezTo>
                  <a:cubicBezTo>
                    <a:pt x="12527" y="107118"/>
                    <a:pt x="-705" y="108756"/>
                    <a:pt x="6276" y="114371"/>
                  </a:cubicBezTo>
                  <a:cubicBezTo>
                    <a:pt x="9889" y="117296"/>
                    <a:pt x="12243" y="121126"/>
                    <a:pt x="12973" y="125267"/>
                  </a:cubicBezTo>
                  <a:cubicBezTo>
                    <a:pt x="24460" y="126838"/>
                    <a:pt x="28032" y="132320"/>
                    <a:pt x="41386" y="132152"/>
                  </a:cubicBezTo>
                  <a:cubicBezTo>
                    <a:pt x="47718" y="132152"/>
                    <a:pt x="76902" y="135495"/>
                    <a:pt x="65740" y="140575"/>
                  </a:cubicBezTo>
                  <a:cubicBezTo>
                    <a:pt x="51290" y="147260"/>
                    <a:pt x="54781" y="156552"/>
                    <a:pt x="50235" y="165075"/>
                  </a:cubicBezTo>
                  <a:cubicBezTo>
                    <a:pt x="73452" y="165877"/>
                    <a:pt x="90824" y="160897"/>
                    <a:pt x="112946" y="166278"/>
                  </a:cubicBezTo>
                  <a:cubicBezTo>
                    <a:pt x="122119" y="168517"/>
                    <a:pt x="122688" y="164941"/>
                    <a:pt x="132794" y="168450"/>
                  </a:cubicBezTo>
                  <a:cubicBezTo>
                    <a:pt x="140912" y="171325"/>
                    <a:pt x="146067" y="164707"/>
                    <a:pt x="156336" y="166011"/>
                  </a:cubicBezTo>
                  <a:cubicBezTo>
                    <a:pt x="164454" y="167080"/>
                    <a:pt x="171923" y="170289"/>
                    <a:pt x="179716" y="166211"/>
                  </a:cubicBezTo>
                  <a:cubicBezTo>
                    <a:pt x="186210" y="162869"/>
                    <a:pt x="200660" y="162267"/>
                    <a:pt x="209225" y="162568"/>
                  </a:cubicBezTo>
                  <a:cubicBezTo>
                    <a:pt x="214136" y="162568"/>
                    <a:pt x="218357" y="164707"/>
                    <a:pt x="223350" y="164373"/>
                  </a:cubicBezTo>
                  <a:cubicBezTo>
                    <a:pt x="232199" y="163771"/>
                    <a:pt x="222741" y="154914"/>
                    <a:pt x="226841" y="152073"/>
                  </a:cubicBezTo>
                  <a:cubicBezTo>
                    <a:pt x="233741" y="147293"/>
                    <a:pt x="250667" y="146090"/>
                    <a:pt x="257364" y="141444"/>
                  </a:cubicBezTo>
                  <a:cubicBezTo>
                    <a:pt x="261423" y="138737"/>
                    <a:pt x="227774" y="128075"/>
                    <a:pt x="223553" y="126704"/>
                  </a:cubicBezTo>
                  <a:cubicBezTo>
                    <a:pt x="217627" y="124465"/>
                    <a:pt x="203501" y="103976"/>
                    <a:pt x="210605" y="103308"/>
                  </a:cubicBezTo>
                  <a:cubicBezTo>
                    <a:pt x="222051" y="101971"/>
                    <a:pt x="236014" y="100868"/>
                    <a:pt x="245065" y="96623"/>
                  </a:cubicBezTo>
                  <a:cubicBezTo>
                    <a:pt x="252696" y="93114"/>
                    <a:pt x="265360" y="93983"/>
                    <a:pt x="272220" y="90473"/>
                  </a:cubicBezTo>
                  <a:cubicBezTo>
                    <a:pt x="276969" y="88100"/>
                    <a:pt x="286264" y="93013"/>
                    <a:pt x="289836" y="90473"/>
                  </a:cubicBezTo>
                  <a:cubicBezTo>
                    <a:pt x="297548" y="84724"/>
                    <a:pt x="288618" y="80981"/>
                    <a:pt x="285452" y="75600"/>
                  </a:cubicBezTo>
                  <a:cubicBezTo>
                    <a:pt x="282286" y="70219"/>
                    <a:pt x="283504" y="53473"/>
                    <a:pt x="271489" y="49797"/>
                  </a:cubicBezTo>
                  <a:cubicBezTo>
                    <a:pt x="262762" y="47123"/>
                    <a:pt x="274980" y="31648"/>
                    <a:pt x="270393" y="25197"/>
                  </a:cubicBezTo>
                  <a:cubicBezTo>
                    <a:pt x="267512" y="21052"/>
                    <a:pt x="266741" y="16674"/>
                    <a:pt x="256146" y="15638"/>
                  </a:cubicBezTo>
                  <a:cubicBezTo>
                    <a:pt x="246486" y="14702"/>
                    <a:pt x="240276" y="15638"/>
                    <a:pt x="247744" y="10658"/>
                  </a:cubicBezTo>
                  <a:cubicBezTo>
                    <a:pt x="263615" y="-71"/>
                    <a:pt x="227450" y="10323"/>
                    <a:pt x="221239" y="9254"/>
                  </a:cubicBezTo>
                  <a:cubicBezTo>
                    <a:pt x="203258" y="6079"/>
                    <a:pt x="180893" y="29007"/>
                    <a:pt x="166037" y="19582"/>
                  </a:cubicBezTo>
                  <a:cubicBezTo>
                    <a:pt x="160395" y="16039"/>
                    <a:pt x="172897" y="11426"/>
                    <a:pt x="169000" y="9555"/>
                  </a:cubicBezTo>
                  <a:cubicBezTo>
                    <a:pt x="165104" y="7683"/>
                    <a:pt x="146757" y="12028"/>
                    <a:pt x="140222" y="11226"/>
                  </a:cubicBezTo>
                  <a:cubicBezTo>
                    <a:pt x="124351" y="9221"/>
                    <a:pt x="136163" y="931"/>
                    <a:pt x="120171" y="1199"/>
                  </a:cubicBezTo>
                  <a:cubicBezTo>
                    <a:pt x="108684" y="1399"/>
                    <a:pt x="96507" y="-305"/>
                    <a:pt x="84776" y="-339"/>
                  </a:cubicBezTo>
                  <a:cubicBezTo>
                    <a:pt x="93625" y="6145"/>
                    <a:pt x="91839" y="14635"/>
                    <a:pt x="99714" y="22256"/>
                  </a:cubicBezTo>
                  <a:cubicBezTo>
                    <a:pt x="102595" y="25063"/>
                    <a:pt x="87821" y="29843"/>
                    <a:pt x="83478" y="30712"/>
                  </a:cubicBezTo>
                  <a:cubicBezTo>
                    <a:pt x="72721" y="32751"/>
                    <a:pt x="58393" y="26300"/>
                    <a:pt x="45973" y="27370"/>
                  </a:cubicBezTo>
                  <a:cubicBezTo>
                    <a:pt x="24582" y="29074"/>
                    <a:pt x="44105" y="38767"/>
                    <a:pt x="36150" y="45151"/>
                  </a:cubicBezTo>
                  <a:cubicBezTo>
                    <a:pt x="28195" y="51535"/>
                    <a:pt x="38707" y="42510"/>
                    <a:pt x="35907" y="447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D7226040-690D-405F-AEDC-E23BB6EB3CB7}"/>
                </a:ext>
              </a:extLst>
            </p:cNvPr>
            <p:cNvSpPr/>
            <p:nvPr/>
          </p:nvSpPr>
          <p:spPr>
            <a:xfrm>
              <a:off x="6460765" y="3401638"/>
              <a:ext cx="358021" cy="275616"/>
            </a:xfrm>
            <a:custGeom>
              <a:avLst/>
              <a:gdLst>
                <a:gd name="connsiteX0" fmla="*/ 302349 w 358021"/>
                <a:gd name="connsiteY0" fmla="*/ 241220 h 275616"/>
                <a:gd name="connsiteX1" fmla="*/ 357957 w 358021"/>
                <a:gd name="connsiteY1" fmla="*/ 216319 h 275616"/>
                <a:gd name="connsiteX2" fmla="*/ 309818 w 358021"/>
                <a:gd name="connsiteY2" fmla="*/ 184299 h 275616"/>
                <a:gd name="connsiteX3" fmla="*/ 325688 w 358021"/>
                <a:gd name="connsiteY3" fmla="*/ 175542 h 275616"/>
                <a:gd name="connsiteX4" fmla="*/ 315135 w 358021"/>
                <a:gd name="connsiteY4" fmla="*/ 161738 h 275616"/>
                <a:gd name="connsiteX5" fmla="*/ 300726 w 358021"/>
                <a:gd name="connsiteY5" fmla="*/ 152179 h 275616"/>
                <a:gd name="connsiteX6" fmla="*/ 304257 w 358021"/>
                <a:gd name="connsiteY6" fmla="*/ 135634 h 275616"/>
                <a:gd name="connsiteX7" fmla="*/ 319559 w 358021"/>
                <a:gd name="connsiteY7" fmla="*/ 130019 h 275616"/>
                <a:gd name="connsiteX8" fmla="*/ 294556 w 358021"/>
                <a:gd name="connsiteY8" fmla="*/ 105954 h 275616"/>
                <a:gd name="connsiteX9" fmla="*/ 320209 w 358021"/>
                <a:gd name="connsiteY9" fmla="*/ 77979 h 275616"/>
                <a:gd name="connsiteX10" fmla="*/ 299386 w 358021"/>
                <a:gd name="connsiteY10" fmla="*/ 65044 h 275616"/>
                <a:gd name="connsiteX11" fmla="*/ 270608 w 358021"/>
                <a:gd name="connsiteY11" fmla="*/ 52109 h 275616"/>
                <a:gd name="connsiteX12" fmla="*/ 298452 w 358021"/>
                <a:gd name="connsiteY12" fmla="*/ 16680 h 275616"/>
                <a:gd name="connsiteX13" fmla="*/ 267361 w 358021"/>
                <a:gd name="connsiteY13" fmla="*/ 6218 h 275616"/>
                <a:gd name="connsiteX14" fmla="*/ 235376 w 358021"/>
                <a:gd name="connsiteY14" fmla="*/ 2408 h 275616"/>
                <a:gd name="connsiteX15" fmla="*/ 204609 w 358021"/>
                <a:gd name="connsiteY15" fmla="*/ 2575 h 275616"/>
                <a:gd name="connsiteX16" fmla="*/ 178631 w 358021"/>
                <a:gd name="connsiteY16" fmla="*/ 12335 h 275616"/>
                <a:gd name="connsiteX17" fmla="*/ 177779 w 358021"/>
                <a:gd name="connsiteY17" fmla="*/ 27843 h 275616"/>
                <a:gd name="connsiteX18" fmla="*/ 158215 w 358021"/>
                <a:gd name="connsiteY18" fmla="*/ 32556 h 275616"/>
                <a:gd name="connsiteX19" fmla="*/ 106301 w 358021"/>
                <a:gd name="connsiteY19" fmla="*/ 32556 h 275616"/>
                <a:gd name="connsiteX20" fmla="*/ 61043 w 358021"/>
                <a:gd name="connsiteY20" fmla="*/ 28645 h 275616"/>
                <a:gd name="connsiteX21" fmla="*/ 29748 w 358021"/>
                <a:gd name="connsiteY21" fmla="*/ 14908 h 275616"/>
                <a:gd name="connsiteX22" fmla="*/ 10509 w 358021"/>
                <a:gd name="connsiteY22" fmla="*/ 18886 h 275616"/>
                <a:gd name="connsiteX23" fmla="*/ 19844 w 358021"/>
                <a:gd name="connsiteY23" fmla="*/ 28345 h 275616"/>
                <a:gd name="connsiteX24" fmla="*/ 72611 w 358021"/>
                <a:gd name="connsiteY24" fmla="*/ 44321 h 275616"/>
                <a:gd name="connsiteX25" fmla="*/ 91769 w 358021"/>
                <a:gd name="connsiteY25" fmla="*/ 57457 h 275616"/>
                <a:gd name="connsiteX26" fmla="*/ 97249 w 358021"/>
                <a:gd name="connsiteY26" fmla="*/ 74837 h 275616"/>
                <a:gd name="connsiteX27" fmla="*/ 97858 w 358021"/>
                <a:gd name="connsiteY27" fmla="*/ 83928 h 275616"/>
                <a:gd name="connsiteX28" fmla="*/ 106503 w 358021"/>
                <a:gd name="connsiteY28" fmla="*/ 90078 h 275616"/>
                <a:gd name="connsiteX29" fmla="*/ 96762 w 358021"/>
                <a:gd name="connsiteY29" fmla="*/ 103849 h 275616"/>
                <a:gd name="connsiteX30" fmla="*/ 106747 w 358021"/>
                <a:gd name="connsiteY30" fmla="*/ 111436 h 275616"/>
                <a:gd name="connsiteX31" fmla="*/ 128016 w 358021"/>
                <a:gd name="connsiteY31" fmla="*/ 122633 h 275616"/>
                <a:gd name="connsiteX32" fmla="*/ 148311 w 358021"/>
                <a:gd name="connsiteY32" fmla="*/ 142286 h 275616"/>
                <a:gd name="connsiteX33" fmla="*/ 125256 w 358021"/>
                <a:gd name="connsiteY33" fmla="*/ 147399 h 275616"/>
                <a:gd name="connsiteX34" fmla="*/ 91080 w 358021"/>
                <a:gd name="connsiteY34" fmla="*/ 166250 h 275616"/>
                <a:gd name="connsiteX35" fmla="*/ 57471 w 358021"/>
                <a:gd name="connsiteY35" fmla="*/ 174640 h 275616"/>
                <a:gd name="connsiteX36" fmla="*/ 27516 w 358021"/>
                <a:gd name="connsiteY36" fmla="*/ 187274 h 275616"/>
                <a:gd name="connsiteX37" fmla="*/ 483 w 358021"/>
                <a:gd name="connsiteY37" fmla="*/ 199808 h 275616"/>
                <a:gd name="connsiteX38" fmla="*/ 8601 w 358021"/>
                <a:gd name="connsiteY38" fmla="*/ 215717 h 275616"/>
                <a:gd name="connsiteX39" fmla="*/ 16394 w 358021"/>
                <a:gd name="connsiteY39" fmla="*/ 229287 h 275616"/>
                <a:gd name="connsiteX40" fmla="*/ 1823 w 358021"/>
                <a:gd name="connsiteY40" fmla="*/ 255491 h 275616"/>
                <a:gd name="connsiteX41" fmla="*/ 35471 w 358021"/>
                <a:gd name="connsiteY41" fmla="*/ 263379 h 275616"/>
                <a:gd name="connsiteX42" fmla="*/ 47446 w 358021"/>
                <a:gd name="connsiteY42" fmla="*/ 267958 h 275616"/>
                <a:gd name="connsiteX43" fmla="*/ 61855 w 358021"/>
                <a:gd name="connsiteY43" fmla="*/ 270031 h 275616"/>
                <a:gd name="connsiteX44" fmla="*/ 105489 w 358021"/>
                <a:gd name="connsiteY44" fmla="*/ 275178 h 275616"/>
                <a:gd name="connsiteX45" fmla="*/ 208871 w 358021"/>
                <a:gd name="connsiteY45" fmla="*/ 268861 h 275616"/>
                <a:gd name="connsiteX46" fmla="*/ 253520 w 358021"/>
                <a:gd name="connsiteY46" fmla="*/ 257163 h 275616"/>
                <a:gd name="connsiteX47" fmla="*/ 302674 w 358021"/>
                <a:gd name="connsiteY47" fmla="*/ 241286 h 275616"/>
                <a:gd name="connsiteX48" fmla="*/ 302349 w 358021"/>
                <a:gd name="connsiteY48" fmla="*/ 241220 h 27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58021" h="275616">
                  <a:moveTo>
                    <a:pt x="302349" y="241220"/>
                  </a:moveTo>
                  <a:cubicBezTo>
                    <a:pt x="312983" y="231192"/>
                    <a:pt x="358485" y="229588"/>
                    <a:pt x="357957" y="216319"/>
                  </a:cubicBezTo>
                  <a:cubicBezTo>
                    <a:pt x="357673" y="208164"/>
                    <a:pt x="298169" y="186873"/>
                    <a:pt x="309818" y="184299"/>
                  </a:cubicBezTo>
                  <a:cubicBezTo>
                    <a:pt x="316475" y="182795"/>
                    <a:pt x="334943" y="181659"/>
                    <a:pt x="325688" y="175542"/>
                  </a:cubicBezTo>
                  <a:cubicBezTo>
                    <a:pt x="316434" y="169426"/>
                    <a:pt x="303323" y="168857"/>
                    <a:pt x="315135" y="161738"/>
                  </a:cubicBezTo>
                  <a:cubicBezTo>
                    <a:pt x="321345" y="158095"/>
                    <a:pt x="292486" y="154820"/>
                    <a:pt x="300726" y="152179"/>
                  </a:cubicBezTo>
                  <a:cubicBezTo>
                    <a:pt x="316109" y="147266"/>
                    <a:pt x="292608" y="141951"/>
                    <a:pt x="304257" y="135634"/>
                  </a:cubicBezTo>
                  <a:cubicBezTo>
                    <a:pt x="309087" y="133094"/>
                    <a:pt x="322482" y="135133"/>
                    <a:pt x="319559" y="130019"/>
                  </a:cubicBezTo>
                  <a:cubicBezTo>
                    <a:pt x="314892" y="121764"/>
                    <a:pt x="303323" y="113307"/>
                    <a:pt x="294556" y="105954"/>
                  </a:cubicBezTo>
                  <a:cubicBezTo>
                    <a:pt x="271826" y="86335"/>
                    <a:pt x="318910" y="93186"/>
                    <a:pt x="320209" y="77979"/>
                  </a:cubicBezTo>
                  <a:cubicBezTo>
                    <a:pt x="320614" y="73801"/>
                    <a:pt x="305231" y="67617"/>
                    <a:pt x="299386" y="65044"/>
                  </a:cubicBezTo>
                  <a:cubicBezTo>
                    <a:pt x="287209" y="59663"/>
                    <a:pt x="279091" y="60064"/>
                    <a:pt x="270608" y="52109"/>
                  </a:cubicBezTo>
                  <a:cubicBezTo>
                    <a:pt x="255509" y="38171"/>
                    <a:pt x="320899" y="30952"/>
                    <a:pt x="298452" y="16680"/>
                  </a:cubicBezTo>
                  <a:cubicBezTo>
                    <a:pt x="290822" y="11833"/>
                    <a:pt x="276169" y="10563"/>
                    <a:pt x="267361" y="6218"/>
                  </a:cubicBezTo>
                  <a:cubicBezTo>
                    <a:pt x="258553" y="1873"/>
                    <a:pt x="246822" y="-3809"/>
                    <a:pt x="235376" y="2408"/>
                  </a:cubicBezTo>
                  <a:cubicBezTo>
                    <a:pt x="229937" y="5416"/>
                    <a:pt x="212077" y="2074"/>
                    <a:pt x="204609" y="2575"/>
                  </a:cubicBezTo>
                  <a:cubicBezTo>
                    <a:pt x="195598" y="5132"/>
                    <a:pt x="186871" y="8401"/>
                    <a:pt x="178631" y="12335"/>
                  </a:cubicBezTo>
                  <a:cubicBezTo>
                    <a:pt x="171813" y="16580"/>
                    <a:pt x="183421" y="23365"/>
                    <a:pt x="177779" y="27843"/>
                  </a:cubicBezTo>
                  <a:cubicBezTo>
                    <a:pt x="172137" y="32322"/>
                    <a:pt x="160529" y="25370"/>
                    <a:pt x="158215" y="32556"/>
                  </a:cubicBezTo>
                  <a:cubicBezTo>
                    <a:pt x="152370" y="50906"/>
                    <a:pt x="119614" y="22930"/>
                    <a:pt x="106301" y="32556"/>
                  </a:cubicBezTo>
                  <a:cubicBezTo>
                    <a:pt x="99766" y="37269"/>
                    <a:pt x="68511" y="30985"/>
                    <a:pt x="61043" y="28645"/>
                  </a:cubicBezTo>
                  <a:cubicBezTo>
                    <a:pt x="49962" y="25303"/>
                    <a:pt x="43265" y="16212"/>
                    <a:pt x="29748" y="14908"/>
                  </a:cubicBezTo>
                  <a:cubicBezTo>
                    <a:pt x="22970" y="14334"/>
                    <a:pt x="16150" y="15744"/>
                    <a:pt x="10509" y="18886"/>
                  </a:cubicBezTo>
                  <a:cubicBezTo>
                    <a:pt x="1660" y="23899"/>
                    <a:pt x="11970" y="24668"/>
                    <a:pt x="19844" y="28345"/>
                  </a:cubicBezTo>
                  <a:cubicBezTo>
                    <a:pt x="35756" y="35698"/>
                    <a:pt x="53534" y="39375"/>
                    <a:pt x="72611" y="44321"/>
                  </a:cubicBezTo>
                  <a:cubicBezTo>
                    <a:pt x="85519" y="47664"/>
                    <a:pt x="94976" y="50204"/>
                    <a:pt x="91769" y="57457"/>
                  </a:cubicBezTo>
                  <a:cubicBezTo>
                    <a:pt x="88238" y="65378"/>
                    <a:pt x="97290" y="68186"/>
                    <a:pt x="97249" y="74837"/>
                  </a:cubicBezTo>
                  <a:cubicBezTo>
                    <a:pt x="97249" y="77711"/>
                    <a:pt x="95463" y="81054"/>
                    <a:pt x="97858" y="83928"/>
                  </a:cubicBezTo>
                  <a:cubicBezTo>
                    <a:pt x="100253" y="86803"/>
                    <a:pt x="105205" y="86970"/>
                    <a:pt x="106503" y="90078"/>
                  </a:cubicBezTo>
                  <a:cubicBezTo>
                    <a:pt x="109061" y="96195"/>
                    <a:pt x="93799" y="100774"/>
                    <a:pt x="96762" y="103849"/>
                  </a:cubicBezTo>
                  <a:cubicBezTo>
                    <a:pt x="99725" y="106924"/>
                    <a:pt x="104880" y="108595"/>
                    <a:pt x="106747" y="111436"/>
                  </a:cubicBezTo>
                  <a:cubicBezTo>
                    <a:pt x="112227" y="119257"/>
                    <a:pt x="112145" y="118120"/>
                    <a:pt x="128016" y="122633"/>
                  </a:cubicBezTo>
                  <a:cubicBezTo>
                    <a:pt x="147418" y="128114"/>
                    <a:pt x="148920" y="132058"/>
                    <a:pt x="148311" y="142286"/>
                  </a:cubicBezTo>
                  <a:cubicBezTo>
                    <a:pt x="147946" y="147901"/>
                    <a:pt x="132400" y="140949"/>
                    <a:pt x="125256" y="147399"/>
                  </a:cubicBezTo>
                  <a:cubicBezTo>
                    <a:pt x="116570" y="155254"/>
                    <a:pt x="110319" y="163209"/>
                    <a:pt x="91080" y="166250"/>
                  </a:cubicBezTo>
                  <a:cubicBezTo>
                    <a:pt x="77807" y="168356"/>
                    <a:pt x="70460" y="172133"/>
                    <a:pt x="57471" y="174640"/>
                  </a:cubicBezTo>
                  <a:cubicBezTo>
                    <a:pt x="40302" y="177982"/>
                    <a:pt x="50003" y="187374"/>
                    <a:pt x="27516" y="187274"/>
                  </a:cubicBezTo>
                  <a:cubicBezTo>
                    <a:pt x="16678" y="187936"/>
                    <a:pt x="6775" y="192531"/>
                    <a:pt x="483" y="199808"/>
                  </a:cubicBezTo>
                  <a:cubicBezTo>
                    <a:pt x="-2805" y="204253"/>
                    <a:pt x="9981" y="210269"/>
                    <a:pt x="8601" y="215717"/>
                  </a:cubicBezTo>
                  <a:cubicBezTo>
                    <a:pt x="7343" y="220463"/>
                    <a:pt x="14689" y="224675"/>
                    <a:pt x="16394" y="229287"/>
                  </a:cubicBezTo>
                  <a:cubicBezTo>
                    <a:pt x="19520" y="237911"/>
                    <a:pt x="-4185" y="247971"/>
                    <a:pt x="1823" y="255491"/>
                  </a:cubicBezTo>
                  <a:cubicBezTo>
                    <a:pt x="2878" y="256795"/>
                    <a:pt x="31656" y="263413"/>
                    <a:pt x="35471" y="263379"/>
                  </a:cubicBezTo>
                  <a:cubicBezTo>
                    <a:pt x="41398" y="263379"/>
                    <a:pt x="44158" y="265986"/>
                    <a:pt x="47446" y="267958"/>
                  </a:cubicBezTo>
                  <a:cubicBezTo>
                    <a:pt x="52113" y="270766"/>
                    <a:pt x="56456" y="268761"/>
                    <a:pt x="61855" y="270031"/>
                  </a:cubicBezTo>
                  <a:cubicBezTo>
                    <a:pt x="75899" y="273985"/>
                    <a:pt x="90674" y="275729"/>
                    <a:pt x="105489" y="275178"/>
                  </a:cubicBezTo>
                  <a:cubicBezTo>
                    <a:pt x="140518" y="273640"/>
                    <a:pt x="173193" y="267958"/>
                    <a:pt x="208871" y="268861"/>
                  </a:cubicBezTo>
                  <a:cubicBezTo>
                    <a:pt x="233671" y="269529"/>
                    <a:pt x="234808" y="263045"/>
                    <a:pt x="253520" y="257163"/>
                  </a:cubicBezTo>
                  <a:cubicBezTo>
                    <a:pt x="269066" y="252249"/>
                    <a:pt x="293501" y="249976"/>
                    <a:pt x="302674" y="241286"/>
                  </a:cubicBezTo>
                  <a:cubicBezTo>
                    <a:pt x="311847" y="232596"/>
                    <a:pt x="293379" y="249742"/>
                    <a:pt x="302349" y="2412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1C97527E-3F06-4E00-9909-F82EA891CEC8}"/>
                </a:ext>
              </a:extLst>
            </p:cNvPr>
            <p:cNvSpPr/>
            <p:nvPr/>
          </p:nvSpPr>
          <p:spPr>
            <a:xfrm>
              <a:off x="6832069" y="4319272"/>
              <a:ext cx="611059" cy="299682"/>
            </a:xfrm>
            <a:custGeom>
              <a:avLst/>
              <a:gdLst>
                <a:gd name="connsiteX0" fmla="*/ 384432 w 611059"/>
                <a:gd name="connsiteY0" fmla="*/ 86178 h 299682"/>
                <a:gd name="connsiteX1" fmla="*/ 333289 w 611059"/>
                <a:gd name="connsiteY1" fmla="*/ 76552 h 299682"/>
                <a:gd name="connsiteX2" fmla="*/ 280523 w 611059"/>
                <a:gd name="connsiteY2" fmla="*/ 55863 h 299682"/>
                <a:gd name="connsiteX3" fmla="*/ 179819 w 611059"/>
                <a:gd name="connsiteY3" fmla="*/ 4792 h 299682"/>
                <a:gd name="connsiteX4" fmla="*/ 126443 w 611059"/>
                <a:gd name="connsiteY4" fmla="*/ 1449 h 299682"/>
                <a:gd name="connsiteX5" fmla="*/ 86259 w 611059"/>
                <a:gd name="connsiteY5" fmla="*/ 12145 h 299682"/>
                <a:gd name="connsiteX6" fmla="*/ 74529 w 611059"/>
                <a:gd name="connsiteY6" fmla="*/ 32199 h 299682"/>
                <a:gd name="connsiteX7" fmla="*/ 49689 w 611059"/>
                <a:gd name="connsiteY7" fmla="*/ 42627 h 299682"/>
                <a:gd name="connsiteX8" fmla="*/ 6704 w 611059"/>
                <a:gd name="connsiteY8" fmla="*/ 33536 h 299682"/>
                <a:gd name="connsiteX9" fmla="*/ 26674 w 611059"/>
                <a:gd name="connsiteY9" fmla="*/ 81265 h 299682"/>
                <a:gd name="connsiteX10" fmla="*/ 60404 w 611059"/>
                <a:gd name="connsiteY10" fmla="*/ 114087 h 299682"/>
                <a:gd name="connsiteX11" fmla="*/ 86259 w 611059"/>
                <a:gd name="connsiteY11" fmla="*/ 144168 h 299682"/>
                <a:gd name="connsiteX12" fmla="*/ 116783 w 611059"/>
                <a:gd name="connsiteY12" fmla="*/ 173547 h 299682"/>
                <a:gd name="connsiteX13" fmla="*/ 130462 w 611059"/>
                <a:gd name="connsiteY13" fmla="*/ 213221 h 299682"/>
                <a:gd name="connsiteX14" fmla="*/ 156642 w 611059"/>
                <a:gd name="connsiteY14" fmla="*/ 229164 h 299682"/>
                <a:gd name="connsiteX15" fmla="*/ 172878 w 611059"/>
                <a:gd name="connsiteY15" fmla="*/ 252928 h 299682"/>
                <a:gd name="connsiteX16" fmla="*/ 205350 w 611059"/>
                <a:gd name="connsiteY16" fmla="*/ 295410 h 299682"/>
                <a:gd name="connsiteX17" fmla="*/ 219232 w 611059"/>
                <a:gd name="connsiteY17" fmla="*/ 286118 h 299682"/>
                <a:gd name="connsiteX18" fmla="*/ 242409 w 611059"/>
                <a:gd name="connsiteY18" fmla="*/ 280436 h 299682"/>
                <a:gd name="connsiteX19" fmla="*/ 273379 w 611059"/>
                <a:gd name="connsiteY19" fmla="*/ 284881 h 299682"/>
                <a:gd name="connsiteX20" fmla="*/ 296352 w 611059"/>
                <a:gd name="connsiteY20" fmla="*/ 290363 h 299682"/>
                <a:gd name="connsiteX21" fmla="*/ 352407 w 611059"/>
                <a:gd name="connsiteY21" fmla="*/ 296112 h 299682"/>
                <a:gd name="connsiteX22" fmla="*/ 397502 w 611059"/>
                <a:gd name="connsiteY22" fmla="*/ 280302 h 299682"/>
                <a:gd name="connsiteX23" fmla="*/ 450269 w 611059"/>
                <a:gd name="connsiteY23" fmla="*/ 284614 h 299682"/>
                <a:gd name="connsiteX24" fmla="*/ 493132 w 611059"/>
                <a:gd name="connsiteY24" fmla="*/ 284614 h 299682"/>
                <a:gd name="connsiteX25" fmla="*/ 553245 w 611059"/>
                <a:gd name="connsiteY25" fmla="*/ 282408 h 299682"/>
                <a:gd name="connsiteX26" fmla="*/ 586407 w 611059"/>
                <a:gd name="connsiteY26" fmla="*/ 279066 h 299682"/>
                <a:gd name="connsiteX27" fmla="*/ 591805 w 611059"/>
                <a:gd name="connsiteY27" fmla="*/ 233208 h 299682"/>
                <a:gd name="connsiteX28" fmla="*/ 535994 w 611059"/>
                <a:gd name="connsiteY28" fmla="*/ 221243 h 299682"/>
                <a:gd name="connsiteX29" fmla="*/ 502954 w 611059"/>
                <a:gd name="connsiteY29" fmla="*/ 193668 h 299682"/>
                <a:gd name="connsiteX30" fmla="*/ 497271 w 611059"/>
                <a:gd name="connsiteY30" fmla="*/ 184744 h 299682"/>
                <a:gd name="connsiteX31" fmla="*/ 484648 w 611059"/>
                <a:gd name="connsiteY31" fmla="*/ 181770 h 299682"/>
                <a:gd name="connsiteX32" fmla="*/ 466342 w 611059"/>
                <a:gd name="connsiteY32" fmla="*/ 164490 h 299682"/>
                <a:gd name="connsiteX33" fmla="*/ 452136 w 611059"/>
                <a:gd name="connsiteY33" fmla="*/ 131267 h 299682"/>
                <a:gd name="connsiteX34" fmla="*/ 431313 w 611059"/>
                <a:gd name="connsiteY34" fmla="*/ 115758 h 299682"/>
                <a:gd name="connsiteX35" fmla="*/ 421450 w 611059"/>
                <a:gd name="connsiteY35" fmla="*/ 99380 h 299682"/>
                <a:gd name="connsiteX36" fmla="*/ 384432 w 611059"/>
                <a:gd name="connsiteY36" fmla="*/ 86178 h 29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11059" h="299682">
                  <a:moveTo>
                    <a:pt x="384432" y="86178"/>
                  </a:moveTo>
                  <a:cubicBezTo>
                    <a:pt x="367465" y="82836"/>
                    <a:pt x="350459" y="79259"/>
                    <a:pt x="333289" y="76552"/>
                  </a:cubicBezTo>
                  <a:cubicBezTo>
                    <a:pt x="309706" y="72875"/>
                    <a:pt x="297083" y="65623"/>
                    <a:pt x="280523" y="55863"/>
                  </a:cubicBezTo>
                  <a:cubicBezTo>
                    <a:pt x="248659" y="36674"/>
                    <a:pt x="214970" y="19598"/>
                    <a:pt x="179819" y="4792"/>
                  </a:cubicBezTo>
                  <a:cubicBezTo>
                    <a:pt x="162081" y="-2361"/>
                    <a:pt x="144303" y="-556"/>
                    <a:pt x="126443" y="1449"/>
                  </a:cubicBezTo>
                  <a:cubicBezTo>
                    <a:pt x="114916" y="2619"/>
                    <a:pt x="62271" y="-322"/>
                    <a:pt x="86259" y="12145"/>
                  </a:cubicBezTo>
                  <a:cubicBezTo>
                    <a:pt x="106230" y="22540"/>
                    <a:pt x="103998" y="33102"/>
                    <a:pt x="74529" y="32199"/>
                  </a:cubicBezTo>
                  <a:cubicBezTo>
                    <a:pt x="59917" y="31698"/>
                    <a:pt x="61500" y="39652"/>
                    <a:pt x="49689" y="42627"/>
                  </a:cubicBezTo>
                  <a:cubicBezTo>
                    <a:pt x="34548" y="46437"/>
                    <a:pt x="19043" y="38516"/>
                    <a:pt x="6704" y="33536"/>
                  </a:cubicBezTo>
                  <a:cubicBezTo>
                    <a:pt x="-10181" y="50248"/>
                    <a:pt x="7597" y="66959"/>
                    <a:pt x="26674" y="81265"/>
                  </a:cubicBezTo>
                  <a:cubicBezTo>
                    <a:pt x="39541" y="91008"/>
                    <a:pt x="50865" y="102034"/>
                    <a:pt x="60404" y="114087"/>
                  </a:cubicBezTo>
                  <a:cubicBezTo>
                    <a:pt x="69618" y="125685"/>
                    <a:pt x="67020" y="134509"/>
                    <a:pt x="86259" y="144168"/>
                  </a:cubicBezTo>
                  <a:cubicBezTo>
                    <a:pt x="96123" y="149048"/>
                    <a:pt x="116175" y="166161"/>
                    <a:pt x="116783" y="173547"/>
                  </a:cubicBezTo>
                  <a:cubicBezTo>
                    <a:pt x="117920" y="187485"/>
                    <a:pt x="111953" y="200821"/>
                    <a:pt x="130462" y="213221"/>
                  </a:cubicBezTo>
                  <a:cubicBezTo>
                    <a:pt x="138864" y="218870"/>
                    <a:pt x="149458" y="222747"/>
                    <a:pt x="156642" y="229164"/>
                  </a:cubicBezTo>
                  <a:cubicBezTo>
                    <a:pt x="164760" y="236517"/>
                    <a:pt x="167520" y="244973"/>
                    <a:pt x="172878" y="252928"/>
                  </a:cubicBezTo>
                  <a:cubicBezTo>
                    <a:pt x="183107" y="267702"/>
                    <a:pt x="197679" y="280135"/>
                    <a:pt x="205350" y="295410"/>
                  </a:cubicBezTo>
                  <a:cubicBezTo>
                    <a:pt x="217892" y="293404"/>
                    <a:pt x="220044" y="293906"/>
                    <a:pt x="219232" y="286118"/>
                  </a:cubicBezTo>
                  <a:cubicBezTo>
                    <a:pt x="218542" y="279433"/>
                    <a:pt x="234209" y="277729"/>
                    <a:pt x="242409" y="280436"/>
                  </a:cubicBezTo>
                  <a:cubicBezTo>
                    <a:pt x="251866" y="283778"/>
                    <a:pt x="263231" y="283244"/>
                    <a:pt x="273379" y="284881"/>
                  </a:cubicBezTo>
                  <a:cubicBezTo>
                    <a:pt x="281497" y="286218"/>
                    <a:pt x="288519" y="288992"/>
                    <a:pt x="296352" y="290363"/>
                  </a:cubicBezTo>
                  <a:cubicBezTo>
                    <a:pt x="312263" y="293204"/>
                    <a:pt x="343315" y="304935"/>
                    <a:pt x="352407" y="296112"/>
                  </a:cubicBezTo>
                  <a:cubicBezTo>
                    <a:pt x="360525" y="288157"/>
                    <a:pt x="383255" y="283611"/>
                    <a:pt x="397502" y="280302"/>
                  </a:cubicBezTo>
                  <a:cubicBezTo>
                    <a:pt x="411749" y="276993"/>
                    <a:pt x="434642" y="283143"/>
                    <a:pt x="450269" y="284614"/>
                  </a:cubicBezTo>
                  <a:cubicBezTo>
                    <a:pt x="464516" y="285533"/>
                    <a:pt x="478885" y="285533"/>
                    <a:pt x="493132" y="284614"/>
                  </a:cubicBezTo>
                  <a:cubicBezTo>
                    <a:pt x="513183" y="283945"/>
                    <a:pt x="533234" y="283210"/>
                    <a:pt x="553245" y="282408"/>
                  </a:cubicBezTo>
                  <a:cubicBezTo>
                    <a:pt x="561850" y="282074"/>
                    <a:pt x="581049" y="283478"/>
                    <a:pt x="586407" y="279066"/>
                  </a:cubicBezTo>
                  <a:cubicBezTo>
                    <a:pt x="599233" y="268571"/>
                    <a:pt x="631583" y="240762"/>
                    <a:pt x="591805" y="233208"/>
                  </a:cubicBezTo>
                  <a:cubicBezTo>
                    <a:pt x="573093" y="229666"/>
                    <a:pt x="554382" y="225621"/>
                    <a:pt x="535994" y="221243"/>
                  </a:cubicBezTo>
                  <a:cubicBezTo>
                    <a:pt x="513832" y="215962"/>
                    <a:pt x="513467" y="204030"/>
                    <a:pt x="502954" y="193668"/>
                  </a:cubicBezTo>
                  <a:cubicBezTo>
                    <a:pt x="500194" y="191118"/>
                    <a:pt x="498246" y="188056"/>
                    <a:pt x="497271" y="184744"/>
                  </a:cubicBezTo>
                  <a:cubicBezTo>
                    <a:pt x="492847" y="184497"/>
                    <a:pt x="488545" y="183484"/>
                    <a:pt x="484648" y="181770"/>
                  </a:cubicBezTo>
                  <a:cubicBezTo>
                    <a:pt x="476530" y="178126"/>
                    <a:pt x="470888" y="169704"/>
                    <a:pt x="466342" y="164490"/>
                  </a:cubicBezTo>
                  <a:cubicBezTo>
                    <a:pt x="455099" y="151722"/>
                    <a:pt x="470401" y="144168"/>
                    <a:pt x="452136" y="131267"/>
                  </a:cubicBezTo>
                  <a:cubicBezTo>
                    <a:pt x="444870" y="126410"/>
                    <a:pt x="437889" y="121233"/>
                    <a:pt x="431313" y="115758"/>
                  </a:cubicBezTo>
                  <a:cubicBezTo>
                    <a:pt x="428635" y="113351"/>
                    <a:pt x="422992" y="99648"/>
                    <a:pt x="421450" y="99380"/>
                  </a:cubicBezTo>
                  <a:cubicBezTo>
                    <a:pt x="402048" y="96005"/>
                    <a:pt x="397908" y="94968"/>
                    <a:pt x="384432" y="8617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8D238047-7D85-4066-9E8F-9121AFD7E837}"/>
                </a:ext>
              </a:extLst>
            </p:cNvPr>
            <p:cNvSpPr/>
            <p:nvPr/>
          </p:nvSpPr>
          <p:spPr>
            <a:xfrm>
              <a:off x="7321932" y="4517090"/>
              <a:ext cx="248503" cy="135687"/>
            </a:xfrm>
            <a:custGeom>
              <a:avLst/>
              <a:gdLst>
                <a:gd name="connsiteX0" fmla="*/ 141761 w 248503"/>
                <a:gd name="connsiteY0" fmla="*/ -339 h 135687"/>
                <a:gd name="connsiteX1" fmla="*/ 126012 w 248503"/>
                <a:gd name="connsiteY1" fmla="*/ 18445 h 135687"/>
                <a:gd name="connsiteX2" fmla="*/ 103647 w 248503"/>
                <a:gd name="connsiteY2" fmla="*/ 35391 h 135687"/>
                <a:gd name="connsiteX3" fmla="*/ 98168 w 248503"/>
                <a:gd name="connsiteY3" fmla="*/ 79376 h 135687"/>
                <a:gd name="connsiteX4" fmla="*/ 72150 w 248503"/>
                <a:gd name="connsiteY4" fmla="*/ 83822 h 135687"/>
                <a:gd name="connsiteX5" fmla="*/ -60 w 248503"/>
                <a:gd name="connsiteY5" fmla="*/ 86496 h 135687"/>
                <a:gd name="connsiteX6" fmla="*/ 26730 w 248503"/>
                <a:gd name="connsiteY6" fmla="*/ 134124 h 135687"/>
                <a:gd name="connsiteX7" fmla="*/ 68618 w 248503"/>
                <a:gd name="connsiteY7" fmla="*/ 134325 h 135687"/>
                <a:gd name="connsiteX8" fmla="*/ 92445 w 248503"/>
                <a:gd name="connsiteY8" fmla="*/ 126771 h 135687"/>
                <a:gd name="connsiteX9" fmla="*/ 121466 w 248503"/>
                <a:gd name="connsiteY9" fmla="*/ 125334 h 135687"/>
                <a:gd name="connsiteX10" fmla="*/ 141355 w 248503"/>
                <a:gd name="connsiteY10" fmla="*/ 118850 h 135687"/>
                <a:gd name="connsiteX11" fmla="*/ 166399 w 248503"/>
                <a:gd name="connsiteY11" fmla="*/ 114371 h 135687"/>
                <a:gd name="connsiteX12" fmla="*/ 175856 w 248503"/>
                <a:gd name="connsiteY12" fmla="*/ 100701 h 135687"/>
                <a:gd name="connsiteX13" fmla="*/ 215594 w 248503"/>
                <a:gd name="connsiteY13" fmla="*/ 83989 h 135687"/>
                <a:gd name="connsiteX14" fmla="*/ 243723 w 248503"/>
                <a:gd name="connsiteY14" fmla="*/ 60592 h 135687"/>
                <a:gd name="connsiteX15" fmla="*/ 213889 w 248503"/>
                <a:gd name="connsiteY15" fmla="*/ 34856 h 135687"/>
                <a:gd name="connsiteX16" fmla="*/ 164207 w 248503"/>
                <a:gd name="connsiteY16" fmla="*/ -138 h 135687"/>
                <a:gd name="connsiteX17" fmla="*/ 141761 w 248503"/>
                <a:gd name="connsiteY17" fmla="*/ -339 h 135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503" h="135687">
                  <a:moveTo>
                    <a:pt x="141761" y="-339"/>
                  </a:moveTo>
                  <a:cubicBezTo>
                    <a:pt x="139366" y="9889"/>
                    <a:pt x="139001" y="12229"/>
                    <a:pt x="126012" y="18445"/>
                  </a:cubicBezTo>
                  <a:cubicBezTo>
                    <a:pt x="117367" y="22917"/>
                    <a:pt x="109777" y="28663"/>
                    <a:pt x="103647" y="35391"/>
                  </a:cubicBezTo>
                  <a:cubicBezTo>
                    <a:pt x="141477" y="42510"/>
                    <a:pt x="108599" y="69717"/>
                    <a:pt x="98168" y="79376"/>
                  </a:cubicBezTo>
                  <a:cubicBezTo>
                    <a:pt x="92729" y="84390"/>
                    <a:pt x="82216" y="83387"/>
                    <a:pt x="72150" y="83822"/>
                  </a:cubicBezTo>
                  <a:cubicBezTo>
                    <a:pt x="48120" y="84858"/>
                    <a:pt x="24051" y="85694"/>
                    <a:pt x="-60" y="86496"/>
                  </a:cubicBezTo>
                  <a:cubicBezTo>
                    <a:pt x="8911" y="102382"/>
                    <a:pt x="17841" y="118258"/>
                    <a:pt x="26730" y="134124"/>
                  </a:cubicBezTo>
                  <a:cubicBezTo>
                    <a:pt x="40652" y="132537"/>
                    <a:pt x="54737" y="132607"/>
                    <a:pt x="68618" y="134325"/>
                  </a:cubicBezTo>
                  <a:cubicBezTo>
                    <a:pt x="88913" y="137032"/>
                    <a:pt x="84854" y="134325"/>
                    <a:pt x="92445" y="126771"/>
                  </a:cubicBezTo>
                  <a:cubicBezTo>
                    <a:pt x="98168" y="121022"/>
                    <a:pt x="112009" y="123429"/>
                    <a:pt x="121466" y="125334"/>
                  </a:cubicBezTo>
                  <a:cubicBezTo>
                    <a:pt x="132994" y="127640"/>
                    <a:pt x="135388" y="123295"/>
                    <a:pt x="141355" y="118850"/>
                  </a:cubicBezTo>
                  <a:cubicBezTo>
                    <a:pt x="148458" y="113636"/>
                    <a:pt x="154831" y="114070"/>
                    <a:pt x="166399" y="114371"/>
                  </a:cubicBezTo>
                  <a:cubicBezTo>
                    <a:pt x="175085" y="114605"/>
                    <a:pt x="173949" y="104344"/>
                    <a:pt x="175856" y="100701"/>
                  </a:cubicBezTo>
                  <a:cubicBezTo>
                    <a:pt x="182676" y="87331"/>
                    <a:pt x="202605" y="93347"/>
                    <a:pt x="215594" y="83989"/>
                  </a:cubicBezTo>
                  <a:cubicBezTo>
                    <a:pt x="220140" y="80647"/>
                    <a:pt x="262353" y="65405"/>
                    <a:pt x="243723" y="60592"/>
                  </a:cubicBezTo>
                  <a:cubicBezTo>
                    <a:pt x="226391" y="55980"/>
                    <a:pt x="231546" y="39736"/>
                    <a:pt x="213889" y="34856"/>
                  </a:cubicBezTo>
                  <a:cubicBezTo>
                    <a:pt x="185192" y="26901"/>
                    <a:pt x="167454" y="18445"/>
                    <a:pt x="164207" y="-138"/>
                  </a:cubicBezTo>
                  <a:cubicBezTo>
                    <a:pt x="156861" y="1653"/>
                    <a:pt x="149067" y="1583"/>
                    <a:pt x="141761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C74AF7AD-A9F9-4715-BC59-44BD32FB8CE9}"/>
                </a:ext>
              </a:extLst>
            </p:cNvPr>
            <p:cNvSpPr/>
            <p:nvPr/>
          </p:nvSpPr>
          <p:spPr>
            <a:xfrm>
              <a:off x="7308785" y="4476867"/>
              <a:ext cx="30062" cy="27154"/>
            </a:xfrm>
            <a:custGeom>
              <a:avLst/>
              <a:gdLst>
                <a:gd name="connsiteX0" fmla="*/ 20435 w 30062"/>
                <a:gd name="connsiteY0" fmla="*/ 26816 h 27154"/>
                <a:gd name="connsiteX1" fmla="*/ 29973 w 30062"/>
                <a:gd name="connsiteY1" fmla="*/ 7530 h 27154"/>
                <a:gd name="connsiteX2" fmla="*/ 10328 w 30062"/>
                <a:gd name="connsiteY2" fmla="*/ 1681 h 27154"/>
                <a:gd name="connsiteX3" fmla="*/ 20435 w 30062"/>
                <a:gd name="connsiteY3" fmla="*/ 26816 h 27154"/>
                <a:gd name="connsiteX4" fmla="*/ 20435 w 30062"/>
                <a:gd name="connsiteY4" fmla="*/ 26816 h 2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62" h="27154">
                  <a:moveTo>
                    <a:pt x="20435" y="26816"/>
                  </a:moveTo>
                  <a:cubicBezTo>
                    <a:pt x="19095" y="20131"/>
                    <a:pt x="30663" y="14783"/>
                    <a:pt x="29973" y="7530"/>
                  </a:cubicBezTo>
                  <a:cubicBezTo>
                    <a:pt x="29324" y="846"/>
                    <a:pt x="18608" y="-2898"/>
                    <a:pt x="10328" y="1681"/>
                  </a:cubicBezTo>
                  <a:cubicBezTo>
                    <a:pt x="-3026" y="9068"/>
                    <a:pt x="-7167" y="25078"/>
                    <a:pt x="20435" y="26816"/>
                  </a:cubicBezTo>
                  <a:cubicBezTo>
                    <a:pt x="20069" y="24944"/>
                    <a:pt x="13006" y="26314"/>
                    <a:pt x="20435" y="2681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99569889-92EB-4E63-AB62-6132C1E7A035}"/>
                </a:ext>
              </a:extLst>
            </p:cNvPr>
            <p:cNvSpPr/>
            <p:nvPr/>
          </p:nvSpPr>
          <p:spPr>
            <a:xfrm>
              <a:off x="7339426" y="4495402"/>
              <a:ext cx="146026" cy="56038"/>
            </a:xfrm>
            <a:custGeom>
              <a:avLst/>
              <a:gdLst>
                <a:gd name="connsiteX0" fmla="*/ 18530 w 146026"/>
                <a:gd name="connsiteY0" fmla="*/ 42038 h 56038"/>
                <a:gd name="connsiteX1" fmla="*/ 59445 w 146026"/>
                <a:gd name="connsiteY1" fmla="*/ 51664 h 56038"/>
                <a:gd name="connsiteX2" fmla="*/ 95204 w 146026"/>
                <a:gd name="connsiteY2" fmla="*/ 48322 h 56038"/>
                <a:gd name="connsiteX3" fmla="*/ 118503 w 146026"/>
                <a:gd name="connsiteY3" fmla="*/ 35219 h 56038"/>
                <a:gd name="connsiteX4" fmla="*/ 126012 w 146026"/>
                <a:gd name="connsiteY4" fmla="*/ 21482 h 56038"/>
                <a:gd name="connsiteX5" fmla="*/ 145536 w 146026"/>
                <a:gd name="connsiteY5" fmla="*/ 6375 h 56038"/>
                <a:gd name="connsiteX6" fmla="*/ 111359 w 146026"/>
                <a:gd name="connsiteY6" fmla="*/ 10486 h 56038"/>
                <a:gd name="connsiteX7" fmla="*/ 49825 w 146026"/>
                <a:gd name="connsiteY7" fmla="*/ 23856 h 56038"/>
                <a:gd name="connsiteX8" fmla="*/ 16176 w 146026"/>
                <a:gd name="connsiteY8" fmla="*/ 20112 h 56038"/>
                <a:gd name="connsiteX9" fmla="*/ -60 w 146026"/>
                <a:gd name="connsiteY9" fmla="*/ 20580 h 56038"/>
                <a:gd name="connsiteX10" fmla="*/ 18571 w 146026"/>
                <a:gd name="connsiteY10" fmla="*/ 41837 h 5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26" h="56038">
                  <a:moveTo>
                    <a:pt x="18530" y="42038"/>
                  </a:moveTo>
                  <a:cubicBezTo>
                    <a:pt x="27988" y="46985"/>
                    <a:pt x="48120" y="49257"/>
                    <a:pt x="59445" y="51664"/>
                  </a:cubicBezTo>
                  <a:cubicBezTo>
                    <a:pt x="81485" y="56343"/>
                    <a:pt x="84245" y="58850"/>
                    <a:pt x="95204" y="48322"/>
                  </a:cubicBezTo>
                  <a:cubicBezTo>
                    <a:pt x="101049" y="42773"/>
                    <a:pt x="109857" y="39331"/>
                    <a:pt x="118503" y="35219"/>
                  </a:cubicBezTo>
                  <a:cubicBezTo>
                    <a:pt x="123049" y="33047"/>
                    <a:pt x="122156" y="20881"/>
                    <a:pt x="126012" y="21482"/>
                  </a:cubicBezTo>
                  <a:cubicBezTo>
                    <a:pt x="149189" y="25159"/>
                    <a:pt x="146064" y="18140"/>
                    <a:pt x="145536" y="6375"/>
                  </a:cubicBezTo>
                  <a:cubicBezTo>
                    <a:pt x="144805" y="-8766"/>
                    <a:pt x="120127" y="5773"/>
                    <a:pt x="111359" y="10486"/>
                  </a:cubicBezTo>
                  <a:cubicBezTo>
                    <a:pt x="93825" y="19912"/>
                    <a:pt x="78887" y="28468"/>
                    <a:pt x="49825" y="23856"/>
                  </a:cubicBezTo>
                  <a:cubicBezTo>
                    <a:pt x="38216" y="22051"/>
                    <a:pt x="27866" y="18408"/>
                    <a:pt x="16176" y="20112"/>
                  </a:cubicBezTo>
                  <a:cubicBezTo>
                    <a:pt x="10331" y="20948"/>
                    <a:pt x="5663" y="24190"/>
                    <a:pt x="-60" y="20580"/>
                  </a:cubicBezTo>
                  <a:cubicBezTo>
                    <a:pt x="-60" y="28000"/>
                    <a:pt x="8464" y="36557"/>
                    <a:pt x="18571" y="4183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CB4C4A30-DB89-4E9D-8F60-849E940C1F03}"/>
                </a:ext>
              </a:extLst>
            </p:cNvPr>
            <p:cNvSpPr/>
            <p:nvPr/>
          </p:nvSpPr>
          <p:spPr>
            <a:xfrm>
              <a:off x="8580468" y="5122758"/>
              <a:ext cx="506390" cy="218774"/>
            </a:xfrm>
            <a:custGeom>
              <a:avLst/>
              <a:gdLst>
                <a:gd name="connsiteX0" fmla="*/ 83343 w 506390"/>
                <a:gd name="connsiteY0" fmla="*/ 62498 h 218774"/>
                <a:gd name="connsiteX1" fmla="*/ 71855 w 506390"/>
                <a:gd name="connsiteY1" fmla="*/ 42076 h 218774"/>
                <a:gd name="connsiteX2" fmla="*/ 60734 w 506390"/>
                <a:gd name="connsiteY2" fmla="*/ 23994 h 218774"/>
                <a:gd name="connsiteX3" fmla="*/ 49329 w 506390"/>
                <a:gd name="connsiteY3" fmla="*/ 27604 h 218774"/>
                <a:gd name="connsiteX4" fmla="*/ 32727 w 506390"/>
                <a:gd name="connsiteY4" fmla="*/ 22490 h 218774"/>
                <a:gd name="connsiteX5" fmla="*/ 29358 w 506390"/>
                <a:gd name="connsiteY5" fmla="*/ 14234 h 218774"/>
                <a:gd name="connsiteX6" fmla="*/ 4802 w 506390"/>
                <a:gd name="connsiteY6" fmla="*/ -339 h 218774"/>
                <a:gd name="connsiteX7" fmla="*/ -29 w 506390"/>
                <a:gd name="connsiteY7" fmla="*/ 29275 h 218774"/>
                <a:gd name="connsiteX8" fmla="*/ 10037 w 506390"/>
                <a:gd name="connsiteY8" fmla="*/ 56983 h 218774"/>
                <a:gd name="connsiteX9" fmla="*/ 18155 w 506390"/>
                <a:gd name="connsiteY9" fmla="*/ 75633 h 218774"/>
                <a:gd name="connsiteX10" fmla="*/ 48395 w 506390"/>
                <a:gd name="connsiteY10" fmla="*/ 103609 h 218774"/>
                <a:gd name="connsiteX11" fmla="*/ 75347 w 506390"/>
                <a:gd name="connsiteY11" fmla="*/ 106650 h 218774"/>
                <a:gd name="connsiteX12" fmla="*/ 67229 w 506390"/>
                <a:gd name="connsiteY12" fmla="*/ 86964 h 218774"/>
                <a:gd name="connsiteX13" fmla="*/ 83180 w 506390"/>
                <a:gd name="connsiteY13" fmla="*/ 62498 h 218774"/>
                <a:gd name="connsiteX14" fmla="*/ 83343 w 506390"/>
                <a:gd name="connsiteY14" fmla="*/ 62498 h 218774"/>
                <a:gd name="connsiteX15" fmla="*/ 493299 w 506390"/>
                <a:gd name="connsiteY15" fmla="*/ 193217 h 218774"/>
                <a:gd name="connsiteX16" fmla="*/ 469392 w 506390"/>
                <a:gd name="connsiteY16" fmla="*/ 171291 h 218774"/>
                <a:gd name="connsiteX17" fmla="*/ 427260 w 506390"/>
                <a:gd name="connsiteY17" fmla="*/ 164105 h 218774"/>
                <a:gd name="connsiteX18" fmla="*/ 396168 w 506390"/>
                <a:gd name="connsiteY18" fmla="*/ 177475 h 218774"/>
                <a:gd name="connsiteX19" fmla="*/ 383707 w 506390"/>
                <a:gd name="connsiteY19" fmla="*/ 180817 h 218774"/>
                <a:gd name="connsiteX20" fmla="*/ 366497 w 506390"/>
                <a:gd name="connsiteY20" fmla="*/ 168751 h 218774"/>
                <a:gd name="connsiteX21" fmla="*/ 335811 w 506390"/>
                <a:gd name="connsiteY21" fmla="*/ 170289 h 218774"/>
                <a:gd name="connsiteX22" fmla="*/ 293882 w 506390"/>
                <a:gd name="connsiteY22" fmla="*/ 170088 h 218774"/>
                <a:gd name="connsiteX23" fmla="*/ 261410 w 506390"/>
                <a:gd name="connsiteY23" fmla="*/ 179581 h 218774"/>
                <a:gd name="connsiteX24" fmla="*/ 223580 w 506390"/>
                <a:gd name="connsiteY24" fmla="*/ 161064 h 218774"/>
                <a:gd name="connsiteX25" fmla="*/ 247934 w 506390"/>
                <a:gd name="connsiteY25" fmla="*/ 188672 h 218774"/>
                <a:gd name="connsiteX26" fmla="*/ 274318 w 506390"/>
                <a:gd name="connsiteY26" fmla="*/ 197964 h 218774"/>
                <a:gd name="connsiteX27" fmla="*/ 302041 w 506390"/>
                <a:gd name="connsiteY27" fmla="*/ 200404 h 218774"/>
                <a:gd name="connsiteX28" fmla="*/ 319900 w 506390"/>
                <a:gd name="connsiteY28" fmla="*/ 211132 h 218774"/>
                <a:gd name="connsiteX29" fmla="*/ 349368 w 506390"/>
                <a:gd name="connsiteY29" fmla="*/ 217817 h 218774"/>
                <a:gd name="connsiteX30" fmla="*/ 362113 w 506390"/>
                <a:gd name="connsiteY30" fmla="*/ 210899 h 218774"/>
                <a:gd name="connsiteX31" fmla="*/ 377213 w 506390"/>
                <a:gd name="connsiteY31" fmla="*/ 200872 h 218774"/>
                <a:gd name="connsiteX32" fmla="*/ 391420 w 506390"/>
                <a:gd name="connsiteY32" fmla="*/ 200872 h 218774"/>
                <a:gd name="connsiteX33" fmla="*/ 403596 w 506390"/>
                <a:gd name="connsiteY33" fmla="*/ 190844 h 218774"/>
                <a:gd name="connsiteX34" fmla="*/ 450193 w 506390"/>
                <a:gd name="connsiteY34" fmla="*/ 203746 h 218774"/>
                <a:gd name="connsiteX35" fmla="*/ 478200 w 506390"/>
                <a:gd name="connsiteY35" fmla="*/ 208091 h 218774"/>
                <a:gd name="connsiteX36" fmla="*/ 487414 w 506390"/>
                <a:gd name="connsiteY36" fmla="*/ 206620 h 218774"/>
                <a:gd name="connsiteX37" fmla="*/ 492934 w 506390"/>
                <a:gd name="connsiteY37" fmla="*/ 193251 h 21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90" h="218774">
                  <a:moveTo>
                    <a:pt x="83343" y="62498"/>
                  </a:moveTo>
                  <a:cubicBezTo>
                    <a:pt x="87808" y="54376"/>
                    <a:pt x="75914" y="49797"/>
                    <a:pt x="71855" y="42076"/>
                  </a:cubicBezTo>
                  <a:cubicBezTo>
                    <a:pt x="68284" y="35391"/>
                    <a:pt x="64063" y="30578"/>
                    <a:pt x="60734" y="23994"/>
                  </a:cubicBezTo>
                  <a:cubicBezTo>
                    <a:pt x="55377" y="23258"/>
                    <a:pt x="51804" y="28105"/>
                    <a:pt x="49329" y="27604"/>
                  </a:cubicBezTo>
                  <a:cubicBezTo>
                    <a:pt x="43565" y="26477"/>
                    <a:pt x="37964" y="24759"/>
                    <a:pt x="32727" y="22490"/>
                  </a:cubicBezTo>
                  <a:cubicBezTo>
                    <a:pt x="26720" y="19782"/>
                    <a:pt x="30210" y="17677"/>
                    <a:pt x="29358" y="14234"/>
                  </a:cubicBezTo>
                  <a:cubicBezTo>
                    <a:pt x="27532" y="6881"/>
                    <a:pt x="14299" y="2402"/>
                    <a:pt x="4802" y="-339"/>
                  </a:cubicBezTo>
                  <a:cubicBezTo>
                    <a:pt x="7359" y="10825"/>
                    <a:pt x="743" y="18947"/>
                    <a:pt x="-29" y="29275"/>
                  </a:cubicBezTo>
                  <a:cubicBezTo>
                    <a:pt x="-556" y="38132"/>
                    <a:pt x="5817" y="48025"/>
                    <a:pt x="10037" y="56983"/>
                  </a:cubicBezTo>
                  <a:cubicBezTo>
                    <a:pt x="12960" y="63200"/>
                    <a:pt x="12798" y="69650"/>
                    <a:pt x="18155" y="75633"/>
                  </a:cubicBezTo>
                  <a:cubicBezTo>
                    <a:pt x="27451" y="85526"/>
                    <a:pt x="37557" y="94885"/>
                    <a:pt x="48395" y="103609"/>
                  </a:cubicBezTo>
                  <a:cubicBezTo>
                    <a:pt x="63576" y="116243"/>
                    <a:pt x="83627" y="130348"/>
                    <a:pt x="75347" y="106650"/>
                  </a:cubicBezTo>
                  <a:cubicBezTo>
                    <a:pt x="73155" y="100534"/>
                    <a:pt x="66214" y="92813"/>
                    <a:pt x="67229" y="86964"/>
                  </a:cubicBezTo>
                  <a:cubicBezTo>
                    <a:pt x="69014" y="77739"/>
                    <a:pt x="78635" y="70820"/>
                    <a:pt x="83180" y="62498"/>
                  </a:cubicBezTo>
                  <a:cubicBezTo>
                    <a:pt x="88985" y="52170"/>
                    <a:pt x="77701" y="72859"/>
                    <a:pt x="83343" y="62498"/>
                  </a:cubicBezTo>
                  <a:close/>
                  <a:moveTo>
                    <a:pt x="493299" y="193217"/>
                  </a:moveTo>
                  <a:cubicBezTo>
                    <a:pt x="471827" y="187769"/>
                    <a:pt x="476617" y="181820"/>
                    <a:pt x="469392" y="171291"/>
                  </a:cubicBezTo>
                  <a:cubicBezTo>
                    <a:pt x="458676" y="155582"/>
                    <a:pt x="440329" y="155215"/>
                    <a:pt x="427260" y="164105"/>
                  </a:cubicBezTo>
                  <a:cubicBezTo>
                    <a:pt x="418086" y="170289"/>
                    <a:pt x="398116" y="167448"/>
                    <a:pt x="396168" y="177475"/>
                  </a:cubicBezTo>
                  <a:cubicBezTo>
                    <a:pt x="394747" y="184928"/>
                    <a:pt x="392109" y="180416"/>
                    <a:pt x="383707" y="180817"/>
                  </a:cubicBezTo>
                  <a:cubicBezTo>
                    <a:pt x="371530" y="181352"/>
                    <a:pt x="368851" y="175904"/>
                    <a:pt x="366497" y="168751"/>
                  </a:cubicBezTo>
                  <a:cubicBezTo>
                    <a:pt x="362072" y="155382"/>
                    <a:pt x="344132" y="165609"/>
                    <a:pt x="335811" y="170289"/>
                  </a:cubicBezTo>
                  <a:cubicBezTo>
                    <a:pt x="320062" y="179213"/>
                    <a:pt x="317343" y="178477"/>
                    <a:pt x="293882" y="170088"/>
                  </a:cubicBezTo>
                  <a:cubicBezTo>
                    <a:pt x="270421" y="161699"/>
                    <a:pt x="270503" y="170489"/>
                    <a:pt x="261410" y="179581"/>
                  </a:cubicBezTo>
                  <a:cubicBezTo>
                    <a:pt x="253292" y="187669"/>
                    <a:pt x="231455" y="165108"/>
                    <a:pt x="223580" y="161064"/>
                  </a:cubicBezTo>
                  <a:cubicBezTo>
                    <a:pt x="223012" y="173798"/>
                    <a:pt x="233079" y="185162"/>
                    <a:pt x="247934" y="188672"/>
                  </a:cubicBezTo>
                  <a:cubicBezTo>
                    <a:pt x="257067" y="190543"/>
                    <a:pt x="265429" y="195357"/>
                    <a:pt x="274318" y="197964"/>
                  </a:cubicBezTo>
                  <a:cubicBezTo>
                    <a:pt x="284059" y="200905"/>
                    <a:pt x="292299" y="197964"/>
                    <a:pt x="302041" y="200404"/>
                  </a:cubicBezTo>
                  <a:cubicBezTo>
                    <a:pt x="309427" y="202008"/>
                    <a:pt x="315800" y="205852"/>
                    <a:pt x="319900" y="211132"/>
                  </a:cubicBezTo>
                  <a:cubicBezTo>
                    <a:pt x="324243" y="215812"/>
                    <a:pt x="342387" y="216179"/>
                    <a:pt x="349368" y="217817"/>
                  </a:cubicBezTo>
                  <a:cubicBezTo>
                    <a:pt x="359759" y="220290"/>
                    <a:pt x="358095" y="214809"/>
                    <a:pt x="362113" y="210899"/>
                  </a:cubicBezTo>
                  <a:cubicBezTo>
                    <a:pt x="366822" y="207255"/>
                    <a:pt x="371896" y="203913"/>
                    <a:pt x="377213" y="200872"/>
                  </a:cubicBezTo>
                  <a:cubicBezTo>
                    <a:pt x="380135" y="198832"/>
                    <a:pt x="387361" y="201306"/>
                    <a:pt x="391420" y="200872"/>
                  </a:cubicBezTo>
                  <a:cubicBezTo>
                    <a:pt x="399538" y="199969"/>
                    <a:pt x="397751" y="193084"/>
                    <a:pt x="403596" y="190844"/>
                  </a:cubicBezTo>
                  <a:cubicBezTo>
                    <a:pt x="414027" y="186633"/>
                    <a:pt x="440654" y="197195"/>
                    <a:pt x="450193" y="203746"/>
                  </a:cubicBezTo>
                  <a:cubicBezTo>
                    <a:pt x="455591" y="207456"/>
                    <a:pt x="473208" y="213773"/>
                    <a:pt x="478200" y="208091"/>
                  </a:cubicBezTo>
                  <a:cubicBezTo>
                    <a:pt x="481447" y="204481"/>
                    <a:pt x="475440" y="202543"/>
                    <a:pt x="487414" y="206620"/>
                  </a:cubicBezTo>
                  <a:cubicBezTo>
                    <a:pt x="510997" y="214709"/>
                    <a:pt x="512174" y="198030"/>
                    <a:pt x="492934" y="19325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0253255A-8615-4A49-8B14-88E524B7B347}"/>
                </a:ext>
              </a:extLst>
            </p:cNvPr>
            <p:cNvSpPr/>
            <p:nvPr/>
          </p:nvSpPr>
          <p:spPr>
            <a:xfrm>
              <a:off x="8945157" y="5285899"/>
              <a:ext cx="32065" cy="19491"/>
            </a:xfrm>
            <a:custGeom>
              <a:avLst/>
              <a:gdLst>
                <a:gd name="connsiteX0" fmla="*/ 7977 w 32065"/>
                <a:gd name="connsiteY0" fmla="*/ 16039 h 19491"/>
                <a:gd name="connsiteX1" fmla="*/ 32006 w 32065"/>
                <a:gd name="connsiteY1" fmla="*/ 9922 h 19491"/>
                <a:gd name="connsiteX2" fmla="*/ 20235 w 32065"/>
                <a:gd name="connsiteY2" fmla="*/ 7449 h 19491"/>
                <a:gd name="connsiteX3" fmla="*/ 14999 w 32065"/>
                <a:gd name="connsiteY3" fmla="*/ 9288 h 19491"/>
                <a:gd name="connsiteX4" fmla="*/ -60 w 32065"/>
                <a:gd name="connsiteY4" fmla="*/ -339 h 19491"/>
                <a:gd name="connsiteX5" fmla="*/ 7977 w 32065"/>
                <a:gd name="connsiteY5" fmla="*/ 16039 h 1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65" h="19491">
                  <a:moveTo>
                    <a:pt x="7977" y="16039"/>
                  </a:moveTo>
                  <a:cubicBezTo>
                    <a:pt x="23807" y="22156"/>
                    <a:pt x="30951" y="18813"/>
                    <a:pt x="32006" y="9922"/>
                  </a:cubicBezTo>
                  <a:cubicBezTo>
                    <a:pt x="28150" y="8920"/>
                    <a:pt x="24213" y="8084"/>
                    <a:pt x="20235" y="7449"/>
                  </a:cubicBezTo>
                  <a:cubicBezTo>
                    <a:pt x="18409" y="7884"/>
                    <a:pt x="16622" y="8485"/>
                    <a:pt x="14999" y="9288"/>
                  </a:cubicBezTo>
                  <a:cubicBezTo>
                    <a:pt x="9479" y="8352"/>
                    <a:pt x="4892" y="1801"/>
                    <a:pt x="-60" y="-339"/>
                  </a:cubicBezTo>
                  <a:cubicBezTo>
                    <a:pt x="793" y="2636"/>
                    <a:pt x="2132" y="13733"/>
                    <a:pt x="7977" y="160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D31D2E2E-EBA6-4E78-8738-FAC00420058E}"/>
                </a:ext>
              </a:extLst>
            </p:cNvPr>
            <p:cNvSpPr/>
            <p:nvPr/>
          </p:nvSpPr>
          <p:spPr>
            <a:xfrm>
              <a:off x="6971843" y="4228429"/>
              <a:ext cx="289813" cy="173037"/>
            </a:xfrm>
            <a:custGeom>
              <a:avLst/>
              <a:gdLst>
                <a:gd name="connsiteX0" fmla="*/ 241493 w 289813"/>
                <a:gd name="connsiteY0" fmla="*/ 160109 h 173037"/>
                <a:gd name="connsiteX1" fmla="*/ 261788 w 289813"/>
                <a:gd name="connsiteY1" fmla="*/ 156466 h 173037"/>
                <a:gd name="connsiteX2" fmla="*/ 270677 w 289813"/>
                <a:gd name="connsiteY2" fmla="*/ 160978 h 173037"/>
                <a:gd name="connsiteX3" fmla="*/ 289754 w 289813"/>
                <a:gd name="connsiteY3" fmla="*/ 162315 h 173037"/>
                <a:gd name="connsiteX4" fmla="*/ 268282 w 289813"/>
                <a:gd name="connsiteY4" fmla="*/ 136847 h 173037"/>
                <a:gd name="connsiteX5" fmla="*/ 270028 w 289813"/>
                <a:gd name="connsiteY5" fmla="*/ 128524 h 173037"/>
                <a:gd name="connsiteX6" fmla="*/ 265969 w 289813"/>
                <a:gd name="connsiteY6" fmla="*/ 116625 h 173037"/>
                <a:gd name="connsiteX7" fmla="*/ 236013 w 289813"/>
                <a:gd name="connsiteY7" fmla="*/ 102721 h 173037"/>
                <a:gd name="connsiteX8" fmla="*/ 213445 w 289813"/>
                <a:gd name="connsiteY8" fmla="*/ 83336 h 173037"/>
                <a:gd name="connsiteX9" fmla="*/ 212512 w 289813"/>
                <a:gd name="connsiteY9" fmla="*/ 67559 h 173037"/>
                <a:gd name="connsiteX10" fmla="*/ 219493 w 289813"/>
                <a:gd name="connsiteY10" fmla="*/ 60875 h 173037"/>
                <a:gd name="connsiteX11" fmla="*/ 230615 w 289813"/>
                <a:gd name="connsiteY11" fmla="*/ 55159 h 173037"/>
                <a:gd name="connsiteX12" fmla="*/ 216287 w 289813"/>
                <a:gd name="connsiteY12" fmla="*/ 37178 h 173037"/>
                <a:gd name="connsiteX13" fmla="*/ 197169 w 289813"/>
                <a:gd name="connsiteY13" fmla="*/ 12043 h 173037"/>
                <a:gd name="connsiteX14" fmla="*/ 145214 w 289813"/>
                <a:gd name="connsiteY14" fmla="*/ 311 h 173037"/>
                <a:gd name="connsiteX15" fmla="*/ 97277 w 289813"/>
                <a:gd name="connsiteY15" fmla="*/ 9670 h 173037"/>
                <a:gd name="connsiteX16" fmla="*/ 82381 w 289813"/>
                <a:gd name="connsiteY16" fmla="*/ 14951 h 173037"/>
                <a:gd name="connsiteX17" fmla="*/ 82665 w 289813"/>
                <a:gd name="connsiteY17" fmla="*/ 29256 h 173037"/>
                <a:gd name="connsiteX18" fmla="*/ 72599 w 289813"/>
                <a:gd name="connsiteY18" fmla="*/ 49310 h 173037"/>
                <a:gd name="connsiteX19" fmla="*/ -16 w 289813"/>
                <a:gd name="connsiteY19" fmla="*/ 68897 h 173037"/>
                <a:gd name="connsiteX20" fmla="*/ 3312 w 289813"/>
                <a:gd name="connsiteY20" fmla="*/ 80695 h 173037"/>
                <a:gd name="connsiteX21" fmla="*/ 18208 w 289813"/>
                <a:gd name="connsiteY21" fmla="*/ 91123 h 173037"/>
                <a:gd name="connsiteX22" fmla="*/ 49057 w 289813"/>
                <a:gd name="connsiteY22" fmla="*/ 99847 h 173037"/>
                <a:gd name="connsiteX23" fmla="*/ 102797 w 289813"/>
                <a:gd name="connsiteY23" fmla="*/ 125850 h 173037"/>
                <a:gd name="connsiteX24" fmla="*/ 161734 w 289813"/>
                <a:gd name="connsiteY24" fmla="*/ 159274 h 173037"/>
                <a:gd name="connsiteX25" fmla="*/ 201268 w 289813"/>
                <a:gd name="connsiteY25" fmla="*/ 168800 h 173037"/>
                <a:gd name="connsiteX26" fmla="*/ 229438 w 289813"/>
                <a:gd name="connsiteY26" fmla="*/ 170203 h 173037"/>
                <a:gd name="connsiteX27" fmla="*/ 241615 w 289813"/>
                <a:gd name="connsiteY27" fmla="*/ 160176 h 1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9813" h="173037">
                  <a:moveTo>
                    <a:pt x="241493" y="160109"/>
                  </a:moveTo>
                  <a:cubicBezTo>
                    <a:pt x="247622" y="157569"/>
                    <a:pt x="252087" y="153759"/>
                    <a:pt x="261788" y="156466"/>
                  </a:cubicBezTo>
                  <a:cubicBezTo>
                    <a:pt x="265076" y="157496"/>
                    <a:pt x="268079" y="159027"/>
                    <a:pt x="270677" y="160978"/>
                  </a:cubicBezTo>
                  <a:cubicBezTo>
                    <a:pt x="278795" y="166627"/>
                    <a:pt x="278795" y="162616"/>
                    <a:pt x="289754" y="162315"/>
                  </a:cubicBezTo>
                  <a:cubicBezTo>
                    <a:pt x="278511" y="153425"/>
                    <a:pt x="277577" y="145604"/>
                    <a:pt x="268282" y="136847"/>
                  </a:cubicBezTo>
                  <a:cubicBezTo>
                    <a:pt x="264669" y="133504"/>
                    <a:pt x="267470" y="131298"/>
                    <a:pt x="270028" y="128524"/>
                  </a:cubicBezTo>
                  <a:cubicBezTo>
                    <a:pt x="273761" y="124513"/>
                    <a:pt x="268972" y="120870"/>
                    <a:pt x="265969" y="116625"/>
                  </a:cubicBezTo>
                  <a:cubicBezTo>
                    <a:pt x="261910" y="110475"/>
                    <a:pt x="244618" y="107133"/>
                    <a:pt x="236013" y="102721"/>
                  </a:cubicBezTo>
                  <a:cubicBezTo>
                    <a:pt x="223836" y="96438"/>
                    <a:pt x="227490" y="89118"/>
                    <a:pt x="213445" y="83336"/>
                  </a:cubicBezTo>
                  <a:cubicBezTo>
                    <a:pt x="207722" y="80962"/>
                    <a:pt x="205612" y="68897"/>
                    <a:pt x="212512" y="67559"/>
                  </a:cubicBezTo>
                  <a:cubicBezTo>
                    <a:pt x="216571" y="66724"/>
                    <a:pt x="218154" y="62813"/>
                    <a:pt x="219493" y="60875"/>
                  </a:cubicBezTo>
                  <a:cubicBezTo>
                    <a:pt x="222172" y="56797"/>
                    <a:pt x="227936" y="57532"/>
                    <a:pt x="230615" y="55159"/>
                  </a:cubicBezTo>
                  <a:cubicBezTo>
                    <a:pt x="240600" y="45935"/>
                    <a:pt x="227368" y="42124"/>
                    <a:pt x="216287" y="37178"/>
                  </a:cubicBezTo>
                  <a:cubicBezTo>
                    <a:pt x="210929" y="34804"/>
                    <a:pt x="194328" y="15385"/>
                    <a:pt x="197169" y="12043"/>
                  </a:cubicBezTo>
                  <a:cubicBezTo>
                    <a:pt x="194896" y="17357"/>
                    <a:pt x="153819" y="2016"/>
                    <a:pt x="145214" y="311"/>
                  </a:cubicBezTo>
                  <a:cubicBezTo>
                    <a:pt x="130195" y="-3031"/>
                    <a:pt x="112215" y="7497"/>
                    <a:pt x="97277" y="9670"/>
                  </a:cubicBezTo>
                  <a:cubicBezTo>
                    <a:pt x="91635" y="10506"/>
                    <a:pt x="85100" y="11943"/>
                    <a:pt x="82381" y="14951"/>
                  </a:cubicBezTo>
                  <a:cubicBezTo>
                    <a:pt x="78647" y="19062"/>
                    <a:pt x="88672" y="26148"/>
                    <a:pt x="82665" y="29256"/>
                  </a:cubicBezTo>
                  <a:cubicBezTo>
                    <a:pt x="73532" y="33969"/>
                    <a:pt x="80067" y="43327"/>
                    <a:pt x="72599" y="49310"/>
                  </a:cubicBezTo>
                  <a:cubicBezTo>
                    <a:pt x="59772" y="59337"/>
                    <a:pt x="-1924" y="55995"/>
                    <a:pt x="-16" y="68897"/>
                  </a:cubicBezTo>
                  <a:cubicBezTo>
                    <a:pt x="836" y="72874"/>
                    <a:pt x="1973" y="76811"/>
                    <a:pt x="3312" y="80695"/>
                  </a:cubicBezTo>
                  <a:cubicBezTo>
                    <a:pt x="5544" y="88850"/>
                    <a:pt x="3312" y="89987"/>
                    <a:pt x="18208" y="91123"/>
                  </a:cubicBezTo>
                  <a:cubicBezTo>
                    <a:pt x="29168" y="92069"/>
                    <a:pt x="39721" y="95054"/>
                    <a:pt x="49057" y="99847"/>
                  </a:cubicBezTo>
                  <a:cubicBezTo>
                    <a:pt x="67281" y="108136"/>
                    <a:pt x="85587" y="116759"/>
                    <a:pt x="102797" y="125850"/>
                  </a:cubicBezTo>
                  <a:cubicBezTo>
                    <a:pt x="122686" y="136446"/>
                    <a:pt x="140668" y="149681"/>
                    <a:pt x="161734" y="159274"/>
                  </a:cubicBezTo>
                  <a:cubicBezTo>
                    <a:pt x="173667" y="164755"/>
                    <a:pt x="187468" y="166360"/>
                    <a:pt x="201268" y="168800"/>
                  </a:cubicBezTo>
                  <a:cubicBezTo>
                    <a:pt x="211862" y="170705"/>
                    <a:pt x="223674" y="175685"/>
                    <a:pt x="229438" y="170203"/>
                  </a:cubicBezTo>
                  <a:cubicBezTo>
                    <a:pt x="232725" y="167062"/>
                    <a:pt x="236176" y="162382"/>
                    <a:pt x="241615" y="16017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DF88AB11-BB00-4EB2-9B44-CABC29E71D7B}"/>
                </a:ext>
              </a:extLst>
            </p:cNvPr>
            <p:cNvSpPr/>
            <p:nvPr/>
          </p:nvSpPr>
          <p:spPr>
            <a:xfrm>
              <a:off x="7198011" y="4384301"/>
              <a:ext cx="56785" cy="34590"/>
            </a:xfrm>
            <a:custGeom>
              <a:avLst/>
              <a:gdLst>
                <a:gd name="connsiteX0" fmla="*/ 18490 w 56785"/>
                <a:gd name="connsiteY0" fmla="*/ 21150 h 34590"/>
                <a:gd name="connsiteX1" fmla="*/ 56725 w 56785"/>
                <a:gd name="connsiteY1" fmla="*/ 34252 h 34590"/>
                <a:gd name="connsiteX2" fmla="*/ 40002 w 56785"/>
                <a:gd name="connsiteY2" fmla="*/ 2399 h 34590"/>
                <a:gd name="connsiteX3" fmla="*/ -60 w 56785"/>
                <a:gd name="connsiteY3" fmla="*/ 17540 h 34590"/>
                <a:gd name="connsiteX4" fmla="*/ 18490 w 56785"/>
                <a:gd name="connsiteY4" fmla="*/ 21150 h 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" h="34590">
                  <a:moveTo>
                    <a:pt x="18490" y="21150"/>
                  </a:moveTo>
                  <a:cubicBezTo>
                    <a:pt x="32250" y="30141"/>
                    <a:pt x="36999" y="31177"/>
                    <a:pt x="56725" y="34252"/>
                  </a:cubicBezTo>
                  <a:cubicBezTo>
                    <a:pt x="52666" y="25060"/>
                    <a:pt x="50434" y="7847"/>
                    <a:pt x="40002" y="2399"/>
                  </a:cubicBezTo>
                  <a:cubicBezTo>
                    <a:pt x="21534" y="-7294"/>
                    <a:pt x="6151" y="11390"/>
                    <a:pt x="-60" y="17540"/>
                  </a:cubicBezTo>
                  <a:cubicBezTo>
                    <a:pt x="6151" y="18710"/>
                    <a:pt x="12320" y="19913"/>
                    <a:pt x="18490" y="211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2FA6FDA5-71F8-400F-9161-D7B9F9D9A51E}"/>
                </a:ext>
              </a:extLst>
            </p:cNvPr>
            <p:cNvSpPr/>
            <p:nvPr/>
          </p:nvSpPr>
          <p:spPr>
            <a:xfrm>
              <a:off x="5605759" y="3889151"/>
              <a:ext cx="473110" cy="203488"/>
            </a:xfrm>
            <a:custGeom>
              <a:avLst/>
              <a:gdLst>
                <a:gd name="connsiteX0" fmla="*/ 415252 w 473110"/>
                <a:gd name="connsiteY0" fmla="*/ 43322 h 203488"/>
                <a:gd name="connsiteX1" fmla="*/ 381887 w 473110"/>
                <a:gd name="connsiteY1" fmla="*/ 38141 h 203488"/>
                <a:gd name="connsiteX2" fmla="*/ 353475 w 473110"/>
                <a:gd name="connsiteY2" fmla="*/ 32660 h 203488"/>
                <a:gd name="connsiteX3" fmla="*/ 330095 w 473110"/>
                <a:gd name="connsiteY3" fmla="*/ 28315 h 203488"/>
                <a:gd name="connsiteX4" fmla="*/ 317918 w 473110"/>
                <a:gd name="connsiteY4" fmla="*/ 25340 h 203488"/>
                <a:gd name="connsiteX5" fmla="*/ 314387 w 473110"/>
                <a:gd name="connsiteY5" fmla="*/ 19123 h 203488"/>
                <a:gd name="connsiteX6" fmla="*/ 296081 w 473110"/>
                <a:gd name="connsiteY6" fmla="*/ 23903 h 203488"/>
                <a:gd name="connsiteX7" fmla="*/ 283457 w 473110"/>
                <a:gd name="connsiteY7" fmla="*/ 15480 h 203488"/>
                <a:gd name="connsiteX8" fmla="*/ 260970 w 473110"/>
                <a:gd name="connsiteY8" fmla="*/ 8795 h 203488"/>
                <a:gd name="connsiteX9" fmla="*/ 247170 w 473110"/>
                <a:gd name="connsiteY9" fmla="*/ 7024 h 203488"/>
                <a:gd name="connsiteX10" fmla="*/ 215144 w 473110"/>
                <a:gd name="connsiteY10" fmla="*/ 4316 h 203488"/>
                <a:gd name="connsiteX11" fmla="*/ 193104 w 473110"/>
                <a:gd name="connsiteY11" fmla="*/ 27212 h 203488"/>
                <a:gd name="connsiteX12" fmla="*/ 159293 w 473110"/>
                <a:gd name="connsiteY12" fmla="*/ 39812 h 203488"/>
                <a:gd name="connsiteX13" fmla="*/ 117648 w 473110"/>
                <a:gd name="connsiteY13" fmla="*/ 37874 h 203488"/>
                <a:gd name="connsiteX14" fmla="*/ 93741 w 473110"/>
                <a:gd name="connsiteY14" fmla="*/ 41216 h 203488"/>
                <a:gd name="connsiteX15" fmla="*/ 91752 w 473110"/>
                <a:gd name="connsiteY15" fmla="*/ 61738 h 203488"/>
                <a:gd name="connsiteX16" fmla="*/ 69103 w 473110"/>
                <a:gd name="connsiteY16" fmla="*/ 63109 h 203488"/>
                <a:gd name="connsiteX17" fmla="*/ 53232 w 473110"/>
                <a:gd name="connsiteY17" fmla="*/ 57895 h 203488"/>
                <a:gd name="connsiteX18" fmla="*/ 953 w 473110"/>
                <a:gd name="connsiteY18" fmla="*/ 65782 h 203488"/>
                <a:gd name="connsiteX19" fmla="*/ 4484 w 473110"/>
                <a:gd name="connsiteY19" fmla="*/ 77548 h 203488"/>
                <a:gd name="connsiteX20" fmla="*/ 20720 w 473110"/>
                <a:gd name="connsiteY20" fmla="*/ 82862 h 203488"/>
                <a:gd name="connsiteX21" fmla="*/ 74582 w 473110"/>
                <a:gd name="connsiteY21" fmla="*/ 87441 h 203488"/>
                <a:gd name="connsiteX22" fmla="*/ 97881 w 473110"/>
                <a:gd name="connsiteY22" fmla="*/ 104153 h 203488"/>
                <a:gd name="connsiteX23" fmla="*/ 123371 w 473110"/>
                <a:gd name="connsiteY23" fmla="*/ 110570 h 203488"/>
                <a:gd name="connsiteX24" fmla="*/ 126213 w 473110"/>
                <a:gd name="connsiteY24" fmla="*/ 122101 h 203488"/>
                <a:gd name="connsiteX25" fmla="*/ 122478 w 473110"/>
                <a:gd name="connsiteY25" fmla="*/ 138512 h 203488"/>
                <a:gd name="connsiteX26" fmla="*/ 122722 w 473110"/>
                <a:gd name="connsiteY26" fmla="*/ 150946 h 203488"/>
                <a:gd name="connsiteX27" fmla="*/ 107582 w 473110"/>
                <a:gd name="connsiteY27" fmla="*/ 174342 h 203488"/>
                <a:gd name="connsiteX28" fmla="*/ 183119 w 473110"/>
                <a:gd name="connsiteY28" fmla="*/ 182832 h 203488"/>
                <a:gd name="connsiteX29" fmla="*/ 215591 w 473110"/>
                <a:gd name="connsiteY29" fmla="*/ 186709 h 203488"/>
                <a:gd name="connsiteX30" fmla="*/ 269373 w 473110"/>
                <a:gd name="connsiteY30" fmla="*/ 187378 h 203488"/>
                <a:gd name="connsiteX31" fmla="*/ 304482 w 473110"/>
                <a:gd name="connsiteY31" fmla="*/ 165117 h 203488"/>
                <a:gd name="connsiteX32" fmla="*/ 362567 w 473110"/>
                <a:gd name="connsiteY32" fmla="*/ 172437 h 203488"/>
                <a:gd name="connsiteX33" fmla="*/ 396703 w 473110"/>
                <a:gd name="connsiteY33" fmla="*/ 160171 h 203488"/>
                <a:gd name="connsiteX34" fmla="*/ 411477 w 473110"/>
                <a:gd name="connsiteY34" fmla="*/ 148907 h 203488"/>
                <a:gd name="connsiteX35" fmla="*/ 390452 w 473110"/>
                <a:gd name="connsiteY35" fmla="*/ 140150 h 203488"/>
                <a:gd name="connsiteX36" fmla="*/ 379412 w 473110"/>
                <a:gd name="connsiteY36" fmla="*/ 128920 h 203488"/>
                <a:gd name="connsiteX37" fmla="*/ 393659 w 473110"/>
                <a:gd name="connsiteY37" fmla="*/ 120430 h 203488"/>
                <a:gd name="connsiteX38" fmla="*/ 388017 w 473110"/>
                <a:gd name="connsiteY38" fmla="*/ 107595 h 203488"/>
                <a:gd name="connsiteX39" fmla="*/ 369548 w 473110"/>
                <a:gd name="connsiteY39" fmla="*/ 103384 h 203488"/>
                <a:gd name="connsiteX40" fmla="*/ 367965 w 473110"/>
                <a:gd name="connsiteY40" fmla="*/ 94627 h 203488"/>
                <a:gd name="connsiteX41" fmla="*/ 385703 w 473110"/>
                <a:gd name="connsiteY41" fmla="*/ 83865 h 203488"/>
                <a:gd name="connsiteX42" fmla="*/ 406891 w 473110"/>
                <a:gd name="connsiteY42" fmla="*/ 73303 h 203488"/>
                <a:gd name="connsiteX43" fmla="*/ 412898 w 473110"/>
                <a:gd name="connsiteY43" fmla="*/ 56190 h 203488"/>
                <a:gd name="connsiteX44" fmla="*/ 415415 w 473110"/>
                <a:gd name="connsiteY44" fmla="*/ 43756 h 203488"/>
                <a:gd name="connsiteX45" fmla="*/ 415252 w 473110"/>
                <a:gd name="connsiteY45" fmla="*/ 43322 h 203488"/>
                <a:gd name="connsiteX46" fmla="*/ 468019 w 473110"/>
                <a:gd name="connsiteY46" fmla="*/ 171267 h 203488"/>
                <a:gd name="connsiteX47" fmla="*/ 443218 w 473110"/>
                <a:gd name="connsiteY47" fmla="*/ 184637 h 203488"/>
                <a:gd name="connsiteX48" fmla="*/ 461646 w 473110"/>
                <a:gd name="connsiteY48" fmla="*/ 203087 h 203488"/>
                <a:gd name="connsiteX49" fmla="*/ 468019 w 473110"/>
                <a:gd name="connsiteY49" fmla="*/ 171301 h 20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73110" h="203488">
                  <a:moveTo>
                    <a:pt x="415252" y="43322"/>
                  </a:moveTo>
                  <a:cubicBezTo>
                    <a:pt x="409569" y="43890"/>
                    <a:pt x="386515" y="39812"/>
                    <a:pt x="381887" y="38141"/>
                  </a:cubicBezTo>
                  <a:cubicBezTo>
                    <a:pt x="373120" y="34358"/>
                    <a:pt x="363338" y="32473"/>
                    <a:pt x="353475" y="32660"/>
                  </a:cubicBezTo>
                  <a:cubicBezTo>
                    <a:pt x="339958" y="32660"/>
                    <a:pt x="340486" y="32325"/>
                    <a:pt x="330095" y="28315"/>
                  </a:cubicBezTo>
                  <a:cubicBezTo>
                    <a:pt x="325264" y="26443"/>
                    <a:pt x="321043" y="28883"/>
                    <a:pt x="317918" y="25340"/>
                  </a:cubicBezTo>
                  <a:cubicBezTo>
                    <a:pt x="317512" y="24872"/>
                    <a:pt x="315767" y="18923"/>
                    <a:pt x="314387" y="19123"/>
                  </a:cubicBezTo>
                  <a:cubicBezTo>
                    <a:pt x="309313" y="19792"/>
                    <a:pt x="302210" y="26476"/>
                    <a:pt x="296081" y="23903"/>
                  </a:cubicBezTo>
                  <a:cubicBezTo>
                    <a:pt x="289181" y="21062"/>
                    <a:pt x="292955" y="17686"/>
                    <a:pt x="283457" y="15480"/>
                  </a:cubicBezTo>
                  <a:cubicBezTo>
                    <a:pt x="275664" y="13976"/>
                    <a:pt x="268114" y="11733"/>
                    <a:pt x="260970" y="8795"/>
                  </a:cubicBezTo>
                  <a:cubicBezTo>
                    <a:pt x="254679" y="6088"/>
                    <a:pt x="252609" y="10333"/>
                    <a:pt x="247170" y="7024"/>
                  </a:cubicBezTo>
                  <a:cubicBezTo>
                    <a:pt x="238849" y="1977"/>
                    <a:pt x="228823" y="-5176"/>
                    <a:pt x="215144" y="4316"/>
                  </a:cubicBezTo>
                  <a:cubicBezTo>
                    <a:pt x="202684" y="13040"/>
                    <a:pt x="220015" y="23635"/>
                    <a:pt x="193104" y="27212"/>
                  </a:cubicBezTo>
                  <a:cubicBezTo>
                    <a:pt x="170293" y="30253"/>
                    <a:pt x="169400" y="29652"/>
                    <a:pt x="159293" y="39812"/>
                  </a:cubicBezTo>
                  <a:cubicBezTo>
                    <a:pt x="152271" y="46865"/>
                    <a:pt x="125117" y="41584"/>
                    <a:pt x="117648" y="37874"/>
                  </a:cubicBezTo>
                  <a:cubicBezTo>
                    <a:pt x="111884" y="34999"/>
                    <a:pt x="89235" y="32158"/>
                    <a:pt x="93741" y="41216"/>
                  </a:cubicBezTo>
                  <a:cubicBezTo>
                    <a:pt x="95648" y="44793"/>
                    <a:pt x="120814" y="65314"/>
                    <a:pt x="91752" y="61738"/>
                  </a:cubicBezTo>
                  <a:cubicBezTo>
                    <a:pt x="81401" y="60501"/>
                    <a:pt x="78235" y="62674"/>
                    <a:pt x="69103" y="63109"/>
                  </a:cubicBezTo>
                  <a:cubicBezTo>
                    <a:pt x="63542" y="63376"/>
                    <a:pt x="58631" y="58663"/>
                    <a:pt x="53232" y="57895"/>
                  </a:cubicBezTo>
                  <a:cubicBezTo>
                    <a:pt x="43775" y="56558"/>
                    <a:pt x="6067" y="61538"/>
                    <a:pt x="953" y="65782"/>
                  </a:cubicBezTo>
                  <a:cubicBezTo>
                    <a:pt x="-2660" y="68724"/>
                    <a:pt x="4565" y="74138"/>
                    <a:pt x="4484" y="77548"/>
                  </a:cubicBezTo>
                  <a:cubicBezTo>
                    <a:pt x="4484" y="82394"/>
                    <a:pt x="13860" y="82494"/>
                    <a:pt x="20720" y="82862"/>
                  </a:cubicBezTo>
                  <a:cubicBezTo>
                    <a:pt x="38701" y="83831"/>
                    <a:pt x="57251" y="85670"/>
                    <a:pt x="74582" y="87441"/>
                  </a:cubicBezTo>
                  <a:cubicBezTo>
                    <a:pt x="93862" y="89446"/>
                    <a:pt x="86759" y="98070"/>
                    <a:pt x="97881" y="104153"/>
                  </a:cubicBezTo>
                  <a:cubicBezTo>
                    <a:pt x="105106" y="107996"/>
                    <a:pt x="116390" y="107295"/>
                    <a:pt x="123371" y="110570"/>
                  </a:cubicBezTo>
                  <a:cubicBezTo>
                    <a:pt x="128932" y="113211"/>
                    <a:pt x="122965" y="118726"/>
                    <a:pt x="126213" y="122101"/>
                  </a:cubicBezTo>
                  <a:cubicBezTo>
                    <a:pt x="130840" y="126948"/>
                    <a:pt x="123615" y="133532"/>
                    <a:pt x="122478" y="138512"/>
                  </a:cubicBezTo>
                  <a:cubicBezTo>
                    <a:pt x="121545" y="142623"/>
                    <a:pt x="123534" y="146768"/>
                    <a:pt x="122722" y="150946"/>
                  </a:cubicBezTo>
                  <a:cubicBezTo>
                    <a:pt x="121707" y="155926"/>
                    <a:pt x="119393" y="172604"/>
                    <a:pt x="107582" y="174342"/>
                  </a:cubicBezTo>
                  <a:cubicBezTo>
                    <a:pt x="115699" y="175980"/>
                    <a:pt x="183687" y="192692"/>
                    <a:pt x="183119" y="182832"/>
                  </a:cubicBezTo>
                  <a:cubicBezTo>
                    <a:pt x="183119" y="179724"/>
                    <a:pt x="210111" y="186375"/>
                    <a:pt x="215591" y="186709"/>
                  </a:cubicBezTo>
                  <a:cubicBezTo>
                    <a:pt x="233857" y="187779"/>
                    <a:pt x="250945" y="187645"/>
                    <a:pt x="269373" y="187378"/>
                  </a:cubicBezTo>
                  <a:cubicBezTo>
                    <a:pt x="264339" y="173674"/>
                    <a:pt x="275501" y="164549"/>
                    <a:pt x="304482" y="165117"/>
                  </a:cubicBezTo>
                  <a:cubicBezTo>
                    <a:pt x="324006" y="165519"/>
                    <a:pt x="344342" y="172704"/>
                    <a:pt x="362567" y="172437"/>
                  </a:cubicBezTo>
                  <a:cubicBezTo>
                    <a:pt x="377585" y="172237"/>
                    <a:pt x="386028" y="164583"/>
                    <a:pt x="396703" y="160171"/>
                  </a:cubicBezTo>
                  <a:cubicBezTo>
                    <a:pt x="398042" y="159603"/>
                    <a:pt x="422802" y="151548"/>
                    <a:pt x="411477" y="148907"/>
                  </a:cubicBezTo>
                  <a:cubicBezTo>
                    <a:pt x="404374" y="147236"/>
                    <a:pt x="379817" y="149308"/>
                    <a:pt x="390452" y="140150"/>
                  </a:cubicBezTo>
                  <a:cubicBezTo>
                    <a:pt x="396784" y="134735"/>
                    <a:pt x="375109" y="133465"/>
                    <a:pt x="379412" y="128920"/>
                  </a:cubicBezTo>
                  <a:cubicBezTo>
                    <a:pt x="379777" y="128519"/>
                    <a:pt x="403400" y="123338"/>
                    <a:pt x="393659" y="120430"/>
                  </a:cubicBezTo>
                  <a:cubicBezTo>
                    <a:pt x="383917" y="117522"/>
                    <a:pt x="394430" y="111339"/>
                    <a:pt x="388017" y="107595"/>
                  </a:cubicBezTo>
                  <a:cubicBezTo>
                    <a:pt x="382699" y="104521"/>
                    <a:pt x="380101" y="96365"/>
                    <a:pt x="369548" y="103384"/>
                  </a:cubicBezTo>
                  <a:cubicBezTo>
                    <a:pt x="359766" y="110069"/>
                    <a:pt x="365164" y="96900"/>
                    <a:pt x="367965" y="94627"/>
                  </a:cubicBezTo>
                  <a:cubicBezTo>
                    <a:pt x="372268" y="91285"/>
                    <a:pt x="384201" y="87942"/>
                    <a:pt x="385703" y="83865"/>
                  </a:cubicBezTo>
                  <a:cubicBezTo>
                    <a:pt x="388219" y="76846"/>
                    <a:pt x="404536" y="78918"/>
                    <a:pt x="406891" y="73303"/>
                  </a:cubicBezTo>
                  <a:cubicBezTo>
                    <a:pt x="409245" y="67688"/>
                    <a:pt x="408717" y="61805"/>
                    <a:pt x="412898" y="56190"/>
                  </a:cubicBezTo>
                  <a:cubicBezTo>
                    <a:pt x="414928" y="53483"/>
                    <a:pt x="436075" y="41784"/>
                    <a:pt x="415415" y="43756"/>
                  </a:cubicBezTo>
                  <a:cubicBezTo>
                    <a:pt x="410909" y="43790"/>
                    <a:pt x="419595" y="42921"/>
                    <a:pt x="415252" y="43322"/>
                  </a:cubicBezTo>
                  <a:close/>
                  <a:moveTo>
                    <a:pt x="468019" y="171267"/>
                  </a:moveTo>
                  <a:cubicBezTo>
                    <a:pt x="462458" y="171000"/>
                    <a:pt x="444274" y="181896"/>
                    <a:pt x="443218" y="184637"/>
                  </a:cubicBezTo>
                  <a:cubicBezTo>
                    <a:pt x="441189" y="189751"/>
                    <a:pt x="447602" y="204223"/>
                    <a:pt x="461646" y="203087"/>
                  </a:cubicBezTo>
                  <a:cubicBezTo>
                    <a:pt x="475690" y="201950"/>
                    <a:pt x="475447" y="171602"/>
                    <a:pt x="468019" y="1713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704D79AF-7E92-4B0E-978F-7837891CCDE7}"/>
                </a:ext>
              </a:extLst>
            </p:cNvPr>
            <p:cNvSpPr/>
            <p:nvPr/>
          </p:nvSpPr>
          <p:spPr>
            <a:xfrm>
              <a:off x="3215913" y="5115569"/>
              <a:ext cx="67604" cy="25759"/>
            </a:xfrm>
            <a:custGeom>
              <a:avLst/>
              <a:gdLst>
                <a:gd name="connsiteX0" fmla="*/ 60541 w 67604"/>
                <a:gd name="connsiteY0" fmla="*/ -68 h 25759"/>
                <a:gd name="connsiteX1" fmla="*/ 44549 w 67604"/>
                <a:gd name="connsiteY1" fmla="*/ 3876 h 25759"/>
                <a:gd name="connsiteX2" fmla="*/ 21940 w 67604"/>
                <a:gd name="connsiteY2" fmla="*/ 7219 h 25759"/>
                <a:gd name="connsiteX3" fmla="*/ -60 w 67604"/>
                <a:gd name="connsiteY3" fmla="*/ 25334 h 25759"/>
                <a:gd name="connsiteX4" fmla="*/ 45441 w 67604"/>
                <a:gd name="connsiteY4" fmla="*/ 18984 h 25759"/>
                <a:gd name="connsiteX5" fmla="*/ 60541 w 67604"/>
                <a:gd name="connsiteY5" fmla="*/ 66 h 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04" h="25759">
                  <a:moveTo>
                    <a:pt x="60541" y="-68"/>
                  </a:moveTo>
                  <a:cubicBezTo>
                    <a:pt x="56035" y="-1371"/>
                    <a:pt x="48932" y="2372"/>
                    <a:pt x="44549" y="3876"/>
                  </a:cubicBezTo>
                  <a:cubicBezTo>
                    <a:pt x="36431" y="6650"/>
                    <a:pt x="29896" y="6350"/>
                    <a:pt x="21940" y="7219"/>
                  </a:cubicBezTo>
                  <a:cubicBezTo>
                    <a:pt x="9114" y="8388"/>
                    <a:pt x="5379" y="18048"/>
                    <a:pt x="-60" y="25334"/>
                  </a:cubicBezTo>
                  <a:cubicBezTo>
                    <a:pt x="13538" y="26069"/>
                    <a:pt x="31276" y="21992"/>
                    <a:pt x="45441" y="18984"/>
                  </a:cubicBezTo>
                  <a:cubicBezTo>
                    <a:pt x="57618" y="16343"/>
                    <a:pt x="78522" y="5213"/>
                    <a:pt x="60541" y="6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BA30EC04-9C21-410A-826F-97A5DD36678C}"/>
                </a:ext>
              </a:extLst>
            </p:cNvPr>
            <p:cNvSpPr/>
            <p:nvPr/>
          </p:nvSpPr>
          <p:spPr>
            <a:xfrm>
              <a:off x="3230809" y="5049559"/>
              <a:ext cx="161831" cy="78480"/>
            </a:xfrm>
            <a:custGeom>
              <a:avLst/>
              <a:gdLst>
                <a:gd name="connsiteX0" fmla="*/ 79821 w 161831"/>
                <a:gd name="connsiteY0" fmla="*/ 65642 h 78480"/>
                <a:gd name="connsiteX1" fmla="*/ 78238 w 161831"/>
                <a:gd name="connsiteY1" fmla="*/ 55414 h 78480"/>
                <a:gd name="connsiteX2" fmla="*/ 109086 w 161831"/>
                <a:gd name="connsiteY2" fmla="*/ 34491 h 78480"/>
                <a:gd name="connsiteX3" fmla="*/ 130639 w 161831"/>
                <a:gd name="connsiteY3" fmla="*/ 22692 h 78480"/>
                <a:gd name="connsiteX4" fmla="*/ 161772 w 161831"/>
                <a:gd name="connsiteY4" fmla="*/ 2839 h 78480"/>
                <a:gd name="connsiteX5" fmla="*/ 119274 w 161831"/>
                <a:gd name="connsiteY5" fmla="*/ 1067 h 78480"/>
                <a:gd name="connsiteX6" fmla="*/ 70567 w 161831"/>
                <a:gd name="connsiteY6" fmla="*/ 19116 h 78480"/>
                <a:gd name="connsiteX7" fmla="*/ 16014 w 161831"/>
                <a:gd name="connsiteY7" fmla="*/ 42713 h 78480"/>
                <a:gd name="connsiteX8" fmla="*/ 5623 w 161831"/>
                <a:gd name="connsiteY8" fmla="*/ 57319 h 78480"/>
                <a:gd name="connsiteX9" fmla="*/ -60 w 161831"/>
                <a:gd name="connsiteY9" fmla="*/ 74031 h 78480"/>
                <a:gd name="connsiteX10" fmla="*/ 35944 w 161831"/>
                <a:gd name="connsiteY10" fmla="*/ 67614 h 78480"/>
                <a:gd name="connsiteX11" fmla="*/ 51002 w 161831"/>
                <a:gd name="connsiteY11" fmla="*/ 76237 h 78480"/>
                <a:gd name="connsiteX12" fmla="*/ 61154 w 161831"/>
                <a:gd name="connsiteY12" fmla="*/ 74011 h 78480"/>
                <a:gd name="connsiteX13" fmla="*/ 64722 w 161831"/>
                <a:gd name="connsiteY13" fmla="*/ 78142 h 78480"/>
                <a:gd name="connsiteX14" fmla="*/ 79821 w 161831"/>
                <a:gd name="connsiteY14" fmla="*/ 65709 h 78480"/>
                <a:gd name="connsiteX15" fmla="*/ 79821 w 161831"/>
                <a:gd name="connsiteY15" fmla="*/ 65642 h 7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1831" h="78480">
                  <a:moveTo>
                    <a:pt x="79821" y="65642"/>
                  </a:moveTo>
                  <a:cubicBezTo>
                    <a:pt x="80755" y="61698"/>
                    <a:pt x="70810" y="60762"/>
                    <a:pt x="78238" y="55414"/>
                  </a:cubicBezTo>
                  <a:cubicBezTo>
                    <a:pt x="87208" y="48963"/>
                    <a:pt x="110142" y="44585"/>
                    <a:pt x="109086" y="34491"/>
                  </a:cubicBezTo>
                  <a:cubicBezTo>
                    <a:pt x="108437" y="28475"/>
                    <a:pt x="124023" y="24798"/>
                    <a:pt x="130639" y="22692"/>
                  </a:cubicBezTo>
                  <a:cubicBezTo>
                    <a:pt x="143060" y="18715"/>
                    <a:pt x="148134" y="7351"/>
                    <a:pt x="161772" y="2839"/>
                  </a:cubicBezTo>
                  <a:cubicBezTo>
                    <a:pt x="158930" y="-2944"/>
                    <a:pt x="128366" y="900"/>
                    <a:pt x="119274" y="1067"/>
                  </a:cubicBezTo>
                  <a:cubicBezTo>
                    <a:pt x="102511" y="1401"/>
                    <a:pt x="83758" y="11094"/>
                    <a:pt x="70567" y="19116"/>
                  </a:cubicBezTo>
                  <a:cubicBezTo>
                    <a:pt x="54331" y="29143"/>
                    <a:pt x="29652" y="31048"/>
                    <a:pt x="16014" y="42713"/>
                  </a:cubicBezTo>
                  <a:cubicBezTo>
                    <a:pt x="11590" y="46056"/>
                    <a:pt x="9195" y="53275"/>
                    <a:pt x="5623" y="57319"/>
                  </a:cubicBezTo>
                  <a:cubicBezTo>
                    <a:pt x="915" y="62634"/>
                    <a:pt x="4446" y="69753"/>
                    <a:pt x="-60" y="74031"/>
                  </a:cubicBezTo>
                  <a:cubicBezTo>
                    <a:pt x="13132" y="72059"/>
                    <a:pt x="22792" y="72494"/>
                    <a:pt x="35944" y="67614"/>
                  </a:cubicBezTo>
                  <a:cubicBezTo>
                    <a:pt x="49095" y="62734"/>
                    <a:pt x="49501" y="70321"/>
                    <a:pt x="51002" y="76237"/>
                  </a:cubicBezTo>
                  <a:cubicBezTo>
                    <a:pt x="53060" y="73316"/>
                    <a:pt x="57602" y="72320"/>
                    <a:pt x="61154" y="74011"/>
                  </a:cubicBezTo>
                  <a:cubicBezTo>
                    <a:pt x="63013" y="74900"/>
                    <a:pt x="64312" y="76404"/>
                    <a:pt x="64722" y="78142"/>
                  </a:cubicBezTo>
                  <a:cubicBezTo>
                    <a:pt x="71094" y="75301"/>
                    <a:pt x="78603" y="70588"/>
                    <a:pt x="79821" y="65709"/>
                  </a:cubicBezTo>
                  <a:cubicBezTo>
                    <a:pt x="80349" y="63737"/>
                    <a:pt x="79375" y="67413"/>
                    <a:pt x="79821" y="6564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B0839648-AF7B-40EC-873C-54CE13255AB1}"/>
                </a:ext>
              </a:extLst>
            </p:cNvPr>
            <p:cNvSpPr/>
            <p:nvPr/>
          </p:nvSpPr>
          <p:spPr>
            <a:xfrm>
              <a:off x="2284175" y="4984141"/>
              <a:ext cx="958112" cy="244731"/>
            </a:xfrm>
            <a:custGeom>
              <a:avLst/>
              <a:gdLst>
                <a:gd name="connsiteX0" fmla="*/ 865152 w 958112"/>
                <a:gd name="connsiteY0" fmla="*/ 139348 h 244731"/>
                <a:gd name="connsiteX1" fmla="*/ 899207 w 958112"/>
                <a:gd name="connsiteY1" fmla="*/ 121533 h 244731"/>
                <a:gd name="connsiteX2" fmla="*/ 876801 w 958112"/>
                <a:gd name="connsiteY2" fmla="*/ 117289 h 244731"/>
                <a:gd name="connsiteX3" fmla="*/ 871809 w 958112"/>
                <a:gd name="connsiteY3" fmla="*/ 108231 h 244731"/>
                <a:gd name="connsiteX4" fmla="*/ 912398 w 958112"/>
                <a:gd name="connsiteY4" fmla="*/ 86338 h 244731"/>
                <a:gd name="connsiteX5" fmla="*/ 951243 w 958112"/>
                <a:gd name="connsiteY5" fmla="*/ 65114 h 244731"/>
                <a:gd name="connsiteX6" fmla="*/ 947184 w 958112"/>
                <a:gd name="connsiteY6" fmla="*/ 20026 h 244731"/>
                <a:gd name="connsiteX7" fmla="*/ 952217 w 958112"/>
                <a:gd name="connsiteY7" fmla="*/ -262 h 244731"/>
                <a:gd name="connsiteX8" fmla="*/ 940040 w 958112"/>
                <a:gd name="connsiteY8" fmla="*/ 4116 h 244731"/>
                <a:gd name="connsiteX9" fmla="*/ 921206 w 958112"/>
                <a:gd name="connsiteY9" fmla="*/ 8261 h 244731"/>
                <a:gd name="connsiteX10" fmla="*/ 859916 w 958112"/>
                <a:gd name="connsiteY10" fmla="*/ 44291 h 244731"/>
                <a:gd name="connsiteX11" fmla="*/ 861052 w 958112"/>
                <a:gd name="connsiteY11" fmla="*/ 79353 h 244731"/>
                <a:gd name="connsiteX12" fmla="*/ 850702 w 958112"/>
                <a:gd name="connsiteY12" fmla="*/ 94327 h 244731"/>
                <a:gd name="connsiteX13" fmla="*/ 829027 w 958112"/>
                <a:gd name="connsiteY13" fmla="*/ 100710 h 244731"/>
                <a:gd name="connsiteX14" fmla="*/ 779873 w 958112"/>
                <a:gd name="connsiteY14" fmla="*/ 127984 h 244731"/>
                <a:gd name="connsiteX15" fmla="*/ 761161 w 958112"/>
                <a:gd name="connsiteY15" fmla="*/ 135805 h 244731"/>
                <a:gd name="connsiteX16" fmla="*/ 728689 w 958112"/>
                <a:gd name="connsiteY16" fmla="*/ 139916 h 244731"/>
                <a:gd name="connsiteX17" fmla="*/ 705147 w 958112"/>
                <a:gd name="connsiteY17" fmla="*/ 127048 h 244731"/>
                <a:gd name="connsiteX18" fmla="*/ 663218 w 958112"/>
                <a:gd name="connsiteY18" fmla="*/ 120364 h 244731"/>
                <a:gd name="connsiteX19" fmla="*/ 630746 w 958112"/>
                <a:gd name="connsiteY19" fmla="*/ 84233 h 244731"/>
                <a:gd name="connsiteX20" fmla="*/ 621897 w 958112"/>
                <a:gd name="connsiteY20" fmla="*/ 55990 h 244731"/>
                <a:gd name="connsiteX21" fmla="*/ 620355 w 958112"/>
                <a:gd name="connsiteY21" fmla="*/ 42620 h 244731"/>
                <a:gd name="connsiteX22" fmla="*/ 598234 w 958112"/>
                <a:gd name="connsiteY22" fmla="*/ 47868 h 244731"/>
                <a:gd name="connsiteX23" fmla="*/ 546400 w 958112"/>
                <a:gd name="connsiteY23" fmla="*/ 45862 h 244731"/>
                <a:gd name="connsiteX24" fmla="*/ 524076 w 958112"/>
                <a:gd name="connsiteY24" fmla="*/ 38409 h 244731"/>
                <a:gd name="connsiteX25" fmla="*/ 489453 w 958112"/>
                <a:gd name="connsiteY25" fmla="*/ 27546 h 244731"/>
                <a:gd name="connsiteX26" fmla="*/ 431491 w 958112"/>
                <a:gd name="connsiteY26" fmla="*/ 40916 h 244731"/>
                <a:gd name="connsiteX27" fmla="*/ 425768 w 958112"/>
                <a:gd name="connsiteY27" fmla="*/ 58496 h 244731"/>
                <a:gd name="connsiteX28" fmla="*/ 395772 w 958112"/>
                <a:gd name="connsiteY28" fmla="*/ 64145 h 244731"/>
                <a:gd name="connsiteX29" fmla="*/ 370728 w 958112"/>
                <a:gd name="connsiteY29" fmla="*/ 60067 h 244731"/>
                <a:gd name="connsiteX30" fmla="*/ 345197 w 958112"/>
                <a:gd name="connsiteY30" fmla="*/ 56391 h 244731"/>
                <a:gd name="connsiteX31" fmla="*/ 302618 w 958112"/>
                <a:gd name="connsiteY31" fmla="*/ 55956 h 244731"/>
                <a:gd name="connsiteX32" fmla="*/ 260649 w 958112"/>
                <a:gd name="connsiteY32" fmla="*/ 75375 h 244731"/>
                <a:gd name="connsiteX33" fmla="*/ 255616 w 958112"/>
                <a:gd name="connsiteY33" fmla="*/ 85402 h 244731"/>
                <a:gd name="connsiteX34" fmla="*/ 246320 w 958112"/>
                <a:gd name="connsiteY34" fmla="*/ 90683 h 244731"/>
                <a:gd name="connsiteX35" fmla="*/ 172691 w 958112"/>
                <a:gd name="connsiteY35" fmla="*/ 125177 h 244731"/>
                <a:gd name="connsiteX36" fmla="*/ 68050 w 958112"/>
                <a:gd name="connsiteY36" fmla="*/ 151113 h 244731"/>
                <a:gd name="connsiteX37" fmla="*/ -60 w 958112"/>
                <a:gd name="connsiteY37" fmla="*/ 188314 h 244731"/>
                <a:gd name="connsiteX38" fmla="*/ 62814 w 958112"/>
                <a:gd name="connsiteY38" fmla="*/ 206463 h 244731"/>
                <a:gd name="connsiteX39" fmla="*/ 132628 w 958112"/>
                <a:gd name="connsiteY39" fmla="*/ 211576 h 244731"/>
                <a:gd name="connsiteX40" fmla="*/ 135226 w 958112"/>
                <a:gd name="connsiteY40" fmla="*/ 223643 h 244731"/>
                <a:gd name="connsiteX41" fmla="*/ 119761 w 958112"/>
                <a:gd name="connsiteY41" fmla="*/ 232901 h 244731"/>
                <a:gd name="connsiteX42" fmla="*/ 178495 w 958112"/>
                <a:gd name="connsiteY42" fmla="*/ 224478 h 244731"/>
                <a:gd name="connsiteX43" fmla="*/ 216365 w 958112"/>
                <a:gd name="connsiteY43" fmla="*/ 228155 h 244731"/>
                <a:gd name="connsiteX44" fmla="*/ 221561 w 958112"/>
                <a:gd name="connsiteY44" fmla="*/ 241524 h 244731"/>
                <a:gd name="connsiteX45" fmla="*/ 303024 w 958112"/>
                <a:gd name="connsiteY45" fmla="*/ 243931 h 244731"/>
                <a:gd name="connsiteX46" fmla="*/ 308869 w 958112"/>
                <a:gd name="connsiteY46" fmla="*/ 228823 h 244731"/>
                <a:gd name="connsiteX47" fmla="*/ 286910 w 958112"/>
                <a:gd name="connsiteY47" fmla="*/ 223810 h 244731"/>
                <a:gd name="connsiteX48" fmla="*/ 265276 w 958112"/>
                <a:gd name="connsiteY48" fmla="*/ 226015 h 244731"/>
                <a:gd name="connsiteX49" fmla="*/ 234265 w 958112"/>
                <a:gd name="connsiteY49" fmla="*/ 212880 h 244731"/>
                <a:gd name="connsiteX50" fmla="*/ 165263 w 958112"/>
                <a:gd name="connsiteY50" fmla="*/ 196469 h 244731"/>
                <a:gd name="connsiteX51" fmla="*/ 143222 w 958112"/>
                <a:gd name="connsiteY51" fmla="*/ 191690 h 244731"/>
                <a:gd name="connsiteX52" fmla="*/ 117813 w 958112"/>
                <a:gd name="connsiteY52" fmla="*/ 190787 h 244731"/>
                <a:gd name="connsiteX53" fmla="*/ 72069 w 958112"/>
                <a:gd name="connsiteY53" fmla="*/ 171134 h 244731"/>
                <a:gd name="connsiteX54" fmla="*/ 84245 w 958112"/>
                <a:gd name="connsiteY54" fmla="*/ 163681 h 244731"/>
                <a:gd name="connsiteX55" fmla="*/ 100481 w 958112"/>
                <a:gd name="connsiteY55" fmla="*/ 156494 h 244731"/>
                <a:gd name="connsiteX56" fmla="*/ 121466 w 958112"/>
                <a:gd name="connsiteY56" fmla="*/ 151815 h 244731"/>
                <a:gd name="connsiteX57" fmla="*/ 127677 w 958112"/>
                <a:gd name="connsiteY57" fmla="*/ 155158 h 244731"/>
                <a:gd name="connsiteX58" fmla="*/ 151259 w 958112"/>
                <a:gd name="connsiteY58" fmla="*/ 168093 h 244731"/>
                <a:gd name="connsiteX59" fmla="*/ 159377 w 958112"/>
                <a:gd name="connsiteY59" fmla="*/ 174276 h 244731"/>
                <a:gd name="connsiteX60" fmla="*/ 172122 w 958112"/>
                <a:gd name="connsiteY60" fmla="*/ 183534 h 244731"/>
                <a:gd name="connsiteX61" fmla="*/ 193513 w 958112"/>
                <a:gd name="connsiteY61" fmla="*/ 176348 h 244731"/>
                <a:gd name="connsiteX62" fmla="*/ 228989 w 958112"/>
                <a:gd name="connsiteY62" fmla="*/ 173942 h 244731"/>
                <a:gd name="connsiteX63" fmla="*/ 251272 w 958112"/>
                <a:gd name="connsiteY63" fmla="*/ 178120 h 244731"/>
                <a:gd name="connsiteX64" fmla="*/ 283744 w 958112"/>
                <a:gd name="connsiteY64" fmla="*/ 177351 h 244731"/>
                <a:gd name="connsiteX65" fmla="*/ 295678 w 958112"/>
                <a:gd name="connsiteY65" fmla="*/ 189818 h 244731"/>
                <a:gd name="connsiteX66" fmla="*/ 330422 w 958112"/>
                <a:gd name="connsiteY66" fmla="*/ 187044 h 244731"/>
                <a:gd name="connsiteX67" fmla="*/ 398816 w 958112"/>
                <a:gd name="connsiteY67" fmla="*/ 193461 h 244731"/>
                <a:gd name="connsiteX68" fmla="*/ 449919 w 958112"/>
                <a:gd name="connsiteY68" fmla="*/ 213515 h 244731"/>
                <a:gd name="connsiteX69" fmla="*/ 455601 w 958112"/>
                <a:gd name="connsiteY69" fmla="*/ 220200 h 244731"/>
                <a:gd name="connsiteX70" fmla="*/ 448701 w 958112"/>
                <a:gd name="connsiteY70" fmla="*/ 227921 h 244731"/>
                <a:gd name="connsiteX71" fmla="*/ 469767 w 958112"/>
                <a:gd name="connsiteY71" fmla="*/ 237647 h 244731"/>
                <a:gd name="connsiteX72" fmla="*/ 502848 w 958112"/>
                <a:gd name="connsiteY72" fmla="*/ 233402 h 244731"/>
                <a:gd name="connsiteX73" fmla="*/ 553057 w 958112"/>
                <a:gd name="connsiteY73" fmla="*/ 229726 h 244731"/>
                <a:gd name="connsiteX74" fmla="*/ 660295 w 958112"/>
                <a:gd name="connsiteY74" fmla="*/ 210373 h 244731"/>
                <a:gd name="connsiteX75" fmla="*/ 757711 w 958112"/>
                <a:gd name="connsiteY75" fmla="*/ 184370 h 244731"/>
                <a:gd name="connsiteX76" fmla="*/ 852731 w 958112"/>
                <a:gd name="connsiteY76" fmla="*/ 164984 h 244731"/>
                <a:gd name="connsiteX77" fmla="*/ 865233 w 958112"/>
                <a:gd name="connsiteY77" fmla="*/ 139616 h 244731"/>
                <a:gd name="connsiteX78" fmla="*/ 865152 w 958112"/>
                <a:gd name="connsiteY78" fmla="*/ 139348 h 2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58112" h="244731">
                  <a:moveTo>
                    <a:pt x="865152" y="139348"/>
                  </a:moveTo>
                  <a:cubicBezTo>
                    <a:pt x="870144" y="136641"/>
                    <a:pt x="905742" y="127015"/>
                    <a:pt x="899207" y="121533"/>
                  </a:cubicBezTo>
                  <a:cubicBezTo>
                    <a:pt x="895148" y="117957"/>
                    <a:pt x="883742" y="118191"/>
                    <a:pt x="876801" y="117289"/>
                  </a:cubicBezTo>
                  <a:cubicBezTo>
                    <a:pt x="869860" y="116386"/>
                    <a:pt x="872296" y="113044"/>
                    <a:pt x="871809" y="108231"/>
                  </a:cubicBezTo>
                  <a:cubicBezTo>
                    <a:pt x="870631" y="97201"/>
                    <a:pt x="898395" y="91719"/>
                    <a:pt x="912398" y="86338"/>
                  </a:cubicBezTo>
                  <a:cubicBezTo>
                    <a:pt x="931800" y="78918"/>
                    <a:pt x="926767" y="62073"/>
                    <a:pt x="951243" y="65114"/>
                  </a:cubicBezTo>
                  <a:cubicBezTo>
                    <a:pt x="965287" y="47400"/>
                    <a:pt x="936549" y="35401"/>
                    <a:pt x="947184" y="20026"/>
                  </a:cubicBezTo>
                  <a:cubicBezTo>
                    <a:pt x="951040" y="14411"/>
                    <a:pt x="966261" y="2111"/>
                    <a:pt x="952217" y="-262"/>
                  </a:cubicBezTo>
                  <a:cubicBezTo>
                    <a:pt x="948158" y="-897"/>
                    <a:pt x="943287" y="2579"/>
                    <a:pt x="940040" y="4116"/>
                  </a:cubicBezTo>
                  <a:cubicBezTo>
                    <a:pt x="933424" y="7459"/>
                    <a:pt x="927863" y="6423"/>
                    <a:pt x="921206" y="8261"/>
                  </a:cubicBezTo>
                  <a:cubicBezTo>
                    <a:pt x="902413" y="13375"/>
                    <a:pt x="866654" y="31357"/>
                    <a:pt x="859916" y="44291"/>
                  </a:cubicBezTo>
                  <a:cubicBezTo>
                    <a:pt x="853706" y="56157"/>
                    <a:pt x="867263" y="67287"/>
                    <a:pt x="861052" y="79353"/>
                  </a:cubicBezTo>
                  <a:cubicBezTo>
                    <a:pt x="858942" y="83431"/>
                    <a:pt x="847414" y="90650"/>
                    <a:pt x="850702" y="94327"/>
                  </a:cubicBezTo>
                  <a:cubicBezTo>
                    <a:pt x="855045" y="99173"/>
                    <a:pt x="832315" y="100577"/>
                    <a:pt x="829027" y="100710"/>
                  </a:cubicBezTo>
                  <a:cubicBezTo>
                    <a:pt x="817297" y="101112"/>
                    <a:pt x="789087" y="122369"/>
                    <a:pt x="779873" y="127984"/>
                  </a:cubicBezTo>
                  <a:cubicBezTo>
                    <a:pt x="773622" y="131761"/>
                    <a:pt x="769035" y="135371"/>
                    <a:pt x="761161" y="135805"/>
                  </a:cubicBezTo>
                  <a:cubicBezTo>
                    <a:pt x="749877" y="136440"/>
                    <a:pt x="739527" y="138813"/>
                    <a:pt x="728689" y="139916"/>
                  </a:cubicBezTo>
                  <a:cubicBezTo>
                    <a:pt x="715091" y="141320"/>
                    <a:pt x="713022" y="130625"/>
                    <a:pt x="705147" y="127048"/>
                  </a:cubicBezTo>
                  <a:cubicBezTo>
                    <a:pt x="693701" y="121868"/>
                    <a:pt x="674826" y="125143"/>
                    <a:pt x="663218" y="120364"/>
                  </a:cubicBezTo>
                  <a:cubicBezTo>
                    <a:pt x="646292" y="113144"/>
                    <a:pt x="637849" y="96800"/>
                    <a:pt x="630746" y="84233"/>
                  </a:cubicBezTo>
                  <a:cubicBezTo>
                    <a:pt x="625567" y="75389"/>
                    <a:pt x="622563" y="65793"/>
                    <a:pt x="621897" y="55990"/>
                  </a:cubicBezTo>
                  <a:cubicBezTo>
                    <a:pt x="622234" y="51494"/>
                    <a:pt x="621715" y="46982"/>
                    <a:pt x="620355" y="42620"/>
                  </a:cubicBezTo>
                  <a:cubicBezTo>
                    <a:pt x="612237" y="43155"/>
                    <a:pt x="606230" y="45963"/>
                    <a:pt x="598234" y="47868"/>
                  </a:cubicBezTo>
                  <a:cubicBezTo>
                    <a:pt x="575138" y="53082"/>
                    <a:pt x="558659" y="56224"/>
                    <a:pt x="546400" y="45862"/>
                  </a:cubicBezTo>
                  <a:cubicBezTo>
                    <a:pt x="539500" y="40013"/>
                    <a:pt x="535644" y="39846"/>
                    <a:pt x="524076" y="38409"/>
                  </a:cubicBezTo>
                  <a:cubicBezTo>
                    <a:pt x="510032" y="36671"/>
                    <a:pt x="502482" y="29485"/>
                    <a:pt x="489453" y="27546"/>
                  </a:cubicBezTo>
                  <a:cubicBezTo>
                    <a:pt x="477885" y="25775"/>
                    <a:pt x="440096" y="29786"/>
                    <a:pt x="431491" y="40916"/>
                  </a:cubicBezTo>
                  <a:cubicBezTo>
                    <a:pt x="426864" y="46965"/>
                    <a:pt x="428041" y="52581"/>
                    <a:pt x="425768" y="58496"/>
                  </a:cubicBezTo>
                  <a:cubicBezTo>
                    <a:pt x="424103" y="62741"/>
                    <a:pt x="400074" y="63644"/>
                    <a:pt x="395772" y="64145"/>
                  </a:cubicBezTo>
                  <a:cubicBezTo>
                    <a:pt x="384610" y="65348"/>
                    <a:pt x="375112" y="66618"/>
                    <a:pt x="370728" y="60067"/>
                  </a:cubicBezTo>
                  <a:cubicBezTo>
                    <a:pt x="368009" y="55923"/>
                    <a:pt x="353112" y="54452"/>
                    <a:pt x="345197" y="56391"/>
                  </a:cubicBezTo>
                  <a:cubicBezTo>
                    <a:pt x="333223" y="59332"/>
                    <a:pt x="312725" y="51277"/>
                    <a:pt x="302618" y="55956"/>
                  </a:cubicBezTo>
                  <a:cubicBezTo>
                    <a:pt x="288627" y="62374"/>
                    <a:pt x="274640" y="68848"/>
                    <a:pt x="260649" y="75375"/>
                  </a:cubicBezTo>
                  <a:cubicBezTo>
                    <a:pt x="257970" y="76645"/>
                    <a:pt x="256590" y="83330"/>
                    <a:pt x="255616" y="85402"/>
                  </a:cubicBezTo>
                  <a:cubicBezTo>
                    <a:pt x="254641" y="87475"/>
                    <a:pt x="249202" y="89313"/>
                    <a:pt x="246320" y="90683"/>
                  </a:cubicBezTo>
                  <a:cubicBezTo>
                    <a:pt x="224767" y="100911"/>
                    <a:pt x="195827" y="119361"/>
                    <a:pt x="172691" y="125177"/>
                  </a:cubicBezTo>
                  <a:cubicBezTo>
                    <a:pt x="138676" y="133700"/>
                    <a:pt x="101537" y="146735"/>
                    <a:pt x="68050" y="151113"/>
                  </a:cubicBezTo>
                  <a:cubicBezTo>
                    <a:pt x="46741" y="153854"/>
                    <a:pt x="18409" y="176983"/>
                    <a:pt x="-60" y="188314"/>
                  </a:cubicBezTo>
                  <a:cubicBezTo>
                    <a:pt x="20763" y="195333"/>
                    <a:pt x="45320" y="195901"/>
                    <a:pt x="62814" y="206463"/>
                  </a:cubicBezTo>
                  <a:cubicBezTo>
                    <a:pt x="80308" y="217024"/>
                    <a:pt x="115581" y="199979"/>
                    <a:pt x="132628" y="211576"/>
                  </a:cubicBezTo>
                  <a:cubicBezTo>
                    <a:pt x="135835" y="213749"/>
                    <a:pt x="144075" y="219632"/>
                    <a:pt x="135226" y="223643"/>
                  </a:cubicBezTo>
                  <a:cubicBezTo>
                    <a:pt x="132791" y="224745"/>
                    <a:pt x="113917" y="230762"/>
                    <a:pt x="119761" y="232901"/>
                  </a:cubicBezTo>
                  <a:cubicBezTo>
                    <a:pt x="137946" y="239585"/>
                    <a:pt x="159377" y="225481"/>
                    <a:pt x="178495" y="224478"/>
                  </a:cubicBezTo>
                  <a:cubicBezTo>
                    <a:pt x="191524" y="223810"/>
                    <a:pt x="208166" y="222740"/>
                    <a:pt x="216365" y="228155"/>
                  </a:cubicBezTo>
                  <a:cubicBezTo>
                    <a:pt x="220789" y="231096"/>
                    <a:pt x="216812" y="240822"/>
                    <a:pt x="221561" y="241524"/>
                  </a:cubicBezTo>
                  <a:cubicBezTo>
                    <a:pt x="247132" y="245334"/>
                    <a:pt x="283014" y="231196"/>
                    <a:pt x="303024" y="243931"/>
                  </a:cubicBezTo>
                  <a:cubicBezTo>
                    <a:pt x="308382" y="247273"/>
                    <a:pt x="317028" y="231464"/>
                    <a:pt x="308869" y="228823"/>
                  </a:cubicBezTo>
                  <a:cubicBezTo>
                    <a:pt x="301725" y="226584"/>
                    <a:pt x="297585" y="220200"/>
                    <a:pt x="286910" y="223810"/>
                  </a:cubicBezTo>
                  <a:cubicBezTo>
                    <a:pt x="276235" y="227419"/>
                    <a:pt x="269781" y="233168"/>
                    <a:pt x="265276" y="226015"/>
                  </a:cubicBezTo>
                  <a:cubicBezTo>
                    <a:pt x="260243" y="218094"/>
                    <a:pt x="244169" y="217726"/>
                    <a:pt x="234265" y="212880"/>
                  </a:cubicBezTo>
                  <a:cubicBezTo>
                    <a:pt x="214660" y="203221"/>
                    <a:pt x="189617" y="201516"/>
                    <a:pt x="165263" y="196469"/>
                  </a:cubicBezTo>
                  <a:cubicBezTo>
                    <a:pt x="160757" y="195533"/>
                    <a:pt x="141477" y="196035"/>
                    <a:pt x="143222" y="191690"/>
                  </a:cubicBezTo>
                  <a:cubicBezTo>
                    <a:pt x="148174" y="179523"/>
                    <a:pt x="128691" y="188347"/>
                    <a:pt x="117813" y="190787"/>
                  </a:cubicBezTo>
                  <a:cubicBezTo>
                    <a:pt x="94149" y="195734"/>
                    <a:pt x="85341" y="178019"/>
                    <a:pt x="72069" y="171134"/>
                  </a:cubicBezTo>
                  <a:cubicBezTo>
                    <a:pt x="60785" y="165285"/>
                    <a:pt x="76371" y="164449"/>
                    <a:pt x="84245" y="163681"/>
                  </a:cubicBezTo>
                  <a:cubicBezTo>
                    <a:pt x="90090" y="163112"/>
                    <a:pt x="93337" y="157196"/>
                    <a:pt x="100481" y="156494"/>
                  </a:cubicBezTo>
                  <a:cubicBezTo>
                    <a:pt x="111684" y="155391"/>
                    <a:pt x="109858" y="157698"/>
                    <a:pt x="121466" y="151815"/>
                  </a:cubicBezTo>
                  <a:cubicBezTo>
                    <a:pt x="129990" y="147470"/>
                    <a:pt x="127230" y="152183"/>
                    <a:pt x="127677" y="155158"/>
                  </a:cubicBezTo>
                  <a:cubicBezTo>
                    <a:pt x="128894" y="163146"/>
                    <a:pt x="142208" y="165452"/>
                    <a:pt x="151259" y="168093"/>
                  </a:cubicBezTo>
                  <a:cubicBezTo>
                    <a:pt x="155927" y="169463"/>
                    <a:pt x="160676" y="169997"/>
                    <a:pt x="159377" y="174276"/>
                  </a:cubicBezTo>
                  <a:cubicBezTo>
                    <a:pt x="158362" y="177919"/>
                    <a:pt x="164410" y="189149"/>
                    <a:pt x="172122" y="183534"/>
                  </a:cubicBezTo>
                  <a:cubicBezTo>
                    <a:pt x="181296" y="176849"/>
                    <a:pt x="179144" y="175178"/>
                    <a:pt x="193513" y="176348"/>
                  </a:cubicBezTo>
                  <a:cubicBezTo>
                    <a:pt x="205690" y="177317"/>
                    <a:pt x="217380" y="173607"/>
                    <a:pt x="228989" y="173942"/>
                  </a:cubicBezTo>
                  <a:cubicBezTo>
                    <a:pt x="238081" y="174175"/>
                    <a:pt x="236741" y="183334"/>
                    <a:pt x="251272" y="178120"/>
                  </a:cubicBezTo>
                  <a:cubicBezTo>
                    <a:pt x="256224" y="176348"/>
                    <a:pt x="280862" y="175379"/>
                    <a:pt x="283744" y="177351"/>
                  </a:cubicBezTo>
                  <a:cubicBezTo>
                    <a:pt x="289873" y="181729"/>
                    <a:pt x="281958" y="190353"/>
                    <a:pt x="295678" y="189818"/>
                  </a:cubicBezTo>
                  <a:cubicBezTo>
                    <a:pt x="308342" y="189350"/>
                    <a:pt x="319341" y="184503"/>
                    <a:pt x="330422" y="187044"/>
                  </a:cubicBezTo>
                  <a:cubicBezTo>
                    <a:pt x="350352" y="191623"/>
                    <a:pt x="377141" y="190887"/>
                    <a:pt x="398816" y="193461"/>
                  </a:cubicBezTo>
                  <a:cubicBezTo>
                    <a:pt x="416148" y="195500"/>
                    <a:pt x="451055" y="198742"/>
                    <a:pt x="449919" y="213515"/>
                  </a:cubicBezTo>
                  <a:cubicBezTo>
                    <a:pt x="449675" y="217325"/>
                    <a:pt x="455479" y="217325"/>
                    <a:pt x="455601" y="220200"/>
                  </a:cubicBezTo>
                  <a:cubicBezTo>
                    <a:pt x="455723" y="223074"/>
                    <a:pt x="446347" y="225447"/>
                    <a:pt x="448701" y="227921"/>
                  </a:cubicBezTo>
                  <a:cubicBezTo>
                    <a:pt x="454245" y="232968"/>
                    <a:pt x="461645" y="236377"/>
                    <a:pt x="469767" y="237647"/>
                  </a:cubicBezTo>
                  <a:cubicBezTo>
                    <a:pt x="479590" y="239351"/>
                    <a:pt x="491848" y="233736"/>
                    <a:pt x="502848" y="233402"/>
                  </a:cubicBezTo>
                  <a:cubicBezTo>
                    <a:pt x="520545" y="232867"/>
                    <a:pt x="534021" y="235675"/>
                    <a:pt x="553057" y="229726"/>
                  </a:cubicBezTo>
                  <a:cubicBezTo>
                    <a:pt x="588614" y="218662"/>
                    <a:pt x="624333" y="217492"/>
                    <a:pt x="660295" y="210373"/>
                  </a:cubicBezTo>
                  <a:cubicBezTo>
                    <a:pt x="697435" y="203053"/>
                    <a:pt x="725888" y="206530"/>
                    <a:pt x="757711" y="184370"/>
                  </a:cubicBezTo>
                  <a:cubicBezTo>
                    <a:pt x="788600" y="162979"/>
                    <a:pt x="818961" y="162076"/>
                    <a:pt x="852731" y="164984"/>
                  </a:cubicBezTo>
                  <a:cubicBezTo>
                    <a:pt x="854720" y="160405"/>
                    <a:pt x="858576" y="143326"/>
                    <a:pt x="865233" y="139616"/>
                  </a:cubicBezTo>
                  <a:cubicBezTo>
                    <a:pt x="867871" y="137911"/>
                    <a:pt x="863894" y="140050"/>
                    <a:pt x="865152" y="13934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13FFF021-EA92-46C6-91FB-1270C274D0FC}"/>
                </a:ext>
              </a:extLst>
            </p:cNvPr>
            <p:cNvSpPr/>
            <p:nvPr/>
          </p:nvSpPr>
          <p:spPr>
            <a:xfrm>
              <a:off x="3138911" y="5067877"/>
              <a:ext cx="107484" cy="84215"/>
            </a:xfrm>
            <a:custGeom>
              <a:avLst/>
              <a:gdLst>
                <a:gd name="connsiteX0" fmla="*/ 97521 w 107484"/>
                <a:gd name="connsiteY0" fmla="*/ 39001 h 84215"/>
                <a:gd name="connsiteX1" fmla="*/ 107425 w 107484"/>
                <a:gd name="connsiteY1" fmla="*/ 24796 h 84215"/>
                <a:gd name="connsiteX2" fmla="*/ 94355 w 107484"/>
                <a:gd name="connsiteY2" fmla="*/ 25264 h 84215"/>
                <a:gd name="connsiteX3" fmla="*/ 81285 w 107484"/>
                <a:gd name="connsiteY3" fmla="*/ 31481 h 84215"/>
                <a:gd name="connsiteX4" fmla="*/ 65049 w 107484"/>
                <a:gd name="connsiteY4" fmla="*/ -339 h 84215"/>
                <a:gd name="connsiteX5" fmla="*/ 24175 w 107484"/>
                <a:gd name="connsiteY5" fmla="*/ 15136 h 84215"/>
                <a:gd name="connsiteX6" fmla="*/ 16788 w 107484"/>
                <a:gd name="connsiteY6" fmla="*/ 32082 h 84215"/>
                <a:gd name="connsiteX7" fmla="*/ 23647 w 107484"/>
                <a:gd name="connsiteY7" fmla="*/ 50799 h 84215"/>
                <a:gd name="connsiteX8" fmla="*/ 3352 w 107484"/>
                <a:gd name="connsiteY8" fmla="*/ 68848 h 84215"/>
                <a:gd name="connsiteX9" fmla="*/ 15976 w 107484"/>
                <a:gd name="connsiteY9" fmla="*/ 82552 h 84215"/>
                <a:gd name="connsiteX10" fmla="*/ 41953 w 107484"/>
                <a:gd name="connsiteY10" fmla="*/ 82986 h 84215"/>
                <a:gd name="connsiteX11" fmla="*/ 81163 w 107484"/>
                <a:gd name="connsiteY11" fmla="*/ 67344 h 84215"/>
                <a:gd name="connsiteX12" fmla="*/ 92853 w 107484"/>
                <a:gd name="connsiteY12" fmla="*/ 54309 h 84215"/>
                <a:gd name="connsiteX13" fmla="*/ 97521 w 107484"/>
                <a:gd name="connsiteY13" fmla="*/ 39001 h 8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484" h="84215">
                  <a:moveTo>
                    <a:pt x="97521" y="39001"/>
                  </a:moveTo>
                  <a:cubicBezTo>
                    <a:pt x="101393" y="34552"/>
                    <a:pt x="104709" y="29793"/>
                    <a:pt x="107425" y="24796"/>
                  </a:cubicBezTo>
                  <a:cubicBezTo>
                    <a:pt x="101904" y="29341"/>
                    <a:pt x="95248" y="30712"/>
                    <a:pt x="94355" y="25264"/>
                  </a:cubicBezTo>
                  <a:lnTo>
                    <a:pt x="81285" y="31481"/>
                  </a:lnTo>
                  <a:cubicBezTo>
                    <a:pt x="75874" y="20875"/>
                    <a:pt x="70459" y="10267"/>
                    <a:pt x="65049" y="-339"/>
                  </a:cubicBezTo>
                  <a:cubicBezTo>
                    <a:pt x="51654" y="5176"/>
                    <a:pt x="37813" y="10056"/>
                    <a:pt x="24175" y="15136"/>
                  </a:cubicBezTo>
                  <a:cubicBezTo>
                    <a:pt x="9562" y="20618"/>
                    <a:pt x="23891" y="25665"/>
                    <a:pt x="16788" y="32082"/>
                  </a:cubicBezTo>
                  <a:cubicBezTo>
                    <a:pt x="13256" y="35425"/>
                    <a:pt x="73613" y="32583"/>
                    <a:pt x="23647" y="50799"/>
                  </a:cubicBezTo>
                  <a:cubicBezTo>
                    <a:pt x="8304" y="56414"/>
                    <a:pt x="8426" y="57785"/>
                    <a:pt x="3352" y="68848"/>
                  </a:cubicBezTo>
                  <a:cubicBezTo>
                    <a:pt x="-2695" y="81817"/>
                    <a:pt x="-1965" y="81014"/>
                    <a:pt x="15976" y="82552"/>
                  </a:cubicBezTo>
                  <a:cubicBezTo>
                    <a:pt x="23769" y="83254"/>
                    <a:pt x="33104" y="84891"/>
                    <a:pt x="41953" y="82986"/>
                  </a:cubicBezTo>
                  <a:cubicBezTo>
                    <a:pt x="53887" y="80346"/>
                    <a:pt x="76170" y="73795"/>
                    <a:pt x="81163" y="67344"/>
                  </a:cubicBezTo>
                  <a:cubicBezTo>
                    <a:pt x="83720" y="64002"/>
                    <a:pt x="91716" y="57685"/>
                    <a:pt x="92853" y="54309"/>
                  </a:cubicBezTo>
                  <a:cubicBezTo>
                    <a:pt x="94760" y="48527"/>
                    <a:pt x="92000" y="45218"/>
                    <a:pt x="97521" y="390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3863D980-D3EC-4E27-A30E-A34110C98756}"/>
                </a:ext>
              </a:extLst>
            </p:cNvPr>
            <p:cNvSpPr/>
            <p:nvPr/>
          </p:nvSpPr>
          <p:spPr>
            <a:xfrm>
              <a:off x="3205679" y="5048970"/>
              <a:ext cx="33572" cy="50659"/>
            </a:xfrm>
            <a:custGeom>
              <a:avLst/>
              <a:gdLst>
                <a:gd name="connsiteX0" fmla="*/ 2137 w 33572"/>
                <a:gd name="connsiteY0" fmla="*/ 16897 h 50659"/>
                <a:gd name="connsiteX1" fmla="*/ 14517 w 33572"/>
                <a:gd name="connsiteY1" fmla="*/ 50321 h 50659"/>
                <a:gd name="connsiteX2" fmla="*/ 33350 w 33572"/>
                <a:gd name="connsiteY2" fmla="*/ 28261 h 50659"/>
                <a:gd name="connsiteX3" fmla="*/ 24908 w 33572"/>
                <a:gd name="connsiteY3" fmla="*/ 15293 h 50659"/>
                <a:gd name="connsiteX4" fmla="*/ 29738 w 33572"/>
                <a:gd name="connsiteY4" fmla="*/ 185 h 50659"/>
                <a:gd name="connsiteX5" fmla="*/ 2137 w 33572"/>
                <a:gd name="connsiteY5" fmla="*/ 16897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72" h="50659">
                  <a:moveTo>
                    <a:pt x="2137" y="16897"/>
                  </a:moveTo>
                  <a:cubicBezTo>
                    <a:pt x="-5981" y="23582"/>
                    <a:pt x="10742" y="42901"/>
                    <a:pt x="14517" y="50321"/>
                  </a:cubicBezTo>
                  <a:cubicBezTo>
                    <a:pt x="26247" y="44739"/>
                    <a:pt x="34812" y="37252"/>
                    <a:pt x="33350" y="28261"/>
                  </a:cubicBezTo>
                  <a:cubicBezTo>
                    <a:pt x="32620" y="23314"/>
                    <a:pt x="27992" y="19370"/>
                    <a:pt x="24908" y="15293"/>
                  </a:cubicBezTo>
                  <a:cubicBezTo>
                    <a:pt x="19428" y="8140"/>
                    <a:pt x="23771" y="7772"/>
                    <a:pt x="29738" y="185"/>
                  </a:cubicBezTo>
                  <a:cubicBezTo>
                    <a:pt x="5384" y="-2823"/>
                    <a:pt x="13827" y="7706"/>
                    <a:pt x="2137" y="1689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C16B056C-388F-4BF5-9ACC-C25F1F5D42ED}"/>
                </a:ext>
              </a:extLst>
            </p:cNvPr>
            <p:cNvSpPr/>
            <p:nvPr/>
          </p:nvSpPr>
          <p:spPr>
            <a:xfrm>
              <a:off x="3608683" y="4867436"/>
              <a:ext cx="78557" cy="50779"/>
            </a:xfrm>
            <a:custGeom>
              <a:avLst/>
              <a:gdLst>
                <a:gd name="connsiteX0" fmla="*/ 23133 w 78557"/>
                <a:gd name="connsiteY0" fmla="*/ 9087 h 50779"/>
                <a:gd name="connsiteX1" fmla="*/ 50450 w 78557"/>
                <a:gd name="connsiteY1" fmla="*/ 23559 h 50779"/>
                <a:gd name="connsiteX2" fmla="*/ 22565 w 78557"/>
                <a:gd name="connsiteY2" fmla="*/ 37263 h 50779"/>
                <a:gd name="connsiteX3" fmla="*/ 9130 w 78557"/>
                <a:gd name="connsiteY3" fmla="*/ 50264 h 50779"/>
                <a:gd name="connsiteX4" fmla="*/ 78498 w 78557"/>
                <a:gd name="connsiteY4" fmla="*/ 32416 h 50779"/>
                <a:gd name="connsiteX5" fmla="*/ 69974 w 78557"/>
                <a:gd name="connsiteY5" fmla="*/ -339 h 50779"/>
                <a:gd name="connsiteX6" fmla="*/ 23133 w 78557"/>
                <a:gd name="connsiteY6" fmla="*/ 9087 h 50779"/>
                <a:gd name="connsiteX7" fmla="*/ 23133 w 78557"/>
                <a:gd name="connsiteY7" fmla="*/ 9087 h 5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57" h="50779">
                  <a:moveTo>
                    <a:pt x="23133" y="9087"/>
                  </a:moveTo>
                  <a:cubicBezTo>
                    <a:pt x="13757" y="17175"/>
                    <a:pt x="45498" y="20250"/>
                    <a:pt x="50450" y="23559"/>
                  </a:cubicBezTo>
                  <a:cubicBezTo>
                    <a:pt x="58568" y="28840"/>
                    <a:pt x="27964" y="35658"/>
                    <a:pt x="22565" y="37263"/>
                  </a:cubicBezTo>
                  <a:cubicBezTo>
                    <a:pt x="15340" y="39435"/>
                    <a:pt x="-15061" y="52069"/>
                    <a:pt x="9130" y="50264"/>
                  </a:cubicBezTo>
                  <a:cubicBezTo>
                    <a:pt x="34296" y="48460"/>
                    <a:pt x="51587" y="32884"/>
                    <a:pt x="78498" y="32416"/>
                  </a:cubicBezTo>
                  <a:cubicBezTo>
                    <a:pt x="75170" y="21620"/>
                    <a:pt x="72166" y="10724"/>
                    <a:pt x="69974" y="-339"/>
                  </a:cubicBezTo>
                  <a:cubicBezTo>
                    <a:pt x="57797" y="1466"/>
                    <a:pt x="32428" y="965"/>
                    <a:pt x="23133" y="9087"/>
                  </a:cubicBezTo>
                  <a:cubicBezTo>
                    <a:pt x="12905" y="17944"/>
                    <a:pt x="30602" y="2602"/>
                    <a:pt x="23133" y="908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532CEE8D-3229-44E2-8541-D5A7FD3B34C9}"/>
                </a:ext>
              </a:extLst>
            </p:cNvPr>
            <p:cNvSpPr/>
            <p:nvPr/>
          </p:nvSpPr>
          <p:spPr>
            <a:xfrm>
              <a:off x="3678758" y="4853531"/>
              <a:ext cx="99196" cy="46626"/>
            </a:xfrm>
            <a:custGeom>
              <a:avLst/>
              <a:gdLst>
                <a:gd name="connsiteX0" fmla="*/ 42722 w 99196"/>
                <a:gd name="connsiteY0" fmla="*/ 28540 h 46626"/>
                <a:gd name="connsiteX1" fmla="*/ 89116 w 99196"/>
                <a:gd name="connsiteY1" fmla="*/ 397 h 46626"/>
                <a:gd name="connsiteX2" fmla="*/ 46172 w 99196"/>
                <a:gd name="connsiteY2" fmla="*/ 1968 h 46626"/>
                <a:gd name="connsiteX3" fmla="*/ -60 w 99196"/>
                <a:gd name="connsiteY3" fmla="*/ 13566 h 46626"/>
                <a:gd name="connsiteX4" fmla="*/ 10900 w 99196"/>
                <a:gd name="connsiteY4" fmla="*/ 46287 h 46626"/>
                <a:gd name="connsiteX5" fmla="*/ 42722 w 99196"/>
                <a:gd name="connsiteY5" fmla="*/ 2854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196" h="46626">
                  <a:moveTo>
                    <a:pt x="42722" y="28540"/>
                  </a:moveTo>
                  <a:cubicBezTo>
                    <a:pt x="50840" y="24161"/>
                    <a:pt x="125728" y="5611"/>
                    <a:pt x="89116" y="397"/>
                  </a:cubicBezTo>
                  <a:cubicBezTo>
                    <a:pt x="74792" y="-964"/>
                    <a:pt x="60293" y="-435"/>
                    <a:pt x="46172" y="1968"/>
                  </a:cubicBezTo>
                  <a:cubicBezTo>
                    <a:pt x="29936" y="4241"/>
                    <a:pt x="15527" y="11226"/>
                    <a:pt x="-60" y="13566"/>
                  </a:cubicBezTo>
                  <a:cubicBezTo>
                    <a:pt x="955" y="18780"/>
                    <a:pt x="3431" y="46455"/>
                    <a:pt x="10900" y="46287"/>
                  </a:cubicBezTo>
                  <a:cubicBezTo>
                    <a:pt x="22265" y="46053"/>
                    <a:pt x="34198" y="32918"/>
                    <a:pt x="42722" y="2854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3F701CC0-263C-46DD-9480-0C727287FD74}"/>
                </a:ext>
              </a:extLst>
            </p:cNvPr>
            <p:cNvSpPr/>
            <p:nvPr/>
          </p:nvSpPr>
          <p:spPr>
            <a:xfrm>
              <a:off x="3294820" y="5052736"/>
              <a:ext cx="120956" cy="87056"/>
            </a:xfrm>
            <a:custGeom>
              <a:avLst/>
              <a:gdLst>
                <a:gd name="connsiteX0" fmla="*/ 78928 w 120956"/>
                <a:gd name="connsiteY0" fmla="*/ 83320 h 87056"/>
                <a:gd name="connsiteX1" fmla="*/ 120897 w 120956"/>
                <a:gd name="connsiteY1" fmla="*/ 72291 h 87056"/>
                <a:gd name="connsiteX2" fmla="*/ 105676 w 120956"/>
                <a:gd name="connsiteY2" fmla="*/ 34990 h 87056"/>
                <a:gd name="connsiteX3" fmla="*/ 97558 w 120956"/>
                <a:gd name="connsiteY3" fmla="*/ -339 h 87056"/>
                <a:gd name="connsiteX4" fmla="*/ 71987 w 120956"/>
                <a:gd name="connsiteY4" fmla="*/ 16741 h 87056"/>
                <a:gd name="connsiteX5" fmla="*/ 48526 w 120956"/>
                <a:gd name="connsiteY5" fmla="*/ 26300 h 87056"/>
                <a:gd name="connsiteX6" fmla="*/ 32736 w 120956"/>
                <a:gd name="connsiteY6" fmla="*/ 43413 h 87056"/>
                <a:gd name="connsiteX7" fmla="*/ 12441 w 120956"/>
                <a:gd name="connsiteY7" fmla="*/ 58687 h 87056"/>
                <a:gd name="connsiteX8" fmla="*/ 9966 w 120956"/>
                <a:gd name="connsiteY8" fmla="*/ 69784 h 87056"/>
                <a:gd name="connsiteX9" fmla="*/ 8098 w 120956"/>
                <a:gd name="connsiteY9" fmla="*/ 79209 h 87056"/>
                <a:gd name="connsiteX10" fmla="*/ 40936 w 120956"/>
                <a:gd name="connsiteY10" fmla="*/ 84557 h 87056"/>
                <a:gd name="connsiteX11" fmla="*/ 58552 w 120956"/>
                <a:gd name="connsiteY11" fmla="*/ 85928 h 87056"/>
                <a:gd name="connsiteX12" fmla="*/ 78846 w 120956"/>
                <a:gd name="connsiteY12" fmla="*/ 83320 h 87056"/>
                <a:gd name="connsiteX13" fmla="*/ 78928 w 120956"/>
                <a:gd name="connsiteY13" fmla="*/ 83320 h 8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956" h="87056">
                  <a:moveTo>
                    <a:pt x="78928" y="83320"/>
                  </a:moveTo>
                  <a:cubicBezTo>
                    <a:pt x="93422" y="81104"/>
                    <a:pt x="107523" y="77401"/>
                    <a:pt x="120897" y="72291"/>
                  </a:cubicBezTo>
                  <a:cubicBezTo>
                    <a:pt x="103931" y="66642"/>
                    <a:pt x="112779" y="46220"/>
                    <a:pt x="105676" y="34990"/>
                  </a:cubicBezTo>
                  <a:cubicBezTo>
                    <a:pt x="98573" y="23760"/>
                    <a:pt x="103809" y="11593"/>
                    <a:pt x="97558" y="-339"/>
                  </a:cubicBezTo>
                  <a:cubicBezTo>
                    <a:pt x="86396" y="3371"/>
                    <a:pt x="79658" y="10658"/>
                    <a:pt x="71987" y="16741"/>
                  </a:cubicBezTo>
                  <a:cubicBezTo>
                    <a:pt x="66101" y="21420"/>
                    <a:pt x="55385" y="22021"/>
                    <a:pt x="48526" y="26300"/>
                  </a:cubicBezTo>
                  <a:cubicBezTo>
                    <a:pt x="40408" y="31480"/>
                    <a:pt x="44467" y="37497"/>
                    <a:pt x="32736" y="43413"/>
                  </a:cubicBezTo>
                  <a:cubicBezTo>
                    <a:pt x="25471" y="47089"/>
                    <a:pt x="7287" y="52103"/>
                    <a:pt x="12441" y="58687"/>
                  </a:cubicBezTo>
                  <a:cubicBezTo>
                    <a:pt x="16013" y="63333"/>
                    <a:pt x="14796" y="63701"/>
                    <a:pt x="9966" y="69784"/>
                  </a:cubicBezTo>
                  <a:cubicBezTo>
                    <a:pt x="7936" y="72358"/>
                    <a:pt x="-10329" y="79811"/>
                    <a:pt x="8098" y="79209"/>
                  </a:cubicBezTo>
                  <a:cubicBezTo>
                    <a:pt x="19991" y="78708"/>
                    <a:pt x="30342" y="82886"/>
                    <a:pt x="40936" y="84557"/>
                  </a:cubicBezTo>
                  <a:cubicBezTo>
                    <a:pt x="46375" y="85393"/>
                    <a:pt x="53478" y="84557"/>
                    <a:pt x="58552" y="85928"/>
                  </a:cubicBezTo>
                  <a:cubicBezTo>
                    <a:pt x="68699" y="88501"/>
                    <a:pt x="67725" y="84022"/>
                    <a:pt x="78846" y="83320"/>
                  </a:cubicBezTo>
                  <a:cubicBezTo>
                    <a:pt x="85787" y="82886"/>
                    <a:pt x="75396" y="83521"/>
                    <a:pt x="78928" y="833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4885F6C7-AAD7-4323-987A-73B3D9F2B817}"/>
                </a:ext>
              </a:extLst>
            </p:cNvPr>
            <p:cNvSpPr/>
            <p:nvPr/>
          </p:nvSpPr>
          <p:spPr>
            <a:xfrm>
              <a:off x="3820094" y="4975597"/>
              <a:ext cx="1047054" cy="663923"/>
            </a:xfrm>
            <a:custGeom>
              <a:avLst/>
              <a:gdLst>
                <a:gd name="connsiteX0" fmla="*/ 707701 w 1047054"/>
                <a:gd name="connsiteY0" fmla="*/ 652956 h 663923"/>
                <a:gd name="connsiteX1" fmla="*/ 720243 w 1047054"/>
                <a:gd name="connsiteY1" fmla="*/ 623778 h 663923"/>
                <a:gd name="connsiteX2" fmla="*/ 721785 w 1047054"/>
                <a:gd name="connsiteY2" fmla="*/ 609940 h 663923"/>
                <a:gd name="connsiteX3" fmla="*/ 727671 w 1047054"/>
                <a:gd name="connsiteY3" fmla="*/ 595534 h 663923"/>
                <a:gd name="connsiteX4" fmla="*/ 743663 w 1047054"/>
                <a:gd name="connsiteY4" fmla="*/ 584237 h 663923"/>
                <a:gd name="connsiteX5" fmla="*/ 731202 w 1047054"/>
                <a:gd name="connsiteY5" fmla="*/ 611678 h 663923"/>
                <a:gd name="connsiteX6" fmla="*/ 748899 w 1047054"/>
                <a:gd name="connsiteY6" fmla="*/ 596905 h 663923"/>
                <a:gd name="connsiteX7" fmla="*/ 760711 w 1047054"/>
                <a:gd name="connsiteY7" fmla="*/ 570534 h 663923"/>
                <a:gd name="connsiteX8" fmla="*/ 773131 w 1047054"/>
                <a:gd name="connsiteY8" fmla="*/ 547137 h 663923"/>
                <a:gd name="connsiteX9" fmla="*/ 785633 w 1047054"/>
                <a:gd name="connsiteY9" fmla="*/ 532565 h 663923"/>
                <a:gd name="connsiteX10" fmla="*/ 776216 w 1047054"/>
                <a:gd name="connsiteY10" fmla="*/ 508533 h 663923"/>
                <a:gd name="connsiteX11" fmla="*/ 774511 w 1047054"/>
                <a:gd name="connsiteY11" fmla="*/ 485136 h 663923"/>
                <a:gd name="connsiteX12" fmla="*/ 790179 w 1047054"/>
                <a:gd name="connsiteY12" fmla="*/ 471132 h 663923"/>
                <a:gd name="connsiteX13" fmla="*/ 823178 w 1047054"/>
                <a:gd name="connsiteY13" fmla="*/ 443524 h 663923"/>
                <a:gd name="connsiteX14" fmla="*/ 843758 w 1047054"/>
                <a:gd name="connsiteY14" fmla="*/ 433898 h 663923"/>
                <a:gd name="connsiteX15" fmla="*/ 866204 w 1047054"/>
                <a:gd name="connsiteY15" fmla="*/ 416785 h 663923"/>
                <a:gd name="connsiteX16" fmla="*/ 927089 w 1047054"/>
                <a:gd name="connsiteY16" fmla="*/ 401277 h 663923"/>
                <a:gd name="connsiteX17" fmla="*/ 945557 w 1047054"/>
                <a:gd name="connsiteY17" fmla="*/ 386269 h 663923"/>
                <a:gd name="connsiteX18" fmla="*/ 948114 w 1047054"/>
                <a:gd name="connsiteY18" fmla="*/ 366483 h 663923"/>
                <a:gd name="connsiteX19" fmla="*/ 958992 w 1047054"/>
                <a:gd name="connsiteY19" fmla="*/ 346629 h 663923"/>
                <a:gd name="connsiteX20" fmla="*/ 966014 w 1047054"/>
                <a:gd name="connsiteY20" fmla="*/ 328280 h 663923"/>
                <a:gd name="connsiteX21" fmla="*/ 967597 w 1047054"/>
                <a:gd name="connsiteY21" fmla="*/ 306621 h 663923"/>
                <a:gd name="connsiteX22" fmla="*/ 975309 w 1047054"/>
                <a:gd name="connsiteY22" fmla="*/ 293954 h 663923"/>
                <a:gd name="connsiteX23" fmla="*/ 973726 w 1047054"/>
                <a:gd name="connsiteY23" fmla="*/ 268986 h 663923"/>
                <a:gd name="connsiteX24" fmla="*/ 962401 w 1047054"/>
                <a:gd name="connsiteY24" fmla="*/ 236398 h 663923"/>
                <a:gd name="connsiteX25" fmla="*/ 965040 w 1047054"/>
                <a:gd name="connsiteY25" fmla="*/ 215809 h 663923"/>
                <a:gd name="connsiteX26" fmla="*/ 971859 w 1047054"/>
                <a:gd name="connsiteY26" fmla="*/ 211030 h 663923"/>
                <a:gd name="connsiteX27" fmla="*/ 1007415 w 1047054"/>
                <a:gd name="connsiteY27" fmla="*/ 167913 h 663923"/>
                <a:gd name="connsiteX28" fmla="*/ 1027345 w 1047054"/>
                <a:gd name="connsiteY28" fmla="*/ 72856 h 663923"/>
                <a:gd name="connsiteX29" fmla="*/ 987242 w 1047054"/>
                <a:gd name="connsiteY29" fmla="*/ 72522 h 663923"/>
                <a:gd name="connsiteX30" fmla="*/ 905089 w 1047054"/>
                <a:gd name="connsiteY30" fmla="*/ 52836 h 663923"/>
                <a:gd name="connsiteX31" fmla="*/ 835315 w 1047054"/>
                <a:gd name="connsiteY31" fmla="*/ 63230 h 663923"/>
                <a:gd name="connsiteX32" fmla="*/ 794238 w 1047054"/>
                <a:gd name="connsiteY32" fmla="*/ 62495 h 663923"/>
                <a:gd name="connsiteX33" fmla="*/ 761767 w 1047054"/>
                <a:gd name="connsiteY33" fmla="*/ 80176 h 663923"/>
                <a:gd name="connsiteX34" fmla="*/ 761767 w 1047054"/>
                <a:gd name="connsiteY34" fmla="*/ 69481 h 663923"/>
                <a:gd name="connsiteX35" fmla="*/ 751741 w 1047054"/>
                <a:gd name="connsiteY35" fmla="*/ 57916 h 663923"/>
                <a:gd name="connsiteX36" fmla="*/ 664311 w 1047054"/>
                <a:gd name="connsiteY36" fmla="*/ 54941 h 663923"/>
                <a:gd name="connsiteX37" fmla="*/ 653838 w 1047054"/>
                <a:gd name="connsiteY37" fmla="*/ 68545 h 663923"/>
                <a:gd name="connsiteX38" fmla="*/ 642189 w 1047054"/>
                <a:gd name="connsiteY38" fmla="*/ 74762 h 663923"/>
                <a:gd name="connsiteX39" fmla="*/ 625019 w 1047054"/>
                <a:gd name="connsiteY39" fmla="*/ 89535 h 663923"/>
                <a:gd name="connsiteX40" fmla="*/ 634924 w 1047054"/>
                <a:gd name="connsiteY40" fmla="*/ 72823 h 663923"/>
                <a:gd name="connsiteX41" fmla="*/ 606511 w 1047054"/>
                <a:gd name="connsiteY41" fmla="*/ 57348 h 663923"/>
                <a:gd name="connsiteX42" fmla="*/ 579478 w 1047054"/>
                <a:gd name="connsiteY42" fmla="*/ 65804 h 663923"/>
                <a:gd name="connsiteX43" fmla="*/ 573389 w 1047054"/>
                <a:gd name="connsiteY43" fmla="*/ 80043 h 663923"/>
                <a:gd name="connsiteX44" fmla="*/ 565474 w 1047054"/>
                <a:gd name="connsiteY44" fmla="*/ 68445 h 663923"/>
                <a:gd name="connsiteX45" fmla="*/ 586581 w 1047054"/>
                <a:gd name="connsiteY45" fmla="*/ 52568 h 663923"/>
                <a:gd name="connsiteX46" fmla="*/ 589463 w 1047054"/>
                <a:gd name="connsiteY46" fmla="*/ 31211 h 663923"/>
                <a:gd name="connsiteX47" fmla="*/ 558980 w 1047054"/>
                <a:gd name="connsiteY47" fmla="*/ 22220 h 663923"/>
                <a:gd name="connsiteX48" fmla="*/ 545058 w 1047054"/>
                <a:gd name="connsiteY48" fmla="*/ 5040 h 663923"/>
                <a:gd name="connsiteX49" fmla="*/ 527198 w 1047054"/>
                <a:gd name="connsiteY49" fmla="*/ 6778 h 663923"/>
                <a:gd name="connsiteX50" fmla="*/ 510962 w 1047054"/>
                <a:gd name="connsiteY50" fmla="*/ 32280 h 663923"/>
                <a:gd name="connsiteX51" fmla="*/ 489937 w 1047054"/>
                <a:gd name="connsiteY51" fmla="*/ 44346 h 663923"/>
                <a:gd name="connsiteX52" fmla="*/ 458885 w 1047054"/>
                <a:gd name="connsiteY52" fmla="*/ 49226 h 663923"/>
                <a:gd name="connsiteX53" fmla="*/ 430960 w 1047054"/>
                <a:gd name="connsiteY53" fmla="*/ 53237 h 663923"/>
                <a:gd name="connsiteX54" fmla="*/ 419635 w 1047054"/>
                <a:gd name="connsiteY54" fmla="*/ 65470 h 663923"/>
                <a:gd name="connsiteX55" fmla="*/ 387691 w 1047054"/>
                <a:gd name="connsiteY55" fmla="*/ 73224 h 663923"/>
                <a:gd name="connsiteX56" fmla="*/ 348076 w 1047054"/>
                <a:gd name="connsiteY56" fmla="*/ 95050 h 663923"/>
                <a:gd name="connsiteX57" fmla="*/ 306065 w 1047054"/>
                <a:gd name="connsiteY57" fmla="*/ 67141 h 663923"/>
                <a:gd name="connsiteX58" fmla="*/ 304157 w 1047054"/>
                <a:gd name="connsiteY58" fmla="*/ 53070 h 663923"/>
                <a:gd name="connsiteX59" fmla="*/ 289748 w 1047054"/>
                <a:gd name="connsiteY59" fmla="*/ 43043 h 663923"/>
                <a:gd name="connsiteX60" fmla="*/ 273228 w 1047054"/>
                <a:gd name="connsiteY60" fmla="*/ 50964 h 663923"/>
                <a:gd name="connsiteX61" fmla="*/ 247332 w 1047054"/>
                <a:gd name="connsiteY61" fmla="*/ 69046 h 663923"/>
                <a:gd name="connsiteX62" fmla="*/ 222450 w 1047054"/>
                <a:gd name="connsiteY62" fmla="*/ 80577 h 663923"/>
                <a:gd name="connsiteX63" fmla="*/ 208934 w 1047054"/>
                <a:gd name="connsiteY63" fmla="*/ 84956 h 663923"/>
                <a:gd name="connsiteX64" fmla="*/ 182997 w 1047054"/>
                <a:gd name="connsiteY64" fmla="*/ 87529 h 663923"/>
                <a:gd name="connsiteX65" fmla="*/ 168750 w 1047054"/>
                <a:gd name="connsiteY65" fmla="*/ 94615 h 663923"/>
                <a:gd name="connsiteX66" fmla="*/ 203535 w 1047054"/>
                <a:gd name="connsiteY66" fmla="*/ 113266 h 663923"/>
                <a:gd name="connsiteX67" fmla="*/ 213805 w 1047054"/>
                <a:gd name="connsiteY67" fmla="*/ 115572 h 663923"/>
                <a:gd name="connsiteX68" fmla="*/ 200938 w 1047054"/>
                <a:gd name="connsiteY68" fmla="*/ 123527 h 663923"/>
                <a:gd name="connsiteX69" fmla="*/ 192211 w 1047054"/>
                <a:gd name="connsiteY69" fmla="*/ 135793 h 663923"/>
                <a:gd name="connsiteX70" fmla="*/ 176949 w 1047054"/>
                <a:gd name="connsiteY70" fmla="*/ 146689 h 663923"/>
                <a:gd name="connsiteX71" fmla="*/ 158968 w 1047054"/>
                <a:gd name="connsiteY71" fmla="*/ 153374 h 663923"/>
                <a:gd name="connsiteX72" fmla="*/ 130190 w 1047054"/>
                <a:gd name="connsiteY72" fmla="*/ 157184 h 663923"/>
                <a:gd name="connsiteX73" fmla="*/ 114400 w 1047054"/>
                <a:gd name="connsiteY73" fmla="*/ 150299 h 663923"/>
                <a:gd name="connsiteX74" fmla="*/ 98164 w 1047054"/>
                <a:gd name="connsiteY74" fmla="*/ 153374 h 663923"/>
                <a:gd name="connsiteX75" fmla="*/ 64840 w 1047054"/>
                <a:gd name="connsiteY75" fmla="*/ 165340 h 663923"/>
                <a:gd name="connsiteX76" fmla="*/ 43043 w 1047054"/>
                <a:gd name="connsiteY76" fmla="*/ 174097 h 663923"/>
                <a:gd name="connsiteX77" fmla="*/ 62851 w 1047054"/>
                <a:gd name="connsiteY77" fmla="*/ 180380 h 663923"/>
                <a:gd name="connsiteX78" fmla="*/ 47792 w 1047054"/>
                <a:gd name="connsiteY78" fmla="*/ 193315 h 663923"/>
                <a:gd name="connsiteX79" fmla="*/ 66017 w 1047054"/>
                <a:gd name="connsiteY79" fmla="*/ 210996 h 663923"/>
                <a:gd name="connsiteX80" fmla="*/ 81239 w 1047054"/>
                <a:gd name="connsiteY80" fmla="*/ 246291 h 663923"/>
                <a:gd name="connsiteX81" fmla="*/ 82943 w 1047054"/>
                <a:gd name="connsiteY81" fmla="*/ 265309 h 663923"/>
                <a:gd name="connsiteX82" fmla="*/ 74825 w 1047054"/>
                <a:gd name="connsiteY82" fmla="*/ 270557 h 663923"/>
                <a:gd name="connsiteX83" fmla="*/ 52988 w 1047054"/>
                <a:gd name="connsiteY83" fmla="*/ 280584 h 663923"/>
                <a:gd name="connsiteX84" fmla="*/ 34844 w 1047054"/>
                <a:gd name="connsiteY84" fmla="*/ 289274 h 663923"/>
                <a:gd name="connsiteX85" fmla="*/ 18608 w 1047054"/>
                <a:gd name="connsiteY85" fmla="*/ 301273 h 663923"/>
                <a:gd name="connsiteX86" fmla="*/ 8096 w 1047054"/>
                <a:gd name="connsiteY86" fmla="*/ 321327 h 663923"/>
                <a:gd name="connsiteX87" fmla="*/ 10653 w 1047054"/>
                <a:gd name="connsiteY87" fmla="*/ 330953 h 663923"/>
                <a:gd name="connsiteX88" fmla="*/ 1480 w 1047054"/>
                <a:gd name="connsiteY88" fmla="*/ 339978 h 663923"/>
                <a:gd name="connsiteX89" fmla="*/ 9922 w 1047054"/>
                <a:gd name="connsiteY89" fmla="*/ 360433 h 663923"/>
                <a:gd name="connsiteX90" fmla="*/ 26605 w 1047054"/>
                <a:gd name="connsiteY90" fmla="*/ 367653 h 663923"/>
                <a:gd name="connsiteX91" fmla="*/ 34723 w 1047054"/>
                <a:gd name="connsiteY91" fmla="*/ 376175 h 663923"/>
                <a:gd name="connsiteX92" fmla="*/ 54774 w 1047054"/>
                <a:gd name="connsiteY92" fmla="*/ 377312 h 663923"/>
                <a:gd name="connsiteX93" fmla="*/ 80548 w 1047054"/>
                <a:gd name="connsiteY93" fmla="*/ 376242 h 663923"/>
                <a:gd name="connsiteX94" fmla="*/ 92725 w 1047054"/>
                <a:gd name="connsiteY94" fmla="*/ 369558 h 663923"/>
                <a:gd name="connsiteX95" fmla="*/ 101493 w 1047054"/>
                <a:gd name="connsiteY95" fmla="*/ 362338 h 663923"/>
                <a:gd name="connsiteX96" fmla="*/ 118946 w 1047054"/>
                <a:gd name="connsiteY96" fmla="*/ 383696 h 663923"/>
                <a:gd name="connsiteX97" fmla="*/ 147359 w 1047054"/>
                <a:gd name="connsiteY97" fmla="*/ 374738 h 663923"/>
                <a:gd name="connsiteX98" fmla="*/ 176543 w 1047054"/>
                <a:gd name="connsiteY98" fmla="*/ 361101 h 663923"/>
                <a:gd name="connsiteX99" fmla="*/ 235642 w 1047054"/>
                <a:gd name="connsiteY99" fmla="*/ 327310 h 663923"/>
                <a:gd name="connsiteX100" fmla="*/ 244815 w 1047054"/>
                <a:gd name="connsiteY100" fmla="*/ 331956 h 663923"/>
                <a:gd name="connsiteX101" fmla="*/ 257317 w 1047054"/>
                <a:gd name="connsiteY101" fmla="*/ 352010 h 663923"/>
                <a:gd name="connsiteX102" fmla="*/ 282807 w 1047054"/>
                <a:gd name="connsiteY102" fmla="*/ 361536 h 663923"/>
                <a:gd name="connsiteX103" fmla="*/ 310165 w 1047054"/>
                <a:gd name="connsiteY103" fmla="*/ 357826 h 663923"/>
                <a:gd name="connsiteX104" fmla="*/ 326157 w 1047054"/>
                <a:gd name="connsiteY104" fmla="*/ 357492 h 663923"/>
                <a:gd name="connsiteX105" fmla="*/ 347182 w 1047054"/>
                <a:gd name="connsiteY105" fmla="*/ 357492 h 663923"/>
                <a:gd name="connsiteX106" fmla="*/ 361632 w 1047054"/>
                <a:gd name="connsiteY106" fmla="*/ 361937 h 663923"/>
                <a:gd name="connsiteX107" fmla="*/ 386757 w 1047054"/>
                <a:gd name="connsiteY107" fmla="*/ 356857 h 663923"/>
                <a:gd name="connsiteX108" fmla="*/ 402263 w 1047054"/>
                <a:gd name="connsiteY108" fmla="*/ 367987 h 663923"/>
                <a:gd name="connsiteX109" fmla="*/ 410381 w 1047054"/>
                <a:gd name="connsiteY109" fmla="*/ 373268 h 663923"/>
                <a:gd name="connsiteX110" fmla="*/ 407499 w 1047054"/>
                <a:gd name="connsiteY110" fmla="*/ 379251 h 663923"/>
                <a:gd name="connsiteX111" fmla="*/ 419676 w 1047054"/>
                <a:gd name="connsiteY111" fmla="*/ 391684 h 663923"/>
                <a:gd name="connsiteX112" fmla="*/ 442203 w 1047054"/>
                <a:gd name="connsiteY112" fmla="*/ 392185 h 663923"/>
                <a:gd name="connsiteX113" fmla="*/ 467653 w 1047054"/>
                <a:gd name="connsiteY113" fmla="*/ 387406 h 663923"/>
                <a:gd name="connsiteX114" fmla="*/ 482387 w 1047054"/>
                <a:gd name="connsiteY114" fmla="*/ 399840 h 663923"/>
                <a:gd name="connsiteX115" fmla="*/ 497689 w 1047054"/>
                <a:gd name="connsiteY115" fmla="*/ 414245 h 663923"/>
                <a:gd name="connsiteX116" fmla="*/ 495497 w 1047054"/>
                <a:gd name="connsiteY116" fmla="*/ 440382 h 663923"/>
                <a:gd name="connsiteX117" fmla="*/ 498623 w 1047054"/>
                <a:gd name="connsiteY117" fmla="*/ 450410 h 663923"/>
                <a:gd name="connsiteX118" fmla="*/ 510800 w 1047054"/>
                <a:gd name="connsiteY118" fmla="*/ 463779 h 663923"/>
                <a:gd name="connsiteX119" fmla="*/ 514006 w 1047054"/>
                <a:gd name="connsiteY119" fmla="*/ 478652 h 663923"/>
                <a:gd name="connsiteX120" fmla="*/ 541851 w 1047054"/>
                <a:gd name="connsiteY120" fmla="*/ 475978 h 663923"/>
                <a:gd name="connsiteX121" fmla="*/ 554434 w 1047054"/>
                <a:gd name="connsiteY121" fmla="*/ 472904 h 663923"/>
                <a:gd name="connsiteX122" fmla="*/ 574120 w 1047054"/>
                <a:gd name="connsiteY122" fmla="*/ 483399 h 663923"/>
                <a:gd name="connsiteX123" fmla="*/ 588407 w 1047054"/>
                <a:gd name="connsiteY123" fmla="*/ 496768 h 663923"/>
                <a:gd name="connsiteX124" fmla="*/ 606998 w 1047054"/>
                <a:gd name="connsiteY124" fmla="*/ 491086 h 663923"/>
                <a:gd name="connsiteX125" fmla="*/ 620636 w 1047054"/>
                <a:gd name="connsiteY125" fmla="*/ 520532 h 663923"/>
                <a:gd name="connsiteX126" fmla="*/ 646816 w 1047054"/>
                <a:gd name="connsiteY126" fmla="*/ 529389 h 663923"/>
                <a:gd name="connsiteX127" fmla="*/ 637643 w 1047054"/>
                <a:gd name="connsiteY127" fmla="*/ 551014 h 663923"/>
                <a:gd name="connsiteX128" fmla="*/ 577205 w 1047054"/>
                <a:gd name="connsiteY128" fmla="*/ 622140 h 663923"/>
                <a:gd name="connsiteX129" fmla="*/ 591208 w 1047054"/>
                <a:gd name="connsiteY129" fmla="*/ 617527 h 663923"/>
                <a:gd name="connsiteX130" fmla="*/ 616049 w 1047054"/>
                <a:gd name="connsiteY130" fmla="*/ 625415 h 663923"/>
                <a:gd name="connsiteX131" fmla="*/ 623842 w 1047054"/>
                <a:gd name="connsiteY131" fmla="*/ 627220 h 663923"/>
                <a:gd name="connsiteX132" fmla="*/ 639226 w 1047054"/>
                <a:gd name="connsiteY132" fmla="*/ 624613 h 663923"/>
                <a:gd name="connsiteX133" fmla="*/ 678476 w 1047054"/>
                <a:gd name="connsiteY133" fmla="*/ 632635 h 663923"/>
                <a:gd name="connsiteX134" fmla="*/ 699258 w 1047054"/>
                <a:gd name="connsiteY134" fmla="*/ 663585 h 663923"/>
                <a:gd name="connsiteX135" fmla="*/ 707904 w 1047054"/>
                <a:gd name="connsiteY135" fmla="*/ 653357 h 663923"/>
                <a:gd name="connsiteX136" fmla="*/ 707701 w 1047054"/>
                <a:gd name="connsiteY136" fmla="*/ 652956 h 66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047054" h="663923">
                  <a:moveTo>
                    <a:pt x="707701" y="652956"/>
                  </a:moveTo>
                  <a:cubicBezTo>
                    <a:pt x="717158" y="644834"/>
                    <a:pt x="718944" y="633504"/>
                    <a:pt x="720243" y="623778"/>
                  </a:cubicBezTo>
                  <a:cubicBezTo>
                    <a:pt x="720892" y="619031"/>
                    <a:pt x="719147" y="614653"/>
                    <a:pt x="721785" y="609940"/>
                  </a:cubicBezTo>
                  <a:cubicBezTo>
                    <a:pt x="724789" y="604659"/>
                    <a:pt x="729903" y="601150"/>
                    <a:pt x="727671" y="595534"/>
                  </a:cubicBezTo>
                  <a:cubicBezTo>
                    <a:pt x="725114" y="588850"/>
                    <a:pt x="741796" y="577118"/>
                    <a:pt x="743663" y="584237"/>
                  </a:cubicBezTo>
                  <a:cubicBezTo>
                    <a:pt x="746058" y="593630"/>
                    <a:pt x="729010" y="603389"/>
                    <a:pt x="731202" y="611678"/>
                  </a:cubicBezTo>
                  <a:cubicBezTo>
                    <a:pt x="737534" y="607099"/>
                    <a:pt x="743461" y="602186"/>
                    <a:pt x="748899" y="596905"/>
                  </a:cubicBezTo>
                  <a:cubicBezTo>
                    <a:pt x="754460" y="588649"/>
                    <a:pt x="758438" y="579759"/>
                    <a:pt x="760711" y="570534"/>
                  </a:cubicBezTo>
                  <a:cubicBezTo>
                    <a:pt x="763228" y="562880"/>
                    <a:pt x="765501" y="553822"/>
                    <a:pt x="773131" y="547137"/>
                  </a:cubicBezTo>
                  <a:cubicBezTo>
                    <a:pt x="780762" y="540452"/>
                    <a:pt x="786729" y="541622"/>
                    <a:pt x="785633" y="532565"/>
                  </a:cubicBezTo>
                  <a:cubicBezTo>
                    <a:pt x="784091" y="524175"/>
                    <a:pt x="780925" y="516053"/>
                    <a:pt x="776216" y="508533"/>
                  </a:cubicBezTo>
                  <a:cubicBezTo>
                    <a:pt x="771548" y="500010"/>
                    <a:pt x="776216" y="493559"/>
                    <a:pt x="774511" y="485136"/>
                  </a:cubicBezTo>
                  <a:cubicBezTo>
                    <a:pt x="773091" y="478452"/>
                    <a:pt x="784091" y="476647"/>
                    <a:pt x="790179" y="471132"/>
                  </a:cubicBezTo>
                  <a:cubicBezTo>
                    <a:pt x="800529" y="461773"/>
                    <a:pt x="807308" y="449407"/>
                    <a:pt x="823178" y="443524"/>
                  </a:cubicBezTo>
                  <a:cubicBezTo>
                    <a:pt x="832636" y="440182"/>
                    <a:pt x="837588" y="439313"/>
                    <a:pt x="843758" y="433898"/>
                  </a:cubicBezTo>
                  <a:cubicBezTo>
                    <a:pt x="848060" y="430121"/>
                    <a:pt x="860521" y="419058"/>
                    <a:pt x="866204" y="416785"/>
                  </a:cubicBezTo>
                  <a:cubicBezTo>
                    <a:pt x="875539" y="412975"/>
                    <a:pt x="930133" y="411805"/>
                    <a:pt x="927089" y="401277"/>
                  </a:cubicBezTo>
                  <a:cubicBezTo>
                    <a:pt x="924044" y="390748"/>
                    <a:pt x="937804" y="391617"/>
                    <a:pt x="945557" y="386269"/>
                  </a:cubicBezTo>
                  <a:cubicBezTo>
                    <a:pt x="952132" y="381757"/>
                    <a:pt x="945029" y="372232"/>
                    <a:pt x="948114" y="366483"/>
                  </a:cubicBezTo>
                  <a:cubicBezTo>
                    <a:pt x="952173" y="358929"/>
                    <a:pt x="958139" y="355119"/>
                    <a:pt x="958992" y="346629"/>
                  </a:cubicBezTo>
                  <a:cubicBezTo>
                    <a:pt x="959763" y="338808"/>
                    <a:pt x="966745" y="336936"/>
                    <a:pt x="966014" y="328280"/>
                  </a:cubicBezTo>
                  <a:cubicBezTo>
                    <a:pt x="965568" y="323500"/>
                    <a:pt x="961955" y="310665"/>
                    <a:pt x="967597" y="306621"/>
                  </a:cubicBezTo>
                  <a:cubicBezTo>
                    <a:pt x="974091" y="301908"/>
                    <a:pt x="978272" y="300137"/>
                    <a:pt x="975309" y="293954"/>
                  </a:cubicBezTo>
                  <a:cubicBezTo>
                    <a:pt x="971250" y="285698"/>
                    <a:pt x="975309" y="277476"/>
                    <a:pt x="973726" y="268986"/>
                  </a:cubicBezTo>
                  <a:cubicBezTo>
                    <a:pt x="971494" y="257823"/>
                    <a:pt x="964634" y="247662"/>
                    <a:pt x="962401" y="236398"/>
                  </a:cubicBezTo>
                  <a:cubicBezTo>
                    <a:pt x="961833" y="233457"/>
                    <a:pt x="966460" y="216344"/>
                    <a:pt x="965040" y="215809"/>
                  </a:cubicBezTo>
                  <a:cubicBezTo>
                    <a:pt x="954405" y="211297"/>
                    <a:pt x="961874" y="208857"/>
                    <a:pt x="971859" y="211030"/>
                  </a:cubicBezTo>
                  <a:cubicBezTo>
                    <a:pt x="991423" y="215341"/>
                    <a:pt x="993940" y="174264"/>
                    <a:pt x="1007415" y="167913"/>
                  </a:cubicBezTo>
                  <a:cubicBezTo>
                    <a:pt x="1059046" y="143614"/>
                    <a:pt x="1053972" y="101868"/>
                    <a:pt x="1027345" y="72856"/>
                  </a:cubicBezTo>
                  <a:cubicBezTo>
                    <a:pt x="1019227" y="64066"/>
                    <a:pt x="1000921" y="72489"/>
                    <a:pt x="987242" y="72522"/>
                  </a:cubicBezTo>
                  <a:cubicBezTo>
                    <a:pt x="954771" y="72522"/>
                    <a:pt x="934922" y="56680"/>
                    <a:pt x="905089" y="52836"/>
                  </a:cubicBezTo>
                  <a:cubicBezTo>
                    <a:pt x="877691" y="49493"/>
                    <a:pt x="860927" y="60657"/>
                    <a:pt x="835315" y="63230"/>
                  </a:cubicBezTo>
                  <a:cubicBezTo>
                    <a:pt x="821149" y="64634"/>
                    <a:pt x="808201" y="61727"/>
                    <a:pt x="794238" y="62495"/>
                  </a:cubicBezTo>
                  <a:cubicBezTo>
                    <a:pt x="779260" y="63297"/>
                    <a:pt x="772847" y="75096"/>
                    <a:pt x="761767" y="80176"/>
                  </a:cubicBezTo>
                  <a:cubicBezTo>
                    <a:pt x="754663" y="83519"/>
                    <a:pt x="761320" y="70851"/>
                    <a:pt x="761767" y="69481"/>
                  </a:cubicBezTo>
                  <a:cubicBezTo>
                    <a:pt x="763877" y="62796"/>
                    <a:pt x="761158" y="60022"/>
                    <a:pt x="751741" y="57916"/>
                  </a:cubicBezTo>
                  <a:cubicBezTo>
                    <a:pt x="730025" y="53036"/>
                    <a:pt x="688380" y="48324"/>
                    <a:pt x="664311" y="54941"/>
                  </a:cubicBezTo>
                  <a:cubicBezTo>
                    <a:pt x="654772" y="57549"/>
                    <a:pt x="652134" y="63030"/>
                    <a:pt x="653838" y="68545"/>
                  </a:cubicBezTo>
                  <a:cubicBezTo>
                    <a:pt x="656111" y="75764"/>
                    <a:pt x="648521" y="71887"/>
                    <a:pt x="642189" y="74762"/>
                  </a:cubicBezTo>
                  <a:cubicBezTo>
                    <a:pt x="634842" y="78104"/>
                    <a:pt x="637237" y="89769"/>
                    <a:pt x="625019" y="89535"/>
                  </a:cubicBezTo>
                  <a:cubicBezTo>
                    <a:pt x="613735" y="89368"/>
                    <a:pt x="633137" y="75497"/>
                    <a:pt x="634924" y="72823"/>
                  </a:cubicBezTo>
                  <a:cubicBezTo>
                    <a:pt x="647628" y="54875"/>
                    <a:pt x="630865" y="53838"/>
                    <a:pt x="606511" y="57348"/>
                  </a:cubicBezTo>
                  <a:cubicBezTo>
                    <a:pt x="597905" y="58585"/>
                    <a:pt x="585201" y="60523"/>
                    <a:pt x="579478" y="65804"/>
                  </a:cubicBezTo>
                  <a:cubicBezTo>
                    <a:pt x="576474" y="68545"/>
                    <a:pt x="578179" y="79174"/>
                    <a:pt x="573389" y="80043"/>
                  </a:cubicBezTo>
                  <a:cubicBezTo>
                    <a:pt x="562065" y="81747"/>
                    <a:pt x="560035" y="73358"/>
                    <a:pt x="565474" y="68445"/>
                  </a:cubicBezTo>
                  <a:cubicBezTo>
                    <a:pt x="572659" y="61760"/>
                    <a:pt x="581264" y="61459"/>
                    <a:pt x="586581" y="52568"/>
                  </a:cubicBezTo>
                  <a:cubicBezTo>
                    <a:pt x="589909" y="46953"/>
                    <a:pt x="598961" y="34854"/>
                    <a:pt x="589463" y="31211"/>
                  </a:cubicBezTo>
                  <a:cubicBezTo>
                    <a:pt x="579965" y="27567"/>
                    <a:pt x="566327" y="28570"/>
                    <a:pt x="558980" y="22220"/>
                  </a:cubicBezTo>
                  <a:cubicBezTo>
                    <a:pt x="552973" y="17072"/>
                    <a:pt x="549928" y="10655"/>
                    <a:pt x="545058" y="5040"/>
                  </a:cubicBezTo>
                  <a:cubicBezTo>
                    <a:pt x="538238" y="-2881"/>
                    <a:pt x="534748" y="-1845"/>
                    <a:pt x="527198" y="6778"/>
                  </a:cubicBezTo>
                  <a:cubicBezTo>
                    <a:pt x="520257" y="14666"/>
                    <a:pt x="512667" y="23490"/>
                    <a:pt x="510962" y="32280"/>
                  </a:cubicBezTo>
                  <a:cubicBezTo>
                    <a:pt x="509257" y="41071"/>
                    <a:pt x="500734" y="40837"/>
                    <a:pt x="489937" y="44346"/>
                  </a:cubicBezTo>
                  <a:cubicBezTo>
                    <a:pt x="479140" y="47856"/>
                    <a:pt x="469642" y="53237"/>
                    <a:pt x="458885" y="49226"/>
                  </a:cubicBezTo>
                  <a:cubicBezTo>
                    <a:pt x="449104" y="45616"/>
                    <a:pt x="441838" y="49961"/>
                    <a:pt x="430960" y="53237"/>
                  </a:cubicBezTo>
                  <a:cubicBezTo>
                    <a:pt x="416875" y="57482"/>
                    <a:pt x="422842" y="57716"/>
                    <a:pt x="419635" y="65470"/>
                  </a:cubicBezTo>
                  <a:cubicBezTo>
                    <a:pt x="416510" y="72623"/>
                    <a:pt x="395281" y="69882"/>
                    <a:pt x="387691" y="73224"/>
                  </a:cubicBezTo>
                  <a:cubicBezTo>
                    <a:pt x="374256" y="79006"/>
                    <a:pt x="363905" y="91540"/>
                    <a:pt x="348076" y="95050"/>
                  </a:cubicBezTo>
                  <a:cubicBezTo>
                    <a:pt x="324371" y="100331"/>
                    <a:pt x="298394" y="81981"/>
                    <a:pt x="306065" y="67141"/>
                  </a:cubicBezTo>
                  <a:cubicBezTo>
                    <a:pt x="308866" y="61827"/>
                    <a:pt x="313452" y="56145"/>
                    <a:pt x="304157" y="53070"/>
                  </a:cubicBezTo>
                  <a:cubicBezTo>
                    <a:pt x="294862" y="49995"/>
                    <a:pt x="296039" y="48190"/>
                    <a:pt x="289748" y="43043"/>
                  </a:cubicBezTo>
                  <a:cubicBezTo>
                    <a:pt x="282645" y="36926"/>
                    <a:pt x="274770" y="46987"/>
                    <a:pt x="273228" y="50964"/>
                  </a:cubicBezTo>
                  <a:cubicBezTo>
                    <a:pt x="270833" y="57081"/>
                    <a:pt x="255003" y="65035"/>
                    <a:pt x="247332" y="69046"/>
                  </a:cubicBezTo>
                  <a:cubicBezTo>
                    <a:pt x="239660" y="73057"/>
                    <a:pt x="225494" y="73425"/>
                    <a:pt x="222450" y="80577"/>
                  </a:cubicBezTo>
                  <a:cubicBezTo>
                    <a:pt x="217904" y="91306"/>
                    <a:pt x="221922" y="86426"/>
                    <a:pt x="208934" y="84956"/>
                  </a:cubicBezTo>
                  <a:cubicBezTo>
                    <a:pt x="202196" y="84187"/>
                    <a:pt x="190425" y="87095"/>
                    <a:pt x="182997" y="87529"/>
                  </a:cubicBezTo>
                  <a:cubicBezTo>
                    <a:pt x="179385" y="87529"/>
                    <a:pt x="158643" y="94014"/>
                    <a:pt x="168750" y="94615"/>
                  </a:cubicBezTo>
                  <a:cubicBezTo>
                    <a:pt x="179993" y="95284"/>
                    <a:pt x="194809" y="117577"/>
                    <a:pt x="203535" y="113266"/>
                  </a:cubicBezTo>
                  <a:cubicBezTo>
                    <a:pt x="208771" y="110692"/>
                    <a:pt x="221679" y="108586"/>
                    <a:pt x="213805" y="115572"/>
                  </a:cubicBezTo>
                  <a:cubicBezTo>
                    <a:pt x="210151" y="118914"/>
                    <a:pt x="204144" y="119850"/>
                    <a:pt x="200938" y="123527"/>
                  </a:cubicBezTo>
                  <a:cubicBezTo>
                    <a:pt x="196879" y="127972"/>
                    <a:pt x="200288" y="132852"/>
                    <a:pt x="192211" y="135793"/>
                  </a:cubicBezTo>
                  <a:cubicBezTo>
                    <a:pt x="184133" y="138734"/>
                    <a:pt x="182023" y="141843"/>
                    <a:pt x="176949" y="146689"/>
                  </a:cubicBezTo>
                  <a:cubicBezTo>
                    <a:pt x="169683" y="153675"/>
                    <a:pt x="167613" y="149296"/>
                    <a:pt x="158968" y="153374"/>
                  </a:cubicBezTo>
                  <a:cubicBezTo>
                    <a:pt x="146791" y="159089"/>
                    <a:pt x="143584" y="162265"/>
                    <a:pt x="130190" y="157184"/>
                  </a:cubicBezTo>
                  <a:cubicBezTo>
                    <a:pt x="124669" y="155112"/>
                    <a:pt x="120002" y="152338"/>
                    <a:pt x="114400" y="150299"/>
                  </a:cubicBezTo>
                  <a:cubicBezTo>
                    <a:pt x="105024" y="146957"/>
                    <a:pt x="106282" y="148895"/>
                    <a:pt x="98164" y="153374"/>
                  </a:cubicBezTo>
                  <a:cubicBezTo>
                    <a:pt x="87733" y="158535"/>
                    <a:pt x="76530" y="162559"/>
                    <a:pt x="64840" y="165340"/>
                  </a:cubicBezTo>
                  <a:cubicBezTo>
                    <a:pt x="61147" y="166376"/>
                    <a:pt x="43287" y="170520"/>
                    <a:pt x="43043" y="174097"/>
                  </a:cubicBezTo>
                  <a:cubicBezTo>
                    <a:pt x="42394" y="182920"/>
                    <a:pt x="55220" y="178943"/>
                    <a:pt x="62851" y="180380"/>
                  </a:cubicBezTo>
                  <a:cubicBezTo>
                    <a:pt x="73567" y="182486"/>
                    <a:pt x="49335" y="191677"/>
                    <a:pt x="47792" y="193315"/>
                  </a:cubicBezTo>
                  <a:cubicBezTo>
                    <a:pt x="39674" y="201571"/>
                    <a:pt x="59401" y="208222"/>
                    <a:pt x="66017" y="210996"/>
                  </a:cubicBezTo>
                  <a:cubicBezTo>
                    <a:pt x="81482" y="217480"/>
                    <a:pt x="77423" y="234794"/>
                    <a:pt x="81239" y="246291"/>
                  </a:cubicBezTo>
                  <a:cubicBezTo>
                    <a:pt x="83759" y="252408"/>
                    <a:pt x="84348" y="258959"/>
                    <a:pt x="82943" y="265309"/>
                  </a:cubicBezTo>
                  <a:cubicBezTo>
                    <a:pt x="81969" y="268418"/>
                    <a:pt x="79737" y="269788"/>
                    <a:pt x="74825" y="270557"/>
                  </a:cubicBezTo>
                  <a:cubicBezTo>
                    <a:pt x="63095" y="272362"/>
                    <a:pt x="61918" y="275403"/>
                    <a:pt x="52988" y="280584"/>
                  </a:cubicBezTo>
                  <a:cubicBezTo>
                    <a:pt x="47346" y="283926"/>
                    <a:pt x="40446" y="285865"/>
                    <a:pt x="34844" y="289274"/>
                  </a:cubicBezTo>
                  <a:cubicBezTo>
                    <a:pt x="29243" y="292683"/>
                    <a:pt x="24819" y="297663"/>
                    <a:pt x="18608" y="301273"/>
                  </a:cubicBezTo>
                  <a:cubicBezTo>
                    <a:pt x="8258" y="307122"/>
                    <a:pt x="10490" y="313774"/>
                    <a:pt x="8096" y="321327"/>
                  </a:cubicBezTo>
                  <a:cubicBezTo>
                    <a:pt x="6675" y="325572"/>
                    <a:pt x="11099" y="327243"/>
                    <a:pt x="10653" y="330953"/>
                  </a:cubicBezTo>
                  <a:cubicBezTo>
                    <a:pt x="10369" y="333761"/>
                    <a:pt x="3428" y="337438"/>
                    <a:pt x="1480" y="339978"/>
                  </a:cubicBezTo>
                  <a:cubicBezTo>
                    <a:pt x="-3188" y="346027"/>
                    <a:pt x="3671" y="357492"/>
                    <a:pt x="9922" y="360433"/>
                  </a:cubicBezTo>
                  <a:cubicBezTo>
                    <a:pt x="15321" y="362973"/>
                    <a:pt x="21287" y="365046"/>
                    <a:pt x="26605" y="367653"/>
                  </a:cubicBezTo>
                  <a:cubicBezTo>
                    <a:pt x="31922" y="370259"/>
                    <a:pt x="30948" y="373635"/>
                    <a:pt x="34723" y="376175"/>
                  </a:cubicBezTo>
                  <a:cubicBezTo>
                    <a:pt x="41055" y="380420"/>
                    <a:pt x="49700" y="371998"/>
                    <a:pt x="54774" y="377312"/>
                  </a:cubicBezTo>
                  <a:cubicBezTo>
                    <a:pt x="60822" y="383595"/>
                    <a:pt x="70360" y="379117"/>
                    <a:pt x="80548" y="376242"/>
                  </a:cubicBezTo>
                  <a:cubicBezTo>
                    <a:pt x="84851" y="375039"/>
                    <a:pt x="91873" y="373134"/>
                    <a:pt x="92725" y="369558"/>
                  </a:cubicBezTo>
                  <a:cubicBezTo>
                    <a:pt x="93091" y="367953"/>
                    <a:pt x="96784" y="360232"/>
                    <a:pt x="101493" y="362338"/>
                  </a:cubicBezTo>
                  <a:cubicBezTo>
                    <a:pt x="105227" y="364076"/>
                    <a:pt x="110098" y="388877"/>
                    <a:pt x="118946" y="383696"/>
                  </a:cubicBezTo>
                  <a:cubicBezTo>
                    <a:pt x="127592" y="379184"/>
                    <a:pt x="137256" y="376142"/>
                    <a:pt x="147359" y="374738"/>
                  </a:cubicBezTo>
                  <a:cubicBezTo>
                    <a:pt x="163595" y="372232"/>
                    <a:pt x="165706" y="369357"/>
                    <a:pt x="176543" y="361101"/>
                  </a:cubicBezTo>
                  <a:cubicBezTo>
                    <a:pt x="194565" y="347398"/>
                    <a:pt x="211897" y="335867"/>
                    <a:pt x="235642" y="327310"/>
                  </a:cubicBezTo>
                  <a:cubicBezTo>
                    <a:pt x="244977" y="323968"/>
                    <a:pt x="243760" y="327310"/>
                    <a:pt x="244815" y="331956"/>
                  </a:cubicBezTo>
                  <a:cubicBezTo>
                    <a:pt x="246414" y="339543"/>
                    <a:pt x="250774" y="346529"/>
                    <a:pt x="257317" y="352010"/>
                  </a:cubicBezTo>
                  <a:cubicBezTo>
                    <a:pt x="264619" y="357024"/>
                    <a:pt x="273423" y="360299"/>
                    <a:pt x="282807" y="361536"/>
                  </a:cubicBezTo>
                  <a:cubicBezTo>
                    <a:pt x="293239" y="363207"/>
                    <a:pt x="300383" y="357592"/>
                    <a:pt x="310165" y="357826"/>
                  </a:cubicBezTo>
                  <a:cubicBezTo>
                    <a:pt x="314224" y="357826"/>
                    <a:pt x="323843" y="355553"/>
                    <a:pt x="326157" y="357492"/>
                  </a:cubicBezTo>
                  <a:cubicBezTo>
                    <a:pt x="331799" y="362271"/>
                    <a:pt x="338334" y="357960"/>
                    <a:pt x="347182" y="357492"/>
                  </a:cubicBezTo>
                  <a:cubicBezTo>
                    <a:pt x="354935" y="357024"/>
                    <a:pt x="355300" y="362472"/>
                    <a:pt x="361632" y="361937"/>
                  </a:cubicBezTo>
                  <a:cubicBezTo>
                    <a:pt x="369020" y="361269"/>
                    <a:pt x="379776" y="355252"/>
                    <a:pt x="386757" y="356857"/>
                  </a:cubicBezTo>
                  <a:cubicBezTo>
                    <a:pt x="397961" y="359430"/>
                    <a:pt x="396743" y="362071"/>
                    <a:pt x="402263" y="367987"/>
                  </a:cubicBezTo>
                  <a:cubicBezTo>
                    <a:pt x="404374" y="370226"/>
                    <a:pt x="408067" y="371329"/>
                    <a:pt x="410381" y="373268"/>
                  </a:cubicBezTo>
                  <a:cubicBezTo>
                    <a:pt x="412695" y="375206"/>
                    <a:pt x="407742" y="376811"/>
                    <a:pt x="407499" y="379251"/>
                  </a:cubicBezTo>
                  <a:cubicBezTo>
                    <a:pt x="407174" y="382225"/>
                    <a:pt x="416834" y="389578"/>
                    <a:pt x="419676" y="391684"/>
                  </a:cubicBezTo>
                  <a:cubicBezTo>
                    <a:pt x="424709" y="395628"/>
                    <a:pt x="435100" y="393823"/>
                    <a:pt x="442203" y="392185"/>
                  </a:cubicBezTo>
                  <a:cubicBezTo>
                    <a:pt x="449306" y="390548"/>
                    <a:pt x="460428" y="385501"/>
                    <a:pt x="467653" y="387406"/>
                  </a:cubicBezTo>
                  <a:cubicBezTo>
                    <a:pt x="474878" y="389311"/>
                    <a:pt x="474106" y="397232"/>
                    <a:pt x="482387" y="399840"/>
                  </a:cubicBezTo>
                  <a:cubicBezTo>
                    <a:pt x="491966" y="402814"/>
                    <a:pt x="497324" y="406524"/>
                    <a:pt x="497689" y="414245"/>
                  </a:cubicBezTo>
                  <a:cubicBezTo>
                    <a:pt x="498055" y="421966"/>
                    <a:pt x="504143" y="433530"/>
                    <a:pt x="495497" y="440382"/>
                  </a:cubicBezTo>
                  <a:cubicBezTo>
                    <a:pt x="505401" y="444694"/>
                    <a:pt x="499556" y="444627"/>
                    <a:pt x="498623" y="450410"/>
                  </a:cubicBezTo>
                  <a:cubicBezTo>
                    <a:pt x="497973" y="454654"/>
                    <a:pt x="509298" y="459568"/>
                    <a:pt x="510800" y="463779"/>
                  </a:cubicBezTo>
                  <a:cubicBezTo>
                    <a:pt x="512302" y="467990"/>
                    <a:pt x="509339" y="475444"/>
                    <a:pt x="514006" y="478652"/>
                  </a:cubicBezTo>
                  <a:cubicBezTo>
                    <a:pt x="518674" y="481861"/>
                    <a:pt x="535276" y="476313"/>
                    <a:pt x="541851" y="475978"/>
                  </a:cubicBezTo>
                  <a:cubicBezTo>
                    <a:pt x="547290" y="475678"/>
                    <a:pt x="549969" y="473338"/>
                    <a:pt x="554434" y="472904"/>
                  </a:cubicBezTo>
                  <a:cubicBezTo>
                    <a:pt x="562552" y="472135"/>
                    <a:pt x="570670" y="479588"/>
                    <a:pt x="574120" y="483399"/>
                  </a:cubicBezTo>
                  <a:cubicBezTo>
                    <a:pt x="578219" y="488312"/>
                    <a:pt x="583009" y="492790"/>
                    <a:pt x="588407" y="496768"/>
                  </a:cubicBezTo>
                  <a:cubicBezTo>
                    <a:pt x="594740" y="501213"/>
                    <a:pt x="599651" y="492857"/>
                    <a:pt x="606998" y="491086"/>
                  </a:cubicBezTo>
                  <a:cubicBezTo>
                    <a:pt x="624898" y="486841"/>
                    <a:pt x="618647" y="514282"/>
                    <a:pt x="620636" y="520532"/>
                  </a:cubicBezTo>
                  <a:cubicBezTo>
                    <a:pt x="638739" y="515752"/>
                    <a:pt x="641458" y="518326"/>
                    <a:pt x="646816" y="529389"/>
                  </a:cubicBezTo>
                  <a:cubicBezTo>
                    <a:pt x="651809" y="539650"/>
                    <a:pt x="651159" y="543093"/>
                    <a:pt x="637643" y="551014"/>
                  </a:cubicBezTo>
                  <a:cubicBezTo>
                    <a:pt x="605739" y="569798"/>
                    <a:pt x="594577" y="597506"/>
                    <a:pt x="577205" y="622140"/>
                  </a:cubicBezTo>
                  <a:cubicBezTo>
                    <a:pt x="582563" y="621337"/>
                    <a:pt x="586013" y="618396"/>
                    <a:pt x="591208" y="617527"/>
                  </a:cubicBezTo>
                  <a:cubicBezTo>
                    <a:pt x="601153" y="615889"/>
                    <a:pt x="610448" y="620870"/>
                    <a:pt x="616049" y="625415"/>
                  </a:cubicBezTo>
                  <a:cubicBezTo>
                    <a:pt x="617876" y="626852"/>
                    <a:pt x="621082" y="630963"/>
                    <a:pt x="623842" y="627220"/>
                  </a:cubicBezTo>
                  <a:cubicBezTo>
                    <a:pt x="628956" y="620268"/>
                    <a:pt x="630702" y="621805"/>
                    <a:pt x="639226" y="624613"/>
                  </a:cubicBezTo>
                  <a:cubicBezTo>
                    <a:pt x="651403" y="628557"/>
                    <a:pt x="665812" y="629593"/>
                    <a:pt x="678476" y="632635"/>
                  </a:cubicBezTo>
                  <a:cubicBezTo>
                    <a:pt x="694712" y="636612"/>
                    <a:pt x="688542" y="655229"/>
                    <a:pt x="699258" y="663585"/>
                  </a:cubicBezTo>
                  <a:cubicBezTo>
                    <a:pt x="701531" y="659841"/>
                    <a:pt x="704453" y="656399"/>
                    <a:pt x="707904" y="653357"/>
                  </a:cubicBezTo>
                  <a:cubicBezTo>
                    <a:pt x="720243" y="642194"/>
                    <a:pt x="703764" y="656366"/>
                    <a:pt x="707701" y="65295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D26B55BB-FEBA-4021-9565-B4CECC8C67AF}"/>
                </a:ext>
              </a:extLst>
            </p:cNvPr>
            <p:cNvSpPr/>
            <p:nvPr/>
          </p:nvSpPr>
          <p:spPr>
            <a:xfrm>
              <a:off x="4392187" y="5593834"/>
              <a:ext cx="127184" cy="84766"/>
            </a:xfrm>
            <a:custGeom>
              <a:avLst/>
              <a:gdLst>
                <a:gd name="connsiteX0" fmla="*/ 115800 w 127184"/>
                <a:gd name="connsiteY0" fmla="*/ 20815 h 84766"/>
                <a:gd name="connsiteX1" fmla="*/ 77483 w 127184"/>
                <a:gd name="connsiteY1" fmla="*/ 8615 h 84766"/>
                <a:gd name="connsiteX2" fmla="*/ 55240 w 127184"/>
                <a:gd name="connsiteY2" fmla="*/ 4070 h 84766"/>
                <a:gd name="connsiteX3" fmla="*/ 43753 w 127184"/>
                <a:gd name="connsiteY3" fmla="*/ 6944 h 84766"/>
                <a:gd name="connsiteX4" fmla="*/ 728 w 127184"/>
                <a:gd name="connsiteY4" fmla="*/ 11623 h 84766"/>
                <a:gd name="connsiteX5" fmla="*/ 4787 w 127184"/>
                <a:gd name="connsiteY5" fmla="*/ 53236 h 84766"/>
                <a:gd name="connsiteX6" fmla="*/ 13839 w 127184"/>
                <a:gd name="connsiteY6" fmla="*/ 75496 h 84766"/>
                <a:gd name="connsiteX7" fmla="*/ 22484 w 127184"/>
                <a:gd name="connsiteY7" fmla="*/ 84420 h 84766"/>
                <a:gd name="connsiteX8" fmla="*/ 59583 w 127184"/>
                <a:gd name="connsiteY8" fmla="*/ 81479 h 84766"/>
                <a:gd name="connsiteX9" fmla="*/ 78214 w 127184"/>
                <a:gd name="connsiteY9" fmla="*/ 76933 h 84766"/>
                <a:gd name="connsiteX10" fmla="*/ 113243 w 127184"/>
                <a:gd name="connsiteY10" fmla="*/ 64967 h 84766"/>
                <a:gd name="connsiteX11" fmla="*/ 127125 w 127184"/>
                <a:gd name="connsiteY11" fmla="*/ 45114 h 84766"/>
                <a:gd name="connsiteX12" fmla="*/ 115963 w 127184"/>
                <a:gd name="connsiteY12" fmla="*/ 20815 h 84766"/>
                <a:gd name="connsiteX13" fmla="*/ 115800 w 127184"/>
                <a:gd name="connsiteY13" fmla="*/ 20815 h 8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184" h="84766">
                  <a:moveTo>
                    <a:pt x="115800" y="20815"/>
                  </a:moveTo>
                  <a:cubicBezTo>
                    <a:pt x="112756" y="12024"/>
                    <a:pt x="88361" y="10487"/>
                    <a:pt x="77483" y="8615"/>
                  </a:cubicBezTo>
                  <a:cubicBezTo>
                    <a:pt x="73425" y="7847"/>
                    <a:pt x="58852" y="1396"/>
                    <a:pt x="55240" y="4070"/>
                  </a:cubicBezTo>
                  <a:cubicBezTo>
                    <a:pt x="49192" y="8548"/>
                    <a:pt x="51181" y="12793"/>
                    <a:pt x="43753" y="6944"/>
                  </a:cubicBezTo>
                  <a:cubicBezTo>
                    <a:pt x="32835" y="-1980"/>
                    <a:pt x="4503" y="-5088"/>
                    <a:pt x="728" y="11623"/>
                  </a:cubicBezTo>
                  <a:cubicBezTo>
                    <a:pt x="-2397" y="25528"/>
                    <a:pt x="4787" y="39699"/>
                    <a:pt x="4787" y="53236"/>
                  </a:cubicBezTo>
                  <a:cubicBezTo>
                    <a:pt x="4787" y="59920"/>
                    <a:pt x="-3" y="75296"/>
                    <a:pt x="13839" y="75496"/>
                  </a:cubicBezTo>
                  <a:cubicBezTo>
                    <a:pt x="20090" y="75496"/>
                    <a:pt x="12296" y="84253"/>
                    <a:pt x="22484" y="84420"/>
                  </a:cubicBezTo>
                  <a:cubicBezTo>
                    <a:pt x="34337" y="84620"/>
                    <a:pt x="46838" y="80744"/>
                    <a:pt x="59583" y="81479"/>
                  </a:cubicBezTo>
                  <a:cubicBezTo>
                    <a:pt x="68270" y="81980"/>
                    <a:pt x="70218" y="78136"/>
                    <a:pt x="78214" y="76933"/>
                  </a:cubicBezTo>
                  <a:cubicBezTo>
                    <a:pt x="91040" y="75128"/>
                    <a:pt x="103745" y="72220"/>
                    <a:pt x="113243" y="64967"/>
                  </a:cubicBezTo>
                  <a:cubicBezTo>
                    <a:pt x="120590" y="59352"/>
                    <a:pt x="122944" y="51799"/>
                    <a:pt x="127125" y="45114"/>
                  </a:cubicBezTo>
                  <a:cubicBezTo>
                    <a:pt x="118520" y="38429"/>
                    <a:pt x="119007" y="29305"/>
                    <a:pt x="115963" y="20815"/>
                  </a:cubicBezTo>
                  <a:cubicBezTo>
                    <a:pt x="113121" y="12927"/>
                    <a:pt x="117708" y="26196"/>
                    <a:pt x="115800" y="2081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74937A58-0A6E-4335-8AE9-9AB43E27C0C6}"/>
                </a:ext>
              </a:extLst>
            </p:cNvPr>
            <p:cNvSpPr/>
            <p:nvPr/>
          </p:nvSpPr>
          <p:spPr>
            <a:xfrm>
              <a:off x="4084186" y="5488078"/>
              <a:ext cx="385303" cy="674234"/>
            </a:xfrm>
            <a:custGeom>
              <a:avLst/>
              <a:gdLst>
                <a:gd name="connsiteX0" fmla="*/ 305767 w 385303"/>
                <a:gd name="connsiteY0" fmla="*/ 647979 h 674234"/>
                <a:gd name="connsiteX1" fmla="*/ 254056 w 385303"/>
                <a:gd name="connsiteY1" fmla="*/ 639222 h 674234"/>
                <a:gd name="connsiteX2" fmla="*/ 244598 w 385303"/>
                <a:gd name="connsiteY2" fmla="*/ 633673 h 674234"/>
                <a:gd name="connsiteX3" fmla="*/ 235181 w 385303"/>
                <a:gd name="connsiteY3" fmla="*/ 634709 h 674234"/>
                <a:gd name="connsiteX4" fmla="*/ 227834 w 385303"/>
                <a:gd name="connsiteY4" fmla="*/ 621039 h 674234"/>
                <a:gd name="connsiteX5" fmla="*/ 251011 w 385303"/>
                <a:gd name="connsiteY5" fmla="*/ 673882 h 674234"/>
                <a:gd name="connsiteX6" fmla="*/ 272037 w 385303"/>
                <a:gd name="connsiteY6" fmla="*/ 667197 h 674234"/>
                <a:gd name="connsiteX7" fmla="*/ 294970 w 385303"/>
                <a:gd name="connsiteY7" fmla="*/ 664122 h 674234"/>
                <a:gd name="connsiteX8" fmla="*/ 304062 w 385303"/>
                <a:gd name="connsiteY8" fmla="*/ 657437 h 674234"/>
                <a:gd name="connsiteX9" fmla="*/ 318472 w 385303"/>
                <a:gd name="connsiteY9" fmla="*/ 651488 h 674234"/>
                <a:gd name="connsiteX10" fmla="*/ 305767 w 385303"/>
                <a:gd name="connsiteY10" fmla="*/ 647979 h 674234"/>
                <a:gd name="connsiteX11" fmla="*/ 372943 w 385303"/>
                <a:gd name="connsiteY11" fmla="*/ 4508 h 674234"/>
                <a:gd name="connsiteX12" fmla="*/ 356342 w 385303"/>
                <a:gd name="connsiteY12" fmla="*/ 7850 h 674234"/>
                <a:gd name="connsiteX13" fmla="*/ 348833 w 385303"/>
                <a:gd name="connsiteY13" fmla="*/ 38199 h 674234"/>
                <a:gd name="connsiteX14" fmla="*/ 339335 w 385303"/>
                <a:gd name="connsiteY14" fmla="*/ 46454 h 674234"/>
                <a:gd name="connsiteX15" fmla="*/ 328416 w 385303"/>
                <a:gd name="connsiteY15" fmla="*/ 51067 h 674234"/>
                <a:gd name="connsiteX16" fmla="*/ 291235 w 385303"/>
                <a:gd name="connsiteY16" fmla="*/ 60258 h 674234"/>
                <a:gd name="connsiteX17" fmla="*/ 266882 w 385303"/>
                <a:gd name="connsiteY17" fmla="*/ 62631 h 674234"/>
                <a:gd name="connsiteX18" fmla="*/ 270941 w 385303"/>
                <a:gd name="connsiteY18" fmla="*/ 49797 h 674234"/>
                <a:gd name="connsiteX19" fmla="*/ 270941 w 385303"/>
                <a:gd name="connsiteY19" fmla="*/ 21553 h 674234"/>
                <a:gd name="connsiteX20" fmla="*/ 222233 w 385303"/>
                <a:gd name="connsiteY20" fmla="*/ 16908 h 674234"/>
                <a:gd name="connsiteX21" fmla="*/ 187164 w 385303"/>
                <a:gd name="connsiteY21" fmla="*/ 18011 h 674234"/>
                <a:gd name="connsiteX22" fmla="*/ 151566 w 385303"/>
                <a:gd name="connsiteY22" fmla="*/ 10290 h 674234"/>
                <a:gd name="connsiteX23" fmla="*/ 123153 w 385303"/>
                <a:gd name="connsiteY23" fmla="*/ -339 h 674234"/>
                <a:gd name="connsiteX24" fmla="*/ 97663 w 385303"/>
                <a:gd name="connsiteY24" fmla="*/ 8452 h 674234"/>
                <a:gd name="connsiteX25" fmla="*/ 90316 w 385303"/>
                <a:gd name="connsiteY25" fmla="*/ 21253 h 674234"/>
                <a:gd name="connsiteX26" fmla="*/ 78464 w 385303"/>
                <a:gd name="connsiteY26" fmla="*/ 17442 h 674234"/>
                <a:gd name="connsiteX27" fmla="*/ 55815 w 385303"/>
                <a:gd name="connsiteY27" fmla="*/ 20551 h 674234"/>
                <a:gd name="connsiteX28" fmla="*/ 33937 w 385303"/>
                <a:gd name="connsiteY28" fmla="*/ 27236 h 674234"/>
                <a:gd name="connsiteX29" fmla="*/ 19893 w 385303"/>
                <a:gd name="connsiteY29" fmla="*/ 42209 h 674234"/>
                <a:gd name="connsiteX30" fmla="*/ 23019 w 385303"/>
                <a:gd name="connsiteY30" fmla="*/ 56281 h 674234"/>
                <a:gd name="connsiteX31" fmla="*/ 4388 w 385303"/>
                <a:gd name="connsiteY31" fmla="*/ 91275 h 674234"/>
                <a:gd name="connsiteX32" fmla="*/ 10720 w 385303"/>
                <a:gd name="connsiteY32" fmla="*/ 104912 h 674234"/>
                <a:gd name="connsiteX33" fmla="*/ 13521 w 385303"/>
                <a:gd name="connsiteY33" fmla="*/ 117914 h 674234"/>
                <a:gd name="connsiteX34" fmla="*/ 11978 w 385303"/>
                <a:gd name="connsiteY34" fmla="*/ 130648 h 674234"/>
                <a:gd name="connsiteX35" fmla="*/ 6986 w 385303"/>
                <a:gd name="connsiteY35" fmla="*/ 151939 h 674234"/>
                <a:gd name="connsiteX36" fmla="*/ 2439 w 385303"/>
                <a:gd name="connsiteY36" fmla="*/ 172194 h 674234"/>
                <a:gd name="connsiteX37" fmla="*/ 6174 w 385303"/>
                <a:gd name="connsiteY37" fmla="*/ 186131 h 674234"/>
                <a:gd name="connsiteX38" fmla="*/ 532 w 385303"/>
                <a:gd name="connsiteY38" fmla="*/ 215444 h 674234"/>
                <a:gd name="connsiteX39" fmla="*/ 15997 w 385303"/>
                <a:gd name="connsiteY39" fmla="*/ 232390 h 674234"/>
                <a:gd name="connsiteX40" fmla="*/ 33653 w 385303"/>
                <a:gd name="connsiteY40" fmla="*/ 249503 h 674234"/>
                <a:gd name="connsiteX41" fmla="*/ 36576 w 385303"/>
                <a:gd name="connsiteY41" fmla="*/ 270559 h 674234"/>
                <a:gd name="connsiteX42" fmla="*/ 33978 w 385303"/>
                <a:gd name="connsiteY42" fmla="*/ 287839 h 674234"/>
                <a:gd name="connsiteX43" fmla="*/ 37468 w 385303"/>
                <a:gd name="connsiteY43" fmla="*/ 310266 h 674234"/>
                <a:gd name="connsiteX44" fmla="*/ 43395 w 385303"/>
                <a:gd name="connsiteY44" fmla="*/ 346498 h 674234"/>
                <a:gd name="connsiteX45" fmla="*/ 53055 w 385303"/>
                <a:gd name="connsiteY45" fmla="*/ 353951 h 674234"/>
                <a:gd name="connsiteX46" fmla="*/ 43151 w 385303"/>
                <a:gd name="connsiteY46" fmla="*/ 362508 h 674234"/>
                <a:gd name="connsiteX47" fmla="*/ 47900 w 385303"/>
                <a:gd name="connsiteY47" fmla="*/ 375041 h 674234"/>
                <a:gd name="connsiteX48" fmla="*/ 43232 w 385303"/>
                <a:gd name="connsiteY48" fmla="*/ 380757 h 674234"/>
                <a:gd name="connsiteX49" fmla="*/ 46033 w 385303"/>
                <a:gd name="connsiteY49" fmla="*/ 392956 h 674234"/>
                <a:gd name="connsiteX50" fmla="*/ 50539 w 385303"/>
                <a:gd name="connsiteY50" fmla="*/ 407730 h 674234"/>
                <a:gd name="connsiteX51" fmla="*/ 60077 w 385303"/>
                <a:gd name="connsiteY51" fmla="*/ 422202 h 674234"/>
                <a:gd name="connsiteX52" fmla="*/ 64380 w 385303"/>
                <a:gd name="connsiteY52" fmla="*/ 446635 h 674234"/>
                <a:gd name="connsiteX53" fmla="*/ 74040 w 385303"/>
                <a:gd name="connsiteY53" fmla="*/ 457531 h 674234"/>
                <a:gd name="connsiteX54" fmla="*/ 80818 w 385303"/>
                <a:gd name="connsiteY54" fmla="*/ 471168 h 674234"/>
                <a:gd name="connsiteX55" fmla="*/ 97257 w 385303"/>
                <a:gd name="connsiteY55" fmla="*/ 470633 h 674234"/>
                <a:gd name="connsiteX56" fmla="*/ 85080 w 385303"/>
                <a:gd name="connsiteY56" fmla="*/ 480660 h 674234"/>
                <a:gd name="connsiteX57" fmla="*/ 96364 w 385303"/>
                <a:gd name="connsiteY57" fmla="*/ 491423 h 674234"/>
                <a:gd name="connsiteX58" fmla="*/ 99977 w 385303"/>
                <a:gd name="connsiteY58" fmla="*/ 508368 h 674234"/>
                <a:gd name="connsiteX59" fmla="*/ 105497 w 385303"/>
                <a:gd name="connsiteY59" fmla="*/ 515554 h 674234"/>
                <a:gd name="connsiteX60" fmla="*/ 102493 w 385303"/>
                <a:gd name="connsiteY60" fmla="*/ 521704 h 674234"/>
                <a:gd name="connsiteX61" fmla="*/ 98434 w 385303"/>
                <a:gd name="connsiteY61" fmla="*/ 538416 h 674234"/>
                <a:gd name="connsiteX62" fmla="*/ 103752 w 385303"/>
                <a:gd name="connsiteY62" fmla="*/ 552053 h 674234"/>
                <a:gd name="connsiteX63" fmla="*/ 102290 w 385303"/>
                <a:gd name="connsiteY63" fmla="*/ 568765 h 674234"/>
                <a:gd name="connsiteX64" fmla="*/ 92549 w 385303"/>
                <a:gd name="connsiteY64" fmla="*/ 584808 h 674234"/>
                <a:gd name="connsiteX65" fmla="*/ 94172 w 385303"/>
                <a:gd name="connsiteY65" fmla="*/ 594033 h 674234"/>
                <a:gd name="connsiteX66" fmla="*/ 105253 w 385303"/>
                <a:gd name="connsiteY66" fmla="*/ 605063 h 674234"/>
                <a:gd name="connsiteX67" fmla="*/ 122504 w 385303"/>
                <a:gd name="connsiteY67" fmla="*/ 605564 h 674234"/>
                <a:gd name="connsiteX68" fmla="*/ 132814 w 385303"/>
                <a:gd name="connsiteY68" fmla="*/ 613753 h 674234"/>
                <a:gd name="connsiteX69" fmla="*/ 164433 w 385303"/>
                <a:gd name="connsiteY69" fmla="*/ 624582 h 674234"/>
                <a:gd name="connsiteX70" fmla="*/ 218864 w 385303"/>
                <a:gd name="connsiteY70" fmla="*/ 615457 h 674234"/>
                <a:gd name="connsiteX71" fmla="*/ 224060 w 385303"/>
                <a:gd name="connsiteY71" fmla="*/ 609341 h 674234"/>
                <a:gd name="connsiteX72" fmla="*/ 205185 w 385303"/>
                <a:gd name="connsiteY72" fmla="*/ 594534 h 674234"/>
                <a:gd name="connsiteX73" fmla="*/ 200517 w 385303"/>
                <a:gd name="connsiteY73" fmla="*/ 574480 h 674234"/>
                <a:gd name="connsiteX74" fmla="*/ 206809 w 385303"/>
                <a:gd name="connsiteY74" fmla="*/ 565623 h 674234"/>
                <a:gd name="connsiteX75" fmla="*/ 214562 w 385303"/>
                <a:gd name="connsiteY75" fmla="*/ 562280 h 674234"/>
                <a:gd name="connsiteX76" fmla="*/ 217322 w 385303"/>
                <a:gd name="connsiteY76" fmla="*/ 541491 h 674234"/>
                <a:gd name="connsiteX77" fmla="*/ 237048 w 385303"/>
                <a:gd name="connsiteY77" fmla="*/ 515722 h 674234"/>
                <a:gd name="connsiteX78" fmla="*/ 244598 w 385303"/>
                <a:gd name="connsiteY78" fmla="*/ 501784 h 674234"/>
                <a:gd name="connsiteX79" fmla="*/ 241879 w 385303"/>
                <a:gd name="connsiteY79" fmla="*/ 485673 h 674234"/>
                <a:gd name="connsiteX80" fmla="*/ 219148 w 385303"/>
                <a:gd name="connsiteY80" fmla="*/ 488782 h 674234"/>
                <a:gd name="connsiteX81" fmla="*/ 195728 w 385303"/>
                <a:gd name="connsiteY81" fmla="*/ 480092 h 674234"/>
                <a:gd name="connsiteX82" fmla="*/ 219473 w 385303"/>
                <a:gd name="connsiteY82" fmla="*/ 444663 h 674234"/>
                <a:gd name="connsiteX83" fmla="*/ 225927 w 385303"/>
                <a:gd name="connsiteY83" fmla="*/ 432831 h 674234"/>
                <a:gd name="connsiteX84" fmla="*/ 224262 w 385303"/>
                <a:gd name="connsiteY84" fmla="*/ 409434 h 674234"/>
                <a:gd name="connsiteX85" fmla="*/ 236724 w 385303"/>
                <a:gd name="connsiteY85" fmla="*/ 394327 h 674234"/>
                <a:gd name="connsiteX86" fmla="*/ 231934 w 385303"/>
                <a:gd name="connsiteY86" fmla="*/ 387174 h 674234"/>
                <a:gd name="connsiteX87" fmla="*/ 250199 w 385303"/>
                <a:gd name="connsiteY87" fmla="*/ 387408 h 674234"/>
                <a:gd name="connsiteX88" fmla="*/ 242447 w 385303"/>
                <a:gd name="connsiteY88" fmla="*/ 374908 h 674234"/>
                <a:gd name="connsiteX89" fmla="*/ 225358 w 385303"/>
                <a:gd name="connsiteY89" fmla="*/ 380256 h 674234"/>
                <a:gd name="connsiteX90" fmla="*/ 213181 w 385303"/>
                <a:gd name="connsiteY90" fmla="*/ 369226 h 674234"/>
                <a:gd name="connsiteX91" fmla="*/ 207418 w 385303"/>
                <a:gd name="connsiteY91" fmla="*/ 353149 h 674234"/>
                <a:gd name="connsiteX92" fmla="*/ 240255 w 385303"/>
                <a:gd name="connsiteY92" fmla="*/ 351913 h 674234"/>
                <a:gd name="connsiteX93" fmla="*/ 267572 w 385303"/>
                <a:gd name="connsiteY93" fmla="*/ 338877 h 674234"/>
                <a:gd name="connsiteX94" fmla="*/ 264609 w 385303"/>
                <a:gd name="connsiteY94" fmla="*/ 318422 h 674234"/>
                <a:gd name="connsiteX95" fmla="*/ 257100 w 385303"/>
                <a:gd name="connsiteY95" fmla="*/ 303482 h 674234"/>
                <a:gd name="connsiteX96" fmla="*/ 278815 w 385303"/>
                <a:gd name="connsiteY96" fmla="*/ 296329 h 674234"/>
                <a:gd name="connsiteX97" fmla="*/ 356626 w 385303"/>
                <a:gd name="connsiteY97" fmla="*/ 262337 h 674234"/>
                <a:gd name="connsiteX98" fmla="*/ 364744 w 385303"/>
                <a:gd name="connsiteY98" fmla="*/ 248567 h 674234"/>
                <a:gd name="connsiteX99" fmla="*/ 376921 w 385303"/>
                <a:gd name="connsiteY99" fmla="*/ 226808 h 674234"/>
                <a:gd name="connsiteX100" fmla="*/ 358168 w 385303"/>
                <a:gd name="connsiteY100" fmla="*/ 218419 h 674234"/>
                <a:gd name="connsiteX101" fmla="*/ 352323 w 385303"/>
                <a:gd name="connsiteY101" fmla="*/ 199935 h 674234"/>
                <a:gd name="connsiteX102" fmla="*/ 321800 w 385303"/>
                <a:gd name="connsiteY102" fmla="*/ 199501 h 674234"/>
                <a:gd name="connsiteX103" fmla="*/ 315062 w 385303"/>
                <a:gd name="connsiteY103" fmla="*/ 194153 h 674234"/>
                <a:gd name="connsiteX104" fmla="*/ 321516 w 385303"/>
                <a:gd name="connsiteY104" fmla="*/ 188605 h 674234"/>
                <a:gd name="connsiteX105" fmla="*/ 323707 w 385303"/>
                <a:gd name="connsiteY105" fmla="*/ 188872 h 674234"/>
                <a:gd name="connsiteX106" fmla="*/ 313966 w 385303"/>
                <a:gd name="connsiteY106" fmla="*/ 177608 h 674234"/>
                <a:gd name="connsiteX107" fmla="*/ 310800 w 385303"/>
                <a:gd name="connsiteY107" fmla="*/ 150569 h 674234"/>
                <a:gd name="connsiteX108" fmla="*/ 309217 w 385303"/>
                <a:gd name="connsiteY108" fmla="*/ 123395 h 674234"/>
                <a:gd name="connsiteX109" fmla="*/ 322652 w 385303"/>
                <a:gd name="connsiteY109" fmla="*/ 96122 h 674234"/>
                <a:gd name="connsiteX110" fmla="*/ 368315 w 385303"/>
                <a:gd name="connsiteY110" fmla="*/ 41273 h 674234"/>
                <a:gd name="connsiteX111" fmla="*/ 384551 w 385303"/>
                <a:gd name="connsiteY111" fmla="*/ 22623 h 674234"/>
                <a:gd name="connsiteX112" fmla="*/ 372374 w 385303"/>
                <a:gd name="connsiteY112" fmla="*/ 4775 h 674234"/>
                <a:gd name="connsiteX113" fmla="*/ 372943 w 385303"/>
                <a:gd name="connsiteY113" fmla="*/ 4474 h 67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85303" h="674234">
                  <a:moveTo>
                    <a:pt x="305767" y="647979"/>
                  </a:moveTo>
                  <a:cubicBezTo>
                    <a:pt x="289531" y="651989"/>
                    <a:pt x="268587" y="642664"/>
                    <a:pt x="254056" y="639222"/>
                  </a:cubicBezTo>
                  <a:cubicBezTo>
                    <a:pt x="250605" y="638386"/>
                    <a:pt x="247805" y="633907"/>
                    <a:pt x="244598" y="633673"/>
                  </a:cubicBezTo>
                  <a:cubicBezTo>
                    <a:pt x="242853" y="633673"/>
                    <a:pt x="235952" y="637584"/>
                    <a:pt x="235181" y="634709"/>
                  </a:cubicBezTo>
                  <a:cubicBezTo>
                    <a:pt x="233761" y="629529"/>
                    <a:pt x="247034" y="618733"/>
                    <a:pt x="227834" y="621039"/>
                  </a:cubicBezTo>
                  <a:cubicBezTo>
                    <a:pt x="229783" y="626520"/>
                    <a:pt x="244923" y="674851"/>
                    <a:pt x="251011" y="673882"/>
                  </a:cubicBezTo>
                  <a:cubicBezTo>
                    <a:pt x="258074" y="672746"/>
                    <a:pt x="265218" y="669069"/>
                    <a:pt x="272037" y="667197"/>
                  </a:cubicBezTo>
                  <a:cubicBezTo>
                    <a:pt x="278856" y="665325"/>
                    <a:pt x="288557" y="666495"/>
                    <a:pt x="294970" y="664122"/>
                  </a:cubicBezTo>
                  <a:cubicBezTo>
                    <a:pt x="298420" y="662852"/>
                    <a:pt x="300368" y="659108"/>
                    <a:pt x="304062" y="657437"/>
                  </a:cubicBezTo>
                  <a:cubicBezTo>
                    <a:pt x="308811" y="655365"/>
                    <a:pt x="313966" y="654095"/>
                    <a:pt x="318472" y="651488"/>
                  </a:cubicBezTo>
                  <a:cubicBezTo>
                    <a:pt x="334139" y="643032"/>
                    <a:pt x="311490" y="646475"/>
                    <a:pt x="305767" y="647979"/>
                  </a:cubicBezTo>
                  <a:close/>
                  <a:moveTo>
                    <a:pt x="372943" y="4508"/>
                  </a:moveTo>
                  <a:cubicBezTo>
                    <a:pt x="368031" y="4073"/>
                    <a:pt x="360969" y="6446"/>
                    <a:pt x="356342" y="7850"/>
                  </a:cubicBezTo>
                  <a:cubicBezTo>
                    <a:pt x="359995" y="19381"/>
                    <a:pt x="362958" y="29341"/>
                    <a:pt x="348833" y="38199"/>
                  </a:cubicBezTo>
                  <a:cubicBezTo>
                    <a:pt x="344774" y="40605"/>
                    <a:pt x="343150" y="44048"/>
                    <a:pt x="339335" y="46454"/>
                  </a:cubicBezTo>
                  <a:cubicBezTo>
                    <a:pt x="335519" y="48861"/>
                    <a:pt x="331907" y="48727"/>
                    <a:pt x="328416" y="51067"/>
                  </a:cubicBezTo>
                  <a:cubicBezTo>
                    <a:pt x="322165" y="55245"/>
                    <a:pt x="299232" y="61395"/>
                    <a:pt x="291235" y="60258"/>
                  </a:cubicBezTo>
                  <a:cubicBezTo>
                    <a:pt x="287542" y="59723"/>
                    <a:pt x="268059" y="65372"/>
                    <a:pt x="266882" y="62631"/>
                  </a:cubicBezTo>
                  <a:cubicBezTo>
                    <a:pt x="265583" y="59289"/>
                    <a:pt x="272849" y="54810"/>
                    <a:pt x="270941" y="49797"/>
                  </a:cubicBezTo>
                  <a:cubicBezTo>
                    <a:pt x="266882" y="38700"/>
                    <a:pt x="296472" y="22523"/>
                    <a:pt x="270941" y="21553"/>
                  </a:cubicBezTo>
                  <a:cubicBezTo>
                    <a:pt x="252878" y="20885"/>
                    <a:pt x="238469" y="20518"/>
                    <a:pt x="222233" y="16908"/>
                  </a:cubicBezTo>
                  <a:cubicBezTo>
                    <a:pt x="210503" y="14334"/>
                    <a:pt x="198691" y="19481"/>
                    <a:pt x="187164" y="18011"/>
                  </a:cubicBezTo>
                  <a:cubicBezTo>
                    <a:pt x="175068" y="16206"/>
                    <a:pt x="163175" y="13599"/>
                    <a:pt x="151566" y="10290"/>
                  </a:cubicBezTo>
                  <a:cubicBezTo>
                    <a:pt x="141500" y="7917"/>
                    <a:pt x="131961" y="4307"/>
                    <a:pt x="123153" y="-339"/>
                  </a:cubicBezTo>
                  <a:cubicBezTo>
                    <a:pt x="116050" y="1065"/>
                    <a:pt x="99814" y="2268"/>
                    <a:pt x="97663" y="8452"/>
                  </a:cubicBezTo>
                  <a:cubicBezTo>
                    <a:pt x="96973" y="10424"/>
                    <a:pt x="95674" y="21821"/>
                    <a:pt x="90316" y="21253"/>
                  </a:cubicBezTo>
                  <a:cubicBezTo>
                    <a:pt x="85811" y="20751"/>
                    <a:pt x="83660" y="17910"/>
                    <a:pt x="78464" y="17442"/>
                  </a:cubicBezTo>
                  <a:cubicBezTo>
                    <a:pt x="70793" y="17610"/>
                    <a:pt x="63162" y="18646"/>
                    <a:pt x="55815" y="20551"/>
                  </a:cubicBezTo>
                  <a:cubicBezTo>
                    <a:pt x="44572" y="22690"/>
                    <a:pt x="40959" y="17710"/>
                    <a:pt x="33937" y="27236"/>
                  </a:cubicBezTo>
                  <a:cubicBezTo>
                    <a:pt x="29919" y="32617"/>
                    <a:pt x="25223" y="37664"/>
                    <a:pt x="19893" y="42209"/>
                  </a:cubicBezTo>
                  <a:cubicBezTo>
                    <a:pt x="21428" y="46822"/>
                    <a:pt x="22471" y="51535"/>
                    <a:pt x="23019" y="56281"/>
                  </a:cubicBezTo>
                  <a:cubicBezTo>
                    <a:pt x="24602" y="70787"/>
                    <a:pt x="-3974" y="77070"/>
                    <a:pt x="4388" y="91275"/>
                  </a:cubicBezTo>
                  <a:cubicBezTo>
                    <a:pt x="7797" y="97058"/>
                    <a:pt x="4104" y="99498"/>
                    <a:pt x="10720" y="104912"/>
                  </a:cubicBezTo>
                  <a:cubicBezTo>
                    <a:pt x="16321" y="109525"/>
                    <a:pt x="10355" y="115206"/>
                    <a:pt x="13521" y="117914"/>
                  </a:cubicBezTo>
                  <a:cubicBezTo>
                    <a:pt x="20299" y="123763"/>
                    <a:pt x="21639" y="122994"/>
                    <a:pt x="11978" y="130648"/>
                  </a:cubicBezTo>
                  <a:cubicBezTo>
                    <a:pt x="3657" y="137333"/>
                    <a:pt x="16565" y="145422"/>
                    <a:pt x="6986" y="151939"/>
                  </a:cubicBezTo>
                  <a:cubicBezTo>
                    <a:pt x="-2594" y="158457"/>
                    <a:pt x="6133" y="165576"/>
                    <a:pt x="2439" y="172194"/>
                  </a:cubicBezTo>
                  <a:cubicBezTo>
                    <a:pt x="-1863" y="179848"/>
                    <a:pt x="-605" y="178879"/>
                    <a:pt x="6174" y="186131"/>
                  </a:cubicBezTo>
                  <a:cubicBezTo>
                    <a:pt x="13602" y="194020"/>
                    <a:pt x="897" y="206185"/>
                    <a:pt x="532" y="215444"/>
                  </a:cubicBezTo>
                  <a:cubicBezTo>
                    <a:pt x="166" y="224702"/>
                    <a:pt x="8284" y="227543"/>
                    <a:pt x="15997" y="232390"/>
                  </a:cubicBezTo>
                  <a:cubicBezTo>
                    <a:pt x="23708" y="237236"/>
                    <a:pt x="26144" y="244422"/>
                    <a:pt x="33653" y="249503"/>
                  </a:cubicBezTo>
                  <a:cubicBezTo>
                    <a:pt x="38280" y="252845"/>
                    <a:pt x="41081" y="266214"/>
                    <a:pt x="36576" y="270559"/>
                  </a:cubicBezTo>
                  <a:cubicBezTo>
                    <a:pt x="34708" y="276175"/>
                    <a:pt x="33816" y="281990"/>
                    <a:pt x="33978" y="287839"/>
                  </a:cubicBezTo>
                  <a:cubicBezTo>
                    <a:pt x="38280" y="298100"/>
                    <a:pt x="48306" y="299538"/>
                    <a:pt x="37468" y="310266"/>
                  </a:cubicBezTo>
                  <a:cubicBezTo>
                    <a:pt x="23749" y="323870"/>
                    <a:pt x="42421" y="333663"/>
                    <a:pt x="43395" y="346498"/>
                  </a:cubicBezTo>
                  <a:cubicBezTo>
                    <a:pt x="43679" y="350341"/>
                    <a:pt x="52081" y="349272"/>
                    <a:pt x="53055" y="353951"/>
                  </a:cubicBezTo>
                  <a:cubicBezTo>
                    <a:pt x="54232" y="359366"/>
                    <a:pt x="46480" y="359098"/>
                    <a:pt x="43151" y="362508"/>
                  </a:cubicBezTo>
                  <a:cubicBezTo>
                    <a:pt x="39823" y="365917"/>
                    <a:pt x="48184" y="371566"/>
                    <a:pt x="47900" y="375041"/>
                  </a:cubicBezTo>
                  <a:cubicBezTo>
                    <a:pt x="47900" y="377281"/>
                    <a:pt x="43841" y="378117"/>
                    <a:pt x="43232" y="380757"/>
                  </a:cubicBezTo>
                  <a:cubicBezTo>
                    <a:pt x="42542" y="385135"/>
                    <a:pt x="46114" y="388678"/>
                    <a:pt x="46033" y="392956"/>
                  </a:cubicBezTo>
                  <a:cubicBezTo>
                    <a:pt x="45789" y="400644"/>
                    <a:pt x="42421" y="401647"/>
                    <a:pt x="50539" y="407730"/>
                  </a:cubicBezTo>
                  <a:cubicBezTo>
                    <a:pt x="55166" y="411072"/>
                    <a:pt x="57926" y="417757"/>
                    <a:pt x="60077" y="422202"/>
                  </a:cubicBezTo>
                  <a:cubicBezTo>
                    <a:pt x="62228" y="426648"/>
                    <a:pt x="51959" y="444997"/>
                    <a:pt x="64380" y="446635"/>
                  </a:cubicBezTo>
                  <a:cubicBezTo>
                    <a:pt x="73066" y="447738"/>
                    <a:pt x="67505" y="455125"/>
                    <a:pt x="74040" y="457531"/>
                  </a:cubicBezTo>
                  <a:cubicBezTo>
                    <a:pt x="83091" y="460873"/>
                    <a:pt x="72173" y="468929"/>
                    <a:pt x="80818" y="471168"/>
                  </a:cubicBezTo>
                  <a:cubicBezTo>
                    <a:pt x="86826" y="472738"/>
                    <a:pt x="92183" y="465887"/>
                    <a:pt x="97257" y="470633"/>
                  </a:cubicBezTo>
                  <a:cubicBezTo>
                    <a:pt x="103995" y="476916"/>
                    <a:pt x="83132" y="477317"/>
                    <a:pt x="85080" y="480660"/>
                  </a:cubicBezTo>
                  <a:cubicBezTo>
                    <a:pt x="87029" y="484002"/>
                    <a:pt x="107729" y="484002"/>
                    <a:pt x="96364" y="491423"/>
                  </a:cubicBezTo>
                  <a:cubicBezTo>
                    <a:pt x="90682" y="495199"/>
                    <a:pt x="97379" y="504558"/>
                    <a:pt x="99977" y="508368"/>
                  </a:cubicBezTo>
                  <a:cubicBezTo>
                    <a:pt x="101316" y="510307"/>
                    <a:pt x="105903" y="513014"/>
                    <a:pt x="105497" y="515554"/>
                  </a:cubicBezTo>
                  <a:cubicBezTo>
                    <a:pt x="105091" y="518095"/>
                    <a:pt x="100789" y="518261"/>
                    <a:pt x="102493" y="521704"/>
                  </a:cubicBezTo>
                  <a:cubicBezTo>
                    <a:pt x="106552" y="530194"/>
                    <a:pt x="96324" y="530528"/>
                    <a:pt x="98434" y="538416"/>
                  </a:cubicBezTo>
                  <a:cubicBezTo>
                    <a:pt x="100545" y="546304"/>
                    <a:pt x="96324" y="545636"/>
                    <a:pt x="103752" y="552053"/>
                  </a:cubicBezTo>
                  <a:cubicBezTo>
                    <a:pt x="104929" y="553055"/>
                    <a:pt x="103386" y="566793"/>
                    <a:pt x="102290" y="568765"/>
                  </a:cubicBezTo>
                  <a:cubicBezTo>
                    <a:pt x="98637" y="575148"/>
                    <a:pt x="90114" y="575784"/>
                    <a:pt x="92549" y="584808"/>
                  </a:cubicBezTo>
                  <a:cubicBezTo>
                    <a:pt x="92833" y="587916"/>
                    <a:pt x="93401" y="590991"/>
                    <a:pt x="94172" y="594033"/>
                  </a:cubicBezTo>
                  <a:cubicBezTo>
                    <a:pt x="96324" y="599046"/>
                    <a:pt x="104076" y="599715"/>
                    <a:pt x="105253" y="605063"/>
                  </a:cubicBezTo>
                  <a:cubicBezTo>
                    <a:pt x="106715" y="611747"/>
                    <a:pt x="116781" y="607035"/>
                    <a:pt x="122504" y="605564"/>
                  </a:cubicBezTo>
                  <a:cubicBezTo>
                    <a:pt x="132855" y="602957"/>
                    <a:pt x="130825" y="608004"/>
                    <a:pt x="132814" y="613753"/>
                  </a:cubicBezTo>
                  <a:cubicBezTo>
                    <a:pt x="137279" y="626520"/>
                    <a:pt x="148522" y="630465"/>
                    <a:pt x="164433" y="624582"/>
                  </a:cubicBezTo>
                  <a:cubicBezTo>
                    <a:pt x="183592" y="617362"/>
                    <a:pt x="199421" y="616427"/>
                    <a:pt x="218864" y="615457"/>
                  </a:cubicBezTo>
                  <a:cubicBezTo>
                    <a:pt x="226130" y="615090"/>
                    <a:pt x="232583" y="613452"/>
                    <a:pt x="224060" y="609341"/>
                  </a:cubicBezTo>
                  <a:cubicBezTo>
                    <a:pt x="216104" y="606065"/>
                    <a:pt x="209528" y="600918"/>
                    <a:pt x="205185" y="594534"/>
                  </a:cubicBezTo>
                  <a:cubicBezTo>
                    <a:pt x="201126" y="589588"/>
                    <a:pt x="194957" y="580363"/>
                    <a:pt x="200517" y="574480"/>
                  </a:cubicBezTo>
                  <a:cubicBezTo>
                    <a:pt x="202953" y="571906"/>
                    <a:pt x="203927" y="567795"/>
                    <a:pt x="206809" y="565623"/>
                  </a:cubicBezTo>
                  <a:cubicBezTo>
                    <a:pt x="208879" y="563985"/>
                    <a:pt x="212289" y="564119"/>
                    <a:pt x="214562" y="562280"/>
                  </a:cubicBezTo>
                  <a:cubicBezTo>
                    <a:pt x="222680" y="555596"/>
                    <a:pt x="216104" y="548677"/>
                    <a:pt x="217322" y="541491"/>
                  </a:cubicBezTo>
                  <a:cubicBezTo>
                    <a:pt x="218905" y="532266"/>
                    <a:pt x="229499" y="523008"/>
                    <a:pt x="237048" y="515722"/>
                  </a:cubicBezTo>
                  <a:cubicBezTo>
                    <a:pt x="242528" y="510407"/>
                    <a:pt x="246952" y="507599"/>
                    <a:pt x="244598" y="501784"/>
                  </a:cubicBezTo>
                  <a:cubicBezTo>
                    <a:pt x="243380" y="498709"/>
                    <a:pt x="246546" y="486777"/>
                    <a:pt x="241879" y="485673"/>
                  </a:cubicBezTo>
                  <a:cubicBezTo>
                    <a:pt x="235019" y="484002"/>
                    <a:pt x="226211" y="488615"/>
                    <a:pt x="219148" y="488782"/>
                  </a:cubicBezTo>
                  <a:cubicBezTo>
                    <a:pt x="210178" y="488916"/>
                    <a:pt x="201573" y="485707"/>
                    <a:pt x="195728" y="480092"/>
                  </a:cubicBezTo>
                  <a:cubicBezTo>
                    <a:pt x="184322" y="467391"/>
                    <a:pt x="203846" y="451013"/>
                    <a:pt x="219473" y="444663"/>
                  </a:cubicBezTo>
                  <a:cubicBezTo>
                    <a:pt x="229904" y="440452"/>
                    <a:pt x="220163" y="437778"/>
                    <a:pt x="225927" y="432831"/>
                  </a:cubicBezTo>
                  <a:cubicBezTo>
                    <a:pt x="233842" y="426146"/>
                    <a:pt x="224669" y="416554"/>
                    <a:pt x="224262" y="409434"/>
                  </a:cubicBezTo>
                  <a:cubicBezTo>
                    <a:pt x="223978" y="404855"/>
                    <a:pt x="238672" y="395530"/>
                    <a:pt x="236724" y="394327"/>
                  </a:cubicBezTo>
                  <a:cubicBezTo>
                    <a:pt x="234775" y="393124"/>
                    <a:pt x="218540" y="392121"/>
                    <a:pt x="231934" y="387174"/>
                  </a:cubicBezTo>
                  <a:cubicBezTo>
                    <a:pt x="239809" y="384266"/>
                    <a:pt x="242772" y="392388"/>
                    <a:pt x="250199" y="387408"/>
                  </a:cubicBezTo>
                  <a:cubicBezTo>
                    <a:pt x="259657" y="381058"/>
                    <a:pt x="252756" y="367621"/>
                    <a:pt x="242447" y="374908"/>
                  </a:cubicBezTo>
                  <a:cubicBezTo>
                    <a:pt x="234329" y="380657"/>
                    <a:pt x="237130" y="381860"/>
                    <a:pt x="225358" y="380256"/>
                  </a:cubicBezTo>
                  <a:cubicBezTo>
                    <a:pt x="214846" y="378852"/>
                    <a:pt x="219676" y="374373"/>
                    <a:pt x="213181" y="369226"/>
                  </a:cubicBezTo>
                  <a:cubicBezTo>
                    <a:pt x="210056" y="366786"/>
                    <a:pt x="200234" y="356558"/>
                    <a:pt x="207418" y="353149"/>
                  </a:cubicBezTo>
                  <a:cubicBezTo>
                    <a:pt x="215536" y="349339"/>
                    <a:pt x="231366" y="352882"/>
                    <a:pt x="240255" y="351913"/>
                  </a:cubicBezTo>
                  <a:cubicBezTo>
                    <a:pt x="250605" y="350809"/>
                    <a:pt x="262620" y="346130"/>
                    <a:pt x="267572" y="338877"/>
                  </a:cubicBezTo>
                  <a:cubicBezTo>
                    <a:pt x="272889" y="331056"/>
                    <a:pt x="255395" y="326711"/>
                    <a:pt x="264609" y="318422"/>
                  </a:cubicBezTo>
                  <a:cubicBezTo>
                    <a:pt x="273011" y="310902"/>
                    <a:pt x="257708" y="310333"/>
                    <a:pt x="257100" y="303482"/>
                  </a:cubicBezTo>
                  <a:cubicBezTo>
                    <a:pt x="256491" y="296630"/>
                    <a:pt x="272564" y="298034"/>
                    <a:pt x="278815" y="296329"/>
                  </a:cubicBezTo>
                  <a:cubicBezTo>
                    <a:pt x="305321" y="289076"/>
                    <a:pt x="336980" y="277946"/>
                    <a:pt x="356626" y="262337"/>
                  </a:cubicBezTo>
                  <a:cubicBezTo>
                    <a:pt x="362674" y="257524"/>
                    <a:pt x="362268" y="254115"/>
                    <a:pt x="364744" y="248567"/>
                  </a:cubicBezTo>
                  <a:cubicBezTo>
                    <a:pt x="368031" y="241180"/>
                    <a:pt x="374120" y="234261"/>
                    <a:pt x="376921" y="226808"/>
                  </a:cubicBezTo>
                  <a:cubicBezTo>
                    <a:pt x="380980" y="216781"/>
                    <a:pt x="365596" y="219756"/>
                    <a:pt x="358168" y="218419"/>
                  </a:cubicBezTo>
                  <a:cubicBezTo>
                    <a:pt x="344043" y="215945"/>
                    <a:pt x="359467" y="203913"/>
                    <a:pt x="352323" y="199935"/>
                  </a:cubicBezTo>
                  <a:cubicBezTo>
                    <a:pt x="345179" y="195958"/>
                    <a:pt x="331136" y="200537"/>
                    <a:pt x="321800" y="199501"/>
                  </a:cubicBezTo>
                  <a:cubicBezTo>
                    <a:pt x="318147" y="199568"/>
                    <a:pt x="315143" y="197161"/>
                    <a:pt x="315062" y="194153"/>
                  </a:cubicBezTo>
                  <a:cubicBezTo>
                    <a:pt x="314981" y="191145"/>
                    <a:pt x="317863" y="188671"/>
                    <a:pt x="321516" y="188605"/>
                  </a:cubicBezTo>
                  <a:cubicBezTo>
                    <a:pt x="322287" y="188605"/>
                    <a:pt x="323018" y="188671"/>
                    <a:pt x="323707" y="188872"/>
                  </a:cubicBezTo>
                  <a:cubicBezTo>
                    <a:pt x="325331" y="178578"/>
                    <a:pt x="317944" y="184460"/>
                    <a:pt x="313966" y="177608"/>
                  </a:cubicBezTo>
                  <a:cubicBezTo>
                    <a:pt x="308973" y="169018"/>
                    <a:pt x="313722" y="159560"/>
                    <a:pt x="310800" y="150569"/>
                  </a:cubicBezTo>
                  <a:cubicBezTo>
                    <a:pt x="307878" y="141578"/>
                    <a:pt x="310435" y="132520"/>
                    <a:pt x="309217" y="123395"/>
                  </a:cubicBezTo>
                  <a:cubicBezTo>
                    <a:pt x="307878" y="113134"/>
                    <a:pt x="316036" y="105681"/>
                    <a:pt x="322652" y="96122"/>
                  </a:cubicBezTo>
                  <a:cubicBezTo>
                    <a:pt x="335763" y="77103"/>
                    <a:pt x="343678" y="56013"/>
                    <a:pt x="368315" y="41273"/>
                  </a:cubicBezTo>
                  <a:cubicBezTo>
                    <a:pt x="378423" y="35224"/>
                    <a:pt x="387921" y="31647"/>
                    <a:pt x="384551" y="22623"/>
                  </a:cubicBezTo>
                  <a:cubicBezTo>
                    <a:pt x="383293" y="18947"/>
                    <a:pt x="379518" y="5343"/>
                    <a:pt x="372374" y="4775"/>
                  </a:cubicBezTo>
                  <a:cubicBezTo>
                    <a:pt x="370142" y="4207"/>
                    <a:pt x="377976" y="4875"/>
                    <a:pt x="372943" y="44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7BA9620D-C0E1-4888-B9A6-AA24D4481E4F}"/>
                </a:ext>
              </a:extLst>
            </p:cNvPr>
            <p:cNvSpPr/>
            <p:nvPr/>
          </p:nvSpPr>
          <p:spPr>
            <a:xfrm>
              <a:off x="3996530" y="5460303"/>
              <a:ext cx="375785" cy="720392"/>
            </a:xfrm>
            <a:custGeom>
              <a:avLst/>
              <a:gdLst>
                <a:gd name="connsiteX0" fmla="*/ 242469 w 375785"/>
                <a:gd name="connsiteY0" fmla="*/ 655867 h 720392"/>
                <a:gd name="connsiteX1" fmla="*/ 222174 w 375785"/>
                <a:gd name="connsiteY1" fmla="*/ 644670 h 720392"/>
                <a:gd name="connsiteX2" fmla="*/ 202975 w 375785"/>
                <a:gd name="connsiteY2" fmla="*/ 635077 h 720392"/>
                <a:gd name="connsiteX3" fmla="*/ 193193 w 375785"/>
                <a:gd name="connsiteY3" fmla="*/ 632470 h 720392"/>
                <a:gd name="connsiteX4" fmla="*/ 181016 w 375785"/>
                <a:gd name="connsiteY4" fmla="*/ 618065 h 720392"/>
                <a:gd name="connsiteX5" fmla="*/ 180326 w 375785"/>
                <a:gd name="connsiteY5" fmla="*/ 606333 h 720392"/>
                <a:gd name="connsiteX6" fmla="*/ 190352 w 375785"/>
                <a:gd name="connsiteY6" fmla="*/ 593699 h 720392"/>
                <a:gd name="connsiteX7" fmla="*/ 192828 w 375785"/>
                <a:gd name="connsiteY7" fmla="*/ 581566 h 720392"/>
                <a:gd name="connsiteX8" fmla="*/ 185238 w 375785"/>
                <a:gd name="connsiteY8" fmla="*/ 571806 h 720392"/>
                <a:gd name="connsiteX9" fmla="*/ 186293 w 375785"/>
                <a:gd name="connsiteY9" fmla="*/ 560743 h 720392"/>
                <a:gd name="connsiteX10" fmla="*/ 190352 w 375785"/>
                <a:gd name="connsiteY10" fmla="*/ 549379 h 720392"/>
                <a:gd name="connsiteX11" fmla="*/ 192544 w 375785"/>
                <a:gd name="connsiteY11" fmla="*/ 541157 h 720392"/>
                <a:gd name="connsiteX12" fmla="*/ 183249 w 375785"/>
                <a:gd name="connsiteY12" fmla="*/ 526551 h 720392"/>
                <a:gd name="connsiteX13" fmla="*/ 187064 w 375785"/>
                <a:gd name="connsiteY13" fmla="*/ 516290 h 720392"/>
                <a:gd name="connsiteX14" fmla="*/ 172939 w 375785"/>
                <a:gd name="connsiteY14" fmla="*/ 508335 h 720392"/>
                <a:gd name="connsiteX15" fmla="*/ 186293 w 375785"/>
                <a:gd name="connsiteY15" fmla="*/ 500146 h 720392"/>
                <a:gd name="connsiteX16" fmla="*/ 168677 w 375785"/>
                <a:gd name="connsiteY16" fmla="*/ 498809 h 720392"/>
                <a:gd name="connsiteX17" fmla="*/ 164983 w 375785"/>
                <a:gd name="connsiteY17" fmla="*/ 486442 h 720392"/>
                <a:gd name="connsiteX18" fmla="*/ 152238 w 375785"/>
                <a:gd name="connsiteY18" fmla="*/ 474276 h 720392"/>
                <a:gd name="connsiteX19" fmla="*/ 147936 w 375785"/>
                <a:gd name="connsiteY19" fmla="*/ 449844 h 720392"/>
                <a:gd name="connsiteX20" fmla="*/ 138397 w 375785"/>
                <a:gd name="connsiteY20" fmla="*/ 435371 h 720392"/>
                <a:gd name="connsiteX21" fmla="*/ 132877 w 375785"/>
                <a:gd name="connsiteY21" fmla="*/ 416253 h 720392"/>
                <a:gd name="connsiteX22" fmla="*/ 135759 w 375785"/>
                <a:gd name="connsiteY22" fmla="*/ 402683 h 720392"/>
                <a:gd name="connsiteX23" fmla="*/ 133080 w 375785"/>
                <a:gd name="connsiteY23" fmla="*/ 388846 h 720392"/>
                <a:gd name="connsiteX24" fmla="*/ 139412 w 375785"/>
                <a:gd name="connsiteY24" fmla="*/ 378651 h 720392"/>
                <a:gd name="connsiteX25" fmla="*/ 129467 w 375785"/>
                <a:gd name="connsiteY25" fmla="*/ 368825 h 720392"/>
                <a:gd name="connsiteX26" fmla="*/ 129792 w 375785"/>
                <a:gd name="connsiteY26" fmla="*/ 333797 h 720392"/>
                <a:gd name="connsiteX27" fmla="*/ 127438 w 375785"/>
                <a:gd name="connsiteY27" fmla="*/ 323101 h 720392"/>
                <a:gd name="connsiteX28" fmla="*/ 124434 w 375785"/>
                <a:gd name="connsiteY28" fmla="*/ 309331 h 720392"/>
                <a:gd name="connsiteX29" fmla="*/ 126139 w 375785"/>
                <a:gd name="connsiteY29" fmla="*/ 295092 h 720392"/>
                <a:gd name="connsiteX30" fmla="*/ 118264 w 375785"/>
                <a:gd name="connsiteY30" fmla="*/ 275239 h 720392"/>
                <a:gd name="connsiteX31" fmla="*/ 103855 w 375785"/>
                <a:gd name="connsiteY31" fmla="*/ 260031 h 720392"/>
                <a:gd name="connsiteX32" fmla="*/ 88390 w 375785"/>
                <a:gd name="connsiteY32" fmla="*/ 243086 h 720392"/>
                <a:gd name="connsiteX33" fmla="*/ 91638 w 375785"/>
                <a:gd name="connsiteY33" fmla="*/ 234295 h 720392"/>
                <a:gd name="connsiteX34" fmla="*/ 97685 w 375785"/>
                <a:gd name="connsiteY34" fmla="*/ 219555 h 720392"/>
                <a:gd name="connsiteX35" fmla="*/ 85508 w 375785"/>
                <a:gd name="connsiteY35" fmla="*/ 205083 h 720392"/>
                <a:gd name="connsiteX36" fmla="*/ 90217 w 375785"/>
                <a:gd name="connsiteY36" fmla="*/ 199835 h 720392"/>
                <a:gd name="connsiteX37" fmla="*/ 89162 w 375785"/>
                <a:gd name="connsiteY37" fmla="*/ 189808 h 720392"/>
                <a:gd name="connsiteX38" fmla="*/ 98132 w 375785"/>
                <a:gd name="connsiteY38" fmla="*/ 173297 h 720392"/>
                <a:gd name="connsiteX39" fmla="*/ 103814 w 375785"/>
                <a:gd name="connsiteY39" fmla="*/ 155081 h 720392"/>
                <a:gd name="connsiteX40" fmla="*/ 101298 w 375785"/>
                <a:gd name="connsiteY40" fmla="*/ 145488 h 720392"/>
                <a:gd name="connsiteX41" fmla="*/ 98497 w 375785"/>
                <a:gd name="connsiteY41" fmla="*/ 132487 h 720392"/>
                <a:gd name="connsiteX42" fmla="*/ 93667 w 375785"/>
                <a:gd name="connsiteY42" fmla="*/ 105982 h 720392"/>
                <a:gd name="connsiteX43" fmla="*/ 107671 w 375785"/>
                <a:gd name="connsiteY43" fmla="*/ 69784 h 720392"/>
                <a:gd name="connsiteX44" fmla="*/ 83682 w 375785"/>
                <a:gd name="connsiteY44" fmla="*/ 63300 h 720392"/>
                <a:gd name="connsiteX45" fmla="*/ 70937 w 375785"/>
                <a:gd name="connsiteY45" fmla="*/ 52939 h 720392"/>
                <a:gd name="connsiteX46" fmla="*/ 52956 w 375785"/>
                <a:gd name="connsiteY46" fmla="*/ 45753 h 720392"/>
                <a:gd name="connsiteX47" fmla="*/ 48450 w 375785"/>
                <a:gd name="connsiteY47" fmla="*/ 22356 h 720392"/>
                <a:gd name="connsiteX48" fmla="*/ 9606 w 375785"/>
                <a:gd name="connsiteY48" fmla="*/ -339 h 720392"/>
                <a:gd name="connsiteX49" fmla="*/ 3639 w 375785"/>
                <a:gd name="connsiteY49" fmla="*/ 16373 h 720392"/>
                <a:gd name="connsiteX50" fmla="*/ 7292 w 375785"/>
                <a:gd name="connsiteY50" fmla="*/ 36093 h 720392"/>
                <a:gd name="connsiteX51" fmla="*/ 25923 w 375785"/>
                <a:gd name="connsiteY51" fmla="*/ 75567 h 720392"/>
                <a:gd name="connsiteX52" fmla="*/ 26816 w 375785"/>
                <a:gd name="connsiteY52" fmla="*/ 102706 h 720392"/>
                <a:gd name="connsiteX53" fmla="*/ 33351 w 375785"/>
                <a:gd name="connsiteY53" fmla="*/ 112734 h 720392"/>
                <a:gd name="connsiteX54" fmla="*/ 40982 w 375785"/>
                <a:gd name="connsiteY54" fmla="*/ 132788 h 720392"/>
                <a:gd name="connsiteX55" fmla="*/ 45041 w 375785"/>
                <a:gd name="connsiteY55" fmla="*/ 160763 h 720392"/>
                <a:gd name="connsiteX56" fmla="*/ 46542 w 375785"/>
                <a:gd name="connsiteY56" fmla="*/ 180015 h 720392"/>
                <a:gd name="connsiteX57" fmla="*/ 47638 w 375785"/>
                <a:gd name="connsiteY57" fmla="*/ 202008 h 720392"/>
                <a:gd name="connsiteX58" fmla="*/ 49424 w 375785"/>
                <a:gd name="connsiteY58" fmla="*/ 216213 h 720392"/>
                <a:gd name="connsiteX59" fmla="*/ 58922 w 375785"/>
                <a:gd name="connsiteY59" fmla="*/ 232457 h 720392"/>
                <a:gd name="connsiteX60" fmla="*/ 73129 w 375785"/>
                <a:gd name="connsiteY60" fmla="*/ 273534 h 720392"/>
                <a:gd name="connsiteX61" fmla="*/ 75117 w 375785"/>
                <a:gd name="connsiteY61" fmla="*/ 306958 h 720392"/>
                <a:gd name="connsiteX62" fmla="*/ 76335 w 375785"/>
                <a:gd name="connsiteY62" fmla="*/ 332995 h 720392"/>
                <a:gd name="connsiteX63" fmla="*/ 72926 w 375785"/>
                <a:gd name="connsiteY63" fmla="*/ 359734 h 720392"/>
                <a:gd name="connsiteX64" fmla="*/ 71018 w 375785"/>
                <a:gd name="connsiteY64" fmla="*/ 369159 h 720392"/>
                <a:gd name="connsiteX65" fmla="*/ 64077 w 375785"/>
                <a:gd name="connsiteY65" fmla="*/ 374340 h 720392"/>
                <a:gd name="connsiteX66" fmla="*/ 70571 w 375785"/>
                <a:gd name="connsiteY66" fmla="*/ 383297 h 720392"/>
                <a:gd name="connsiteX67" fmla="*/ 78689 w 375785"/>
                <a:gd name="connsiteY67" fmla="*/ 399040 h 720392"/>
                <a:gd name="connsiteX68" fmla="*/ 91435 w 375785"/>
                <a:gd name="connsiteY68" fmla="*/ 418392 h 720392"/>
                <a:gd name="connsiteX69" fmla="*/ 91678 w 375785"/>
                <a:gd name="connsiteY69" fmla="*/ 442089 h 720392"/>
                <a:gd name="connsiteX70" fmla="*/ 102069 w 375785"/>
                <a:gd name="connsiteY70" fmla="*/ 461341 h 720392"/>
                <a:gd name="connsiteX71" fmla="*/ 96793 w 375785"/>
                <a:gd name="connsiteY71" fmla="*/ 464918 h 720392"/>
                <a:gd name="connsiteX72" fmla="*/ 95047 w 375785"/>
                <a:gd name="connsiteY72" fmla="*/ 475145 h 720392"/>
                <a:gd name="connsiteX73" fmla="*/ 101826 w 375785"/>
                <a:gd name="connsiteY73" fmla="*/ 494197 h 720392"/>
                <a:gd name="connsiteX74" fmla="*/ 115586 w 375785"/>
                <a:gd name="connsiteY74" fmla="*/ 488949 h 720392"/>
                <a:gd name="connsiteX75" fmla="*/ 108360 w 375785"/>
                <a:gd name="connsiteY75" fmla="*/ 460405 h 720392"/>
                <a:gd name="connsiteX76" fmla="*/ 118305 w 375785"/>
                <a:gd name="connsiteY76" fmla="*/ 450044 h 720392"/>
                <a:gd name="connsiteX77" fmla="*/ 121715 w 375785"/>
                <a:gd name="connsiteY77" fmla="*/ 454523 h 720392"/>
                <a:gd name="connsiteX78" fmla="*/ 130685 w 375785"/>
                <a:gd name="connsiteY78" fmla="*/ 456227 h 720392"/>
                <a:gd name="connsiteX79" fmla="*/ 127316 w 375785"/>
                <a:gd name="connsiteY79" fmla="*/ 464784 h 720392"/>
                <a:gd name="connsiteX80" fmla="*/ 132714 w 375785"/>
                <a:gd name="connsiteY80" fmla="*/ 472939 h 720392"/>
                <a:gd name="connsiteX81" fmla="*/ 130644 w 375785"/>
                <a:gd name="connsiteY81" fmla="*/ 483535 h 720392"/>
                <a:gd name="connsiteX82" fmla="*/ 134703 w 375785"/>
                <a:gd name="connsiteY82" fmla="*/ 495066 h 720392"/>
                <a:gd name="connsiteX83" fmla="*/ 140548 w 375785"/>
                <a:gd name="connsiteY83" fmla="*/ 512747 h 720392"/>
                <a:gd name="connsiteX84" fmla="*/ 141969 w 375785"/>
                <a:gd name="connsiteY84" fmla="*/ 521972 h 720392"/>
                <a:gd name="connsiteX85" fmla="*/ 140142 w 375785"/>
                <a:gd name="connsiteY85" fmla="*/ 531297 h 720392"/>
                <a:gd name="connsiteX86" fmla="*/ 139209 w 375785"/>
                <a:gd name="connsiteY86" fmla="*/ 545970 h 720392"/>
                <a:gd name="connsiteX87" fmla="*/ 131091 w 375785"/>
                <a:gd name="connsiteY87" fmla="*/ 524512 h 720392"/>
                <a:gd name="connsiteX88" fmla="*/ 120822 w 375785"/>
                <a:gd name="connsiteY88" fmla="*/ 527854 h 720392"/>
                <a:gd name="connsiteX89" fmla="*/ 118914 w 375785"/>
                <a:gd name="connsiteY89" fmla="*/ 540121 h 720392"/>
                <a:gd name="connsiteX90" fmla="*/ 113353 w 375785"/>
                <a:gd name="connsiteY90" fmla="*/ 556031 h 720392"/>
                <a:gd name="connsiteX91" fmla="*/ 108320 w 375785"/>
                <a:gd name="connsiteY91" fmla="*/ 563384 h 720392"/>
                <a:gd name="connsiteX92" fmla="*/ 109862 w 375785"/>
                <a:gd name="connsiteY92" fmla="*/ 573946 h 720392"/>
                <a:gd name="connsiteX93" fmla="*/ 116884 w 375785"/>
                <a:gd name="connsiteY93" fmla="*/ 566392 h 720392"/>
                <a:gd name="connsiteX94" fmla="*/ 129467 w 375785"/>
                <a:gd name="connsiteY94" fmla="*/ 566392 h 720392"/>
                <a:gd name="connsiteX95" fmla="*/ 135840 w 375785"/>
                <a:gd name="connsiteY95" fmla="*/ 580630 h 720392"/>
                <a:gd name="connsiteX96" fmla="*/ 162183 w 375785"/>
                <a:gd name="connsiteY96" fmla="*/ 579962 h 720392"/>
                <a:gd name="connsiteX97" fmla="*/ 162183 w 375785"/>
                <a:gd name="connsiteY97" fmla="*/ 585543 h 720392"/>
                <a:gd name="connsiteX98" fmla="*/ 143430 w 375785"/>
                <a:gd name="connsiteY98" fmla="*/ 591393 h 720392"/>
                <a:gd name="connsiteX99" fmla="*/ 120984 w 375785"/>
                <a:gd name="connsiteY99" fmla="*/ 603626 h 720392"/>
                <a:gd name="connsiteX100" fmla="*/ 142984 w 375785"/>
                <a:gd name="connsiteY100" fmla="*/ 602188 h 720392"/>
                <a:gd name="connsiteX101" fmla="*/ 150330 w 375785"/>
                <a:gd name="connsiteY101" fmla="*/ 597442 h 720392"/>
                <a:gd name="connsiteX102" fmla="*/ 145784 w 375785"/>
                <a:gd name="connsiteY102" fmla="*/ 608138 h 720392"/>
                <a:gd name="connsiteX103" fmla="*/ 137301 w 375785"/>
                <a:gd name="connsiteY103" fmla="*/ 623479 h 720392"/>
                <a:gd name="connsiteX104" fmla="*/ 147002 w 375785"/>
                <a:gd name="connsiteY104" fmla="*/ 627824 h 720392"/>
                <a:gd name="connsiteX105" fmla="*/ 149884 w 375785"/>
                <a:gd name="connsiteY105" fmla="*/ 631735 h 720392"/>
                <a:gd name="connsiteX106" fmla="*/ 156825 w 375785"/>
                <a:gd name="connsiteY106" fmla="*/ 623312 h 720392"/>
                <a:gd name="connsiteX107" fmla="*/ 166079 w 375785"/>
                <a:gd name="connsiteY107" fmla="*/ 618499 h 720392"/>
                <a:gd name="connsiteX108" fmla="*/ 165470 w 375785"/>
                <a:gd name="connsiteY108" fmla="*/ 642096 h 720392"/>
                <a:gd name="connsiteX109" fmla="*/ 156906 w 375785"/>
                <a:gd name="connsiteY109" fmla="*/ 652123 h 720392"/>
                <a:gd name="connsiteX110" fmla="*/ 161858 w 375785"/>
                <a:gd name="connsiteY110" fmla="*/ 653761 h 720392"/>
                <a:gd name="connsiteX111" fmla="*/ 161493 w 375785"/>
                <a:gd name="connsiteY111" fmla="*/ 660680 h 720392"/>
                <a:gd name="connsiteX112" fmla="*/ 173426 w 375785"/>
                <a:gd name="connsiteY112" fmla="*/ 656101 h 720392"/>
                <a:gd name="connsiteX113" fmla="*/ 193193 w 375785"/>
                <a:gd name="connsiteY113" fmla="*/ 652758 h 720392"/>
                <a:gd name="connsiteX114" fmla="*/ 185075 w 375785"/>
                <a:gd name="connsiteY114" fmla="*/ 667465 h 720392"/>
                <a:gd name="connsiteX115" fmla="*/ 191488 w 375785"/>
                <a:gd name="connsiteY115" fmla="*/ 664356 h 720392"/>
                <a:gd name="connsiteX116" fmla="*/ 201514 w 375785"/>
                <a:gd name="connsiteY116" fmla="*/ 666161 h 720392"/>
                <a:gd name="connsiteX117" fmla="*/ 207359 w 375785"/>
                <a:gd name="connsiteY117" fmla="*/ 657070 h 720392"/>
                <a:gd name="connsiteX118" fmla="*/ 221241 w 375785"/>
                <a:gd name="connsiteY118" fmla="*/ 661582 h 720392"/>
                <a:gd name="connsiteX119" fmla="*/ 200134 w 375785"/>
                <a:gd name="connsiteY119" fmla="*/ 672579 h 720392"/>
                <a:gd name="connsiteX120" fmla="*/ 206791 w 375785"/>
                <a:gd name="connsiteY120" fmla="*/ 683408 h 720392"/>
                <a:gd name="connsiteX121" fmla="*/ 223229 w 375785"/>
                <a:gd name="connsiteY121" fmla="*/ 669236 h 720392"/>
                <a:gd name="connsiteX122" fmla="*/ 242753 w 375785"/>
                <a:gd name="connsiteY122" fmla="*/ 664122 h 720392"/>
                <a:gd name="connsiteX123" fmla="*/ 245594 w 375785"/>
                <a:gd name="connsiteY123" fmla="*/ 668935 h 720392"/>
                <a:gd name="connsiteX124" fmla="*/ 234230 w 375785"/>
                <a:gd name="connsiteY124" fmla="*/ 676356 h 720392"/>
                <a:gd name="connsiteX125" fmla="*/ 217994 w 375785"/>
                <a:gd name="connsiteY125" fmla="*/ 681636 h 720392"/>
                <a:gd name="connsiteX126" fmla="*/ 227045 w 375785"/>
                <a:gd name="connsiteY126" fmla="*/ 687686 h 720392"/>
                <a:gd name="connsiteX127" fmla="*/ 259517 w 375785"/>
                <a:gd name="connsiteY127" fmla="*/ 670673 h 720392"/>
                <a:gd name="connsiteX128" fmla="*/ 252982 w 375785"/>
                <a:gd name="connsiteY128" fmla="*/ 681703 h 720392"/>
                <a:gd name="connsiteX129" fmla="*/ 238776 w 375785"/>
                <a:gd name="connsiteY129" fmla="*/ 693602 h 720392"/>
                <a:gd name="connsiteX130" fmla="*/ 217141 w 375785"/>
                <a:gd name="connsiteY130" fmla="*/ 706437 h 720392"/>
                <a:gd name="connsiteX131" fmla="*/ 237193 w 375785"/>
                <a:gd name="connsiteY131" fmla="*/ 705935 h 720392"/>
                <a:gd name="connsiteX132" fmla="*/ 259354 w 375785"/>
                <a:gd name="connsiteY132" fmla="*/ 702894 h 720392"/>
                <a:gd name="connsiteX133" fmla="*/ 249004 w 375785"/>
                <a:gd name="connsiteY133" fmla="*/ 698783 h 720392"/>
                <a:gd name="connsiteX134" fmla="*/ 270557 w 375785"/>
                <a:gd name="connsiteY134" fmla="*/ 689224 h 720392"/>
                <a:gd name="connsiteX135" fmla="*/ 267716 w 375785"/>
                <a:gd name="connsiteY135" fmla="*/ 671542 h 720392"/>
                <a:gd name="connsiteX136" fmla="*/ 286265 w 375785"/>
                <a:gd name="connsiteY136" fmla="*/ 655031 h 720392"/>
                <a:gd name="connsiteX137" fmla="*/ 282897 w 375785"/>
                <a:gd name="connsiteY137" fmla="*/ 665559 h 720392"/>
                <a:gd name="connsiteX138" fmla="*/ 287605 w 375785"/>
                <a:gd name="connsiteY138" fmla="*/ 676356 h 720392"/>
                <a:gd name="connsiteX139" fmla="*/ 303841 w 375785"/>
                <a:gd name="connsiteY139" fmla="*/ 670606 h 720392"/>
                <a:gd name="connsiteX140" fmla="*/ 296048 w 375785"/>
                <a:gd name="connsiteY140" fmla="*/ 679397 h 720392"/>
                <a:gd name="connsiteX141" fmla="*/ 302948 w 375785"/>
                <a:gd name="connsiteY141" fmla="*/ 689658 h 720392"/>
                <a:gd name="connsiteX142" fmla="*/ 292232 w 375785"/>
                <a:gd name="connsiteY142" fmla="*/ 688054 h 720392"/>
                <a:gd name="connsiteX143" fmla="*/ 288173 w 375785"/>
                <a:gd name="connsiteY143" fmla="*/ 696877 h 720392"/>
                <a:gd name="connsiteX144" fmla="*/ 269948 w 375785"/>
                <a:gd name="connsiteY144" fmla="*/ 693535 h 720392"/>
                <a:gd name="connsiteX145" fmla="*/ 271247 w 375785"/>
                <a:gd name="connsiteY145" fmla="*/ 703897 h 720392"/>
                <a:gd name="connsiteX146" fmla="*/ 265199 w 375785"/>
                <a:gd name="connsiteY146" fmla="*/ 713689 h 720392"/>
                <a:gd name="connsiteX147" fmla="*/ 286874 w 375785"/>
                <a:gd name="connsiteY147" fmla="*/ 710815 h 720392"/>
                <a:gd name="connsiteX148" fmla="*/ 299985 w 375785"/>
                <a:gd name="connsiteY148" fmla="*/ 718937 h 720392"/>
                <a:gd name="connsiteX149" fmla="*/ 297955 w 375785"/>
                <a:gd name="connsiteY149" fmla="*/ 706403 h 720392"/>
                <a:gd name="connsiteX150" fmla="*/ 328520 w 375785"/>
                <a:gd name="connsiteY150" fmla="*/ 714392 h 720392"/>
                <a:gd name="connsiteX151" fmla="*/ 326368 w 375785"/>
                <a:gd name="connsiteY151" fmla="*/ 707406 h 720392"/>
                <a:gd name="connsiteX152" fmla="*/ 340980 w 375785"/>
                <a:gd name="connsiteY152" fmla="*/ 709077 h 720392"/>
                <a:gd name="connsiteX153" fmla="*/ 356851 w 375785"/>
                <a:gd name="connsiteY153" fmla="*/ 711918 h 720392"/>
                <a:gd name="connsiteX154" fmla="*/ 344309 w 375785"/>
                <a:gd name="connsiteY154" fmla="*/ 701690 h 720392"/>
                <a:gd name="connsiteX155" fmla="*/ 364401 w 375785"/>
                <a:gd name="connsiteY155" fmla="*/ 699050 h 720392"/>
                <a:gd name="connsiteX156" fmla="*/ 375725 w 375785"/>
                <a:gd name="connsiteY156" fmla="*/ 691797 h 720392"/>
                <a:gd name="connsiteX157" fmla="*/ 336759 w 375785"/>
                <a:gd name="connsiteY157" fmla="*/ 698916 h 720392"/>
                <a:gd name="connsiteX158" fmla="*/ 320889 w 375785"/>
                <a:gd name="connsiteY158" fmla="*/ 662150 h 720392"/>
                <a:gd name="connsiteX159" fmla="*/ 315693 w 375785"/>
                <a:gd name="connsiteY159" fmla="*/ 648112 h 720392"/>
                <a:gd name="connsiteX160" fmla="*/ 294546 w 375785"/>
                <a:gd name="connsiteY160" fmla="*/ 650218 h 720392"/>
                <a:gd name="connsiteX161" fmla="*/ 290933 w 375785"/>
                <a:gd name="connsiteY161" fmla="*/ 643533 h 720392"/>
                <a:gd name="connsiteX162" fmla="*/ 272465 w 375785"/>
                <a:gd name="connsiteY162" fmla="*/ 644737 h 720392"/>
                <a:gd name="connsiteX163" fmla="*/ 242672 w 375785"/>
                <a:gd name="connsiteY163" fmla="*/ 655232 h 7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375785" h="720392">
                  <a:moveTo>
                    <a:pt x="242469" y="655867"/>
                  </a:moveTo>
                  <a:cubicBezTo>
                    <a:pt x="234717" y="659209"/>
                    <a:pt x="223920" y="648614"/>
                    <a:pt x="222174" y="644670"/>
                  </a:cubicBezTo>
                  <a:cubicBezTo>
                    <a:pt x="216979" y="633540"/>
                    <a:pt x="220713" y="630298"/>
                    <a:pt x="202975" y="635077"/>
                  </a:cubicBezTo>
                  <a:cubicBezTo>
                    <a:pt x="198104" y="636381"/>
                    <a:pt x="194127" y="636882"/>
                    <a:pt x="193193" y="632470"/>
                  </a:cubicBezTo>
                  <a:cubicBezTo>
                    <a:pt x="191813" y="626187"/>
                    <a:pt x="182315" y="625117"/>
                    <a:pt x="181016" y="618065"/>
                  </a:cubicBezTo>
                  <a:cubicBezTo>
                    <a:pt x="180123" y="614187"/>
                    <a:pt x="179880" y="610244"/>
                    <a:pt x="180326" y="606333"/>
                  </a:cubicBezTo>
                  <a:cubicBezTo>
                    <a:pt x="181422" y="600918"/>
                    <a:pt x="191001" y="598111"/>
                    <a:pt x="190352" y="593699"/>
                  </a:cubicBezTo>
                  <a:cubicBezTo>
                    <a:pt x="189703" y="589287"/>
                    <a:pt x="193234" y="585309"/>
                    <a:pt x="192828" y="581566"/>
                  </a:cubicBezTo>
                  <a:cubicBezTo>
                    <a:pt x="192422" y="577822"/>
                    <a:pt x="181381" y="576319"/>
                    <a:pt x="185238" y="571806"/>
                  </a:cubicBezTo>
                  <a:cubicBezTo>
                    <a:pt x="188566" y="567929"/>
                    <a:pt x="183533" y="564420"/>
                    <a:pt x="186293" y="560743"/>
                  </a:cubicBezTo>
                  <a:cubicBezTo>
                    <a:pt x="191001" y="554493"/>
                    <a:pt x="193924" y="556699"/>
                    <a:pt x="190352" y="549379"/>
                  </a:cubicBezTo>
                  <a:cubicBezTo>
                    <a:pt x="188566" y="545769"/>
                    <a:pt x="195223" y="544466"/>
                    <a:pt x="192544" y="541157"/>
                  </a:cubicBezTo>
                  <a:cubicBezTo>
                    <a:pt x="188728" y="536444"/>
                    <a:pt x="187105" y="531130"/>
                    <a:pt x="183249" y="526551"/>
                  </a:cubicBezTo>
                  <a:cubicBezTo>
                    <a:pt x="178784" y="521337"/>
                    <a:pt x="184791" y="521103"/>
                    <a:pt x="187064" y="516290"/>
                  </a:cubicBezTo>
                  <a:cubicBezTo>
                    <a:pt x="189986" y="510006"/>
                    <a:pt x="174887" y="511577"/>
                    <a:pt x="172939" y="508335"/>
                  </a:cubicBezTo>
                  <a:cubicBezTo>
                    <a:pt x="170990" y="505093"/>
                    <a:pt x="187348" y="504725"/>
                    <a:pt x="186293" y="500146"/>
                  </a:cubicBezTo>
                  <a:cubicBezTo>
                    <a:pt x="184507" y="492425"/>
                    <a:pt x="174116" y="500146"/>
                    <a:pt x="168677" y="498809"/>
                  </a:cubicBezTo>
                  <a:cubicBezTo>
                    <a:pt x="160194" y="496603"/>
                    <a:pt x="170625" y="489518"/>
                    <a:pt x="164983" y="486442"/>
                  </a:cubicBezTo>
                  <a:cubicBezTo>
                    <a:pt x="159341" y="483367"/>
                    <a:pt x="158448" y="475078"/>
                    <a:pt x="152238" y="474276"/>
                  </a:cubicBezTo>
                  <a:cubicBezTo>
                    <a:pt x="139777" y="472639"/>
                    <a:pt x="150249" y="454824"/>
                    <a:pt x="147936" y="449844"/>
                  </a:cubicBezTo>
                  <a:cubicBezTo>
                    <a:pt x="145622" y="444864"/>
                    <a:pt x="143024" y="438814"/>
                    <a:pt x="138397" y="435371"/>
                  </a:cubicBezTo>
                  <a:cubicBezTo>
                    <a:pt x="128574" y="428018"/>
                    <a:pt x="136773" y="424843"/>
                    <a:pt x="132877" y="416253"/>
                  </a:cubicBezTo>
                  <a:cubicBezTo>
                    <a:pt x="129589" y="408967"/>
                    <a:pt x="135353" y="408131"/>
                    <a:pt x="135759" y="402683"/>
                  </a:cubicBezTo>
                  <a:cubicBezTo>
                    <a:pt x="136043" y="398739"/>
                    <a:pt x="126098" y="392088"/>
                    <a:pt x="133080" y="388846"/>
                  </a:cubicBezTo>
                  <a:cubicBezTo>
                    <a:pt x="138438" y="386406"/>
                    <a:pt x="144242" y="383297"/>
                    <a:pt x="139412" y="378651"/>
                  </a:cubicBezTo>
                  <a:cubicBezTo>
                    <a:pt x="134582" y="374005"/>
                    <a:pt x="132633" y="374941"/>
                    <a:pt x="129467" y="368825"/>
                  </a:cubicBezTo>
                  <a:cubicBezTo>
                    <a:pt x="122567" y="355288"/>
                    <a:pt x="115180" y="347434"/>
                    <a:pt x="129792" y="333797"/>
                  </a:cubicBezTo>
                  <a:cubicBezTo>
                    <a:pt x="133851" y="329853"/>
                    <a:pt x="130198" y="326377"/>
                    <a:pt x="127438" y="323101"/>
                  </a:cubicBezTo>
                  <a:cubicBezTo>
                    <a:pt x="122202" y="316885"/>
                    <a:pt x="122526" y="315949"/>
                    <a:pt x="124434" y="309331"/>
                  </a:cubicBezTo>
                  <a:cubicBezTo>
                    <a:pt x="125652" y="305086"/>
                    <a:pt x="125327" y="299471"/>
                    <a:pt x="126139" y="295092"/>
                  </a:cubicBezTo>
                  <a:cubicBezTo>
                    <a:pt x="127397" y="287973"/>
                    <a:pt x="125692" y="279450"/>
                    <a:pt x="118264" y="275239"/>
                  </a:cubicBezTo>
                  <a:cubicBezTo>
                    <a:pt x="110836" y="271028"/>
                    <a:pt x="110674" y="264309"/>
                    <a:pt x="103855" y="260031"/>
                  </a:cubicBezTo>
                  <a:cubicBezTo>
                    <a:pt x="96143" y="255185"/>
                    <a:pt x="88066" y="251809"/>
                    <a:pt x="88390" y="243086"/>
                  </a:cubicBezTo>
                  <a:cubicBezTo>
                    <a:pt x="88390" y="239743"/>
                    <a:pt x="92125" y="238373"/>
                    <a:pt x="91638" y="234295"/>
                  </a:cubicBezTo>
                  <a:cubicBezTo>
                    <a:pt x="90988" y="228546"/>
                    <a:pt x="98538" y="223867"/>
                    <a:pt x="97685" y="219555"/>
                  </a:cubicBezTo>
                  <a:cubicBezTo>
                    <a:pt x="96549" y="213572"/>
                    <a:pt x="86483" y="210698"/>
                    <a:pt x="85508" y="205083"/>
                  </a:cubicBezTo>
                  <a:cubicBezTo>
                    <a:pt x="85143" y="202843"/>
                    <a:pt x="89121" y="201741"/>
                    <a:pt x="90217" y="199835"/>
                  </a:cubicBezTo>
                  <a:cubicBezTo>
                    <a:pt x="91759" y="197095"/>
                    <a:pt x="88877" y="192683"/>
                    <a:pt x="89162" y="189808"/>
                  </a:cubicBezTo>
                  <a:cubicBezTo>
                    <a:pt x="89770" y="183391"/>
                    <a:pt x="97685" y="179246"/>
                    <a:pt x="98132" y="173297"/>
                  </a:cubicBezTo>
                  <a:cubicBezTo>
                    <a:pt x="98822" y="164507"/>
                    <a:pt x="93789" y="163002"/>
                    <a:pt x="103814" y="155081"/>
                  </a:cubicBezTo>
                  <a:cubicBezTo>
                    <a:pt x="111161" y="149265"/>
                    <a:pt x="105763" y="149366"/>
                    <a:pt x="101298" y="145488"/>
                  </a:cubicBezTo>
                  <a:cubicBezTo>
                    <a:pt x="98132" y="142781"/>
                    <a:pt x="104099" y="137099"/>
                    <a:pt x="98497" y="132487"/>
                  </a:cubicBezTo>
                  <a:cubicBezTo>
                    <a:pt x="91313" y="126571"/>
                    <a:pt x="85427" y="113736"/>
                    <a:pt x="93667" y="105982"/>
                  </a:cubicBezTo>
                  <a:cubicBezTo>
                    <a:pt x="109456" y="91142"/>
                    <a:pt x="113272" y="87098"/>
                    <a:pt x="107671" y="69784"/>
                  </a:cubicBezTo>
                  <a:cubicBezTo>
                    <a:pt x="89933" y="85126"/>
                    <a:pt x="93626" y="70720"/>
                    <a:pt x="83682" y="63300"/>
                  </a:cubicBezTo>
                  <a:cubicBezTo>
                    <a:pt x="78568" y="59523"/>
                    <a:pt x="74468" y="57852"/>
                    <a:pt x="70937" y="52939"/>
                  </a:cubicBezTo>
                  <a:cubicBezTo>
                    <a:pt x="67406" y="48025"/>
                    <a:pt x="58395" y="49229"/>
                    <a:pt x="52956" y="45753"/>
                  </a:cubicBezTo>
                  <a:cubicBezTo>
                    <a:pt x="46299" y="41508"/>
                    <a:pt x="55959" y="23793"/>
                    <a:pt x="48450" y="22356"/>
                  </a:cubicBezTo>
                  <a:cubicBezTo>
                    <a:pt x="27303" y="18613"/>
                    <a:pt x="31483" y="3137"/>
                    <a:pt x="9606" y="-339"/>
                  </a:cubicBezTo>
                  <a:cubicBezTo>
                    <a:pt x="10296" y="-339"/>
                    <a:pt x="6156" y="14668"/>
                    <a:pt x="3639" y="16373"/>
                  </a:cubicBezTo>
                  <a:cubicBezTo>
                    <a:pt x="-4479" y="22356"/>
                    <a:pt x="2624" y="31080"/>
                    <a:pt x="7292" y="36093"/>
                  </a:cubicBezTo>
                  <a:cubicBezTo>
                    <a:pt x="17646" y="47658"/>
                    <a:pt x="24080" y="61295"/>
                    <a:pt x="25923" y="75567"/>
                  </a:cubicBezTo>
                  <a:cubicBezTo>
                    <a:pt x="27075" y="84591"/>
                    <a:pt x="27372" y="93648"/>
                    <a:pt x="26816" y="102706"/>
                  </a:cubicBezTo>
                  <a:cubicBezTo>
                    <a:pt x="26329" y="108756"/>
                    <a:pt x="34568" y="106784"/>
                    <a:pt x="33351" y="112734"/>
                  </a:cubicBezTo>
                  <a:cubicBezTo>
                    <a:pt x="31971" y="119418"/>
                    <a:pt x="38343" y="127005"/>
                    <a:pt x="40982" y="132788"/>
                  </a:cubicBezTo>
                  <a:cubicBezTo>
                    <a:pt x="45041" y="141478"/>
                    <a:pt x="44675" y="151438"/>
                    <a:pt x="45041" y="160763"/>
                  </a:cubicBezTo>
                  <a:cubicBezTo>
                    <a:pt x="45406" y="167080"/>
                    <a:pt x="47638" y="173598"/>
                    <a:pt x="46542" y="180015"/>
                  </a:cubicBezTo>
                  <a:cubicBezTo>
                    <a:pt x="45203" y="187636"/>
                    <a:pt x="51616" y="194521"/>
                    <a:pt x="47638" y="202008"/>
                  </a:cubicBezTo>
                  <a:cubicBezTo>
                    <a:pt x="43660" y="209495"/>
                    <a:pt x="40251" y="210899"/>
                    <a:pt x="49424" y="216213"/>
                  </a:cubicBezTo>
                  <a:cubicBezTo>
                    <a:pt x="57542" y="220992"/>
                    <a:pt x="62981" y="223900"/>
                    <a:pt x="58922" y="232457"/>
                  </a:cubicBezTo>
                  <a:cubicBezTo>
                    <a:pt x="53077" y="244857"/>
                    <a:pt x="69151" y="261836"/>
                    <a:pt x="73129" y="273534"/>
                  </a:cubicBezTo>
                  <a:cubicBezTo>
                    <a:pt x="76295" y="284464"/>
                    <a:pt x="76968" y="295828"/>
                    <a:pt x="75117" y="306958"/>
                  </a:cubicBezTo>
                  <a:cubicBezTo>
                    <a:pt x="74022" y="315681"/>
                    <a:pt x="77350" y="324104"/>
                    <a:pt x="76335" y="332995"/>
                  </a:cubicBezTo>
                  <a:cubicBezTo>
                    <a:pt x="75320" y="341885"/>
                    <a:pt x="73088" y="350943"/>
                    <a:pt x="72926" y="359734"/>
                  </a:cubicBezTo>
                  <a:cubicBezTo>
                    <a:pt x="72926" y="362307"/>
                    <a:pt x="73697" y="366686"/>
                    <a:pt x="71018" y="369159"/>
                  </a:cubicBezTo>
                  <a:cubicBezTo>
                    <a:pt x="68339" y="371633"/>
                    <a:pt x="64605" y="371165"/>
                    <a:pt x="64077" y="374340"/>
                  </a:cubicBezTo>
                  <a:cubicBezTo>
                    <a:pt x="63549" y="377515"/>
                    <a:pt x="67568" y="381024"/>
                    <a:pt x="70571" y="383297"/>
                  </a:cubicBezTo>
                  <a:cubicBezTo>
                    <a:pt x="76498" y="387509"/>
                    <a:pt x="74955" y="394060"/>
                    <a:pt x="78689" y="399040"/>
                  </a:cubicBezTo>
                  <a:cubicBezTo>
                    <a:pt x="85062" y="407296"/>
                    <a:pt x="91353" y="407663"/>
                    <a:pt x="91435" y="418392"/>
                  </a:cubicBezTo>
                  <a:cubicBezTo>
                    <a:pt x="91435" y="426380"/>
                    <a:pt x="91678" y="434101"/>
                    <a:pt x="91678" y="442089"/>
                  </a:cubicBezTo>
                  <a:cubicBezTo>
                    <a:pt x="91678" y="449376"/>
                    <a:pt x="103327" y="455459"/>
                    <a:pt x="102069" y="461341"/>
                  </a:cubicBezTo>
                  <a:cubicBezTo>
                    <a:pt x="101623" y="463480"/>
                    <a:pt x="98457" y="463547"/>
                    <a:pt x="96793" y="464918"/>
                  </a:cubicBezTo>
                  <a:cubicBezTo>
                    <a:pt x="93626" y="467558"/>
                    <a:pt x="94601" y="472304"/>
                    <a:pt x="95047" y="475145"/>
                  </a:cubicBezTo>
                  <a:cubicBezTo>
                    <a:pt x="95697" y="479424"/>
                    <a:pt x="96103" y="491857"/>
                    <a:pt x="101826" y="494197"/>
                  </a:cubicBezTo>
                  <a:cubicBezTo>
                    <a:pt x="105235" y="495634"/>
                    <a:pt x="114327" y="491590"/>
                    <a:pt x="115586" y="488949"/>
                  </a:cubicBezTo>
                  <a:cubicBezTo>
                    <a:pt x="119645" y="480025"/>
                    <a:pt x="102150" y="468093"/>
                    <a:pt x="108360" y="460405"/>
                  </a:cubicBezTo>
                  <a:cubicBezTo>
                    <a:pt x="109781" y="458601"/>
                    <a:pt x="114571" y="449777"/>
                    <a:pt x="118305" y="450044"/>
                  </a:cubicBezTo>
                  <a:cubicBezTo>
                    <a:pt x="120619" y="450044"/>
                    <a:pt x="120537" y="453386"/>
                    <a:pt x="121715" y="454523"/>
                  </a:cubicBezTo>
                  <a:cubicBezTo>
                    <a:pt x="123866" y="456328"/>
                    <a:pt x="128331" y="454189"/>
                    <a:pt x="130685" y="456227"/>
                  </a:cubicBezTo>
                  <a:cubicBezTo>
                    <a:pt x="133648" y="458801"/>
                    <a:pt x="127316" y="462010"/>
                    <a:pt x="127316" y="464784"/>
                  </a:cubicBezTo>
                  <a:cubicBezTo>
                    <a:pt x="127316" y="467558"/>
                    <a:pt x="131375" y="470165"/>
                    <a:pt x="132714" y="472939"/>
                  </a:cubicBezTo>
                  <a:cubicBezTo>
                    <a:pt x="134054" y="475714"/>
                    <a:pt x="131050" y="480192"/>
                    <a:pt x="130644" y="483535"/>
                  </a:cubicBezTo>
                  <a:cubicBezTo>
                    <a:pt x="129995" y="488214"/>
                    <a:pt x="136773" y="490721"/>
                    <a:pt x="134703" y="495066"/>
                  </a:cubicBezTo>
                  <a:cubicBezTo>
                    <a:pt x="132633" y="499411"/>
                    <a:pt x="136814" y="510106"/>
                    <a:pt x="140548" y="512747"/>
                  </a:cubicBezTo>
                  <a:cubicBezTo>
                    <a:pt x="144973" y="515855"/>
                    <a:pt x="136855" y="517660"/>
                    <a:pt x="141969" y="521972"/>
                  </a:cubicBezTo>
                  <a:cubicBezTo>
                    <a:pt x="149072" y="527988"/>
                    <a:pt x="148504" y="526618"/>
                    <a:pt x="140142" y="531297"/>
                  </a:cubicBezTo>
                  <a:cubicBezTo>
                    <a:pt x="131781" y="535976"/>
                    <a:pt x="150939" y="546170"/>
                    <a:pt x="139209" y="545970"/>
                  </a:cubicBezTo>
                  <a:cubicBezTo>
                    <a:pt x="114124" y="545569"/>
                    <a:pt x="139980" y="532601"/>
                    <a:pt x="131091" y="524512"/>
                  </a:cubicBezTo>
                  <a:cubicBezTo>
                    <a:pt x="123825" y="518028"/>
                    <a:pt x="106494" y="522841"/>
                    <a:pt x="120822" y="527854"/>
                  </a:cubicBezTo>
                  <a:cubicBezTo>
                    <a:pt x="140427" y="534907"/>
                    <a:pt x="115788" y="534773"/>
                    <a:pt x="118914" y="540121"/>
                  </a:cubicBezTo>
                  <a:cubicBezTo>
                    <a:pt x="122770" y="546605"/>
                    <a:pt x="100121" y="549981"/>
                    <a:pt x="113353" y="556031"/>
                  </a:cubicBezTo>
                  <a:cubicBezTo>
                    <a:pt x="116966" y="557702"/>
                    <a:pt x="109862" y="561512"/>
                    <a:pt x="108320" y="563384"/>
                  </a:cubicBezTo>
                  <a:cubicBezTo>
                    <a:pt x="106777" y="565255"/>
                    <a:pt x="103125" y="579226"/>
                    <a:pt x="109862" y="573946"/>
                  </a:cubicBezTo>
                  <a:cubicBezTo>
                    <a:pt x="112826" y="571606"/>
                    <a:pt x="108036" y="565456"/>
                    <a:pt x="116884" y="566392"/>
                  </a:cubicBezTo>
                  <a:cubicBezTo>
                    <a:pt x="124637" y="567227"/>
                    <a:pt x="121593" y="570469"/>
                    <a:pt x="129467" y="566392"/>
                  </a:cubicBezTo>
                  <a:cubicBezTo>
                    <a:pt x="148625" y="556565"/>
                    <a:pt x="135353" y="578357"/>
                    <a:pt x="135840" y="580630"/>
                  </a:cubicBezTo>
                  <a:cubicBezTo>
                    <a:pt x="138722" y="594267"/>
                    <a:pt x="153537" y="575650"/>
                    <a:pt x="162183" y="579962"/>
                  </a:cubicBezTo>
                  <a:cubicBezTo>
                    <a:pt x="163725" y="580730"/>
                    <a:pt x="166972" y="586947"/>
                    <a:pt x="162183" y="585543"/>
                  </a:cubicBezTo>
                  <a:cubicBezTo>
                    <a:pt x="149397" y="581700"/>
                    <a:pt x="151670" y="586914"/>
                    <a:pt x="143430" y="591393"/>
                  </a:cubicBezTo>
                  <a:cubicBezTo>
                    <a:pt x="135190" y="595871"/>
                    <a:pt x="123338" y="592161"/>
                    <a:pt x="120984" y="603626"/>
                  </a:cubicBezTo>
                  <a:cubicBezTo>
                    <a:pt x="119645" y="610310"/>
                    <a:pt x="140832" y="613887"/>
                    <a:pt x="142984" y="602188"/>
                  </a:cubicBezTo>
                  <a:cubicBezTo>
                    <a:pt x="143349" y="600083"/>
                    <a:pt x="146677" y="595504"/>
                    <a:pt x="150330" y="597442"/>
                  </a:cubicBezTo>
                  <a:cubicBezTo>
                    <a:pt x="158042" y="601720"/>
                    <a:pt x="149681" y="605063"/>
                    <a:pt x="145784" y="608138"/>
                  </a:cubicBezTo>
                  <a:cubicBezTo>
                    <a:pt x="141888" y="611213"/>
                    <a:pt x="140751" y="619469"/>
                    <a:pt x="137301" y="623479"/>
                  </a:cubicBezTo>
                  <a:cubicBezTo>
                    <a:pt x="129792" y="632270"/>
                    <a:pt x="145419" y="627523"/>
                    <a:pt x="147002" y="627824"/>
                  </a:cubicBezTo>
                  <a:cubicBezTo>
                    <a:pt x="148585" y="628125"/>
                    <a:pt x="148179" y="631167"/>
                    <a:pt x="149884" y="631735"/>
                  </a:cubicBezTo>
                  <a:cubicBezTo>
                    <a:pt x="156622" y="634543"/>
                    <a:pt x="160234" y="626655"/>
                    <a:pt x="156825" y="623312"/>
                  </a:cubicBezTo>
                  <a:cubicBezTo>
                    <a:pt x="148057" y="614722"/>
                    <a:pt x="168555" y="608238"/>
                    <a:pt x="166079" y="618499"/>
                  </a:cubicBezTo>
                  <a:cubicBezTo>
                    <a:pt x="164658" y="624382"/>
                    <a:pt x="170788" y="638119"/>
                    <a:pt x="165470" y="642096"/>
                  </a:cubicBezTo>
                  <a:cubicBezTo>
                    <a:pt x="166079" y="641662"/>
                    <a:pt x="159707" y="655131"/>
                    <a:pt x="156906" y="652123"/>
                  </a:cubicBezTo>
                  <a:cubicBezTo>
                    <a:pt x="158651" y="652424"/>
                    <a:pt x="160356" y="652959"/>
                    <a:pt x="161858" y="653761"/>
                  </a:cubicBezTo>
                  <a:cubicBezTo>
                    <a:pt x="163522" y="655733"/>
                    <a:pt x="161087" y="658507"/>
                    <a:pt x="161493" y="660680"/>
                  </a:cubicBezTo>
                  <a:cubicBezTo>
                    <a:pt x="162629" y="666462"/>
                    <a:pt x="170869" y="656201"/>
                    <a:pt x="173426" y="656101"/>
                  </a:cubicBezTo>
                  <a:cubicBezTo>
                    <a:pt x="178662" y="655833"/>
                    <a:pt x="190230" y="648748"/>
                    <a:pt x="193193" y="652758"/>
                  </a:cubicBezTo>
                  <a:cubicBezTo>
                    <a:pt x="194330" y="654296"/>
                    <a:pt x="180691" y="667732"/>
                    <a:pt x="185075" y="667465"/>
                  </a:cubicBezTo>
                  <a:cubicBezTo>
                    <a:pt x="187389" y="666696"/>
                    <a:pt x="189540" y="665660"/>
                    <a:pt x="191488" y="664356"/>
                  </a:cubicBezTo>
                  <a:cubicBezTo>
                    <a:pt x="197130" y="661515"/>
                    <a:pt x="197130" y="665192"/>
                    <a:pt x="201514" y="666161"/>
                  </a:cubicBezTo>
                  <a:cubicBezTo>
                    <a:pt x="207684" y="667532"/>
                    <a:pt x="202772" y="658374"/>
                    <a:pt x="207359" y="657070"/>
                  </a:cubicBezTo>
                  <a:cubicBezTo>
                    <a:pt x="211174" y="656000"/>
                    <a:pt x="222337" y="657070"/>
                    <a:pt x="221241" y="661582"/>
                  </a:cubicBezTo>
                  <a:cubicBezTo>
                    <a:pt x="219414" y="669036"/>
                    <a:pt x="205979" y="668835"/>
                    <a:pt x="200134" y="672579"/>
                  </a:cubicBezTo>
                  <a:cubicBezTo>
                    <a:pt x="194289" y="676322"/>
                    <a:pt x="199403" y="684778"/>
                    <a:pt x="206791" y="683408"/>
                  </a:cubicBezTo>
                  <a:cubicBezTo>
                    <a:pt x="214178" y="682037"/>
                    <a:pt x="216004" y="672378"/>
                    <a:pt x="223229" y="669236"/>
                  </a:cubicBezTo>
                  <a:cubicBezTo>
                    <a:pt x="229318" y="666596"/>
                    <a:pt x="235934" y="664858"/>
                    <a:pt x="242753" y="664122"/>
                  </a:cubicBezTo>
                  <a:cubicBezTo>
                    <a:pt x="249126" y="663487"/>
                    <a:pt x="253956" y="666462"/>
                    <a:pt x="245594" y="668935"/>
                  </a:cubicBezTo>
                  <a:cubicBezTo>
                    <a:pt x="238694" y="670941"/>
                    <a:pt x="239384" y="673080"/>
                    <a:pt x="234230" y="676356"/>
                  </a:cubicBezTo>
                  <a:cubicBezTo>
                    <a:pt x="227816" y="680433"/>
                    <a:pt x="222580" y="675720"/>
                    <a:pt x="217994" y="681636"/>
                  </a:cubicBezTo>
                  <a:cubicBezTo>
                    <a:pt x="210200" y="691229"/>
                    <a:pt x="219576" y="699852"/>
                    <a:pt x="227045" y="687686"/>
                  </a:cubicBezTo>
                  <a:cubicBezTo>
                    <a:pt x="228953" y="684544"/>
                    <a:pt x="256432" y="668568"/>
                    <a:pt x="259517" y="670673"/>
                  </a:cubicBezTo>
                  <a:cubicBezTo>
                    <a:pt x="264631" y="674283"/>
                    <a:pt x="257609" y="679932"/>
                    <a:pt x="252982" y="681703"/>
                  </a:cubicBezTo>
                  <a:cubicBezTo>
                    <a:pt x="245432" y="684578"/>
                    <a:pt x="232403" y="682305"/>
                    <a:pt x="238776" y="693602"/>
                  </a:cubicBezTo>
                  <a:cubicBezTo>
                    <a:pt x="242226" y="699652"/>
                    <a:pt x="194817" y="695440"/>
                    <a:pt x="217141" y="706437"/>
                  </a:cubicBezTo>
                  <a:cubicBezTo>
                    <a:pt x="226355" y="710982"/>
                    <a:pt x="228101" y="707640"/>
                    <a:pt x="237193" y="705935"/>
                  </a:cubicBezTo>
                  <a:cubicBezTo>
                    <a:pt x="242753" y="704899"/>
                    <a:pt x="260004" y="713322"/>
                    <a:pt x="259354" y="702894"/>
                  </a:cubicBezTo>
                  <a:cubicBezTo>
                    <a:pt x="259354" y="699752"/>
                    <a:pt x="248557" y="704097"/>
                    <a:pt x="249004" y="698783"/>
                  </a:cubicBezTo>
                  <a:cubicBezTo>
                    <a:pt x="249532" y="692666"/>
                    <a:pt x="266052" y="695140"/>
                    <a:pt x="270557" y="689224"/>
                  </a:cubicBezTo>
                  <a:cubicBezTo>
                    <a:pt x="275956" y="682104"/>
                    <a:pt x="266498" y="678160"/>
                    <a:pt x="267716" y="671542"/>
                  </a:cubicBezTo>
                  <a:cubicBezTo>
                    <a:pt x="268609" y="665794"/>
                    <a:pt x="278838" y="656769"/>
                    <a:pt x="286265" y="655031"/>
                  </a:cubicBezTo>
                  <a:cubicBezTo>
                    <a:pt x="293693" y="653293"/>
                    <a:pt x="284236" y="664624"/>
                    <a:pt x="282897" y="665559"/>
                  </a:cubicBezTo>
                  <a:cubicBezTo>
                    <a:pt x="276686" y="669905"/>
                    <a:pt x="276199" y="677525"/>
                    <a:pt x="287605" y="676356"/>
                  </a:cubicBezTo>
                  <a:cubicBezTo>
                    <a:pt x="293247" y="675754"/>
                    <a:pt x="297631" y="668601"/>
                    <a:pt x="303841" y="670606"/>
                  </a:cubicBezTo>
                  <a:cubicBezTo>
                    <a:pt x="310051" y="672612"/>
                    <a:pt x="297671" y="677626"/>
                    <a:pt x="296048" y="679397"/>
                  </a:cubicBezTo>
                  <a:cubicBezTo>
                    <a:pt x="291258" y="684544"/>
                    <a:pt x="303029" y="685480"/>
                    <a:pt x="302948" y="689658"/>
                  </a:cubicBezTo>
                  <a:cubicBezTo>
                    <a:pt x="302745" y="697980"/>
                    <a:pt x="293572" y="690126"/>
                    <a:pt x="292232" y="688054"/>
                  </a:cubicBezTo>
                  <a:cubicBezTo>
                    <a:pt x="280055" y="669270"/>
                    <a:pt x="281476" y="699016"/>
                    <a:pt x="288173" y="696877"/>
                  </a:cubicBezTo>
                  <a:cubicBezTo>
                    <a:pt x="282125" y="698783"/>
                    <a:pt x="275996" y="691329"/>
                    <a:pt x="269948" y="693535"/>
                  </a:cubicBezTo>
                  <a:cubicBezTo>
                    <a:pt x="259720" y="697145"/>
                    <a:pt x="276930" y="701590"/>
                    <a:pt x="271247" y="703897"/>
                  </a:cubicBezTo>
                  <a:cubicBezTo>
                    <a:pt x="267188" y="705434"/>
                    <a:pt x="257487" y="710147"/>
                    <a:pt x="265199" y="713689"/>
                  </a:cubicBezTo>
                  <a:cubicBezTo>
                    <a:pt x="271044" y="716363"/>
                    <a:pt x="279122" y="704331"/>
                    <a:pt x="286874" y="710815"/>
                  </a:cubicBezTo>
                  <a:cubicBezTo>
                    <a:pt x="287524" y="711316"/>
                    <a:pt x="299051" y="723783"/>
                    <a:pt x="299985" y="718937"/>
                  </a:cubicBezTo>
                  <a:cubicBezTo>
                    <a:pt x="301000" y="714726"/>
                    <a:pt x="295682" y="710715"/>
                    <a:pt x="297955" y="706403"/>
                  </a:cubicBezTo>
                  <a:cubicBezTo>
                    <a:pt x="300228" y="702092"/>
                    <a:pt x="317641" y="722346"/>
                    <a:pt x="328520" y="714392"/>
                  </a:cubicBezTo>
                  <a:cubicBezTo>
                    <a:pt x="329209" y="713890"/>
                    <a:pt x="324095" y="709879"/>
                    <a:pt x="326368" y="707406"/>
                  </a:cubicBezTo>
                  <a:cubicBezTo>
                    <a:pt x="329818" y="703662"/>
                    <a:pt x="337734" y="707707"/>
                    <a:pt x="340980" y="709077"/>
                  </a:cubicBezTo>
                  <a:cubicBezTo>
                    <a:pt x="343416" y="710113"/>
                    <a:pt x="353969" y="715595"/>
                    <a:pt x="356851" y="711918"/>
                  </a:cubicBezTo>
                  <a:cubicBezTo>
                    <a:pt x="360585" y="707272"/>
                    <a:pt x="345039" y="704365"/>
                    <a:pt x="344309" y="701690"/>
                  </a:cubicBezTo>
                  <a:cubicBezTo>
                    <a:pt x="343741" y="699585"/>
                    <a:pt x="362858" y="699217"/>
                    <a:pt x="364401" y="699050"/>
                  </a:cubicBezTo>
                  <a:cubicBezTo>
                    <a:pt x="371869" y="698181"/>
                    <a:pt x="370895" y="692031"/>
                    <a:pt x="375725" y="691797"/>
                  </a:cubicBezTo>
                  <a:cubicBezTo>
                    <a:pt x="366877" y="690326"/>
                    <a:pt x="340209" y="704231"/>
                    <a:pt x="336759" y="698916"/>
                  </a:cubicBezTo>
                  <a:cubicBezTo>
                    <a:pt x="329331" y="687619"/>
                    <a:pt x="325475" y="674350"/>
                    <a:pt x="320889" y="662150"/>
                  </a:cubicBezTo>
                  <a:cubicBezTo>
                    <a:pt x="319102" y="657471"/>
                    <a:pt x="317357" y="652792"/>
                    <a:pt x="315693" y="648112"/>
                  </a:cubicBezTo>
                  <a:cubicBezTo>
                    <a:pt x="310254" y="648781"/>
                    <a:pt x="298848" y="654998"/>
                    <a:pt x="294546" y="650218"/>
                  </a:cubicBezTo>
                  <a:cubicBezTo>
                    <a:pt x="290812" y="646040"/>
                    <a:pt x="299213" y="645038"/>
                    <a:pt x="290933" y="643533"/>
                  </a:cubicBezTo>
                  <a:cubicBezTo>
                    <a:pt x="284764" y="642531"/>
                    <a:pt x="278351" y="642932"/>
                    <a:pt x="272465" y="644737"/>
                  </a:cubicBezTo>
                  <a:cubicBezTo>
                    <a:pt x="262196" y="647577"/>
                    <a:pt x="252251" y="651087"/>
                    <a:pt x="242672" y="65523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AC0DEB25-390C-44D5-9F7E-65DA7CB75FB8}"/>
                </a:ext>
              </a:extLst>
            </p:cNvPr>
            <p:cNvSpPr/>
            <p:nvPr/>
          </p:nvSpPr>
          <p:spPr>
            <a:xfrm>
              <a:off x="4207318" y="5415883"/>
              <a:ext cx="236848" cy="135565"/>
            </a:xfrm>
            <a:custGeom>
              <a:avLst/>
              <a:gdLst>
                <a:gd name="connsiteX0" fmla="*/ 225254 w 236848"/>
                <a:gd name="connsiteY0" fmla="*/ 49930 h 135565"/>
                <a:gd name="connsiteX1" fmla="*/ 205243 w 236848"/>
                <a:gd name="connsiteY1" fmla="*/ 57952 h 135565"/>
                <a:gd name="connsiteX2" fmla="*/ 191686 w 236848"/>
                <a:gd name="connsiteY2" fmla="*/ 47925 h 135565"/>
                <a:gd name="connsiteX3" fmla="*/ 162137 w 236848"/>
                <a:gd name="connsiteY3" fmla="*/ 34555 h 135565"/>
                <a:gd name="connsiteX4" fmla="*/ 125322 w 236848"/>
                <a:gd name="connsiteY4" fmla="*/ 36427 h 135565"/>
                <a:gd name="connsiteX5" fmla="*/ 121263 w 236848"/>
                <a:gd name="connsiteY5" fmla="*/ 19715 h 135565"/>
                <a:gd name="connsiteX6" fmla="*/ 110831 w 236848"/>
                <a:gd name="connsiteY6" fmla="*/ 9688 h 135565"/>
                <a:gd name="connsiteX7" fmla="*/ 107706 w 236848"/>
                <a:gd name="connsiteY7" fmla="*/ -339 h 135565"/>
                <a:gd name="connsiteX8" fmla="*/ 83352 w 236848"/>
                <a:gd name="connsiteY8" fmla="*/ 229 h 135565"/>
                <a:gd name="connsiteX9" fmla="*/ 48689 w 236848"/>
                <a:gd name="connsiteY9" fmla="*/ 10524 h 135565"/>
                <a:gd name="connsiteX10" fmla="*/ 23645 w 236848"/>
                <a:gd name="connsiteY10" fmla="*/ 19247 h 135565"/>
                <a:gd name="connsiteX11" fmla="*/ 8058 w 236848"/>
                <a:gd name="connsiteY11" fmla="*/ 48393 h 135565"/>
                <a:gd name="connsiteX12" fmla="*/ -60 w 236848"/>
                <a:gd name="connsiteY12" fmla="*/ 71555 h 135565"/>
                <a:gd name="connsiteX13" fmla="*/ 55548 w 236848"/>
                <a:gd name="connsiteY13" fmla="*/ 87766 h 135565"/>
                <a:gd name="connsiteX14" fmla="*/ 89116 w 236848"/>
                <a:gd name="connsiteY14" fmla="*/ 87766 h 135565"/>
                <a:gd name="connsiteX15" fmla="*/ 111765 w 236848"/>
                <a:gd name="connsiteY15" fmla="*/ 92311 h 135565"/>
                <a:gd name="connsiteX16" fmla="*/ 157428 w 236848"/>
                <a:gd name="connsiteY16" fmla="*/ 94283 h 135565"/>
                <a:gd name="connsiteX17" fmla="*/ 152395 w 236848"/>
                <a:gd name="connsiteY17" fmla="*/ 107653 h 135565"/>
                <a:gd name="connsiteX18" fmla="*/ 147890 w 236848"/>
                <a:gd name="connsiteY18" fmla="*/ 128208 h 135565"/>
                <a:gd name="connsiteX19" fmla="*/ 145333 w 236848"/>
                <a:gd name="connsiteY19" fmla="*/ 135227 h 135565"/>
                <a:gd name="connsiteX20" fmla="*/ 173299 w 236848"/>
                <a:gd name="connsiteY20" fmla="*/ 131651 h 135565"/>
                <a:gd name="connsiteX21" fmla="*/ 205000 w 236848"/>
                <a:gd name="connsiteY21" fmla="*/ 122894 h 135565"/>
                <a:gd name="connsiteX22" fmla="*/ 215918 w 236848"/>
                <a:gd name="connsiteY22" fmla="*/ 118282 h 135565"/>
                <a:gd name="connsiteX23" fmla="*/ 225416 w 236848"/>
                <a:gd name="connsiteY23" fmla="*/ 110026 h 135565"/>
                <a:gd name="connsiteX24" fmla="*/ 233534 w 236848"/>
                <a:gd name="connsiteY24" fmla="*/ 81315 h 135565"/>
                <a:gd name="connsiteX25" fmla="*/ 224889 w 236848"/>
                <a:gd name="connsiteY25" fmla="*/ 49763 h 135565"/>
                <a:gd name="connsiteX26" fmla="*/ 225254 w 236848"/>
                <a:gd name="connsiteY26" fmla="*/ 49930 h 13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6848" h="135565">
                  <a:moveTo>
                    <a:pt x="225254" y="49930"/>
                  </a:moveTo>
                  <a:cubicBezTo>
                    <a:pt x="215107" y="49128"/>
                    <a:pt x="213077" y="56047"/>
                    <a:pt x="205243" y="57952"/>
                  </a:cubicBezTo>
                  <a:cubicBezTo>
                    <a:pt x="201184" y="58921"/>
                    <a:pt x="193269" y="49529"/>
                    <a:pt x="191686" y="47925"/>
                  </a:cubicBezTo>
                  <a:cubicBezTo>
                    <a:pt x="185354" y="41641"/>
                    <a:pt x="176100" y="28272"/>
                    <a:pt x="162137" y="34555"/>
                  </a:cubicBezTo>
                  <a:cubicBezTo>
                    <a:pt x="156617" y="36995"/>
                    <a:pt x="127717" y="41240"/>
                    <a:pt x="125322" y="36427"/>
                  </a:cubicBezTo>
                  <a:cubicBezTo>
                    <a:pt x="122603" y="31046"/>
                    <a:pt x="125322" y="24929"/>
                    <a:pt x="121263" y="19715"/>
                  </a:cubicBezTo>
                  <a:cubicBezTo>
                    <a:pt x="119112" y="17041"/>
                    <a:pt x="110304" y="13031"/>
                    <a:pt x="110831" y="9688"/>
                  </a:cubicBezTo>
                  <a:cubicBezTo>
                    <a:pt x="111765" y="3973"/>
                    <a:pt x="117610" y="4040"/>
                    <a:pt x="107706" y="-339"/>
                  </a:cubicBezTo>
                  <a:cubicBezTo>
                    <a:pt x="101334" y="4675"/>
                    <a:pt x="90780" y="62"/>
                    <a:pt x="83352" y="229"/>
                  </a:cubicBezTo>
                  <a:cubicBezTo>
                    <a:pt x="70891" y="1132"/>
                    <a:pt x="58958" y="4675"/>
                    <a:pt x="48689" y="10524"/>
                  </a:cubicBezTo>
                  <a:cubicBezTo>
                    <a:pt x="41869" y="15036"/>
                    <a:pt x="31235" y="15537"/>
                    <a:pt x="23645" y="19247"/>
                  </a:cubicBezTo>
                  <a:cubicBezTo>
                    <a:pt x="11021" y="24929"/>
                    <a:pt x="4608" y="36895"/>
                    <a:pt x="8058" y="48393"/>
                  </a:cubicBezTo>
                  <a:cubicBezTo>
                    <a:pt x="10128" y="56816"/>
                    <a:pt x="16176" y="68447"/>
                    <a:pt x="-60" y="71555"/>
                  </a:cubicBezTo>
                  <a:cubicBezTo>
                    <a:pt x="15892" y="80914"/>
                    <a:pt x="36796" y="82150"/>
                    <a:pt x="55548" y="87766"/>
                  </a:cubicBezTo>
                  <a:cubicBezTo>
                    <a:pt x="67360" y="91309"/>
                    <a:pt x="76330" y="87766"/>
                    <a:pt x="89116" y="87766"/>
                  </a:cubicBezTo>
                  <a:cubicBezTo>
                    <a:pt x="98167" y="87766"/>
                    <a:pt x="103607" y="91409"/>
                    <a:pt x="111765" y="92311"/>
                  </a:cubicBezTo>
                  <a:cubicBezTo>
                    <a:pt x="126337" y="93949"/>
                    <a:pt x="143628" y="91142"/>
                    <a:pt x="157428" y="94283"/>
                  </a:cubicBezTo>
                  <a:cubicBezTo>
                    <a:pt x="163477" y="95654"/>
                    <a:pt x="154019" y="105313"/>
                    <a:pt x="152395" y="107653"/>
                  </a:cubicBezTo>
                  <a:cubicBezTo>
                    <a:pt x="147200" y="115374"/>
                    <a:pt x="151178" y="121022"/>
                    <a:pt x="147890" y="128208"/>
                  </a:cubicBezTo>
                  <a:cubicBezTo>
                    <a:pt x="147281" y="129478"/>
                    <a:pt x="140462" y="134893"/>
                    <a:pt x="145333" y="135227"/>
                  </a:cubicBezTo>
                  <a:cubicBezTo>
                    <a:pt x="154790" y="134893"/>
                    <a:pt x="164166" y="133690"/>
                    <a:pt x="173299" y="131651"/>
                  </a:cubicBezTo>
                  <a:cubicBezTo>
                    <a:pt x="183934" y="129144"/>
                    <a:pt x="196679" y="128309"/>
                    <a:pt x="205000" y="122894"/>
                  </a:cubicBezTo>
                  <a:cubicBezTo>
                    <a:pt x="208491" y="120554"/>
                    <a:pt x="212631" y="120320"/>
                    <a:pt x="215918" y="118282"/>
                  </a:cubicBezTo>
                  <a:cubicBezTo>
                    <a:pt x="219206" y="116243"/>
                    <a:pt x="221560" y="112432"/>
                    <a:pt x="225416" y="110026"/>
                  </a:cubicBezTo>
                  <a:cubicBezTo>
                    <a:pt x="236538" y="103508"/>
                    <a:pt x="240029" y="91208"/>
                    <a:pt x="233534" y="81315"/>
                  </a:cubicBezTo>
                  <a:cubicBezTo>
                    <a:pt x="230003" y="75466"/>
                    <a:pt x="237025" y="50766"/>
                    <a:pt x="224889" y="49763"/>
                  </a:cubicBezTo>
                  <a:cubicBezTo>
                    <a:pt x="215188" y="49161"/>
                    <a:pt x="235280" y="50766"/>
                    <a:pt x="225254" y="4993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0AD37723-E587-4EE9-BF62-752F1F933CE5}"/>
                </a:ext>
              </a:extLst>
            </p:cNvPr>
            <p:cNvSpPr/>
            <p:nvPr/>
          </p:nvSpPr>
          <p:spPr>
            <a:xfrm>
              <a:off x="3358626" y="5125365"/>
              <a:ext cx="97531" cy="35821"/>
            </a:xfrm>
            <a:custGeom>
              <a:avLst/>
              <a:gdLst>
                <a:gd name="connsiteX0" fmla="*/ 95042 w 97531"/>
                <a:gd name="connsiteY0" fmla="*/ 20885 h 35821"/>
                <a:gd name="connsiteX1" fmla="*/ 87330 w 97531"/>
                <a:gd name="connsiteY1" fmla="*/ 8017 h 35821"/>
                <a:gd name="connsiteX2" fmla="*/ 57091 w 97531"/>
                <a:gd name="connsiteY2" fmla="*/ -339 h 35821"/>
                <a:gd name="connsiteX3" fmla="*/ -60 w 97531"/>
                <a:gd name="connsiteY3" fmla="*/ 15604 h 35821"/>
                <a:gd name="connsiteX4" fmla="*/ 15649 w 97531"/>
                <a:gd name="connsiteY4" fmla="*/ 33352 h 35821"/>
                <a:gd name="connsiteX5" fmla="*/ 41383 w 97531"/>
                <a:gd name="connsiteY5" fmla="*/ 27871 h 35821"/>
                <a:gd name="connsiteX6" fmla="*/ 58836 w 97531"/>
                <a:gd name="connsiteY6" fmla="*/ 25999 h 35821"/>
                <a:gd name="connsiteX7" fmla="*/ 71500 w 97531"/>
                <a:gd name="connsiteY7" fmla="*/ 33218 h 35821"/>
                <a:gd name="connsiteX8" fmla="*/ 95042 w 97531"/>
                <a:gd name="connsiteY8" fmla="*/ 20885 h 3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1" h="35821">
                  <a:moveTo>
                    <a:pt x="95042" y="20885"/>
                  </a:moveTo>
                  <a:cubicBezTo>
                    <a:pt x="88426" y="15537"/>
                    <a:pt x="98777" y="10691"/>
                    <a:pt x="87330" y="8017"/>
                  </a:cubicBezTo>
                  <a:cubicBezTo>
                    <a:pt x="77073" y="5684"/>
                    <a:pt x="66978" y="2897"/>
                    <a:pt x="57091" y="-339"/>
                  </a:cubicBezTo>
                  <a:cubicBezTo>
                    <a:pt x="40287" y="7249"/>
                    <a:pt x="17841" y="8051"/>
                    <a:pt x="-60" y="15604"/>
                  </a:cubicBezTo>
                  <a:cubicBezTo>
                    <a:pt x="7612" y="21253"/>
                    <a:pt x="-8746" y="36126"/>
                    <a:pt x="15649" y="33352"/>
                  </a:cubicBezTo>
                  <a:cubicBezTo>
                    <a:pt x="31276" y="31581"/>
                    <a:pt x="25025" y="24662"/>
                    <a:pt x="41383" y="27871"/>
                  </a:cubicBezTo>
                  <a:cubicBezTo>
                    <a:pt x="45442" y="28673"/>
                    <a:pt x="53803" y="25732"/>
                    <a:pt x="58836" y="25999"/>
                  </a:cubicBezTo>
                  <a:cubicBezTo>
                    <a:pt x="67401" y="26434"/>
                    <a:pt x="67482" y="29542"/>
                    <a:pt x="71500" y="33218"/>
                  </a:cubicBezTo>
                  <a:cubicBezTo>
                    <a:pt x="79212" y="40238"/>
                    <a:pt x="105514" y="29475"/>
                    <a:pt x="95042" y="2088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900AE7AC-C4AB-4204-B918-3D6A16944F33}"/>
                </a:ext>
              </a:extLst>
            </p:cNvPr>
            <p:cNvSpPr/>
            <p:nvPr/>
          </p:nvSpPr>
          <p:spPr>
            <a:xfrm>
              <a:off x="3451569" y="5097422"/>
              <a:ext cx="161743" cy="59093"/>
            </a:xfrm>
            <a:custGeom>
              <a:avLst/>
              <a:gdLst>
                <a:gd name="connsiteX0" fmla="*/ 139658 w 161743"/>
                <a:gd name="connsiteY0" fmla="*/ 1801 h 59093"/>
                <a:gd name="connsiteX1" fmla="*/ 72928 w 161743"/>
                <a:gd name="connsiteY1" fmla="*/ 14736 h 59093"/>
                <a:gd name="connsiteX2" fmla="*/ 38589 w 161743"/>
                <a:gd name="connsiteY2" fmla="*/ 37799 h 59093"/>
                <a:gd name="connsiteX3" fmla="*/ 1166 w 161743"/>
                <a:gd name="connsiteY3" fmla="*/ 37431 h 59093"/>
                <a:gd name="connsiteX4" fmla="*/ 3114 w 161743"/>
                <a:gd name="connsiteY4" fmla="*/ 58755 h 59093"/>
                <a:gd name="connsiteX5" fmla="*/ 42527 w 161743"/>
                <a:gd name="connsiteY5" fmla="*/ 55714 h 59093"/>
                <a:gd name="connsiteX6" fmla="*/ 76095 w 161743"/>
                <a:gd name="connsiteY6" fmla="*/ 55714 h 59093"/>
                <a:gd name="connsiteX7" fmla="*/ 76622 w 161743"/>
                <a:gd name="connsiteY7" fmla="*/ 41809 h 59093"/>
                <a:gd name="connsiteX8" fmla="*/ 84740 w 161743"/>
                <a:gd name="connsiteY8" fmla="*/ 24697 h 59093"/>
                <a:gd name="connsiteX9" fmla="*/ 111042 w 161743"/>
                <a:gd name="connsiteY9" fmla="*/ 11661 h 59093"/>
                <a:gd name="connsiteX10" fmla="*/ 130079 w 161743"/>
                <a:gd name="connsiteY10" fmla="*/ 26836 h 59093"/>
                <a:gd name="connsiteX11" fmla="*/ 148263 w 161743"/>
                <a:gd name="connsiteY11" fmla="*/ 31047 h 59093"/>
                <a:gd name="connsiteX12" fmla="*/ 158938 w 161743"/>
                <a:gd name="connsiteY12" fmla="*/ 17377 h 59093"/>
                <a:gd name="connsiteX13" fmla="*/ 139739 w 161743"/>
                <a:gd name="connsiteY13" fmla="*/ 1668 h 59093"/>
                <a:gd name="connsiteX14" fmla="*/ 139658 w 161743"/>
                <a:gd name="connsiteY14" fmla="*/ 1801 h 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743" h="59093">
                  <a:moveTo>
                    <a:pt x="139658" y="1801"/>
                  </a:moveTo>
                  <a:cubicBezTo>
                    <a:pt x="123787" y="-4248"/>
                    <a:pt x="86648" y="3305"/>
                    <a:pt x="72928" y="14736"/>
                  </a:cubicBezTo>
                  <a:cubicBezTo>
                    <a:pt x="61645" y="24128"/>
                    <a:pt x="57342" y="33988"/>
                    <a:pt x="38589" y="37799"/>
                  </a:cubicBezTo>
                  <a:cubicBezTo>
                    <a:pt x="26279" y="40299"/>
                    <a:pt x="13399" y="40172"/>
                    <a:pt x="1166" y="37431"/>
                  </a:cubicBezTo>
                  <a:cubicBezTo>
                    <a:pt x="-2406" y="44116"/>
                    <a:pt x="2952" y="52137"/>
                    <a:pt x="3114" y="58755"/>
                  </a:cubicBezTo>
                  <a:cubicBezTo>
                    <a:pt x="15697" y="55413"/>
                    <a:pt x="31527" y="52839"/>
                    <a:pt x="42527" y="55714"/>
                  </a:cubicBezTo>
                  <a:cubicBezTo>
                    <a:pt x="46910" y="56850"/>
                    <a:pt x="72360" y="57719"/>
                    <a:pt x="76095" y="55714"/>
                  </a:cubicBezTo>
                  <a:cubicBezTo>
                    <a:pt x="88799" y="49330"/>
                    <a:pt x="85958" y="44316"/>
                    <a:pt x="76622" y="41809"/>
                  </a:cubicBezTo>
                  <a:cubicBezTo>
                    <a:pt x="69235" y="39771"/>
                    <a:pt x="81615" y="29242"/>
                    <a:pt x="84740" y="24697"/>
                  </a:cubicBezTo>
                  <a:cubicBezTo>
                    <a:pt x="88799" y="18747"/>
                    <a:pt x="101828" y="12397"/>
                    <a:pt x="111042" y="11661"/>
                  </a:cubicBezTo>
                  <a:cubicBezTo>
                    <a:pt x="133204" y="9957"/>
                    <a:pt x="117212" y="22223"/>
                    <a:pt x="130079" y="26836"/>
                  </a:cubicBezTo>
                  <a:cubicBezTo>
                    <a:pt x="135952" y="28737"/>
                    <a:pt x="142045" y="30148"/>
                    <a:pt x="148263" y="31047"/>
                  </a:cubicBezTo>
                  <a:cubicBezTo>
                    <a:pt x="151713" y="26468"/>
                    <a:pt x="155123" y="21855"/>
                    <a:pt x="158938" y="17377"/>
                  </a:cubicBezTo>
                  <a:cubicBezTo>
                    <a:pt x="168436" y="6247"/>
                    <a:pt x="151145" y="6013"/>
                    <a:pt x="139739" y="1668"/>
                  </a:cubicBezTo>
                  <a:cubicBezTo>
                    <a:pt x="125776" y="-3413"/>
                    <a:pt x="149075" y="5445"/>
                    <a:pt x="139658" y="18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93049048-B163-4250-ADA7-DA379A13CC26}"/>
                </a:ext>
              </a:extLst>
            </p:cNvPr>
            <p:cNvSpPr/>
            <p:nvPr/>
          </p:nvSpPr>
          <p:spPr>
            <a:xfrm>
              <a:off x="3599527" y="4986948"/>
              <a:ext cx="330749" cy="257633"/>
            </a:xfrm>
            <a:custGeom>
              <a:avLst/>
              <a:gdLst>
                <a:gd name="connsiteX0" fmla="*/ 75275 w 330749"/>
                <a:gd name="connsiteY0" fmla="*/ 244366 h 257633"/>
                <a:gd name="connsiteX1" fmla="*/ 100562 w 330749"/>
                <a:gd name="connsiteY1" fmla="*/ 236544 h 257633"/>
                <a:gd name="connsiteX2" fmla="*/ 118665 w 330749"/>
                <a:gd name="connsiteY2" fmla="*/ 240388 h 257633"/>
                <a:gd name="connsiteX3" fmla="*/ 132588 w 330749"/>
                <a:gd name="connsiteY3" fmla="*/ 235442 h 257633"/>
                <a:gd name="connsiteX4" fmla="*/ 154465 w 330749"/>
                <a:gd name="connsiteY4" fmla="*/ 239352 h 257633"/>
                <a:gd name="connsiteX5" fmla="*/ 184461 w 330749"/>
                <a:gd name="connsiteY5" fmla="*/ 243998 h 257633"/>
                <a:gd name="connsiteX6" fmla="*/ 222859 w 330749"/>
                <a:gd name="connsiteY6" fmla="*/ 250014 h 257633"/>
                <a:gd name="connsiteX7" fmla="*/ 276357 w 330749"/>
                <a:gd name="connsiteY7" fmla="*/ 233703 h 257633"/>
                <a:gd name="connsiteX8" fmla="*/ 288818 w 330749"/>
                <a:gd name="connsiteY8" fmla="*/ 256532 h 257633"/>
                <a:gd name="connsiteX9" fmla="*/ 303876 w 330749"/>
                <a:gd name="connsiteY9" fmla="*/ 250850 h 257633"/>
                <a:gd name="connsiteX10" fmla="*/ 299817 w 330749"/>
                <a:gd name="connsiteY10" fmla="*/ 230261 h 257633"/>
                <a:gd name="connsiteX11" fmla="*/ 296530 w 330749"/>
                <a:gd name="connsiteY11" fmla="*/ 209271 h 257633"/>
                <a:gd name="connsiteX12" fmla="*/ 277493 w 330749"/>
                <a:gd name="connsiteY12" fmla="*/ 195901 h 257633"/>
                <a:gd name="connsiteX13" fmla="*/ 270593 w 330749"/>
                <a:gd name="connsiteY13" fmla="*/ 180192 h 257633"/>
                <a:gd name="connsiteX14" fmla="*/ 274124 w 330749"/>
                <a:gd name="connsiteY14" fmla="*/ 169330 h 257633"/>
                <a:gd name="connsiteX15" fmla="*/ 266615 w 330749"/>
                <a:gd name="connsiteY15" fmla="*/ 160038 h 257633"/>
                <a:gd name="connsiteX16" fmla="*/ 295312 w 330749"/>
                <a:gd name="connsiteY16" fmla="*/ 150947 h 257633"/>
                <a:gd name="connsiteX17" fmla="*/ 322264 w 330749"/>
                <a:gd name="connsiteY17" fmla="*/ 127316 h 257633"/>
                <a:gd name="connsiteX18" fmla="*/ 315201 w 330749"/>
                <a:gd name="connsiteY18" fmla="*/ 109167 h 257633"/>
                <a:gd name="connsiteX19" fmla="*/ 294906 w 330749"/>
                <a:gd name="connsiteY19" fmla="*/ 96399 h 257633"/>
                <a:gd name="connsiteX20" fmla="*/ 296246 w 330749"/>
                <a:gd name="connsiteY20" fmla="*/ 74273 h 257633"/>
                <a:gd name="connsiteX21" fmla="*/ 273028 w 330749"/>
                <a:gd name="connsiteY21" fmla="*/ 74607 h 257633"/>
                <a:gd name="connsiteX22" fmla="*/ 233332 w 330749"/>
                <a:gd name="connsiteY22" fmla="*/ 82930 h 257633"/>
                <a:gd name="connsiteX23" fmla="*/ 202199 w 330749"/>
                <a:gd name="connsiteY23" fmla="*/ 80724 h 257633"/>
                <a:gd name="connsiteX24" fmla="*/ 146754 w 330749"/>
                <a:gd name="connsiteY24" fmla="*/ 82997 h 257633"/>
                <a:gd name="connsiteX25" fmla="*/ 134211 w 330749"/>
                <a:gd name="connsiteY25" fmla="*/ 71666 h 257633"/>
                <a:gd name="connsiteX26" fmla="*/ 124754 w 330749"/>
                <a:gd name="connsiteY26" fmla="*/ 67354 h 257633"/>
                <a:gd name="connsiteX27" fmla="*/ 110507 w 330749"/>
                <a:gd name="connsiteY27" fmla="*/ 69627 h 257633"/>
                <a:gd name="connsiteX28" fmla="*/ 115540 w 330749"/>
                <a:gd name="connsiteY28" fmla="*/ 58330 h 257633"/>
                <a:gd name="connsiteX29" fmla="*/ 112902 w 330749"/>
                <a:gd name="connsiteY29" fmla="*/ 48303 h 257633"/>
                <a:gd name="connsiteX30" fmla="*/ 131613 w 330749"/>
                <a:gd name="connsiteY30" fmla="*/ 19726 h 257633"/>
                <a:gd name="connsiteX31" fmla="*/ 149392 w 330749"/>
                <a:gd name="connsiteY31" fmla="*/ 774 h 257633"/>
                <a:gd name="connsiteX32" fmla="*/ 123577 w 330749"/>
                <a:gd name="connsiteY32" fmla="*/ 13008 h 257633"/>
                <a:gd name="connsiteX33" fmla="*/ 109857 w 330749"/>
                <a:gd name="connsiteY33" fmla="*/ 21096 h 257633"/>
                <a:gd name="connsiteX34" fmla="*/ 95894 w 330749"/>
                <a:gd name="connsiteY34" fmla="*/ 33563 h 257633"/>
                <a:gd name="connsiteX35" fmla="*/ 69876 w 330749"/>
                <a:gd name="connsiteY35" fmla="*/ 48871 h 257633"/>
                <a:gd name="connsiteX36" fmla="*/ 43290 w 330749"/>
                <a:gd name="connsiteY36" fmla="*/ 62241 h 257633"/>
                <a:gd name="connsiteX37" fmla="*/ 38257 w 330749"/>
                <a:gd name="connsiteY37" fmla="*/ 89347 h 257633"/>
                <a:gd name="connsiteX38" fmla="*/ 19951 w 330749"/>
                <a:gd name="connsiteY38" fmla="*/ 116487 h 257633"/>
                <a:gd name="connsiteX39" fmla="*/ 14431 w 330749"/>
                <a:gd name="connsiteY39" fmla="*/ 119228 h 257633"/>
                <a:gd name="connsiteX40" fmla="*/ 13091 w 330749"/>
                <a:gd name="connsiteY40" fmla="*/ 125444 h 257633"/>
                <a:gd name="connsiteX41" fmla="*/ -60 w 330749"/>
                <a:gd name="connsiteY41" fmla="*/ 141822 h 257633"/>
                <a:gd name="connsiteX42" fmla="*/ 16866 w 330749"/>
                <a:gd name="connsiteY42" fmla="*/ 146301 h 257633"/>
                <a:gd name="connsiteX43" fmla="*/ 22386 w 330749"/>
                <a:gd name="connsiteY43" fmla="*/ 154389 h 257633"/>
                <a:gd name="connsiteX44" fmla="*/ 26892 w 330749"/>
                <a:gd name="connsiteY44" fmla="*/ 168527 h 257633"/>
                <a:gd name="connsiteX45" fmla="*/ 39069 w 330749"/>
                <a:gd name="connsiteY45" fmla="*/ 183802 h 257633"/>
                <a:gd name="connsiteX46" fmla="*/ 44142 w 330749"/>
                <a:gd name="connsiteY46" fmla="*/ 201817 h 257633"/>
                <a:gd name="connsiteX47" fmla="*/ 23848 w 330749"/>
                <a:gd name="connsiteY47" fmla="*/ 221571 h 257633"/>
                <a:gd name="connsiteX48" fmla="*/ 16866 w 330749"/>
                <a:gd name="connsiteY48" fmla="*/ 236177 h 257633"/>
                <a:gd name="connsiteX49" fmla="*/ 41707 w 330749"/>
                <a:gd name="connsiteY49" fmla="*/ 243898 h 257633"/>
                <a:gd name="connsiteX50" fmla="*/ 75072 w 330749"/>
                <a:gd name="connsiteY50" fmla="*/ 244533 h 257633"/>
                <a:gd name="connsiteX51" fmla="*/ 75275 w 330749"/>
                <a:gd name="connsiteY51" fmla="*/ 244366 h 25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0749" h="257633">
                  <a:moveTo>
                    <a:pt x="75275" y="244366"/>
                  </a:moveTo>
                  <a:cubicBezTo>
                    <a:pt x="85747" y="244566"/>
                    <a:pt x="93337" y="236043"/>
                    <a:pt x="100562" y="236544"/>
                  </a:cubicBezTo>
                  <a:cubicBezTo>
                    <a:pt x="106756" y="237246"/>
                    <a:pt x="112828" y="238550"/>
                    <a:pt x="118665" y="240388"/>
                  </a:cubicBezTo>
                  <a:cubicBezTo>
                    <a:pt x="121953" y="241291"/>
                    <a:pt x="129016" y="236745"/>
                    <a:pt x="132588" y="235442"/>
                  </a:cubicBezTo>
                  <a:cubicBezTo>
                    <a:pt x="144562" y="231030"/>
                    <a:pt x="147849" y="234807"/>
                    <a:pt x="154465" y="239352"/>
                  </a:cubicBezTo>
                  <a:cubicBezTo>
                    <a:pt x="162299" y="244733"/>
                    <a:pt x="176628" y="237413"/>
                    <a:pt x="184461" y="243998"/>
                  </a:cubicBezTo>
                  <a:cubicBezTo>
                    <a:pt x="194203" y="252153"/>
                    <a:pt x="204513" y="256766"/>
                    <a:pt x="222859" y="250014"/>
                  </a:cubicBezTo>
                  <a:cubicBezTo>
                    <a:pt x="241206" y="243263"/>
                    <a:pt x="255737" y="233302"/>
                    <a:pt x="276357" y="233703"/>
                  </a:cubicBezTo>
                  <a:cubicBezTo>
                    <a:pt x="304445" y="234472"/>
                    <a:pt x="262921" y="255095"/>
                    <a:pt x="288818" y="256532"/>
                  </a:cubicBezTo>
                  <a:cubicBezTo>
                    <a:pt x="298275" y="257067"/>
                    <a:pt x="303065" y="259640"/>
                    <a:pt x="303876" y="250850"/>
                  </a:cubicBezTo>
                  <a:cubicBezTo>
                    <a:pt x="303949" y="243831"/>
                    <a:pt x="302578" y="236879"/>
                    <a:pt x="299817" y="230261"/>
                  </a:cubicBezTo>
                  <a:cubicBezTo>
                    <a:pt x="297577" y="223409"/>
                    <a:pt x="296469" y="216357"/>
                    <a:pt x="296530" y="209271"/>
                  </a:cubicBezTo>
                  <a:cubicBezTo>
                    <a:pt x="296773" y="201918"/>
                    <a:pt x="284921" y="199244"/>
                    <a:pt x="277493" y="195901"/>
                  </a:cubicBezTo>
                  <a:cubicBezTo>
                    <a:pt x="272582" y="193696"/>
                    <a:pt x="259999" y="184805"/>
                    <a:pt x="270593" y="180192"/>
                  </a:cubicBezTo>
                  <a:cubicBezTo>
                    <a:pt x="279726" y="176215"/>
                    <a:pt x="293607" y="166322"/>
                    <a:pt x="274124" y="169330"/>
                  </a:cubicBezTo>
                  <a:cubicBezTo>
                    <a:pt x="267265" y="170399"/>
                    <a:pt x="258903" y="163681"/>
                    <a:pt x="266615" y="160038"/>
                  </a:cubicBezTo>
                  <a:cubicBezTo>
                    <a:pt x="275817" y="156278"/>
                    <a:pt x="285424" y="153233"/>
                    <a:pt x="295312" y="150947"/>
                  </a:cubicBezTo>
                  <a:cubicBezTo>
                    <a:pt x="305297" y="148173"/>
                    <a:pt x="348728" y="131160"/>
                    <a:pt x="322264" y="127316"/>
                  </a:cubicBezTo>
                  <a:cubicBezTo>
                    <a:pt x="306515" y="125010"/>
                    <a:pt x="325429" y="113245"/>
                    <a:pt x="315201" y="109167"/>
                  </a:cubicBezTo>
                  <a:cubicBezTo>
                    <a:pt x="304972" y="105090"/>
                    <a:pt x="297504" y="105190"/>
                    <a:pt x="294906" y="96399"/>
                  </a:cubicBezTo>
                  <a:cubicBezTo>
                    <a:pt x="292645" y="89080"/>
                    <a:pt x="293112" y="81369"/>
                    <a:pt x="296246" y="74273"/>
                  </a:cubicBezTo>
                  <a:cubicBezTo>
                    <a:pt x="300670" y="64847"/>
                    <a:pt x="278751" y="72568"/>
                    <a:pt x="273028" y="74607"/>
                  </a:cubicBezTo>
                  <a:cubicBezTo>
                    <a:pt x="259593" y="79320"/>
                    <a:pt x="247619" y="84166"/>
                    <a:pt x="233332" y="82930"/>
                  </a:cubicBezTo>
                  <a:cubicBezTo>
                    <a:pt x="221926" y="81994"/>
                    <a:pt x="215188" y="76713"/>
                    <a:pt x="202199" y="80724"/>
                  </a:cubicBezTo>
                  <a:cubicBezTo>
                    <a:pt x="179875" y="87609"/>
                    <a:pt x="154222" y="102817"/>
                    <a:pt x="146754" y="82997"/>
                  </a:cubicBezTo>
                  <a:cubicBezTo>
                    <a:pt x="144480" y="77047"/>
                    <a:pt x="145049" y="72970"/>
                    <a:pt x="134211" y="71666"/>
                  </a:cubicBezTo>
                  <a:cubicBezTo>
                    <a:pt x="129503" y="71165"/>
                    <a:pt x="128732" y="67822"/>
                    <a:pt x="124754" y="67354"/>
                  </a:cubicBezTo>
                  <a:cubicBezTo>
                    <a:pt x="122318" y="67087"/>
                    <a:pt x="110913" y="71365"/>
                    <a:pt x="110507" y="69627"/>
                  </a:cubicBezTo>
                  <a:cubicBezTo>
                    <a:pt x="109654" y="66285"/>
                    <a:pt x="114566" y="61940"/>
                    <a:pt x="115540" y="58330"/>
                  </a:cubicBezTo>
                  <a:cubicBezTo>
                    <a:pt x="115710" y="54857"/>
                    <a:pt x="114801" y="51408"/>
                    <a:pt x="112902" y="48303"/>
                  </a:cubicBezTo>
                  <a:cubicBezTo>
                    <a:pt x="110304" y="41986"/>
                    <a:pt x="124429" y="25408"/>
                    <a:pt x="131613" y="19726"/>
                  </a:cubicBezTo>
                  <a:cubicBezTo>
                    <a:pt x="136119" y="16149"/>
                    <a:pt x="157916" y="3916"/>
                    <a:pt x="149392" y="774"/>
                  </a:cubicBezTo>
                  <a:cubicBezTo>
                    <a:pt x="136647" y="-3871"/>
                    <a:pt x="129868" y="7159"/>
                    <a:pt x="123577" y="13008"/>
                  </a:cubicBezTo>
                  <a:cubicBezTo>
                    <a:pt x="119518" y="16684"/>
                    <a:pt x="114728" y="18054"/>
                    <a:pt x="109857" y="21096"/>
                  </a:cubicBezTo>
                  <a:cubicBezTo>
                    <a:pt x="103850" y="24806"/>
                    <a:pt x="101455" y="29686"/>
                    <a:pt x="95894" y="33563"/>
                  </a:cubicBezTo>
                  <a:cubicBezTo>
                    <a:pt x="94108" y="34766"/>
                    <a:pt x="66183" y="48871"/>
                    <a:pt x="69876" y="48871"/>
                  </a:cubicBezTo>
                  <a:cubicBezTo>
                    <a:pt x="55995" y="48871"/>
                    <a:pt x="49582" y="53116"/>
                    <a:pt x="43290" y="62241"/>
                  </a:cubicBezTo>
                  <a:cubicBezTo>
                    <a:pt x="35822" y="73003"/>
                    <a:pt x="51408" y="78317"/>
                    <a:pt x="38257" y="89347"/>
                  </a:cubicBezTo>
                  <a:cubicBezTo>
                    <a:pt x="28191" y="97870"/>
                    <a:pt x="25836" y="107295"/>
                    <a:pt x="19951" y="116487"/>
                  </a:cubicBezTo>
                  <a:cubicBezTo>
                    <a:pt x="18904" y="118198"/>
                    <a:pt x="16757" y="119264"/>
                    <a:pt x="14431" y="119228"/>
                  </a:cubicBezTo>
                  <a:cubicBezTo>
                    <a:pt x="15015" y="121363"/>
                    <a:pt x="14532" y="123603"/>
                    <a:pt x="13091" y="125444"/>
                  </a:cubicBezTo>
                  <a:cubicBezTo>
                    <a:pt x="8184" y="130605"/>
                    <a:pt x="3784" y="136083"/>
                    <a:pt x="-60" y="141822"/>
                  </a:cubicBezTo>
                  <a:cubicBezTo>
                    <a:pt x="5582" y="142825"/>
                    <a:pt x="13010" y="143460"/>
                    <a:pt x="16866" y="146301"/>
                  </a:cubicBezTo>
                  <a:cubicBezTo>
                    <a:pt x="19870" y="148473"/>
                    <a:pt x="18977" y="152584"/>
                    <a:pt x="22386" y="154389"/>
                  </a:cubicBezTo>
                  <a:cubicBezTo>
                    <a:pt x="30504" y="158701"/>
                    <a:pt x="24457" y="162845"/>
                    <a:pt x="26892" y="168527"/>
                  </a:cubicBezTo>
                  <a:cubicBezTo>
                    <a:pt x="29429" y="174340"/>
                    <a:pt x="33601" y="179574"/>
                    <a:pt x="39069" y="183802"/>
                  </a:cubicBezTo>
                  <a:cubicBezTo>
                    <a:pt x="47512" y="190286"/>
                    <a:pt x="47187" y="191322"/>
                    <a:pt x="44142" y="201817"/>
                  </a:cubicBezTo>
                  <a:cubicBezTo>
                    <a:pt x="41058" y="212981"/>
                    <a:pt x="33792" y="213449"/>
                    <a:pt x="23848" y="221571"/>
                  </a:cubicBezTo>
                  <a:cubicBezTo>
                    <a:pt x="19789" y="224746"/>
                    <a:pt x="18571" y="232567"/>
                    <a:pt x="16866" y="236177"/>
                  </a:cubicBezTo>
                  <a:cubicBezTo>
                    <a:pt x="12239" y="246204"/>
                    <a:pt x="31560" y="244031"/>
                    <a:pt x="41707" y="243898"/>
                  </a:cubicBezTo>
                  <a:cubicBezTo>
                    <a:pt x="53641" y="243697"/>
                    <a:pt x="63382" y="244332"/>
                    <a:pt x="75072" y="244533"/>
                  </a:cubicBezTo>
                  <a:cubicBezTo>
                    <a:pt x="83839" y="244533"/>
                    <a:pt x="66710" y="244232"/>
                    <a:pt x="75275" y="24436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113FB4C8-C77A-4624-919E-E49AC372F258}"/>
                </a:ext>
              </a:extLst>
            </p:cNvPr>
            <p:cNvSpPr/>
            <p:nvPr/>
          </p:nvSpPr>
          <p:spPr>
            <a:xfrm>
              <a:off x="3963211" y="5301642"/>
              <a:ext cx="356333" cy="236983"/>
            </a:xfrm>
            <a:custGeom>
              <a:avLst/>
              <a:gdLst>
                <a:gd name="connsiteX0" fmla="*/ 350717 w 356333"/>
                <a:gd name="connsiteY0" fmla="*/ 79042 h 236983"/>
                <a:gd name="connsiteX1" fmla="*/ 329692 w 356333"/>
                <a:gd name="connsiteY1" fmla="*/ 66943 h 236983"/>
                <a:gd name="connsiteX2" fmla="*/ 311791 w 356333"/>
                <a:gd name="connsiteY2" fmla="*/ 62397 h 236983"/>
                <a:gd name="connsiteX3" fmla="*/ 278954 w 356333"/>
                <a:gd name="connsiteY3" fmla="*/ 66842 h 236983"/>
                <a:gd name="connsiteX4" fmla="*/ 264058 w 356333"/>
                <a:gd name="connsiteY4" fmla="*/ 52938 h 236983"/>
                <a:gd name="connsiteX5" fmla="*/ 266940 w 356333"/>
                <a:gd name="connsiteY5" fmla="*/ 46955 h 236983"/>
                <a:gd name="connsiteX6" fmla="*/ 258822 w 356333"/>
                <a:gd name="connsiteY6" fmla="*/ 41674 h 236983"/>
                <a:gd name="connsiteX7" fmla="*/ 240272 w 356333"/>
                <a:gd name="connsiteY7" fmla="*/ 30477 h 236983"/>
                <a:gd name="connsiteX8" fmla="*/ 215188 w 356333"/>
                <a:gd name="connsiteY8" fmla="*/ 35457 h 236983"/>
                <a:gd name="connsiteX9" fmla="*/ 194041 w 356333"/>
                <a:gd name="connsiteY9" fmla="*/ 32617 h 236983"/>
                <a:gd name="connsiteX10" fmla="*/ 176790 w 356333"/>
                <a:gd name="connsiteY10" fmla="*/ 30812 h 236983"/>
                <a:gd name="connsiteX11" fmla="*/ 152923 w 356333"/>
                <a:gd name="connsiteY11" fmla="*/ 34856 h 236983"/>
                <a:gd name="connsiteX12" fmla="*/ 103607 w 356333"/>
                <a:gd name="connsiteY12" fmla="*/ 12228 h 236983"/>
                <a:gd name="connsiteX13" fmla="*/ 96706 w 356333"/>
                <a:gd name="connsiteY13" fmla="*/ -239 h 236983"/>
                <a:gd name="connsiteX14" fmla="*/ 64641 w 356333"/>
                <a:gd name="connsiteY14" fmla="*/ 12596 h 236983"/>
                <a:gd name="connsiteX15" fmla="*/ 33102 w 356333"/>
                <a:gd name="connsiteY15" fmla="*/ 34956 h 236983"/>
                <a:gd name="connsiteX16" fmla="*/ -60 w 356333"/>
                <a:gd name="connsiteY16" fmla="*/ 49362 h 236983"/>
                <a:gd name="connsiteX17" fmla="*/ 28800 w 356333"/>
                <a:gd name="connsiteY17" fmla="*/ 72525 h 236983"/>
                <a:gd name="connsiteX18" fmla="*/ 35497 w 356333"/>
                <a:gd name="connsiteY18" fmla="*/ 97726 h 236983"/>
                <a:gd name="connsiteX19" fmla="*/ 35497 w 356333"/>
                <a:gd name="connsiteY19" fmla="*/ 107753 h 236983"/>
                <a:gd name="connsiteX20" fmla="*/ 38622 w 356333"/>
                <a:gd name="connsiteY20" fmla="*/ 117780 h 236983"/>
                <a:gd name="connsiteX21" fmla="*/ 39231 w 356333"/>
                <a:gd name="connsiteY21" fmla="*/ 131851 h 236983"/>
                <a:gd name="connsiteX22" fmla="*/ 48810 w 356333"/>
                <a:gd name="connsiteY22" fmla="*/ 140842 h 236983"/>
                <a:gd name="connsiteX23" fmla="*/ 56279 w 356333"/>
                <a:gd name="connsiteY23" fmla="*/ 163069 h 236983"/>
                <a:gd name="connsiteX24" fmla="*/ 69674 w 356333"/>
                <a:gd name="connsiteY24" fmla="*/ 178410 h 236983"/>
                <a:gd name="connsiteX25" fmla="*/ 81851 w 356333"/>
                <a:gd name="connsiteY25" fmla="*/ 181051 h 236983"/>
                <a:gd name="connsiteX26" fmla="*/ 82744 w 356333"/>
                <a:gd name="connsiteY26" fmla="*/ 187736 h 236983"/>
                <a:gd name="connsiteX27" fmla="*/ 83636 w 356333"/>
                <a:gd name="connsiteY27" fmla="*/ 202241 h 236983"/>
                <a:gd name="connsiteX28" fmla="*/ 101821 w 356333"/>
                <a:gd name="connsiteY28" fmla="*/ 209127 h 236983"/>
                <a:gd name="connsiteX29" fmla="*/ 117082 w 356333"/>
                <a:gd name="connsiteY29" fmla="*/ 222062 h 236983"/>
                <a:gd name="connsiteX30" fmla="*/ 126824 w 356333"/>
                <a:gd name="connsiteY30" fmla="*/ 236133 h 236983"/>
                <a:gd name="connsiteX31" fmla="*/ 158849 w 356333"/>
                <a:gd name="connsiteY31" fmla="*/ 209394 h 236983"/>
                <a:gd name="connsiteX32" fmla="*/ 204553 w 356333"/>
                <a:gd name="connsiteY32" fmla="*/ 204648 h 236983"/>
                <a:gd name="connsiteX33" fmla="*/ 221398 w 356333"/>
                <a:gd name="connsiteY33" fmla="*/ 191713 h 236983"/>
                <a:gd name="connsiteX34" fmla="*/ 254397 w 356333"/>
                <a:gd name="connsiteY34" fmla="*/ 181051 h 236983"/>
                <a:gd name="connsiteX35" fmla="*/ 250338 w 356333"/>
                <a:gd name="connsiteY35" fmla="*/ 156986 h 236983"/>
                <a:gd name="connsiteX36" fmla="*/ 284109 w 356333"/>
                <a:gd name="connsiteY36" fmla="*/ 128576 h 236983"/>
                <a:gd name="connsiteX37" fmla="*/ 313496 w 356333"/>
                <a:gd name="connsiteY37" fmla="*/ 117579 h 236983"/>
                <a:gd name="connsiteX38" fmla="*/ 343898 w 356333"/>
                <a:gd name="connsiteY38" fmla="*/ 116476 h 236983"/>
                <a:gd name="connsiteX39" fmla="*/ 350595 w 356333"/>
                <a:gd name="connsiteY39" fmla="*/ 79176 h 23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56333" h="236983">
                  <a:moveTo>
                    <a:pt x="350717" y="79042"/>
                  </a:moveTo>
                  <a:cubicBezTo>
                    <a:pt x="345197" y="73661"/>
                    <a:pt x="332330" y="73995"/>
                    <a:pt x="329692" y="66943"/>
                  </a:cubicBezTo>
                  <a:cubicBezTo>
                    <a:pt x="327297" y="60492"/>
                    <a:pt x="321574" y="59991"/>
                    <a:pt x="311791" y="62397"/>
                  </a:cubicBezTo>
                  <a:cubicBezTo>
                    <a:pt x="302010" y="64803"/>
                    <a:pt x="288493" y="70018"/>
                    <a:pt x="278954" y="66842"/>
                  </a:cubicBezTo>
                  <a:cubicBezTo>
                    <a:pt x="275139" y="65572"/>
                    <a:pt x="263733" y="55913"/>
                    <a:pt x="264058" y="52938"/>
                  </a:cubicBezTo>
                  <a:cubicBezTo>
                    <a:pt x="264302" y="50498"/>
                    <a:pt x="269740" y="49328"/>
                    <a:pt x="266940" y="46955"/>
                  </a:cubicBezTo>
                  <a:cubicBezTo>
                    <a:pt x="264139" y="44582"/>
                    <a:pt x="260892" y="43914"/>
                    <a:pt x="258822" y="41674"/>
                  </a:cubicBezTo>
                  <a:cubicBezTo>
                    <a:pt x="254235" y="36761"/>
                    <a:pt x="253343" y="29074"/>
                    <a:pt x="240272" y="30477"/>
                  </a:cubicBezTo>
                  <a:cubicBezTo>
                    <a:pt x="233250" y="31246"/>
                    <a:pt x="221723" y="37162"/>
                    <a:pt x="215188" y="35457"/>
                  </a:cubicBezTo>
                  <a:cubicBezTo>
                    <a:pt x="206583" y="33051"/>
                    <a:pt x="207070" y="29809"/>
                    <a:pt x="194041" y="32617"/>
                  </a:cubicBezTo>
                  <a:cubicBezTo>
                    <a:pt x="185639" y="34455"/>
                    <a:pt x="182838" y="28773"/>
                    <a:pt x="176790" y="30812"/>
                  </a:cubicBezTo>
                  <a:cubicBezTo>
                    <a:pt x="170742" y="32851"/>
                    <a:pt x="160270" y="33051"/>
                    <a:pt x="152923" y="34856"/>
                  </a:cubicBezTo>
                  <a:cubicBezTo>
                    <a:pt x="129138" y="40638"/>
                    <a:pt x="109086" y="24261"/>
                    <a:pt x="103607" y="12228"/>
                  </a:cubicBezTo>
                  <a:cubicBezTo>
                    <a:pt x="102470" y="9688"/>
                    <a:pt x="102551" y="-1509"/>
                    <a:pt x="96706" y="-239"/>
                  </a:cubicBezTo>
                  <a:cubicBezTo>
                    <a:pt x="85220" y="2535"/>
                    <a:pt x="74382" y="6881"/>
                    <a:pt x="64641" y="12596"/>
                  </a:cubicBezTo>
                  <a:cubicBezTo>
                    <a:pt x="53965" y="19548"/>
                    <a:pt x="42884" y="27503"/>
                    <a:pt x="33102" y="34956"/>
                  </a:cubicBezTo>
                  <a:cubicBezTo>
                    <a:pt x="20641" y="44449"/>
                    <a:pt x="17313" y="45819"/>
                    <a:pt x="-60" y="49362"/>
                  </a:cubicBezTo>
                  <a:cubicBezTo>
                    <a:pt x="5907" y="53774"/>
                    <a:pt x="34117" y="64570"/>
                    <a:pt x="28800" y="72525"/>
                  </a:cubicBezTo>
                  <a:cubicBezTo>
                    <a:pt x="22021" y="82552"/>
                    <a:pt x="29165" y="88802"/>
                    <a:pt x="35497" y="97726"/>
                  </a:cubicBezTo>
                  <a:cubicBezTo>
                    <a:pt x="37851" y="101068"/>
                    <a:pt x="36593" y="104043"/>
                    <a:pt x="35497" y="107753"/>
                  </a:cubicBezTo>
                  <a:cubicBezTo>
                    <a:pt x="33752" y="113167"/>
                    <a:pt x="39110" y="113468"/>
                    <a:pt x="38622" y="117780"/>
                  </a:cubicBezTo>
                  <a:cubicBezTo>
                    <a:pt x="38217" y="121624"/>
                    <a:pt x="32777" y="129812"/>
                    <a:pt x="39231" y="131851"/>
                  </a:cubicBezTo>
                  <a:cubicBezTo>
                    <a:pt x="47106" y="134358"/>
                    <a:pt x="51936" y="132687"/>
                    <a:pt x="48810" y="140842"/>
                  </a:cubicBezTo>
                  <a:cubicBezTo>
                    <a:pt x="44427" y="152139"/>
                    <a:pt x="34848" y="159893"/>
                    <a:pt x="56279" y="163069"/>
                  </a:cubicBezTo>
                  <a:cubicBezTo>
                    <a:pt x="66832" y="164673"/>
                    <a:pt x="60825" y="175269"/>
                    <a:pt x="69674" y="178410"/>
                  </a:cubicBezTo>
                  <a:cubicBezTo>
                    <a:pt x="73607" y="179647"/>
                    <a:pt x="77686" y="180549"/>
                    <a:pt x="81851" y="181051"/>
                  </a:cubicBezTo>
                  <a:cubicBezTo>
                    <a:pt x="87493" y="182087"/>
                    <a:pt x="82338" y="184694"/>
                    <a:pt x="82744" y="187736"/>
                  </a:cubicBezTo>
                  <a:cubicBezTo>
                    <a:pt x="83312" y="191446"/>
                    <a:pt x="81323" y="199501"/>
                    <a:pt x="83636" y="202241"/>
                  </a:cubicBezTo>
                  <a:cubicBezTo>
                    <a:pt x="87980" y="207389"/>
                    <a:pt x="96666" y="205751"/>
                    <a:pt x="101821" y="209127"/>
                  </a:cubicBezTo>
                  <a:cubicBezTo>
                    <a:pt x="106976" y="212503"/>
                    <a:pt x="111765" y="218117"/>
                    <a:pt x="117082" y="222062"/>
                  </a:cubicBezTo>
                  <a:cubicBezTo>
                    <a:pt x="122400" y="226005"/>
                    <a:pt x="121791" y="232389"/>
                    <a:pt x="126824" y="236133"/>
                  </a:cubicBezTo>
                  <a:cubicBezTo>
                    <a:pt x="133156" y="240846"/>
                    <a:pt x="156292" y="211533"/>
                    <a:pt x="158849" y="209394"/>
                  </a:cubicBezTo>
                  <a:cubicBezTo>
                    <a:pt x="163395" y="205283"/>
                    <a:pt x="198384" y="202709"/>
                    <a:pt x="204553" y="204648"/>
                  </a:cubicBezTo>
                  <a:cubicBezTo>
                    <a:pt x="224848" y="210363"/>
                    <a:pt x="208856" y="197963"/>
                    <a:pt x="221398" y="191713"/>
                  </a:cubicBezTo>
                  <a:cubicBezTo>
                    <a:pt x="228826" y="187936"/>
                    <a:pt x="253261" y="187936"/>
                    <a:pt x="254397" y="181051"/>
                  </a:cubicBezTo>
                  <a:cubicBezTo>
                    <a:pt x="255818" y="172862"/>
                    <a:pt x="254397" y="164539"/>
                    <a:pt x="250338" y="156986"/>
                  </a:cubicBezTo>
                  <a:cubicBezTo>
                    <a:pt x="242870" y="145688"/>
                    <a:pt x="271811" y="132052"/>
                    <a:pt x="284109" y="128576"/>
                  </a:cubicBezTo>
                  <a:cubicBezTo>
                    <a:pt x="294500" y="125634"/>
                    <a:pt x="302618" y="120353"/>
                    <a:pt x="313496" y="117579"/>
                  </a:cubicBezTo>
                  <a:cubicBezTo>
                    <a:pt x="326038" y="114237"/>
                    <a:pt x="332005" y="115741"/>
                    <a:pt x="343898" y="116476"/>
                  </a:cubicBezTo>
                  <a:cubicBezTo>
                    <a:pt x="362854" y="117713"/>
                    <a:pt x="355710" y="84156"/>
                    <a:pt x="350595" y="7917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53142BDC-0C8E-4314-B097-0FA236ACAA2D}"/>
                </a:ext>
              </a:extLst>
            </p:cNvPr>
            <p:cNvSpPr/>
            <p:nvPr/>
          </p:nvSpPr>
          <p:spPr>
            <a:xfrm>
              <a:off x="3602793" y="5220414"/>
              <a:ext cx="410442" cy="261113"/>
            </a:xfrm>
            <a:custGeom>
              <a:avLst/>
              <a:gdLst>
                <a:gd name="connsiteX0" fmla="*/ 402206 w 410442"/>
                <a:gd name="connsiteY0" fmla="*/ 240486 h 261113"/>
                <a:gd name="connsiteX1" fmla="*/ 402206 w 410442"/>
                <a:gd name="connsiteY1" fmla="*/ 232465 h 261113"/>
                <a:gd name="connsiteX2" fmla="*/ 410324 w 410442"/>
                <a:gd name="connsiteY2" fmla="*/ 218360 h 261113"/>
                <a:gd name="connsiteX3" fmla="*/ 397498 w 410442"/>
                <a:gd name="connsiteY3" fmla="*/ 205291 h 261113"/>
                <a:gd name="connsiteX4" fmla="*/ 395996 w 410442"/>
                <a:gd name="connsiteY4" fmla="*/ 188847 h 261113"/>
                <a:gd name="connsiteX5" fmla="*/ 390476 w 410442"/>
                <a:gd name="connsiteY5" fmla="*/ 170598 h 261113"/>
                <a:gd name="connsiteX6" fmla="*/ 389461 w 410442"/>
                <a:gd name="connsiteY6" fmla="*/ 153552 h 261113"/>
                <a:gd name="connsiteX7" fmla="*/ 368639 w 410442"/>
                <a:gd name="connsiteY7" fmla="*/ 135670 h 261113"/>
                <a:gd name="connsiteX8" fmla="*/ 353783 w 410442"/>
                <a:gd name="connsiteY8" fmla="*/ 131960 h 261113"/>
                <a:gd name="connsiteX9" fmla="*/ 333488 w 410442"/>
                <a:gd name="connsiteY9" fmla="*/ 139280 h 261113"/>
                <a:gd name="connsiteX10" fmla="*/ 321554 w 410442"/>
                <a:gd name="connsiteY10" fmla="*/ 122000 h 261113"/>
                <a:gd name="connsiteX11" fmla="*/ 307713 w 410442"/>
                <a:gd name="connsiteY11" fmla="*/ 127214 h 261113"/>
                <a:gd name="connsiteX12" fmla="*/ 273537 w 410442"/>
                <a:gd name="connsiteY12" fmla="*/ 133899 h 261113"/>
                <a:gd name="connsiteX13" fmla="*/ 251740 w 410442"/>
                <a:gd name="connsiteY13" fmla="*/ 131058 h 261113"/>
                <a:gd name="connsiteX14" fmla="*/ 243622 w 410442"/>
                <a:gd name="connsiteY14" fmla="*/ 122534 h 261113"/>
                <a:gd name="connsiteX15" fmla="*/ 222028 w 410442"/>
                <a:gd name="connsiteY15" fmla="*/ 112507 h 261113"/>
                <a:gd name="connsiteX16" fmla="*/ 222475 w 410442"/>
                <a:gd name="connsiteY16" fmla="*/ 90815 h 261113"/>
                <a:gd name="connsiteX17" fmla="*/ 227792 w 410442"/>
                <a:gd name="connsiteY17" fmla="*/ 68689 h 261113"/>
                <a:gd name="connsiteX18" fmla="*/ 252146 w 410442"/>
                <a:gd name="connsiteY18" fmla="*/ 43956 h 261113"/>
                <a:gd name="connsiteX19" fmla="*/ 275201 w 410442"/>
                <a:gd name="connsiteY19" fmla="*/ 31455 h 261113"/>
                <a:gd name="connsiteX20" fmla="*/ 296105 w 410442"/>
                <a:gd name="connsiteY20" fmla="*/ 24136 h 261113"/>
                <a:gd name="connsiteX21" fmla="*/ 276743 w 410442"/>
                <a:gd name="connsiteY21" fmla="*/ 16682 h 261113"/>
                <a:gd name="connsiteX22" fmla="*/ 278042 w 410442"/>
                <a:gd name="connsiteY22" fmla="*/ -30 h 261113"/>
                <a:gd name="connsiteX23" fmla="*/ 219837 w 410442"/>
                <a:gd name="connsiteY23" fmla="*/ 16014 h 261113"/>
                <a:gd name="connsiteX24" fmla="*/ 178151 w 410442"/>
                <a:gd name="connsiteY24" fmla="*/ 8126 h 261113"/>
                <a:gd name="connsiteX25" fmla="*/ 148804 w 410442"/>
                <a:gd name="connsiteY25" fmla="*/ 3346 h 261113"/>
                <a:gd name="connsiteX26" fmla="*/ 117226 w 410442"/>
                <a:gd name="connsiteY26" fmla="*/ 6688 h 261113"/>
                <a:gd name="connsiteX27" fmla="*/ 126399 w 410442"/>
                <a:gd name="connsiteY27" fmla="*/ 22598 h 261113"/>
                <a:gd name="connsiteX28" fmla="*/ 100909 w 410442"/>
                <a:gd name="connsiteY28" fmla="*/ 57593 h 261113"/>
                <a:gd name="connsiteX29" fmla="*/ 69939 w 410442"/>
                <a:gd name="connsiteY29" fmla="*/ 83128 h 261113"/>
                <a:gd name="connsiteX30" fmla="*/ 53703 w 410442"/>
                <a:gd name="connsiteY30" fmla="*/ 112140 h 261113"/>
                <a:gd name="connsiteX31" fmla="*/ 36980 w 410442"/>
                <a:gd name="connsiteY31" fmla="*/ 112775 h 261113"/>
                <a:gd name="connsiteX32" fmla="*/ 21961 w 410442"/>
                <a:gd name="connsiteY32" fmla="*/ 109433 h 261113"/>
                <a:gd name="connsiteX33" fmla="*/ 10150 w 410442"/>
                <a:gd name="connsiteY33" fmla="*/ 102982 h 261113"/>
                <a:gd name="connsiteX34" fmla="*/ 408 w 410442"/>
                <a:gd name="connsiteY34" fmla="*/ 123871 h 261113"/>
                <a:gd name="connsiteX35" fmla="*/ 19120 w 410442"/>
                <a:gd name="connsiteY35" fmla="*/ 142522 h 261113"/>
                <a:gd name="connsiteX36" fmla="*/ 49928 w 410442"/>
                <a:gd name="connsiteY36" fmla="*/ 150243 h 261113"/>
                <a:gd name="connsiteX37" fmla="*/ 93724 w 410442"/>
                <a:gd name="connsiteY37" fmla="*/ 165684 h 261113"/>
                <a:gd name="connsiteX38" fmla="*/ 128428 w 410442"/>
                <a:gd name="connsiteY38" fmla="*/ 188814 h 261113"/>
                <a:gd name="connsiteX39" fmla="*/ 171007 w 410442"/>
                <a:gd name="connsiteY39" fmla="*/ 211675 h 261113"/>
                <a:gd name="connsiteX40" fmla="*/ 204169 w 410442"/>
                <a:gd name="connsiteY40" fmla="*/ 232765 h 261113"/>
                <a:gd name="connsiteX41" fmla="*/ 240943 w 410442"/>
                <a:gd name="connsiteY41" fmla="*/ 244765 h 261113"/>
                <a:gd name="connsiteX42" fmla="*/ 305034 w 410442"/>
                <a:gd name="connsiteY42" fmla="*/ 246904 h 261113"/>
                <a:gd name="connsiteX43" fmla="*/ 351916 w 410442"/>
                <a:gd name="connsiteY43" fmla="*/ 251249 h 261113"/>
                <a:gd name="connsiteX44" fmla="*/ 374037 w 410442"/>
                <a:gd name="connsiteY44" fmla="*/ 257198 h 261113"/>
                <a:gd name="connsiteX45" fmla="*/ 393317 w 410442"/>
                <a:gd name="connsiteY45" fmla="*/ 260774 h 261113"/>
                <a:gd name="connsiteX46" fmla="*/ 402409 w 410442"/>
                <a:gd name="connsiteY46" fmla="*/ 240720 h 26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10442" h="261113">
                  <a:moveTo>
                    <a:pt x="402206" y="240486"/>
                  </a:moveTo>
                  <a:cubicBezTo>
                    <a:pt x="403302" y="237879"/>
                    <a:pt x="398147" y="235439"/>
                    <a:pt x="402206" y="232465"/>
                  </a:cubicBezTo>
                  <a:cubicBezTo>
                    <a:pt x="406687" y="228621"/>
                    <a:pt x="409537" y="223674"/>
                    <a:pt x="410324" y="218360"/>
                  </a:cubicBezTo>
                  <a:cubicBezTo>
                    <a:pt x="411501" y="210706"/>
                    <a:pt x="394657" y="215619"/>
                    <a:pt x="397498" y="205291"/>
                  </a:cubicBezTo>
                  <a:cubicBezTo>
                    <a:pt x="399487" y="198205"/>
                    <a:pt x="393926" y="195264"/>
                    <a:pt x="395996" y="188847"/>
                  </a:cubicBezTo>
                  <a:cubicBezTo>
                    <a:pt x="398675" y="180792"/>
                    <a:pt x="394900" y="177282"/>
                    <a:pt x="390476" y="170598"/>
                  </a:cubicBezTo>
                  <a:cubicBezTo>
                    <a:pt x="385646" y="163245"/>
                    <a:pt x="384347" y="161239"/>
                    <a:pt x="389461" y="153552"/>
                  </a:cubicBezTo>
                  <a:cubicBezTo>
                    <a:pt x="394088" y="146633"/>
                    <a:pt x="374037" y="138979"/>
                    <a:pt x="368639" y="135670"/>
                  </a:cubicBezTo>
                  <a:cubicBezTo>
                    <a:pt x="363240" y="132361"/>
                    <a:pt x="363118" y="129520"/>
                    <a:pt x="353783" y="131960"/>
                  </a:cubicBezTo>
                  <a:cubicBezTo>
                    <a:pt x="349074" y="133197"/>
                    <a:pt x="337912" y="139280"/>
                    <a:pt x="333488" y="139280"/>
                  </a:cubicBezTo>
                  <a:cubicBezTo>
                    <a:pt x="325613" y="139280"/>
                    <a:pt x="323016" y="125710"/>
                    <a:pt x="321554" y="122000"/>
                  </a:cubicBezTo>
                  <a:cubicBezTo>
                    <a:pt x="316806" y="110101"/>
                    <a:pt x="312665" y="123470"/>
                    <a:pt x="307713" y="127214"/>
                  </a:cubicBezTo>
                  <a:cubicBezTo>
                    <a:pt x="301706" y="131692"/>
                    <a:pt x="279300" y="138778"/>
                    <a:pt x="273537" y="133899"/>
                  </a:cubicBezTo>
                  <a:cubicBezTo>
                    <a:pt x="266312" y="127749"/>
                    <a:pt x="258600" y="135670"/>
                    <a:pt x="251740" y="131058"/>
                  </a:cubicBezTo>
                  <a:cubicBezTo>
                    <a:pt x="247965" y="128517"/>
                    <a:pt x="248371" y="124874"/>
                    <a:pt x="243622" y="122534"/>
                  </a:cubicBezTo>
                  <a:cubicBezTo>
                    <a:pt x="236600" y="119192"/>
                    <a:pt x="228157" y="116786"/>
                    <a:pt x="222028" y="112507"/>
                  </a:cubicBezTo>
                  <a:cubicBezTo>
                    <a:pt x="215899" y="108229"/>
                    <a:pt x="216143" y="95796"/>
                    <a:pt x="222475" y="90815"/>
                  </a:cubicBezTo>
                  <a:cubicBezTo>
                    <a:pt x="228807" y="85835"/>
                    <a:pt x="226534" y="75608"/>
                    <a:pt x="227792" y="68689"/>
                  </a:cubicBezTo>
                  <a:cubicBezTo>
                    <a:pt x="229740" y="58662"/>
                    <a:pt x="238833" y="51977"/>
                    <a:pt x="252146" y="43956"/>
                  </a:cubicBezTo>
                  <a:cubicBezTo>
                    <a:pt x="259533" y="39443"/>
                    <a:pt x="269640" y="37271"/>
                    <a:pt x="275201" y="31455"/>
                  </a:cubicBezTo>
                  <a:cubicBezTo>
                    <a:pt x="280762" y="25639"/>
                    <a:pt x="287946" y="27010"/>
                    <a:pt x="296105" y="24136"/>
                  </a:cubicBezTo>
                  <a:cubicBezTo>
                    <a:pt x="289691" y="21562"/>
                    <a:pt x="273009" y="24871"/>
                    <a:pt x="276743" y="16682"/>
                  </a:cubicBezTo>
                  <a:cubicBezTo>
                    <a:pt x="279544" y="10632"/>
                    <a:pt x="291518" y="1474"/>
                    <a:pt x="278042" y="-30"/>
                  </a:cubicBezTo>
                  <a:cubicBezTo>
                    <a:pt x="255556" y="-2336"/>
                    <a:pt x="239522" y="8794"/>
                    <a:pt x="219837" y="16014"/>
                  </a:cubicBezTo>
                  <a:cubicBezTo>
                    <a:pt x="196173" y="24737"/>
                    <a:pt x="193453" y="14209"/>
                    <a:pt x="178151" y="8126"/>
                  </a:cubicBezTo>
                  <a:cubicBezTo>
                    <a:pt x="167638" y="3948"/>
                    <a:pt x="157369" y="10098"/>
                    <a:pt x="148804" y="3346"/>
                  </a:cubicBezTo>
                  <a:cubicBezTo>
                    <a:pt x="140240" y="-3405"/>
                    <a:pt x="129606" y="806"/>
                    <a:pt x="117226" y="6688"/>
                  </a:cubicBezTo>
                  <a:cubicBezTo>
                    <a:pt x="134395" y="11301"/>
                    <a:pt x="125831" y="12972"/>
                    <a:pt x="126399" y="22598"/>
                  </a:cubicBezTo>
                  <a:cubicBezTo>
                    <a:pt x="127129" y="34731"/>
                    <a:pt x="114912" y="48167"/>
                    <a:pt x="100909" y="57593"/>
                  </a:cubicBezTo>
                  <a:cubicBezTo>
                    <a:pt x="87960" y="66316"/>
                    <a:pt x="72942" y="70962"/>
                    <a:pt x="69939" y="83128"/>
                  </a:cubicBezTo>
                  <a:cubicBezTo>
                    <a:pt x="68356" y="89579"/>
                    <a:pt x="72212" y="117254"/>
                    <a:pt x="53703" y="112140"/>
                  </a:cubicBezTo>
                  <a:cubicBezTo>
                    <a:pt x="46924" y="110268"/>
                    <a:pt x="44407" y="109232"/>
                    <a:pt x="36980" y="112775"/>
                  </a:cubicBezTo>
                  <a:cubicBezTo>
                    <a:pt x="31500" y="115382"/>
                    <a:pt x="18633" y="114947"/>
                    <a:pt x="21961" y="109433"/>
                  </a:cubicBezTo>
                  <a:cubicBezTo>
                    <a:pt x="25290" y="103918"/>
                    <a:pt x="18390" y="95595"/>
                    <a:pt x="10150" y="102982"/>
                  </a:cubicBezTo>
                  <a:cubicBezTo>
                    <a:pt x="4345" y="108196"/>
                    <a:pt x="-1824" y="118256"/>
                    <a:pt x="408" y="123871"/>
                  </a:cubicBezTo>
                  <a:cubicBezTo>
                    <a:pt x="1870" y="127514"/>
                    <a:pt x="25452" y="140182"/>
                    <a:pt x="19120" y="142522"/>
                  </a:cubicBezTo>
                  <a:cubicBezTo>
                    <a:pt x="2316" y="148739"/>
                    <a:pt x="46762" y="149875"/>
                    <a:pt x="49928" y="150243"/>
                  </a:cubicBezTo>
                  <a:cubicBezTo>
                    <a:pt x="64499" y="151613"/>
                    <a:pt x="82400" y="160270"/>
                    <a:pt x="93724" y="165684"/>
                  </a:cubicBezTo>
                  <a:cubicBezTo>
                    <a:pt x="106956" y="171834"/>
                    <a:pt x="116576" y="181527"/>
                    <a:pt x="128428" y="188814"/>
                  </a:cubicBezTo>
                  <a:cubicBezTo>
                    <a:pt x="141868" y="197336"/>
                    <a:pt x="156102" y="204991"/>
                    <a:pt x="171007" y="211675"/>
                  </a:cubicBezTo>
                  <a:cubicBezTo>
                    <a:pt x="185863" y="218093"/>
                    <a:pt x="199420" y="220833"/>
                    <a:pt x="204169" y="232765"/>
                  </a:cubicBezTo>
                  <a:cubicBezTo>
                    <a:pt x="207781" y="242057"/>
                    <a:pt x="228523" y="243060"/>
                    <a:pt x="240943" y="244765"/>
                  </a:cubicBezTo>
                  <a:cubicBezTo>
                    <a:pt x="261238" y="247572"/>
                    <a:pt x="283806" y="246269"/>
                    <a:pt x="305034" y="246904"/>
                  </a:cubicBezTo>
                  <a:cubicBezTo>
                    <a:pt x="320256" y="247338"/>
                    <a:pt x="338602" y="247071"/>
                    <a:pt x="351916" y="251249"/>
                  </a:cubicBezTo>
                  <a:cubicBezTo>
                    <a:pt x="358921" y="254057"/>
                    <a:pt x="366366" y="256062"/>
                    <a:pt x="374037" y="257198"/>
                  </a:cubicBezTo>
                  <a:cubicBezTo>
                    <a:pt x="379720" y="257733"/>
                    <a:pt x="391328" y="256396"/>
                    <a:pt x="393317" y="260774"/>
                  </a:cubicBezTo>
                  <a:cubicBezTo>
                    <a:pt x="400989" y="252485"/>
                    <a:pt x="399121" y="249143"/>
                    <a:pt x="402409" y="2407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26E59EFE-0851-4931-963E-5DCC725988AC}"/>
                </a:ext>
              </a:extLst>
            </p:cNvPr>
            <p:cNvSpPr/>
            <p:nvPr/>
          </p:nvSpPr>
          <p:spPr>
            <a:xfrm>
              <a:off x="3710698" y="4942907"/>
              <a:ext cx="383698" cy="192895"/>
            </a:xfrm>
            <a:custGeom>
              <a:avLst/>
              <a:gdLst>
                <a:gd name="connsiteX0" fmla="*/ 17844 w 383698"/>
                <a:gd name="connsiteY0" fmla="*/ 66775 h 192895"/>
                <a:gd name="connsiteX1" fmla="*/ 3678 w 383698"/>
                <a:gd name="connsiteY1" fmla="*/ 84756 h 192895"/>
                <a:gd name="connsiteX2" fmla="*/ 4530 w 383698"/>
                <a:gd name="connsiteY2" fmla="*/ 102437 h 192895"/>
                <a:gd name="connsiteX3" fmla="*/ 8589 w 383698"/>
                <a:gd name="connsiteY3" fmla="*/ 112063 h 192895"/>
                <a:gd name="connsiteX4" fmla="*/ 27829 w 383698"/>
                <a:gd name="connsiteY4" fmla="*/ 116342 h 192895"/>
                <a:gd name="connsiteX5" fmla="*/ 46460 w 383698"/>
                <a:gd name="connsiteY5" fmla="*/ 137365 h 192895"/>
                <a:gd name="connsiteX6" fmla="*/ 100282 w 383698"/>
                <a:gd name="connsiteY6" fmla="*/ 123060 h 192895"/>
                <a:gd name="connsiteX7" fmla="*/ 129466 w 383698"/>
                <a:gd name="connsiteY7" fmla="*/ 127238 h 192895"/>
                <a:gd name="connsiteX8" fmla="*/ 162140 w 383698"/>
                <a:gd name="connsiteY8" fmla="*/ 118715 h 192895"/>
                <a:gd name="connsiteX9" fmla="*/ 182841 w 383698"/>
                <a:gd name="connsiteY9" fmla="*/ 129176 h 192895"/>
                <a:gd name="connsiteX10" fmla="*/ 186900 w 383698"/>
                <a:gd name="connsiteY10" fmla="*/ 146423 h 192895"/>
                <a:gd name="connsiteX11" fmla="*/ 207804 w 383698"/>
                <a:gd name="connsiteY11" fmla="*/ 155615 h 192895"/>
                <a:gd name="connsiteX12" fmla="*/ 211376 w 383698"/>
                <a:gd name="connsiteY12" fmla="*/ 171424 h 192895"/>
                <a:gd name="connsiteX13" fmla="*/ 216531 w 383698"/>
                <a:gd name="connsiteY13" fmla="*/ 180649 h 192895"/>
                <a:gd name="connsiteX14" fmla="*/ 250180 w 383698"/>
                <a:gd name="connsiteY14" fmla="*/ 192046 h 192895"/>
                <a:gd name="connsiteX15" fmla="*/ 261748 w 383698"/>
                <a:gd name="connsiteY15" fmla="*/ 190275 h 192895"/>
                <a:gd name="connsiteX16" fmla="*/ 281109 w 383698"/>
                <a:gd name="connsiteY16" fmla="*/ 183590 h 192895"/>
                <a:gd name="connsiteX17" fmla="*/ 307492 w 383698"/>
                <a:gd name="connsiteY17" fmla="*/ 163536 h 192895"/>
                <a:gd name="connsiteX18" fmla="*/ 324581 w 383698"/>
                <a:gd name="connsiteY18" fmla="*/ 143916 h 192895"/>
                <a:gd name="connsiteX19" fmla="*/ 307208 w 383698"/>
                <a:gd name="connsiteY19" fmla="*/ 147259 h 192895"/>
                <a:gd name="connsiteX20" fmla="*/ 292352 w 383698"/>
                <a:gd name="connsiteY20" fmla="*/ 133889 h 192895"/>
                <a:gd name="connsiteX21" fmla="*/ 275264 w 383698"/>
                <a:gd name="connsiteY21" fmla="*/ 126068 h 192895"/>
                <a:gd name="connsiteX22" fmla="*/ 299131 w 383698"/>
                <a:gd name="connsiteY22" fmla="*/ 120887 h 192895"/>
                <a:gd name="connsiteX23" fmla="*/ 324459 w 383698"/>
                <a:gd name="connsiteY23" fmla="*/ 121155 h 192895"/>
                <a:gd name="connsiteX24" fmla="*/ 338097 w 383698"/>
                <a:gd name="connsiteY24" fmla="*/ 108320 h 192895"/>
                <a:gd name="connsiteX25" fmla="*/ 366510 w 383698"/>
                <a:gd name="connsiteY25" fmla="*/ 96221 h 192895"/>
                <a:gd name="connsiteX26" fmla="*/ 374019 w 383698"/>
                <a:gd name="connsiteY26" fmla="*/ 76869 h 192895"/>
                <a:gd name="connsiteX27" fmla="*/ 360503 w 383698"/>
                <a:gd name="connsiteY27" fmla="*/ 65872 h 192895"/>
                <a:gd name="connsiteX28" fmla="*/ 370244 w 383698"/>
                <a:gd name="connsiteY28" fmla="*/ 52001 h 192895"/>
                <a:gd name="connsiteX29" fmla="*/ 367809 w 383698"/>
                <a:gd name="connsiteY29" fmla="*/ 40972 h 192895"/>
                <a:gd name="connsiteX30" fmla="*/ 383639 w 383698"/>
                <a:gd name="connsiteY30" fmla="*/ 18076 h 192895"/>
                <a:gd name="connsiteX31" fmla="*/ 339518 w 383698"/>
                <a:gd name="connsiteY31" fmla="*/ 26666 h 192895"/>
                <a:gd name="connsiteX32" fmla="*/ 340492 w 383698"/>
                <a:gd name="connsiteY32" fmla="*/ 8384 h 192895"/>
                <a:gd name="connsiteX33" fmla="*/ 299902 w 383698"/>
                <a:gd name="connsiteY33" fmla="*/ 12896 h 192895"/>
                <a:gd name="connsiteX34" fmla="*/ 303230 w 383698"/>
                <a:gd name="connsiteY34" fmla="*/ 730 h 192895"/>
                <a:gd name="connsiteX35" fmla="*/ 236338 w 383698"/>
                <a:gd name="connsiteY35" fmla="*/ 24561 h 192895"/>
                <a:gd name="connsiteX36" fmla="*/ 182963 w 383698"/>
                <a:gd name="connsiteY36" fmla="*/ 33852 h 192895"/>
                <a:gd name="connsiteX37" fmla="*/ 132307 w 383698"/>
                <a:gd name="connsiteY37" fmla="*/ 43879 h 192895"/>
                <a:gd name="connsiteX38" fmla="*/ 112459 w 383698"/>
                <a:gd name="connsiteY38" fmla="*/ 35858 h 192895"/>
                <a:gd name="connsiteX39" fmla="*/ 86035 w 383698"/>
                <a:gd name="connsiteY39" fmla="*/ 35557 h 192895"/>
                <a:gd name="connsiteX40" fmla="*/ 74710 w 383698"/>
                <a:gd name="connsiteY40" fmla="*/ 41740 h 192895"/>
                <a:gd name="connsiteX41" fmla="*/ 63142 w 383698"/>
                <a:gd name="connsiteY41" fmla="*/ 55110 h 192895"/>
                <a:gd name="connsiteX42" fmla="*/ 57865 w 383698"/>
                <a:gd name="connsiteY42" fmla="*/ 84589 h 192895"/>
                <a:gd name="connsiteX43" fmla="*/ 28925 w 383698"/>
                <a:gd name="connsiteY43" fmla="*/ 94015 h 192895"/>
                <a:gd name="connsiteX44" fmla="*/ 33390 w 383698"/>
                <a:gd name="connsiteY44" fmla="*/ 77971 h 192895"/>
                <a:gd name="connsiteX45" fmla="*/ 24947 w 383698"/>
                <a:gd name="connsiteY45" fmla="*/ 61494 h 192895"/>
                <a:gd name="connsiteX46" fmla="*/ 17966 w 383698"/>
                <a:gd name="connsiteY46" fmla="*/ 67176 h 192895"/>
                <a:gd name="connsiteX47" fmla="*/ 17844 w 383698"/>
                <a:gd name="connsiteY47" fmla="*/ 66775 h 1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3698" h="192895">
                  <a:moveTo>
                    <a:pt x="17844" y="66775"/>
                  </a:moveTo>
                  <a:cubicBezTo>
                    <a:pt x="14150" y="72958"/>
                    <a:pt x="7575" y="78606"/>
                    <a:pt x="3678" y="84756"/>
                  </a:cubicBezTo>
                  <a:cubicBezTo>
                    <a:pt x="-787" y="91809"/>
                    <a:pt x="6032" y="95887"/>
                    <a:pt x="4530" y="102437"/>
                  </a:cubicBezTo>
                  <a:cubicBezTo>
                    <a:pt x="3029" y="108989"/>
                    <a:pt x="-7078" y="116041"/>
                    <a:pt x="8589" y="112063"/>
                  </a:cubicBezTo>
                  <a:cubicBezTo>
                    <a:pt x="14272" y="110626"/>
                    <a:pt x="22227" y="115406"/>
                    <a:pt x="27829" y="116342"/>
                  </a:cubicBezTo>
                  <a:cubicBezTo>
                    <a:pt x="40696" y="118615"/>
                    <a:pt x="32659" y="134090"/>
                    <a:pt x="46460" y="137365"/>
                  </a:cubicBezTo>
                  <a:cubicBezTo>
                    <a:pt x="63223" y="141343"/>
                    <a:pt x="82990" y="123996"/>
                    <a:pt x="100282" y="123060"/>
                  </a:cubicBezTo>
                  <a:cubicBezTo>
                    <a:pt x="110876" y="122525"/>
                    <a:pt x="118425" y="127606"/>
                    <a:pt x="129466" y="127238"/>
                  </a:cubicBezTo>
                  <a:cubicBezTo>
                    <a:pt x="141318" y="126837"/>
                    <a:pt x="151303" y="122525"/>
                    <a:pt x="162140" y="118715"/>
                  </a:cubicBezTo>
                  <a:cubicBezTo>
                    <a:pt x="188402" y="109490"/>
                    <a:pt x="183653" y="115974"/>
                    <a:pt x="182841" y="129176"/>
                  </a:cubicBezTo>
                  <a:cubicBezTo>
                    <a:pt x="182042" y="135133"/>
                    <a:pt x="183458" y="141145"/>
                    <a:pt x="186900" y="146423"/>
                  </a:cubicBezTo>
                  <a:cubicBezTo>
                    <a:pt x="190959" y="151704"/>
                    <a:pt x="204394" y="150233"/>
                    <a:pt x="207804" y="155615"/>
                  </a:cubicBezTo>
                  <a:cubicBezTo>
                    <a:pt x="211213" y="160996"/>
                    <a:pt x="196967" y="169318"/>
                    <a:pt x="211376" y="171424"/>
                  </a:cubicBezTo>
                  <a:cubicBezTo>
                    <a:pt x="218033" y="172393"/>
                    <a:pt x="222863" y="176571"/>
                    <a:pt x="216531" y="180649"/>
                  </a:cubicBezTo>
                  <a:cubicBezTo>
                    <a:pt x="228708" y="183657"/>
                    <a:pt x="236826" y="189907"/>
                    <a:pt x="250180" y="192046"/>
                  </a:cubicBezTo>
                  <a:cubicBezTo>
                    <a:pt x="254149" y="193132"/>
                    <a:pt x="258517" y="192461"/>
                    <a:pt x="261748" y="190275"/>
                  </a:cubicBezTo>
                  <a:cubicBezTo>
                    <a:pt x="269338" y="184760"/>
                    <a:pt x="273925" y="187300"/>
                    <a:pt x="281109" y="183590"/>
                  </a:cubicBezTo>
                  <a:cubicBezTo>
                    <a:pt x="284437" y="181752"/>
                    <a:pt x="307289" y="165976"/>
                    <a:pt x="307492" y="163536"/>
                  </a:cubicBezTo>
                  <a:cubicBezTo>
                    <a:pt x="308061" y="156350"/>
                    <a:pt x="327787" y="148562"/>
                    <a:pt x="324581" y="143916"/>
                  </a:cubicBezTo>
                  <a:cubicBezTo>
                    <a:pt x="321212" y="138702"/>
                    <a:pt x="311795" y="149297"/>
                    <a:pt x="307208" y="147259"/>
                  </a:cubicBezTo>
                  <a:cubicBezTo>
                    <a:pt x="301047" y="143829"/>
                    <a:pt x="295957" y="139247"/>
                    <a:pt x="292352" y="133889"/>
                  </a:cubicBezTo>
                  <a:cubicBezTo>
                    <a:pt x="290891" y="131249"/>
                    <a:pt x="275386" y="125934"/>
                    <a:pt x="275264" y="126068"/>
                  </a:cubicBezTo>
                  <a:cubicBezTo>
                    <a:pt x="279729" y="120219"/>
                    <a:pt x="292596" y="121455"/>
                    <a:pt x="299131" y="120887"/>
                  </a:cubicBezTo>
                  <a:cubicBezTo>
                    <a:pt x="312444" y="119718"/>
                    <a:pt x="313662" y="118113"/>
                    <a:pt x="324459" y="121155"/>
                  </a:cubicBezTo>
                  <a:cubicBezTo>
                    <a:pt x="333348" y="123662"/>
                    <a:pt x="331278" y="111595"/>
                    <a:pt x="338097" y="108320"/>
                  </a:cubicBezTo>
                  <a:cubicBezTo>
                    <a:pt x="348082" y="103507"/>
                    <a:pt x="356890" y="102437"/>
                    <a:pt x="366510" y="96221"/>
                  </a:cubicBezTo>
                  <a:cubicBezTo>
                    <a:pt x="379052" y="88132"/>
                    <a:pt x="389849" y="83018"/>
                    <a:pt x="374019" y="76869"/>
                  </a:cubicBezTo>
                  <a:cubicBezTo>
                    <a:pt x="364643" y="73259"/>
                    <a:pt x="357336" y="73760"/>
                    <a:pt x="360503" y="65872"/>
                  </a:cubicBezTo>
                  <a:cubicBezTo>
                    <a:pt x="363344" y="58786"/>
                    <a:pt x="354455" y="56948"/>
                    <a:pt x="370244" y="52001"/>
                  </a:cubicBezTo>
                  <a:cubicBezTo>
                    <a:pt x="388753" y="46186"/>
                    <a:pt x="370244" y="44414"/>
                    <a:pt x="367809" y="40972"/>
                  </a:cubicBezTo>
                  <a:cubicBezTo>
                    <a:pt x="364237" y="35958"/>
                    <a:pt x="381244" y="23859"/>
                    <a:pt x="383639" y="18076"/>
                  </a:cubicBezTo>
                  <a:cubicBezTo>
                    <a:pt x="372680" y="18411"/>
                    <a:pt x="347798" y="28103"/>
                    <a:pt x="339518" y="26666"/>
                  </a:cubicBezTo>
                  <a:cubicBezTo>
                    <a:pt x="334363" y="25764"/>
                    <a:pt x="352628" y="10489"/>
                    <a:pt x="340492" y="8384"/>
                  </a:cubicBezTo>
                  <a:cubicBezTo>
                    <a:pt x="328356" y="6278"/>
                    <a:pt x="312444" y="11124"/>
                    <a:pt x="299902" y="12896"/>
                  </a:cubicBezTo>
                  <a:cubicBezTo>
                    <a:pt x="278633" y="15870"/>
                    <a:pt x="301038" y="-73"/>
                    <a:pt x="303230" y="730"/>
                  </a:cubicBezTo>
                  <a:cubicBezTo>
                    <a:pt x="286223" y="-5487"/>
                    <a:pt x="248515" y="17141"/>
                    <a:pt x="236338" y="24561"/>
                  </a:cubicBezTo>
                  <a:cubicBezTo>
                    <a:pt x="215151" y="37295"/>
                    <a:pt x="207439" y="32415"/>
                    <a:pt x="182963" y="33852"/>
                  </a:cubicBezTo>
                  <a:cubicBezTo>
                    <a:pt x="172572" y="34454"/>
                    <a:pt x="136325" y="55845"/>
                    <a:pt x="132307" y="43879"/>
                  </a:cubicBezTo>
                  <a:cubicBezTo>
                    <a:pt x="130359" y="38097"/>
                    <a:pt x="123215" y="33852"/>
                    <a:pt x="112459" y="35858"/>
                  </a:cubicBezTo>
                  <a:cubicBezTo>
                    <a:pt x="97887" y="38431"/>
                    <a:pt x="97725" y="38966"/>
                    <a:pt x="86035" y="35557"/>
                  </a:cubicBezTo>
                  <a:cubicBezTo>
                    <a:pt x="79621" y="33685"/>
                    <a:pt x="71706" y="37328"/>
                    <a:pt x="74710" y="41740"/>
                  </a:cubicBezTo>
                  <a:cubicBezTo>
                    <a:pt x="78769" y="47890"/>
                    <a:pt x="71382" y="50397"/>
                    <a:pt x="63142" y="55110"/>
                  </a:cubicBezTo>
                  <a:cubicBezTo>
                    <a:pt x="38788" y="69014"/>
                    <a:pt x="42563" y="73225"/>
                    <a:pt x="57865" y="84589"/>
                  </a:cubicBezTo>
                  <a:cubicBezTo>
                    <a:pt x="75725" y="97959"/>
                    <a:pt x="34486" y="105513"/>
                    <a:pt x="28925" y="94015"/>
                  </a:cubicBezTo>
                  <a:cubicBezTo>
                    <a:pt x="26652" y="89335"/>
                    <a:pt x="31198" y="82985"/>
                    <a:pt x="33390" y="77971"/>
                  </a:cubicBezTo>
                  <a:cubicBezTo>
                    <a:pt x="37043" y="69649"/>
                    <a:pt x="23648" y="69248"/>
                    <a:pt x="24947" y="61494"/>
                  </a:cubicBezTo>
                  <a:cubicBezTo>
                    <a:pt x="22065" y="62861"/>
                    <a:pt x="19658" y="64816"/>
                    <a:pt x="17966" y="67176"/>
                  </a:cubicBezTo>
                  <a:cubicBezTo>
                    <a:pt x="12689" y="75398"/>
                    <a:pt x="19102" y="64602"/>
                    <a:pt x="17844" y="6677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D1A6212D-91AD-4EC4-A852-27D7F23AA5C1}"/>
                </a:ext>
              </a:extLst>
            </p:cNvPr>
            <p:cNvSpPr/>
            <p:nvPr/>
          </p:nvSpPr>
          <p:spPr>
            <a:xfrm>
              <a:off x="4173001" y="4963782"/>
              <a:ext cx="110992" cy="82837"/>
            </a:xfrm>
            <a:custGeom>
              <a:avLst/>
              <a:gdLst>
                <a:gd name="connsiteX0" fmla="*/ 14612 w 110992"/>
                <a:gd name="connsiteY0" fmla="*/ 29189 h 82837"/>
                <a:gd name="connsiteX1" fmla="*/ 4586 w 110992"/>
                <a:gd name="connsiteY1" fmla="*/ 40018 h 82837"/>
                <a:gd name="connsiteX2" fmla="*/ 162 w 110992"/>
                <a:gd name="connsiteY2" fmla="*/ 54290 h 82837"/>
                <a:gd name="connsiteX3" fmla="*/ 27844 w 110992"/>
                <a:gd name="connsiteY3" fmla="*/ 68160 h 82837"/>
                <a:gd name="connsiteX4" fmla="*/ 50696 w 110992"/>
                <a:gd name="connsiteY4" fmla="*/ 82499 h 82837"/>
                <a:gd name="connsiteX5" fmla="*/ 66932 w 110992"/>
                <a:gd name="connsiteY5" fmla="*/ 72472 h 82837"/>
                <a:gd name="connsiteX6" fmla="*/ 106426 w 110992"/>
                <a:gd name="connsiteY6" fmla="*/ 61409 h 82837"/>
                <a:gd name="connsiteX7" fmla="*/ 104234 w 110992"/>
                <a:gd name="connsiteY7" fmla="*/ 33634 h 82837"/>
                <a:gd name="connsiteX8" fmla="*/ 101190 w 110992"/>
                <a:gd name="connsiteY8" fmla="*/ 5023 h 82837"/>
                <a:gd name="connsiteX9" fmla="*/ 46678 w 110992"/>
                <a:gd name="connsiteY9" fmla="*/ 12477 h 82837"/>
                <a:gd name="connsiteX10" fmla="*/ 21309 w 110992"/>
                <a:gd name="connsiteY10" fmla="*/ 13513 h 82837"/>
                <a:gd name="connsiteX11" fmla="*/ 14734 w 110992"/>
                <a:gd name="connsiteY11" fmla="*/ 29356 h 82837"/>
                <a:gd name="connsiteX12" fmla="*/ 14612 w 110992"/>
                <a:gd name="connsiteY12" fmla="*/ 29189 h 8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992" h="82837">
                  <a:moveTo>
                    <a:pt x="14612" y="29189"/>
                  </a:moveTo>
                  <a:cubicBezTo>
                    <a:pt x="20741" y="33199"/>
                    <a:pt x="10553" y="38046"/>
                    <a:pt x="4586" y="40018"/>
                  </a:cubicBezTo>
                  <a:cubicBezTo>
                    <a:pt x="-2598" y="42424"/>
                    <a:pt x="892" y="50847"/>
                    <a:pt x="162" y="54290"/>
                  </a:cubicBezTo>
                  <a:cubicBezTo>
                    <a:pt x="-1989" y="64317"/>
                    <a:pt x="20132" y="61442"/>
                    <a:pt x="27844" y="68160"/>
                  </a:cubicBezTo>
                  <a:cubicBezTo>
                    <a:pt x="34866" y="73559"/>
                    <a:pt x="42497" y="78361"/>
                    <a:pt x="50696" y="82499"/>
                  </a:cubicBezTo>
                  <a:cubicBezTo>
                    <a:pt x="62426" y="81497"/>
                    <a:pt x="67460" y="79591"/>
                    <a:pt x="66932" y="72472"/>
                  </a:cubicBezTo>
                  <a:cubicBezTo>
                    <a:pt x="66161" y="64083"/>
                    <a:pt x="97902" y="58334"/>
                    <a:pt x="106426" y="61409"/>
                  </a:cubicBezTo>
                  <a:cubicBezTo>
                    <a:pt x="113002" y="50446"/>
                    <a:pt x="112474" y="43026"/>
                    <a:pt x="104234" y="33634"/>
                  </a:cubicBezTo>
                  <a:cubicBezTo>
                    <a:pt x="94452" y="22470"/>
                    <a:pt x="98836" y="17490"/>
                    <a:pt x="101190" y="5023"/>
                  </a:cubicBezTo>
                  <a:cubicBezTo>
                    <a:pt x="103910" y="-9616"/>
                    <a:pt x="56988" y="10104"/>
                    <a:pt x="46678" y="12477"/>
                  </a:cubicBezTo>
                  <a:cubicBezTo>
                    <a:pt x="36368" y="14850"/>
                    <a:pt x="31538" y="7664"/>
                    <a:pt x="21309" y="13513"/>
                  </a:cubicBezTo>
                  <a:cubicBezTo>
                    <a:pt x="14531" y="17390"/>
                    <a:pt x="8077" y="24977"/>
                    <a:pt x="14734" y="29356"/>
                  </a:cubicBezTo>
                  <a:cubicBezTo>
                    <a:pt x="20295" y="32765"/>
                    <a:pt x="11771" y="27183"/>
                    <a:pt x="14612" y="2918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F65CCC6-55EB-4830-8775-C894944278D9}"/>
                </a:ext>
              </a:extLst>
            </p:cNvPr>
            <p:cNvSpPr/>
            <p:nvPr/>
          </p:nvSpPr>
          <p:spPr>
            <a:xfrm>
              <a:off x="4068620" y="4960888"/>
              <a:ext cx="155136" cy="111681"/>
            </a:xfrm>
            <a:custGeom>
              <a:avLst/>
              <a:gdLst>
                <a:gd name="connsiteX0" fmla="*/ 18411 w 155136"/>
                <a:gd name="connsiteY0" fmla="*/ 10056 h 111681"/>
                <a:gd name="connsiteX1" fmla="*/ 16950 w 155136"/>
                <a:gd name="connsiteY1" fmla="*/ 24562 h 111681"/>
                <a:gd name="connsiteX2" fmla="*/ 2500 w 155136"/>
                <a:gd name="connsiteY2" fmla="*/ 37932 h 111681"/>
                <a:gd name="connsiteX3" fmla="*/ 65 w 155136"/>
                <a:gd name="connsiteY3" fmla="*/ 52437 h 111681"/>
                <a:gd name="connsiteX4" fmla="*/ 25798 w 155136"/>
                <a:gd name="connsiteY4" fmla="*/ 62465 h 111681"/>
                <a:gd name="connsiteX5" fmla="*/ 42805 w 155136"/>
                <a:gd name="connsiteY5" fmla="*/ 59790 h 111681"/>
                <a:gd name="connsiteX6" fmla="*/ 55551 w 155136"/>
                <a:gd name="connsiteY6" fmla="*/ 67812 h 111681"/>
                <a:gd name="connsiteX7" fmla="*/ 60990 w 155136"/>
                <a:gd name="connsiteY7" fmla="*/ 77401 h 111681"/>
                <a:gd name="connsiteX8" fmla="*/ 58838 w 155136"/>
                <a:gd name="connsiteY8" fmla="*/ 80179 h 111681"/>
                <a:gd name="connsiteX9" fmla="*/ 60137 w 155136"/>
                <a:gd name="connsiteY9" fmla="*/ 96657 h 111681"/>
                <a:gd name="connsiteX10" fmla="*/ 107100 w 155136"/>
                <a:gd name="connsiteY10" fmla="*/ 105915 h 111681"/>
                <a:gd name="connsiteX11" fmla="*/ 115542 w 155136"/>
                <a:gd name="connsiteY11" fmla="*/ 102238 h 111681"/>
                <a:gd name="connsiteX12" fmla="*/ 125609 w 155136"/>
                <a:gd name="connsiteY12" fmla="*/ 95153 h 111681"/>
                <a:gd name="connsiteX13" fmla="*/ 155077 w 155136"/>
                <a:gd name="connsiteY13" fmla="*/ 85326 h 111681"/>
                <a:gd name="connsiteX14" fmla="*/ 129465 w 155136"/>
                <a:gd name="connsiteY14" fmla="*/ 69283 h 111681"/>
                <a:gd name="connsiteX15" fmla="*/ 103122 w 155136"/>
                <a:gd name="connsiteY15" fmla="*/ 60960 h 111681"/>
                <a:gd name="connsiteX16" fmla="*/ 106126 w 155136"/>
                <a:gd name="connsiteY16" fmla="*/ 44683 h 111681"/>
                <a:gd name="connsiteX17" fmla="*/ 118992 w 155136"/>
                <a:gd name="connsiteY17" fmla="*/ 37998 h 111681"/>
                <a:gd name="connsiteX18" fmla="*/ 117369 w 155136"/>
                <a:gd name="connsiteY18" fmla="*/ 25598 h 111681"/>
                <a:gd name="connsiteX19" fmla="*/ 98251 w 155136"/>
                <a:gd name="connsiteY19" fmla="*/ 15571 h 111681"/>
                <a:gd name="connsiteX20" fmla="*/ 71381 w 155136"/>
                <a:gd name="connsiteY20" fmla="*/ 10792 h 111681"/>
                <a:gd name="connsiteX21" fmla="*/ 49381 w 155136"/>
                <a:gd name="connsiteY21" fmla="*/ 2736 h 111681"/>
                <a:gd name="connsiteX22" fmla="*/ 31927 w 155136"/>
                <a:gd name="connsiteY22" fmla="*/ -238 h 111681"/>
                <a:gd name="connsiteX23" fmla="*/ 18411 w 155136"/>
                <a:gd name="connsiteY23" fmla="*/ 10090 h 11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136" h="111681">
                  <a:moveTo>
                    <a:pt x="18411" y="10056"/>
                  </a:moveTo>
                  <a:cubicBezTo>
                    <a:pt x="8345" y="16941"/>
                    <a:pt x="7574" y="21053"/>
                    <a:pt x="16950" y="24562"/>
                  </a:cubicBezTo>
                  <a:cubicBezTo>
                    <a:pt x="29127" y="29175"/>
                    <a:pt x="6478" y="34589"/>
                    <a:pt x="2500" y="37932"/>
                  </a:cubicBezTo>
                  <a:cubicBezTo>
                    <a:pt x="552" y="39636"/>
                    <a:pt x="-423" y="50666"/>
                    <a:pt x="65" y="52437"/>
                  </a:cubicBezTo>
                  <a:cubicBezTo>
                    <a:pt x="957" y="55780"/>
                    <a:pt x="21415" y="60492"/>
                    <a:pt x="25798" y="62465"/>
                  </a:cubicBezTo>
                  <a:cubicBezTo>
                    <a:pt x="28518" y="55780"/>
                    <a:pt x="39640" y="54276"/>
                    <a:pt x="42805" y="59790"/>
                  </a:cubicBezTo>
                  <a:cubicBezTo>
                    <a:pt x="45972" y="65305"/>
                    <a:pt x="47717" y="65239"/>
                    <a:pt x="55551" y="67812"/>
                  </a:cubicBezTo>
                  <a:cubicBezTo>
                    <a:pt x="60259" y="69223"/>
                    <a:pt x="62695" y="73514"/>
                    <a:pt x="60990" y="77401"/>
                  </a:cubicBezTo>
                  <a:cubicBezTo>
                    <a:pt x="60543" y="78448"/>
                    <a:pt x="59813" y="79397"/>
                    <a:pt x="58838" y="80179"/>
                  </a:cubicBezTo>
                  <a:cubicBezTo>
                    <a:pt x="53318" y="84858"/>
                    <a:pt x="57459" y="92813"/>
                    <a:pt x="60137" y="96657"/>
                  </a:cubicBezTo>
                  <a:cubicBezTo>
                    <a:pt x="64440" y="102807"/>
                    <a:pt x="96668" y="120053"/>
                    <a:pt x="107100" y="105915"/>
                  </a:cubicBezTo>
                  <a:cubicBezTo>
                    <a:pt x="109454" y="104070"/>
                    <a:pt x="112376" y="102797"/>
                    <a:pt x="115542" y="102238"/>
                  </a:cubicBezTo>
                  <a:cubicBezTo>
                    <a:pt x="122199" y="100166"/>
                    <a:pt x="120941" y="97559"/>
                    <a:pt x="125609" y="95153"/>
                  </a:cubicBezTo>
                  <a:cubicBezTo>
                    <a:pt x="135350" y="90206"/>
                    <a:pt x="142616" y="86396"/>
                    <a:pt x="155077" y="85326"/>
                  </a:cubicBezTo>
                  <a:cubicBezTo>
                    <a:pt x="146350" y="80346"/>
                    <a:pt x="138841" y="73695"/>
                    <a:pt x="129465" y="69283"/>
                  </a:cubicBezTo>
                  <a:cubicBezTo>
                    <a:pt x="123254" y="66408"/>
                    <a:pt x="106044" y="65706"/>
                    <a:pt x="103122" y="60960"/>
                  </a:cubicBezTo>
                  <a:cubicBezTo>
                    <a:pt x="101823" y="58888"/>
                    <a:pt x="104177" y="47090"/>
                    <a:pt x="106126" y="44683"/>
                  </a:cubicBezTo>
                  <a:cubicBezTo>
                    <a:pt x="108602" y="41641"/>
                    <a:pt x="115623" y="40739"/>
                    <a:pt x="118992" y="37998"/>
                  </a:cubicBezTo>
                  <a:cubicBezTo>
                    <a:pt x="123336" y="34322"/>
                    <a:pt x="116801" y="29609"/>
                    <a:pt x="117369" y="25598"/>
                  </a:cubicBezTo>
                  <a:cubicBezTo>
                    <a:pt x="118221" y="19415"/>
                    <a:pt x="106937" y="18913"/>
                    <a:pt x="98251" y="15571"/>
                  </a:cubicBezTo>
                  <a:cubicBezTo>
                    <a:pt x="89565" y="12229"/>
                    <a:pt x="76170" y="16674"/>
                    <a:pt x="71381" y="10792"/>
                  </a:cubicBezTo>
                  <a:cubicBezTo>
                    <a:pt x="65414" y="3539"/>
                    <a:pt x="63953" y="3739"/>
                    <a:pt x="49381" y="2736"/>
                  </a:cubicBezTo>
                  <a:cubicBezTo>
                    <a:pt x="43009" y="2335"/>
                    <a:pt x="38097" y="330"/>
                    <a:pt x="31927" y="-238"/>
                  </a:cubicBezTo>
                  <a:cubicBezTo>
                    <a:pt x="20481" y="-1241"/>
                    <a:pt x="25190" y="5477"/>
                    <a:pt x="18411" y="1009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6162401B-7661-47A8-8424-2C1112496899}"/>
                </a:ext>
              </a:extLst>
            </p:cNvPr>
            <p:cNvSpPr/>
            <p:nvPr/>
          </p:nvSpPr>
          <p:spPr>
            <a:xfrm>
              <a:off x="4269021" y="4963762"/>
              <a:ext cx="85677" cy="62671"/>
            </a:xfrm>
            <a:custGeom>
              <a:avLst/>
              <a:gdLst>
                <a:gd name="connsiteX0" fmla="*/ 5088 w 85677"/>
                <a:gd name="connsiteY0" fmla="*/ 30478 h 62671"/>
                <a:gd name="connsiteX1" fmla="*/ 15682 w 85677"/>
                <a:gd name="connsiteY1" fmla="*/ 51569 h 62671"/>
                <a:gd name="connsiteX2" fmla="*/ 13896 w 85677"/>
                <a:gd name="connsiteY2" fmla="*/ 62097 h 62671"/>
                <a:gd name="connsiteX3" fmla="*/ 35693 w 85677"/>
                <a:gd name="connsiteY3" fmla="*/ 58186 h 62671"/>
                <a:gd name="connsiteX4" fmla="*/ 61954 w 85677"/>
                <a:gd name="connsiteY4" fmla="*/ 44082 h 62671"/>
                <a:gd name="connsiteX5" fmla="*/ 85618 w 85677"/>
                <a:gd name="connsiteY5" fmla="*/ 10491 h 62671"/>
                <a:gd name="connsiteX6" fmla="*/ 54202 w 85677"/>
                <a:gd name="connsiteY6" fmla="*/ 2336 h 62671"/>
                <a:gd name="connsiteX7" fmla="*/ 5697 w 85677"/>
                <a:gd name="connsiteY7" fmla="*/ 196 h 62671"/>
                <a:gd name="connsiteX8" fmla="*/ 5088 w 85677"/>
                <a:gd name="connsiteY8" fmla="*/ 30478 h 6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677" h="62671">
                  <a:moveTo>
                    <a:pt x="5088" y="30478"/>
                  </a:moveTo>
                  <a:cubicBezTo>
                    <a:pt x="10690" y="34890"/>
                    <a:pt x="18402" y="44951"/>
                    <a:pt x="15682" y="51569"/>
                  </a:cubicBezTo>
                  <a:cubicBezTo>
                    <a:pt x="14140" y="55345"/>
                    <a:pt x="6874" y="60827"/>
                    <a:pt x="13896" y="62097"/>
                  </a:cubicBezTo>
                  <a:cubicBezTo>
                    <a:pt x="21487" y="62929"/>
                    <a:pt x="29199" y="61545"/>
                    <a:pt x="35693" y="58186"/>
                  </a:cubicBezTo>
                  <a:cubicBezTo>
                    <a:pt x="47058" y="53039"/>
                    <a:pt x="60047" y="54376"/>
                    <a:pt x="61954" y="44082"/>
                  </a:cubicBezTo>
                  <a:cubicBezTo>
                    <a:pt x="64106" y="32751"/>
                    <a:pt x="75633" y="20685"/>
                    <a:pt x="85618" y="10491"/>
                  </a:cubicBezTo>
                  <a:cubicBezTo>
                    <a:pt x="74009" y="9087"/>
                    <a:pt x="64633" y="5210"/>
                    <a:pt x="54202" y="2336"/>
                  </a:cubicBezTo>
                  <a:cubicBezTo>
                    <a:pt x="38778" y="-1876"/>
                    <a:pt x="23110" y="130"/>
                    <a:pt x="5697" y="196"/>
                  </a:cubicBezTo>
                  <a:cubicBezTo>
                    <a:pt x="4398" y="10859"/>
                    <a:pt x="-6196" y="21521"/>
                    <a:pt x="5088" y="3047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134E7524-2D57-45F8-B81B-0D90CB015991}"/>
                </a:ext>
              </a:extLst>
            </p:cNvPr>
            <p:cNvSpPr/>
            <p:nvPr/>
          </p:nvSpPr>
          <p:spPr>
            <a:xfrm>
              <a:off x="3296913" y="4881421"/>
              <a:ext cx="301608" cy="72352"/>
            </a:xfrm>
            <a:custGeom>
              <a:avLst/>
              <a:gdLst>
                <a:gd name="connsiteX0" fmla="*/ 241547 w 301608"/>
                <a:gd name="connsiteY0" fmla="*/ 2153 h 72352"/>
                <a:gd name="connsiteX1" fmla="*/ 148800 w 301608"/>
                <a:gd name="connsiteY1" fmla="*/ 9172 h 72352"/>
                <a:gd name="connsiteX2" fmla="*/ 27031 w 301608"/>
                <a:gd name="connsiteY2" fmla="*/ 43231 h 72352"/>
                <a:gd name="connsiteX3" fmla="*/ 2068 w 301608"/>
                <a:gd name="connsiteY3" fmla="*/ 64756 h 72352"/>
                <a:gd name="connsiteX4" fmla="*/ 10470 w 301608"/>
                <a:gd name="connsiteY4" fmla="*/ 69268 h 72352"/>
                <a:gd name="connsiteX5" fmla="*/ 42049 w 301608"/>
                <a:gd name="connsiteY5" fmla="*/ 41994 h 72352"/>
                <a:gd name="connsiteX6" fmla="*/ 76997 w 301608"/>
                <a:gd name="connsiteY6" fmla="*/ 39621 h 72352"/>
                <a:gd name="connsiteX7" fmla="*/ 123391 w 301608"/>
                <a:gd name="connsiteY7" fmla="*/ 28491 h 72352"/>
                <a:gd name="connsiteX8" fmla="*/ 171611 w 301608"/>
                <a:gd name="connsiteY8" fmla="*/ 27255 h 72352"/>
                <a:gd name="connsiteX9" fmla="*/ 207087 w 301608"/>
                <a:gd name="connsiteY9" fmla="*/ 29360 h 72352"/>
                <a:gd name="connsiteX10" fmla="*/ 225109 w 301608"/>
                <a:gd name="connsiteY10" fmla="*/ 30898 h 72352"/>
                <a:gd name="connsiteX11" fmla="*/ 300037 w 301608"/>
                <a:gd name="connsiteY11" fmla="*/ 4727 h 72352"/>
                <a:gd name="connsiteX12" fmla="*/ 241547 w 301608"/>
                <a:gd name="connsiteY12" fmla="*/ 2153 h 7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1608" h="72352">
                  <a:moveTo>
                    <a:pt x="241547" y="2153"/>
                  </a:moveTo>
                  <a:cubicBezTo>
                    <a:pt x="215083" y="10743"/>
                    <a:pt x="175143" y="7067"/>
                    <a:pt x="148800" y="9172"/>
                  </a:cubicBezTo>
                  <a:cubicBezTo>
                    <a:pt x="105734" y="12515"/>
                    <a:pt x="62506" y="19600"/>
                    <a:pt x="27031" y="43231"/>
                  </a:cubicBezTo>
                  <a:cubicBezTo>
                    <a:pt x="17370" y="49264"/>
                    <a:pt x="8940" y="56530"/>
                    <a:pt x="2068" y="64756"/>
                  </a:cubicBezTo>
                  <a:cubicBezTo>
                    <a:pt x="-2275" y="70471"/>
                    <a:pt x="-205" y="75217"/>
                    <a:pt x="10470" y="69268"/>
                  </a:cubicBezTo>
                  <a:cubicBezTo>
                    <a:pt x="23702" y="61881"/>
                    <a:pt x="32672" y="50985"/>
                    <a:pt x="42049" y="41994"/>
                  </a:cubicBezTo>
                  <a:cubicBezTo>
                    <a:pt x="55849" y="28625"/>
                    <a:pt x="65226" y="39621"/>
                    <a:pt x="76997" y="39621"/>
                  </a:cubicBezTo>
                  <a:cubicBezTo>
                    <a:pt x="91081" y="39621"/>
                    <a:pt x="109753" y="32769"/>
                    <a:pt x="123391" y="28491"/>
                  </a:cubicBezTo>
                  <a:cubicBezTo>
                    <a:pt x="141859" y="22709"/>
                    <a:pt x="155132" y="26419"/>
                    <a:pt x="171611" y="27255"/>
                  </a:cubicBezTo>
                  <a:cubicBezTo>
                    <a:pt x="181028" y="27689"/>
                    <a:pt x="209644" y="19801"/>
                    <a:pt x="207087" y="29360"/>
                  </a:cubicBezTo>
                  <a:cubicBezTo>
                    <a:pt x="205057" y="36847"/>
                    <a:pt x="217234" y="33037"/>
                    <a:pt x="225109" y="30898"/>
                  </a:cubicBezTo>
                  <a:cubicBezTo>
                    <a:pt x="248894" y="24413"/>
                    <a:pt x="279377" y="16057"/>
                    <a:pt x="300037" y="4727"/>
                  </a:cubicBezTo>
                  <a:cubicBezTo>
                    <a:pt x="311727" y="-1757"/>
                    <a:pt x="252101" y="-1323"/>
                    <a:pt x="241547" y="215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11D762B0-F706-411E-AF17-2BFC5D5E0B4D}"/>
                </a:ext>
              </a:extLst>
            </p:cNvPr>
            <p:cNvSpPr/>
            <p:nvPr/>
          </p:nvSpPr>
          <p:spPr>
            <a:xfrm>
              <a:off x="3497800" y="4937943"/>
              <a:ext cx="60606" cy="15994"/>
            </a:xfrm>
            <a:custGeom>
              <a:avLst/>
              <a:gdLst>
                <a:gd name="connsiteX0" fmla="*/ 761 w 60606"/>
                <a:gd name="connsiteY0" fmla="*/ 14919 h 15994"/>
                <a:gd name="connsiteX1" fmla="*/ 60509 w 60606"/>
                <a:gd name="connsiteY1" fmla="*/ 1716 h 15994"/>
                <a:gd name="connsiteX2" fmla="*/ 761 w 60606"/>
                <a:gd name="connsiteY2" fmla="*/ 14919 h 1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606" h="15994">
                  <a:moveTo>
                    <a:pt x="761" y="14919"/>
                  </a:moveTo>
                  <a:cubicBezTo>
                    <a:pt x="8148" y="18261"/>
                    <a:pt x="58601" y="9604"/>
                    <a:pt x="60509" y="1716"/>
                  </a:cubicBezTo>
                  <a:cubicBezTo>
                    <a:pt x="62417" y="-6171"/>
                    <a:pt x="-8413" y="10908"/>
                    <a:pt x="761" y="1491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4C730F4E-BCF4-4786-AD0A-27CE909F00AD}"/>
                </a:ext>
              </a:extLst>
            </p:cNvPr>
            <p:cNvSpPr/>
            <p:nvPr/>
          </p:nvSpPr>
          <p:spPr>
            <a:xfrm>
              <a:off x="3817556" y="4839077"/>
              <a:ext cx="49057" cy="17601"/>
            </a:xfrm>
            <a:custGeom>
              <a:avLst/>
              <a:gdLst>
                <a:gd name="connsiteX0" fmla="*/ 2394 w 49057"/>
                <a:gd name="connsiteY0" fmla="*/ 15586 h 17601"/>
                <a:gd name="connsiteX1" fmla="*/ 48950 w 49057"/>
                <a:gd name="connsiteY1" fmla="*/ 2217 h 17601"/>
                <a:gd name="connsiteX2" fmla="*/ 2394 w 49057"/>
                <a:gd name="connsiteY2" fmla="*/ 15586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57" h="17601">
                  <a:moveTo>
                    <a:pt x="2394" y="15586"/>
                  </a:moveTo>
                  <a:cubicBezTo>
                    <a:pt x="17940" y="22271"/>
                    <a:pt x="47733" y="7130"/>
                    <a:pt x="48950" y="2217"/>
                  </a:cubicBezTo>
                  <a:cubicBezTo>
                    <a:pt x="50980" y="-6339"/>
                    <a:pt x="-13233" y="8768"/>
                    <a:pt x="2394" y="1558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B87590B8-0E21-4F0E-B457-88B31FB7E463}"/>
                </a:ext>
              </a:extLst>
            </p:cNvPr>
            <p:cNvSpPr/>
            <p:nvPr/>
          </p:nvSpPr>
          <p:spPr>
            <a:xfrm>
              <a:off x="4479378" y="6018872"/>
              <a:ext cx="66502" cy="29425"/>
            </a:xfrm>
            <a:custGeom>
              <a:avLst/>
              <a:gdLst>
                <a:gd name="connsiteX0" fmla="*/ 65709 w 66502"/>
                <a:gd name="connsiteY0" fmla="*/ 1339 h 29425"/>
                <a:gd name="connsiteX1" fmla="*/ 34008 w 66502"/>
                <a:gd name="connsiteY1" fmla="*/ 22830 h 29425"/>
                <a:gd name="connsiteX2" fmla="*/ 65709 w 66502"/>
                <a:gd name="connsiteY2" fmla="*/ 1339 h 29425"/>
                <a:gd name="connsiteX3" fmla="*/ 22399 w 66502"/>
                <a:gd name="connsiteY3" fmla="*/ 3645 h 29425"/>
                <a:gd name="connsiteX4" fmla="*/ 4093 w 66502"/>
                <a:gd name="connsiteY4" fmla="*/ 29047 h 29425"/>
                <a:gd name="connsiteX5" fmla="*/ 22319 w 66502"/>
                <a:gd name="connsiteY5" fmla="*/ 3545 h 2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502" h="29425">
                  <a:moveTo>
                    <a:pt x="65709" y="1339"/>
                  </a:moveTo>
                  <a:cubicBezTo>
                    <a:pt x="53532" y="-7585"/>
                    <a:pt x="25119" y="21961"/>
                    <a:pt x="34008" y="22830"/>
                  </a:cubicBezTo>
                  <a:cubicBezTo>
                    <a:pt x="42897" y="23699"/>
                    <a:pt x="71351" y="5617"/>
                    <a:pt x="65709" y="1339"/>
                  </a:cubicBezTo>
                  <a:close/>
                  <a:moveTo>
                    <a:pt x="22399" y="3645"/>
                  </a:moveTo>
                  <a:cubicBezTo>
                    <a:pt x="10953" y="4982"/>
                    <a:pt x="-8651" y="27844"/>
                    <a:pt x="4093" y="29047"/>
                  </a:cubicBezTo>
                  <a:cubicBezTo>
                    <a:pt x="17366" y="30284"/>
                    <a:pt x="33643" y="2308"/>
                    <a:pt x="22319" y="354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ED0F2EEE-2D98-4476-9CB0-D4ACB2DCC45A}"/>
                </a:ext>
              </a:extLst>
            </p:cNvPr>
            <p:cNvSpPr/>
            <p:nvPr/>
          </p:nvSpPr>
          <p:spPr>
            <a:xfrm>
              <a:off x="4477877" y="6017699"/>
              <a:ext cx="69441" cy="31711"/>
            </a:xfrm>
            <a:custGeom>
              <a:avLst/>
              <a:gdLst>
                <a:gd name="connsiteX0" fmla="*/ 39933 w 69441"/>
                <a:gd name="connsiteY0" fmla="*/ 24571 h 31711"/>
                <a:gd name="connsiteX1" fmla="*/ 39933 w 69441"/>
                <a:gd name="connsiteY1" fmla="*/ 24571 h 31711"/>
                <a:gd name="connsiteX2" fmla="*/ 35143 w 69441"/>
                <a:gd name="connsiteY2" fmla="*/ 25139 h 31711"/>
                <a:gd name="connsiteX3" fmla="*/ 32262 w 69441"/>
                <a:gd name="connsiteY3" fmla="*/ 22565 h 31711"/>
                <a:gd name="connsiteX4" fmla="*/ 57589 w 69441"/>
                <a:gd name="connsiteY4" fmla="*/ 272 h 31711"/>
                <a:gd name="connsiteX5" fmla="*/ 68224 w 69441"/>
                <a:gd name="connsiteY5" fmla="*/ 1676 h 31711"/>
                <a:gd name="connsiteX6" fmla="*/ 69117 w 69441"/>
                <a:gd name="connsiteY6" fmla="*/ 5219 h 31711"/>
                <a:gd name="connsiteX7" fmla="*/ 39933 w 69441"/>
                <a:gd name="connsiteY7" fmla="*/ 24571 h 31711"/>
                <a:gd name="connsiteX8" fmla="*/ 58360 w 69441"/>
                <a:gd name="connsiteY8" fmla="*/ 2378 h 31711"/>
                <a:gd name="connsiteX9" fmla="*/ 35224 w 69441"/>
                <a:gd name="connsiteY9" fmla="*/ 22432 h 31711"/>
                <a:gd name="connsiteX10" fmla="*/ 35712 w 69441"/>
                <a:gd name="connsiteY10" fmla="*/ 23000 h 31711"/>
                <a:gd name="connsiteX11" fmla="*/ 39121 w 69441"/>
                <a:gd name="connsiteY11" fmla="*/ 22565 h 31711"/>
                <a:gd name="connsiteX12" fmla="*/ 66235 w 69441"/>
                <a:gd name="connsiteY12" fmla="*/ 4851 h 31711"/>
                <a:gd name="connsiteX13" fmla="*/ 66235 w 69441"/>
                <a:gd name="connsiteY13" fmla="*/ 3414 h 31711"/>
                <a:gd name="connsiteX14" fmla="*/ 58360 w 69441"/>
                <a:gd name="connsiteY14" fmla="*/ 2378 h 31711"/>
                <a:gd name="connsiteX15" fmla="*/ 9653 w 69441"/>
                <a:gd name="connsiteY15" fmla="*/ 30921 h 31711"/>
                <a:gd name="connsiteX16" fmla="*/ 9653 w 69441"/>
                <a:gd name="connsiteY16" fmla="*/ 30921 h 31711"/>
                <a:gd name="connsiteX17" fmla="*/ 5310 w 69441"/>
                <a:gd name="connsiteY17" fmla="*/ 31322 h 31711"/>
                <a:gd name="connsiteX18" fmla="*/ -48 w 69441"/>
                <a:gd name="connsiteY18" fmla="*/ 26877 h 31711"/>
                <a:gd name="connsiteX19" fmla="*/ 23697 w 69441"/>
                <a:gd name="connsiteY19" fmla="*/ 3714 h 31711"/>
                <a:gd name="connsiteX20" fmla="*/ 28933 w 69441"/>
                <a:gd name="connsiteY20" fmla="*/ 6255 h 31711"/>
                <a:gd name="connsiteX21" fmla="*/ 29014 w 69441"/>
                <a:gd name="connsiteY21" fmla="*/ 6556 h 31711"/>
                <a:gd name="connsiteX22" fmla="*/ 9613 w 69441"/>
                <a:gd name="connsiteY22" fmla="*/ 30921 h 31711"/>
                <a:gd name="connsiteX23" fmla="*/ 22764 w 69441"/>
                <a:gd name="connsiteY23" fmla="*/ 6155 h 31711"/>
                <a:gd name="connsiteX24" fmla="*/ 2915 w 69441"/>
                <a:gd name="connsiteY24" fmla="*/ 26643 h 31711"/>
                <a:gd name="connsiteX25" fmla="*/ 5554 w 69441"/>
                <a:gd name="connsiteY25" fmla="*/ 29083 h 31711"/>
                <a:gd name="connsiteX26" fmla="*/ 5838 w 69441"/>
                <a:gd name="connsiteY26" fmla="*/ 29083 h 31711"/>
                <a:gd name="connsiteX27" fmla="*/ 8841 w 69441"/>
                <a:gd name="connsiteY27" fmla="*/ 28815 h 31711"/>
                <a:gd name="connsiteX28" fmla="*/ 8841 w 69441"/>
                <a:gd name="connsiteY28" fmla="*/ 28815 h 31711"/>
                <a:gd name="connsiteX29" fmla="*/ 26051 w 69441"/>
                <a:gd name="connsiteY29" fmla="*/ 7124 h 31711"/>
                <a:gd name="connsiteX30" fmla="*/ 23981 w 69441"/>
                <a:gd name="connsiteY30" fmla="*/ 5920 h 3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9441" h="31711">
                  <a:moveTo>
                    <a:pt x="39933" y="24571"/>
                  </a:moveTo>
                  <a:lnTo>
                    <a:pt x="39933" y="24571"/>
                  </a:lnTo>
                  <a:cubicBezTo>
                    <a:pt x="38391" y="25005"/>
                    <a:pt x="36767" y="25206"/>
                    <a:pt x="35143" y="25139"/>
                  </a:cubicBezTo>
                  <a:cubicBezTo>
                    <a:pt x="33520" y="25039"/>
                    <a:pt x="32221" y="23902"/>
                    <a:pt x="32262" y="22565"/>
                  </a:cubicBezTo>
                  <a:cubicBezTo>
                    <a:pt x="31937" y="17418"/>
                    <a:pt x="45778" y="3247"/>
                    <a:pt x="57589" y="272"/>
                  </a:cubicBezTo>
                  <a:cubicBezTo>
                    <a:pt x="61161" y="-898"/>
                    <a:pt x="65261" y="-363"/>
                    <a:pt x="68224" y="1676"/>
                  </a:cubicBezTo>
                  <a:cubicBezTo>
                    <a:pt x="69320" y="2611"/>
                    <a:pt x="69685" y="3982"/>
                    <a:pt x="69117" y="5219"/>
                  </a:cubicBezTo>
                  <a:cubicBezTo>
                    <a:pt x="66885" y="11402"/>
                    <a:pt x="49553" y="22097"/>
                    <a:pt x="39933" y="24571"/>
                  </a:cubicBezTo>
                  <a:close/>
                  <a:moveTo>
                    <a:pt x="58360" y="2378"/>
                  </a:moveTo>
                  <a:cubicBezTo>
                    <a:pt x="47483" y="5152"/>
                    <a:pt x="34981" y="18421"/>
                    <a:pt x="35224" y="22432"/>
                  </a:cubicBezTo>
                  <a:cubicBezTo>
                    <a:pt x="35224" y="22966"/>
                    <a:pt x="35468" y="22966"/>
                    <a:pt x="35712" y="23000"/>
                  </a:cubicBezTo>
                  <a:cubicBezTo>
                    <a:pt x="36889" y="23067"/>
                    <a:pt x="38025" y="22899"/>
                    <a:pt x="39121" y="22565"/>
                  </a:cubicBezTo>
                  <a:cubicBezTo>
                    <a:pt x="48457" y="20159"/>
                    <a:pt x="64449" y="9764"/>
                    <a:pt x="66235" y="4851"/>
                  </a:cubicBezTo>
                  <a:cubicBezTo>
                    <a:pt x="66641" y="3848"/>
                    <a:pt x="66235" y="3514"/>
                    <a:pt x="66235" y="3414"/>
                  </a:cubicBezTo>
                  <a:cubicBezTo>
                    <a:pt x="64084" y="1843"/>
                    <a:pt x="60999" y="1442"/>
                    <a:pt x="58360" y="2378"/>
                  </a:cubicBezTo>
                  <a:close/>
                  <a:moveTo>
                    <a:pt x="9653" y="30921"/>
                  </a:moveTo>
                  <a:lnTo>
                    <a:pt x="9653" y="30921"/>
                  </a:lnTo>
                  <a:cubicBezTo>
                    <a:pt x="8273" y="31322"/>
                    <a:pt x="6771" y="31456"/>
                    <a:pt x="5310" y="31322"/>
                  </a:cubicBezTo>
                  <a:cubicBezTo>
                    <a:pt x="2347" y="31289"/>
                    <a:pt x="-48" y="29317"/>
                    <a:pt x="-48" y="26877"/>
                  </a:cubicBezTo>
                  <a:cubicBezTo>
                    <a:pt x="-535" y="19524"/>
                    <a:pt x="14159" y="4851"/>
                    <a:pt x="23697" y="3714"/>
                  </a:cubicBezTo>
                  <a:cubicBezTo>
                    <a:pt x="26011" y="3213"/>
                    <a:pt x="28324" y="4350"/>
                    <a:pt x="28933" y="6255"/>
                  </a:cubicBezTo>
                  <a:cubicBezTo>
                    <a:pt x="28974" y="6355"/>
                    <a:pt x="28974" y="6455"/>
                    <a:pt x="29014" y="6556"/>
                  </a:cubicBezTo>
                  <a:cubicBezTo>
                    <a:pt x="30435" y="12572"/>
                    <a:pt x="20368" y="28114"/>
                    <a:pt x="9613" y="30921"/>
                  </a:cubicBezTo>
                  <a:close/>
                  <a:moveTo>
                    <a:pt x="22764" y="6155"/>
                  </a:moveTo>
                  <a:cubicBezTo>
                    <a:pt x="14646" y="8260"/>
                    <a:pt x="2469" y="20727"/>
                    <a:pt x="2915" y="26643"/>
                  </a:cubicBezTo>
                  <a:cubicBezTo>
                    <a:pt x="2834" y="27913"/>
                    <a:pt x="4011" y="29016"/>
                    <a:pt x="5554" y="29083"/>
                  </a:cubicBezTo>
                  <a:cubicBezTo>
                    <a:pt x="5634" y="29083"/>
                    <a:pt x="5756" y="29083"/>
                    <a:pt x="5838" y="29083"/>
                  </a:cubicBezTo>
                  <a:cubicBezTo>
                    <a:pt x="6852" y="29183"/>
                    <a:pt x="7867" y="29083"/>
                    <a:pt x="8841" y="28815"/>
                  </a:cubicBezTo>
                  <a:lnTo>
                    <a:pt x="8841" y="28815"/>
                  </a:lnTo>
                  <a:cubicBezTo>
                    <a:pt x="17731" y="26476"/>
                    <a:pt x="27310" y="12104"/>
                    <a:pt x="26051" y="7124"/>
                  </a:cubicBezTo>
                  <a:cubicBezTo>
                    <a:pt x="25767" y="5954"/>
                    <a:pt x="25036" y="5787"/>
                    <a:pt x="23981" y="592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4ABD0A8D-BEB7-4074-914D-90CB9B358EBE}"/>
                </a:ext>
              </a:extLst>
            </p:cNvPr>
            <p:cNvSpPr/>
            <p:nvPr/>
          </p:nvSpPr>
          <p:spPr>
            <a:xfrm>
              <a:off x="3302124" y="5366450"/>
              <a:ext cx="3207" cy="12801"/>
            </a:xfrm>
            <a:custGeom>
              <a:avLst/>
              <a:gdLst>
                <a:gd name="connsiteX0" fmla="*/ 2092 w 3207"/>
                <a:gd name="connsiteY0" fmla="*/ 4207 h 12801"/>
                <a:gd name="connsiteX1" fmla="*/ 3148 w 3207"/>
                <a:gd name="connsiteY1" fmla="*/ -339 h 12801"/>
                <a:gd name="connsiteX2" fmla="*/ 2377 w 3207"/>
                <a:gd name="connsiteY2" fmla="*/ 12462 h 12801"/>
                <a:gd name="connsiteX3" fmla="*/ 2092 w 3207"/>
                <a:gd name="connsiteY3" fmla="*/ 4207 h 12801"/>
                <a:gd name="connsiteX4" fmla="*/ 2092 w 3207"/>
                <a:gd name="connsiteY4" fmla="*/ 4207 h 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7" h="12801">
                  <a:moveTo>
                    <a:pt x="2092" y="4207"/>
                  </a:moveTo>
                  <a:cubicBezTo>
                    <a:pt x="2417" y="2669"/>
                    <a:pt x="2783" y="1165"/>
                    <a:pt x="3148" y="-339"/>
                  </a:cubicBezTo>
                  <a:cubicBezTo>
                    <a:pt x="-818" y="3204"/>
                    <a:pt x="-1143" y="8586"/>
                    <a:pt x="2377" y="12462"/>
                  </a:cubicBezTo>
                  <a:cubicBezTo>
                    <a:pt x="2377" y="9722"/>
                    <a:pt x="2133" y="6947"/>
                    <a:pt x="2092" y="4207"/>
                  </a:cubicBezTo>
                  <a:cubicBezTo>
                    <a:pt x="2052" y="2669"/>
                    <a:pt x="2133" y="7014"/>
                    <a:pt x="2092" y="42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C6ABC9C2-DE3B-43EE-8F72-F8F7767820AC}"/>
                </a:ext>
              </a:extLst>
            </p:cNvPr>
            <p:cNvSpPr/>
            <p:nvPr/>
          </p:nvSpPr>
          <p:spPr>
            <a:xfrm>
              <a:off x="3300339" y="5362172"/>
              <a:ext cx="7712" cy="21357"/>
            </a:xfrm>
            <a:custGeom>
              <a:avLst/>
              <a:gdLst>
                <a:gd name="connsiteX0" fmla="*/ 6151 w 7712"/>
                <a:gd name="connsiteY0" fmla="*/ 21019 h 21357"/>
                <a:gd name="connsiteX1" fmla="*/ 2620 w 7712"/>
                <a:gd name="connsiteY1" fmla="*/ 17677 h 21357"/>
                <a:gd name="connsiteX2" fmla="*/ 3594 w 7712"/>
                <a:gd name="connsiteY2" fmla="*/ 3539 h 21357"/>
                <a:gd name="connsiteX3" fmla="*/ 7653 w 7712"/>
                <a:gd name="connsiteY3" fmla="*/ -339 h 21357"/>
                <a:gd name="connsiteX4" fmla="*/ 5542 w 7712"/>
                <a:gd name="connsiteY4" fmla="*/ 8351 h 21357"/>
                <a:gd name="connsiteX5" fmla="*/ 5826 w 7712"/>
                <a:gd name="connsiteY5" fmla="*/ 16507 h 2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2" h="21357">
                  <a:moveTo>
                    <a:pt x="6151" y="21019"/>
                  </a:moveTo>
                  <a:lnTo>
                    <a:pt x="2620" y="17677"/>
                  </a:lnTo>
                  <a:cubicBezTo>
                    <a:pt x="-1293" y="13398"/>
                    <a:pt x="-879" y="7416"/>
                    <a:pt x="3594" y="3539"/>
                  </a:cubicBezTo>
                  <a:lnTo>
                    <a:pt x="7653" y="-339"/>
                  </a:lnTo>
                  <a:cubicBezTo>
                    <a:pt x="6963" y="2569"/>
                    <a:pt x="6273" y="5444"/>
                    <a:pt x="5542" y="8351"/>
                  </a:cubicBezTo>
                  <a:cubicBezTo>
                    <a:pt x="5542" y="11092"/>
                    <a:pt x="5542" y="13799"/>
                    <a:pt x="5826" y="165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A477913D-AB6A-4DCD-A4B2-9AB5799AE837}"/>
                </a:ext>
              </a:extLst>
            </p:cNvPr>
            <p:cNvSpPr/>
            <p:nvPr/>
          </p:nvSpPr>
          <p:spPr>
            <a:xfrm>
              <a:off x="3584468" y="5223670"/>
              <a:ext cx="146201" cy="111827"/>
            </a:xfrm>
            <a:custGeom>
              <a:avLst/>
              <a:gdLst>
                <a:gd name="connsiteX0" fmla="*/ 133724 w 146201"/>
                <a:gd name="connsiteY0" fmla="*/ 3667 h 111827"/>
                <a:gd name="connsiteX1" fmla="*/ 110507 w 146201"/>
                <a:gd name="connsiteY1" fmla="*/ 1026 h 111827"/>
                <a:gd name="connsiteX2" fmla="*/ 84367 w 146201"/>
                <a:gd name="connsiteY2" fmla="*/ 7042 h 111827"/>
                <a:gd name="connsiteX3" fmla="*/ 32169 w 146201"/>
                <a:gd name="connsiteY3" fmla="*/ 5772 h 111827"/>
                <a:gd name="connsiteX4" fmla="*/ 17840 w 146201"/>
                <a:gd name="connsiteY4" fmla="*/ 19710 h 111827"/>
                <a:gd name="connsiteX5" fmla="*/ 14877 w 146201"/>
                <a:gd name="connsiteY5" fmla="*/ 34216 h 111827"/>
                <a:gd name="connsiteX6" fmla="*/ 8058 w 146201"/>
                <a:gd name="connsiteY6" fmla="*/ 51161 h 111827"/>
                <a:gd name="connsiteX7" fmla="*/ -60 w 146201"/>
                <a:gd name="connsiteY7" fmla="*/ 65834 h 111827"/>
                <a:gd name="connsiteX8" fmla="*/ 4933 w 146201"/>
                <a:gd name="connsiteY8" fmla="*/ 71249 h 111827"/>
                <a:gd name="connsiteX9" fmla="*/ 8505 w 146201"/>
                <a:gd name="connsiteY9" fmla="*/ 82279 h 111827"/>
                <a:gd name="connsiteX10" fmla="*/ 32534 w 146201"/>
                <a:gd name="connsiteY10" fmla="*/ 85321 h 111827"/>
                <a:gd name="connsiteX11" fmla="*/ 43453 w 146201"/>
                <a:gd name="connsiteY11" fmla="*/ 84551 h 111827"/>
                <a:gd name="connsiteX12" fmla="*/ 32615 w 146201"/>
                <a:gd name="connsiteY12" fmla="*/ 97219 h 111827"/>
                <a:gd name="connsiteX13" fmla="*/ 40733 w 146201"/>
                <a:gd name="connsiteY13" fmla="*/ 110355 h 111827"/>
                <a:gd name="connsiteX14" fmla="*/ 67360 w 146201"/>
                <a:gd name="connsiteY14" fmla="*/ 108149 h 111827"/>
                <a:gd name="connsiteX15" fmla="*/ 91024 w 146201"/>
                <a:gd name="connsiteY15" fmla="*/ 73388 h 111827"/>
                <a:gd name="connsiteX16" fmla="*/ 114079 w 146201"/>
                <a:gd name="connsiteY16" fmla="*/ 58214 h 111827"/>
                <a:gd name="connsiteX17" fmla="*/ 140016 w 146201"/>
                <a:gd name="connsiteY17" fmla="*/ 34283 h 111827"/>
                <a:gd name="connsiteX18" fmla="*/ 144602 w 146201"/>
                <a:gd name="connsiteY18" fmla="*/ 17002 h 111827"/>
                <a:gd name="connsiteX19" fmla="*/ 133846 w 146201"/>
                <a:gd name="connsiteY19" fmla="*/ 3633 h 1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201" h="111827">
                  <a:moveTo>
                    <a:pt x="133724" y="3667"/>
                  </a:moveTo>
                  <a:cubicBezTo>
                    <a:pt x="131857" y="3165"/>
                    <a:pt x="112902" y="-3018"/>
                    <a:pt x="110507" y="1026"/>
                  </a:cubicBezTo>
                  <a:cubicBezTo>
                    <a:pt x="106813" y="7310"/>
                    <a:pt x="90740" y="8145"/>
                    <a:pt x="84367" y="7042"/>
                  </a:cubicBezTo>
                  <a:cubicBezTo>
                    <a:pt x="68131" y="4235"/>
                    <a:pt x="49338" y="8045"/>
                    <a:pt x="32169" y="5772"/>
                  </a:cubicBezTo>
                  <a:cubicBezTo>
                    <a:pt x="34442" y="12256"/>
                    <a:pt x="27623" y="15799"/>
                    <a:pt x="17840" y="19710"/>
                  </a:cubicBezTo>
                  <a:cubicBezTo>
                    <a:pt x="8058" y="23620"/>
                    <a:pt x="12767" y="30038"/>
                    <a:pt x="14877" y="34216"/>
                  </a:cubicBezTo>
                  <a:cubicBezTo>
                    <a:pt x="17394" y="39263"/>
                    <a:pt x="6516" y="45245"/>
                    <a:pt x="8058" y="51161"/>
                  </a:cubicBezTo>
                  <a:cubicBezTo>
                    <a:pt x="9601" y="57077"/>
                    <a:pt x="-60" y="59885"/>
                    <a:pt x="-60" y="65834"/>
                  </a:cubicBezTo>
                  <a:cubicBezTo>
                    <a:pt x="78" y="68308"/>
                    <a:pt x="2063" y="70480"/>
                    <a:pt x="4933" y="71249"/>
                  </a:cubicBezTo>
                  <a:cubicBezTo>
                    <a:pt x="11224" y="73656"/>
                    <a:pt x="8383" y="77934"/>
                    <a:pt x="8505" y="82279"/>
                  </a:cubicBezTo>
                  <a:cubicBezTo>
                    <a:pt x="8505" y="85086"/>
                    <a:pt x="29206" y="85822"/>
                    <a:pt x="32534" y="85321"/>
                  </a:cubicBezTo>
                  <a:cubicBezTo>
                    <a:pt x="37242" y="84652"/>
                    <a:pt x="40652" y="78903"/>
                    <a:pt x="43453" y="84551"/>
                  </a:cubicBezTo>
                  <a:cubicBezTo>
                    <a:pt x="46253" y="90200"/>
                    <a:pt x="39069" y="93910"/>
                    <a:pt x="32615" y="97219"/>
                  </a:cubicBezTo>
                  <a:cubicBezTo>
                    <a:pt x="46456" y="100227"/>
                    <a:pt x="34036" y="107614"/>
                    <a:pt x="40733" y="110355"/>
                  </a:cubicBezTo>
                  <a:cubicBezTo>
                    <a:pt x="50962" y="114666"/>
                    <a:pt x="58471" y="105074"/>
                    <a:pt x="67360" y="108149"/>
                  </a:cubicBezTo>
                  <a:cubicBezTo>
                    <a:pt x="93419" y="117206"/>
                    <a:pt x="84611" y="83449"/>
                    <a:pt x="91024" y="73388"/>
                  </a:cubicBezTo>
                  <a:cubicBezTo>
                    <a:pt x="95083" y="67104"/>
                    <a:pt x="106651" y="62793"/>
                    <a:pt x="114079" y="58214"/>
                  </a:cubicBezTo>
                  <a:cubicBezTo>
                    <a:pt x="125200" y="51529"/>
                    <a:pt x="135064" y="43407"/>
                    <a:pt x="140016" y="34283"/>
                  </a:cubicBezTo>
                  <a:cubicBezTo>
                    <a:pt x="143506" y="27899"/>
                    <a:pt x="143182" y="23086"/>
                    <a:pt x="144602" y="17002"/>
                  </a:cubicBezTo>
                  <a:cubicBezTo>
                    <a:pt x="146794" y="7677"/>
                    <a:pt x="148905" y="7677"/>
                    <a:pt x="133846" y="363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12F625B7-E1E4-48C9-A3A4-D81B0B567B47}"/>
                </a:ext>
              </a:extLst>
            </p:cNvPr>
            <p:cNvSpPr/>
            <p:nvPr/>
          </p:nvSpPr>
          <p:spPr>
            <a:xfrm>
              <a:off x="3050770" y="2997195"/>
              <a:ext cx="2198713" cy="859897"/>
            </a:xfrm>
            <a:custGeom>
              <a:avLst/>
              <a:gdLst>
                <a:gd name="connsiteX0" fmla="*/ 2069799 w 2198713"/>
                <a:gd name="connsiteY0" fmla="*/ 13389 h 859897"/>
                <a:gd name="connsiteX1" fmla="*/ 1995479 w 2198713"/>
                <a:gd name="connsiteY1" fmla="*/ 36785 h 859897"/>
                <a:gd name="connsiteX2" fmla="*/ 1924406 w 2198713"/>
                <a:gd name="connsiteY2" fmla="*/ 45509 h 859897"/>
                <a:gd name="connsiteX3" fmla="*/ 1901148 w 2198713"/>
                <a:gd name="connsiteY3" fmla="*/ 44874 h 859897"/>
                <a:gd name="connsiteX4" fmla="*/ 1870828 w 2198713"/>
                <a:gd name="connsiteY4" fmla="*/ 50790 h 859897"/>
                <a:gd name="connsiteX5" fmla="*/ 1773412 w 2198713"/>
                <a:gd name="connsiteY5" fmla="*/ 94942 h 859897"/>
                <a:gd name="connsiteX6" fmla="*/ 1771180 w 2198713"/>
                <a:gd name="connsiteY6" fmla="*/ 85216 h 859897"/>
                <a:gd name="connsiteX7" fmla="*/ 1821876 w 2198713"/>
                <a:gd name="connsiteY7" fmla="*/ 41431 h 859897"/>
                <a:gd name="connsiteX8" fmla="*/ 1753361 w 2198713"/>
                <a:gd name="connsiteY8" fmla="*/ 49419 h 859897"/>
                <a:gd name="connsiteX9" fmla="*/ 1695277 w 2198713"/>
                <a:gd name="connsiteY9" fmla="*/ 70175 h 859897"/>
                <a:gd name="connsiteX10" fmla="*/ 1628953 w 2198713"/>
                <a:gd name="connsiteY10" fmla="*/ 89427 h 859897"/>
                <a:gd name="connsiteX11" fmla="*/ 1658178 w 2198713"/>
                <a:gd name="connsiteY11" fmla="*/ 72248 h 859897"/>
                <a:gd name="connsiteX12" fmla="*/ 1693613 w 2198713"/>
                <a:gd name="connsiteY12" fmla="*/ 56071 h 859897"/>
                <a:gd name="connsiteX13" fmla="*/ 1611905 w 2198713"/>
                <a:gd name="connsiteY13" fmla="*/ 64026 h 859897"/>
                <a:gd name="connsiteX14" fmla="*/ 1520578 w 2198713"/>
                <a:gd name="connsiteY14" fmla="*/ 80904 h 859897"/>
                <a:gd name="connsiteX15" fmla="*/ 1423691 w 2198713"/>
                <a:gd name="connsiteY15" fmla="*/ 104301 h 859897"/>
                <a:gd name="connsiteX16" fmla="*/ 1452875 w 2198713"/>
                <a:gd name="connsiteY16" fmla="*/ 89929 h 859897"/>
                <a:gd name="connsiteX17" fmla="*/ 1556987 w 2198713"/>
                <a:gd name="connsiteY17" fmla="*/ 65429 h 859897"/>
                <a:gd name="connsiteX18" fmla="*/ 1668853 w 2198713"/>
                <a:gd name="connsiteY18" fmla="*/ 48717 h 859897"/>
                <a:gd name="connsiteX19" fmla="*/ 1779216 w 2198713"/>
                <a:gd name="connsiteY19" fmla="*/ 24552 h 859897"/>
                <a:gd name="connsiteX20" fmla="*/ 1827153 w 2198713"/>
                <a:gd name="connsiteY20" fmla="*/ 6169 h 859897"/>
                <a:gd name="connsiteX21" fmla="*/ 1721133 w 2198713"/>
                <a:gd name="connsiteY21" fmla="*/ 10046 h 859897"/>
                <a:gd name="connsiteX22" fmla="*/ 1700432 w 2198713"/>
                <a:gd name="connsiteY22" fmla="*/ 2660 h 859897"/>
                <a:gd name="connsiteX23" fmla="*/ 1663901 w 2198713"/>
                <a:gd name="connsiteY23" fmla="*/ 888 h 859897"/>
                <a:gd name="connsiteX24" fmla="*/ 1593924 w 2198713"/>
                <a:gd name="connsiteY24" fmla="*/ 5802 h 859897"/>
                <a:gd name="connsiteX25" fmla="*/ 1515870 w 2198713"/>
                <a:gd name="connsiteY25" fmla="*/ 8877 h 859897"/>
                <a:gd name="connsiteX26" fmla="*/ 1391381 w 2198713"/>
                <a:gd name="connsiteY26" fmla="*/ 27326 h 859897"/>
                <a:gd name="connsiteX27" fmla="*/ 1294656 w 2198713"/>
                <a:gd name="connsiteY27" fmla="*/ 43737 h 859897"/>
                <a:gd name="connsiteX28" fmla="*/ 1250007 w 2198713"/>
                <a:gd name="connsiteY28" fmla="*/ 54767 h 859897"/>
                <a:gd name="connsiteX29" fmla="*/ 1193182 w 2198713"/>
                <a:gd name="connsiteY29" fmla="*/ 69641 h 859897"/>
                <a:gd name="connsiteX30" fmla="*/ 1199230 w 2198713"/>
                <a:gd name="connsiteY30" fmla="*/ 80370 h 859897"/>
                <a:gd name="connsiteX31" fmla="*/ 1175850 w 2198713"/>
                <a:gd name="connsiteY31" fmla="*/ 87054 h 859897"/>
                <a:gd name="connsiteX32" fmla="*/ 1162212 w 2198713"/>
                <a:gd name="connsiteY32" fmla="*/ 80670 h 859897"/>
                <a:gd name="connsiteX33" fmla="*/ 1115696 w 2198713"/>
                <a:gd name="connsiteY33" fmla="*/ 87355 h 859897"/>
                <a:gd name="connsiteX34" fmla="*/ 1043933 w 2198713"/>
                <a:gd name="connsiteY34" fmla="*/ 100992 h 859897"/>
                <a:gd name="connsiteX35" fmla="*/ 984266 w 2198713"/>
                <a:gd name="connsiteY35" fmla="*/ 117704 h 859897"/>
                <a:gd name="connsiteX36" fmla="*/ 897729 w 2198713"/>
                <a:gd name="connsiteY36" fmla="*/ 137357 h 859897"/>
                <a:gd name="connsiteX37" fmla="*/ 919606 w 2198713"/>
                <a:gd name="connsiteY37" fmla="*/ 144743 h 859897"/>
                <a:gd name="connsiteX38" fmla="*/ 900164 w 2198713"/>
                <a:gd name="connsiteY38" fmla="*/ 156375 h 859897"/>
                <a:gd name="connsiteX39" fmla="*/ 878611 w 2198713"/>
                <a:gd name="connsiteY39" fmla="*/ 171482 h 859897"/>
                <a:gd name="connsiteX40" fmla="*/ 975052 w 2198713"/>
                <a:gd name="connsiteY40" fmla="*/ 178167 h 859897"/>
                <a:gd name="connsiteX41" fmla="*/ 960562 w 2198713"/>
                <a:gd name="connsiteY41" fmla="*/ 183281 h 859897"/>
                <a:gd name="connsiteX42" fmla="*/ 901382 w 2198713"/>
                <a:gd name="connsiteY42" fmla="*/ 182345 h 859897"/>
                <a:gd name="connsiteX43" fmla="*/ 847884 w 2198713"/>
                <a:gd name="connsiteY43" fmla="*/ 187091 h 859897"/>
                <a:gd name="connsiteX44" fmla="*/ 811800 w 2198713"/>
                <a:gd name="connsiteY44" fmla="*/ 184651 h 859897"/>
                <a:gd name="connsiteX45" fmla="*/ 729484 w 2198713"/>
                <a:gd name="connsiteY45" fmla="*/ 199625 h 859897"/>
                <a:gd name="connsiteX46" fmla="*/ 776852 w 2198713"/>
                <a:gd name="connsiteY46" fmla="*/ 208215 h 859897"/>
                <a:gd name="connsiteX47" fmla="*/ 735938 w 2198713"/>
                <a:gd name="connsiteY47" fmla="*/ 222119 h 859897"/>
                <a:gd name="connsiteX48" fmla="*/ 671684 w 2198713"/>
                <a:gd name="connsiteY48" fmla="*/ 220648 h 859897"/>
                <a:gd name="connsiteX49" fmla="*/ 660482 w 2198713"/>
                <a:gd name="connsiteY49" fmla="*/ 253136 h 859897"/>
                <a:gd name="connsiteX50" fmla="*/ 638604 w 2198713"/>
                <a:gd name="connsiteY50" fmla="*/ 265369 h 859897"/>
                <a:gd name="connsiteX51" fmla="*/ 640024 w 2198713"/>
                <a:gd name="connsiteY51" fmla="*/ 252501 h 859897"/>
                <a:gd name="connsiteX52" fmla="*/ 581778 w 2198713"/>
                <a:gd name="connsiteY52" fmla="*/ 238664 h 859897"/>
                <a:gd name="connsiteX53" fmla="*/ 488421 w 2198713"/>
                <a:gd name="connsiteY53" fmla="*/ 270149 h 859897"/>
                <a:gd name="connsiteX54" fmla="*/ 447832 w 2198713"/>
                <a:gd name="connsiteY54" fmla="*/ 286092 h 859897"/>
                <a:gd name="connsiteX55" fmla="*/ 466341 w 2198713"/>
                <a:gd name="connsiteY55" fmla="*/ 294882 h 859897"/>
                <a:gd name="connsiteX56" fmla="*/ 424980 w 2198713"/>
                <a:gd name="connsiteY56" fmla="*/ 299428 h 859897"/>
                <a:gd name="connsiteX57" fmla="*/ 385648 w 2198713"/>
                <a:gd name="connsiteY57" fmla="*/ 308887 h 859897"/>
                <a:gd name="connsiteX58" fmla="*/ 355449 w 2198713"/>
                <a:gd name="connsiteY58" fmla="*/ 321187 h 859897"/>
                <a:gd name="connsiteX59" fmla="*/ 370914 w 2198713"/>
                <a:gd name="connsiteY59" fmla="*/ 330044 h 859897"/>
                <a:gd name="connsiteX60" fmla="*/ 372375 w 2198713"/>
                <a:gd name="connsiteY60" fmla="*/ 348828 h 859897"/>
                <a:gd name="connsiteX61" fmla="*/ 330608 w 2198713"/>
                <a:gd name="connsiteY61" fmla="*/ 355145 h 859897"/>
                <a:gd name="connsiteX62" fmla="*/ 263432 w 2198713"/>
                <a:gd name="connsiteY62" fmla="*/ 378541 h 859897"/>
                <a:gd name="connsiteX63" fmla="*/ 196743 w 2198713"/>
                <a:gd name="connsiteY63" fmla="*/ 414973 h 859897"/>
                <a:gd name="connsiteX64" fmla="*/ 157128 w 2198713"/>
                <a:gd name="connsiteY64" fmla="*/ 444152 h 859897"/>
                <a:gd name="connsiteX65" fmla="*/ 246425 w 2198713"/>
                <a:gd name="connsiteY65" fmla="*/ 451873 h 859897"/>
                <a:gd name="connsiteX66" fmla="*/ 179858 w 2198713"/>
                <a:gd name="connsiteY66" fmla="*/ 483759 h 859897"/>
                <a:gd name="connsiteX67" fmla="*/ 123438 w 2198713"/>
                <a:gd name="connsiteY67" fmla="*/ 506921 h 859897"/>
                <a:gd name="connsiteX68" fmla="*/ 77653 w 2198713"/>
                <a:gd name="connsiteY68" fmla="*/ 528948 h 859897"/>
                <a:gd name="connsiteX69" fmla="*/ 8650 w 2198713"/>
                <a:gd name="connsiteY69" fmla="*/ 560065 h 859897"/>
                <a:gd name="connsiteX70" fmla="*/ 34060 w 2198713"/>
                <a:gd name="connsiteY70" fmla="*/ 573769 h 859897"/>
                <a:gd name="connsiteX71" fmla="*/ 87192 w 2198713"/>
                <a:gd name="connsiteY71" fmla="*/ 565613 h 859897"/>
                <a:gd name="connsiteX72" fmla="*/ 141298 w 2198713"/>
                <a:gd name="connsiteY72" fmla="*/ 557458 h 859897"/>
                <a:gd name="connsiteX73" fmla="*/ 238713 w 2198713"/>
                <a:gd name="connsiteY73" fmla="*/ 529750 h 859897"/>
                <a:gd name="connsiteX74" fmla="*/ 190777 w 2198713"/>
                <a:gd name="connsiteY74" fmla="*/ 551241 h 859897"/>
                <a:gd name="connsiteX75" fmla="*/ 123520 w 2198713"/>
                <a:gd name="connsiteY75" fmla="*/ 575941 h 859897"/>
                <a:gd name="connsiteX76" fmla="*/ 70753 w 2198713"/>
                <a:gd name="connsiteY76" fmla="*/ 599338 h 859897"/>
                <a:gd name="connsiteX77" fmla="*/ 146615 w 2198713"/>
                <a:gd name="connsiteY77" fmla="*/ 590113 h 859897"/>
                <a:gd name="connsiteX78" fmla="*/ 148239 w 2198713"/>
                <a:gd name="connsiteY78" fmla="*/ 601410 h 859897"/>
                <a:gd name="connsiteX79" fmla="*/ 202629 w 2198713"/>
                <a:gd name="connsiteY79" fmla="*/ 595962 h 859897"/>
                <a:gd name="connsiteX80" fmla="*/ 244152 w 2198713"/>
                <a:gd name="connsiteY80" fmla="*/ 588642 h 859897"/>
                <a:gd name="connsiteX81" fmla="*/ 240743 w 2198713"/>
                <a:gd name="connsiteY81" fmla="*/ 581957 h 859897"/>
                <a:gd name="connsiteX82" fmla="*/ 266233 w 2198713"/>
                <a:gd name="connsiteY82" fmla="*/ 573067 h 859897"/>
                <a:gd name="connsiteX83" fmla="*/ 297447 w 2198713"/>
                <a:gd name="connsiteY83" fmla="*/ 565914 h 859897"/>
                <a:gd name="connsiteX84" fmla="*/ 337103 w 2198713"/>
                <a:gd name="connsiteY84" fmla="*/ 551709 h 859897"/>
                <a:gd name="connsiteX85" fmla="*/ 365516 w 2198713"/>
                <a:gd name="connsiteY85" fmla="*/ 539977 h 859897"/>
                <a:gd name="connsiteX86" fmla="*/ 453068 w 2198713"/>
                <a:gd name="connsiteY86" fmla="*/ 526942 h 859897"/>
                <a:gd name="connsiteX87" fmla="*/ 538672 w 2198713"/>
                <a:gd name="connsiteY87" fmla="*/ 521193 h 859897"/>
                <a:gd name="connsiteX88" fmla="*/ 555354 w 2198713"/>
                <a:gd name="connsiteY88" fmla="*/ 533293 h 859897"/>
                <a:gd name="connsiteX89" fmla="*/ 612586 w 2198713"/>
                <a:gd name="connsiteY89" fmla="*/ 535632 h 859897"/>
                <a:gd name="connsiteX90" fmla="*/ 655773 w 2198713"/>
                <a:gd name="connsiteY90" fmla="*/ 559965 h 859897"/>
                <a:gd name="connsiteX91" fmla="*/ 677245 w 2198713"/>
                <a:gd name="connsiteY91" fmla="*/ 566148 h 859897"/>
                <a:gd name="connsiteX92" fmla="*/ 704846 w 2198713"/>
                <a:gd name="connsiteY92" fmla="*/ 579952 h 859897"/>
                <a:gd name="connsiteX93" fmla="*/ 695023 w 2198713"/>
                <a:gd name="connsiteY93" fmla="*/ 593322 h 859897"/>
                <a:gd name="connsiteX94" fmla="*/ 693481 w 2198713"/>
                <a:gd name="connsiteY94" fmla="*/ 604752 h 859897"/>
                <a:gd name="connsiteX95" fmla="*/ 696160 w 2198713"/>
                <a:gd name="connsiteY95" fmla="*/ 619559 h 859897"/>
                <a:gd name="connsiteX96" fmla="*/ 734396 w 2198713"/>
                <a:gd name="connsiteY96" fmla="*/ 615983 h 859897"/>
                <a:gd name="connsiteX97" fmla="*/ 776040 w 2198713"/>
                <a:gd name="connsiteY97" fmla="*/ 601978 h 859897"/>
                <a:gd name="connsiteX98" fmla="*/ 853445 w 2198713"/>
                <a:gd name="connsiteY98" fmla="*/ 612005 h 859897"/>
                <a:gd name="connsiteX99" fmla="*/ 858438 w 2198713"/>
                <a:gd name="connsiteY99" fmla="*/ 622367 h 859897"/>
                <a:gd name="connsiteX100" fmla="*/ 817280 w 2198713"/>
                <a:gd name="connsiteY100" fmla="*/ 622968 h 859897"/>
                <a:gd name="connsiteX101" fmla="*/ 748034 w 2198713"/>
                <a:gd name="connsiteY101" fmla="*/ 640014 h 859897"/>
                <a:gd name="connsiteX102" fmla="*/ 802180 w 2198713"/>
                <a:gd name="connsiteY102" fmla="*/ 642989 h 859897"/>
                <a:gd name="connsiteX103" fmla="*/ 837453 w 2198713"/>
                <a:gd name="connsiteY103" fmla="*/ 641184 h 859897"/>
                <a:gd name="connsiteX104" fmla="*/ 870452 w 2198713"/>
                <a:gd name="connsiteY104" fmla="*/ 637374 h 859897"/>
                <a:gd name="connsiteX105" fmla="*/ 884415 w 2198713"/>
                <a:gd name="connsiteY105" fmla="*/ 648972 h 859897"/>
                <a:gd name="connsiteX106" fmla="*/ 884415 w 2198713"/>
                <a:gd name="connsiteY106" fmla="*/ 670463 h 859897"/>
                <a:gd name="connsiteX107" fmla="*/ 817767 w 2198713"/>
                <a:gd name="connsiteY107" fmla="*/ 698405 h 859897"/>
                <a:gd name="connsiteX108" fmla="*/ 804981 w 2198713"/>
                <a:gd name="connsiteY108" fmla="*/ 720732 h 859897"/>
                <a:gd name="connsiteX109" fmla="*/ 806645 w 2198713"/>
                <a:gd name="connsiteY109" fmla="*/ 739550 h 859897"/>
                <a:gd name="connsiteX110" fmla="*/ 839117 w 2198713"/>
                <a:gd name="connsiteY110" fmla="*/ 740151 h 859897"/>
                <a:gd name="connsiteX111" fmla="*/ 818457 w 2198713"/>
                <a:gd name="connsiteY111" fmla="*/ 755092 h 859897"/>
                <a:gd name="connsiteX112" fmla="*/ 865866 w 2198713"/>
                <a:gd name="connsiteY112" fmla="*/ 772739 h 859897"/>
                <a:gd name="connsiteX113" fmla="*/ 897647 w 2198713"/>
                <a:gd name="connsiteY113" fmla="*/ 800882 h 859897"/>
                <a:gd name="connsiteX114" fmla="*/ 913356 w 2198713"/>
                <a:gd name="connsiteY114" fmla="*/ 810307 h 859897"/>
                <a:gd name="connsiteX115" fmla="*/ 933163 w 2198713"/>
                <a:gd name="connsiteY115" fmla="*/ 818262 h 859897"/>
                <a:gd name="connsiteX116" fmla="*/ 959466 w 2198713"/>
                <a:gd name="connsiteY116" fmla="*/ 820635 h 859897"/>
                <a:gd name="connsiteX117" fmla="*/ 961698 w 2198713"/>
                <a:gd name="connsiteY117" fmla="*/ 829526 h 859897"/>
                <a:gd name="connsiteX118" fmla="*/ 979273 w 2198713"/>
                <a:gd name="connsiteY118" fmla="*/ 839854 h 859897"/>
                <a:gd name="connsiteX119" fmla="*/ 1013288 w 2198713"/>
                <a:gd name="connsiteY119" fmla="*/ 847809 h 859897"/>
                <a:gd name="connsiteX120" fmla="*/ 1041700 w 2198713"/>
                <a:gd name="connsiteY120" fmla="*/ 858671 h 859897"/>
                <a:gd name="connsiteX121" fmla="*/ 1081073 w 2198713"/>
                <a:gd name="connsiteY121" fmla="*/ 854627 h 859897"/>
                <a:gd name="connsiteX122" fmla="*/ 1093655 w 2198713"/>
                <a:gd name="connsiteY122" fmla="*/ 856098 h 859897"/>
                <a:gd name="connsiteX123" fmla="*/ 1119024 w 2198713"/>
                <a:gd name="connsiteY123" fmla="*/ 852454 h 859897"/>
                <a:gd name="connsiteX124" fmla="*/ 1151821 w 2198713"/>
                <a:gd name="connsiteY124" fmla="*/ 857067 h 859897"/>
                <a:gd name="connsiteX125" fmla="*/ 1191396 w 2198713"/>
                <a:gd name="connsiteY125" fmla="*/ 856365 h 859897"/>
                <a:gd name="connsiteX126" fmla="*/ 1217211 w 2198713"/>
                <a:gd name="connsiteY126" fmla="*/ 849079 h 859897"/>
                <a:gd name="connsiteX127" fmla="*/ 1232391 w 2198713"/>
                <a:gd name="connsiteY127" fmla="*/ 831164 h 859897"/>
                <a:gd name="connsiteX128" fmla="*/ 1233406 w 2198713"/>
                <a:gd name="connsiteY128" fmla="*/ 813416 h 859897"/>
                <a:gd name="connsiteX129" fmla="*/ 1241524 w 2198713"/>
                <a:gd name="connsiteY129" fmla="*/ 802720 h 859897"/>
                <a:gd name="connsiteX130" fmla="*/ 1234542 w 2198713"/>
                <a:gd name="connsiteY130" fmla="*/ 785841 h 859897"/>
                <a:gd name="connsiteX131" fmla="*/ 1222812 w 2198713"/>
                <a:gd name="connsiteY131" fmla="*/ 776483 h 859897"/>
                <a:gd name="connsiteX132" fmla="*/ 1253701 w 2198713"/>
                <a:gd name="connsiteY132" fmla="*/ 767458 h 859897"/>
                <a:gd name="connsiteX133" fmla="*/ 1261535 w 2198713"/>
                <a:gd name="connsiteY133" fmla="*/ 756094 h 859897"/>
                <a:gd name="connsiteX134" fmla="*/ 1277324 w 2198713"/>
                <a:gd name="connsiteY134" fmla="*/ 729823 h 859897"/>
                <a:gd name="connsiteX135" fmla="*/ 1283818 w 2198713"/>
                <a:gd name="connsiteY135" fmla="*/ 716821 h 859897"/>
                <a:gd name="connsiteX136" fmla="*/ 1280896 w 2198713"/>
                <a:gd name="connsiteY136" fmla="*/ 706393 h 859897"/>
                <a:gd name="connsiteX137" fmla="*/ 1264214 w 2198713"/>
                <a:gd name="connsiteY137" fmla="*/ 699341 h 859897"/>
                <a:gd name="connsiteX138" fmla="*/ 1298066 w 2198713"/>
                <a:gd name="connsiteY138" fmla="*/ 695999 h 859897"/>
                <a:gd name="connsiteX139" fmla="*/ 1297660 w 2198713"/>
                <a:gd name="connsiteY139" fmla="*/ 683030 h 859897"/>
                <a:gd name="connsiteX140" fmla="*/ 1339629 w 2198713"/>
                <a:gd name="connsiteY140" fmla="*/ 670296 h 859897"/>
                <a:gd name="connsiteX141" fmla="*/ 1361629 w 2198713"/>
                <a:gd name="connsiteY141" fmla="*/ 647735 h 859897"/>
                <a:gd name="connsiteX142" fmla="*/ 1364754 w 2198713"/>
                <a:gd name="connsiteY142" fmla="*/ 660235 h 859897"/>
                <a:gd name="connsiteX143" fmla="*/ 1383345 w 2198713"/>
                <a:gd name="connsiteY143" fmla="*/ 656091 h 859897"/>
                <a:gd name="connsiteX144" fmla="*/ 1472358 w 2198713"/>
                <a:gd name="connsiteY144" fmla="*/ 628015 h 859897"/>
                <a:gd name="connsiteX145" fmla="*/ 1501948 w 2198713"/>
                <a:gd name="connsiteY145" fmla="*/ 606223 h 859897"/>
                <a:gd name="connsiteX146" fmla="*/ 1516195 w 2198713"/>
                <a:gd name="connsiteY146" fmla="*/ 588475 h 859897"/>
                <a:gd name="connsiteX147" fmla="*/ 1543593 w 2198713"/>
                <a:gd name="connsiteY147" fmla="*/ 567385 h 859897"/>
                <a:gd name="connsiteX148" fmla="*/ 1591123 w 2198713"/>
                <a:gd name="connsiteY148" fmla="*/ 558394 h 859897"/>
                <a:gd name="connsiteX149" fmla="*/ 1602204 w 2198713"/>
                <a:gd name="connsiteY149" fmla="*/ 551341 h 859897"/>
                <a:gd name="connsiteX150" fmla="*/ 1635691 w 2198713"/>
                <a:gd name="connsiteY150" fmla="*/ 543487 h 859897"/>
                <a:gd name="connsiteX151" fmla="*/ 1699417 w 2198713"/>
                <a:gd name="connsiteY151" fmla="*/ 529182 h 859897"/>
                <a:gd name="connsiteX152" fmla="*/ 1773250 w 2198713"/>
                <a:gd name="connsiteY152" fmla="*/ 508024 h 859897"/>
                <a:gd name="connsiteX153" fmla="*/ 1838883 w 2198713"/>
                <a:gd name="connsiteY153" fmla="*/ 480617 h 859897"/>
                <a:gd name="connsiteX154" fmla="*/ 1896967 w 2198713"/>
                <a:gd name="connsiteY154" fmla="*/ 454413 h 859897"/>
                <a:gd name="connsiteX155" fmla="*/ 1857068 w 2198713"/>
                <a:gd name="connsiteY155" fmla="*/ 463270 h 859897"/>
                <a:gd name="connsiteX156" fmla="*/ 1802718 w 2198713"/>
                <a:gd name="connsiteY156" fmla="*/ 464574 h 859897"/>
                <a:gd name="connsiteX157" fmla="*/ 1748531 w 2198713"/>
                <a:gd name="connsiteY157" fmla="*/ 470724 h 859897"/>
                <a:gd name="connsiteX158" fmla="*/ 1742118 w 2198713"/>
                <a:gd name="connsiteY158" fmla="*/ 464707 h 859897"/>
                <a:gd name="connsiteX159" fmla="*/ 1768582 w 2198713"/>
                <a:gd name="connsiteY159" fmla="*/ 453043 h 859897"/>
                <a:gd name="connsiteX160" fmla="*/ 1760464 w 2198713"/>
                <a:gd name="connsiteY160" fmla="*/ 437634 h 859897"/>
                <a:gd name="connsiteX161" fmla="*/ 1840141 w 2198713"/>
                <a:gd name="connsiteY161" fmla="*/ 450469 h 859897"/>
                <a:gd name="connsiteX162" fmla="*/ 1899606 w 2198713"/>
                <a:gd name="connsiteY162" fmla="*/ 430950 h 859897"/>
                <a:gd name="connsiteX163" fmla="*/ 1899606 w 2198713"/>
                <a:gd name="connsiteY163" fmla="*/ 419251 h 859897"/>
                <a:gd name="connsiteX164" fmla="*/ 1873791 w 2198713"/>
                <a:gd name="connsiteY164" fmla="*/ 411297 h 859897"/>
                <a:gd name="connsiteX165" fmla="*/ 1809902 w 2198713"/>
                <a:gd name="connsiteY165" fmla="*/ 398261 h 859897"/>
                <a:gd name="connsiteX166" fmla="*/ 1853983 w 2198713"/>
                <a:gd name="connsiteY166" fmla="*/ 391209 h 859897"/>
                <a:gd name="connsiteX167" fmla="*/ 1883735 w 2198713"/>
                <a:gd name="connsiteY167" fmla="*/ 368514 h 859897"/>
                <a:gd name="connsiteX168" fmla="*/ 1804423 w 2198713"/>
                <a:gd name="connsiteY168" fmla="*/ 377539 h 859897"/>
                <a:gd name="connsiteX169" fmla="*/ 1770733 w 2198713"/>
                <a:gd name="connsiteY169" fmla="*/ 382552 h 859897"/>
                <a:gd name="connsiteX170" fmla="*/ 1773453 w 2198713"/>
                <a:gd name="connsiteY170" fmla="*/ 372325 h 859897"/>
                <a:gd name="connsiteX171" fmla="*/ 1795331 w 2198713"/>
                <a:gd name="connsiteY171" fmla="*/ 361897 h 859897"/>
                <a:gd name="connsiteX172" fmla="*/ 1802271 w 2198713"/>
                <a:gd name="connsiteY172" fmla="*/ 353206 h 859897"/>
                <a:gd name="connsiteX173" fmla="*/ 1873791 w 2198713"/>
                <a:gd name="connsiteY173" fmla="*/ 356248 h 859897"/>
                <a:gd name="connsiteX174" fmla="*/ 1924893 w 2198713"/>
                <a:gd name="connsiteY174" fmla="*/ 333754 h 859897"/>
                <a:gd name="connsiteX175" fmla="*/ 1884790 w 2198713"/>
                <a:gd name="connsiteY175" fmla="*/ 323159 h 859897"/>
                <a:gd name="connsiteX176" fmla="*/ 1961059 w 2198713"/>
                <a:gd name="connsiteY176" fmla="*/ 314368 h 859897"/>
                <a:gd name="connsiteX177" fmla="*/ 1978959 w 2198713"/>
                <a:gd name="connsiteY177" fmla="*/ 302570 h 859897"/>
                <a:gd name="connsiteX178" fmla="*/ 1955376 w 2198713"/>
                <a:gd name="connsiteY178" fmla="*/ 303439 h 859897"/>
                <a:gd name="connsiteX179" fmla="*/ 1900498 w 2198713"/>
                <a:gd name="connsiteY179" fmla="*/ 290069 h 859897"/>
                <a:gd name="connsiteX180" fmla="*/ 1973154 w 2198713"/>
                <a:gd name="connsiteY180" fmla="*/ 267876 h 859897"/>
                <a:gd name="connsiteX181" fmla="*/ 1920388 w 2198713"/>
                <a:gd name="connsiteY181" fmla="*/ 250563 h 859897"/>
                <a:gd name="connsiteX182" fmla="*/ 1879270 w 2198713"/>
                <a:gd name="connsiteY182" fmla="*/ 250563 h 859897"/>
                <a:gd name="connsiteX183" fmla="*/ 1858975 w 2198713"/>
                <a:gd name="connsiteY183" fmla="*/ 244680 h 859897"/>
                <a:gd name="connsiteX184" fmla="*/ 1894654 w 2198713"/>
                <a:gd name="connsiteY184" fmla="*/ 230174 h 859897"/>
                <a:gd name="connsiteX185" fmla="*/ 1988335 w 2198713"/>
                <a:gd name="connsiteY185" fmla="*/ 220147 h 859897"/>
                <a:gd name="connsiteX186" fmla="*/ 1968527 w 2198713"/>
                <a:gd name="connsiteY186" fmla="*/ 203669 h 859897"/>
                <a:gd name="connsiteX187" fmla="*/ 1906912 w 2198713"/>
                <a:gd name="connsiteY187" fmla="*/ 204237 h 859897"/>
                <a:gd name="connsiteX188" fmla="*/ 1956391 w 2198713"/>
                <a:gd name="connsiteY188" fmla="*/ 192840 h 859897"/>
                <a:gd name="connsiteX189" fmla="*/ 1900215 w 2198713"/>
                <a:gd name="connsiteY189" fmla="*/ 188228 h 859897"/>
                <a:gd name="connsiteX190" fmla="*/ 1847448 w 2198713"/>
                <a:gd name="connsiteY190" fmla="*/ 203536 h 859897"/>
                <a:gd name="connsiteX191" fmla="*/ 1865145 w 2198713"/>
                <a:gd name="connsiteY191" fmla="*/ 189297 h 859897"/>
                <a:gd name="connsiteX192" fmla="*/ 1870422 w 2198713"/>
                <a:gd name="connsiteY192" fmla="*/ 167438 h 859897"/>
                <a:gd name="connsiteX193" fmla="*/ 1916167 w 2198713"/>
                <a:gd name="connsiteY193" fmla="*/ 147384 h 859897"/>
                <a:gd name="connsiteX194" fmla="*/ 1938897 w 2198713"/>
                <a:gd name="connsiteY194" fmla="*/ 121781 h 859897"/>
                <a:gd name="connsiteX195" fmla="*/ 1994748 w 2198713"/>
                <a:gd name="connsiteY195" fmla="*/ 103165 h 859897"/>
                <a:gd name="connsiteX196" fmla="*/ 1902569 w 2198713"/>
                <a:gd name="connsiteY196" fmla="*/ 115765 h 859897"/>
                <a:gd name="connsiteX197" fmla="*/ 1923350 w 2198713"/>
                <a:gd name="connsiteY197" fmla="*/ 102396 h 859897"/>
                <a:gd name="connsiteX198" fmla="*/ 1980663 w 2198713"/>
                <a:gd name="connsiteY198" fmla="*/ 92903 h 859897"/>
                <a:gd name="connsiteX199" fmla="*/ 2038342 w 2198713"/>
                <a:gd name="connsiteY199" fmla="*/ 82676 h 859897"/>
                <a:gd name="connsiteX200" fmla="*/ 2020563 w 2198713"/>
                <a:gd name="connsiteY200" fmla="*/ 75991 h 859897"/>
                <a:gd name="connsiteX201" fmla="*/ 1960450 w 2198713"/>
                <a:gd name="connsiteY201" fmla="*/ 81974 h 859897"/>
                <a:gd name="connsiteX202" fmla="*/ 1962682 w 2198713"/>
                <a:gd name="connsiteY202" fmla="*/ 77027 h 859897"/>
                <a:gd name="connsiteX203" fmla="*/ 2027017 w 2198713"/>
                <a:gd name="connsiteY203" fmla="*/ 67535 h 859897"/>
                <a:gd name="connsiteX204" fmla="*/ 2063142 w 2198713"/>
                <a:gd name="connsiteY204" fmla="*/ 58778 h 859897"/>
                <a:gd name="connsiteX205" fmla="*/ 2104625 w 2198713"/>
                <a:gd name="connsiteY205" fmla="*/ 47013 h 859897"/>
                <a:gd name="connsiteX206" fmla="*/ 2150653 w 2198713"/>
                <a:gd name="connsiteY206" fmla="*/ 36986 h 859897"/>
                <a:gd name="connsiteX207" fmla="*/ 2186048 w 2198713"/>
                <a:gd name="connsiteY207" fmla="*/ 14859 h 859897"/>
                <a:gd name="connsiteX208" fmla="*/ 2069799 w 2198713"/>
                <a:gd name="connsiteY208" fmla="*/ 13389 h 859897"/>
                <a:gd name="connsiteX209" fmla="*/ 841349 w 2198713"/>
                <a:gd name="connsiteY209" fmla="*/ 655122 h 859897"/>
                <a:gd name="connsiteX210" fmla="*/ 821542 w 2198713"/>
                <a:gd name="connsiteY210" fmla="*/ 652047 h 859897"/>
                <a:gd name="connsiteX211" fmla="*/ 790531 w 2198713"/>
                <a:gd name="connsiteY211" fmla="*/ 646766 h 859897"/>
                <a:gd name="connsiteX212" fmla="*/ 738860 w 2198713"/>
                <a:gd name="connsiteY212" fmla="*/ 661338 h 859897"/>
                <a:gd name="connsiteX213" fmla="*/ 781561 w 2198713"/>
                <a:gd name="connsiteY213" fmla="*/ 676279 h 859897"/>
                <a:gd name="connsiteX214" fmla="*/ 841349 w 2198713"/>
                <a:gd name="connsiteY214" fmla="*/ 655122 h 85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2198713" h="859897">
                  <a:moveTo>
                    <a:pt x="2069799" y="13389"/>
                  </a:moveTo>
                  <a:cubicBezTo>
                    <a:pt x="2044227" y="15728"/>
                    <a:pt x="1995804" y="20809"/>
                    <a:pt x="1995479" y="36785"/>
                  </a:cubicBezTo>
                  <a:cubicBezTo>
                    <a:pt x="1995235" y="48651"/>
                    <a:pt x="1939221" y="42768"/>
                    <a:pt x="1924406" y="45509"/>
                  </a:cubicBezTo>
                  <a:cubicBezTo>
                    <a:pt x="1911986" y="47782"/>
                    <a:pt x="1908698" y="49887"/>
                    <a:pt x="1901148" y="44874"/>
                  </a:cubicBezTo>
                  <a:cubicBezTo>
                    <a:pt x="1893598" y="39860"/>
                    <a:pt x="1878337" y="47347"/>
                    <a:pt x="1870828" y="50790"/>
                  </a:cubicBezTo>
                  <a:cubicBezTo>
                    <a:pt x="1838356" y="65630"/>
                    <a:pt x="1804707" y="79467"/>
                    <a:pt x="1773412" y="94942"/>
                  </a:cubicBezTo>
                  <a:cubicBezTo>
                    <a:pt x="1742118" y="110417"/>
                    <a:pt x="1760464" y="92669"/>
                    <a:pt x="1771180" y="85216"/>
                  </a:cubicBezTo>
                  <a:cubicBezTo>
                    <a:pt x="1786482" y="74487"/>
                    <a:pt x="1832673" y="53698"/>
                    <a:pt x="1821876" y="41431"/>
                  </a:cubicBezTo>
                  <a:cubicBezTo>
                    <a:pt x="1810471" y="28496"/>
                    <a:pt x="1765984" y="38657"/>
                    <a:pt x="1753361" y="49419"/>
                  </a:cubicBezTo>
                  <a:cubicBezTo>
                    <a:pt x="1743213" y="58043"/>
                    <a:pt x="1712243" y="64594"/>
                    <a:pt x="1695277" y="70175"/>
                  </a:cubicBezTo>
                  <a:cubicBezTo>
                    <a:pt x="1675834" y="76526"/>
                    <a:pt x="1651399" y="86586"/>
                    <a:pt x="1628953" y="89427"/>
                  </a:cubicBezTo>
                  <a:cubicBezTo>
                    <a:pt x="1608658" y="91934"/>
                    <a:pt x="1655012" y="73317"/>
                    <a:pt x="1658178" y="72248"/>
                  </a:cubicBezTo>
                  <a:cubicBezTo>
                    <a:pt x="1661344" y="71178"/>
                    <a:pt x="1703517" y="56940"/>
                    <a:pt x="1693613" y="56071"/>
                  </a:cubicBezTo>
                  <a:cubicBezTo>
                    <a:pt x="1670720" y="53998"/>
                    <a:pt x="1635407" y="60683"/>
                    <a:pt x="1611905" y="64026"/>
                  </a:cubicBezTo>
                  <a:cubicBezTo>
                    <a:pt x="1581098" y="68167"/>
                    <a:pt x="1550574" y="73805"/>
                    <a:pt x="1520578" y="80904"/>
                  </a:cubicBezTo>
                  <a:cubicBezTo>
                    <a:pt x="1490502" y="88224"/>
                    <a:pt x="1455635" y="100691"/>
                    <a:pt x="1423691" y="104301"/>
                  </a:cubicBezTo>
                  <a:cubicBezTo>
                    <a:pt x="1402625" y="106674"/>
                    <a:pt x="1449587" y="90931"/>
                    <a:pt x="1452875" y="89929"/>
                  </a:cubicBezTo>
                  <a:cubicBezTo>
                    <a:pt x="1486483" y="80470"/>
                    <a:pt x="1521878" y="72314"/>
                    <a:pt x="1556987" y="65429"/>
                  </a:cubicBezTo>
                  <a:cubicBezTo>
                    <a:pt x="1593518" y="58277"/>
                    <a:pt x="1631673" y="54299"/>
                    <a:pt x="1668853" y="48717"/>
                  </a:cubicBezTo>
                  <a:cubicBezTo>
                    <a:pt x="1708590" y="42902"/>
                    <a:pt x="1741062" y="32607"/>
                    <a:pt x="1779216" y="24552"/>
                  </a:cubicBezTo>
                  <a:cubicBezTo>
                    <a:pt x="1787091" y="22848"/>
                    <a:pt x="1856093" y="10715"/>
                    <a:pt x="1827153" y="6169"/>
                  </a:cubicBezTo>
                  <a:cubicBezTo>
                    <a:pt x="1792327" y="654"/>
                    <a:pt x="1756608" y="10915"/>
                    <a:pt x="1721133" y="10046"/>
                  </a:cubicBezTo>
                  <a:cubicBezTo>
                    <a:pt x="1707494" y="9746"/>
                    <a:pt x="1712324" y="3796"/>
                    <a:pt x="1700432" y="2660"/>
                  </a:cubicBezTo>
                  <a:cubicBezTo>
                    <a:pt x="1688539" y="1523"/>
                    <a:pt x="1674536" y="2994"/>
                    <a:pt x="1663901" y="888"/>
                  </a:cubicBezTo>
                  <a:cubicBezTo>
                    <a:pt x="1645027" y="-2955"/>
                    <a:pt x="1615842" y="3228"/>
                    <a:pt x="1593924" y="5802"/>
                  </a:cubicBezTo>
                  <a:cubicBezTo>
                    <a:pt x="1566080" y="9144"/>
                    <a:pt x="1543228" y="6804"/>
                    <a:pt x="1515870" y="8877"/>
                  </a:cubicBezTo>
                  <a:cubicBezTo>
                    <a:pt x="1473778" y="12219"/>
                    <a:pt x="1432783" y="20408"/>
                    <a:pt x="1391381" y="27326"/>
                  </a:cubicBezTo>
                  <a:cubicBezTo>
                    <a:pt x="1358910" y="32741"/>
                    <a:pt x="1326762" y="37855"/>
                    <a:pt x="1294656" y="43737"/>
                  </a:cubicBezTo>
                  <a:cubicBezTo>
                    <a:pt x="1279556" y="46776"/>
                    <a:pt x="1264660" y="50456"/>
                    <a:pt x="1250007" y="54767"/>
                  </a:cubicBezTo>
                  <a:cubicBezTo>
                    <a:pt x="1234299" y="59112"/>
                    <a:pt x="1203654" y="61118"/>
                    <a:pt x="1193182" y="69641"/>
                  </a:cubicBezTo>
                  <a:cubicBezTo>
                    <a:pt x="1187418" y="74253"/>
                    <a:pt x="1206657" y="74554"/>
                    <a:pt x="1199230" y="80370"/>
                  </a:cubicBezTo>
                  <a:cubicBezTo>
                    <a:pt x="1192451" y="84517"/>
                    <a:pt x="1184292" y="86850"/>
                    <a:pt x="1175850" y="87054"/>
                  </a:cubicBezTo>
                  <a:cubicBezTo>
                    <a:pt x="1167732" y="87054"/>
                    <a:pt x="1171019" y="81439"/>
                    <a:pt x="1162212" y="80670"/>
                  </a:cubicBezTo>
                  <a:cubicBezTo>
                    <a:pt x="1146260" y="79761"/>
                    <a:pt x="1130308" y="82054"/>
                    <a:pt x="1115696" y="87355"/>
                  </a:cubicBezTo>
                  <a:cubicBezTo>
                    <a:pt x="1093006" y="96480"/>
                    <a:pt x="1070032" y="97716"/>
                    <a:pt x="1043933" y="100992"/>
                  </a:cubicBezTo>
                  <a:cubicBezTo>
                    <a:pt x="1017834" y="104267"/>
                    <a:pt x="1007889" y="111687"/>
                    <a:pt x="984266" y="117704"/>
                  </a:cubicBezTo>
                  <a:cubicBezTo>
                    <a:pt x="955853" y="125024"/>
                    <a:pt x="926385" y="130338"/>
                    <a:pt x="897729" y="137357"/>
                  </a:cubicBezTo>
                  <a:cubicBezTo>
                    <a:pt x="864283" y="145546"/>
                    <a:pt x="907714" y="144042"/>
                    <a:pt x="919606" y="144743"/>
                  </a:cubicBezTo>
                  <a:cubicBezTo>
                    <a:pt x="945949" y="146348"/>
                    <a:pt x="911488" y="153768"/>
                    <a:pt x="900164" y="156375"/>
                  </a:cubicBezTo>
                  <a:cubicBezTo>
                    <a:pt x="883603" y="160152"/>
                    <a:pt x="846910" y="168407"/>
                    <a:pt x="878611" y="171482"/>
                  </a:cubicBezTo>
                  <a:cubicBezTo>
                    <a:pt x="909134" y="174457"/>
                    <a:pt x="950049" y="169845"/>
                    <a:pt x="975052" y="178167"/>
                  </a:cubicBezTo>
                  <a:cubicBezTo>
                    <a:pt x="985484" y="181676"/>
                    <a:pt x="965595" y="183047"/>
                    <a:pt x="960562" y="183281"/>
                  </a:cubicBezTo>
                  <a:cubicBezTo>
                    <a:pt x="939942" y="184183"/>
                    <a:pt x="921839" y="181342"/>
                    <a:pt x="901382" y="182345"/>
                  </a:cubicBezTo>
                  <a:cubicBezTo>
                    <a:pt x="883766" y="183214"/>
                    <a:pt x="865216" y="186857"/>
                    <a:pt x="847884" y="187091"/>
                  </a:cubicBezTo>
                  <a:cubicBezTo>
                    <a:pt x="835017" y="187292"/>
                    <a:pt x="825114" y="184350"/>
                    <a:pt x="811800" y="184651"/>
                  </a:cubicBezTo>
                  <a:cubicBezTo>
                    <a:pt x="795564" y="184985"/>
                    <a:pt x="739429" y="188194"/>
                    <a:pt x="729484" y="199625"/>
                  </a:cubicBezTo>
                  <a:cubicBezTo>
                    <a:pt x="723314" y="206677"/>
                    <a:pt x="769384" y="206911"/>
                    <a:pt x="776852" y="208215"/>
                  </a:cubicBezTo>
                  <a:cubicBezTo>
                    <a:pt x="804169" y="212727"/>
                    <a:pt x="742635" y="220147"/>
                    <a:pt x="735938" y="222119"/>
                  </a:cubicBezTo>
                  <a:cubicBezTo>
                    <a:pt x="715643" y="227935"/>
                    <a:pt x="691776" y="219913"/>
                    <a:pt x="671684" y="220648"/>
                  </a:cubicBezTo>
                  <a:cubicBezTo>
                    <a:pt x="631825" y="222186"/>
                    <a:pt x="670954" y="242207"/>
                    <a:pt x="660482" y="253136"/>
                  </a:cubicBezTo>
                  <a:cubicBezTo>
                    <a:pt x="657072" y="256712"/>
                    <a:pt x="647411" y="264467"/>
                    <a:pt x="638604" y="265369"/>
                  </a:cubicBezTo>
                  <a:cubicBezTo>
                    <a:pt x="634788" y="265770"/>
                    <a:pt x="640349" y="254239"/>
                    <a:pt x="640024" y="252501"/>
                  </a:cubicBezTo>
                  <a:cubicBezTo>
                    <a:pt x="637264" y="237226"/>
                    <a:pt x="616360" y="227667"/>
                    <a:pt x="581778" y="238664"/>
                  </a:cubicBezTo>
                  <a:cubicBezTo>
                    <a:pt x="549712" y="248691"/>
                    <a:pt x="521664" y="261325"/>
                    <a:pt x="488421" y="270149"/>
                  </a:cubicBezTo>
                  <a:cubicBezTo>
                    <a:pt x="477543" y="273023"/>
                    <a:pt x="452621" y="279407"/>
                    <a:pt x="447832" y="286092"/>
                  </a:cubicBezTo>
                  <a:cubicBezTo>
                    <a:pt x="444098" y="291306"/>
                    <a:pt x="481440" y="288565"/>
                    <a:pt x="466341" y="294882"/>
                  </a:cubicBezTo>
                  <a:cubicBezTo>
                    <a:pt x="452256" y="300765"/>
                    <a:pt x="438658" y="297790"/>
                    <a:pt x="424980" y="299428"/>
                  </a:cubicBezTo>
                  <a:cubicBezTo>
                    <a:pt x="411480" y="301360"/>
                    <a:pt x="398288" y="304532"/>
                    <a:pt x="385648" y="308887"/>
                  </a:cubicBezTo>
                  <a:cubicBezTo>
                    <a:pt x="375014" y="311962"/>
                    <a:pt x="364870" y="316093"/>
                    <a:pt x="355449" y="321187"/>
                  </a:cubicBezTo>
                  <a:cubicBezTo>
                    <a:pt x="347331" y="326233"/>
                    <a:pt x="367099" y="327370"/>
                    <a:pt x="370914" y="330044"/>
                  </a:cubicBezTo>
                  <a:cubicBezTo>
                    <a:pt x="375825" y="333386"/>
                    <a:pt x="384065" y="343112"/>
                    <a:pt x="372375" y="348828"/>
                  </a:cubicBezTo>
                  <a:cubicBezTo>
                    <a:pt x="361903" y="353975"/>
                    <a:pt x="341690" y="353775"/>
                    <a:pt x="330608" y="355145"/>
                  </a:cubicBezTo>
                  <a:cubicBezTo>
                    <a:pt x="303779" y="358487"/>
                    <a:pt x="285026" y="367679"/>
                    <a:pt x="263432" y="378541"/>
                  </a:cubicBezTo>
                  <a:cubicBezTo>
                    <a:pt x="240215" y="390139"/>
                    <a:pt x="217850" y="402306"/>
                    <a:pt x="196743" y="414973"/>
                  </a:cubicBezTo>
                  <a:cubicBezTo>
                    <a:pt x="185216" y="421858"/>
                    <a:pt x="158914" y="435629"/>
                    <a:pt x="157128" y="444152"/>
                  </a:cubicBezTo>
                  <a:cubicBezTo>
                    <a:pt x="153799" y="459493"/>
                    <a:pt x="301790" y="394017"/>
                    <a:pt x="246425" y="451873"/>
                  </a:cubicBezTo>
                  <a:cubicBezTo>
                    <a:pt x="230879" y="468117"/>
                    <a:pt x="208758" y="475002"/>
                    <a:pt x="179858" y="483759"/>
                  </a:cubicBezTo>
                  <a:cubicBezTo>
                    <a:pt x="162202" y="489073"/>
                    <a:pt x="129770" y="496092"/>
                    <a:pt x="123438" y="506921"/>
                  </a:cubicBezTo>
                  <a:cubicBezTo>
                    <a:pt x="119014" y="514408"/>
                    <a:pt x="88775" y="524335"/>
                    <a:pt x="77653" y="528948"/>
                  </a:cubicBezTo>
                  <a:cubicBezTo>
                    <a:pt x="54557" y="538373"/>
                    <a:pt x="28296" y="548032"/>
                    <a:pt x="8650" y="560065"/>
                  </a:cubicBezTo>
                  <a:cubicBezTo>
                    <a:pt x="-13593" y="573902"/>
                    <a:pt x="11127" y="579718"/>
                    <a:pt x="34060" y="573769"/>
                  </a:cubicBezTo>
                  <a:cubicBezTo>
                    <a:pt x="52447" y="569022"/>
                    <a:pt x="70956" y="562806"/>
                    <a:pt x="87192" y="565613"/>
                  </a:cubicBezTo>
                  <a:cubicBezTo>
                    <a:pt x="101966" y="568153"/>
                    <a:pt x="124413" y="562572"/>
                    <a:pt x="141298" y="557458"/>
                  </a:cubicBezTo>
                  <a:cubicBezTo>
                    <a:pt x="167681" y="549436"/>
                    <a:pt x="214359" y="520692"/>
                    <a:pt x="238713" y="529750"/>
                  </a:cubicBezTo>
                  <a:cubicBezTo>
                    <a:pt x="261119" y="538106"/>
                    <a:pt x="202182" y="548467"/>
                    <a:pt x="190777" y="551241"/>
                  </a:cubicBezTo>
                  <a:cubicBezTo>
                    <a:pt x="164028" y="557592"/>
                    <a:pt x="148157" y="567518"/>
                    <a:pt x="123520" y="575941"/>
                  </a:cubicBezTo>
                  <a:cubicBezTo>
                    <a:pt x="117593" y="577913"/>
                    <a:pt x="54801" y="596229"/>
                    <a:pt x="70753" y="599338"/>
                  </a:cubicBezTo>
                  <a:cubicBezTo>
                    <a:pt x="82280" y="601376"/>
                    <a:pt x="156681" y="577311"/>
                    <a:pt x="146615" y="590113"/>
                  </a:cubicBezTo>
                  <a:cubicBezTo>
                    <a:pt x="143043" y="594625"/>
                    <a:pt x="135778" y="602179"/>
                    <a:pt x="148239" y="601410"/>
                  </a:cubicBezTo>
                  <a:cubicBezTo>
                    <a:pt x="165449" y="600407"/>
                    <a:pt x="185013" y="598068"/>
                    <a:pt x="202629" y="595962"/>
                  </a:cubicBezTo>
                  <a:cubicBezTo>
                    <a:pt x="216778" y="594912"/>
                    <a:pt x="230721" y="592456"/>
                    <a:pt x="244152" y="588642"/>
                  </a:cubicBezTo>
                  <a:cubicBezTo>
                    <a:pt x="255923" y="584598"/>
                    <a:pt x="240093" y="584798"/>
                    <a:pt x="240743" y="581957"/>
                  </a:cubicBezTo>
                  <a:cubicBezTo>
                    <a:pt x="241839" y="577612"/>
                    <a:pt x="260713" y="574003"/>
                    <a:pt x="266233" y="573067"/>
                  </a:cubicBezTo>
                  <a:cubicBezTo>
                    <a:pt x="281251" y="570560"/>
                    <a:pt x="283281" y="573668"/>
                    <a:pt x="297447" y="565914"/>
                  </a:cubicBezTo>
                  <a:cubicBezTo>
                    <a:pt x="310516" y="558828"/>
                    <a:pt x="324601" y="557625"/>
                    <a:pt x="337103" y="551709"/>
                  </a:cubicBezTo>
                  <a:cubicBezTo>
                    <a:pt x="346357" y="547297"/>
                    <a:pt x="352892" y="539576"/>
                    <a:pt x="365516" y="539977"/>
                  </a:cubicBezTo>
                  <a:cubicBezTo>
                    <a:pt x="390235" y="540746"/>
                    <a:pt x="426766" y="530786"/>
                    <a:pt x="453068" y="526942"/>
                  </a:cubicBezTo>
                  <a:cubicBezTo>
                    <a:pt x="478599" y="523165"/>
                    <a:pt x="516428" y="518854"/>
                    <a:pt x="538672" y="521193"/>
                  </a:cubicBezTo>
                  <a:cubicBezTo>
                    <a:pt x="550321" y="522430"/>
                    <a:pt x="545937" y="530452"/>
                    <a:pt x="555354" y="533293"/>
                  </a:cubicBezTo>
                  <a:cubicBezTo>
                    <a:pt x="571103" y="538039"/>
                    <a:pt x="593549" y="534763"/>
                    <a:pt x="612586" y="535632"/>
                  </a:cubicBezTo>
                  <a:cubicBezTo>
                    <a:pt x="644530" y="537136"/>
                    <a:pt x="634017" y="554884"/>
                    <a:pt x="655773" y="559965"/>
                  </a:cubicBezTo>
                  <a:cubicBezTo>
                    <a:pt x="659832" y="560901"/>
                    <a:pt x="680127" y="562137"/>
                    <a:pt x="677245" y="566148"/>
                  </a:cubicBezTo>
                  <a:cubicBezTo>
                    <a:pt x="669736" y="576175"/>
                    <a:pt x="697012" y="576175"/>
                    <a:pt x="704846" y="579952"/>
                  </a:cubicBezTo>
                  <a:cubicBezTo>
                    <a:pt x="711056" y="582994"/>
                    <a:pt x="699691" y="589979"/>
                    <a:pt x="695023" y="593322"/>
                  </a:cubicBezTo>
                  <a:cubicBezTo>
                    <a:pt x="686540" y="599739"/>
                    <a:pt x="688326" y="600407"/>
                    <a:pt x="693481" y="604752"/>
                  </a:cubicBezTo>
                  <a:cubicBezTo>
                    <a:pt x="698636" y="609097"/>
                    <a:pt x="693481" y="615080"/>
                    <a:pt x="696160" y="619559"/>
                  </a:cubicBezTo>
                  <a:cubicBezTo>
                    <a:pt x="700462" y="626244"/>
                    <a:pt x="724573" y="620829"/>
                    <a:pt x="734396" y="615983"/>
                  </a:cubicBezTo>
                  <a:cubicBezTo>
                    <a:pt x="739388" y="613409"/>
                    <a:pt x="778435" y="584631"/>
                    <a:pt x="776040" y="601978"/>
                  </a:cubicBezTo>
                  <a:cubicBezTo>
                    <a:pt x="773280" y="621665"/>
                    <a:pt x="828564" y="608095"/>
                    <a:pt x="853445" y="612005"/>
                  </a:cubicBezTo>
                  <a:cubicBezTo>
                    <a:pt x="860711" y="613108"/>
                    <a:pt x="880600" y="620194"/>
                    <a:pt x="858438" y="622367"/>
                  </a:cubicBezTo>
                  <a:cubicBezTo>
                    <a:pt x="844069" y="623770"/>
                    <a:pt x="832217" y="621130"/>
                    <a:pt x="817280" y="622968"/>
                  </a:cubicBezTo>
                  <a:cubicBezTo>
                    <a:pt x="811069" y="623637"/>
                    <a:pt x="746288" y="634934"/>
                    <a:pt x="748034" y="640014"/>
                  </a:cubicBezTo>
                  <a:cubicBezTo>
                    <a:pt x="749779" y="645095"/>
                    <a:pt x="794225" y="643022"/>
                    <a:pt x="802180" y="642989"/>
                  </a:cubicBezTo>
                  <a:cubicBezTo>
                    <a:pt x="813976" y="643123"/>
                    <a:pt x="825767" y="642521"/>
                    <a:pt x="837453" y="641184"/>
                  </a:cubicBezTo>
                  <a:cubicBezTo>
                    <a:pt x="850239" y="639513"/>
                    <a:pt x="857991" y="635068"/>
                    <a:pt x="870452" y="637374"/>
                  </a:cubicBezTo>
                  <a:cubicBezTo>
                    <a:pt x="877271" y="638644"/>
                    <a:pt x="891275" y="643256"/>
                    <a:pt x="884415" y="648972"/>
                  </a:cubicBezTo>
                  <a:cubicBezTo>
                    <a:pt x="875932" y="655991"/>
                    <a:pt x="882792" y="664347"/>
                    <a:pt x="884415" y="670463"/>
                  </a:cubicBezTo>
                  <a:cubicBezTo>
                    <a:pt x="888028" y="683832"/>
                    <a:pt x="821217" y="679688"/>
                    <a:pt x="817767" y="698405"/>
                  </a:cubicBezTo>
                  <a:cubicBezTo>
                    <a:pt x="816103" y="707296"/>
                    <a:pt x="813708" y="711775"/>
                    <a:pt x="804981" y="720732"/>
                  </a:cubicBezTo>
                  <a:cubicBezTo>
                    <a:pt x="798974" y="727149"/>
                    <a:pt x="792520" y="737745"/>
                    <a:pt x="806645" y="739550"/>
                  </a:cubicBezTo>
                  <a:cubicBezTo>
                    <a:pt x="814763" y="740619"/>
                    <a:pt x="833759" y="736775"/>
                    <a:pt x="839117" y="740151"/>
                  </a:cubicBezTo>
                  <a:cubicBezTo>
                    <a:pt x="842933" y="742491"/>
                    <a:pt x="821420" y="752618"/>
                    <a:pt x="818457" y="755092"/>
                  </a:cubicBezTo>
                  <a:cubicBezTo>
                    <a:pt x="802546" y="768127"/>
                    <a:pt x="852268" y="771803"/>
                    <a:pt x="865866" y="772739"/>
                  </a:cubicBezTo>
                  <a:cubicBezTo>
                    <a:pt x="886160" y="774076"/>
                    <a:pt x="875323" y="806831"/>
                    <a:pt x="897647" y="800882"/>
                  </a:cubicBezTo>
                  <a:cubicBezTo>
                    <a:pt x="912625" y="796904"/>
                    <a:pt x="906658" y="806798"/>
                    <a:pt x="913356" y="810307"/>
                  </a:cubicBezTo>
                  <a:cubicBezTo>
                    <a:pt x="918673" y="813048"/>
                    <a:pt x="927319" y="815889"/>
                    <a:pt x="933163" y="818262"/>
                  </a:cubicBezTo>
                  <a:cubicBezTo>
                    <a:pt x="940023" y="821003"/>
                    <a:pt x="952647" y="817761"/>
                    <a:pt x="959466" y="820635"/>
                  </a:cubicBezTo>
                  <a:cubicBezTo>
                    <a:pt x="963890" y="822474"/>
                    <a:pt x="960724" y="826785"/>
                    <a:pt x="961698" y="829526"/>
                  </a:cubicBezTo>
                  <a:cubicBezTo>
                    <a:pt x="963525" y="834707"/>
                    <a:pt x="971764" y="837380"/>
                    <a:pt x="979273" y="839854"/>
                  </a:cubicBezTo>
                  <a:cubicBezTo>
                    <a:pt x="990423" y="843029"/>
                    <a:pt x="1001776" y="845683"/>
                    <a:pt x="1013288" y="847809"/>
                  </a:cubicBezTo>
                  <a:cubicBezTo>
                    <a:pt x="1024815" y="850382"/>
                    <a:pt x="1030457" y="856164"/>
                    <a:pt x="1041700" y="858671"/>
                  </a:cubicBezTo>
                  <a:cubicBezTo>
                    <a:pt x="1057003" y="862014"/>
                    <a:pt x="1066054" y="854861"/>
                    <a:pt x="1081073" y="854627"/>
                  </a:cubicBezTo>
                  <a:cubicBezTo>
                    <a:pt x="1085294" y="854884"/>
                    <a:pt x="1089515" y="855376"/>
                    <a:pt x="1093655" y="856098"/>
                  </a:cubicBezTo>
                  <a:cubicBezTo>
                    <a:pt x="1101367" y="856766"/>
                    <a:pt x="1110866" y="853156"/>
                    <a:pt x="1119024" y="852454"/>
                  </a:cubicBezTo>
                  <a:cubicBezTo>
                    <a:pt x="1135260" y="851084"/>
                    <a:pt x="1139319" y="855797"/>
                    <a:pt x="1151821" y="857067"/>
                  </a:cubicBezTo>
                  <a:cubicBezTo>
                    <a:pt x="1165012" y="857976"/>
                    <a:pt x="1178285" y="857742"/>
                    <a:pt x="1191396" y="856365"/>
                  </a:cubicBezTo>
                  <a:cubicBezTo>
                    <a:pt x="1202071" y="855563"/>
                    <a:pt x="1212096" y="855697"/>
                    <a:pt x="1217211" y="849079"/>
                  </a:cubicBezTo>
                  <a:cubicBezTo>
                    <a:pt x="1221595" y="843330"/>
                    <a:pt x="1231092" y="836879"/>
                    <a:pt x="1232391" y="831164"/>
                  </a:cubicBezTo>
                  <a:cubicBezTo>
                    <a:pt x="1233690" y="825448"/>
                    <a:pt x="1232067" y="819432"/>
                    <a:pt x="1233406" y="813416"/>
                  </a:cubicBezTo>
                  <a:cubicBezTo>
                    <a:pt x="1234299" y="809204"/>
                    <a:pt x="1240834" y="806965"/>
                    <a:pt x="1241524" y="802720"/>
                  </a:cubicBezTo>
                  <a:cubicBezTo>
                    <a:pt x="1242092" y="796544"/>
                    <a:pt x="1239576" y="790444"/>
                    <a:pt x="1234542" y="785841"/>
                  </a:cubicBezTo>
                  <a:cubicBezTo>
                    <a:pt x="1231133" y="782499"/>
                    <a:pt x="1215912" y="781964"/>
                    <a:pt x="1222812" y="776483"/>
                  </a:cubicBezTo>
                  <a:cubicBezTo>
                    <a:pt x="1230565" y="770366"/>
                    <a:pt x="1245096" y="772371"/>
                    <a:pt x="1253701" y="767458"/>
                  </a:cubicBezTo>
                  <a:cubicBezTo>
                    <a:pt x="1259830" y="764116"/>
                    <a:pt x="1257029" y="759737"/>
                    <a:pt x="1261535" y="756094"/>
                  </a:cubicBezTo>
                  <a:cubicBezTo>
                    <a:pt x="1268638" y="750312"/>
                    <a:pt x="1283210" y="735238"/>
                    <a:pt x="1277324" y="729823"/>
                  </a:cubicBezTo>
                  <a:cubicBezTo>
                    <a:pt x="1271438" y="724409"/>
                    <a:pt x="1265716" y="721735"/>
                    <a:pt x="1283818" y="716821"/>
                  </a:cubicBezTo>
                  <a:cubicBezTo>
                    <a:pt x="1295995" y="713479"/>
                    <a:pt x="1287877" y="707630"/>
                    <a:pt x="1280896" y="706393"/>
                  </a:cubicBezTo>
                  <a:cubicBezTo>
                    <a:pt x="1278014" y="705892"/>
                    <a:pt x="1252240" y="704856"/>
                    <a:pt x="1264214" y="699341"/>
                  </a:cubicBezTo>
                  <a:cubicBezTo>
                    <a:pt x="1273468" y="695063"/>
                    <a:pt x="1290353" y="703218"/>
                    <a:pt x="1298066" y="695999"/>
                  </a:cubicBezTo>
                  <a:cubicBezTo>
                    <a:pt x="1304235" y="690116"/>
                    <a:pt x="1282682" y="689849"/>
                    <a:pt x="1297660" y="683030"/>
                  </a:cubicBezTo>
                  <a:cubicBezTo>
                    <a:pt x="1310404" y="677248"/>
                    <a:pt x="1326762" y="675744"/>
                    <a:pt x="1339629" y="670296"/>
                  </a:cubicBezTo>
                  <a:cubicBezTo>
                    <a:pt x="1354404" y="664012"/>
                    <a:pt x="1342227" y="647601"/>
                    <a:pt x="1361629" y="647735"/>
                  </a:cubicBezTo>
                  <a:cubicBezTo>
                    <a:pt x="1372264" y="647735"/>
                    <a:pt x="1363131" y="656893"/>
                    <a:pt x="1364754" y="660235"/>
                  </a:cubicBezTo>
                  <a:cubicBezTo>
                    <a:pt x="1367718" y="666385"/>
                    <a:pt x="1377784" y="657896"/>
                    <a:pt x="1383345" y="656091"/>
                  </a:cubicBezTo>
                  <a:cubicBezTo>
                    <a:pt x="1414639" y="646064"/>
                    <a:pt x="1444757" y="642721"/>
                    <a:pt x="1472358" y="628015"/>
                  </a:cubicBezTo>
                  <a:cubicBezTo>
                    <a:pt x="1483764" y="622306"/>
                    <a:pt x="1493789" y="614920"/>
                    <a:pt x="1501948" y="606223"/>
                  </a:cubicBezTo>
                  <a:cubicBezTo>
                    <a:pt x="1507143" y="600140"/>
                    <a:pt x="1507062" y="593990"/>
                    <a:pt x="1516195" y="588475"/>
                  </a:cubicBezTo>
                  <a:cubicBezTo>
                    <a:pt x="1531051" y="579551"/>
                    <a:pt x="1547408" y="578448"/>
                    <a:pt x="1543593" y="567385"/>
                  </a:cubicBezTo>
                  <a:cubicBezTo>
                    <a:pt x="1538641" y="553046"/>
                    <a:pt x="1583005" y="562471"/>
                    <a:pt x="1591123" y="558394"/>
                  </a:cubicBezTo>
                  <a:cubicBezTo>
                    <a:pt x="1596238" y="555820"/>
                    <a:pt x="1594006" y="553380"/>
                    <a:pt x="1602204" y="551341"/>
                  </a:cubicBezTo>
                  <a:cubicBezTo>
                    <a:pt x="1613813" y="548400"/>
                    <a:pt x="1624894" y="547665"/>
                    <a:pt x="1635691" y="543487"/>
                  </a:cubicBezTo>
                  <a:cubicBezTo>
                    <a:pt x="1654200" y="536301"/>
                    <a:pt x="1678757" y="533827"/>
                    <a:pt x="1699417" y="529182"/>
                  </a:cubicBezTo>
                  <a:cubicBezTo>
                    <a:pt x="1724583" y="523500"/>
                    <a:pt x="1751331" y="517116"/>
                    <a:pt x="1773250" y="508024"/>
                  </a:cubicBezTo>
                  <a:cubicBezTo>
                    <a:pt x="1795168" y="498933"/>
                    <a:pt x="1815017" y="488973"/>
                    <a:pt x="1838883" y="480617"/>
                  </a:cubicBezTo>
                  <a:cubicBezTo>
                    <a:pt x="1843389" y="478946"/>
                    <a:pt x="1904801" y="455950"/>
                    <a:pt x="1896967" y="454413"/>
                  </a:cubicBezTo>
                  <a:cubicBezTo>
                    <a:pt x="1894045" y="453811"/>
                    <a:pt x="1862913" y="462502"/>
                    <a:pt x="1857068" y="463270"/>
                  </a:cubicBezTo>
                  <a:cubicBezTo>
                    <a:pt x="1839046" y="465115"/>
                    <a:pt x="1820861" y="465550"/>
                    <a:pt x="1802718" y="464574"/>
                  </a:cubicBezTo>
                  <a:cubicBezTo>
                    <a:pt x="1785305" y="464072"/>
                    <a:pt x="1764279" y="464039"/>
                    <a:pt x="1748531" y="470724"/>
                  </a:cubicBezTo>
                  <a:cubicBezTo>
                    <a:pt x="1732782" y="477408"/>
                    <a:pt x="1735014" y="469688"/>
                    <a:pt x="1742118" y="464707"/>
                  </a:cubicBezTo>
                  <a:cubicBezTo>
                    <a:pt x="1747759" y="460730"/>
                    <a:pt x="1768054" y="457354"/>
                    <a:pt x="1768582" y="453043"/>
                  </a:cubicBezTo>
                  <a:cubicBezTo>
                    <a:pt x="1769109" y="448731"/>
                    <a:pt x="1753929" y="442247"/>
                    <a:pt x="1760464" y="437634"/>
                  </a:cubicBezTo>
                  <a:cubicBezTo>
                    <a:pt x="1776700" y="426304"/>
                    <a:pt x="1826747" y="449099"/>
                    <a:pt x="1840141" y="450469"/>
                  </a:cubicBezTo>
                  <a:cubicBezTo>
                    <a:pt x="1868554" y="453277"/>
                    <a:pt x="1910686" y="448029"/>
                    <a:pt x="1899606" y="430950"/>
                  </a:cubicBezTo>
                  <a:cubicBezTo>
                    <a:pt x="1897130" y="427139"/>
                    <a:pt x="1903665" y="422159"/>
                    <a:pt x="1899606" y="419251"/>
                  </a:cubicBezTo>
                  <a:cubicBezTo>
                    <a:pt x="1894126" y="415307"/>
                    <a:pt x="1882517" y="413202"/>
                    <a:pt x="1873791" y="411297"/>
                  </a:cubicBezTo>
                  <a:cubicBezTo>
                    <a:pt x="1852846" y="406718"/>
                    <a:pt x="1829913" y="403576"/>
                    <a:pt x="1809902" y="398261"/>
                  </a:cubicBezTo>
                  <a:cubicBezTo>
                    <a:pt x="1774792" y="388970"/>
                    <a:pt x="1843024" y="390273"/>
                    <a:pt x="1853983" y="391209"/>
                  </a:cubicBezTo>
                  <a:cubicBezTo>
                    <a:pt x="1874765" y="392813"/>
                    <a:pt x="1896074" y="376102"/>
                    <a:pt x="1883735" y="368514"/>
                  </a:cubicBezTo>
                  <a:cubicBezTo>
                    <a:pt x="1871396" y="360927"/>
                    <a:pt x="1819035" y="372625"/>
                    <a:pt x="1804423" y="377539"/>
                  </a:cubicBezTo>
                  <a:cubicBezTo>
                    <a:pt x="1793545" y="381182"/>
                    <a:pt x="1782707" y="385360"/>
                    <a:pt x="1770733" y="382552"/>
                  </a:cubicBezTo>
                  <a:cubicBezTo>
                    <a:pt x="1761235" y="380313"/>
                    <a:pt x="1763508" y="375232"/>
                    <a:pt x="1773453" y="372325"/>
                  </a:cubicBezTo>
                  <a:cubicBezTo>
                    <a:pt x="1781571" y="369952"/>
                    <a:pt x="1804058" y="367812"/>
                    <a:pt x="1795331" y="361897"/>
                  </a:cubicBezTo>
                  <a:cubicBezTo>
                    <a:pt x="1790094" y="358320"/>
                    <a:pt x="1788471" y="353140"/>
                    <a:pt x="1802271" y="353206"/>
                  </a:cubicBezTo>
                  <a:cubicBezTo>
                    <a:pt x="1823825" y="353206"/>
                    <a:pt x="1851304" y="362398"/>
                    <a:pt x="1873791" y="356248"/>
                  </a:cubicBezTo>
                  <a:cubicBezTo>
                    <a:pt x="1885480" y="352906"/>
                    <a:pt x="1966010" y="341341"/>
                    <a:pt x="1924893" y="333754"/>
                  </a:cubicBezTo>
                  <a:cubicBezTo>
                    <a:pt x="1919819" y="332785"/>
                    <a:pt x="1868067" y="327604"/>
                    <a:pt x="1884790" y="323159"/>
                  </a:cubicBezTo>
                  <a:cubicBezTo>
                    <a:pt x="1907440" y="317075"/>
                    <a:pt x="1937070" y="316474"/>
                    <a:pt x="1961059" y="314368"/>
                  </a:cubicBezTo>
                  <a:cubicBezTo>
                    <a:pt x="1971409" y="313499"/>
                    <a:pt x="1982571" y="307516"/>
                    <a:pt x="1978959" y="302570"/>
                  </a:cubicBezTo>
                  <a:cubicBezTo>
                    <a:pt x="1976361" y="299060"/>
                    <a:pt x="1961586" y="303238"/>
                    <a:pt x="1955376" y="303439"/>
                  </a:cubicBezTo>
                  <a:cubicBezTo>
                    <a:pt x="1943199" y="303739"/>
                    <a:pt x="1888484" y="301132"/>
                    <a:pt x="1900498" y="290069"/>
                  </a:cubicBezTo>
                  <a:cubicBezTo>
                    <a:pt x="1914421" y="277201"/>
                    <a:pt x="1973235" y="288365"/>
                    <a:pt x="1973154" y="267876"/>
                  </a:cubicBezTo>
                  <a:cubicBezTo>
                    <a:pt x="1973154" y="251465"/>
                    <a:pt x="1948800" y="248958"/>
                    <a:pt x="1920388" y="250563"/>
                  </a:cubicBezTo>
                  <a:cubicBezTo>
                    <a:pt x="1907236" y="251298"/>
                    <a:pt x="1891326" y="252401"/>
                    <a:pt x="1879270" y="250563"/>
                  </a:cubicBezTo>
                  <a:cubicBezTo>
                    <a:pt x="1871842" y="249426"/>
                    <a:pt x="1868027" y="245883"/>
                    <a:pt x="1858975" y="244680"/>
                  </a:cubicBezTo>
                  <a:cubicBezTo>
                    <a:pt x="1818385" y="239199"/>
                    <a:pt x="1883532" y="235488"/>
                    <a:pt x="1894654" y="230174"/>
                  </a:cubicBezTo>
                  <a:cubicBezTo>
                    <a:pt x="1919008" y="218309"/>
                    <a:pt x="1959597" y="223489"/>
                    <a:pt x="1988335" y="220147"/>
                  </a:cubicBezTo>
                  <a:cubicBezTo>
                    <a:pt x="2020441" y="216537"/>
                    <a:pt x="1983058" y="197987"/>
                    <a:pt x="1968527" y="203669"/>
                  </a:cubicBezTo>
                  <a:cubicBezTo>
                    <a:pt x="1953996" y="209351"/>
                    <a:pt x="1911986" y="214532"/>
                    <a:pt x="1906912" y="204237"/>
                  </a:cubicBezTo>
                  <a:cubicBezTo>
                    <a:pt x="1901432" y="193074"/>
                    <a:pt x="1958420" y="200026"/>
                    <a:pt x="1956391" y="192840"/>
                  </a:cubicBezTo>
                  <a:cubicBezTo>
                    <a:pt x="1954361" y="185654"/>
                    <a:pt x="1911133" y="186991"/>
                    <a:pt x="1900215" y="188228"/>
                  </a:cubicBezTo>
                  <a:cubicBezTo>
                    <a:pt x="1886292" y="189698"/>
                    <a:pt x="1860599" y="210521"/>
                    <a:pt x="1847448" y="203536"/>
                  </a:cubicBezTo>
                  <a:cubicBezTo>
                    <a:pt x="1844120" y="201831"/>
                    <a:pt x="1863034" y="191904"/>
                    <a:pt x="1865145" y="189297"/>
                  </a:cubicBezTo>
                  <a:cubicBezTo>
                    <a:pt x="1870422" y="182903"/>
                    <a:pt x="1872329" y="175012"/>
                    <a:pt x="1870422" y="167438"/>
                  </a:cubicBezTo>
                  <a:cubicBezTo>
                    <a:pt x="1867824" y="157144"/>
                    <a:pt x="1900174" y="152765"/>
                    <a:pt x="1916167" y="147384"/>
                  </a:cubicBezTo>
                  <a:cubicBezTo>
                    <a:pt x="1941697" y="138727"/>
                    <a:pt x="1919089" y="130472"/>
                    <a:pt x="1938897" y="121781"/>
                  </a:cubicBezTo>
                  <a:cubicBezTo>
                    <a:pt x="1951074" y="116467"/>
                    <a:pt x="2012892" y="110685"/>
                    <a:pt x="1994748" y="103165"/>
                  </a:cubicBezTo>
                  <a:cubicBezTo>
                    <a:pt x="1960653" y="88993"/>
                    <a:pt x="1925746" y="122417"/>
                    <a:pt x="1902569" y="115765"/>
                  </a:cubicBezTo>
                  <a:cubicBezTo>
                    <a:pt x="1891163" y="112423"/>
                    <a:pt x="1917993" y="103833"/>
                    <a:pt x="1923350" y="102396"/>
                  </a:cubicBezTo>
                  <a:cubicBezTo>
                    <a:pt x="1941656" y="96847"/>
                    <a:pt x="1960815" y="95510"/>
                    <a:pt x="1980663" y="92903"/>
                  </a:cubicBezTo>
                  <a:cubicBezTo>
                    <a:pt x="2000228" y="90855"/>
                    <a:pt x="2019508" y="87432"/>
                    <a:pt x="2038342" y="82676"/>
                  </a:cubicBezTo>
                  <a:cubicBezTo>
                    <a:pt x="2060625" y="76292"/>
                    <a:pt x="2030224" y="75791"/>
                    <a:pt x="2020563" y="75991"/>
                  </a:cubicBezTo>
                  <a:cubicBezTo>
                    <a:pt x="1999903" y="76559"/>
                    <a:pt x="1980744" y="80203"/>
                    <a:pt x="1960450" y="81974"/>
                  </a:cubicBezTo>
                  <a:cubicBezTo>
                    <a:pt x="1943321" y="83478"/>
                    <a:pt x="1951520" y="79200"/>
                    <a:pt x="1962682" y="77027"/>
                  </a:cubicBezTo>
                  <a:cubicBezTo>
                    <a:pt x="1983748" y="72849"/>
                    <a:pt x="2006113" y="72014"/>
                    <a:pt x="2027017" y="67535"/>
                  </a:cubicBezTo>
                  <a:cubicBezTo>
                    <a:pt x="2039194" y="64894"/>
                    <a:pt x="2050356" y="61017"/>
                    <a:pt x="2063142" y="58778"/>
                  </a:cubicBezTo>
                  <a:cubicBezTo>
                    <a:pt x="2081042" y="55636"/>
                    <a:pt x="2091555" y="53631"/>
                    <a:pt x="2104625" y="47013"/>
                  </a:cubicBezTo>
                  <a:cubicBezTo>
                    <a:pt x="2114285" y="42100"/>
                    <a:pt x="2137989" y="40328"/>
                    <a:pt x="2150653" y="36986"/>
                  </a:cubicBezTo>
                  <a:cubicBezTo>
                    <a:pt x="2166483" y="32942"/>
                    <a:pt x="2223715" y="19338"/>
                    <a:pt x="2186048" y="14859"/>
                  </a:cubicBezTo>
                  <a:cubicBezTo>
                    <a:pt x="2147528" y="10501"/>
                    <a:pt x="2108481" y="10006"/>
                    <a:pt x="2069799" y="13389"/>
                  </a:cubicBezTo>
                  <a:close/>
                  <a:moveTo>
                    <a:pt x="841349" y="655122"/>
                  </a:moveTo>
                  <a:cubicBezTo>
                    <a:pt x="840253" y="649707"/>
                    <a:pt x="829497" y="652314"/>
                    <a:pt x="821542" y="652047"/>
                  </a:cubicBezTo>
                  <a:cubicBezTo>
                    <a:pt x="809365" y="651645"/>
                    <a:pt x="804088" y="646498"/>
                    <a:pt x="790531" y="646766"/>
                  </a:cubicBezTo>
                  <a:cubicBezTo>
                    <a:pt x="771251" y="647167"/>
                    <a:pt x="748764" y="650576"/>
                    <a:pt x="738860" y="661338"/>
                  </a:cubicBezTo>
                  <a:cubicBezTo>
                    <a:pt x="720838" y="680958"/>
                    <a:pt x="762565" y="672803"/>
                    <a:pt x="781561" y="676279"/>
                  </a:cubicBezTo>
                  <a:cubicBezTo>
                    <a:pt x="795970" y="678886"/>
                    <a:pt x="843460" y="665750"/>
                    <a:pt x="841349" y="65512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7427AAE6-E137-4FD0-A429-C1841BD5F49D}"/>
                </a:ext>
              </a:extLst>
            </p:cNvPr>
            <p:cNvSpPr/>
            <p:nvPr/>
          </p:nvSpPr>
          <p:spPr>
            <a:xfrm>
              <a:off x="990011" y="3290709"/>
              <a:ext cx="3060746" cy="1771142"/>
            </a:xfrm>
            <a:custGeom>
              <a:avLst/>
              <a:gdLst>
                <a:gd name="connsiteX0" fmla="*/ 886583 w 3060746"/>
                <a:gd name="connsiteY0" fmla="*/ 1692735 h 1771142"/>
                <a:gd name="connsiteX1" fmla="*/ 841934 w 3060746"/>
                <a:gd name="connsiteY1" fmla="*/ 1701793 h 1771142"/>
                <a:gd name="connsiteX2" fmla="*/ 799193 w 3060746"/>
                <a:gd name="connsiteY2" fmla="*/ 1703164 h 1771142"/>
                <a:gd name="connsiteX3" fmla="*/ 768264 w 3060746"/>
                <a:gd name="connsiteY3" fmla="*/ 1717870 h 1771142"/>
                <a:gd name="connsiteX4" fmla="*/ 731733 w 3060746"/>
                <a:gd name="connsiteY4" fmla="*/ 1730237 h 1771142"/>
                <a:gd name="connsiteX5" fmla="*/ 731733 w 3060746"/>
                <a:gd name="connsiteY5" fmla="*/ 1736921 h 1771142"/>
                <a:gd name="connsiteX6" fmla="*/ 751784 w 3060746"/>
                <a:gd name="connsiteY6" fmla="*/ 1736687 h 1771142"/>
                <a:gd name="connsiteX7" fmla="*/ 793714 w 3060746"/>
                <a:gd name="connsiteY7" fmla="*/ 1727663 h 1771142"/>
                <a:gd name="connsiteX8" fmla="*/ 814536 w 3060746"/>
                <a:gd name="connsiteY8" fmla="*/ 1722917 h 1771142"/>
                <a:gd name="connsiteX9" fmla="*/ 840027 w 3060746"/>
                <a:gd name="connsiteY9" fmla="*/ 1721246 h 1771142"/>
                <a:gd name="connsiteX10" fmla="*/ 855288 w 3060746"/>
                <a:gd name="connsiteY10" fmla="*/ 1720510 h 1771142"/>
                <a:gd name="connsiteX11" fmla="*/ 890804 w 3060746"/>
                <a:gd name="connsiteY11" fmla="*/ 1708678 h 1771142"/>
                <a:gd name="connsiteX12" fmla="*/ 904564 w 3060746"/>
                <a:gd name="connsiteY12" fmla="*/ 1700590 h 1771142"/>
                <a:gd name="connsiteX13" fmla="*/ 908867 w 3060746"/>
                <a:gd name="connsiteY13" fmla="*/ 1688825 h 1771142"/>
                <a:gd name="connsiteX14" fmla="*/ 886705 w 3060746"/>
                <a:gd name="connsiteY14" fmla="*/ 1692735 h 1771142"/>
                <a:gd name="connsiteX15" fmla="*/ 460309 w 3060746"/>
                <a:gd name="connsiteY15" fmla="*/ 1204250 h 1771142"/>
                <a:gd name="connsiteX16" fmla="*/ 507678 w 3060746"/>
                <a:gd name="connsiteY16" fmla="*/ 1205152 h 1771142"/>
                <a:gd name="connsiteX17" fmla="*/ 538201 w 3060746"/>
                <a:gd name="connsiteY17" fmla="*/ 1185399 h 1771142"/>
                <a:gd name="connsiteX18" fmla="*/ 558861 w 3060746"/>
                <a:gd name="connsiteY18" fmla="*/ 1168954 h 1771142"/>
                <a:gd name="connsiteX19" fmla="*/ 587274 w 3060746"/>
                <a:gd name="connsiteY19" fmla="*/ 1150037 h 1771142"/>
                <a:gd name="connsiteX20" fmla="*/ 585569 w 3060746"/>
                <a:gd name="connsiteY20" fmla="*/ 1130417 h 1771142"/>
                <a:gd name="connsiteX21" fmla="*/ 609923 w 3060746"/>
                <a:gd name="connsiteY21" fmla="*/ 1105583 h 1771142"/>
                <a:gd name="connsiteX22" fmla="*/ 610451 w 3060746"/>
                <a:gd name="connsiteY22" fmla="*/ 1092983 h 1771142"/>
                <a:gd name="connsiteX23" fmla="*/ 628432 w 3060746"/>
                <a:gd name="connsiteY23" fmla="*/ 1075936 h 1771142"/>
                <a:gd name="connsiteX24" fmla="*/ 687450 w 3060746"/>
                <a:gd name="connsiteY24" fmla="*/ 1028408 h 1771142"/>
                <a:gd name="connsiteX25" fmla="*/ 696177 w 3060746"/>
                <a:gd name="connsiteY25" fmla="*/ 1006616 h 1771142"/>
                <a:gd name="connsiteX26" fmla="*/ 594296 w 3060746"/>
                <a:gd name="connsiteY26" fmla="*/ 1039037 h 1771142"/>
                <a:gd name="connsiteX27" fmla="*/ 577005 w 3060746"/>
                <a:gd name="connsiteY27" fmla="*/ 1050535 h 1771142"/>
                <a:gd name="connsiteX28" fmla="*/ 566086 w 3060746"/>
                <a:gd name="connsiteY28" fmla="*/ 1051805 h 1771142"/>
                <a:gd name="connsiteX29" fmla="*/ 499194 w 3060746"/>
                <a:gd name="connsiteY29" fmla="*/ 1076739 h 1771142"/>
                <a:gd name="connsiteX30" fmla="*/ 405554 w 3060746"/>
                <a:gd name="connsiteY30" fmla="*/ 1136099 h 1771142"/>
                <a:gd name="connsiteX31" fmla="*/ 429908 w 3060746"/>
                <a:gd name="connsiteY31" fmla="*/ 1143419 h 1771142"/>
                <a:gd name="connsiteX32" fmla="*/ 420004 w 3060746"/>
                <a:gd name="connsiteY32" fmla="*/ 1175438 h 1771142"/>
                <a:gd name="connsiteX33" fmla="*/ 426782 w 3060746"/>
                <a:gd name="connsiteY33" fmla="*/ 1182457 h 1771142"/>
                <a:gd name="connsiteX34" fmla="*/ 412129 w 3060746"/>
                <a:gd name="connsiteY34" fmla="*/ 1213608 h 1771142"/>
                <a:gd name="connsiteX35" fmla="*/ 460391 w 3060746"/>
                <a:gd name="connsiteY35" fmla="*/ 1204250 h 1771142"/>
                <a:gd name="connsiteX36" fmla="*/ 460309 w 3060746"/>
                <a:gd name="connsiteY36" fmla="*/ 1204250 h 1771142"/>
                <a:gd name="connsiteX37" fmla="*/ 1200585 w 3060746"/>
                <a:gd name="connsiteY37" fmla="*/ 911125 h 1771142"/>
                <a:gd name="connsiteX38" fmla="*/ 1245924 w 3060746"/>
                <a:gd name="connsiteY38" fmla="*/ 890469 h 1771142"/>
                <a:gd name="connsiteX39" fmla="*/ 1169372 w 3060746"/>
                <a:gd name="connsiteY39" fmla="*/ 896385 h 1771142"/>
                <a:gd name="connsiteX40" fmla="*/ 1099761 w 3060746"/>
                <a:gd name="connsiteY40" fmla="*/ 902702 h 1771142"/>
                <a:gd name="connsiteX41" fmla="*/ 1094849 w 3060746"/>
                <a:gd name="connsiteY41" fmla="*/ 891071 h 1771142"/>
                <a:gd name="connsiteX42" fmla="*/ 1060226 w 3060746"/>
                <a:gd name="connsiteY42" fmla="*/ 883885 h 1771142"/>
                <a:gd name="connsiteX43" fmla="*/ 1052108 w 3060746"/>
                <a:gd name="connsiteY43" fmla="*/ 866137 h 1771142"/>
                <a:gd name="connsiteX44" fmla="*/ 1063433 w 3060746"/>
                <a:gd name="connsiteY44" fmla="*/ 842272 h 1771142"/>
                <a:gd name="connsiteX45" fmla="*/ 987530 w 3060746"/>
                <a:gd name="connsiteY45" fmla="*/ 870649 h 1771142"/>
                <a:gd name="connsiteX46" fmla="*/ 1031123 w 3060746"/>
                <a:gd name="connsiteY46" fmla="*/ 871685 h 1771142"/>
                <a:gd name="connsiteX47" fmla="*/ 1026334 w 3060746"/>
                <a:gd name="connsiteY47" fmla="*/ 875963 h 1771142"/>
                <a:gd name="connsiteX48" fmla="*/ 989072 w 3060746"/>
                <a:gd name="connsiteY48" fmla="*/ 883417 h 1771142"/>
                <a:gd name="connsiteX49" fmla="*/ 955342 w 3060746"/>
                <a:gd name="connsiteY49" fmla="*/ 910456 h 1771142"/>
                <a:gd name="connsiteX50" fmla="*/ 1002304 w 3060746"/>
                <a:gd name="connsiteY50" fmla="*/ 931814 h 1771142"/>
                <a:gd name="connsiteX51" fmla="*/ 977951 w 3060746"/>
                <a:gd name="connsiteY51" fmla="*/ 946253 h 1771142"/>
                <a:gd name="connsiteX52" fmla="*/ 957453 w 3060746"/>
                <a:gd name="connsiteY52" fmla="*/ 936593 h 1771142"/>
                <a:gd name="connsiteX53" fmla="*/ 885893 w 3060746"/>
                <a:gd name="connsiteY53" fmla="*/ 941206 h 1771142"/>
                <a:gd name="connsiteX54" fmla="*/ 905985 w 3060746"/>
                <a:gd name="connsiteY54" fmla="*/ 947189 h 1771142"/>
                <a:gd name="connsiteX55" fmla="*/ 887923 w 3060746"/>
                <a:gd name="connsiteY55" fmla="*/ 958987 h 1771142"/>
                <a:gd name="connsiteX56" fmla="*/ 859875 w 3060746"/>
                <a:gd name="connsiteY56" fmla="*/ 975331 h 1771142"/>
                <a:gd name="connsiteX57" fmla="*/ 842381 w 3060746"/>
                <a:gd name="connsiteY57" fmla="*/ 967109 h 1771142"/>
                <a:gd name="connsiteX58" fmla="*/ 792009 w 3060746"/>
                <a:gd name="connsiteY58" fmla="*/ 987765 h 1771142"/>
                <a:gd name="connsiteX59" fmla="*/ 767655 w 3060746"/>
                <a:gd name="connsiteY59" fmla="*/ 1018047 h 1771142"/>
                <a:gd name="connsiteX60" fmla="*/ 771349 w 3060746"/>
                <a:gd name="connsiteY60" fmla="*/ 998862 h 1771142"/>
                <a:gd name="connsiteX61" fmla="*/ 710464 w 3060746"/>
                <a:gd name="connsiteY61" fmla="*/ 1019517 h 1771142"/>
                <a:gd name="connsiteX62" fmla="*/ 635901 w 3060746"/>
                <a:gd name="connsiteY62" fmla="*/ 1083022 h 1771142"/>
                <a:gd name="connsiteX63" fmla="*/ 636672 w 3060746"/>
                <a:gd name="connsiteY63" fmla="*/ 1088170 h 1771142"/>
                <a:gd name="connsiteX64" fmla="*/ 629650 w 3060746"/>
                <a:gd name="connsiteY64" fmla="*/ 1113772 h 1771142"/>
                <a:gd name="connsiteX65" fmla="*/ 665409 w 3060746"/>
                <a:gd name="connsiteY65" fmla="*/ 1105917 h 1771142"/>
                <a:gd name="connsiteX66" fmla="*/ 680306 w 3060746"/>
                <a:gd name="connsiteY66" fmla="*/ 1105917 h 1771142"/>
                <a:gd name="connsiteX67" fmla="*/ 745250 w 3060746"/>
                <a:gd name="connsiteY67" fmla="*/ 1066678 h 1771142"/>
                <a:gd name="connsiteX68" fmla="*/ 718582 w 3060746"/>
                <a:gd name="connsiteY68" fmla="*/ 1088069 h 1771142"/>
                <a:gd name="connsiteX69" fmla="*/ 673933 w 3060746"/>
                <a:gd name="connsiteY69" fmla="*/ 1122495 h 1771142"/>
                <a:gd name="connsiteX70" fmla="*/ 838281 w 3060746"/>
                <a:gd name="connsiteY70" fmla="*/ 1053643 h 1771142"/>
                <a:gd name="connsiteX71" fmla="*/ 884107 w 3060746"/>
                <a:gd name="connsiteY71" fmla="*/ 1042680 h 1771142"/>
                <a:gd name="connsiteX72" fmla="*/ 792496 w 3060746"/>
                <a:gd name="connsiteY72" fmla="*/ 1089105 h 1771142"/>
                <a:gd name="connsiteX73" fmla="*/ 722235 w 3060746"/>
                <a:gd name="connsiteY73" fmla="*/ 1135397 h 1771142"/>
                <a:gd name="connsiteX74" fmla="*/ 775002 w 3060746"/>
                <a:gd name="connsiteY74" fmla="*/ 1129782 h 1771142"/>
                <a:gd name="connsiteX75" fmla="*/ 826916 w 3060746"/>
                <a:gd name="connsiteY75" fmla="*/ 1106920 h 1771142"/>
                <a:gd name="connsiteX76" fmla="*/ 852488 w 3060746"/>
                <a:gd name="connsiteY76" fmla="*/ 1100737 h 1771142"/>
                <a:gd name="connsiteX77" fmla="*/ 912763 w 3060746"/>
                <a:gd name="connsiteY77" fmla="*/ 1090008 h 1771142"/>
                <a:gd name="connsiteX78" fmla="*/ 987124 w 3060746"/>
                <a:gd name="connsiteY78" fmla="*/ 1047493 h 1771142"/>
                <a:gd name="connsiteX79" fmla="*/ 1041230 w 3060746"/>
                <a:gd name="connsiteY79" fmla="*/ 1015473 h 1771142"/>
                <a:gd name="connsiteX80" fmla="*/ 1080683 w 3060746"/>
                <a:gd name="connsiteY80" fmla="*/ 984055 h 1771142"/>
                <a:gd name="connsiteX81" fmla="*/ 1133978 w 3060746"/>
                <a:gd name="connsiteY81" fmla="*/ 972825 h 1771142"/>
                <a:gd name="connsiteX82" fmla="*/ 1233098 w 3060746"/>
                <a:gd name="connsiteY82" fmla="*/ 918411 h 1771142"/>
                <a:gd name="connsiteX83" fmla="*/ 1211098 w 3060746"/>
                <a:gd name="connsiteY83" fmla="*/ 918411 h 1771142"/>
                <a:gd name="connsiteX84" fmla="*/ 1190397 w 3060746"/>
                <a:gd name="connsiteY84" fmla="*/ 934087 h 1771142"/>
                <a:gd name="connsiteX85" fmla="*/ 1200870 w 3060746"/>
                <a:gd name="connsiteY85" fmla="*/ 911058 h 1771142"/>
                <a:gd name="connsiteX86" fmla="*/ 1200585 w 3060746"/>
                <a:gd name="connsiteY86" fmla="*/ 911225 h 1771142"/>
                <a:gd name="connsiteX87" fmla="*/ 545873 w 3060746"/>
                <a:gd name="connsiteY87" fmla="*/ 1010393 h 1771142"/>
                <a:gd name="connsiteX88" fmla="*/ 584392 w 3060746"/>
                <a:gd name="connsiteY88" fmla="*/ 969850 h 1771142"/>
                <a:gd name="connsiteX89" fmla="*/ 545873 w 3060746"/>
                <a:gd name="connsiteY89" fmla="*/ 1010393 h 1771142"/>
                <a:gd name="connsiteX90" fmla="*/ 414565 w 3060746"/>
                <a:gd name="connsiteY90" fmla="*/ 1055013 h 1771142"/>
                <a:gd name="connsiteX91" fmla="*/ 426174 w 3060746"/>
                <a:gd name="connsiteY91" fmla="*/ 1059659 h 1771142"/>
                <a:gd name="connsiteX92" fmla="*/ 442856 w 3060746"/>
                <a:gd name="connsiteY92" fmla="*/ 1048128 h 1771142"/>
                <a:gd name="connsiteX93" fmla="*/ 465180 w 3060746"/>
                <a:gd name="connsiteY93" fmla="*/ 1036697 h 1771142"/>
                <a:gd name="connsiteX94" fmla="*/ 473298 w 3060746"/>
                <a:gd name="connsiteY94" fmla="*/ 1022526 h 1771142"/>
                <a:gd name="connsiteX95" fmla="*/ 494973 w 3060746"/>
                <a:gd name="connsiteY95" fmla="*/ 1025099 h 1771142"/>
                <a:gd name="connsiteX96" fmla="*/ 513766 w 3060746"/>
                <a:gd name="connsiteY96" fmla="*/ 1004677 h 1771142"/>
                <a:gd name="connsiteX97" fmla="*/ 539784 w 3060746"/>
                <a:gd name="connsiteY97" fmla="*/ 985960 h 1771142"/>
                <a:gd name="connsiteX98" fmla="*/ 548186 w 3060746"/>
                <a:gd name="connsiteY98" fmla="*/ 956313 h 1771142"/>
                <a:gd name="connsiteX99" fmla="*/ 574813 w 3060746"/>
                <a:gd name="connsiteY99" fmla="*/ 964168 h 1771142"/>
                <a:gd name="connsiteX100" fmla="*/ 598924 w 3060746"/>
                <a:gd name="connsiteY100" fmla="*/ 941005 h 1771142"/>
                <a:gd name="connsiteX101" fmla="*/ 615159 w 3060746"/>
                <a:gd name="connsiteY101" fmla="*/ 920116 h 1771142"/>
                <a:gd name="connsiteX102" fmla="*/ 606311 w 3060746"/>
                <a:gd name="connsiteY102" fmla="*/ 911994 h 1771142"/>
                <a:gd name="connsiteX103" fmla="*/ 623156 w 3060746"/>
                <a:gd name="connsiteY103" fmla="*/ 897555 h 1771142"/>
                <a:gd name="connsiteX104" fmla="*/ 584514 w 3060746"/>
                <a:gd name="connsiteY104" fmla="*/ 905677 h 1771142"/>
                <a:gd name="connsiteX105" fmla="*/ 568481 w 3060746"/>
                <a:gd name="connsiteY105" fmla="*/ 926901 h 1771142"/>
                <a:gd name="connsiteX106" fmla="*/ 515715 w 3060746"/>
                <a:gd name="connsiteY106" fmla="*/ 950631 h 1771142"/>
                <a:gd name="connsiteX107" fmla="*/ 473298 w 3060746"/>
                <a:gd name="connsiteY107" fmla="*/ 996121 h 1771142"/>
                <a:gd name="connsiteX108" fmla="*/ 460634 w 3060746"/>
                <a:gd name="connsiteY108" fmla="*/ 1014069 h 1771142"/>
                <a:gd name="connsiteX109" fmla="*/ 435590 w 3060746"/>
                <a:gd name="connsiteY109" fmla="*/ 1029945 h 1771142"/>
                <a:gd name="connsiteX110" fmla="*/ 414240 w 3060746"/>
                <a:gd name="connsiteY110" fmla="*/ 1055013 h 1771142"/>
                <a:gd name="connsiteX111" fmla="*/ 633750 w 3060746"/>
                <a:gd name="connsiteY111" fmla="*/ 935691 h 1771142"/>
                <a:gd name="connsiteX112" fmla="*/ 631071 w 3060746"/>
                <a:gd name="connsiteY112" fmla="*/ 948425 h 1771142"/>
                <a:gd name="connsiteX113" fmla="*/ 665978 w 3060746"/>
                <a:gd name="connsiteY113" fmla="*/ 935056 h 1771142"/>
                <a:gd name="connsiteX114" fmla="*/ 614672 w 3060746"/>
                <a:gd name="connsiteY114" fmla="*/ 971822 h 1771142"/>
                <a:gd name="connsiteX115" fmla="*/ 664314 w 3060746"/>
                <a:gd name="connsiteY115" fmla="*/ 948425 h 1771142"/>
                <a:gd name="connsiteX116" fmla="*/ 610370 w 3060746"/>
                <a:gd name="connsiteY116" fmla="*/ 985994 h 1771142"/>
                <a:gd name="connsiteX117" fmla="*/ 626403 w 3060746"/>
                <a:gd name="connsiteY117" fmla="*/ 984423 h 1771142"/>
                <a:gd name="connsiteX118" fmla="*/ 683228 w 3060746"/>
                <a:gd name="connsiteY118" fmla="*/ 963399 h 1771142"/>
                <a:gd name="connsiteX119" fmla="*/ 708354 w 3060746"/>
                <a:gd name="connsiteY119" fmla="*/ 934555 h 1771142"/>
                <a:gd name="connsiteX120" fmla="*/ 720165 w 3060746"/>
                <a:gd name="connsiteY120" fmla="*/ 935089 h 1771142"/>
                <a:gd name="connsiteX121" fmla="*/ 794729 w 3060746"/>
                <a:gd name="connsiteY121" fmla="*/ 898825 h 1771142"/>
                <a:gd name="connsiteX122" fmla="*/ 787666 w 3060746"/>
                <a:gd name="connsiteY122" fmla="*/ 910323 h 1771142"/>
                <a:gd name="connsiteX123" fmla="*/ 743910 w 3060746"/>
                <a:gd name="connsiteY123" fmla="*/ 939000 h 1771142"/>
                <a:gd name="connsiteX124" fmla="*/ 757914 w 3060746"/>
                <a:gd name="connsiteY124" fmla="*/ 951133 h 1771142"/>
                <a:gd name="connsiteX125" fmla="*/ 833167 w 3060746"/>
                <a:gd name="connsiteY125" fmla="*/ 902368 h 1771142"/>
                <a:gd name="connsiteX126" fmla="*/ 855451 w 3060746"/>
                <a:gd name="connsiteY126" fmla="*/ 881378 h 1771142"/>
                <a:gd name="connsiteX127" fmla="*/ 895675 w 3060746"/>
                <a:gd name="connsiteY127" fmla="*/ 862259 h 1771142"/>
                <a:gd name="connsiteX128" fmla="*/ 936265 w 3060746"/>
                <a:gd name="connsiteY128" fmla="*/ 839164 h 1771142"/>
                <a:gd name="connsiteX129" fmla="*/ 981441 w 3060746"/>
                <a:gd name="connsiteY129" fmla="*/ 815366 h 1771142"/>
                <a:gd name="connsiteX130" fmla="*/ 964191 w 3060746"/>
                <a:gd name="connsiteY130" fmla="*/ 786187 h 1771142"/>
                <a:gd name="connsiteX131" fmla="*/ 937117 w 3060746"/>
                <a:gd name="connsiteY131" fmla="*/ 805172 h 1771142"/>
                <a:gd name="connsiteX132" fmla="*/ 898719 w 3060746"/>
                <a:gd name="connsiteY132" fmla="*/ 813361 h 1771142"/>
                <a:gd name="connsiteX133" fmla="*/ 867668 w 3060746"/>
                <a:gd name="connsiteY133" fmla="*/ 806509 h 1771142"/>
                <a:gd name="connsiteX134" fmla="*/ 836577 w 3060746"/>
                <a:gd name="connsiteY134" fmla="*/ 817739 h 1771142"/>
                <a:gd name="connsiteX135" fmla="*/ 817215 w 3060746"/>
                <a:gd name="connsiteY135" fmla="*/ 839966 h 1771142"/>
                <a:gd name="connsiteX136" fmla="*/ 840676 w 3060746"/>
                <a:gd name="connsiteY136" fmla="*/ 836624 h 1771142"/>
                <a:gd name="connsiteX137" fmla="*/ 836617 w 3060746"/>
                <a:gd name="connsiteY137" fmla="*/ 849391 h 1771142"/>
                <a:gd name="connsiteX138" fmla="*/ 854720 w 3060746"/>
                <a:gd name="connsiteY138" fmla="*/ 848890 h 1771142"/>
                <a:gd name="connsiteX139" fmla="*/ 843111 w 3060746"/>
                <a:gd name="connsiteY139" fmla="*/ 863229 h 1771142"/>
                <a:gd name="connsiteX140" fmla="*/ 784094 w 3060746"/>
                <a:gd name="connsiteY140" fmla="*/ 877801 h 1771142"/>
                <a:gd name="connsiteX141" fmla="*/ 739445 w 3060746"/>
                <a:gd name="connsiteY141" fmla="*/ 885723 h 1771142"/>
                <a:gd name="connsiteX142" fmla="*/ 712088 w 3060746"/>
                <a:gd name="connsiteY142" fmla="*/ 895382 h 1771142"/>
                <a:gd name="connsiteX143" fmla="*/ 691793 w 3060746"/>
                <a:gd name="connsiteY143" fmla="*/ 905978 h 1771142"/>
                <a:gd name="connsiteX144" fmla="*/ 661635 w 3060746"/>
                <a:gd name="connsiteY144" fmla="*/ 909320 h 1771142"/>
                <a:gd name="connsiteX145" fmla="*/ 633871 w 3060746"/>
                <a:gd name="connsiteY145" fmla="*/ 935691 h 1771142"/>
                <a:gd name="connsiteX146" fmla="*/ 674339 w 3060746"/>
                <a:gd name="connsiteY146" fmla="*/ 851631 h 1771142"/>
                <a:gd name="connsiteX147" fmla="*/ 628026 w 3060746"/>
                <a:gd name="connsiteY147" fmla="*/ 869379 h 1771142"/>
                <a:gd name="connsiteX148" fmla="*/ 674542 w 3060746"/>
                <a:gd name="connsiteY148" fmla="*/ 851664 h 1771142"/>
                <a:gd name="connsiteX149" fmla="*/ 793105 w 3060746"/>
                <a:gd name="connsiteY149" fmla="*/ 789797 h 1771142"/>
                <a:gd name="connsiteX150" fmla="*/ 791968 w 3060746"/>
                <a:gd name="connsiteY150" fmla="*/ 783112 h 1771142"/>
                <a:gd name="connsiteX151" fmla="*/ 748781 w 3060746"/>
                <a:gd name="connsiteY151" fmla="*/ 804704 h 1771142"/>
                <a:gd name="connsiteX152" fmla="*/ 693863 w 3060746"/>
                <a:gd name="connsiteY152" fmla="*/ 845882 h 1771142"/>
                <a:gd name="connsiteX153" fmla="*/ 762581 w 3060746"/>
                <a:gd name="connsiteY153" fmla="*/ 829170 h 1771142"/>
                <a:gd name="connsiteX154" fmla="*/ 789208 w 3060746"/>
                <a:gd name="connsiteY154" fmla="*/ 804470 h 1771142"/>
                <a:gd name="connsiteX155" fmla="*/ 775286 w 3060746"/>
                <a:gd name="connsiteY155" fmla="*/ 804470 h 1771142"/>
                <a:gd name="connsiteX156" fmla="*/ 793105 w 3060746"/>
                <a:gd name="connsiteY156" fmla="*/ 789730 h 1771142"/>
                <a:gd name="connsiteX157" fmla="*/ 793105 w 3060746"/>
                <a:gd name="connsiteY157" fmla="*/ 789797 h 1771142"/>
                <a:gd name="connsiteX158" fmla="*/ 712737 w 3060746"/>
                <a:gd name="connsiteY158" fmla="*/ 811857 h 1771142"/>
                <a:gd name="connsiteX159" fmla="*/ 754382 w 3060746"/>
                <a:gd name="connsiteY159" fmla="*/ 790299 h 1771142"/>
                <a:gd name="connsiteX160" fmla="*/ 793308 w 3060746"/>
                <a:gd name="connsiteY160" fmla="*/ 775124 h 1771142"/>
                <a:gd name="connsiteX161" fmla="*/ 799275 w 3060746"/>
                <a:gd name="connsiteY161" fmla="*/ 758646 h 1771142"/>
                <a:gd name="connsiteX162" fmla="*/ 754626 w 3060746"/>
                <a:gd name="connsiteY162" fmla="*/ 771448 h 1771142"/>
                <a:gd name="connsiteX163" fmla="*/ 691509 w 3060746"/>
                <a:gd name="connsiteY163" fmla="*/ 810553 h 1771142"/>
                <a:gd name="connsiteX164" fmla="*/ 667520 w 3060746"/>
                <a:gd name="connsiteY164" fmla="*/ 828435 h 1771142"/>
                <a:gd name="connsiteX165" fmla="*/ 712818 w 3060746"/>
                <a:gd name="connsiteY165" fmla="*/ 811723 h 1771142"/>
                <a:gd name="connsiteX166" fmla="*/ 712737 w 3060746"/>
                <a:gd name="connsiteY166" fmla="*/ 811756 h 1771142"/>
                <a:gd name="connsiteX167" fmla="*/ 944545 w 3060746"/>
                <a:gd name="connsiteY167" fmla="*/ 676157 h 1771142"/>
                <a:gd name="connsiteX168" fmla="*/ 983024 w 3060746"/>
                <a:gd name="connsiteY168" fmla="*/ 674185 h 1771142"/>
                <a:gd name="connsiteX169" fmla="*/ 956600 w 3060746"/>
                <a:gd name="connsiteY169" fmla="*/ 694640 h 1771142"/>
                <a:gd name="connsiteX170" fmla="*/ 1010422 w 3060746"/>
                <a:gd name="connsiteY170" fmla="*/ 668369 h 1771142"/>
                <a:gd name="connsiteX171" fmla="*/ 1084945 w 3060746"/>
                <a:gd name="connsiteY171" fmla="*/ 647513 h 1771142"/>
                <a:gd name="connsiteX172" fmla="*/ 1144977 w 3060746"/>
                <a:gd name="connsiteY172" fmla="*/ 629397 h 1771142"/>
                <a:gd name="connsiteX173" fmla="*/ 1134221 w 3060746"/>
                <a:gd name="connsiteY173" fmla="*/ 616596 h 1771142"/>
                <a:gd name="connsiteX174" fmla="*/ 1118554 w 3060746"/>
                <a:gd name="connsiteY174" fmla="*/ 608608 h 1771142"/>
                <a:gd name="connsiteX175" fmla="*/ 1067816 w 3060746"/>
                <a:gd name="connsiteY175" fmla="*/ 621977 h 1771142"/>
                <a:gd name="connsiteX176" fmla="*/ 1035710 w 3060746"/>
                <a:gd name="connsiteY176" fmla="*/ 624417 h 1771142"/>
                <a:gd name="connsiteX177" fmla="*/ 1018378 w 3060746"/>
                <a:gd name="connsiteY177" fmla="*/ 636483 h 1771142"/>
                <a:gd name="connsiteX178" fmla="*/ 1008718 w 3060746"/>
                <a:gd name="connsiteY178" fmla="*/ 631536 h 1771142"/>
                <a:gd name="connsiteX179" fmla="*/ 922992 w 3060746"/>
                <a:gd name="connsiteY179" fmla="*/ 663590 h 1771142"/>
                <a:gd name="connsiteX180" fmla="*/ 944545 w 3060746"/>
                <a:gd name="connsiteY180" fmla="*/ 676123 h 1771142"/>
                <a:gd name="connsiteX181" fmla="*/ 944545 w 3060746"/>
                <a:gd name="connsiteY181" fmla="*/ 676157 h 1771142"/>
                <a:gd name="connsiteX182" fmla="*/ 991873 w 3060746"/>
                <a:gd name="connsiteY182" fmla="*/ 727261 h 1771142"/>
                <a:gd name="connsiteX183" fmla="*/ 929852 w 3060746"/>
                <a:gd name="connsiteY183" fmla="*/ 732074 h 1771142"/>
                <a:gd name="connsiteX184" fmla="*/ 991873 w 3060746"/>
                <a:gd name="connsiteY184" fmla="*/ 727195 h 1771142"/>
                <a:gd name="connsiteX185" fmla="*/ 1129432 w 3060746"/>
                <a:gd name="connsiteY185" fmla="*/ 555097 h 1771142"/>
                <a:gd name="connsiteX186" fmla="*/ 1079547 w 3060746"/>
                <a:gd name="connsiteY186" fmla="*/ 566996 h 1771142"/>
                <a:gd name="connsiteX187" fmla="*/ 1129432 w 3060746"/>
                <a:gd name="connsiteY187" fmla="*/ 555030 h 1771142"/>
                <a:gd name="connsiteX188" fmla="*/ 1058805 w 3060746"/>
                <a:gd name="connsiteY188" fmla="*/ 779770 h 1771142"/>
                <a:gd name="connsiteX189" fmla="*/ 1023330 w 3060746"/>
                <a:gd name="connsiteY189" fmla="*/ 786187 h 1771142"/>
                <a:gd name="connsiteX190" fmla="*/ 1058805 w 3060746"/>
                <a:gd name="connsiteY190" fmla="*/ 779770 h 1771142"/>
                <a:gd name="connsiteX191" fmla="*/ 1195187 w 3060746"/>
                <a:gd name="connsiteY191" fmla="*/ 660615 h 1771142"/>
                <a:gd name="connsiteX192" fmla="*/ 1125251 w 3060746"/>
                <a:gd name="connsiteY192" fmla="*/ 692367 h 1771142"/>
                <a:gd name="connsiteX193" fmla="*/ 1152121 w 3060746"/>
                <a:gd name="connsiteY193" fmla="*/ 698484 h 1771142"/>
                <a:gd name="connsiteX194" fmla="*/ 1088720 w 3060746"/>
                <a:gd name="connsiteY194" fmla="*/ 712722 h 1771142"/>
                <a:gd name="connsiteX195" fmla="*/ 1111410 w 3060746"/>
                <a:gd name="connsiteY195" fmla="*/ 723384 h 1771142"/>
                <a:gd name="connsiteX196" fmla="*/ 1063636 w 3060746"/>
                <a:gd name="connsiteY196" fmla="*/ 728431 h 1771142"/>
                <a:gd name="connsiteX197" fmla="*/ 1003319 w 3060746"/>
                <a:gd name="connsiteY197" fmla="*/ 739695 h 1771142"/>
                <a:gd name="connsiteX198" fmla="*/ 1030190 w 3060746"/>
                <a:gd name="connsiteY198" fmla="*/ 754201 h 1771142"/>
                <a:gd name="connsiteX199" fmla="*/ 1101749 w 3060746"/>
                <a:gd name="connsiteY199" fmla="*/ 742703 h 1771142"/>
                <a:gd name="connsiteX200" fmla="*/ 1165394 w 3060746"/>
                <a:gd name="connsiteY200" fmla="*/ 711686 h 1771142"/>
                <a:gd name="connsiteX201" fmla="*/ 1165394 w 3060746"/>
                <a:gd name="connsiteY201" fmla="*/ 730637 h 1771142"/>
                <a:gd name="connsiteX202" fmla="*/ 1223153 w 3060746"/>
                <a:gd name="connsiteY202" fmla="*/ 713758 h 1771142"/>
                <a:gd name="connsiteX203" fmla="*/ 1252013 w 3060746"/>
                <a:gd name="connsiteY203" fmla="*/ 698584 h 1771142"/>
                <a:gd name="connsiteX204" fmla="*/ 1257371 w 3060746"/>
                <a:gd name="connsiteY204" fmla="*/ 685215 h 1771142"/>
                <a:gd name="connsiteX205" fmla="*/ 1248725 w 3060746"/>
                <a:gd name="connsiteY205" fmla="*/ 673984 h 1771142"/>
                <a:gd name="connsiteX206" fmla="*/ 1247101 w 3060746"/>
                <a:gd name="connsiteY206" fmla="*/ 661918 h 1771142"/>
                <a:gd name="connsiteX207" fmla="*/ 1227821 w 3060746"/>
                <a:gd name="connsiteY207" fmla="*/ 655234 h 1771142"/>
                <a:gd name="connsiteX208" fmla="*/ 1195350 w 3060746"/>
                <a:gd name="connsiteY208" fmla="*/ 660481 h 1771142"/>
                <a:gd name="connsiteX209" fmla="*/ 1233341 w 3060746"/>
                <a:gd name="connsiteY209" fmla="*/ 594670 h 1771142"/>
                <a:gd name="connsiteX210" fmla="*/ 1294754 w 3060746"/>
                <a:gd name="connsiteY210" fmla="*/ 562283 h 1771142"/>
                <a:gd name="connsiteX211" fmla="*/ 1286636 w 3060746"/>
                <a:gd name="connsiteY211" fmla="*/ 552523 h 1771142"/>
                <a:gd name="connsiteX212" fmla="*/ 1241013 w 3060746"/>
                <a:gd name="connsiteY212" fmla="*/ 563285 h 1771142"/>
                <a:gd name="connsiteX213" fmla="*/ 1169494 w 3060746"/>
                <a:gd name="connsiteY213" fmla="*/ 582203 h 1771142"/>
                <a:gd name="connsiteX214" fmla="*/ 1233341 w 3060746"/>
                <a:gd name="connsiteY214" fmla="*/ 594670 h 1771142"/>
                <a:gd name="connsiteX215" fmla="*/ 1357140 w 3060746"/>
                <a:gd name="connsiteY215" fmla="*/ 548579 h 1771142"/>
                <a:gd name="connsiteX216" fmla="*/ 1262810 w 3060746"/>
                <a:gd name="connsiteY216" fmla="*/ 596876 h 1771142"/>
                <a:gd name="connsiteX217" fmla="*/ 1357181 w 3060746"/>
                <a:gd name="connsiteY217" fmla="*/ 548579 h 1771142"/>
                <a:gd name="connsiteX218" fmla="*/ 1399232 w 3060746"/>
                <a:gd name="connsiteY218" fmla="*/ 654532 h 1771142"/>
                <a:gd name="connsiteX219" fmla="*/ 1367572 w 3060746"/>
                <a:gd name="connsiteY219" fmla="*/ 635246 h 1771142"/>
                <a:gd name="connsiteX220" fmla="*/ 1302101 w 3060746"/>
                <a:gd name="connsiteY220" fmla="*/ 668068 h 1771142"/>
                <a:gd name="connsiteX221" fmla="*/ 1311923 w 3060746"/>
                <a:gd name="connsiteY221" fmla="*/ 681204 h 1771142"/>
                <a:gd name="connsiteX222" fmla="*/ 1399232 w 3060746"/>
                <a:gd name="connsiteY222" fmla="*/ 654465 h 1771142"/>
                <a:gd name="connsiteX223" fmla="*/ 1269345 w 3060746"/>
                <a:gd name="connsiteY223" fmla="*/ 826663 h 1771142"/>
                <a:gd name="connsiteX224" fmla="*/ 1305875 w 3060746"/>
                <a:gd name="connsiteY224" fmla="*/ 803969 h 1771142"/>
                <a:gd name="connsiteX225" fmla="*/ 1336967 w 3060746"/>
                <a:gd name="connsiteY225" fmla="*/ 786555 h 1771142"/>
                <a:gd name="connsiteX226" fmla="*/ 1347033 w 3060746"/>
                <a:gd name="connsiteY226" fmla="*/ 766501 h 1771142"/>
                <a:gd name="connsiteX227" fmla="*/ 1337373 w 3060746"/>
                <a:gd name="connsiteY227" fmla="*/ 734648 h 1771142"/>
                <a:gd name="connsiteX228" fmla="*/ 1328078 w 3060746"/>
                <a:gd name="connsiteY228" fmla="*/ 756039 h 1771142"/>
                <a:gd name="connsiteX229" fmla="*/ 1313790 w 3060746"/>
                <a:gd name="connsiteY229" fmla="*/ 752329 h 1771142"/>
                <a:gd name="connsiteX230" fmla="*/ 1292115 w 3060746"/>
                <a:gd name="connsiteY230" fmla="*/ 760451 h 1771142"/>
                <a:gd name="connsiteX231" fmla="*/ 1280344 w 3060746"/>
                <a:gd name="connsiteY231" fmla="*/ 753766 h 1771142"/>
                <a:gd name="connsiteX232" fmla="*/ 1308514 w 3060746"/>
                <a:gd name="connsiteY232" fmla="*/ 727027 h 1771142"/>
                <a:gd name="connsiteX233" fmla="*/ 1276651 w 3060746"/>
                <a:gd name="connsiteY233" fmla="*/ 728498 h 1771142"/>
                <a:gd name="connsiteX234" fmla="*/ 1265529 w 3060746"/>
                <a:gd name="connsiteY234" fmla="*/ 726225 h 1771142"/>
                <a:gd name="connsiteX235" fmla="*/ 1235330 w 3060746"/>
                <a:gd name="connsiteY235" fmla="*/ 743238 h 1771142"/>
                <a:gd name="connsiteX236" fmla="*/ 1248035 w 3060746"/>
                <a:gd name="connsiteY236" fmla="*/ 747383 h 1771142"/>
                <a:gd name="connsiteX237" fmla="*/ 1197460 w 3060746"/>
                <a:gd name="connsiteY237" fmla="*/ 765398 h 1771142"/>
                <a:gd name="connsiteX238" fmla="*/ 1187597 w 3060746"/>
                <a:gd name="connsiteY238" fmla="*/ 790365 h 1771142"/>
                <a:gd name="connsiteX239" fmla="*/ 1217593 w 3060746"/>
                <a:gd name="connsiteY239" fmla="*/ 780773 h 1771142"/>
                <a:gd name="connsiteX240" fmla="*/ 1194051 w 3060746"/>
                <a:gd name="connsiteY240" fmla="*/ 810085 h 1771142"/>
                <a:gd name="connsiteX241" fmla="*/ 1153055 w 3060746"/>
                <a:gd name="connsiteY241" fmla="*/ 816202 h 1771142"/>
                <a:gd name="connsiteX242" fmla="*/ 1148428 w 3060746"/>
                <a:gd name="connsiteY242" fmla="*/ 835019 h 1771142"/>
                <a:gd name="connsiteX243" fmla="*/ 1212072 w 3060746"/>
                <a:gd name="connsiteY243" fmla="*/ 824992 h 1771142"/>
                <a:gd name="connsiteX244" fmla="*/ 1269263 w 3060746"/>
                <a:gd name="connsiteY244" fmla="*/ 826697 h 1771142"/>
                <a:gd name="connsiteX245" fmla="*/ 1269507 w 3060746"/>
                <a:gd name="connsiteY245" fmla="*/ 826563 h 1771142"/>
                <a:gd name="connsiteX246" fmla="*/ 1443150 w 3060746"/>
                <a:gd name="connsiteY246" fmla="*/ 620273 h 1771142"/>
                <a:gd name="connsiteX247" fmla="*/ 1471319 w 3060746"/>
                <a:gd name="connsiteY247" fmla="*/ 618635 h 1771142"/>
                <a:gd name="connsiteX248" fmla="*/ 1514831 w 3060746"/>
                <a:gd name="connsiteY248" fmla="*/ 610613 h 1771142"/>
                <a:gd name="connsiteX249" fmla="*/ 1554406 w 3060746"/>
                <a:gd name="connsiteY249" fmla="*/ 586481 h 1771142"/>
                <a:gd name="connsiteX250" fmla="*/ 1576203 w 3060746"/>
                <a:gd name="connsiteY250" fmla="*/ 584008 h 1771142"/>
                <a:gd name="connsiteX251" fmla="*/ 1651984 w 3060746"/>
                <a:gd name="connsiteY251" fmla="*/ 561982 h 1771142"/>
                <a:gd name="connsiteX252" fmla="*/ 1737223 w 3060746"/>
                <a:gd name="connsiteY252" fmla="*/ 524481 h 1771142"/>
                <a:gd name="connsiteX253" fmla="*/ 1767097 w 3060746"/>
                <a:gd name="connsiteY253" fmla="*/ 513718 h 1771142"/>
                <a:gd name="connsiteX254" fmla="*/ 1857003 w 3060746"/>
                <a:gd name="connsiteY254" fmla="*/ 480863 h 1771142"/>
                <a:gd name="connsiteX255" fmla="*/ 1858464 w 3060746"/>
                <a:gd name="connsiteY255" fmla="*/ 451383 h 1771142"/>
                <a:gd name="connsiteX256" fmla="*/ 1793886 w 3060746"/>
                <a:gd name="connsiteY256" fmla="*/ 466758 h 1771142"/>
                <a:gd name="connsiteX257" fmla="*/ 1714817 w 3060746"/>
                <a:gd name="connsiteY257" fmla="*/ 492661 h 1771142"/>
                <a:gd name="connsiteX258" fmla="*/ 1655800 w 3060746"/>
                <a:gd name="connsiteY258" fmla="*/ 520804 h 1771142"/>
                <a:gd name="connsiteX259" fmla="*/ 1569019 w 3060746"/>
                <a:gd name="connsiteY259" fmla="*/ 553893 h 1771142"/>
                <a:gd name="connsiteX260" fmla="*/ 1547709 w 3060746"/>
                <a:gd name="connsiteY260" fmla="*/ 557236 h 1771142"/>
                <a:gd name="connsiteX261" fmla="*/ 1499326 w 3060746"/>
                <a:gd name="connsiteY261" fmla="*/ 568633 h 1771142"/>
                <a:gd name="connsiteX262" fmla="*/ 1515034 w 3060746"/>
                <a:gd name="connsiteY262" fmla="*/ 544401 h 1771142"/>
                <a:gd name="connsiteX263" fmla="*/ 1435803 w 3060746"/>
                <a:gd name="connsiteY263" fmla="*/ 561514 h 1771142"/>
                <a:gd name="connsiteX264" fmla="*/ 1390465 w 3060746"/>
                <a:gd name="connsiteY264" fmla="*/ 579262 h 1771142"/>
                <a:gd name="connsiteX265" fmla="*/ 1336155 w 3060746"/>
                <a:gd name="connsiteY265" fmla="*/ 588687 h 1771142"/>
                <a:gd name="connsiteX266" fmla="*/ 1259928 w 3060746"/>
                <a:gd name="connsiteY266" fmla="*/ 620273 h 1771142"/>
                <a:gd name="connsiteX267" fmla="*/ 1364041 w 3060746"/>
                <a:gd name="connsiteY267" fmla="*/ 605098 h 1771142"/>
                <a:gd name="connsiteX268" fmla="*/ 1379708 w 3060746"/>
                <a:gd name="connsiteY268" fmla="*/ 594503 h 1771142"/>
                <a:gd name="connsiteX269" fmla="*/ 1415955 w 3060746"/>
                <a:gd name="connsiteY269" fmla="*/ 595205 h 1771142"/>
                <a:gd name="connsiteX270" fmla="*/ 1435722 w 3060746"/>
                <a:gd name="connsiteY270" fmla="*/ 603227 h 1771142"/>
                <a:gd name="connsiteX271" fmla="*/ 1443312 w 3060746"/>
                <a:gd name="connsiteY271" fmla="*/ 620139 h 1771142"/>
                <a:gd name="connsiteX272" fmla="*/ 1473430 w 3060746"/>
                <a:gd name="connsiteY272" fmla="*/ 509774 h 1771142"/>
                <a:gd name="connsiteX273" fmla="*/ 1446843 w 3060746"/>
                <a:gd name="connsiteY273" fmla="*/ 534240 h 1771142"/>
                <a:gd name="connsiteX274" fmla="*/ 1473592 w 3060746"/>
                <a:gd name="connsiteY274" fmla="*/ 509774 h 1771142"/>
                <a:gd name="connsiteX275" fmla="*/ 1210530 w 3060746"/>
                <a:gd name="connsiteY275" fmla="*/ 520236 h 1771142"/>
                <a:gd name="connsiteX276" fmla="*/ 1244098 w 3060746"/>
                <a:gd name="connsiteY276" fmla="*/ 524113 h 1771142"/>
                <a:gd name="connsiteX277" fmla="*/ 1282739 w 3060746"/>
                <a:gd name="connsiteY277" fmla="*/ 512381 h 1771142"/>
                <a:gd name="connsiteX278" fmla="*/ 1354705 w 3060746"/>
                <a:gd name="connsiteY278" fmla="*/ 484005 h 1771142"/>
                <a:gd name="connsiteX279" fmla="*/ 1330351 w 3060746"/>
                <a:gd name="connsiteY279" fmla="*/ 518230 h 1771142"/>
                <a:gd name="connsiteX280" fmla="*/ 1359616 w 3060746"/>
                <a:gd name="connsiteY280" fmla="*/ 516827 h 1771142"/>
                <a:gd name="connsiteX281" fmla="*/ 1369966 w 3060746"/>
                <a:gd name="connsiteY281" fmla="*/ 518832 h 1771142"/>
                <a:gd name="connsiteX282" fmla="*/ 1439578 w 3060746"/>
                <a:gd name="connsiteY282" fmla="*/ 501118 h 1771142"/>
                <a:gd name="connsiteX283" fmla="*/ 1463607 w 3060746"/>
                <a:gd name="connsiteY283" fmla="*/ 485709 h 1771142"/>
                <a:gd name="connsiteX284" fmla="*/ 1504197 w 3060746"/>
                <a:gd name="connsiteY284" fmla="*/ 472607 h 1771142"/>
                <a:gd name="connsiteX285" fmla="*/ 1510610 w 3060746"/>
                <a:gd name="connsiteY285" fmla="*/ 455595 h 1771142"/>
                <a:gd name="connsiteX286" fmla="*/ 1527414 w 3060746"/>
                <a:gd name="connsiteY286" fmla="*/ 445033 h 1771142"/>
                <a:gd name="connsiteX287" fmla="*/ 1541905 w 3060746"/>
                <a:gd name="connsiteY287" fmla="*/ 425246 h 1771142"/>
                <a:gd name="connsiteX288" fmla="*/ 1585985 w 3060746"/>
                <a:gd name="connsiteY288" fmla="*/ 401448 h 1771142"/>
                <a:gd name="connsiteX289" fmla="*/ 1599096 w 3060746"/>
                <a:gd name="connsiteY289" fmla="*/ 388079 h 1771142"/>
                <a:gd name="connsiteX290" fmla="*/ 1553919 w 3060746"/>
                <a:gd name="connsiteY290" fmla="*/ 399878 h 1771142"/>
                <a:gd name="connsiteX291" fmla="*/ 1522381 w 3060746"/>
                <a:gd name="connsiteY291" fmla="*/ 401849 h 1771142"/>
                <a:gd name="connsiteX292" fmla="*/ 1513411 w 3060746"/>
                <a:gd name="connsiteY292" fmla="*/ 393527 h 1771142"/>
                <a:gd name="connsiteX293" fmla="*/ 1500868 w 3060746"/>
                <a:gd name="connsiteY293" fmla="*/ 389449 h 1771142"/>
                <a:gd name="connsiteX294" fmla="*/ 1484389 w 3060746"/>
                <a:gd name="connsiteY294" fmla="*/ 387277 h 1771142"/>
                <a:gd name="connsiteX295" fmla="*/ 1476271 w 3060746"/>
                <a:gd name="connsiteY295" fmla="*/ 398039 h 1771142"/>
                <a:gd name="connsiteX296" fmla="*/ 1447858 w 3060746"/>
                <a:gd name="connsiteY296" fmla="*/ 403688 h 1771142"/>
                <a:gd name="connsiteX297" fmla="*/ 1425250 w 3060746"/>
                <a:gd name="connsiteY297" fmla="*/ 400914 h 1771142"/>
                <a:gd name="connsiteX298" fmla="*/ 1375771 w 3060746"/>
                <a:gd name="connsiteY298" fmla="*/ 410038 h 1771142"/>
                <a:gd name="connsiteX299" fmla="*/ 1267153 w 3060746"/>
                <a:gd name="connsiteY299" fmla="*/ 424878 h 1771142"/>
                <a:gd name="connsiteX300" fmla="*/ 1243814 w 3060746"/>
                <a:gd name="connsiteY300" fmla="*/ 438248 h 1771142"/>
                <a:gd name="connsiteX301" fmla="*/ 1273241 w 3060746"/>
                <a:gd name="connsiteY301" fmla="*/ 435373 h 1771142"/>
                <a:gd name="connsiteX302" fmla="*/ 1240079 w 3060746"/>
                <a:gd name="connsiteY302" fmla="*/ 458469 h 1771142"/>
                <a:gd name="connsiteX303" fmla="*/ 1200504 w 3060746"/>
                <a:gd name="connsiteY303" fmla="*/ 488818 h 1771142"/>
                <a:gd name="connsiteX304" fmla="*/ 1248968 w 3060746"/>
                <a:gd name="connsiteY304" fmla="*/ 492394 h 1771142"/>
                <a:gd name="connsiteX305" fmla="*/ 1208379 w 3060746"/>
                <a:gd name="connsiteY305" fmla="*/ 510142 h 1771142"/>
                <a:gd name="connsiteX306" fmla="*/ 1211058 w 3060746"/>
                <a:gd name="connsiteY306" fmla="*/ 520169 h 1771142"/>
                <a:gd name="connsiteX307" fmla="*/ 1210692 w 3060746"/>
                <a:gd name="connsiteY307" fmla="*/ 520236 h 1771142"/>
                <a:gd name="connsiteX308" fmla="*/ 1356166 w 3060746"/>
                <a:gd name="connsiteY308" fmla="*/ 378687 h 1771142"/>
                <a:gd name="connsiteX309" fmla="*/ 1371915 w 3060746"/>
                <a:gd name="connsiteY309" fmla="*/ 377116 h 1771142"/>
                <a:gd name="connsiteX310" fmla="*/ 1403900 w 3060746"/>
                <a:gd name="connsiteY310" fmla="*/ 370431 h 1771142"/>
                <a:gd name="connsiteX311" fmla="*/ 1405442 w 3060746"/>
                <a:gd name="connsiteY311" fmla="*/ 387711 h 1771142"/>
                <a:gd name="connsiteX312" fmla="*/ 1429268 w 3060746"/>
                <a:gd name="connsiteY312" fmla="*/ 386174 h 1771142"/>
                <a:gd name="connsiteX313" fmla="*/ 1464825 w 3060746"/>
                <a:gd name="connsiteY313" fmla="*/ 378821 h 1771142"/>
                <a:gd name="connsiteX314" fmla="*/ 1527779 w 3060746"/>
                <a:gd name="connsiteY314" fmla="*/ 346266 h 1771142"/>
                <a:gd name="connsiteX315" fmla="*/ 1532245 w 3060746"/>
                <a:gd name="connsiteY315" fmla="*/ 357797 h 1771142"/>
                <a:gd name="connsiteX316" fmla="*/ 1560089 w 3060746"/>
                <a:gd name="connsiteY316" fmla="*/ 352784 h 1771142"/>
                <a:gd name="connsiteX317" fmla="*/ 1627671 w 3060746"/>
                <a:gd name="connsiteY317" fmla="*/ 329020 h 1771142"/>
                <a:gd name="connsiteX318" fmla="*/ 1643907 w 3060746"/>
                <a:gd name="connsiteY318" fmla="*/ 315650 h 1771142"/>
                <a:gd name="connsiteX319" fmla="*/ 1684497 w 3060746"/>
                <a:gd name="connsiteY319" fmla="*/ 304152 h 1771142"/>
                <a:gd name="connsiteX320" fmla="*/ 1755001 w 3060746"/>
                <a:gd name="connsiteY320" fmla="*/ 269826 h 1771142"/>
                <a:gd name="connsiteX321" fmla="*/ 1787473 w 3060746"/>
                <a:gd name="connsiteY321" fmla="*/ 252413 h 1771142"/>
                <a:gd name="connsiteX322" fmla="*/ 1720378 w 3060746"/>
                <a:gd name="connsiteY322" fmla="*/ 297534 h 1771142"/>
                <a:gd name="connsiteX323" fmla="*/ 1676257 w 3060746"/>
                <a:gd name="connsiteY323" fmla="*/ 326646 h 1771142"/>
                <a:gd name="connsiteX324" fmla="*/ 1726142 w 3060746"/>
                <a:gd name="connsiteY324" fmla="*/ 329488 h 1771142"/>
                <a:gd name="connsiteX325" fmla="*/ 1640213 w 3060746"/>
                <a:gd name="connsiteY325" fmla="*/ 338345 h 1771142"/>
                <a:gd name="connsiteX326" fmla="*/ 1545558 w 3060746"/>
                <a:gd name="connsiteY326" fmla="*/ 366253 h 1771142"/>
                <a:gd name="connsiteX327" fmla="*/ 1552052 w 3060746"/>
                <a:gd name="connsiteY327" fmla="*/ 392290 h 1771142"/>
                <a:gd name="connsiteX328" fmla="*/ 1587649 w 3060746"/>
                <a:gd name="connsiteY328" fmla="*/ 383266 h 1771142"/>
                <a:gd name="connsiteX329" fmla="*/ 1635302 w 3060746"/>
                <a:gd name="connsiteY329" fmla="*/ 385706 h 1771142"/>
                <a:gd name="connsiteX330" fmla="*/ 1677109 w 3060746"/>
                <a:gd name="connsiteY330" fmla="*/ 384570 h 1771142"/>
                <a:gd name="connsiteX331" fmla="*/ 1711489 w 3060746"/>
                <a:gd name="connsiteY331" fmla="*/ 379289 h 1771142"/>
                <a:gd name="connsiteX332" fmla="*/ 1653811 w 3060746"/>
                <a:gd name="connsiteY332" fmla="*/ 396869 h 1771142"/>
                <a:gd name="connsiteX333" fmla="*/ 1563458 w 3060746"/>
                <a:gd name="connsiteY333" fmla="*/ 428054 h 1771142"/>
                <a:gd name="connsiteX334" fmla="*/ 1549049 w 3060746"/>
                <a:gd name="connsiteY334" fmla="*/ 459071 h 1771142"/>
                <a:gd name="connsiteX335" fmla="*/ 1590328 w 3060746"/>
                <a:gd name="connsiteY335" fmla="*/ 443662 h 1771142"/>
                <a:gd name="connsiteX336" fmla="*/ 1632745 w 3060746"/>
                <a:gd name="connsiteY336" fmla="*/ 417458 h 1771142"/>
                <a:gd name="connsiteX337" fmla="*/ 1618741 w 3060746"/>
                <a:gd name="connsiteY337" fmla="*/ 444197 h 1771142"/>
                <a:gd name="connsiteX338" fmla="*/ 1665176 w 3060746"/>
                <a:gd name="connsiteY338" fmla="*/ 449946 h 1771142"/>
                <a:gd name="connsiteX339" fmla="*/ 1610420 w 3060746"/>
                <a:gd name="connsiteY339" fmla="*/ 455962 h 1771142"/>
                <a:gd name="connsiteX340" fmla="*/ 1530499 w 3060746"/>
                <a:gd name="connsiteY340" fmla="*/ 483370 h 1771142"/>
                <a:gd name="connsiteX341" fmla="*/ 1578152 w 3060746"/>
                <a:gd name="connsiteY341" fmla="*/ 485141 h 1771142"/>
                <a:gd name="connsiteX342" fmla="*/ 1543001 w 3060746"/>
                <a:gd name="connsiteY342" fmla="*/ 502455 h 1771142"/>
                <a:gd name="connsiteX343" fmla="*/ 1501680 w 3060746"/>
                <a:gd name="connsiteY343" fmla="*/ 525851 h 1771142"/>
                <a:gd name="connsiteX344" fmla="*/ 1533178 w 3060746"/>
                <a:gd name="connsiteY344" fmla="*/ 529193 h 1771142"/>
                <a:gd name="connsiteX345" fmla="*/ 1611963 w 3060746"/>
                <a:gd name="connsiteY345" fmla="*/ 500616 h 1771142"/>
                <a:gd name="connsiteX346" fmla="*/ 1679098 w 3060746"/>
                <a:gd name="connsiteY346" fmla="*/ 476585 h 1771142"/>
                <a:gd name="connsiteX347" fmla="*/ 1724153 w 3060746"/>
                <a:gd name="connsiteY347" fmla="*/ 458135 h 1771142"/>
                <a:gd name="connsiteX348" fmla="*/ 1783251 w 3060746"/>
                <a:gd name="connsiteY348" fmla="*/ 441022 h 1771142"/>
                <a:gd name="connsiteX349" fmla="*/ 1823841 w 3060746"/>
                <a:gd name="connsiteY349" fmla="*/ 436577 h 1771142"/>
                <a:gd name="connsiteX350" fmla="*/ 1864674 w 3060746"/>
                <a:gd name="connsiteY350" fmla="*/ 411810 h 1771142"/>
                <a:gd name="connsiteX351" fmla="*/ 1903072 w 3060746"/>
                <a:gd name="connsiteY351" fmla="*/ 395332 h 1771142"/>
                <a:gd name="connsiteX352" fmla="*/ 1888582 w 3060746"/>
                <a:gd name="connsiteY352" fmla="*/ 382698 h 1771142"/>
                <a:gd name="connsiteX353" fmla="*/ 1861630 w 3060746"/>
                <a:gd name="connsiteY353" fmla="*/ 396067 h 1771142"/>
                <a:gd name="connsiteX354" fmla="*/ 1841132 w 3060746"/>
                <a:gd name="connsiteY354" fmla="*/ 394697 h 1771142"/>
                <a:gd name="connsiteX355" fmla="*/ 1753905 w 3060746"/>
                <a:gd name="connsiteY355" fmla="*/ 419865 h 1771142"/>
                <a:gd name="connsiteX356" fmla="*/ 1818078 w 3060746"/>
                <a:gd name="connsiteY356" fmla="*/ 393527 h 1771142"/>
                <a:gd name="connsiteX357" fmla="*/ 1876040 w 3060746"/>
                <a:gd name="connsiteY357" fmla="*/ 368292 h 1771142"/>
                <a:gd name="connsiteX358" fmla="*/ 1866664 w 3060746"/>
                <a:gd name="connsiteY358" fmla="*/ 355157 h 1771142"/>
                <a:gd name="connsiteX359" fmla="*/ 1941755 w 3060746"/>
                <a:gd name="connsiteY359" fmla="*/ 326780 h 1771142"/>
                <a:gd name="connsiteX360" fmla="*/ 1985023 w 3060746"/>
                <a:gd name="connsiteY360" fmla="*/ 276645 h 1771142"/>
                <a:gd name="connsiteX361" fmla="*/ 1920526 w 3060746"/>
                <a:gd name="connsiteY361" fmla="*/ 286505 h 1771142"/>
                <a:gd name="connsiteX362" fmla="*/ 1893737 w 3060746"/>
                <a:gd name="connsiteY362" fmla="*/ 289112 h 1771142"/>
                <a:gd name="connsiteX363" fmla="*/ 1950563 w 3060746"/>
                <a:gd name="connsiteY363" fmla="*/ 266417 h 1771142"/>
                <a:gd name="connsiteX364" fmla="*/ 1995739 w 3060746"/>
                <a:gd name="connsiteY364" fmla="*/ 249939 h 1771142"/>
                <a:gd name="connsiteX365" fmla="*/ 2008444 w 3060746"/>
                <a:gd name="connsiteY365" fmla="*/ 229885 h 1771142"/>
                <a:gd name="connsiteX366" fmla="*/ 2084184 w 3060746"/>
                <a:gd name="connsiteY366" fmla="*/ 200907 h 1771142"/>
                <a:gd name="connsiteX367" fmla="*/ 2121811 w 3060746"/>
                <a:gd name="connsiteY367" fmla="*/ 176341 h 1771142"/>
                <a:gd name="connsiteX368" fmla="*/ 2212894 w 3060746"/>
                <a:gd name="connsiteY368" fmla="*/ 120757 h 1771142"/>
                <a:gd name="connsiteX369" fmla="*/ 2299919 w 3060746"/>
                <a:gd name="connsiteY369" fmla="*/ 80147 h 1771142"/>
                <a:gd name="connsiteX370" fmla="*/ 2271506 w 3060746"/>
                <a:gd name="connsiteY370" fmla="*/ 79145 h 1771142"/>
                <a:gd name="connsiteX371" fmla="*/ 2198120 w 3060746"/>
                <a:gd name="connsiteY371" fmla="*/ 101906 h 1771142"/>
                <a:gd name="connsiteX372" fmla="*/ 2228115 w 3060746"/>
                <a:gd name="connsiteY372" fmla="*/ 85362 h 1771142"/>
                <a:gd name="connsiteX373" fmla="*/ 2292004 w 3060746"/>
                <a:gd name="connsiteY373" fmla="*/ 66110 h 1771142"/>
                <a:gd name="connsiteX374" fmla="*/ 2371438 w 3060746"/>
                <a:gd name="connsiteY374" fmla="*/ 30346 h 1771142"/>
                <a:gd name="connsiteX375" fmla="*/ 2407238 w 3060746"/>
                <a:gd name="connsiteY375" fmla="*/ 265 h 1771142"/>
                <a:gd name="connsiteX376" fmla="*/ 2329833 w 3060746"/>
                <a:gd name="connsiteY376" fmla="*/ 15406 h 1771142"/>
                <a:gd name="connsiteX377" fmla="*/ 2311527 w 3060746"/>
                <a:gd name="connsiteY377" fmla="*/ 10860 h 1771142"/>
                <a:gd name="connsiteX378" fmla="*/ 2280557 w 3060746"/>
                <a:gd name="connsiteY378" fmla="*/ 18147 h 1771142"/>
                <a:gd name="connsiteX379" fmla="*/ 2192193 w 3060746"/>
                <a:gd name="connsiteY379" fmla="*/ 50200 h 1771142"/>
                <a:gd name="connsiteX380" fmla="*/ 2212245 w 3060746"/>
                <a:gd name="connsiteY380" fmla="*/ 31182 h 1771142"/>
                <a:gd name="connsiteX381" fmla="*/ 2100663 w 3060746"/>
                <a:gd name="connsiteY381" fmla="*/ 59826 h 1771142"/>
                <a:gd name="connsiteX382" fmla="*/ 2046233 w 3060746"/>
                <a:gd name="connsiteY382" fmla="*/ 76103 h 1771142"/>
                <a:gd name="connsiteX383" fmla="*/ 1978488 w 3060746"/>
                <a:gd name="connsiteY383" fmla="*/ 92548 h 1771142"/>
                <a:gd name="connsiteX384" fmla="*/ 1956813 w 3060746"/>
                <a:gd name="connsiteY384" fmla="*/ 105516 h 1771142"/>
                <a:gd name="connsiteX385" fmla="*/ 1949142 w 3060746"/>
                <a:gd name="connsiteY385" fmla="*/ 115877 h 1771142"/>
                <a:gd name="connsiteX386" fmla="*/ 1907131 w 3060746"/>
                <a:gd name="connsiteY386" fmla="*/ 120256 h 1771142"/>
                <a:gd name="connsiteX387" fmla="*/ 1850306 w 3060746"/>
                <a:gd name="connsiteY387" fmla="*/ 140811 h 1771142"/>
                <a:gd name="connsiteX388" fmla="*/ 1819823 w 3060746"/>
                <a:gd name="connsiteY388" fmla="*/ 152576 h 1771142"/>
                <a:gd name="connsiteX389" fmla="*/ 1802247 w 3060746"/>
                <a:gd name="connsiteY389" fmla="*/ 164107 h 1771142"/>
                <a:gd name="connsiteX390" fmla="*/ 1718957 w 3060746"/>
                <a:gd name="connsiteY390" fmla="*/ 187504 h 1771142"/>
                <a:gd name="connsiteX391" fmla="*/ 1725289 w 3060746"/>
                <a:gd name="connsiteY391" fmla="*/ 189610 h 1771142"/>
                <a:gd name="connsiteX392" fmla="*/ 1696268 w 3060746"/>
                <a:gd name="connsiteY392" fmla="*/ 200205 h 1771142"/>
                <a:gd name="connsiteX393" fmla="*/ 1686932 w 3060746"/>
                <a:gd name="connsiteY393" fmla="*/ 215379 h 1771142"/>
                <a:gd name="connsiteX394" fmla="*/ 1630675 w 3060746"/>
                <a:gd name="connsiteY394" fmla="*/ 237974 h 1771142"/>
                <a:gd name="connsiteX395" fmla="*/ 1600273 w 3060746"/>
                <a:gd name="connsiteY395" fmla="*/ 258663 h 1771142"/>
                <a:gd name="connsiteX396" fmla="*/ 1553108 w 3060746"/>
                <a:gd name="connsiteY396" fmla="*/ 265983 h 1771142"/>
                <a:gd name="connsiteX397" fmla="*/ 1524005 w 3060746"/>
                <a:gd name="connsiteY397" fmla="*/ 277647 h 1771142"/>
                <a:gd name="connsiteX398" fmla="*/ 1523477 w 3060746"/>
                <a:gd name="connsiteY398" fmla="*/ 284867 h 1771142"/>
                <a:gd name="connsiteX399" fmla="*/ 1496282 w 3060746"/>
                <a:gd name="connsiteY399" fmla="*/ 297434 h 1771142"/>
                <a:gd name="connsiteX400" fmla="*/ 1505009 w 3060746"/>
                <a:gd name="connsiteY400" fmla="*/ 303417 h 1771142"/>
                <a:gd name="connsiteX401" fmla="*/ 1447574 w 3060746"/>
                <a:gd name="connsiteY401" fmla="*/ 321232 h 1771142"/>
                <a:gd name="connsiteX402" fmla="*/ 1411044 w 3060746"/>
                <a:gd name="connsiteY402" fmla="*/ 348505 h 1771142"/>
                <a:gd name="connsiteX403" fmla="*/ 1375690 w 3060746"/>
                <a:gd name="connsiteY403" fmla="*/ 360337 h 1771142"/>
                <a:gd name="connsiteX404" fmla="*/ 1317768 w 3060746"/>
                <a:gd name="connsiteY404" fmla="*/ 392792 h 1771142"/>
                <a:gd name="connsiteX405" fmla="*/ 1356044 w 3060746"/>
                <a:gd name="connsiteY405" fmla="*/ 378319 h 1771142"/>
                <a:gd name="connsiteX406" fmla="*/ 2051915 w 3060746"/>
                <a:gd name="connsiteY406" fmla="*/ 839264 h 1771142"/>
                <a:gd name="connsiteX407" fmla="*/ 2047450 w 3060746"/>
                <a:gd name="connsiteY407" fmla="*/ 820313 h 1771142"/>
                <a:gd name="connsiteX408" fmla="*/ 2051915 w 3060746"/>
                <a:gd name="connsiteY408" fmla="*/ 839264 h 1771142"/>
                <a:gd name="connsiteX409" fmla="*/ 1918294 w 3060746"/>
                <a:gd name="connsiteY409" fmla="*/ 867741 h 1771142"/>
                <a:gd name="connsiteX410" fmla="*/ 1963592 w 3060746"/>
                <a:gd name="connsiteY410" fmla="*/ 830975 h 1771142"/>
                <a:gd name="connsiteX411" fmla="*/ 1918294 w 3060746"/>
                <a:gd name="connsiteY411" fmla="*/ 867741 h 1771142"/>
                <a:gd name="connsiteX412" fmla="*/ 2001827 w 3060746"/>
                <a:gd name="connsiteY412" fmla="*/ 793307 h 1771142"/>
                <a:gd name="connsiteX413" fmla="*/ 1949061 w 3060746"/>
                <a:gd name="connsiteY413" fmla="*/ 792872 h 1771142"/>
                <a:gd name="connsiteX414" fmla="*/ 1879530 w 3060746"/>
                <a:gd name="connsiteY414" fmla="*/ 795212 h 1771142"/>
                <a:gd name="connsiteX415" fmla="*/ 1833867 w 3060746"/>
                <a:gd name="connsiteY415" fmla="*/ 799390 h 1771142"/>
                <a:gd name="connsiteX416" fmla="*/ 1810244 w 3060746"/>
                <a:gd name="connsiteY416" fmla="*/ 798053 h 1771142"/>
                <a:gd name="connsiteX417" fmla="*/ 1797620 w 3060746"/>
                <a:gd name="connsiteY417" fmla="*/ 823588 h 1771142"/>
                <a:gd name="connsiteX418" fmla="*/ 1799569 w 3060746"/>
                <a:gd name="connsiteY418" fmla="*/ 843642 h 1771142"/>
                <a:gd name="connsiteX419" fmla="*/ 1790477 w 3060746"/>
                <a:gd name="connsiteY419" fmla="*/ 863697 h 1771142"/>
                <a:gd name="connsiteX420" fmla="*/ 1793561 w 3060746"/>
                <a:gd name="connsiteY420" fmla="*/ 873924 h 1771142"/>
                <a:gd name="connsiteX421" fmla="*/ 1832162 w 3060746"/>
                <a:gd name="connsiteY421" fmla="*/ 859385 h 1771142"/>
                <a:gd name="connsiteX422" fmla="*/ 1852457 w 3060746"/>
                <a:gd name="connsiteY422" fmla="*/ 863095 h 1771142"/>
                <a:gd name="connsiteX423" fmla="*/ 1888988 w 3060746"/>
                <a:gd name="connsiteY423" fmla="*/ 837158 h 1771142"/>
                <a:gd name="connsiteX424" fmla="*/ 1917401 w 3060746"/>
                <a:gd name="connsiteY424" fmla="*/ 817104 h 1771142"/>
                <a:gd name="connsiteX425" fmla="*/ 2001868 w 3060746"/>
                <a:gd name="connsiteY425" fmla="*/ 793106 h 1771142"/>
                <a:gd name="connsiteX426" fmla="*/ 2451724 w 3060746"/>
                <a:gd name="connsiteY426" fmla="*/ 581301 h 1771142"/>
                <a:gd name="connsiteX427" fmla="*/ 2526166 w 3060746"/>
                <a:gd name="connsiteY427" fmla="*/ 591328 h 1771142"/>
                <a:gd name="connsiteX428" fmla="*/ 2543173 w 3060746"/>
                <a:gd name="connsiteY428" fmla="*/ 581735 h 1771142"/>
                <a:gd name="connsiteX429" fmla="*/ 2564077 w 3060746"/>
                <a:gd name="connsiteY429" fmla="*/ 565625 h 1771142"/>
                <a:gd name="connsiteX430" fmla="*/ 2575077 w 3060746"/>
                <a:gd name="connsiteY430" fmla="*/ 551621 h 1771142"/>
                <a:gd name="connsiteX431" fmla="*/ 2603774 w 3060746"/>
                <a:gd name="connsiteY431" fmla="*/ 528425 h 1771142"/>
                <a:gd name="connsiteX432" fmla="*/ 2551007 w 3060746"/>
                <a:gd name="connsiteY432" fmla="*/ 527255 h 1771142"/>
                <a:gd name="connsiteX433" fmla="*/ 2532539 w 3060746"/>
                <a:gd name="connsiteY433" fmla="*/ 519701 h 1771142"/>
                <a:gd name="connsiteX434" fmla="*/ 2507373 w 3060746"/>
                <a:gd name="connsiteY434" fmla="*/ 516125 h 1771142"/>
                <a:gd name="connsiteX435" fmla="*/ 2424692 w 3060746"/>
                <a:gd name="connsiteY435" fmla="*/ 525550 h 1771142"/>
                <a:gd name="connsiteX436" fmla="*/ 2349844 w 3060746"/>
                <a:gd name="connsiteY436" fmla="*/ 523244 h 1771142"/>
                <a:gd name="connsiteX437" fmla="*/ 2392747 w 3060746"/>
                <a:gd name="connsiteY437" fmla="*/ 501853 h 1771142"/>
                <a:gd name="connsiteX438" fmla="*/ 2353132 w 3060746"/>
                <a:gd name="connsiteY438" fmla="*/ 501853 h 1771142"/>
                <a:gd name="connsiteX439" fmla="*/ 2362995 w 3060746"/>
                <a:gd name="connsiteY439" fmla="*/ 487481 h 1771142"/>
                <a:gd name="connsiteX440" fmla="*/ 2329833 w 3060746"/>
                <a:gd name="connsiteY440" fmla="*/ 493831 h 1771142"/>
                <a:gd name="connsiteX441" fmla="*/ 2319523 w 3060746"/>
                <a:gd name="connsiteY441" fmla="*/ 488450 h 1771142"/>
                <a:gd name="connsiteX442" fmla="*/ 2306251 w 3060746"/>
                <a:gd name="connsiteY442" fmla="*/ 481498 h 1771142"/>
                <a:gd name="connsiteX443" fmla="*/ 2266432 w 3060746"/>
                <a:gd name="connsiteY443" fmla="*/ 491525 h 1771142"/>
                <a:gd name="connsiteX444" fmla="*/ 2237086 w 3060746"/>
                <a:gd name="connsiteY444" fmla="*/ 489820 h 1771142"/>
                <a:gd name="connsiteX445" fmla="*/ 2177703 w 3060746"/>
                <a:gd name="connsiteY445" fmla="*/ 511746 h 1771142"/>
                <a:gd name="connsiteX446" fmla="*/ 2206116 w 3060746"/>
                <a:gd name="connsiteY446" fmla="*/ 492361 h 1771142"/>
                <a:gd name="connsiteX447" fmla="*/ 2181762 w 3060746"/>
                <a:gd name="connsiteY447" fmla="*/ 487381 h 1771142"/>
                <a:gd name="connsiteX448" fmla="*/ 2131146 w 3060746"/>
                <a:gd name="connsiteY448" fmla="*/ 507134 h 1771142"/>
                <a:gd name="connsiteX449" fmla="*/ 2108457 w 3060746"/>
                <a:gd name="connsiteY449" fmla="*/ 499680 h 1771142"/>
                <a:gd name="connsiteX450" fmla="*/ 2080531 w 3060746"/>
                <a:gd name="connsiteY450" fmla="*/ 503691 h 1771142"/>
                <a:gd name="connsiteX451" fmla="*/ 2040834 w 3060746"/>
                <a:gd name="connsiteY451" fmla="*/ 498076 h 1771142"/>
                <a:gd name="connsiteX452" fmla="*/ 1960954 w 3060746"/>
                <a:gd name="connsiteY452" fmla="*/ 522609 h 1771142"/>
                <a:gd name="connsiteX453" fmla="*/ 1949954 w 3060746"/>
                <a:gd name="connsiteY453" fmla="*/ 534842 h 1771142"/>
                <a:gd name="connsiteX454" fmla="*/ 1950644 w 3060746"/>
                <a:gd name="connsiteY454" fmla="*/ 542362 h 1771142"/>
                <a:gd name="connsiteX455" fmla="*/ 1926290 w 3060746"/>
                <a:gd name="connsiteY455" fmla="*/ 540490 h 1771142"/>
                <a:gd name="connsiteX456" fmla="*/ 1874538 w 3060746"/>
                <a:gd name="connsiteY456" fmla="*/ 569101 h 1771142"/>
                <a:gd name="connsiteX457" fmla="*/ 1860453 w 3060746"/>
                <a:gd name="connsiteY457" fmla="*/ 539922 h 1771142"/>
                <a:gd name="connsiteX458" fmla="*/ 1787067 w 3060746"/>
                <a:gd name="connsiteY458" fmla="*/ 539922 h 1771142"/>
                <a:gd name="connsiteX459" fmla="*/ 1762307 w 3060746"/>
                <a:gd name="connsiteY459" fmla="*/ 557069 h 1771142"/>
                <a:gd name="connsiteX460" fmla="*/ 1724802 w 3060746"/>
                <a:gd name="connsiteY460" fmla="*/ 576454 h 1771142"/>
                <a:gd name="connsiteX461" fmla="*/ 1696024 w 3060746"/>
                <a:gd name="connsiteY461" fmla="*/ 603427 h 1771142"/>
                <a:gd name="connsiteX462" fmla="*/ 1725127 w 3060746"/>
                <a:gd name="connsiteY462" fmla="*/ 612752 h 1771142"/>
                <a:gd name="connsiteX463" fmla="*/ 1727603 w 3060746"/>
                <a:gd name="connsiteY463" fmla="*/ 631804 h 1771142"/>
                <a:gd name="connsiteX464" fmla="*/ 1724478 w 3060746"/>
                <a:gd name="connsiteY464" fmla="*/ 642900 h 1771142"/>
                <a:gd name="connsiteX465" fmla="*/ 1670331 w 3060746"/>
                <a:gd name="connsiteY465" fmla="*/ 623682 h 1771142"/>
                <a:gd name="connsiteX466" fmla="*/ 1680844 w 3060746"/>
                <a:gd name="connsiteY466" fmla="*/ 596274 h 1771142"/>
                <a:gd name="connsiteX467" fmla="*/ 1707755 w 3060746"/>
                <a:gd name="connsiteY467" fmla="*/ 569903 h 1771142"/>
                <a:gd name="connsiteX468" fmla="*/ 1658519 w 3060746"/>
                <a:gd name="connsiteY468" fmla="*/ 585211 h 1771142"/>
                <a:gd name="connsiteX469" fmla="*/ 1578070 w 3060746"/>
                <a:gd name="connsiteY469" fmla="*/ 640293 h 1771142"/>
                <a:gd name="connsiteX470" fmla="*/ 1572428 w 3060746"/>
                <a:gd name="connsiteY470" fmla="*/ 690429 h 1771142"/>
                <a:gd name="connsiteX471" fmla="*/ 1619106 w 3060746"/>
                <a:gd name="connsiteY471" fmla="*/ 690763 h 1771142"/>
                <a:gd name="connsiteX472" fmla="*/ 1665947 w 3060746"/>
                <a:gd name="connsiteY472" fmla="*/ 677594 h 1771142"/>
                <a:gd name="connsiteX473" fmla="*/ 1653040 w 3060746"/>
                <a:gd name="connsiteY473" fmla="*/ 688858 h 1771142"/>
                <a:gd name="connsiteX474" fmla="*/ 1620568 w 3060746"/>
                <a:gd name="connsiteY474" fmla="*/ 712455 h 1771142"/>
                <a:gd name="connsiteX475" fmla="*/ 1664608 w 3060746"/>
                <a:gd name="connsiteY475" fmla="*/ 705770 h 1771142"/>
                <a:gd name="connsiteX476" fmla="*/ 1700083 w 3060746"/>
                <a:gd name="connsiteY476" fmla="*/ 690562 h 1771142"/>
                <a:gd name="connsiteX477" fmla="*/ 1733245 w 3060746"/>
                <a:gd name="connsiteY477" fmla="*/ 689058 h 1771142"/>
                <a:gd name="connsiteX478" fmla="*/ 1801355 w 3060746"/>
                <a:gd name="connsiteY478" fmla="*/ 666497 h 1771142"/>
                <a:gd name="connsiteX479" fmla="*/ 1889191 w 3060746"/>
                <a:gd name="connsiteY479" fmla="*/ 633575 h 1771142"/>
                <a:gd name="connsiteX480" fmla="*/ 1958762 w 3060746"/>
                <a:gd name="connsiteY480" fmla="*/ 615292 h 1771142"/>
                <a:gd name="connsiteX481" fmla="*/ 1951253 w 3060746"/>
                <a:gd name="connsiteY481" fmla="*/ 597545 h 1771142"/>
                <a:gd name="connsiteX482" fmla="*/ 1990990 w 3060746"/>
                <a:gd name="connsiteY482" fmla="*/ 590860 h 1771142"/>
                <a:gd name="connsiteX483" fmla="*/ 2007550 w 3060746"/>
                <a:gd name="connsiteY483" fmla="*/ 592598 h 1771142"/>
                <a:gd name="connsiteX484" fmla="*/ 2026019 w 3060746"/>
                <a:gd name="connsiteY484" fmla="*/ 592932 h 1771142"/>
                <a:gd name="connsiteX485" fmla="*/ 2082601 w 3060746"/>
                <a:gd name="connsiteY485" fmla="*/ 592698 h 1771142"/>
                <a:gd name="connsiteX486" fmla="*/ 2058004 w 3060746"/>
                <a:gd name="connsiteY486" fmla="*/ 616696 h 1771142"/>
                <a:gd name="connsiteX487" fmla="*/ 2084834 w 3060746"/>
                <a:gd name="connsiteY487" fmla="*/ 608808 h 1771142"/>
                <a:gd name="connsiteX488" fmla="*/ 2118604 w 3060746"/>
                <a:gd name="connsiteY488" fmla="*/ 592966 h 1771142"/>
                <a:gd name="connsiteX489" fmla="*/ 2138899 w 3060746"/>
                <a:gd name="connsiteY489" fmla="*/ 600820 h 1771142"/>
                <a:gd name="connsiteX490" fmla="*/ 2174537 w 3060746"/>
                <a:gd name="connsiteY490" fmla="*/ 593634 h 1771142"/>
                <a:gd name="connsiteX491" fmla="*/ 2217278 w 3060746"/>
                <a:gd name="connsiteY491" fmla="*/ 606068 h 1771142"/>
                <a:gd name="connsiteX492" fmla="*/ 2218617 w 3060746"/>
                <a:gd name="connsiteY492" fmla="*/ 627158 h 1771142"/>
                <a:gd name="connsiteX493" fmla="*/ 2251657 w 3060746"/>
                <a:gd name="connsiteY493" fmla="*/ 618769 h 1771142"/>
                <a:gd name="connsiteX494" fmla="*/ 2300771 w 3060746"/>
                <a:gd name="connsiteY494" fmla="*/ 601656 h 1771142"/>
                <a:gd name="connsiteX495" fmla="*/ 2319239 w 3060746"/>
                <a:gd name="connsiteY495" fmla="*/ 617766 h 1771142"/>
                <a:gd name="connsiteX496" fmla="*/ 2294601 w 3060746"/>
                <a:gd name="connsiteY496" fmla="*/ 629731 h 1771142"/>
                <a:gd name="connsiteX497" fmla="*/ 2284251 w 3060746"/>
                <a:gd name="connsiteY497" fmla="*/ 628027 h 1771142"/>
                <a:gd name="connsiteX498" fmla="*/ 2180544 w 3060746"/>
                <a:gd name="connsiteY498" fmla="*/ 663356 h 1771142"/>
                <a:gd name="connsiteX499" fmla="*/ 2192315 w 3060746"/>
                <a:gd name="connsiteY499" fmla="*/ 680970 h 1771142"/>
                <a:gd name="connsiteX500" fmla="*/ 2102531 w 3060746"/>
                <a:gd name="connsiteY500" fmla="*/ 708912 h 1771142"/>
                <a:gd name="connsiteX501" fmla="*/ 2077243 w 3060746"/>
                <a:gd name="connsiteY501" fmla="*/ 725056 h 1771142"/>
                <a:gd name="connsiteX502" fmla="*/ 2094940 w 3060746"/>
                <a:gd name="connsiteY502" fmla="*/ 745644 h 1771142"/>
                <a:gd name="connsiteX503" fmla="*/ 2138168 w 3060746"/>
                <a:gd name="connsiteY503" fmla="*/ 728933 h 1771142"/>
                <a:gd name="connsiteX504" fmla="*/ 2172548 w 3060746"/>
                <a:gd name="connsiteY504" fmla="*/ 719541 h 1771142"/>
                <a:gd name="connsiteX505" fmla="*/ 2178961 w 3060746"/>
                <a:gd name="connsiteY505" fmla="*/ 710015 h 1771142"/>
                <a:gd name="connsiteX506" fmla="*/ 2218901 w 3060746"/>
                <a:gd name="connsiteY506" fmla="*/ 697281 h 1771142"/>
                <a:gd name="connsiteX507" fmla="*/ 2272196 w 3060746"/>
                <a:gd name="connsiteY507" fmla="*/ 700255 h 1771142"/>
                <a:gd name="connsiteX508" fmla="*/ 2305114 w 3060746"/>
                <a:gd name="connsiteY508" fmla="*/ 715396 h 1771142"/>
                <a:gd name="connsiteX509" fmla="*/ 2373224 w 3060746"/>
                <a:gd name="connsiteY509" fmla="*/ 703163 h 1771142"/>
                <a:gd name="connsiteX510" fmla="*/ 2434474 w 3060746"/>
                <a:gd name="connsiteY510" fmla="*/ 703531 h 1771142"/>
                <a:gd name="connsiteX511" fmla="*/ 2383818 w 3060746"/>
                <a:gd name="connsiteY511" fmla="*/ 674887 h 1771142"/>
                <a:gd name="connsiteX512" fmla="*/ 2434352 w 3060746"/>
                <a:gd name="connsiteY512" fmla="*/ 664559 h 1771142"/>
                <a:gd name="connsiteX513" fmla="*/ 2511838 w 3060746"/>
                <a:gd name="connsiteY513" fmla="*/ 656203 h 1771142"/>
                <a:gd name="connsiteX514" fmla="*/ 2527221 w 3060746"/>
                <a:gd name="connsiteY514" fmla="*/ 632038 h 1771142"/>
                <a:gd name="connsiteX515" fmla="*/ 2494750 w 3060746"/>
                <a:gd name="connsiteY515" fmla="*/ 617666 h 1771142"/>
                <a:gd name="connsiteX516" fmla="*/ 2396887 w 3060746"/>
                <a:gd name="connsiteY516" fmla="*/ 612151 h 1771142"/>
                <a:gd name="connsiteX517" fmla="*/ 2405290 w 3060746"/>
                <a:gd name="connsiteY517" fmla="*/ 601823 h 1771142"/>
                <a:gd name="connsiteX518" fmla="*/ 2397983 w 3060746"/>
                <a:gd name="connsiteY518" fmla="*/ 591027 h 1771142"/>
                <a:gd name="connsiteX519" fmla="*/ 2451440 w 3060746"/>
                <a:gd name="connsiteY519" fmla="*/ 581301 h 1771142"/>
                <a:gd name="connsiteX520" fmla="*/ 2124205 w 3060746"/>
                <a:gd name="connsiteY520" fmla="*/ 641697 h 1771142"/>
                <a:gd name="connsiteX521" fmla="*/ 2118604 w 3060746"/>
                <a:gd name="connsiteY521" fmla="*/ 619136 h 1771142"/>
                <a:gd name="connsiteX522" fmla="*/ 2058612 w 3060746"/>
                <a:gd name="connsiteY522" fmla="*/ 636817 h 1771142"/>
                <a:gd name="connsiteX523" fmla="*/ 2067826 w 3060746"/>
                <a:gd name="connsiteY523" fmla="*/ 663556 h 1771142"/>
                <a:gd name="connsiteX524" fmla="*/ 2124205 w 3060746"/>
                <a:gd name="connsiteY524" fmla="*/ 641530 h 1771142"/>
                <a:gd name="connsiteX525" fmla="*/ 1848195 w 3060746"/>
                <a:gd name="connsiteY525" fmla="*/ 521372 h 1771142"/>
                <a:gd name="connsiteX526" fmla="*/ 1871981 w 3060746"/>
                <a:gd name="connsiteY526" fmla="*/ 529528 h 1771142"/>
                <a:gd name="connsiteX527" fmla="*/ 1913423 w 3060746"/>
                <a:gd name="connsiteY527" fmla="*/ 534708 h 1771142"/>
                <a:gd name="connsiteX528" fmla="*/ 1961035 w 3060746"/>
                <a:gd name="connsiteY528" fmla="*/ 512047 h 1771142"/>
                <a:gd name="connsiteX529" fmla="*/ 2008200 w 3060746"/>
                <a:gd name="connsiteY529" fmla="*/ 495770 h 1771142"/>
                <a:gd name="connsiteX530" fmla="*/ 1943581 w 3060746"/>
                <a:gd name="connsiteY530" fmla="*/ 492428 h 1771142"/>
                <a:gd name="connsiteX531" fmla="*/ 1895604 w 3060746"/>
                <a:gd name="connsiteY531" fmla="*/ 505797 h 1771142"/>
                <a:gd name="connsiteX532" fmla="*/ 1848195 w 3060746"/>
                <a:gd name="connsiteY532" fmla="*/ 521305 h 1771142"/>
                <a:gd name="connsiteX533" fmla="*/ 1848236 w 3060746"/>
                <a:gd name="connsiteY533" fmla="*/ 521439 h 1771142"/>
                <a:gd name="connsiteX534" fmla="*/ 2668920 w 3060746"/>
                <a:gd name="connsiteY534" fmla="*/ 954308 h 1771142"/>
                <a:gd name="connsiteX535" fmla="*/ 2761668 w 3060746"/>
                <a:gd name="connsiteY535" fmla="*/ 945885 h 1771142"/>
                <a:gd name="connsiteX536" fmla="*/ 2668961 w 3060746"/>
                <a:gd name="connsiteY536" fmla="*/ 954375 h 1771142"/>
                <a:gd name="connsiteX537" fmla="*/ 3040560 w 3060746"/>
                <a:gd name="connsiteY537" fmla="*/ 906880 h 1771142"/>
                <a:gd name="connsiteX538" fmla="*/ 3032117 w 3060746"/>
                <a:gd name="connsiteY538" fmla="*/ 902334 h 1771142"/>
                <a:gd name="connsiteX539" fmla="*/ 3027652 w 3060746"/>
                <a:gd name="connsiteY539" fmla="*/ 895014 h 1771142"/>
                <a:gd name="connsiteX540" fmla="*/ 3019007 w 3060746"/>
                <a:gd name="connsiteY540" fmla="*/ 879974 h 1771142"/>
                <a:gd name="connsiteX541" fmla="*/ 3002162 w 3060746"/>
                <a:gd name="connsiteY541" fmla="*/ 879172 h 1771142"/>
                <a:gd name="connsiteX542" fmla="*/ 2990432 w 3060746"/>
                <a:gd name="connsiteY542" fmla="*/ 885856 h 1771142"/>
                <a:gd name="connsiteX543" fmla="*/ 2945336 w 3060746"/>
                <a:gd name="connsiteY543" fmla="*/ 884486 h 1771142"/>
                <a:gd name="connsiteX544" fmla="*/ 2939045 w 3060746"/>
                <a:gd name="connsiteY544" fmla="*/ 879707 h 1771142"/>
                <a:gd name="connsiteX545" fmla="*/ 2919887 w 3060746"/>
                <a:gd name="connsiteY545" fmla="*/ 888029 h 1771142"/>
                <a:gd name="connsiteX546" fmla="*/ 2913717 w 3060746"/>
                <a:gd name="connsiteY546" fmla="*/ 884185 h 1771142"/>
                <a:gd name="connsiteX547" fmla="*/ 2927639 w 3060746"/>
                <a:gd name="connsiteY547" fmla="*/ 858683 h 1771142"/>
                <a:gd name="connsiteX548" fmla="*/ 2932551 w 3060746"/>
                <a:gd name="connsiteY548" fmla="*/ 845982 h 1771142"/>
                <a:gd name="connsiteX549" fmla="*/ 2909374 w 3060746"/>
                <a:gd name="connsiteY549" fmla="*/ 856009 h 1771142"/>
                <a:gd name="connsiteX550" fmla="*/ 2880352 w 3060746"/>
                <a:gd name="connsiteY550" fmla="*/ 893410 h 1771142"/>
                <a:gd name="connsiteX551" fmla="*/ 2864360 w 3060746"/>
                <a:gd name="connsiteY551" fmla="*/ 920517 h 1771142"/>
                <a:gd name="connsiteX552" fmla="*/ 2856729 w 3060746"/>
                <a:gd name="connsiteY552" fmla="*/ 932716 h 1771142"/>
                <a:gd name="connsiteX553" fmla="*/ 2852670 w 3060746"/>
                <a:gd name="connsiteY553" fmla="*/ 944080 h 1771142"/>
                <a:gd name="connsiteX554" fmla="*/ 2885791 w 3060746"/>
                <a:gd name="connsiteY554" fmla="*/ 946921 h 1771142"/>
                <a:gd name="connsiteX555" fmla="*/ 2926381 w 3060746"/>
                <a:gd name="connsiteY555" fmla="*/ 936894 h 1771142"/>
                <a:gd name="connsiteX556" fmla="*/ 2958609 w 3060746"/>
                <a:gd name="connsiteY556" fmla="*/ 923892 h 1771142"/>
                <a:gd name="connsiteX557" fmla="*/ 2974561 w 3060746"/>
                <a:gd name="connsiteY557" fmla="*/ 932750 h 1771142"/>
                <a:gd name="connsiteX558" fmla="*/ 2982922 w 3060746"/>
                <a:gd name="connsiteY558" fmla="*/ 935491 h 1771142"/>
                <a:gd name="connsiteX559" fmla="*/ 3016612 w 3060746"/>
                <a:gd name="connsiteY559" fmla="*/ 921185 h 1771142"/>
                <a:gd name="connsiteX560" fmla="*/ 3024162 w 3060746"/>
                <a:gd name="connsiteY560" fmla="*/ 928438 h 1771142"/>
                <a:gd name="connsiteX561" fmla="*/ 3048962 w 3060746"/>
                <a:gd name="connsiteY561" fmla="*/ 924795 h 1771142"/>
                <a:gd name="connsiteX562" fmla="*/ 3040357 w 3060746"/>
                <a:gd name="connsiteY562" fmla="*/ 906980 h 1771142"/>
                <a:gd name="connsiteX563" fmla="*/ 3040601 w 3060746"/>
                <a:gd name="connsiteY563" fmla="*/ 906947 h 1771142"/>
                <a:gd name="connsiteX564" fmla="*/ 543965 w 3060746"/>
                <a:gd name="connsiteY564" fmla="*/ 1751661 h 1771142"/>
                <a:gd name="connsiteX565" fmla="*/ 607366 w 3060746"/>
                <a:gd name="connsiteY565" fmla="*/ 1760117 h 1771142"/>
                <a:gd name="connsiteX566" fmla="*/ 592186 w 3060746"/>
                <a:gd name="connsiteY566" fmla="*/ 1747884 h 1771142"/>
                <a:gd name="connsiteX567" fmla="*/ 543965 w 3060746"/>
                <a:gd name="connsiteY567" fmla="*/ 1751661 h 1771142"/>
                <a:gd name="connsiteX568" fmla="*/ 543965 w 3060746"/>
                <a:gd name="connsiteY568" fmla="*/ 1751661 h 1771142"/>
                <a:gd name="connsiteX569" fmla="*/ 2829493 w 3060746"/>
                <a:gd name="connsiteY569" fmla="*/ 994015 h 1771142"/>
                <a:gd name="connsiteX570" fmla="*/ 2816626 w 3060746"/>
                <a:gd name="connsiteY570" fmla="*/ 984456 h 1771142"/>
                <a:gd name="connsiteX571" fmla="*/ 2794180 w 3060746"/>
                <a:gd name="connsiteY571" fmla="*/ 1006649 h 1771142"/>
                <a:gd name="connsiteX572" fmla="*/ 2792962 w 3060746"/>
                <a:gd name="connsiteY572" fmla="*/ 1014838 h 1771142"/>
                <a:gd name="connsiteX573" fmla="*/ 2779811 w 3060746"/>
                <a:gd name="connsiteY573" fmla="*/ 1020420 h 1771142"/>
                <a:gd name="connsiteX574" fmla="*/ 2734716 w 3060746"/>
                <a:gd name="connsiteY574" fmla="*/ 1030012 h 1771142"/>
                <a:gd name="connsiteX575" fmla="*/ 2703218 w 3060746"/>
                <a:gd name="connsiteY575" fmla="*/ 1026971 h 1771142"/>
                <a:gd name="connsiteX576" fmla="*/ 2672857 w 3060746"/>
                <a:gd name="connsiteY576" fmla="*/ 1015908 h 1771142"/>
                <a:gd name="connsiteX577" fmla="*/ 2677200 w 3060746"/>
                <a:gd name="connsiteY577" fmla="*/ 1001201 h 1771142"/>
                <a:gd name="connsiteX578" fmla="*/ 2659057 w 3060746"/>
                <a:gd name="connsiteY578" fmla="*/ 1006950 h 1771142"/>
                <a:gd name="connsiteX579" fmla="*/ 2646677 w 3060746"/>
                <a:gd name="connsiteY579" fmla="*/ 1009624 h 1771142"/>
                <a:gd name="connsiteX580" fmla="*/ 2662588 w 3060746"/>
                <a:gd name="connsiteY580" fmla="*/ 996756 h 1771142"/>
                <a:gd name="connsiteX581" fmla="*/ 2647895 w 3060746"/>
                <a:gd name="connsiteY581" fmla="*/ 973861 h 1771142"/>
                <a:gd name="connsiteX582" fmla="*/ 2554538 w 3060746"/>
                <a:gd name="connsiteY582" fmla="*/ 1016242 h 1771142"/>
                <a:gd name="connsiteX583" fmla="*/ 2496454 w 3060746"/>
                <a:gd name="connsiteY583" fmla="*/ 1069152 h 1771142"/>
                <a:gd name="connsiteX584" fmla="*/ 2495034 w 3060746"/>
                <a:gd name="connsiteY584" fmla="*/ 1063336 h 1771142"/>
                <a:gd name="connsiteX585" fmla="*/ 2507982 w 3060746"/>
                <a:gd name="connsiteY585" fmla="*/ 1051236 h 1771142"/>
                <a:gd name="connsiteX586" fmla="*/ 2511066 w 3060746"/>
                <a:gd name="connsiteY586" fmla="*/ 1038368 h 1771142"/>
                <a:gd name="connsiteX587" fmla="*/ 2519631 w 3060746"/>
                <a:gd name="connsiteY587" fmla="*/ 1035260 h 1771142"/>
                <a:gd name="connsiteX588" fmla="*/ 2528723 w 3060746"/>
                <a:gd name="connsiteY588" fmla="*/ 1026135 h 1771142"/>
                <a:gd name="connsiteX589" fmla="*/ 2549018 w 3060746"/>
                <a:gd name="connsiteY589" fmla="*/ 1003708 h 1771142"/>
                <a:gd name="connsiteX590" fmla="*/ 2579501 w 3060746"/>
                <a:gd name="connsiteY590" fmla="*/ 989236 h 1771142"/>
                <a:gd name="connsiteX591" fmla="*/ 2597442 w 3060746"/>
                <a:gd name="connsiteY591" fmla="*/ 967577 h 1771142"/>
                <a:gd name="connsiteX592" fmla="*/ 2639371 w 3060746"/>
                <a:gd name="connsiteY592" fmla="*/ 951768 h 1771142"/>
                <a:gd name="connsiteX593" fmla="*/ 2716735 w 3060746"/>
                <a:gd name="connsiteY593" fmla="*/ 929040 h 1771142"/>
                <a:gd name="connsiteX594" fmla="*/ 2831441 w 3060746"/>
                <a:gd name="connsiteY594" fmla="*/ 887160 h 1771142"/>
                <a:gd name="connsiteX595" fmla="*/ 2853888 w 3060746"/>
                <a:gd name="connsiteY595" fmla="*/ 867106 h 1771142"/>
                <a:gd name="connsiteX596" fmla="*/ 2898009 w 3060746"/>
                <a:gd name="connsiteY596" fmla="*/ 853970 h 1771142"/>
                <a:gd name="connsiteX597" fmla="*/ 2923215 w 3060746"/>
                <a:gd name="connsiteY597" fmla="*/ 834184 h 1771142"/>
                <a:gd name="connsiteX598" fmla="*/ 2902920 w 3060746"/>
                <a:gd name="connsiteY598" fmla="*/ 827298 h 1771142"/>
                <a:gd name="connsiteX599" fmla="*/ 2921104 w 3060746"/>
                <a:gd name="connsiteY599" fmla="*/ 815199 h 1771142"/>
                <a:gd name="connsiteX600" fmla="*/ 2914366 w 3060746"/>
                <a:gd name="connsiteY600" fmla="*/ 805606 h 1771142"/>
                <a:gd name="connsiteX601" fmla="*/ 2884898 w 3060746"/>
                <a:gd name="connsiteY601" fmla="*/ 803467 h 1771142"/>
                <a:gd name="connsiteX602" fmla="*/ 2863589 w 3060746"/>
                <a:gd name="connsiteY602" fmla="*/ 813494 h 1771142"/>
                <a:gd name="connsiteX603" fmla="*/ 2840777 w 3060746"/>
                <a:gd name="connsiteY603" fmla="*/ 804136 h 1771142"/>
                <a:gd name="connsiteX604" fmla="*/ 2779893 w 3060746"/>
                <a:gd name="connsiteY604" fmla="*/ 837559 h 1771142"/>
                <a:gd name="connsiteX605" fmla="*/ 2772343 w 3060746"/>
                <a:gd name="connsiteY605" fmla="*/ 831944 h 1771142"/>
                <a:gd name="connsiteX606" fmla="*/ 2794018 w 3060746"/>
                <a:gd name="connsiteY606" fmla="*/ 818575 h 1771142"/>
                <a:gd name="connsiteX607" fmla="*/ 2818372 w 3060746"/>
                <a:gd name="connsiteY607" fmla="*/ 808013 h 1771142"/>
                <a:gd name="connsiteX608" fmla="*/ 2851574 w 3060746"/>
                <a:gd name="connsiteY608" fmla="*/ 792170 h 1771142"/>
                <a:gd name="connsiteX609" fmla="*/ 2825150 w 3060746"/>
                <a:gd name="connsiteY609" fmla="*/ 790499 h 1771142"/>
                <a:gd name="connsiteX610" fmla="*/ 2798117 w 3060746"/>
                <a:gd name="connsiteY610" fmla="*/ 790700 h 1771142"/>
                <a:gd name="connsiteX611" fmla="*/ 2779081 w 3060746"/>
                <a:gd name="connsiteY611" fmla="*/ 794677 h 1771142"/>
                <a:gd name="connsiteX612" fmla="*/ 2754727 w 3060746"/>
                <a:gd name="connsiteY612" fmla="*/ 799490 h 1771142"/>
                <a:gd name="connsiteX613" fmla="*/ 2732484 w 3060746"/>
                <a:gd name="connsiteY613" fmla="*/ 790766 h 1771142"/>
                <a:gd name="connsiteX614" fmla="*/ 2698185 w 3060746"/>
                <a:gd name="connsiteY614" fmla="*/ 786722 h 1771142"/>
                <a:gd name="connsiteX615" fmla="*/ 2666485 w 3060746"/>
                <a:gd name="connsiteY615" fmla="*/ 786722 h 1771142"/>
                <a:gd name="connsiteX616" fmla="*/ 2691447 w 3060746"/>
                <a:gd name="connsiteY616" fmla="*/ 778868 h 1771142"/>
                <a:gd name="connsiteX617" fmla="*/ 2678783 w 3060746"/>
                <a:gd name="connsiteY617" fmla="*/ 756741 h 1771142"/>
                <a:gd name="connsiteX618" fmla="*/ 2655769 w 3060746"/>
                <a:gd name="connsiteY618" fmla="*/ 751828 h 1771142"/>
                <a:gd name="connsiteX619" fmla="*/ 2635474 w 3060746"/>
                <a:gd name="connsiteY619" fmla="*/ 742603 h 1771142"/>
                <a:gd name="connsiteX620" fmla="*/ 2595980 w 3060746"/>
                <a:gd name="connsiteY620" fmla="*/ 727061 h 1771142"/>
                <a:gd name="connsiteX621" fmla="*/ 2556324 w 3060746"/>
                <a:gd name="connsiteY621" fmla="*/ 717903 h 1771142"/>
                <a:gd name="connsiteX622" fmla="*/ 2544878 w 3060746"/>
                <a:gd name="connsiteY622" fmla="*/ 735918 h 1771142"/>
                <a:gd name="connsiteX623" fmla="*/ 2548206 w 3060746"/>
                <a:gd name="connsiteY623" fmla="*/ 745945 h 1771142"/>
                <a:gd name="connsiteX624" fmla="*/ 2541671 w 3060746"/>
                <a:gd name="connsiteY624" fmla="*/ 760217 h 1771142"/>
                <a:gd name="connsiteX625" fmla="*/ 2535096 w 3060746"/>
                <a:gd name="connsiteY625" fmla="*/ 770244 h 1771142"/>
                <a:gd name="connsiteX626" fmla="*/ 2513827 w 3060746"/>
                <a:gd name="connsiteY626" fmla="*/ 776495 h 1771142"/>
                <a:gd name="connsiteX627" fmla="*/ 2490122 w 3060746"/>
                <a:gd name="connsiteY627" fmla="*/ 793574 h 1771142"/>
                <a:gd name="connsiteX628" fmla="*/ 2468326 w 3060746"/>
                <a:gd name="connsiteY628" fmla="*/ 791502 h 1771142"/>
                <a:gd name="connsiteX629" fmla="*/ 2459964 w 3060746"/>
                <a:gd name="connsiteY629" fmla="*/ 794042 h 1771142"/>
                <a:gd name="connsiteX630" fmla="*/ 2447787 w 3060746"/>
                <a:gd name="connsiteY630" fmla="*/ 789764 h 1771142"/>
                <a:gd name="connsiteX631" fmla="*/ 2423433 w 3060746"/>
                <a:gd name="connsiteY631" fmla="*/ 789998 h 1771142"/>
                <a:gd name="connsiteX632" fmla="*/ 2404640 w 3060746"/>
                <a:gd name="connsiteY632" fmla="*/ 784616 h 1771142"/>
                <a:gd name="connsiteX633" fmla="*/ 2406751 w 3060746"/>
                <a:gd name="connsiteY633" fmla="*/ 777932 h 1771142"/>
                <a:gd name="connsiteX634" fmla="*/ 2397253 w 3060746"/>
                <a:gd name="connsiteY634" fmla="*/ 769743 h 1771142"/>
                <a:gd name="connsiteX635" fmla="*/ 2393194 w 3060746"/>
                <a:gd name="connsiteY635" fmla="*/ 758346 h 1771142"/>
                <a:gd name="connsiteX636" fmla="*/ 2398917 w 3060746"/>
                <a:gd name="connsiteY636" fmla="*/ 749054 h 1771142"/>
                <a:gd name="connsiteX637" fmla="*/ 2370504 w 3060746"/>
                <a:gd name="connsiteY637" fmla="*/ 754936 h 1771142"/>
                <a:gd name="connsiteX638" fmla="*/ 2338844 w 3060746"/>
                <a:gd name="connsiteY638" fmla="*/ 761387 h 1771142"/>
                <a:gd name="connsiteX639" fmla="*/ 2312988 w 3060746"/>
                <a:gd name="connsiteY639" fmla="*/ 757711 h 1771142"/>
                <a:gd name="connsiteX640" fmla="*/ 2300284 w 3060746"/>
                <a:gd name="connsiteY640" fmla="*/ 755972 h 1771142"/>
                <a:gd name="connsiteX641" fmla="*/ 2283764 w 3060746"/>
                <a:gd name="connsiteY641" fmla="*/ 756507 h 1771142"/>
                <a:gd name="connsiteX642" fmla="*/ 2276052 w 3060746"/>
                <a:gd name="connsiteY642" fmla="*/ 751728 h 1771142"/>
                <a:gd name="connsiteX643" fmla="*/ 2259004 w 3060746"/>
                <a:gd name="connsiteY643" fmla="*/ 753967 h 1771142"/>
                <a:gd name="connsiteX644" fmla="*/ 2218942 w 3060746"/>
                <a:gd name="connsiteY644" fmla="*/ 764195 h 1771142"/>
                <a:gd name="connsiteX645" fmla="*/ 2158869 w 3060746"/>
                <a:gd name="connsiteY645" fmla="*/ 780405 h 1771142"/>
                <a:gd name="connsiteX646" fmla="*/ 2098756 w 3060746"/>
                <a:gd name="connsiteY646" fmla="*/ 805606 h 1771142"/>
                <a:gd name="connsiteX647" fmla="*/ 2117224 w 3060746"/>
                <a:gd name="connsiteY647" fmla="*/ 814698 h 1771142"/>
                <a:gd name="connsiteX648" fmla="*/ 2120715 w 3060746"/>
                <a:gd name="connsiteY648" fmla="*/ 829471 h 1771142"/>
                <a:gd name="connsiteX649" fmla="*/ 2124368 w 3060746"/>
                <a:gd name="connsiteY649" fmla="*/ 839799 h 1771142"/>
                <a:gd name="connsiteX650" fmla="*/ 2149087 w 3060746"/>
                <a:gd name="connsiteY650" fmla="*/ 852500 h 1771142"/>
                <a:gd name="connsiteX651" fmla="*/ 2137641 w 3060746"/>
                <a:gd name="connsiteY651" fmla="*/ 866838 h 1771142"/>
                <a:gd name="connsiteX652" fmla="*/ 2136098 w 3060746"/>
                <a:gd name="connsiteY652" fmla="*/ 878403 h 1771142"/>
                <a:gd name="connsiteX653" fmla="*/ 2128873 w 3060746"/>
                <a:gd name="connsiteY653" fmla="*/ 895616 h 1771142"/>
                <a:gd name="connsiteX654" fmla="*/ 2162928 w 3060746"/>
                <a:gd name="connsiteY654" fmla="*/ 896686 h 1771142"/>
                <a:gd name="connsiteX655" fmla="*/ 2199459 w 3060746"/>
                <a:gd name="connsiteY655" fmla="*/ 905142 h 1771142"/>
                <a:gd name="connsiteX656" fmla="*/ 2194953 w 3060746"/>
                <a:gd name="connsiteY656" fmla="*/ 955845 h 1771142"/>
                <a:gd name="connsiteX657" fmla="*/ 2161345 w 3060746"/>
                <a:gd name="connsiteY657" fmla="*/ 983721 h 1771142"/>
                <a:gd name="connsiteX658" fmla="*/ 2136991 w 3060746"/>
                <a:gd name="connsiteY658" fmla="*/ 996422 h 1771142"/>
                <a:gd name="connsiteX659" fmla="*/ 2165404 w 3060746"/>
                <a:gd name="connsiteY659" fmla="*/ 1009190 h 1771142"/>
                <a:gd name="connsiteX660" fmla="*/ 2184887 w 3060746"/>
                <a:gd name="connsiteY660" fmla="*/ 1031249 h 1771142"/>
                <a:gd name="connsiteX661" fmla="*/ 2194548 w 3060746"/>
                <a:gd name="connsiteY661" fmla="*/ 1044953 h 1771142"/>
                <a:gd name="connsiteX662" fmla="*/ 2195968 w 3060746"/>
                <a:gd name="connsiteY662" fmla="*/ 1053676 h 1771142"/>
                <a:gd name="connsiteX663" fmla="*/ 2184887 w 3060746"/>
                <a:gd name="connsiteY663" fmla="*/ 1059693 h 1771142"/>
                <a:gd name="connsiteX664" fmla="*/ 2172710 w 3060746"/>
                <a:gd name="connsiteY664" fmla="*/ 1075335 h 1771142"/>
                <a:gd name="connsiteX665" fmla="*/ 2155703 w 3060746"/>
                <a:gd name="connsiteY665" fmla="*/ 1078209 h 1771142"/>
                <a:gd name="connsiteX666" fmla="*/ 2138493 w 3060746"/>
                <a:gd name="connsiteY666" fmla="*/ 1075669 h 1771142"/>
                <a:gd name="connsiteX667" fmla="*/ 2106508 w 3060746"/>
                <a:gd name="connsiteY667" fmla="*/ 1072327 h 1771142"/>
                <a:gd name="connsiteX668" fmla="*/ 2083129 w 3060746"/>
                <a:gd name="connsiteY668" fmla="*/ 1066143 h 1771142"/>
                <a:gd name="connsiteX669" fmla="*/ 2056948 w 3060746"/>
                <a:gd name="connsiteY669" fmla="*/ 1039404 h 1771142"/>
                <a:gd name="connsiteX670" fmla="*/ 2050576 w 3060746"/>
                <a:gd name="connsiteY670" fmla="*/ 1020821 h 1771142"/>
                <a:gd name="connsiteX671" fmla="*/ 2004141 w 3060746"/>
                <a:gd name="connsiteY671" fmla="*/ 1030313 h 1771142"/>
                <a:gd name="connsiteX672" fmla="*/ 1959492 w 3060746"/>
                <a:gd name="connsiteY672" fmla="*/ 1045254 h 1771142"/>
                <a:gd name="connsiteX673" fmla="*/ 1927426 w 3060746"/>
                <a:gd name="connsiteY673" fmla="*/ 1047092 h 1771142"/>
                <a:gd name="connsiteX674" fmla="*/ 1883589 w 3060746"/>
                <a:gd name="connsiteY674" fmla="*/ 1054378 h 1771142"/>
                <a:gd name="connsiteX675" fmla="*/ 1857977 w 3060746"/>
                <a:gd name="connsiteY675" fmla="*/ 1051972 h 1771142"/>
                <a:gd name="connsiteX676" fmla="*/ 1791897 w 3060746"/>
                <a:gd name="connsiteY676" fmla="*/ 1063403 h 1771142"/>
                <a:gd name="connsiteX677" fmla="*/ 1763484 w 3060746"/>
                <a:gd name="connsiteY677" fmla="*/ 1067480 h 1771142"/>
                <a:gd name="connsiteX678" fmla="*/ 1730160 w 3060746"/>
                <a:gd name="connsiteY678" fmla="*/ 1079479 h 1771142"/>
                <a:gd name="connsiteX679" fmla="*/ 1705522 w 3060746"/>
                <a:gd name="connsiteY679" fmla="*/ 1094921 h 1771142"/>
                <a:gd name="connsiteX680" fmla="*/ 1702681 w 3060746"/>
                <a:gd name="connsiteY680" fmla="*/ 1085395 h 1771142"/>
                <a:gd name="connsiteX681" fmla="*/ 1653973 w 3060746"/>
                <a:gd name="connsiteY681" fmla="*/ 1066478 h 1771142"/>
                <a:gd name="connsiteX682" fmla="*/ 1600719 w 3060746"/>
                <a:gd name="connsiteY682" fmla="*/ 1069820 h 1771142"/>
                <a:gd name="connsiteX683" fmla="*/ 1596214 w 3060746"/>
                <a:gd name="connsiteY683" fmla="*/ 1029411 h 1771142"/>
                <a:gd name="connsiteX684" fmla="*/ 1597837 w 3060746"/>
                <a:gd name="connsiteY684" fmla="*/ 1012900 h 1771142"/>
                <a:gd name="connsiteX685" fmla="*/ 1618822 w 3060746"/>
                <a:gd name="connsiteY685" fmla="*/ 992578 h 1771142"/>
                <a:gd name="connsiteX686" fmla="*/ 1626940 w 3060746"/>
                <a:gd name="connsiteY686" fmla="*/ 978172 h 1771142"/>
                <a:gd name="connsiteX687" fmla="*/ 1630512 w 3060746"/>
                <a:gd name="connsiteY687" fmla="*/ 969315 h 1771142"/>
                <a:gd name="connsiteX688" fmla="*/ 1638630 w 3060746"/>
                <a:gd name="connsiteY688" fmla="*/ 962263 h 1771142"/>
                <a:gd name="connsiteX689" fmla="*/ 1631405 w 3060746"/>
                <a:gd name="connsiteY689" fmla="*/ 959422 h 1771142"/>
                <a:gd name="connsiteX690" fmla="*/ 1647885 w 3060746"/>
                <a:gd name="connsiteY690" fmla="*/ 951200 h 1771142"/>
                <a:gd name="connsiteX691" fmla="*/ 1679423 w 3060746"/>
                <a:gd name="connsiteY691" fmla="*/ 932014 h 1771142"/>
                <a:gd name="connsiteX692" fmla="*/ 1629254 w 3060746"/>
                <a:gd name="connsiteY692" fmla="*/ 936760 h 1771142"/>
                <a:gd name="connsiteX693" fmla="*/ 1579937 w 3060746"/>
                <a:gd name="connsiteY693" fmla="*/ 944615 h 1771142"/>
                <a:gd name="connsiteX694" fmla="*/ 1574742 w 3060746"/>
                <a:gd name="connsiteY694" fmla="*/ 942409 h 1771142"/>
                <a:gd name="connsiteX695" fmla="*/ 1616184 w 3060746"/>
                <a:gd name="connsiteY695" fmla="*/ 929541 h 1771142"/>
                <a:gd name="connsiteX696" fmla="*/ 1691519 w 3060746"/>
                <a:gd name="connsiteY696" fmla="*/ 907949 h 1771142"/>
                <a:gd name="connsiteX697" fmla="*/ 1687135 w 3060746"/>
                <a:gd name="connsiteY697" fmla="*/ 894145 h 1771142"/>
                <a:gd name="connsiteX698" fmla="*/ 1724640 w 3060746"/>
                <a:gd name="connsiteY698" fmla="*/ 884319 h 1771142"/>
                <a:gd name="connsiteX699" fmla="*/ 1770222 w 3060746"/>
                <a:gd name="connsiteY699" fmla="*/ 839866 h 1771142"/>
                <a:gd name="connsiteX700" fmla="*/ 1700042 w 3060746"/>
                <a:gd name="connsiteY700" fmla="*/ 852767 h 1771142"/>
                <a:gd name="connsiteX701" fmla="*/ 1666637 w 3060746"/>
                <a:gd name="connsiteY701" fmla="*/ 850093 h 1771142"/>
                <a:gd name="connsiteX702" fmla="*/ 1700083 w 3060746"/>
                <a:gd name="connsiteY702" fmla="*/ 840868 h 1771142"/>
                <a:gd name="connsiteX703" fmla="*/ 1771927 w 3060746"/>
                <a:gd name="connsiteY703" fmla="*/ 819043 h 1771142"/>
                <a:gd name="connsiteX704" fmla="*/ 1792222 w 3060746"/>
                <a:gd name="connsiteY704" fmla="*/ 797418 h 1771142"/>
                <a:gd name="connsiteX705" fmla="*/ 1766447 w 3060746"/>
                <a:gd name="connsiteY705" fmla="*/ 798120 h 1771142"/>
                <a:gd name="connsiteX706" fmla="*/ 1788975 w 3060746"/>
                <a:gd name="connsiteY706" fmla="*/ 783614 h 1771142"/>
                <a:gd name="connsiteX707" fmla="*/ 1829077 w 3060746"/>
                <a:gd name="connsiteY707" fmla="*/ 777765 h 1771142"/>
                <a:gd name="connsiteX708" fmla="*/ 1846369 w 3060746"/>
                <a:gd name="connsiteY708" fmla="*/ 764195 h 1771142"/>
                <a:gd name="connsiteX709" fmla="*/ 1815723 w 3060746"/>
                <a:gd name="connsiteY709" fmla="*/ 761220 h 1771142"/>
                <a:gd name="connsiteX710" fmla="*/ 1843487 w 3060746"/>
                <a:gd name="connsiteY710" fmla="*/ 758346 h 1771142"/>
                <a:gd name="connsiteX711" fmla="*/ 1877420 w 3060746"/>
                <a:gd name="connsiteY711" fmla="*/ 753399 h 1771142"/>
                <a:gd name="connsiteX712" fmla="*/ 1907497 w 3060746"/>
                <a:gd name="connsiteY712" fmla="*/ 728398 h 1771142"/>
                <a:gd name="connsiteX713" fmla="*/ 1924504 w 3060746"/>
                <a:gd name="connsiteY713" fmla="*/ 710884 h 1771142"/>
                <a:gd name="connsiteX714" fmla="*/ 1889921 w 3060746"/>
                <a:gd name="connsiteY714" fmla="*/ 700222 h 1771142"/>
                <a:gd name="connsiteX715" fmla="*/ 1879124 w 3060746"/>
                <a:gd name="connsiteY715" fmla="*/ 690195 h 1771142"/>
                <a:gd name="connsiteX716" fmla="*/ 1909445 w 3060746"/>
                <a:gd name="connsiteY716" fmla="*/ 671110 h 1771142"/>
                <a:gd name="connsiteX717" fmla="*/ 1893209 w 3060746"/>
                <a:gd name="connsiteY717" fmla="*/ 669071 h 1771142"/>
                <a:gd name="connsiteX718" fmla="*/ 1897715 w 3060746"/>
                <a:gd name="connsiteY718" fmla="*/ 660448 h 1771142"/>
                <a:gd name="connsiteX719" fmla="*/ 1873361 w 3060746"/>
                <a:gd name="connsiteY719" fmla="*/ 665963 h 1771142"/>
                <a:gd name="connsiteX720" fmla="*/ 1839509 w 3060746"/>
                <a:gd name="connsiteY720" fmla="*/ 664726 h 1771142"/>
                <a:gd name="connsiteX721" fmla="*/ 1758330 w 3060746"/>
                <a:gd name="connsiteY721" fmla="*/ 689292 h 1771142"/>
                <a:gd name="connsiteX722" fmla="*/ 1761820 w 3060746"/>
                <a:gd name="connsiteY722" fmla="*/ 702896 h 1771142"/>
                <a:gd name="connsiteX723" fmla="*/ 1783576 w 3060746"/>
                <a:gd name="connsiteY723" fmla="*/ 707007 h 1771142"/>
                <a:gd name="connsiteX724" fmla="*/ 1777325 w 3060746"/>
                <a:gd name="connsiteY724" fmla="*/ 717234 h 1771142"/>
                <a:gd name="connsiteX725" fmla="*/ 1765149 w 3060746"/>
                <a:gd name="connsiteY725" fmla="*/ 735116 h 1771142"/>
                <a:gd name="connsiteX726" fmla="*/ 1752972 w 3060746"/>
                <a:gd name="connsiteY726" fmla="*/ 753934 h 1771142"/>
                <a:gd name="connsiteX727" fmla="*/ 1736736 w 3060746"/>
                <a:gd name="connsiteY727" fmla="*/ 747817 h 1771142"/>
                <a:gd name="connsiteX728" fmla="*/ 1757031 w 3060746"/>
                <a:gd name="connsiteY728" fmla="*/ 768707 h 1771142"/>
                <a:gd name="connsiteX729" fmla="*/ 1745138 w 3060746"/>
                <a:gd name="connsiteY729" fmla="*/ 775592 h 1771142"/>
                <a:gd name="connsiteX730" fmla="*/ 1735315 w 3060746"/>
                <a:gd name="connsiteY730" fmla="*/ 785887 h 1771142"/>
                <a:gd name="connsiteX731" fmla="*/ 1699921 w 3060746"/>
                <a:gd name="connsiteY731" fmla="*/ 781241 h 1771142"/>
                <a:gd name="connsiteX732" fmla="*/ 1689733 w 3060746"/>
                <a:gd name="connsiteY732" fmla="*/ 765331 h 1771142"/>
                <a:gd name="connsiteX733" fmla="*/ 1685308 w 3060746"/>
                <a:gd name="connsiteY733" fmla="*/ 750190 h 1771142"/>
                <a:gd name="connsiteX734" fmla="*/ 1643866 w 3060746"/>
                <a:gd name="connsiteY734" fmla="*/ 750424 h 1771142"/>
                <a:gd name="connsiteX735" fmla="*/ 1625520 w 3060746"/>
                <a:gd name="connsiteY735" fmla="*/ 770478 h 1771142"/>
                <a:gd name="connsiteX736" fmla="*/ 1603642 w 3060746"/>
                <a:gd name="connsiteY736" fmla="*/ 785753 h 1771142"/>
                <a:gd name="connsiteX737" fmla="*/ 1588096 w 3060746"/>
                <a:gd name="connsiteY737" fmla="*/ 777397 h 1771142"/>
                <a:gd name="connsiteX738" fmla="*/ 1602262 w 3060746"/>
                <a:gd name="connsiteY738" fmla="*/ 759148 h 1771142"/>
                <a:gd name="connsiteX739" fmla="*/ 1561672 w 3060746"/>
                <a:gd name="connsiteY739" fmla="*/ 766601 h 1771142"/>
                <a:gd name="connsiteX740" fmla="*/ 1533706 w 3060746"/>
                <a:gd name="connsiteY740" fmla="*/ 778767 h 1771142"/>
                <a:gd name="connsiteX741" fmla="*/ 1535492 w 3060746"/>
                <a:gd name="connsiteY741" fmla="*/ 762624 h 1771142"/>
                <a:gd name="connsiteX742" fmla="*/ 1538252 w 3060746"/>
                <a:gd name="connsiteY742" fmla="*/ 753466 h 1771142"/>
                <a:gd name="connsiteX743" fmla="*/ 1515806 w 3060746"/>
                <a:gd name="connsiteY743" fmla="*/ 751694 h 1771142"/>
                <a:gd name="connsiteX744" fmla="*/ 1485485 w 3060746"/>
                <a:gd name="connsiteY744" fmla="*/ 756307 h 1771142"/>
                <a:gd name="connsiteX745" fmla="*/ 1479437 w 3060746"/>
                <a:gd name="connsiteY745" fmla="*/ 742068 h 1771142"/>
                <a:gd name="connsiteX746" fmla="*/ 1440471 w 3060746"/>
                <a:gd name="connsiteY746" fmla="*/ 743205 h 1771142"/>
                <a:gd name="connsiteX747" fmla="*/ 1417091 w 3060746"/>
                <a:gd name="connsiteY747" fmla="*/ 745644 h 1771142"/>
                <a:gd name="connsiteX748" fmla="*/ 1434058 w 3060746"/>
                <a:gd name="connsiteY748" fmla="*/ 730571 h 1771142"/>
                <a:gd name="connsiteX749" fmla="*/ 1438117 w 3060746"/>
                <a:gd name="connsiteY749" fmla="*/ 712622 h 1771142"/>
                <a:gd name="connsiteX750" fmla="*/ 1451146 w 3060746"/>
                <a:gd name="connsiteY750" fmla="*/ 702194 h 1771142"/>
                <a:gd name="connsiteX751" fmla="*/ 1503913 w 3060746"/>
                <a:gd name="connsiteY751" fmla="*/ 667834 h 1771142"/>
                <a:gd name="connsiteX752" fmla="*/ 1499854 w 3060746"/>
                <a:gd name="connsiteY752" fmla="*/ 638288 h 1771142"/>
                <a:gd name="connsiteX753" fmla="*/ 1451471 w 3060746"/>
                <a:gd name="connsiteY753" fmla="*/ 655000 h 1771142"/>
                <a:gd name="connsiteX754" fmla="*/ 1410069 w 3060746"/>
                <a:gd name="connsiteY754" fmla="*/ 667266 h 1771142"/>
                <a:gd name="connsiteX755" fmla="*/ 1367572 w 3060746"/>
                <a:gd name="connsiteY755" fmla="*/ 687855 h 1771142"/>
                <a:gd name="connsiteX756" fmla="*/ 1369885 w 3060746"/>
                <a:gd name="connsiteY756" fmla="*/ 698785 h 1771142"/>
                <a:gd name="connsiteX757" fmla="*/ 1349591 w 3060746"/>
                <a:gd name="connsiteY757" fmla="*/ 708177 h 1771142"/>
                <a:gd name="connsiteX758" fmla="*/ 1357709 w 3060746"/>
                <a:gd name="connsiteY758" fmla="*/ 721011 h 1771142"/>
                <a:gd name="connsiteX759" fmla="*/ 1374797 w 3060746"/>
                <a:gd name="connsiteY759" fmla="*/ 736921 h 1771142"/>
                <a:gd name="connsiteX760" fmla="*/ 1399151 w 3060746"/>
                <a:gd name="connsiteY760" fmla="*/ 752898 h 1771142"/>
                <a:gd name="connsiteX761" fmla="*/ 1384011 w 3060746"/>
                <a:gd name="connsiteY761" fmla="*/ 770044 h 1771142"/>
                <a:gd name="connsiteX762" fmla="*/ 1399719 w 3060746"/>
                <a:gd name="connsiteY762" fmla="*/ 775024 h 1771142"/>
                <a:gd name="connsiteX763" fmla="*/ 1371996 w 3060746"/>
                <a:gd name="connsiteY763" fmla="*/ 784717 h 1771142"/>
                <a:gd name="connsiteX764" fmla="*/ 1375528 w 3060746"/>
                <a:gd name="connsiteY764" fmla="*/ 803969 h 1771142"/>
                <a:gd name="connsiteX765" fmla="*/ 1382387 w 3060746"/>
                <a:gd name="connsiteY765" fmla="*/ 816703 h 1771142"/>
                <a:gd name="connsiteX766" fmla="*/ 1413925 w 3060746"/>
                <a:gd name="connsiteY766" fmla="*/ 823388 h 1771142"/>
                <a:gd name="connsiteX767" fmla="*/ 1463810 w 3060746"/>
                <a:gd name="connsiteY767" fmla="*/ 810520 h 1771142"/>
                <a:gd name="connsiteX768" fmla="*/ 1472375 w 3060746"/>
                <a:gd name="connsiteY768" fmla="*/ 816135 h 1771142"/>
                <a:gd name="connsiteX769" fmla="*/ 1477651 w 3060746"/>
                <a:gd name="connsiteY769" fmla="*/ 822385 h 1771142"/>
                <a:gd name="connsiteX770" fmla="*/ 1471603 w 3060746"/>
                <a:gd name="connsiteY770" fmla="*/ 831543 h 1771142"/>
                <a:gd name="connsiteX771" fmla="*/ 1484511 w 3060746"/>
                <a:gd name="connsiteY771" fmla="*/ 822151 h 1771142"/>
                <a:gd name="connsiteX772" fmla="*/ 1503953 w 3060746"/>
                <a:gd name="connsiteY772" fmla="*/ 824858 h 1771142"/>
                <a:gd name="connsiteX773" fmla="*/ 1496282 w 3060746"/>
                <a:gd name="connsiteY773" fmla="*/ 834150 h 1771142"/>
                <a:gd name="connsiteX774" fmla="*/ 1479031 w 3060746"/>
                <a:gd name="connsiteY774" fmla="*/ 852867 h 1771142"/>
                <a:gd name="connsiteX775" fmla="*/ 1453703 w 3060746"/>
                <a:gd name="connsiteY775" fmla="*/ 868476 h 1771142"/>
                <a:gd name="connsiteX776" fmla="*/ 1472375 w 3060746"/>
                <a:gd name="connsiteY776" fmla="*/ 880709 h 1771142"/>
                <a:gd name="connsiteX777" fmla="*/ 1439497 w 3060746"/>
                <a:gd name="connsiteY777" fmla="*/ 892174 h 1771142"/>
                <a:gd name="connsiteX778" fmla="*/ 1432881 w 3060746"/>
                <a:gd name="connsiteY778" fmla="*/ 870782 h 1771142"/>
                <a:gd name="connsiteX779" fmla="*/ 1403413 w 3060746"/>
                <a:gd name="connsiteY779" fmla="*/ 879105 h 1771142"/>
                <a:gd name="connsiteX780" fmla="*/ 1386730 w 3060746"/>
                <a:gd name="connsiteY780" fmla="*/ 876999 h 1771142"/>
                <a:gd name="connsiteX781" fmla="*/ 1418187 w 3060746"/>
                <a:gd name="connsiteY781" fmla="*/ 863128 h 1771142"/>
                <a:gd name="connsiteX782" fmla="*/ 1446600 w 3060746"/>
                <a:gd name="connsiteY782" fmla="*/ 848054 h 1771142"/>
                <a:gd name="connsiteX783" fmla="*/ 1453216 w 3060746"/>
                <a:gd name="connsiteY783" fmla="*/ 830674 h 1771142"/>
                <a:gd name="connsiteX784" fmla="*/ 1420744 w 3060746"/>
                <a:gd name="connsiteY784" fmla="*/ 840935 h 1771142"/>
                <a:gd name="connsiteX785" fmla="*/ 1414859 w 3060746"/>
                <a:gd name="connsiteY785" fmla="*/ 836690 h 1771142"/>
                <a:gd name="connsiteX786" fmla="*/ 1417457 w 3060746"/>
                <a:gd name="connsiteY786" fmla="*/ 828903 h 1771142"/>
                <a:gd name="connsiteX787" fmla="*/ 1370819 w 3060746"/>
                <a:gd name="connsiteY787" fmla="*/ 843743 h 1771142"/>
                <a:gd name="connsiteX788" fmla="*/ 1340214 w 3060746"/>
                <a:gd name="connsiteY788" fmla="*/ 851330 h 1771142"/>
                <a:gd name="connsiteX789" fmla="*/ 1331569 w 3060746"/>
                <a:gd name="connsiteY789" fmla="*/ 874726 h 1771142"/>
                <a:gd name="connsiteX790" fmla="*/ 1308757 w 3060746"/>
                <a:gd name="connsiteY790" fmla="*/ 890669 h 1771142"/>
                <a:gd name="connsiteX791" fmla="*/ 1351174 w 3060746"/>
                <a:gd name="connsiteY791" fmla="*/ 880642 h 1771142"/>
                <a:gd name="connsiteX792" fmla="*/ 1372686 w 3060746"/>
                <a:gd name="connsiteY792" fmla="*/ 881912 h 1771142"/>
                <a:gd name="connsiteX793" fmla="*/ 1366841 w 3060746"/>
                <a:gd name="connsiteY793" fmla="*/ 888965 h 1771142"/>
                <a:gd name="connsiteX794" fmla="*/ 1352351 w 3060746"/>
                <a:gd name="connsiteY794" fmla="*/ 894379 h 1771142"/>
                <a:gd name="connsiteX795" fmla="*/ 1349793 w 3060746"/>
                <a:gd name="connsiteY795" fmla="*/ 901733 h 1771142"/>
                <a:gd name="connsiteX796" fmla="*/ 1353852 w 3060746"/>
                <a:gd name="connsiteY796" fmla="*/ 912395 h 1771142"/>
                <a:gd name="connsiteX797" fmla="*/ 1317322 w 3060746"/>
                <a:gd name="connsiteY797" fmla="*/ 927268 h 1771142"/>
                <a:gd name="connsiteX798" fmla="*/ 1270684 w 3060746"/>
                <a:gd name="connsiteY798" fmla="*/ 951266 h 1771142"/>
                <a:gd name="connsiteX799" fmla="*/ 1173269 w 3060746"/>
                <a:gd name="connsiteY799" fmla="*/ 983320 h 1771142"/>
                <a:gd name="connsiteX800" fmla="*/ 1140797 w 3060746"/>
                <a:gd name="connsiteY800" fmla="*/ 989403 h 1771142"/>
                <a:gd name="connsiteX801" fmla="*/ 1118513 w 3060746"/>
                <a:gd name="connsiteY801" fmla="*/ 986562 h 1771142"/>
                <a:gd name="connsiteX802" fmla="*/ 1054584 w 3060746"/>
                <a:gd name="connsiteY802" fmla="*/ 1017445 h 1771142"/>
                <a:gd name="connsiteX803" fmla="*/ 1025238 w 3060746"/>
                <a:gd name="connsiteY803" fmla="*/ 1040842 h 1771142"/>
                <a:gd name="connsiteX804" fmla="*/ 1043584 w 3060746"/>
                <a:gd name="connsiteY804" fmla="*/ 1040541 h 1771142"/>
                <a:gd name="connsiteX805" fmla="*/ 1062499 w 3060746"/>
                <a:gd name="connsiteY805" fmla="*/ 1025400 h 1771142"/>
                <a:gd name="connsiteX806" fmla="*/ 1100491 w 3060746"/>
                <a:gd name="connsiteY806" fmla="*/ 999931 h 1771142"/>
                <a:gd name="connsiteX807" fmla="*/ 1105849 w 3060746"/>
                <a:gd name="connsiteY807" fmla="*/ 1004577 h 1771142"/>
                <a:gd name="connsiteX808" fmla="*/ 1075001 w 3060746"/>
                <a:gd name="connsiteY808" fmla="*/ 1027974 h 1771142"/>
                <a:gd name="connsiteX809" fmla="*/ 1092008 w 3060746"/>
                <a:gd name="connsiteY809" fmla="*/ 1055448 h 1771142"/>
                <a:gd name="connsiteX810" fmla="*/ 1072971 w 3060746"/>
                <a:gd name="connsiteY810" fmla="*/ 1074399 h 1771142"/>
                <a:gd name="connsiteX811" fmla="*/ 1060226 w 3060746"/>
                <a:gd name="connsiteY811" fmla="*/ 1072861 h 1771142"/>
                <a:gd name="connsiteX812" fmla="*/ 1034452 w 3060746"/>
                <a:gd name="connsiteY812" fmla="*/ 1066177 h 1771142"/>
                <a:gd name="connsiteX813" fmla="*/ 1027470 w 3060746"/>
                <a:gd name="connsiteY813" fmla="*/ 1064305 h 1771142"/>
                <a:gd name="connsiteX814" fmla="*/ 1013101 w 3060746"/>
                <a:gd name="connsiteY814" fmla="*/ 1070689 h 1771142"/>
                <a:gd name="connsiteX815" fmla="*/ 975921 w 3060746"/>
                <a:gd name="connsiteY815" fmla="*/ 1082253 h 1771142"/>
                <a:gd name="connsiteX816" fmla="*/ 887679 w 3060746"/>
                <a:gd name="connsiteY816" fmla="*/ 1132990 h 1771142"/>
                <a:gd name="connsiteX817" fmla="*/ 823994 w 3060746"/>
                <a:gd name="connsiteY817" fmla="*/ 1155284 h 1771142"/>
                <a:gd name="connsiteX818" fmla="*/ 842300 w 3060746"/>
                <a:gd name="connsiteY818" fmla="*/ 1135430 h 1771142"/>
                <a:gd name="connsiteX819" fmla="*/ 850986 w 3060746"/>
                <a:gd name="connsiteY819" fmla="*/ 1122830 h 1771142"/>
                <a:gd name="connsiteX820" fmla="*/ 805363 w 3060746"/>
                <a:gd name="connsiteY820" fmla="*/ 1130150 h 1771142"/>
                <a:gd name="connsiteX821" fmla="*/ 779507 w 3060746"/>
                <a:gd name="connsiteY821" fmla="*/ 1142884 h 1771142"/>
                <a:gd name="connsiteX822" fmla="*/ 698044 w 3060746"/>
                <a:gd name="connsiteY822" fmla="*/ 1175004 h 1771142"/>
                <a:gd name="connsiteX823" fmla="*/ 659727 w 3060746"/>
                <a:gd name="connsiteY823" fmla="*/ 1190813 h 1771142"/>
                <a:gd name="connsiteX824" fmla="*/ 607894 w 3060746"/>
                <a:gd name="connsiteY824" fmla="*/ 1204550 h 1771142"/>
                <a:gd name="connsiteX825" fmla="*/ 543681 w 3060746"/>
                <a:gd name="connsiteY825" fmla="*/ 1246798 h 1771142"/>
                <a:gd name="connsiteX826" fmla="*/ 510113 w 3060746"/>
                <a:gd name="connsiteY826" fmla="*/ 1269526 h 1771142"/>
                <a:gd name="connsiteX827" fmla="*/ 509910 w 3060746"/>
                <a:gd name="connsiteY827" fmla="*/ 1258061 h 1771142"/>
                <a:gd name="connsiteX828" fmla="*/ 494039 w 3060746"/>
                <a:gd name="connsiteY828" fmla="*/ 1251043 h 1771142"/>
                <a:gd name="connsiteX829" fmla="*/ 481132 w 3060746"/>
                <a:gd name="connsiteY829" fmla="*/ 1268256 h 1771142"/>
                <a:gd name="connsiteX830" fmla="*/ 372554 w 3060746"/>
                <a:gd name="connsiteY830" fmla="*/ 1300008 h 1771142"/>
                <a:gd name="connsiteX831" fmla="*/ 385868 w 3060746"/>
                <a:gd name="connsiteY831" fmla="*/ 1307595 h 1771142"/>
                <a:gd name="connsiteX832" fmla="*/ 373691 w 3060746"/>
                <a:gd name="connsiteY832" fmla="*/ 1318759 h 1771142"/>
                <a:gd name="connsiteX833" fmla="*/ 366872 w 3060746"/>
                <a:gd name="connsiteY833" fmla="*/ 1338211 h 1771142"/>
                <a:gd name="connsiteX834" fmla="*/ 346009 w 3060746"/>
                <a:gd name="connsiteY834" fmla="*/ 1345331 h 1771142"/>
                <a:gd name="connsiteX835" fmla="*/ 312076 w 3060746"/>
                <a:gd name="connsiteY835" fmla="*/ 1382732 h 1771142"/>
                <a:gd name="connsiteX836" fmla="*/ 303633 w 3060746"/>
                <a:gd name="connsiteY836" fmla="*/ 1383868 h 1771142"/>
                <a:gd name="connsiteX837" fmla="*/ 286951 w 3060746"/>
                <a:gd name="connsiteY837" fmla="*/ 1398641 h 1771142"/>
                <a:gd name="connsiteX838" fmla="*/ 272014 w 3060746"/>
                <a:gd name="connsiteY838" fmla="*/ 1424210 h 1771142"/>
                <a:gd name="connsiteX839" fmla="*/ 256305 w 3060746"/>
                <a:gd name="connsiteY839" fmla="*/ 1428087 h 1771142"/>
                <a:gd name="connsiteX840" fmla="*/ 292349 w 3060746"/>
                <a:gd name="connsiteY840" fmla="*/ 1385773 h 1771142"/>
                <a:gd name="connsiteX841" fmla="*/ 335212 w 3060746"/>
                <a:gd name="connsiteY841" fmla="*/ 1347904 h 1771142"/>
                <a:gd name="connsiteX842" fmla="*/ 307043 w 3060746"/>
                <a:gd name="connsiteY842" fmla="*/ 1356628 h 1771142"/>
                <a:gd name="connsiteX843" fmla="*/ 251800 w 3060746"/>
                <a:gd name="connsiteY843" fmla="*/ 1406228 h 1771142"/>
                <a:gd name="connsiteX844" fmla="*/ 237025 w 3060746"/>
                <a:gd name="connsiteY844" fmla="*/ 1424578 h 1771142"/>
                <a:gd name="connsiteX845" fmla="*/ 223103 w 3060746"/>
                <a:gd name="connsiteY845" fmla="*/ 1436477 h 1771142"/>
                <a:gd name="connsiteX846" fmla="*/ 215472 w 3060746"/>
                <a:gd name="connsiteY846" fmla="*/ 1433134 h 1771142"/>
                <a:gd name="connsiteX847" fmla="*/ 191118 w 3060746"/>
                <a:gd name="connsiteY847" fmla="*/ 1453188 h 1771142"/>
                <a:gd name="connsiteX848" fmla="*/ 165384 w 3060746"/>
                <a:gd name="connsiteY848" fmla="*/ 1474078 h 1771142"/>
                <a:gd name="connsiteX849" fmla="*/ 185679 w 3060746"/>
                <a:gd name="connsiteY849" fmla="*/ 1477420 h 1771142"/>
                <a:gd name="connsiteX850" fmla="*/ 153938 w 3060746"/>
                <a:gd name="connsiteY850" fmla="*/ 1494801 h 1771142"/>
                <a:gd name="connsiteX851" fmla="*/ 93987 w 3060746"/>
                <a:gd name="connsiteY851" fmla="*/ 1522977 h 1771142"/>
                <a:gd name="connsiteX852" fmla="*/ 54899 w 3060746"/>
                <a:gd name="connsiteY852" fmla="*/ 1531567 h 1771142"/>
                <a:gd name="connsiteX853" fmla="*/ -60 w 3060746"/>
                <a:gd name="connsiteY853" fmla="*/ 1564456 h 1771142"/>
                <a:gd name="connsiteX854" fmla="*/ 172609 w 3060746"/>
                <a:gd name="connsiteY854" fmla="*/ 1746514 h 1771142"/>
                <a:gd name="connsiteX855" fmla="*/ 195218 w 3060746"/>
                <a:gd name="connsiteY855" fmla="*/ 1770345 h 1771142"/>
                <a:gd name="connsiteX856" fmla="*/ 241246 w 3060746"/>
                <a:gd name="connsiteY856" fmla="*/ 1738325 h 1771142"/>
                <a:gd name="connsiteX857" fmla="*/ 263855 w 3060746"/>
                <a:gd name="connsiteY857" fmla="*/ 1738526 h 1771142"/>
                <a:gd name="connsiteX858" fmla="*/ 309924 w 3060746"/>
                <a:gd name="connsiteY858" fmla="*/ 1733479 h 1771142"/>
                <a:gd name="connsiteX859" fmla="*/ 339271 w 3060746"/>
                <a:gd name="connsiteY859" fmla="*/ 1717201 h 1771142"/>
                <a:gd name="connsiteX860" fmla="*/ 348931 w 3060746"/>
                <a:gd name="connsiteY860" fmla="*/ 1696646 h 1771142"/>
                <a:gd name="connsiteX861" fmla="*/ 373650 w 3060746"/>
                <a:gd name="connsiteY861" fmla="*/ 1679332 h 1771142"/>
                <a:gd name="connsiteX862" fmla="*/ 394595 w 3060746"/>
                <a:gd name="connsiteY862" fmla="*/ 1679332 h 1771142"/>
                <a:gd name="connsiteX863" fmla="*/ 465789 w 3060746"/>
                <a:gd name="connsiteY863" fmla="*/ 1672882 h 1771142"/>
                <a:gd name="connsiteX864" fmla="*/ 532356 w 3060746"/>
                <a:gd name="connsiteY864" fmla="*/ 1679566 h 1771142"/>
                <a:gd name="connsiteX865" fmla="*/ 594986 w 3060746"/>
                <a:gd name="connsiteY865" fmla="*/ 1667901 h 1771142"/>
                <a:gd name="connsiteX866" fmla="*/ 607853 w 3060746"/>
                <a:gd name="connsiteY866" fmla="*/ 1674954 h 1771142"/>
                <a:gd name="connsiteX867" fmla="*/ 598802 w 3060746"/>
                <a:gd name="connsiteY867" fmla="*/ 1699387 h 1771142"/>
                <a:gd name="connsiteX868" fmla="*/ 617514 w 3060746"/>
                <a:gd name="connsiteY868" fmla="*/ 1703230 h 1771142"/>
                <a:gd name="connsiteX869" fmla="*/ 621248 w 3060746"/>
                <a:gd name="connsiteY869" fmla="*/ 1713257 h 1771142"/>
                <a:gd name="connsiteX870" fmla="*/ 652502 w 3060746"/>
                <a:gd name="connsiteY870" fmla="*/ 1702395 h 1771142"/>
                <a:gd name="connsiteX871" fmla="*/ 669712 w 3060746"/>
                <a:gd name="connsiteY871" fmla="*/ 1711386 h 1771142"/>
                <a:gd name="connsiteX872" fmla="*/ 692118 w 3060746"/>
                <a:gd name="connsiteY872" fmla="*/ 1699888 h 1771142"/>
                <a:gd name="connsiteX873" fmla="*/ 720530 w 3060746"/>
                <a:gd name="connsiteY873" fmla="*/ 1698351 h 1771142"/>
                <a:gd name="connsiteX874" fmla="*/ 716877 w 3060746"/>
                <a:gd name="connsiteY874" fmla="*/ 1713124 h 1771142"/>
                <a:gd name="connsiteX875" fmla="*/ 728364 w 3060746"/>
                <a:gd name="connsiteY875" fmla="*/ 1711352 h 1771142"/>
                <a:gd name="connsiteX876" fmla="*/ 738512 w 3060746"/>
                <a:gd name="connsiteY876" fmla="*/ 1717135 h 1771142"/>
                <a:gd name="connsiteX877" fmla="*/ 770983 w 3060746"/>
                <a:gd name="connsiteY877" fmla="*/ 1705135 h 1771142"/>
                <a:gd name="connsiteX878" fmla="*/ 806865 w 3060746"/>
                <a:gd name="connsiteY878" fmla="*/ 1698752 h 1771142"/>
                <a:gd name="connsiteX879" fmla="*/ 833492 w 3060746"/>
                <a:gd name="connsiteY879" fmla="*/ 1688725 h 1771142"/>
                <a:gd name="connsiteX880" fmla="*/ 863366 w 3060746"/>
                <a:gd name="connsiteY880" fmla="*/ 1682574 h 1771142"/>
                <a:gd name="connsiteX881" fmla="*/ 892225 w 3060746"/>
                <a:gd name="connsiteY881" fmla="*/ 1673784 h 1771142"/>
                <a:gd name="connsiteX882" fmla="*/ 916254 w 3060746"/>
                <a:gd name="connsiteY882" fmla="*/ 1678798 h 1771142"/>
                <a:gd name="connsiteX883" fmla="*/ 924697 w 3060746"/>
                <a:gd name="connsiteY883" fmla="*/ 1674219 h 1771142"/>
                <a:gd name="connsiteX884" fmla="*/ 977220 w 3060746"/>
                <a:gd name="connsiteY884" fmla="*/ 1645942 h 1771142"/>
                <a:gd name="connsiteX885" fmla="*/ 1183578 w 3060746"/>
                <a:gd name="connsiteY885" fmla="*/ 1539655 h 1771142"/>
                <a:gd name="connsiteX886" fmla="*/ 1657586 w 3060746"/>
                <a:gd name="connsiteY886" fmla="*/ 1322402 h 1771142"/>
                <a:gd name="connsiteX887" fmla="*/ 1712828 w 3060746"/>
                <a:gd name="connsiteY887" fmla="*/ 1299440 h 1771142"/>
                <a:gd name="connsiteX888" fmla="*/ 1721596 w 3060746"/>
                <a:gd name="connsiteY888" fmla="*/ 1295797 h 1771142"/>
                <a:gd name="connsiteX889" fmla="*/ 1720581 w 3060746"/>
                <a:gd name="connsiteY889" fmla="*/ 1289112 h 1771142"/>
                <a:gd name="connsiteX890" fmla="*/ 1741688 w 3060746"/>
                <a:gd name="connsiteY890" fmla="*/ 1291552 h 1771142"/>
                <a:gd name="connsiteX891" fmla="*/ 1779599 w 3060746"/>
                <a:gd name="connsiteY891" fmla="*/ 1282728 h 1771142"/>
                <a:gd name="connsiteX892" fmla="*/ 1817428 w 3060746"/>
                <a:gd name="connsiteY892" fmla="*/ 1273737 h 1771142"/>
                <a:gd name="connsiteX893" fmla="*/ 1849575 w 3060746"/>
                <a:gd name="connsiteY893" fmla="*/ 1269091 h 1771142"/>
                <a:gd name="connsiteX894" fmla="*/ 1861509 w 3060746"/>
                <a:gd name="connsiteY894" fmla="*/ 1259967 h 1771142"/>
                <a:gd name="connsiteX895" fmla="*/ 1884929 w 3060746"/>
                <a:gd name="connsiteY895" fmla="*/ 1252380 h 1771142"/>
                <a:gd name="connsiteX896" fmla="*/ 1914519 w 3060746"/>
                <a:gd name="connsiteY896" fmla="*/ 1234264 h 1771142"/>
                <a:gd name="connsiteX897" fmla="*/ 1937005 w 3060746"/>
                <a:gd name="connsiteY897" fmla="*/ 1213374 h 1771142"/>
                <a:gd name="connsiteX898" fmla="*/ 2005156 w 3060746"/>
                <a:gd name="connsiteY898" fmla="*/ 1204584 h 1771142"/>
                <a:gd name="connsiteX899" fmla="*/ 2040915 w 3060746"/>
                <a:gd name="connsiteY899" fmla="*/ 1202378 h 1771142"/>
                <a:gd name="connsiteX900" fmla="*/ 2079029 w 3060746"/>
                <a:gd name="connsiteY900" fmla="*/ 1220025 h 1771142"/>
                <a:gd name="connsiteX901" fmla="*/ 2141172 w 3060746"/>
                <a:gd name="connsiteY901" fmla="*/ 1206923 h 1771142"/>
                <a:gd name="connsiteX902" fmla="*/ 2196821 w 3060746"/>
                <a:gd name="connsiteY902" fmla="*/ 1193086 h 1771142"/>
                <a:gd name="connsiteX903" fmla="*/ 2228481 w 3060746"/>
                <a:gd name="connsiteY903" fmla="*/ 1210500 h 1771142"/>
                <a:gd name="connsiteX904" fmla="*/ 2182776 w 3060746"/>
                <a:gd name="connsiteY904" fmla="*/ 1218689 h 1771142"/>
                <a:gd name="connsiteX905" fmla="*/ 2179732 w 3060746"/>
                <a:gd name="connsiteY905" fmla="*/ 1238743 h 1771142"/>
                <a:gd name="connsiteX906" fmla="*/ 2170112 w 3060746"/>
                <a:gd name="connsiteY906" fmla="*/ 1270696 h 1771142"/>
                <a:gd name="connsiteX907" fmla="*/ 2181356 w 3060746"/>
                <a:gd name="connsiteY907" fmla="*/ 1281291 h 1771142"/>
                <a:gd name="connsiteX908" fmla="*/ 2234123 w 3060746"/>
                <a:gd name="connsiteY908" fmla="*/ 1254251 h 1771142"/>
                <a:gd name="connsiteX909" fmla="*/ 2258476 w 3060746"/>
                <a:gd name="connsiteY909" fmla="*/ 1242185 h 1771142"/>
                <a:gd name="connsiteX910" fmla="*/ 2270248 w 3060746"/>
                <a:gd name="connsiteY910" fmla="*/ 1238843 h 1771142"/>
                <a:gd name="connsiteX911" fmla="*/ 2272399 w 3060746"/>
                <a:gd name="connsiteY911" fmla="*/ 1226209 h 1771142"/>
                <a:gd name="connsiteX912" fmla="*/ 2252753 w 3060746"/>
                <a:gd name="connsiteY912" fmla="*/ 1231724 h 1771142"/>
                <a:gd name="connsiteX913" fmla="*/ 2268218 w 3060746"/>
                <a:gd name="connsiteY913" fmla="*/ 1212137 h 1771142"/>
                <a:gd name="connsiteX914" fmla="*/ 2320538 w 3060746"/>
                <a:gd name="connsiteY914" fmla="*/ 1191047 h 1771142"/>
                <a:gd name="connsiteX915" fmla="*/ 2341888 w 3060746"/>
                <a:gd name="connsiteY915" fmla="*/ 1181355 h 1771142"/>
                <a:gd name="connsiteX916" fmla="*/ 2364253 w 3060746"/>
                <a:gd name="connsiteY916" fmla="*/ 1163707 h 1771142"/>
                <a:gd name="connsiteX917" fmla="*/ 2426234 w 3060746"/>
                <a:gd name="connsiteY917" fmla="*/ 1137168 h 1771142"/>
                <a:gd name="connsiteX918" fmla="*/ 2486591 w 3060746"/>
                <a:gd name="connsiteY918" fmla="*/ 1117114 h 1771142"/>
                <a:gd name="connsiteX919" fmla="*/ 2512284 w 3060746"/>
                <a:gd name="connsiteY919" fmla="*/ 1089907 h 1771142"/>
                <a:gd name="connsiteX920" fmla="*/ 2520767 w 3060746"/>
                <a:gd name="connsiteY920" fmla="*/ 1061731 h 1771142"/>
                <a:gd name="connsiteX921" fmla="*/ 2545933 w 3060746"/>
                <a:gd name="connsiteY921" fmla="*/ 1046357 h 1771142"/>
                <a:gd name="connsiteX922" fmla="*/ 2584696 w 3060746"/>
                <a:gd name="connsiteY922" fmla="*/ 1042680 h 1771142"/>
                <a:gd name="connsiteX923" fmla="*/ 2595493 w 3060746"/>
                <a:gd name="connsiteY923" fmla="*/ 1060829 h 1771142"/>
                <a:gd name="connsiteX924" fmla="*/ 2614205 w 3060746"/>
                <a:gd name="connsiteY924" fmla="*/ 1072193 h 1771142"/>
                <a:gd name="connsiteX925" fmla="*/ 2645013 w 3060746"/>
                <a:gd name="connsiteY925" fmla="*/ 1067346 h 1771142"/>
                <a:gd name="connsiteX926" fmla="*/ 2687267 w 3060746"/>
                <a:gd name="connsiteY926" fmla="*/ 1040875 h 1771142"/>
                <a:gd name="connsiteX927" fmla="*/ 2695912 w 3060746"/>
                <a:gd name="connsiteY927" fmla="*/ 1035561 h 1771142"/>
                <a:gd name="connsiteX928" fmla="*/ 2691610 w 3060746"/>
                <a:gd name="connsiteY928" fmla="*/ 1045588 h 1771142"/>
                <a:gd name="connsiteX929" fmla="*/ 2731469 w 3060746"/>
                <a:gd name="connsiteY929" fmla="*/ 1040240 h 1771142"/>
                <a:gd name="connsiteX930" fmla="*/ 2693152 w 3060746"/>
                <a:gd name="connsiteY930" fmla="*/ 1054077 h 1771142"/>
                <a:gd name="connsiteX931" fmla="*/ 2659828 w 3060746"/>
                <a:gd name="connsiteY931" fmla="*/ 1082354 h 1771142"/>
                <a:gd name="connsiteX932" fmla="*/ 2684507 w 3060746"/>
                <a:gd name="connsiteY932" fmla="*/ 1091378 h 1771142"/>
                <a:gd name="connsiteX933" fmla="*/ 2723879 w 3060746"/>
                <a:gd name="connsiteY933" fmla="*/ 1060161 h 1771142"/>
                <a:gd name="connsiteX934" fmla="*/ 2767634 w 3060746"/>
                <a:gd name="connsiteY934" fmla="*/ 1042045 h 1771142"/>
                <a:gd name="connsiteX935" fmla="*/ 2810213 w 3060746"/>
                <a:gd name="connsiteY935" fmla="*/ 1020453 h 1771142"/>
                <a:gd name="connsiteX936" fmla="*/ 2805342 w 3060746"/>
                <a:gd name="connsiteY936" fmla="*/ 1014638 h 1771142"/>
                <a:gd name="connsiteX937" fmla="*/ 2822674 w 3060746"/>
                <a:gd name="connsiteY937" fmla="*/ 1006649 h 1771142"/>
                <a:gd name="connsiteX938" fmla="*/ 2842969 w 3060746"/>
                <a:gd name="connsiteY938" fmla="*/ 997324 h 1771142"/>
                <a:gd name="connsiteX939" fmla="*/ 2828681 w 3060746"/>
                <a:gd name="connsiteY939" fmla="*/ 993982 h 1771142"/>
                <a:gd name="connsiteX940" fmla="*/ 781861 w 3060746"/>
                <a:gd name="connsiteY940" fmla="*/ 1236637 h 1771142"/>
                <a:gd name="connsiteX941" fmla="*/ 754342 w 3060746"/>
                <a:gd name="connsiteY941" fmla="*/ 1266050 h 1771142"/>
                <a:gd name="connsiteX942" fmla="*/ 736645 w 3060746"/>
                <a:gd name="connsiteY942" fmla="*/ 1285001 h 1771142"/>
                <a:gd name="connsiteX943" fmla="*/ 715984 w 3060746"/>
                <a:gd name="connsiteY943" fmla="*/ 1308397 h 1771142"/>
                <a:gd name="connsiteX944" fmla="*/ 695365 w 3060746"/>
                <a:gd name="connsiteY944" fmla="*/ 1324240 h 1771142"/>
                <a:gd name="connsiteX945" fmla="*/ 706973 w 3060746"/>
                <a:gd name="connsiteY945" fmla="*/ 1302849 h 1771142"/>
                <a:gd name="connsiteX946" fmla="*/ 686476 w 3060746"/>
                <a:gd name="connsiteY946" fmla="*/ 1308832 h 1771142"/>
                <a:gd name="connsiteX947" fmla="*/ 673933 w 3060746"/>
                <a:gd name="connsiteY947" fmla="*/ 1332529 h 1771142"/>
                <a:gd name="connsiteX948" fmla="*/ 632288 w 3060746"/>
                <a:gd name="connsiteY948" fmla="*/ 1350244 h 1771142"/>
                <a:gd name="connsiteX949" fmla="*/ 638864 w 3060746"/>
                <a:gd name="connsiteY949" fmla="*/ 1344462 h 1771142"/>
                <a:gd name="connsiteX950" fmla="*/ 640934 w 3060746"/>
                <a:gd name="connsiteY950" fmla="*/ 1335203 h 1771142"/>
                <a:gd name="connsiteX951" fmla="*/ 643247 w 3060746"/>
                <a:gd name="connsiteY951" fmla="*/ 1322770 h 1771142"/>
                <a:gd name="connsiteX952" fmla="*/ 671417 w 3060746"/>
                <a:gd name="connsiteY952" fmla="*/ 1301980 h 1771142"/>
                <a:gd name="connsiteX953" fmla="*/ 628432 w 3060746"/>
                <a:gd name="connsiteY953" fmla="*/ 1314213 h 1771142"/>
                <a:gd name="connsiteX954" fmla="*/ 606676 w 3060746"/>
                <a:gd name="connsiteY954" fmla="*/ 1334501 h 1771142"/>
                <a:gd name="connsiteX955" fmla="*/ 572378 w 3060746"/>
                <a:gd name="connsiteY955" fmla="*/ 1350912 h 1771142"/>
                <a:gd name="connsiteX956" fmla="*/ 702752 w 3060746"/>
                <a:gd name="connsiteY956" fmla="*/ 1252981 h 1771142"/>
                <a:gd name="connsiteX957" fmla="*/ 725158 w 3060746"/>
                <a:gd name="connsiteY957" fmla="*/ 1264813 h 1771142"/>
                <a:gd name="connsiteX958" fmla="*/ 761688 w 3060746"/>
                <a:gd name="connsiteY958" fmla="*/ 1236537 h 1771142"/>
                <a:gd name="connsiteX959" fmla="*/ 781780 w 3060746"/>
                <a:gd name="connsiteY959" fmla="*/ 1236804 h 1771142"/>
                <a:gd name="connsiteX960" fmla="*/ 781861 w 3060746"/>
                <a:gd name="connsiteY960" fmla="*/ 1236637 h 1771142"/>
                <a:gd name="connsiteX961" fmla="*/ 1030393 w 3060746"/>
                <a:gd name="connsiteY961" fmla="*/ 1254385 h 1771142"/>
                <a:gd name="connsiteX962" fmla="*/ 1004253 w 3060746"/>
                <a:gd name="connsiteY962" fmla="*/ 1277447 h 1771142"/>
                <a:gd name="connsiteX963" fmla="*/ 990290 w 3060746"/>
                <a:gd name="connsiteY963" fmla="*/ 1297501 h 1771142"/>
                <a:gd name="connsiteX964" fmla="*/ 907162 w 3060746"/>
                <a:gd name="connsiteY964" fmla="*/ 1339949 h 1771142"/>
                <a:gd name="connsiteX965" fmla="*/ 905904 w 3060746"/>
                <a:gd name="connsiteY965" fmla="*/ 1334836 h 1771142"/>
                <a:gd name="connsiteX966" fmla="*/ 923642 w 3060746"/>
                <a:gd name="connsiteY966" fmla="*/ 1314347 h 1771142"/>
                <a:gd name="connsiteX967" fmla="*/ 945154 w 3060746"/>
                <a:gd name="connsiteY967" fmla="*/ 1290649 h 1771142"/>
                <a:gd name="connsiteX968" fmla="*/ 911911 w 3060746"/>
                <a:gd name="connsiteY968" fmla="*/ 1289146 h 1771142"/>
                <a:gd name="connsiteX969" fmla="*/ 970076 w 3060746"/>
                <a:gd name="connsiteY969" fmla="*/ 1267387 h 1771142"/>
                <a:gd name="connsiteX970" fmla="*/ 1039647 w 3060746"/>
                <a:gd name="connsiteY970" fmla="*/ 1228281 h 1771142"/>
                <a:gd name="connsiteX971" fmla="*/ 1088355 w 3060746"/>
                <a:gd name="connsiteY971" fmla="*/ 1197197 h 1771142"/>
                <a:gd name="connsiteX972" fmla="*/ 1030271 w 3060746"/>
                <a:gd name="connsiteY972" fmla="*/ 1254385 h 1771142"/>
                <a:gd name="connsiteX973" fmla="*/ 1030393 w 3060746"/>
                <a:gd name="connsiteY973" fmla="*/ 1254385 h 1771142"/>
                <a:gd name="connsiteX974" fmla="*/ 1658722 w 3060746"/>
                <a:gd name="connsiteY974" fmla="*/ 1284901 h 1771142"/>
                <a:gd name="connsiteX975" fmla="*/ 1644191 w 3060746"/>
                <a:gd name="connsiteY975" fmla="*/ 1277848 h 1771142"/>
                <a:gd name="connsiteX976" fmla="*/ 1608431 w 3060746"/>
                <a:gd name="connsiteY976" fmla="*/ 1269225 h 1771142"/>
                <a:gd name="connsiteX977" fmla="*/ 1553189 w 3060746"/>
                <a:gd name="connsiteY977" fmla="*/ 1243923 h 1771142"/>
                <a:gd name="connsiteX978" fmla="*/ 1620121 w 3060746"/>
                <a:gd name="connsiteY978" fmla="*/ 1247266 h 1771142"/>
                <a:gd name="connsiteX979" fmla="*/ 1658722 w 3060746"/>
                <a:gd name="connsiteY979" fmla="*/ 1284800 h 1771142"/>
                <a:gd name="connsiteX980" fmla="*/ 1658560 w 3060746"/>
                <a:gd name="connsiteY980" fmla="*/ 1284968 h 177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</a:cxnLst>
              <a:rect l="l" t="t" r="r" b="b"/>
              <a:pathLst>
                <a:path w="3060746" h="1771142">
                  <a:moveTo>
                    <a:pt x="886583" y="1692735"/>
                  </a:moveTo>
                  <a:cubicBezTo>
                    <a:pt x="870591" y="1692735"/>
                    <a:pt x="857318" y="1704567"/>
                    <a:pt x="841934" y="1701793"/>
                  </a:cubicBezTo>
                  <a:cubicBezTo>
                    <a:pt x="833248" y="1700189"/>
                    <a:pt x="811289" y="1695877"/>
                    <a:pt x="799193" y="1703164"/>
                  </a:cubicBezTo>
                  <a:cubicBezTo>
                    <a:pt x="789809" y="1709280"/>
                    <a:pt x="779390" y="1714233"/>
                    <a:pt x="768264" y="1717870"/>
                  </a:cubicBezTo>
                  <a:cubicBezTo>
                    <a:pt x="756087" y="1721379"/>
                    <a:pt x="742327" y="1720878"/>
                    <a:pt x="731733" y="1730237"/>
                  </a:cubicBezTo>
                  <a:cubicBezTo>
                    <a:pt x="727228" y="1734147"/>
                    <a:pt x="723250" y="1738994"/>
                    <a:pt x="731733" y="1736921"/>
                  </a:cubicBezTo>
                  <a:cubicBezTo>
                    <a:pt x="740216" y="1734849"/>
                    <a:pt x="743910" y="1739629"/>
                    <a:pt x="751784" y="1736687"/>
                  </a:cubicBezTo>
                  <a:cubicBezTo>
                    <a:pt x="764919" y="1731470"/>
                    <a:pt x="779158" y="1728405"/>
                    <a:pt x="793714" y="1727663"/>
                  </a:cubicBezTo>
                  <a:cubicBezTo>
                    <a:pt x="802075" y="1727663"/>
                    <a:pt x="806459" y="1724320"/>
                    <a:pt x="814536" y="1722917"/>
                  </a:cubicBezTo>
                  <a:cubicBezTo>
                    <a:pt x="825049" y="1721212"/>
                    <a:pt x="827931" y="1727529"/>
                    <a:pt x="840027" y="1721246"/>
                  </a:cubicBezTo>
                  <a:cubicBezTo>
                    <a:pt x="846521" y="1717903"/>
                    <a:pt x="849281" y="1720945"/>
                    <a:pt x="855288" y="1720510"/>
                  </a:cubicBezTo>
                  <a:cubicBezTo>
                    <a:pt x="869414" y="1719507"/>
                    <a:pt x="875827" y="1716566"/>
                    <a:pt x="890804" y="1708678"/>
                  </a:cubicBezTo>
                  <a:cubicBezTo>
                    <a:pt x="895553" y="1706175"/>
                    <a:pt x="900144" y="1703474"/>
                    <a:pt x="904564" y="1700590"/>
                  </a:cubicBezTo>
                  <a:cubicBezTo>
                    <a:pt x="914468" y="1694106"/>
                    <a:pt x="907812" y="1695075"/>
                    <a:pt x="908867" y="1688825"/>
                  </a:cubicBezTo>
                  <a:cubicBezTo>
                    <a:pt x="909719" y="1683845"/>
                    <a:pt x="891738" y="1692702"/>
                    <a:pt x="886705" y="1692735"/>
                  </a:cubicBezTo>
                  <a:close/>
                  <a:moveTo>
                    <a:pt x="460309" y="1204250"/>
                  </a:moveTo>
                  <a:cubicBezTo>
                    <a:pt x="480280" y="1195961"/>
                    <a:pt x="493918" y="1203548"/>
                    <a:pt x="507678" y="1205152"/>
                  </a:cubicBezTo>
                  <a:cubicBezTo>
                    <a:pt x="528419" y="1207592"/>
                    <a:pt x="523711" y="1193220"/>
                    <a:pt x="538201" y="1185399"/>
                  </a:cubicBezTo>
                  <a:cubicBezTo>
                    <a:pt x="548146" y="1180017"/>
                    <a:pt x="550378" y="1174402"/>
                    <a:pt x="558861" y="1168954"/>
                  </a:cubicBezTo>
                  <a:cubicBezTo>
                    <a:pt x="568847" y="1162504"/>
                    <a:pt x="581105" y="1158560"/>
                    <a:pt x="587274" y="1150037"/>
                  </a:cubicBezTo>
                  <a:cubicBezTo>
                    <a:pt x="593444" y="1141513"/>
                    <a:pt x="584189" y="1137803"/>
                    <a:pt x="585569" y="1130417"/>
                  </a:cubicBezTo>
                  <a:cubicBezTo>
                    <a:pt x="587437" y="1120624"/>
                    <a:pt x="601805" y="1114574"/>
                    <a:pt x="609923" y="1105583"/>
                  </a:cubicBezTo>
                  <a:cubicBezTo>
                    <a:pt x="614388" y="1100503"/>
                    <a:pt x="609923" y="1097160"/>
                    <a:pt x="610451" y="1092983"/>
                  </a:cubicBezTo>
                  <a:cubicBezTo>
                    <a:pt x="611344" y="1086966"/>
                    <a:pt x="621248" y="1081251"/>
                    <a:pt x="628432" y="1075936"/>
                  </a:cubicBezTo>
                  <a:cubicBezTo>
                    <a:pt x="649174" y="1060528"/>
                    <a:pt x="668657" y="1044418"/>
                    <a:pt x="687450" y="1028408"/>
                  </a:cubicBezTo>
                  <a:cubicBezTo>
                    <a:pt x="698044" y="1019384"/>
                    <a:pt x="720774" y="1003140"/>
                    <a:pt x="696177" y="1006616"/>
                  </a:cubicBezTo>
                  <a:cubicBezTo>
                    <a:pt x="667114" y="1010760"/>
                    <a:pt x="619908" y="1017479"/>
                    <a:pt x="594296" y="1039037"/>
                  </a:cubicBezTo>
                  <a:cubicBezTo>
                    <a:pt x="591536" y="1041376"/>
                    <a:pt x="581795" y="1053710"/>
                    <a:pt x="577005" y="1050535"/>
                  </a:cubicBezTo>
                  <a:cubicBezTo>
                    <a:pt x="574042" y="1048596"/>
                    <a:pt x="572175" y="1046524"/>
                    <a:pt x="566086" y="1051805"/>
                  </a:cubicBezTo>
                  <a:cubicBezTo>
                    <a:pt x="552002" y="1064004"/>
                    <a:pt x="516161" y="1074232"/>
                    <a:pt x="499194" y="1076739"/>
                  </a:cubicBezTo>
                  <a:cubicBezTo>
                    <a:pt x="473907" y="1080415"/>
                    <a:pt x="428122" y="1122261"/>
                    <a:pt x="405554" y="1136099"/>
                  </a:cubicBezTo>
                  <a:cubicBezTo>
                    <a:pt x="379536" y="1151942"/>
                    <a:pt x="423657" y="1141513"/>
                    <a:pt x="429908" y="1143419"/>
                  </a:cubicBezTo>
                  <a:cubicBezTo>
                    <a:pt x="439893" y="1146360"/>
                    <a:pt x="419476" y="1168319"/>
                    <a:pt x="420004" y="1175438"/>
                  </a:cubicBezTo>
                  <a:cubicBezTo>
                    <a:pt x="420247" y="1179215"/>
                    <a:pt x="427878" y="1176742"/>
                    <a:pt x="426782" y="1182457"/>
                  </a:cubicBezTo>
                  <a:cubicBezTo>
                    <a:pt x="424956" y="1192083"/>
                    <a:pt x="417568" y="1203381"/>
                    <a:pt x="412129" y="1213608"/>
                  </a:cubicBezTo>
                  <a:cubicBezTo>
                    <a:pt x="400683" y="1235200"/>
                    <a:pt x="446387" y="1209998"/>
                    <a:pt x="460391" y="1204250"/>
                  </a:cubicBezTo>
                  <a:cubicBezTo>
                    <a:pt x="487099" y="1193220"/>
                    <a:pt x="433480" y="1215446"/>
                    <a:pt x="460309" y="1204250"/>
                  </a:cubicBezTo>
                  <a:close/>
                  <a:moveTo>
                    <a:pt x="1200585" y="911125"/>
                  </a:moveTo>
                  <a:cubicBezTo>
                    <a:pt x="1206471" y="902167"/>
                    <a:pt x="1251039" y="901365"/>
                    <a:pt x="1245924" y="890469"/>
                  </a:cubicBezTo>
                  <a:cubicBezTo>
                    <a:pt x="1240567" y="878904"/>
                    <a:pt x="1188165" y="893176"/>
                    <a:pt x="1169372" y="896385"/>
                  </a:cubicBezTo>
                  <a:cubicBezTo>
                    <a:pt x="1150579" y="899593"/>
                    <a:pt x="1103657" y="915737"/>
                    <a:pt x="1099761" y="902702"/>
                  </a:cubicBezTo>
                  <a:cubicBezTo>
                    <a:pt x="1098543" y="898491"/>
                    <a:pt x="1103008" y="892040"/>
                    <a:pt x="1094849" y="891071"/>
                  </a:cubicBezTo>
                  <a:cubicBezTo>
                    <a:pt x="1080967" y="889399"/>
                    <a:pt x="1069278" y="890135"/>
                    <a:pt x="1060226" y="883885"/>
                  </a:cubicBezTo>
                  <a:cubicBezTo>
                    <a:pt x="1054259" y="879807"/>
                    <a:pt x="1049064" y="873857"/>
                    <a:pt x="1052108" y="866137"/>
                  </a:cubicBezTo>
                  <a:cubicBezTo>
                    <a:pt x="1055152" y="858416"/>
                    <a:pt x="1065381" y="849425"/>
                    <a:pt x="1063433" y="842272"/>
                  </a:cubicBezTo>
                  <a:cubicBezTo>
                    <a:pt x="1058562" y="824290"/>
                    <a:pt x="998895" y="859753"/>
                    <a:pt x="987530" y="870649"/>
                  </a:cubicBezTo>
                  <a:cubicBezTo>
                    <a:pt x="977098" y="880676"/>
                    <a:pt x="1022518" y="871317"/>
                    <a:pt x="1031123" y="871685"/>
                  </a:cubicBezTo>
                  <a:cubicBezTo>
                    <a:pt x="1041027" y="872086"/>
                    <a:pt x="1033112" y="875027"/>
                    <a:pt x="1026334" y="875963"/>
                  </a:cubicBezTo>
                  <a:cubicBezTo>
                    <a:pt x="1015699" y="877434"/>
                    <a:pt x="1000113" y="877835"/>
                    <a:pt x="989072" y="883417"/>
                  </a:cubicBezTo>
                  <a:cubicBezTo>
                    <a:pt x="971091" y="892474"/>
                    <a:pt x="941014" y="898424"/>
                    <a:pt x="955342" y="910456"/>
                  </a:cubicBezTo>
                  <a:cubicBezTo>
                    <a:pt x="960822" y="915035"/>
                    <a:pt x="1005633" y="925697"/>
                    <a:pt x="1002304" y="931814"/>
                  </a:cubicBezTo>
                  <a:cubicBezTo>
                    <a:pt x="1000194" y="935658"/>
                    <a:pt x="983796" y="946587"/>
                    <a:pt x="977951" y="946253"/>
                  </a:cubicBezTo>
                  <a:cubicBezTo>
                    <a:pt x="968696" y="945651"/>
                    <a:pt x="963176" y="939836"/>
                    <a:pt x="957453" y="936593"/>
                  </a:cubicBezTo>
                  <a:cubicBezTo>
                    <a:pt x="941542" y="927569"/>
                    <a:pt x="915158" y="930243"/>
                    <a:pt x="885893" y="941206"/>
                  </a:cubicBezTo>
                  <a:cubicBezTo>
                    <a:pt x="851879" y="953940"/>
                    <a:pt x="903712" y="945651"/>
                    <a:pt x="905985" y="947189"/>
                  </a:cubicBezTo>
                  <a:cubicBezTo>
                    <a:pt x="914387" y="952670"/>
                    <a:pt x="894823" y="956915"/>
                    <a:pt x="887923" y="958987"/>
                  </a:cubicBezTo>
                  <a:cubicBezTo>
                    <a:pt x="878668" y="961695"/>
                    <a:pt x="861458" y="978841"/>
                    <a:pt x="859875" y="975331"/>
                  </a:cubicBezTo>
                  <a:cubicBezTo>
                    <a:pt x="856953" y="968914"/>
                    <a:pt x="857764" y="964402"/>
                    <a:pt x="842381" y="967109"/>
                  </a:cubicBezTo>
                  <a:cubicBezTo>
                    <a:pt x="823908" y="970766"/>
                    <a:pt x="806686" y="977828"/>
                    <a:pt x="792009" y="987765"/>
                  </a:cubicBezTo>
                  <a:cubicBezTo>
                    <a:pt x="772120" y="1002070"/>
                    <a:pt x="804511" y="1004477"/>
                    <a:pt x="767655" y="1018047"/>
                  </a:cubicBezTo>
                  <a:cubicBezTo>
                    <a:pt x="734737" y="1030313"/>
                    <a:pt x="781050" y="1004510"/>
                    <a:pt x="771349" y="998862"/>
                  </a:cubicBezTo>
                  <a:cubicBezTo>
                    <a:pt x="752150" y="987731"/>
                    <a:pt x="731611" y="1002538"/>
                    <a:pt x="710464" y="1019517"/>
                  </a:cubicBezTo>
                  <a:cubicBezTo>
                    <a:pt x="685258" y="1039839"/>
                    <a:pt x="654004" y="1061030"/>
                    <a:pt x="635901" y="1083022"/>
                  </a:cubicBezTo>
                  <a:cubicBezTo>
                    <a:pt x="632045" y="1087735"/>
                    <a:pt x="631071" y="1088704"/>
                    <a:pt x="636672" y="1088170"/>
                  </a:cubicBezTo>
                  <a:cubicBezTo>
                    <a:pt x="648443" y="1087066"/>
                    <a:pt x="624941" y="1110162"/>
                    <a:pt x="629650" y="1113772"/>
                  </a:cubicBezTo>
                  <a:cubicBezTo>
                    <a:pt x="637768" y="1120089"/>
                    <a:pt x="658753" y="1103244"/>
                    <a:pt x="665409" y="1105917"/>
                  </a:cubicBezTo>
                  <a:cubicBezTo>
                    <a:pt x="670402" y="1107956"/>
                    <a:pt x="669915" y="1112335"/>
                    <a:pt x="680306" y="1105917"/>
                  </a:cubicBezTo>
                  <a:cubicBezTo>
                    <a:pt x="696826" y="1095690"/>
                    <a:pt x="724630" y="1069686"/>
                    <a:pt x="745250" y="1066678"/>
                  </a:cubicBezTo>
                  <a:cubicBezTo>
                    <a:pt x="753368" y="1065475"/>
                    <a:pt x="720896" y="1086431"/>
                    <a:pt x="718582" y="1088069"/>
                  </a:cubicBezTo>
                  <a:cubicBezTo>
                    <a:pt x="707704" y="1095155"/>
                    <a:pt x="674989" y="1113471"/>
                    <a:pt x="673933" y="1122495"/>
                  </a:cubicBezTo>
                  <a:cubicBezTo>
                    <a:pt x="671052" y="1141814"/>
                    <a:pt x="821964" y="1059693"/>
                    <a:pt x="838281" y="1053643"/>
                  </a:cubicBezTo>
                  <a:cubicBezTo>
                    <a:pt x="841731" y="1052206"/>
                    <a:pt x="895959" y="1032586"/>
                    <a:pt x="884107" y="1042680"/>
                  </a:cubicBezTo>
                  <a:cubicBezTo>
                    <a:pt x="862919" y="1060662"/>
                    <a:pt x="819163" y="1075067"/>
                    <a:pt x="792496" y="1089105"/>
                  </a:cubicBezTo>
                  <a:cubicBezTo>
                    <a:pt x="771876" y="1099934"/>
                    <a:pt x="733113" y="1119822"/>
                    <a:pt x="722235" y="1135397"/>
                  </a:cubicBezTo>
                  <a:cubicBezTo>
                    <a:pt x="713062" y="1148499"/>
                    <a:pt x="770578" y="1130851"/>
                    <a:pt x="775002" y="1129782"/>
                  </a:cubicBezTo>
                  <a:cubicBezTo>
                    <a:pt x="793470" y="1125136"/>
                    <a:pt x="810396" y="1116145"/>
                    <a:pt x="826916" y="1106920"/>
                  </a:cubicBezTo>
                  <a:cubicBezTo>
                    <a:pt x="835521" y="1102141"/>
                    <a:pt x="848835" y="1094286"/>
                    <a:pt x="852488" y="1100737"/>
                  </a:cubicBezTo>
                  <a:cubicBezTo>
                    <a:pt x="859956" y="1113872"/>
                    <a:pt x="893078" y="1098798"/>
                    <a:pt x="912763" y="1090008"/>
                  </a:cubicBezTo>
                  <a:cubicBezTo>
                    <a:pt x="939622" y="1078470"/>
                    <a:pt x="964609" y="1064185"/>
                    <a:pt x="987124" y="1047493"/>
                  </a:cubicBezTo>
                  <a:cubicBezTo>
                    <a:pt x="1004699" y="1034291"/>
                    <a:pt x="1022437" y="1027205"/>
                    <a:pt x="1041230" y="1015473"/>
                  </a:cubicBezTo>
                  <a:cubicBezTo>
                    <a:pt x="1054422" y="1007251"/>
                    <a:pt x="1062662" y="980512"/>
                    <a:pt x="1080683" y="984055"/>
                  </a:cubicBezTo>
                  <a:cubicBezTo>
                    <a:pt x="1095133" y="986929"/>
                    <a:pt x="1116118" y="974797"/>
                    <a:pt x="1133978" y="972825"/>
                  </a:cubicBezTo>
                  <a:cubicBezTo>
                    <a:pt x="1152974" y="970485"/>
                    <a:pt x="1253474" y="928906"/>
                    <a:pt x="1233098" y="918411"/>
                  </a:cubicBezTo>
                  <a:cubicBezTo>
                    <a:pt x="1228430" y="915971"/>
                    <a:pt x="1219257" y="916005"/>
                    <a:pt x="1211098" y="918411"/>
                  </a:cubicBezTo>
                  <a:cubicBezTo>
                    <a:pt x="1198921" y="921987"/>
                    <a:pt x="1200870" y="929508"/>
                    <a:pt x="1190397" y="934087"/>
                  </a:cubicBezTo>
                  <a:cubicBezTo>
                    <a:pt x="1155774" y="949194"/>
                    <a:pt x="1199611" y="912896"/>
                    <a:pt x="1200870" y="911058"/>
                  </a:cubicBezTo>
                  <a:cubicBezTo>
                    <a:pt x="1206146" y="902802"/>
                    <a:pt x="1195065" y="919681"/>
                    <a:pt x="1200585" y="911225"/>
                  </a:cubicBezTo>
                  <a:close/>
                  <a:moveTo>
                    <a:pt x="545873" y="1010393"/>
                  </a:moveTo>
                  <a:cubicBezTo>
                    <a:pt x="572337" y="998327"/>
                    <a:pt x="590156" y="974897"/>
                    <a:pt x="584392" y="969850"/>
                  </a:cubicBezTo>
                  <a:cubicBezTo>
                    <a:pt x="578629" y="964803"/>
                    <a:pt x="532600" y="1016375"/>
                    <a:pt x="545873" y="1010393"/>
                  </a:cubicBezTo>
                  <a:close/>
                  <a:moveTo>
                    <a:pt x="414565" y="1055013"/>
                  </a:moveTo>
                  <a:cubicBezTo>
                    <a:pt x="422358" y="1052640"/>
                    <a:pt x="422683" y="1057954"/>
                    <a:pt x="426174" y="1059659"/>
                  </a:cubicBezTo>
                  <a:cubicBezTo>
                    <a:pt x="429664" y="1061364"/>
                    <a:pt x="439609" y="1050367"/>
                    <a:pt x="442856" y="1048128"/>
                  </a:cubicBezTo>
                  <a:cubicBezTo>
                    <a:pt x="449797" y="1043315"/>
                    <a:pt x="459092" y="1042346"/>
                    <a:pt x="465180" y="1036697"/>
                  </a:cubicBezTo>
                  <a:cubicBezTo>
                    <a:pt x="470376" y="1031884"/>
                    <a:pt x="470295" y="1027238"/>
                    <a:pt x="473298" y="1022526"/>
                  </a:cubicBezTo>
                  <a:cubicBezTo>
                    <a:pt x="475571" y="1019183"/>
                    <a:pt x="490955" y="1025467"/>
                    <a:pt x="494973" y="1025099"/>
                  </a:cubicBezTo>
                  <a:cubicBezTo>
                    <a:pt x="512508" y="1023495"/>
                    <a:pt x="512508" y="1010961"/>
                    <a:pt x="513766" y="1004677"/>
                  </a:cubicBezTo>
                  <a:cubicBezTo>
                    <a:pt x="515877" y="994182"/>
                    <a:pt x="537349" y="997759"/>
                    <a:pt x="539784" y="985960"/>
                  </a:cubicBezTo>
                  <a:cubicBezTo>
                    <a:pt x="541732" y="976702"/>
                    <a:pt x="530854" y="967410"/>
                    <a:pt x="548186" y="956313"/>
                  </a:cubicBezTo>
                  <a:cubicBezTo>
                    <a:pt x="561134" y="948058"/>
                    <a:pt x="562149" y="965839"/>
                    <a:pt x="574813" y="964168"/>
                  </a:cubicBezTo>
                  <a:cubicBezTo>
                    <a:pt x="595108" y="961461"/>
                    <a:pt x="590278" y="947456"/>
                    <a:pt x="598924" y="941005"/>
                  </a:cubicBezTo>
                  <a:cubicBezTo>
                    <a:pt x="615443" y="928906"/>
                    <a:pt x="615565" y="931647"/>
                    <a:pt x="615159" y="920116"/>
                  </a:cubicBezTo>
                  <a:cubicBezTo>
                    <a:pt x="615159" y="916372"/>
                    <a:pt x="602577" y="916339"/>
                    <a:pt x="606311" y="911994"/>
                  </a:cubicBezTo>
                  <a:cubicBezTo>
                    <a:pt x="610654" y="906880"/>
                    <a:pt x="619381" y="902903"/>
                    <a:pt x="623156" y="897555"/>
                  </a:cubicBezTo>
                  <a:cubicBezTo>
                    <a:pt x="625226" y="894547"/>
                    <a:pt x="591293" y="903471"/>
                    <a:pt x="584514" y="905677"/>
                  </a:cubicBezTo>
                  <a:cubicBezTo>
                    <a:pt x="567223" y="911225"/>
                    <a:pt x="583905" y="919514"/>
                    <a:pt x="568481" y="926901"/>
                  </a:cubicBezTo>
                  <a:cubicBezTo>
                    <a:pt x="550987" y="935257"/>
                    <a:pt x="529393" y="938265"/>
                    <a:pt x="515715" y="950631"/>
                  </a:cubicBezTo>
                  <a:cubicBezTo>
                    <a:pt x="499933" y="964706"/>
                    <a:pt x="485739" y="979934"/>
                    <a:pt x="473298" y="996121"/>
                  </a:cubicBezTo>
                  <a:cubicBezTo>
                    <a:pt x="469239" y="1002003"/>
                    <a:pt x="466844" y="1008187"/>
                    <a:pt x="460634" y="1014069"/>
                  </a:cubicBezTo>
                  <a:cubicBezTo>
                    <a:pt x="454424" y="1019952"/>
                    <a:pt x="443465" y="1024364"/>
                    <a:pt x="435590" y="1029945"/>
                  </a:cubicBezTo>
                  <a:cubicBezTo>
                    <a:pt x="432871" y="1031784"/>
                    <a:pt x="402185" y="1058656"/>
                    <a:pt x="414240" y="1055013"/>
                  </a:cubicBezTo>
                  <a:close/>
                  <a:moveTo>
                    <a:pt x="633750" y="935691"/>
                  </a:moveTo>
                  <a:cubicBezTo>
                    <a:pt x="624333" y="940872"/>
                    <a:pt x="616661" y="951133"/>
                    <a:pt x="631071" y="948425"/>
                  </a:cubicBezTo>
                  <a:cubicBezTo>
                    <a:pt x="633709" y="947924"/>
                    <a:pt x="666343" y="934321"/>
                    <a:pt x="665978" y="935056"/>
                  </a:cubicBezTo>
                  <a:cubicBezTo>
                    <a:pt x="661350" y="945685"/>
                    <a:pt x="616539" y="955511"/>
                    <a:pt x="614672" y="971822"/>
                  </a:cubicBezTo>
                  <a:cubicBezTo>
                    <a:pt x="613495" y="981649"/>
                    <a:pt x="656967" y="947623"/>
                    <a:pt x="664314" y="948425"/>
                  </a:cubicBezTo>
                  <a:cubicBezTo>
                    <a:pt x="664679" y="948425"/>
                    <a:pt x="614388" y="982284"/>
                    <a:pt x="610370" y="985994"/>
                  </a:cubicBezTo>
                  <a:cubicBezTo>
                    <a:pt x="600953" y="994517"/>
                    <a:pt x="622547" y="985994"/>
                    <a:pt x="626403" y="984423"/>
                  </a:cubicBezTo>
                  <a:cubicBezTo>
                    <a:pt x="643816" y="977237"/>
                    <a:pt x="667195" y="972758"/>
                    <a:pt x="683228" y="963399"/>
                  </a:cubicBezTo>
                  <a:cubicBezTo>
                    <a:pt x="697029" y="955311"/>
                    <a:pt x="700479" y="943679"/>
                    <a:pt x="708354" y="934555"/>
                  </a:cubicBezTo>
                  <a:cubicBezTo>
                    <a:pt x="718420" y="922890"/>
                    <a:pt x="717730" y="930410"/>
                    <a:pt x="720165" y="935089"/>
                  </a:cubicBezTo>
                  <a:cubicBezTo>
                    <a:pt x="723615" y="941774"/>
                    <a:pt x="784053" y="902100"/>
                    <a:pt x="794729" y="898825"/>
                  </a:cubicBezTo>
                  <a:cubicBezTo>
                    <a:pt x="805404" y="895549"/>
                    <a:pt x="789452" y="908852"/>
                    <a:pt x="787666" y="910323"/>
                  </a:cubicBezTo>
                  <a:cubicBezTo>
                    <a:pt x="774227" y="921011"/>
                    <a:pt x="759574" y="930614"/>
                    <a:pt x="743910" y="939000"/>
                  </a:cubicBezTo>
                  <a:cubicBezTo>
                    <a:pt x="706365" y="959321"/>
                    <a:pt x="725117" y="965304"/>
                    <a:pt x="757914" y="951133"/>
                  </a:cubicBezTo>
                  <a:cubicBezTo>
                    <a:pt x="786042" y="939033"/>
                    <a:pt x="812426" y="919247"/>
                    <a:pt x="833167" y="902368"/>
                  </a:cubicBezTo>
                  <a:cubicBezTo>
                    <a:pt x="841553" y="896101"/>
                    <a:pt x="849029" y="889058"/>
                    <a:pt x="855451" y="881378"/>
                  </a:cubicBezTo>
                  <a:cubicBezTo>
                    <a:pt x="864421" y="869111"/>
                    <a:pt x="882321" y="870649"/>
                    <a:pt x="895675" y="862259"/>
                  </a:cubicBezTo>
                  <a:cubicBezTo>
                    <a:pt x="910612" y="852934"/>
                    <a:pt x="918040" y="846751"/>
                    <a:pt x="936265" y="839164"/>
                  </a:cubicBezTo>
                  <a:cubicBezTo>
                    <a:pt x="950999" y="833081"/>
                    <a:pt x="972025" y="825393"/>
                    <a:pt x="981441" y="815366"/>
                  </a:cubicBezTo>
                  <a:cubicBezTo>
                    <a:pt x="992847" y="803267"/>
                    <a:pt x="989559" y="780338"/>
                    <a:pt x="964191" y="786187"/>
                  </a:cubicBezTo>
                  <a:cubicBezTo>
                    <a:pt x="946899" y="790232"/>
                    <a:pt x="946737" y="797016"/>
                    <a:pt x="937117" y="805172"/>
                  </a:cubicBezTo>
                  <a:cubicBezTo>
                    <a:pt x="924940" y="815466"/>
                    <a:pt x="909882" y="814263"/>
                    <a:pt x="898719" y="813361"/>
                  </a:cubicBezTo>
                  <a:cubicBezTo>
                    <a:pt x="885041" y="812258"/>
                    <a:pt x="876314" y="811756"/>
                    <a:pt x="867668" y="806509"/>
                  </a:cubicBezTo>
                  <a:cubicBezTo>
                    <a:pt x="859023" y="801261"/>
                    <a:pt x="846196" y="809550"/>
                    <a:pt x="836577" y="817739"/>
                  </a:cubicBezTo>
                  <a:cubicBezTo>
                    <a:pt x="828865" y="824424"/>
                    <a:pt x="819001" y="833281"/>
                    <a:pt x="817215" y="839966"/>
                  </a:cubicBezTo>
                  <a:cubicBezTo>
                    <a:pt x="815308" y="847286"/>
                    <a:pt x="834588" y="837225"/>
                    <a:pt x="840676" y="836624"/>
                  </a:cubicBezTo>
                  <a:cubicBezTo>
                    <a:pt x="851798" y="835220"/>
                    <a:pt x="841163" y="845748"/>
                    <a:pt x="836617" y="849391"/>
                  </a:cubicBezTo>
                  <a:cubicBezTo>
                    <a:pt x="829230" y="855207"/>
                    <a:pt x="851960" y="849391"/>
                    <a:pt x="854720" y="848890"/>
                  </a:cubicBezTo>
                  <a:cubicBezTo>
                    <a:pt x="883417" y="843108"/>
                    <a:pt x="857074" y="857146"/>
                    <a:pt x="843111" y="863229"/>
                  </a:cubicBezTo>
                  <a:cubicBezTo>
                    <a:pt x="818758" y="873857"/>
                    <a:pt x="804064" y="878303"/>
                    <a:pt x="784094" y="877801"/>
                  </a:cubicBezTo>
                  <a:cubicBezTo>
                    <a:pt x="771227" y="877467"/>
                    <a:pt x="754017" y="881578"/>
                    <a:pt x="739445" y="885723"/>
                  </a:cubicBezTo>
                  <a:cubicBezTo>
                    <a:pt x="730000" y="888280"/>
                    <a:pt x="720847" y="891512"/>
                    <a:pt x="712088" y="895382"/>
                  </a:cubicBezTo>
                  <a:cubicBezTo>
                    <a:pt x="705350" y="898424"/>
                    <a:pt x="698815" y="904039"/>
                    <a:pt x="691793" y="905978"/>
                  </a:cubicBezTo>
                  <a:cubicBezTo>
                    <a:pt x="679616" y="909320"/>
                    <a:pt x="676328" y="902635"/>
                    <a:pt x="661635" y="909320"/>
                  </a:cubicBezTo>
                  <a:cubicBezTo>
                    <a:pt x="643816" y="917542"/>
                    <a:pt x="649783" y="926934"/>
                    <a:pt x="633871" y="935691"/>
                  </a:cubicBezTo>
                  <a:close/>
                  <a:moveTo>
                    <a:pt x="674339" y="851631"/>
                  </a:moveTo>
                  <a:cubicBezTo>
                    <a:pt x="675922" y="840200"/>
                    <a:pt x="621573" y="869011"/>
                    <a:pt x="628026" y="869379"/>
                  </a:cubicBezTo>
                  <a:cubicBezTo>
                    <a:pt x="642679" y="870014"/>
                    <a:pt x="672959" y="862995"/>
                    <a:pt x="674542" y="851664"/>
                  </a:cubicBezTo>
                  <a:close/>
                  <a:moveTo>
                    <a:pt x="793105" y="789797"/>
                  </a:moveTo>
                  <a:cubicBezTo>
                    <a:pt x="802116" y="784683"/>
                    <a:pt x="804348" y="779202"/>
                    <a:pt x="791968" y="783112"/>
                  </a:cubicBezTo>
                  <a:cubicBezTo>
                    <a:pt x="776910" y="787691"/>
                    <a:pt x="762216" y="797384"/>
                    <a:pt x="748781" y="804704"/>
                  </a:cubicBezTo>
                  <a:cubicBezTo>
                    <a:pt x="735346" y="812024"/>
                    <a:pt x="686597" y="835855"/>
                    <a:pt x="693863" y="845882"/>
                  </a:cubicBezTo>
                  <a:cubicBezTo>
                    <a:pt x="702914" y="858315"/>
                    <a:pt x="743179" y="841437"/>
                    <a:pt x="762581" y="829170"/>
                  </a:cubicBezTo>
                  <a:cubicBezTo>
                    <a:pt x="773703" y="822185"/>
                    <a:pt x="785312" y="812458"/>
                    <a:pt x="789208" y="804470"/>
                  </a:cubicBezTo>
                  <a:cubicBezTo>
                    <a:pt x="793673" y="795145"/>
                    <a:pt x="778046" y="807177"/>
                    <a:pt x="775286" y="804470"/>
                  </a:cubicBezTo>
                  <a:cubicBezTo>
                    <a:pt x="772526" y="801763"/>
                    <a:pt x="789858" y="791602"/>
                    <a:pt x="793105" y="789730"/>
                  </a:cubicBezTo>
                  <a:cubicBezTo>
                    <a:pt x="811208" y="779335"/>
                    <a:pt x="775042" y="800092"/>
                    <a:pt x="793105" y="789797"/>
                  </a:cubicBezTo>
                  <a:close/>
                  <a:moveTo>
                    <a:pt x="712737" y="811857"/>
                  </a:moveTo>
                  <a:cubicBezTo>
                    <a:pt x="730394" y="807044"/>
                    <a:pt x="735549" y="794042"/>
                    <a:pt x="754382" y="790299"/>
                  </a:cubicBezTo>
                  <a:cubicBezTo>
                    <a:pt x="768329" y="787140"/>
                    <a:pt x="781500" y="782003"/>
                    <a:pt x="793308" y="775124"/>
                  </a:cubicBezTo>
                  <a:cubicBezTo>
                    <a:pt x="803415" y="769141"/>
                    <a:pt x="810315" y="759983"/>
                    <a:pt x="799275" y="758646"/>
                  </a:cubicBezTo>
                  <a:cubicBezTo>
                    <a:pt x="787544" y="757243"/>
                    <a:pt x="767574" y="765498"/>
                    <a:pt x="754626" y="771448"/>
                  </a:cubicBezTo>
                  <a:cubicBezTo>
                    <a:pt x="731652" y="781943"/>
                    <a:pt x="712128" y="797718"/>
                    <a:pt x="691509" y="810553"/>
                  </a:cubicBezTo>
                  <a:cubicBezTo>
                    <a:pt x="685136" y="814531"/>
                    <a:pt x="668981" y="823321"/>
                    <a:pt x="667520" y="828435"/>
                  </a:cubicBezTo>
                  <a:cubicBezTo>
                    <a:pt x="664922" y="837593"/>
                    <a:pt x="708394" y="813027"/>
                    <a:pt x="712818" y="811723"/>
                  </a:cubicBezTo>
                  <a:cubicBezTo>
                    <a:pt x="729217" y="807278"/>
                    <a:pt x="696298" y="816269"/>
                    <a:pt x="712737" y="811756"/>
                  </a:cubicBezTo>
                  <a:close/>
                  <a:moveTo>
                    <a:pt x="944545" y="676157"/>
                  </a:moveTo>
                  <a:cubicBezTo>
                    <a:pt x="964150" y="657807"/>
                    <a:pt x="1015618" y="658676"/>
                    <a:pt x="983024" y="674185"/>
                  </a:cubicBezTo>
                  <a:cubicBezTo>
                    <a:pt x="975109" y="677895"/>
                    <a:pt x="920679" y="700122"/>
                    <a:pt x="956600" y="694640"/>
                  </a:cubicBezTo>
                  <a:cubicBezTo>
                    <a:pt x="975840" y="691732"/>
                    <a:pt x="993984" y="676692"/>
                    <a:pt x="1010422" y="668369"/>
                  </a:cubicBezTo>
                  <a:cubicBezTo>
                    <a:pt x="1032905" y="656654"/>
                    <a:pt x="1058448" y="649505"/>
                    <a:pt x="1084945" y="647513"/>
                  </a:cubicBezTo>
                  <a:cubicBezTo>
                    <a:pt x="1103089" y="646477"/>
                    <a:pt x="1130243" y="643335"/>
                    <a:pt x="1144977" y="629397"/>
                  </a:cubicBezTo>
                  <a:cubicBezTo>
                    <a:pt x="1157845" y="617265"/>
                    <a:pt x="1149036" y="616028"/>
                    <a:pt x="1134221" y="616596"/>
                  </a:cubicBezTo>
                  <a:cubicBezTo>
                    <a:pt x="1121760" y="617164"/>
                    <a:pt x="1130162" y="608207"/>
                    <a:pt x="1118554" y="608608"/>
                  </a:cubicBezTo>
                  <a:cubicBezTo>
                    <a:pt x="1101668" y="609209"/>
                    <a:pt x="1083200" y="621008"/>
                    <a:pt x="1067816" y="621977"/>
                  </a:cubicBezTo>
                  <a:cubicBezTo>
                    <a:pt x="1059698" y="622546"/>
                    <a:pt x="1045289" y="617432"/>
                    <a:pt x="1035710" y="624417"/>
                  </a:cubicBezTo>
                  <a:cubicBezTo>
                    <a:pt x="1032341" y="626891"/>
                    <a:pt x="1023939" y="635648"/>
                    <a:pt x="1018378" y="636483"/>
                  </a:cubicBezTo>
                  <a:cubicBezTo>
                    <a:pt x="1012817" y="637319"/>
                    <a:pt x="1013913" y="631770"/>
                    <a:pt x="1008718" y="631536"/>
                  </a:cubicBezTo>
                  <a:cubicBezTo>
                    <a:pt x="987570" y="630534"/>
                    <a:pt x="942922" y="652861"/>
                    <a:pt x="922992" y="663590"/>
                  </a:cubicBezTo>
                  <a:cubicBezTo>
                    <a:pt x="886461" y="683076"/>
                    <a:pt x="929974" y="689727"/>
                    <a:pt x="944545" y="676123"/>
                  </a:cubicBezTo>
                  <a:cubicBezTo>
                    <a:pt x="959117" y="662520"/>
                    <a:pt x="930258" y="689526"/>
                    <a:pt x="944545" y="676157"/>
                  </a:cubicBezTo>
                  <a:close/>
                  <a:moveTo>
                    <a:pt x="991873" y="727261"/>
                  </a:moveTo>
                  <a:cubicBezTo>
                    <a:pt x="999301" y="715229"/>
                    <a:pt x="926158" y="720577"/>
                    <a:pt x="929852" y="732074"/>
                  </a:cubicBezTo>
                  <a:cubicBezTo>
                    <a:pt x="933546" y="743572"/>
                    <a:pt x="984080" y="739829"/>
                    <a:pt x="991873" y="727195"/>
                  </a:cubicBezTo>
                  <a:close/>
                  <a:moveTo>
                    <a:pt x="1129432" y="555097"/>
                  </a:moveTo>
                  <a:cubicBezTo>
                    <a:pt x="1134952" y="542463"/>
                    <a:pt x="1056735" y="567798"/>
                    <a:pt x="1079547" y="566996"/>
                  </a:cubicBezTo>
                  <a:cubicBezTo>
                    <a:pt x="1092657" y="566394"/>
                    <a:pt x="1123749" y="567564"/>
                    <a:pt x="1129432" y="555030"/>
                  </a:cubicBezTo>
                  <a:close/>
                  <a:moveTo>
                    <a:pt x="1058805" y="779770"/>
                  </a:moveTo>
                  <a:cubicBezTo>
                    <a:pt x="1065584" y="769743"/>
                    <a:pt x="1025928" y="773085"/>
                    <a:pt x="1023330" y="786187"/>
                  </a:cubicBezTo>
                  <a:cubicBezTo>
                    <a:pt x="1020732" y="799289"/>
                    <a:pt x="1052108" y="789797"/>
                    <a:pt x="1058805" y="779770"/>
                  </a:cubicBezTo>
                  <a:close/>
                  <a:moveTo>
                    <a:pt x="1195187" y="660615"/>
                  </a:moveTo>
                  <a:cubicBezTo>
                    <a:pt x="1199246" y="671645"/>
                    <a:pt x="1084499" y="683811"/>
                    <a:pt x="1125251" y="692367"/>
                  </a:cubicBezTo>
                  <a:cubicBezTo>
                    <a:pt x="1130284" y="693403"/>
                    <a:pt x="1171889" y="692902"/>
                    <a:pt x="1152121" y="698484"/>
                  </a:cubicBezTo>
                  <a:cubicBezTo>
                    <a:pt x="1139944" y="701826"/>
                    <a:pt x="1094890" y="704567"/>
                    <a:pt x="1088720" y="712722"/>
                  </a:cubicBezTo>
                  <a:cubicBezTo>
                    <a:pt x="1080156" y="723953"/>
                    <a:pt x="1108163" y="718939"/>
                    <a:pt x="1111410" y="723384"/>
                  </a:cubicBezTo>
                  <a:cubicBezTo>
                    <a:pt x="1119000" y="733813"/>
                    <a:pt x="1066761" y="728933"/>
                    <a:pt x="1063636" y="728431"/>
                  </a:cubicBezTo>
                  <a:cubicBezTo>
                    <a:pt x="1049876" y="726192"/>
                    <a:pt x="1019596" y="724588"/>
                    <a:pt x="1003319" y="739695"/>
                  </a:cubicBezTo>
                  <a:cubicBezTo>
                    <a:pt x="991142" y="750859"/>
                    <a:pt x="1020408" y="753934"/>
                    <a:pt x="1030190" y="754201"/>
                  </a:cubicBezTo>
                  <a:cubicBezTo>
                    <a:pt x="1054714" y="754137"/>
                    <a:pt x="1078995" y="750237"/>
                    <a:pt x="1101749" y="742703"/>
                  </a:cubicBezTo>
                  <a:cubicBezTo>
                    <a:pt x="1123993" y="734448"/>
                    <a:pt x="1142989" y="718271"/>
                    <a:pt x="1165394" y="711686"/>
                  </a:cubicBezTo>
                  <a:cubicBezTo>
                    <a:pt x="1179398" y="707542"/>
                    <a:pt x="1164217" y="726961"/>
                    <a:pt x="1165394" y="730637"/>
                  </a:cubicBezTo>
                  <a:cubicBezTo>
                    <a:pt x="1168763" y="743171"/>
                    <a:pt x="1212316" y="719206"/>
                    <a:pt x="1223153" y="713758"/>
                  </a:cubicBezTo>
                  <a:cubicBezTo>
                    <a:pt x="1231880" y="709346"/>
                    <a:pt x="1245518" y="704333"/>
                    <a:pt x="1252013" y="698584"/>
                  </a:cubicBezTo>
                  <a:cubicBezTo>
                    <a:pt x="1257290" y="693905"/>
                    <a:pt x="1254286" y="689894"/>
                    <a:pt x="1257371" y="685215"/>
                  </a:cubicBezTo>
                  <a:cubicBezTo>
                    <a:pt x="1266422" y="671845"/>
                    <a:pt x="1255300" y="681638"/>
                    <a:pt x="1248725" y="673984"/>
                  </a:cubicBezTo>
                  <a:cubicBezTo>
                    <a:pt x="1245884" y="670642"/>
                    <a:pt x="1249821" y="665361"/>
                    <a:pt x="1247101" y="661918"/>
                  </a:cubicBezTo>
                  <a:cubicBezTo>
                    <a:pt x="1243854" y="657774"/>
                    <a:pt x="1235817" y="656036"/>
                    <a:pt x="1227821" y="655234"/>
                  </a:cubicBezTo>
                  <a:cubicBezTo>
                    <a:pt x="1225224" y="654966"/>
                    <a:pt x="1193157" y="654498"/>
                    <a:pt x="1195350" y="660481"/>
                  </a:cubicBezTo>
                  <a:close/>
                  <a:moveTo>
                    <a:pt x="1233341" y="594670"/>
                  </a:moveTo>
                  <a:cubicBezTo>
                    <a:pt x="1253636" y="586281"/>
                    <a:pt x="1280101" y="574616"/>
                    <a:pt x="1294754" y="562283"/>
                  </a:cubicBezTo>
                  <a:cubicBezTo>
                    <a:pt x="1298001" y="559575"/>
                    <a:pt x="1282577" y="558940"/>
                    <a:pt x="1286636" y="552523"/>
                  </a:cubicBezTo>
                  <a:cubicBezTo>
                    <a:pt x="1297352" y="535811"/>
                    <a:pt x="1246046" y="562149"/>
                    <a:pt x="1241013" y="563285"/>
                  </a:cubicBezTo>
                  <a:cubicBezTo>
                    <a:pt x="1230703" y="565458"/>
                    <a:pt x="1168926" y="572009"/>
                    <a:pt x="1169494" y="582203"/>
                  </a:cubicBezTo>
                  <a:cubicBezTo>
                    <a:pt x="1170184" y="593534"/>
                    <a:pt x="1210287" y="604229"/>
                    <a:pt x="1233341" y="594670"/>
                  </a:cubicBezTo>
                  <a:close/>
                  <a:moveTo>
                    <a:pt x="1357140" y="548579"/>
                  </a:moveTo>
                  <a:cubicBezTo>
                    <a:pt x="1351579" y="545504"/>
                    <a:pt x="1241378" y="598013"/>
                    <a:pt x="1262810" y="596876"/>
                  </a:cubicBezTo>
                  <a:cubicBezTo>
                    <a:pt x="1298894" y="594637"/>
                    <a:pt x="1362498" y="551420"/>
                    <a:pt x="1357181" y="548579"/>
                  </a:cubicBezTo>
                  <a:close/>
                  <a:moveTo>
                    <a:pt x="1399232" y="654532"/>
                  </a:moveTo>
                  <a:cubicBezTo>
                    <a:pt x="1435194" y="639023"/>
                    <a:pt x="1380155" y="634478"/>
                    <a:pt x="1367572" y="635246"/>
                  </a:cubicBezTo>
                  <a:cubicBezTo>
                    <a:pt x="1343705" y="636450"/>
                    <a:pt x="1316469" y="655301"/>
                    <a:pt x="1302101" y="668068"/>
                  </a:cubicBezTo>
                  <a:cubicBezTo>
                    <a:pt x="1285865" y="682374"/>
                    <a:pt x="1286555" y="687020"/>
                    <a:pt x="1311923" y="681204"/>
                  </a:cubicBezTo>
                  <a:cubicBezTo>
                    <a:pt x="1339930" y="674853"/>
                    <a:pt x="1372280" y="666197"/>
                    <a:pt x="1399232" y="654465"/>
                  </a:cubicBezTo>
                  <a:close/>
                  <a:moveTo>
                    <a:pt x="1269345" y="826663"/>
                  </a:moveTo>
                  <a:cubicBezTo>
                    <a:pt x="1295322" y="824324"/>
                    <a:pt x="1291831" y="815366"/>
                    <a:pt x="1305875" y="803969"/>
                  </a:cubicBezTo>
                  <a:cubicBezTo>
                    <a:pt x="1314765" y="796816"/>
                    <a:pt x="1328524" y="793942"/>
                    <a:pt x="1336967" y="786555"/>
                  </a:cubicBezTo>
                  <a:cubicBezTo>
                    <a:pt x="1343234" y="781134"/>
                    <a:pt x="1346826" y="773984"/>
                    <a:pt x="1347033" y="766501"/>
                  </a:cubicBezTo>
                  <a:cubicBezTo>
                    <a:pt x="1347439" y="759816"/>
                    <a:pt x="1349956" y="734982"/>
                    <a:pt x="1337373" y="734648"/>
                  </a:cubicBezTo>
                  <a:cubicBezTo>
                    <a:pt x="1306565" y="733879"/>
                    <a:pt x="1331122" y="754702"/>
                    <a:pt x="1328078" y="756039"/>
                  </a:cubicBezTo>
                  <a:cubicBezTo>
                    <a:pt x="1324019" y="757944"/>
                    <a:pt x="1319229" y="751494"/>
                    <a:pt x="1313790" y="752329"/>
                  </a:cubicBezTo>
                  <a:cubicBezTo>
                    <a:pt x="1306647" y="753432"/>
                    <a:pt x="1298894" y="757811"/>
                    <a:pt x="1292115" y="760451"/>
                  </a:cubicBezTo>
                  <a:cubicBezTo>
                    <a:pt x="1276123" y="766735"/>
                    <a:pt x="1267518" y="763225"/>
                    <a:pt x="1280344" y="753766"/>
                  </a:cubicBezTo>
                  <a:cubicBezTo>
                    <a:pt x="1289883" y="746681"/>
                    <a:pt x="1310827" y="734682"/>
                    <a:pt x="1308514" y="727027"/>
                  </a:cubicBezTo>
                  <a:cubicBezTo>
                    <a:pt x="1306444" y="720176"/>
                    <a:pt x="1283673" y="730838"/>
                    <a:pt x="1276651" y="728498"/>
                  </a:cubicBezTo>
                  <a:cubicBezTo>
                    <a:pt x="1271009" y="726626"/>
                    <a:pt x="1280710" y="719775"/>
                    <a:pt x="1265529" y="726225"/>
                  </a:cubicBezTo>
                  <a:cubicBezTo>
                    <a:pt x="1254631" y="730825"/>
                    <a:pt x="1244487" y="736543"/>
                    <a:pt x="1235330" y="743238"/>
                  </a:cubicBezTo>
                  <a:cubicBezTo>
                    <a:pt x="1222788" y="752764"/>
                    <a:pt x="1244828" y="744408"/>
                    <a:pt x="1248035" y="747383"/>
                  </a:cubicBezTo>
                  <a:cubicBezTo>
                    <a:pt x="1253149" y="752062"/>
                    <a:pt x="1204685" y="761989"/>
                    <a:pt x="1197460" y="765398"/>
                  </a:cubicBezTo>
                  <a:cubicBezTo>
                    <a:pt x="1175014" y="775893"/>
                    <a:pt x="1143922" y="807812"/>
                    <a:pt x="1187597" y="790365"/>
                  </a:cubicBezTo>
                  <a:cubicBezTo>
                    <a:pt x="1193726" y="787925"/>
                    <a:pt x="1212965" y="777765"/>
                    <a:pt x="1217593" y="780773"/>
                  </a:cubicBezTo>
                  <a:cubicBezTo>
                    <a:pt x="1224858" y="785586"/>
                    <a:pt x="1208663" y="806074"/>
                    <a:pt x="1194051" y="810085"/>
                  </a:cubicBezTo>
                  <a:cubicBezTo>
                    <a:pt x="1179438" y="814096"/>
                    <a:pt x="1167830" y="810586"/>
                    <a:pt x="1153055" y="816202"/>
                  </a:cubicBezTo>
                  <a:cubicBezTo>
                    <a:pt x="1133572" y="823655"/>
                    <a:pt x="1134140" y="833716"/>
                    <a:pt x="1148428" y="835019"/>
                  </a:cubicBezTo>
                  <a:cubicBezTo>
                    <a:pt x="1167911" y="836791"/>
                    <a:pt x="1191047" y="826764"/>
                    <a:pt x="1212072" y="824992"/>
                  </a:cubicBezTo>
                  <a:cubicBezTo>
                    <a:pt x="1233098" y="823221"/>
                    <a:pt x="1247913" y="828669"/>
                    <a:pt x="1269263" y="826697"/>
                  </a:cubicBezTo>
                  <a:cubicBezTo>
                    <a:pt x="1307661" y="823221"/>
                    <a:pt x="1231393" y="830173"/>
                    <a:pt x="1269507" y="826563"/>
                  </a:cubicBezTo>
                  <a:close/>
                  <a:moveTo>
                    <a:pt x="1443150" y="620273"/>
                  </a:moveTo>
                  <a:cubicBezTo>
                    <a:pt x="1451268" y="624551"/>
                    <a:pt x="1458087" y="624183"/>
                    <a:pt x="1471319" y="618635"/>
                  </a:cubicBezTo>
                  <a:cubicBezTo>
                    <a:pt x="1485566" y="612686"/>
                    <a:pt x="1500219" y="614223"/>
                    <a:pt x="1514831" y="610613"/>
                  </a:cubicBezTo>
                  <a:cubicBezTo>
                    <a:pt x="1536709" y="605232"/>
                    <a:pt x="1542798" y="597678"/>
                    <a:pt x="1554406" y="586481"/>
                  </a:cubicBezTo>
                  <a:cubicBezTo>
                    <a:pt x="1562037" y="579162"/>
                    <a:pt x="1567639" y="584710"/>
                    <a:pt x="1576203" y="584008"/>
                  </a:cubicBezTo>
                  <a:cubicBezTo>
                    <a:pt x="1599299" y="582069"/>
                    <a:pt x="1629376" y="569836"/>
                    <a:pt x="1651984" y="561982"/>
                  </a:cubicBezTo>
                  <a:cubicBezTo>
                    <a:pt x="1678855" y="552590"/>
                    <a:pt x="1719404" y="541426"/>
                    <a:pt x="1737223" y="524481"/>
                  </a:cubicBezTo>
                  <a:cubicBezTo>
                    <a:pt x="1747289" y="514855"/>
                    <a:pt x="1749806" y="517161"/>
                    <a:pt x="1767097" y="513718"/>
                  </a:cubicBezTo>
                  <a:cubicBezTo>
                    <a:pt x="1791451" y="508838"/>
                    <a:pt x="1840848" y="495469"/>
                    <a:pt x="1857003" y="480863"/>
                  </a:cubicBezTo>
                  <a:cubicBezTo>
                    <a:pt x="1864390" y="474178"/>
                    <a:pt x="1877298" y="449679"/>
                    <a:pt x="1858464" y="451383"/>
                  </a:cubicBezTo>
                  <a:cubicBezTo>
                    <a:pt x="1838169" y="453255"/>
                    <a:pt x="1814100" y="460876"/>
                    <a:pt x="1793886" y="466758"/>
                  </a:cubicBezTo>
                  <a:cubicBezTo>
                    <a:pt x="1767259" y="474479"/>
                    <a:pt x="1740713" y="483069"/>
                    <a:pt x="1714817" y="492661"/>
                  </a:cubicBezTo>
                  <a:cubicBezTo>
                    <a:pt x="1691681" y="501251"/>
                    <a:pt x="1676582" y="511111"/>
                    <a:pt x="1655800" y="520804"/>
                  </a:cubicBezTo>
                  <a:cubicBezTo>
                    <a:pt x="1626940" y="534174"/>
                    <a:pt x="1596295" y="538218"/>
                    <a:pt x="1569019" y="553893"/>
                  </a:cubicBezTo>
                  <a:cubicBezTo>
                    <a:pt x="1561185" y="558406"/>
                    <a:pt x="1554934" y="557236"/>
                    <a:pt x="1547709" y="557236"/>
                  </a:cubicBezTo>
                  <a:cubicBezTo>
                    <a:pt x="1530783" y="557236"/>
                    <a:pt x="1516090" y="565959"/>
                    <a:pt x="1499326" y="568633"/>
                  </a:cubicBezTo>
                  <a:cubicBezTo>
                    <a:pt x="1482563" y="571307"/>
                    <a:pt x="1521569" y="545738"/>
                    <a:pt x="1515034" y="544401"/>
                  </a:cubicBezTo>
                  <a:cubicBezTo>
                    <a:pt x="1498555" y="541059"/>
                    <a:pt x="1455043" y="554695"/>
                    <a:pt x="1435803" y="561514"/>
                  </a:cubicBezTo>
                  <a:cubicBezTo>
                    <a:pt x="1420054" y="567029"/>
                    <a:pt x="1406944" y="575151"/>
                    <a:pt x="1390465" y="579262"/>
                  </a:cubicBezTo>
                  <a:cubicBezTo>
                    <a:pt x="1371956" y="583908"/>
                    <a:pt x="1354542" y="584409"/>
                    <a:pt x="1336155" y="588687"/>
                  </a:cubicBezTo>
                  <a:cubicBezTo>
                    <a:pt x="1312776" y="594102"/>
                    <a:pt x="1277584" y="606769"/>
                    <a:pt x="1259928" y="620273"/>
                  </a:cubicBezTo>
                  <a:cubicBezTo>
                    <a:pt x="1236548" y="638021"/>
                    <a:pt x="1349428" y="610947"/>
                    <a:pt x="1364041" y="605098"/>
                  </a:cubicBezTo>
                  <a:cubicBezTo>
                    <a:pt x="1371103" y="602190"/>
                    <a:pt x="1373985" y="596442"/>
                    <a:pt x="1379708" y="594503"/>
                  </a:cubicBezTo>
                  <a:cubicBezTo>
                    <a:pt x="1391885" y="590425"/>
                    <a:pt x="1407106" y="593968"/>
                    <a:pt x="1415955" y="595205"/>
                  </a:cubicBezTo>
                  <a:cubicBezTo>
                    <a:pt x="1424803" y="596442"/>
                    <a:pt x="1436250" y="596408"/>
                    <a:pt x="1435722" y="603227"/>
                  </a:cubicBezTo>
                  <a:cubicBezTo>
                    <a:pt x="1435194" y="610045"/>
                    <a:pt x="1435316" y="615961"/>
                    <a:pt x="1443312" y="620139"/>
                  </a:cubicBezTo>
                  <a:close/>
                  <a:moveTo>
                    <a:pt x="1473430" y="509774"/>
                  </a:moveTo>
                  <a:cubicBezTo>
                    <a:pt x="1442663" y="514052"/>
                    <a:pt x="1416036" y="540390"/>
                    <a:pt x="1446843" y="534240"/>
                  </a:cubicBezTo>
                  <a:cubicBezTo>
                    <a:pt x="1473430" y="529093"/>
                    <a:pt x="1504359" y="505697"/>
                    <a:pt x="1473592" y="509774"/>
                  </a:cubicBezTo>
                  <a:close/>
                  <a:moveTo>
                    <a:pt x="1210530" y="520236"/>
                  </a:moveTo>
                  <a:cubicBezTo>
                    <a:pt x="1227172" y="517495"/>
                    <a:pt x="1229891" y="524848"/>
                    <a:pt x="1244098" y="524113"/>
                  </a:cubicBezTo>
                  <a:cubicBezTo>
                    <a:pt x="1257005" y="523411"/>
                    <a:pt x="1270197" y="517963"/>
                    <a:pt x="1282739" y="512381"/>
                  </a:cubicBezTo>
                  <a:cubicBezTo>
                    <a:pt x="1294023" y="507301"/>
                    <a:pt x="1344841" y="479158"/>
                    <a:pt x="1354705" y="484005"/>
                  </a:cubicBezTo>
                  <a:cubicBezTo>
                    <a:pt x="1373214" y="492962"/>
                    <a:pt x="1246655" y="529193"/>
                    <a:pt x="1330351" y="518230"/>
                  </a:cubicBezTo>
                  <a:cubicBezTo>
                    <a:pt x="1337535" y="517294"/>
                    <a:pt x="1356004" y="513585"/>
                    <a:pt x="1359616" y="516827"/>
                  </a:cubicBezTo>
                  <a:cubicBezTo>
                    <a:pt x="1362295" y="519233"/>
                    <a:pt x="1361849" y="519902"/>
                    <a:pt x="1369966" y="518832"/>
                  </a:cubicBezTo>
                  <a:cubicBezTo>
                    <a:pt x="1390546" y="516158"/>
                    <a:pt x="1419283" y="510075"/>
                    <a:pt x="1439578" y="501118"/>
                  </a:cubicBezTo>
                  <a:cubicBezTo>
                    <a:pt x="1450010" y="496539"/>
                    <a:pt x="1450781" y="490489"/>
                    <a:pt x="1463607" y="485709"/>
                  </a:cubicBezTo>
                  <a:cubicBezTo>
                    <a:pt x="1474566" y="481632"/>
                    <a:pt x="1497459" y="479927"/>
                    <a:pt x="1504197" y="472607"/>
                  </a:cubicBezTo>
                  <a:cubicBezTo>
                    <a:pt x="1509392" y="466858"/>
                    <a:pt x="1508986" y="460976"/>
                    <a:pt x="1510610" y="455595"/>
                  </a:cubicBezTo>
                  <a:cubicBezTo>
                    <a:pt x="1513451" y="446136"/>
                    <a:pt x="1519256" y="450915"/>
                    <a:pt x="1527414" y="445033"/>
                  </a:cubicBezTo>
                  <a:cubicBezTo>
                    <a:pt x="1535573" y="439150"/>
                    <a:pt x="1534355" y="431663"/>
                    <a:pt x="1541905" y="425246"/>
                  </a:cubicBezTo>
                  <a:cubicBezTo>
                    <a:pt x="1552702" y="416121"/>
                    <a:pt x="1571535" y="408701"/>
                    <a:pt x="1585985" y="401448"/>
                  </a:cubicBezTo>
                  <a:cubicBezTo>
                    <a:pt x="1592804" y="398106"/>
                    <a:pt x="1606524" y="391187"/>
                    <a:pt x="1599096" y="388079"/>
                  </a:cubicBezTo>
                  <a:cubicBezTo>
                    <a:pt x="1588705" y="383901"/>
                    <a:pt x="1565853" y="395532"/>
                    <a:pt x="1553919" y="399878"/>
                  </a:cubicBezTo>
                  <a:cubicBezTo>
                    <a:pt x="1544787" y="403220"/>
                    <a:pt x="1520839" y="410372"/>
                    <a:pt x="1522381" y="401849"/>
                  </a:cubicBezTo>
                  <a:cubicBezTo>
                    <a:pt x="1523518" y="395466"/>
                    <a:pt x="1527414" y="392558"/>
                    <a:pt x="1513411" y="393527"/>
                  </a:cubicBezTo>
                  <a:cubicBezTo>
                    <a:pt x="1507160" y="393995"/>
                    <a:pt x="1493847" y="395833"/>
                    <a:pt x="1500868" y="389449"/>
                  </a:cubicBezTo>
                  <a:cubicBezTo>
                    <a:pt x="1508986" y="382029"/>
                    <a:pt x="1491127" y="385104"/>
                    <a:pt x="1484389" y="387277"/>
                  </a:cubicBezTo>
                  <a:cubicBezTo>
                    <a:pt x="1470589" y="391689"/>
                    <a:pt x="1476271" y="393327"/>
                    <a:pt x="1476271" y="398039"/>
                  </a:cubicBezTo>
                  <a:cubicBezTo>
                    <a:pt x="1476271" y="403955"/>
                    <a:pt x="1451268" y="403989"/>
                    <a:pt x="1447858" y="403688"/>
                  </a:cubicBezTo>
                  <a:cubicBezTo>
                    <a:pt x="1438685" y="402886"/>
                    <a:pt x="1436615" y="399476"/>
                    <a:pt x="1425250" y="400914"/>
                  </a:cubicBezTo>
                  <a:cubicBezTo>
                    <a:pt x="1409014" y="402986"/>
                    <a:pt x="1392129" y="407064"/>
                    <a:pt x="1375771" y="410038"/>
                  </a:cubicBezTo>
                  <a:cubicBezTo>
                    <a:pt x="1340174" y="416723"/>
                    <a:pt x="1302709" y="412512"/>
                    <a:pt x="1267153" y="424878"/>
                  </a:cubicBezTo>
                  <a:cubicBezTo>
                    <a:pt x="1261998" y="426683"/>
                    <a:pt x="1242799" y="434036"/>
                    <a:pt x="1243814" y="438248"/>
                  </a:cubicBezTo>
                  <a:cubicBezTo>
                    <a:pt x="1244828" y="442459"/>
                    <a:pt x="1275149" y="428455"/>
                    <a:pt x="1273241" y="435373"/>
                  </a:cubicBezTo>
                  <a:cubicBezTo>
                    <a:pt x="1272145" y="439083"/>
                    <a:pt x="1195471" y="468062"/>
                    <a:pt x="1240079" y="458469"/>
                  </a:cubicBezTo>
                  <a:cubicBezTo>
                    <a:pt x="1282415" y="449411"/>
                    <a:pt x="1203548" y="481197"/>
                    <a:pt x="1200504" y="488818"/>
                  </a:cubicBezTo>
                  <a:cubicBezTo>
                    <a:pt x="1193076" y="506599"/>
                    <a:pt x="1257330" y="483670"/>
                    <a:pt x="1248968" y="492394"/>
                  </a:cubicBezTo>
                  <a:cubicBezTo>
                    <a:pt x="1239876" y="501719"/>
                    <a:pt x="1221773" y="505396"/>
                    <a:pt x="1208379" y="510142"/>
                  </a:cubicBezTo>
                  <a:cubicBezTo>
                    <a:pt x="1186217" y="517896"/>
                    <a:pt x="1193320" y="523211"/>
                    <a:pt x="1211058" y="520169"/>
                  </a:cubicBezTo>
                  <a:cubicBezTo>
                    <a:pt x="1236102" y="516025"/>
                    <a:pt x="1183173" y="524848"/>
                    <a:pt x="1210692" y="520236"/>
                  </a:cubicBezTo>
                  <a:close/>
                  <a:moveTo>
                    <a:pt x="1356166" y="378687"/>
                  </a:moveTo>
                  <a:cubicBezTo>
                    <a:pt x="1370981" y="366788"/>
                    <a:pt x="1391723" y="360170"/>
                    <a:pt x="1371915" y="377116"/>
                  </a:cubicBezTo>
                  <a:cubicBezTo>
                    <a:pt x="1357709" y="389316"/>
                    <a:pt x="1400734" y="370866"/>
                    <a:pt x="1403900" y="370431"/>
                  </a:cubicBezTo>
                  <a:cubicBezTo>
                    <a:pt x="1401667" y="370732"/>
                    <a:pt x="1373335" y="396635"/>
                    <a:pt x="1405442" y="387711"/>
                  </a:cubicBezTo>
                  <a:cubicBezTo>
                    <a:pt x="1418471" y="384135"/>
                    <a:pt x="1420663" y="384068"/>
                    <a:pt x="1429268" y="386174"/>
                  </a:cubicBezTo>
                  <a:cubicBezTo>
                    <a:pt x="1437873" y="388280"/>
                    <a:pt x="1455205" y="381996"/>
                    <a:pt x="1464825" y="378821"/>
                  </a:cubicBezTo>
                  <a:cubicBezTo>
                    <a:pt x="1471644" y="376514"/>
                    <a:pt x="1533462" y="347202"/>
                    <a:pt x="1527779" y="346266"/>
                  </a:cubicBezTo>
                  <a:cubicBezTo>
                    <a:pt x="1534558" y="347403"/>
                    <a:pt x="1527090" y="356293"/>
                    <a:pt x="1532245" y="357797"/>
                  </a:cubicBezTo>
                  <a:cubicBezTo>
                    <a:pt x="1537399" y="359301"/>
                    <a:pt x="1553270" y="354622"/>
                    <a:pt x="1560089" y="352784"/>
                  </a:cubicBezTo>
                  <a:cubicBezTo>
                    <a:pt x="1581277" y="347102"/>
                    <a:pt x="1609284" y="339414"/>
                    <a:pt x="1627671" y="329020"/>
                  </a:cubicBezTo>
                  <a:cubicBezTo>
                    <a:pt x="1636154" y="324207"/>
                    <a:pt x="1631730" y="319594"/>
                    <a:pt x="1643907" y="315650"/>
                  </a:cubicBezTo>
                  <a:cubicBezTo>
                    <a:pt x="1657748" y="310937"/>
                    <a:pt x="1670858" y="309667"/>
                    <a:pt x="1684497" y="304152"/>
                  </a:cubicBezTo>
                  <a:cubicBezTo>
                    <a:pt x="1709106" y="294329"/>
                    <a:pt x="1732689" y="282848"/>
                    <a:pt x="1755001" y="269826"/>
                  </a:cubicBezTo>
                  <a:cubicBezTo>
                    <a:pt x="1765798" y="263442"/>
                    <a:pt x="1778502" y="243422"/>
                    <a:pt x="1787473" y="252413"/>
                  </a:cubicBezTo>
                  <a:cubicBezTo>
                    <a:pt x="1800705" y="265481"/>
                    <a:pt x="1740713" y="289178"/>
                    <a:pt x="1720378" y="297534"/>
                  </a:cubicBezTo>
                  <a:cubicBezTo>
                    <a:pt x="1707268" y="302815"/>
                    <a:pt x="1639198" y="327148"/>
                    <a:pt x="1676257" y="326646"/>
                  </a:cubicBezTo>
                  <a:cubicBezTo>
                    <a:pt x="1682467" y="326479"/>
                    <a:pt x="1747086" y="322669"/>
                    <a:pt x="1726142" y="329488"/>
                  </a:cubicBezTo>
                  <a:cubicBezTo>
                    <a:pt x="1692858" y="340317"/>
                    <a:pt x="1670128" y="334568"/>
                    <a:pt x="1640213" y="338345"/>
                  </a:cubicBezTo>
                  <a:cubicBezTo>
                    <a:pt x="1609162" y="342289"/>
                    <a:pt x="1575270" y="354421"/>
                    <a:pt x="1545558" y="366253"/>
                  </a:cubicBezTo>
                  <a:cubicBezTo>
                    <a:pt x="1520555" y="376281"/>
                    <a:pt x="1533381" y="393159"/>
                    <a:pt x="1552052" y="392290"/>
                  </a:cubicBezTo>
                  <a:cubicBezTo>
                    <a:pt x="1562321" y="391822"/>
                    <a:pt x="1576406" y="385071"/>
                    <a:pt x="1587649" y="383266"/>
                  </a:cubicBezTo>
                  <a:cubicBezTo>
                    <a:pt x="1603532" y="380796"/>
                    <a:pt x="1619914" y="381635"/>
                    <a:pt x="1635302" y="385706"/>
                  </a:cubicBezTo>
                  <a:cubicBezTo>
                    <a:pt x="1646667" y="388614"/>
                    <a:pt x="1661685" y="387444"/>
                    <a:pt x="1677109" y="384570"/>
                  </a:cubicBezTo>
                  <a:cubicBezTo>
                    <a:pt x="1685755" y="382932"/>
                    <a:pt x="1705116" y="376882"/>
                    <a:pt x="1711489" y="379289"/>
                  </a:cubicBezTo>
                  <a:cubicBezTo>
                    <a:pt x="1723057" y="383567"/>
                    <a:pt x="1658276" y="396000"/>
                    <a:pt x="1653811" y="396869"/>
                  </a:cubicBezTo>
                  <a:cubicBezTo>
                    <a:pt x="1620487" y="403554"/>
                    <a:pt x="1591790" y="410974"/>
                    <a:pt x="1563458" y="428054"/>
                  </a:cubicBezTo>
                  <a:cubicBezTo>
                    <a:pt x="1551687" y="435106"/>
                    <a:pt x="1515034" y="464820"/>
                    <a:pt x="1549049" y="459071"/>
                  </a:cubicBezTo>
                  <a:cubicBezTo>
                    <a:pt x="1563011" y="456798"/>
                    <a:pt x="1578273" y="449812"/>
                    <a:pt x="1590328" y="443662"/>
                  </a:cubicBezTo>
                  <a:cubicBezTo>
                    <a:pt x="1602383" y="437512"/>
                    <a:pt x="1620446" y="421035"/>
                    <a:pt x="1632745" y="417458"/>
                  </a:cubicBezTo>
                  <a:cubicBezTo>
                    <a:pt x="1633435" y="417224"/>
                    <a:pt x="1609162" y="443362"/>
                    <a:pt x="1618741" y="444197"/>
                  </a:cubicBezTo>
                  <a:cubicBezTo>
                    <a:pt x="1626859" y="444999"/>
                    <a:pt x="1679626" y="437011"/>
                    <a:pt x="1665176" y="449946"/>
                  </a:cubicBezTo>
                  <a:cubicBezTo>
                    <a:pt x="1646424" y="466658"/>
                    <a:pt x="1623693" y="458369"/>
                    <a:pt x="1610420" y="455962"/>
                  </a:cubicBezTo>
                  <a:cubicBezTo>
                    <a:pt x="1594185" y="452921"/>
                    <a:pt x="1531067" y="468162"/>
                    <a:pt x="1530499" y="483370"/>
                  </a:cubicBezTo>
                  <a:cubicBezTo>
                    <a:pt x="1530012" y="495569"/>
                    <a:pt x="1585214" y="474412"/>
                    <a:pt x="1578152" y="485141"/>
                  </a:cubicBezTo>
                  <a:cubicBezTo>
                    <a:pt x="1573727" y="491826"/>
                    <a:pt x="1552702" y="497875"/>
                    <a:pt x="1543001" y="502455"/>
                  </a:cubicBezTo>
                  <a:cubicBezTo>
                    <a:pt x="1528210" y="508955"/>
                    <a:pt x="1514348" y="516803"/>
                    <a:pt x="1501680" y="525851"/>
                  </a:cubicBezTo>
                  <a:cubicBezTo>
                    <a:pt x="1478828" y="543432"/>
                    <a:pt x="1518403" y="534274"/>
                    <a:pt x="1533178" y="529193"/>
                  </a:cubicBezTo>
                  <a:cubicBezTo>
                    <a:pt x="1556639" y="521005"/>
                    <a:pt x="1587812" y="503992"/>
                    <a:pt x="1611963" y="500616"/>
                  </a:cubicBezTo>
                  <a:cubicBezTo>
                    <a:pt x="1641309" y="496472"/>
                    <a:pt x="1658681" y="493430"/>
                    <a:pt x="1679098" y="476585"/>
                  </a:cubicBezTo>
                  <a:cubicBezTo>
                    <a:pt x="1689164" y="468296"/>
                    <a:pt x="1710271" y="462680"/>
                    <a:pt x="1724153" y="458135"/>
                  </a:cubicBezTo>
                  <a:cubicBezTo>
                    <a:pt x="1742905" y="451951"/>
                    <a:pt x="1764053" y="442860"/>
                    <a:pt x="1783251" y="441022"/>
                  </a:cubicBezTo>
                  <a:cubicBezTo>
                    <a:pt x="1797945" y="439618"/>
                    <a:pt x="1807605" y="442392"/>
                    <a:pt x="1823841" y="436577"/>
                  </a:cubicBezTo>
                  <a:cubicBezTo>
                    <a:pt x="1842431" y="429892"/>
                    <a:pt x="1851239" y="420868"/>
                    <a:pt x="1864674" y="411810"/>
                  </a:cubicBezTo>
                  <a:cubicBezTo>
                    <a:pt x="1875553" y="404490"/>
                    <a:pt x="1892519" y="402652"/>
                    <a:pt x="1903072" y="395332"/>
                  </a:cubicBezTo>
                  <a:cubicBezTo>
                    <a:pt x="1913626" y="388012"/>
                    <a:pt x="1902261" y="379021"/>
                    <a:pt x="1888582" y="382698"/>
                  </a:cubicBezTo>
                  <a:cubicBezTo>
                    <a:pt x="1877663" y="385639"/>
                    <a:pt x="1871534" y="392457"/>
                    <a:pt x="1861630" y="396067"/>
                  </a:cubicBezTo>
                  <a:cubicBezTo>
                    <a:pt x="1857206" y="397705"/>
                    <a:pt x="1847749" y="393761"/>
                    <a:pt x="1841132" y="394697"/>
                  </a:cubicBezTo>
                  <a:cubicBezTo>
                    <a:pt x="1825830" y="396836"/>
                    <a:pt x="1757802" y="426817"/>
                    <a:pt x="1753905" y="419865"/>
                  </a:cubicBezTo>
                  <a:cubicBezTo>
                    <a:pt x="1747817" y="408969"/>
                    <a:pt x="1807768" y="397070"/>
                    <a:pt x="1818078" y="393527"/>
                  </a:cubicBezTo>
                  <a:cubicBezTo>
                    <a:pt x="1836708" y="386842"/>
                    <a:pt x="1861062" y="378018"/>
                    <a:pt x="1876040" y="368292"/>
                  </a:cubicBezTo>
                  <a:cubicBezTo>
                    <a:pt x="1889028" y="359869"/>
                    <a:pt x="1869018" y="359903"/>
                    <a:pt x="1866664" y="355157"/>
                  </a:cubicBezTo>
                  <a:cubicBezTo>
                    <a:pt x="1863497" y="348706"/>
                    <a:pt x="1932094" y="331760"/>
                    <a:pt x="1941755" y="326780"/>
                  </a:cubicBezTo>
                  <a:cubicBezTo>
                    <a:pt x="1965094" y="314413"/>
                    <a:pt x="1989366" y="290014"/>
                    <a:pt x="1985023" y="276645"/>
                  </a:cubicBezTo>
                  <a:cubicBezTo>
                    <a:pt x="1981330" y="265348"/>
                    <a:pt x="1934530" y="281859"/>
                    <a:pt x="1920526" y="286505"/>
                  </a:cubicBezTo>
                  <a:cubicBezTo>
                    <a:pt x="1905102" y="291552"/>
                    <a:pt x="1853999" y="308898"/>
                    <a:pt x="1893737" y="289112"/>
                  </a:cubicBezTo>
                  <a:cubicBezTo>
                    <a:pt x="1911868" y="280244"/>
                    <a:pt x="1930881" y="272651"/>
                    <a:pt x="1950563" y="266417"/>
                  </a:cubicBezTo>
                  <a:cubicBezTo>
                    <a:pt x="1964688" y="261838"/>
                    <a:pt x="1984455" y="257593"/>
                    <a:pt x="1995739" y="249939"/>
                  </a:cubicBezTo>
                  <a:cubicBezTo>
                    <a:pt x="2007023" y="242285"/>
                    <a:pt x="1987174" y="235935"/>
                    <a:pt x="2008444" y="229885"/>
                  </a:cubicBezTo>
                  <a:cubicBezTo>
                    <a:pt x="2029713" y="223836"/>
                    <a:pt x="2085564" y="218588"/>
                    <a:pt x="2084184" y="200907"/>
                  </a:cubicBezTo>
                  <a:cubicBezTo>
                    <a:pt x="2083575" y="192685"/>
                    <a:pt x="2109228" y="183961"/>
                    <a:pt x="2121811" y="176341"/>
                  </a:cubicBezTo>
                  <a:cubicBezTo>
                    <a:pt x="2152253" y="157857"/>
                    <a:pt x="2180382" y="138238"/>
                    <a:pt x="2212894" y="120757"/>
                  </a:cubicBezTo>
                  <a:cubicBezTo>
                    <a:pt x="2238060" y="107187"/>
                    <a:pt x="2279055" y="94988"/>
                    <a:pt x="2299919" y="80147"/>
                  </a:cubicBezTo>
                  <a:cubicBezTo>
                    <a:pt x="2317859" y="67380"/>
                    <a:pt x="2279624" y="76805"/>
                    <a:pt x="2271506" y="79145"/>
                  </a:cubicBezTo>
                  <a:cubicBezTo>
                    <a:pt x="2247801" y="86097"/>
                    <a:pt x="2222433" y="97060"/>
                    <a:pt x="2198120" y="101906"/>
                  </a:cubicBezTo>
                  <a:cubicBezTo>
                    <a:pt x="2182614" y="104948"/>
                    <a:pt x="2224543" y="86732"/>
                    <a:pt x="2228115" y="85362"/>
                  </a:cubicBezTo>
                  <a:cubicBezTo>
                    <a:pt x="2249953" y="76872"/>
                    <a:pt x="2269842" y="72594"/>
                    <a:pt x="2292004" y="66110"/>
                  </a:cubicBezTo>
                  <a:cubicBezTo>
                    <a:pt x="2321066" y="57620"/>
                    <a:pt x="2347733" y="42713"/>
                    <a:pt x="2371438" y="30346"/>
                  </a:cubicBezTo>
                  <a:cubicBezTo>
                    <a:pt x="2375010" y="28374"/>
                    <a:pt x="2438654" y="-5216"/>
                    <a:pt x="2407238" y="265"/>
                  </a:cubicBezTo>
                  <a:cubicBezTo>
                    <a:pt x="2382437" y="4610"/>
                    <a:pt x="2352604" y="20787"/>
                    <a:pt x="2329833" y="15406"/>
                  </a:cubicBezTo>
                  <a:cubicBezTo>
                    <a:pt x="2321269" y="13401"/>
                    <a:pt x="2326586" y="7117"/>
                    <a:pt x="2311527" y="10860"/>
                  </a:cubicBezTo>
                  <a:cubicBezTo>
                    <a:pt x="2306778" y="11997"/>
                    <a:pt x="2283114" y="20887"/>
                    <a:pt x="2280557" y="18147"/>
                  </a:cubicBezTo>
                  <a:cubicBezTo>
                    <a:pt x="2273779" y="10359"/>
                    <a:pt x="2199905" y="46657"/>
                    <a:pt x="2192193" y="50200"/>
                  </a:cubicBezTo>
                  <a:cubicBezTo>
                    <a:pt x="2164105" y="62634"/>
                    <a:pt x="2211149" y="29812"/>
                    <a:pt x="2212245" y="31182"/>
                  </a:cubicBezTo>
                  <a:cubicBezTo>
                    <a:pt x="2210743" y="29243"/>
                    <a:pt x="2110770" y="57486"/>
                    <a:pt x="2100663" y="59826"/>
                  </a:cubicBezTo>
                  <a:cubicBezTo>
                    <a:pt x="2076878" y="64973"/>
                    <a:pt x="2067583" y="64037"/>
                    <a:pt x="2046233" y="76103"/>
                  </a:cubicBezTo>
                  <a:cubicBezTo>
                    <a:pt x="2024882" y="88169"/>
                    <a:pt x="2003857" y="82186"/>
                    <a:pt x="1978488" y="92548"/>
                  </a:cubicBezTo>
                  <a:cubicBezTo>
                    <a:pt x="1970655" y="95723"/>
                    <a:pt x="1959979" y="100670"/>
                    <a:pt x="1956813" y="105516"/>
                  </a:cubicBezTo>
                  <a:cubicBezTo>
                    <a:pt x="1953647" y="110362"/>
                    <a:pt x="1968016" y="113371"/>
                    <a:pt x="1949142" y="115877"/>
                  </a:cubicBezTo>
                  <a:cubicBezTo>
                    <a:pt x="1933596" y="117916"/>
                    <a:pt x="1923733" y="115242"/>
                    <a:pt x="1907131" y="120256"/>
                  </a:cubicBezTo>
                  <a:cubicBezTo>
                    <a:pt x="1887648" y="126172"/>
                    <a:pt x="1869789" y="134728"/>
                    <a:pt x="1850306" y="140811"/>
                  </a:cubicBezTo>
                  <a:cubicBezTo>
                    <a:pt x="1839631" y="144154"/>
                    <a:pt x="1827332" y="146293"/>
                    <a:pt x="1819823" y="152576"/>
                  </a:cubicBezTo>
                  <a:cubicBezTo>
                    <a:pt x="1814343" y="157155"/>
                    <a:pt x="1812233" y="161333"/>
                    <a:pt x="1802247" y="164107"/>
                  </a:cubicBezTo>
                  <a:cubicBezTo>
                    <a:pt x="1798838" y="164943"/>
                    <a:pt x="1712098" y="182758"/>
                    <a:pt x="1718957" y="187504"/>
                  </a:cubicBezTo>
                  <a:cubicBezTo>
                    <a:pt x="1720540" y="188574"/>
                    <a:pt x="1728983" y="185833"/>
                    <a:pt x="1725289" y="189610"/>
                  </a:cubicBezTo>
                  <a:cubicBezTo>
                    <a:pt x="1719282" y="195793"/>
                    <a:pt x="1705441" y="197397"/>
                    <a:pt x="1696268" y="200205"/>
                  </a:cubicBezTo>
                  <a:cubicBezTo>
                    <a:pt x="1671224" y="207859"/>
                    <a:pt x="1692209" y="209463"/>
                    <a:pt x="1686932" y="215379"/>
                  </a:cubicBezTo>
                  <a:cubicBezTo>
                    <a:pt x="1678327" y="224738"/>
                    <a:pt x="1636154" y="227278"/>
                    <a:pt x="1630675" y="237974"/>
                  </a:cubicBezTo>
                  <a:cubicBezTo>
                    <a:pt x="1625966" y="247232"/>
                    <a:pt x="1624180" y="255287"/>
                    <a:pt x="1600273" y="258663"/>
                  </a:cubicBezTo>
                  <a:cubicBezTo>
                    <a:pt x="1583428" y="261036"/>
                    <a:pt x="1571048" y="261069"/>
                    <a:pt x="1553108" y="265983"/>
                  </a:cubicBezTo>
                  <a:cubicBezTo>
                    <a:pt x="1549049" y="267052"/>
                    <a:pt x="1523152" y="274004"/>
                    <a:pt x="1524005" y="277647"/>
                  </a:cubicBezTo>
                  <a:cubicBezTo>
                    <a:pt x="1524857" y="281291"/>
                    <a:pt x="1539510" y="277447"/>
                    <a:pt x="1523477" y="284867"/>
                  </a:cubicBezTo>
                  <a:cubicBezTo>
                    <a:pt x="1514831" y="288911"/>
                    <a:pt x="1503791" y="292554"/>
                    <a:pt x="1496282" y="297434"/>
                  </a:cubicBezTo>
                  <a:cubicBezTo>
                    <a:pt x="1489382" y="301880"/>
                    <a:pt x="1507566" y="298771"/>
                    <a:pt x="1505009" y="303417"/>
                  </a:cubicBezTo>
                  <a:cubicBezTo>
                    <a:pt x="1496526" y="318825"/>
                    <a:pt x="1464419" y="315951"/>
                    <a:pt x="1447574" y="321232"/>
                  </a:cubicBezTo>
                  <a:cubicBezTo>
                    <a:pt x="1425209" y="328217"/>
                    <a:pt x="1419973" y="337008"/>
                    <a:pt x="1411044" y="348505"/>
                  </a:cubicBezTo>
                  <a:cubicBezTo>
                    <a:pt x="1406091" y="354889"/>
                    <a:pt x="1386690" y="355792"/>
                    <a:pt x="1375690" y="360337"/>
                  </a:cubicBezTo>
                  <a:cubicBezTo>
                    <a:pt x="1359454" y="367022"/>
                    <a:pt x="1325074" y="382263"/>
                    <a:pt x="1317768" y="392792"/>
                  </a:cubicBezTo>
                  <a:cubicBezTo>
                    <a:pt x="1312126" y="400847"/>
                    <a:pt x="1352229" y="381327"/>
                    <a:pt x="1356044" y="378319"/>
                  </a:cubicBezTo>
                  <a:close/>
                  <a:moveTo>
                    <a:pt x="2051915" y="839264"/>
                  </a:moveTo>
                  <a:cubicBezTo>
                    <a:pt x="2061575" y="835153"/>
                    <a:pt x="2072941" y="810854"/>
                    <a:pt x="2047450" y="820313"/>
                  </a:cubicBezTo>
                  <a:cubicBezTo>
                    <a:pt x="2021960" y="829772"/>
                    <a:pt x="2037019" y="845648"/>
                    <a:pt x="2051915" y="839264"/>
                  </a:cubicBezTo>
                  <a:close/>
                  <a:moveTo>
                    <a:pt x="1918294" y="867741"/>
                  </a:moveTo>
                  <a:cubicBezTo>
                    <a:pt x="1944718" y="866538"/>
                    <a:pt x="1969274" y="835721"/>
                    <a:pt x="1963592" y="830975"/>
                  </a:cubicBezTo>
                  <a:cubicBezTo>
                    <a:pt x="1957909" y="826229"/>
                    <a:pt x="1886228" y="869178"/>
                    <a:pt x="1918294" y="867741"/>
                  </a:cubicBezTo>
                  <a:close/>
                  <a:moveTo>
                    <a:pt x="2001827" y="793307"/>
                  </a:moveTo>
                  <a:cubicBezTo>
                    <a:pt x="2001056" y="784249"/>
                    <a:pt x="1957179" y="798454"/>
                    <a:pt x="1949061" y="792872"/>
                  </a:cubicBezTo>
                  <a:cubicBezTo>
                    <a:pt x="1935626" y="783313"/>
                    <a:pt x="1904412" y="792137"/>
                    <a:pt x="1879530" y="795212"/>
                  </a:cubicBezTo>
                  <a:cubicBezTo>
                    <a:pt x="1865527" y="796950"/>
                    <a:pt x="1845841" y="801228"/>
                    <a:pt x="1833867" y="799390"/>
                  </a:cubicBezTo>
                  <a:cubicBezTo>
                    <a:pt x="1824450" y="797952"/>
                    <a:pt x="1825384" y="788895"/>
                    <a:pt x="1810244" y="798053"/>
                  </a:cubicBezTo>
                  <a:cubicBezTo>
                    <a:pt x="1795104" y="807211"/>
                    <a:pt x="1797011" y="814764"/>
                    <a:pt x="1797620" y="823588"/>
                  </a:cubicBezTo>
                  <a:cubicBezTo>
                    <a:pt x="1798229" y="831777"/>
                    <a:pt x="1790558" y="837760"/>
                    <a:pt x="1799569" y="843642"/>
                  </a:cubicBezTo>
                  <a:cubicBezTo>
                    <a:pt x="1806997" y="848656"/>
                    <a:pt x="1798310" y="856745"/>
                    <a:pt x="1790477" y="863697"/>
                  </a:cubicBezTo>
                  <a:cubicBezTo>
                    <a:pt x="1786174" y="867473"/>
                    <a:pt x="1775783" y="881043"/>
                    <a:pt x="1793561" y="873924"/>
                  </a:cubicBezTo>
                  <a:cubicBezTo>
                    <a:pt x="1800786" y="870983"/>
                    <a:pt x="1827779" y="852366"/>
                    <a:pt x="1832162" y="859385"/>
                  </a:cubicBezTo>
                  <a:cubicBezTo>
                    <a:pt x="1835653" y="864967"/>
                    <a:pt x="1836789" y="870114"/>
                    <a:pt x="1852457" y="863095"/>
                  </a:cubicBezTo>
                  <a:cubicBezTo>
                    <a:pt x="1866594" y="856524"/>
                    <a:pt x="1879011" y="847707"/>
                    <a:pt x="1888988" y="837158"/>
                  </a:cubicBezTo>
                  <a:cubicBezTo>
                    <a:pt x="1897106" y="828702"/>
                    <a:pt x="1898973" y="821015"/>
                    <a:pt x="1917401" y="817104"/>
                  </a:cubicBezTo>
                  <a:cubicBezTo>
                    <a:pt x="1929984" y="814430"/>
                    <a:pt x="2003289" y="810419"/>
                    <a:pt x="2001868" y="793106"/>
                  </a:cubicBezTo>
                  <a:close/>
                  <a:moveTo>
                    <a:pt x="2451724" y="581301"/>
                  </a:moveTo>
                  <a:cubicBezTo>
                    <a:pt x="2476484" y="575385"/>
                    <a:pt x="2501609" y="592197"/>
                    <a:pt x="2526166" y="591328"/>
                  </a:cubicBezTo>
                  <a:cubicBezTo>
                    <a:pt x="2536800" y="590927"/>
                    <a:pt x="2541834" y="587150"/>
                    <a:pt x="2543173" y="581735"/>
                  </a:cubicBezTo>
                  <a:cubicBezTo>
                    <a:pt x="2545243" y="573078"/>
                    <a:pt x="2548287" y="570806"/>
                    <a:pt x="2564077" y="565625"/>
                  </a:cubicBezTo>
                  <a:cubicBezTo>
                    <a:pt x="2578892" y="560745"/>
                    <a:pt x="2571383" y="558272"/>
                    <a:pt x="2575077" y="551621"/>
                  </a:cubicBezTo>
                  <a:cubicBezTo>
                    <a:pt x="2579663" y="543432"/>
                    <a:pt x="2592124" y="534909"/>
                    <a:pt x="2603774" y="528425"/>
                  </a:cubicBezTo>
                  <a:cubicBezTo>
                    <a:pt x="2637788" y="509173"/>
                    <a:pt x="2560627" y="526453"/>
                    <a:pt x="2551007" y="527255"/>
                  </a:cubicBezTo>
                  <a:cubicBezTo>
                    <a:pt x="2540535" y="528024"/>
                    <a:pt x="2534446" y="524447"/>
                    <a:pt x="2532539" y="519701"/>
                  </a:cubicBezTo>
                  <a:cubicBezTo>
                    <a:pt x="2530956" y="515690"/>
                    <a:pt x="2513867" y="516125"/>
                    <a:pt x="2507373" y="516125"/>
                  </a:cubicBezTo>
                  <a:cubicBezTo>
                    <a:pt x="2479528" y="516125"/>
                    <a:pt x="2453307" y="524380"/>
                    <a:pt x="2424692" y="525550"/>
                  </a:cubicBezTo>
                  <a:cubicBezTo>
                    <a:pt x="2403057" y="526386"/>
                    <a:pt x="2351955" y="540758"/>
                    <a:pt x="2349844" y="523244"/>
                  </a:cubicBezTo>
                  <a:cubicBezTo>
                    <a:pt x="2349032" y="516760"/>
                    <a:pt x="2407400" y="505496"/>
                    <a:pt x="2392747" y="501853"/>
                  </a:cubicBezTo>
                  <a:cubicBezTo>
                    <a:pt x="2390515" y="501251"/>
                    <a:pt x="2334217" y="512983"/>
                    <a:pt x="2353132" y="501853"/>
                  </a:cubicBezTo>
                  <a:cubicBezTo>
                    <a:pt x="2362102" y="496539"/>
                    <a:pt x="2377486" y="491024"/>
                    <a:pt x="2362995" y="487481"/>
                  </a:cubicBezTo>
                  <a:cubicBezTo>
                    <a:pt x="2349479" y="484138"/>
                    <a:pt x="2339412" y="484439"/>
                    <a:pt x="2329833" y="493831"/>
                  </a:cubicBezTo>
                  <a:cubicBezTo>
                    <a:pt x="2318468" y="505028"/>
                    <a:pt x="2315911" y="494332"/>
                    <a:pt x="2319523" y="488450"/>
                  </a:cubicBezTo>
                  <a:cubicBezTo>
                    <a:pt x="2324273" y="480696"/>
                    <a:pt x="2320822" y="479760"/>
                    <a:pt x="2306251" y="481498"/>
                  </a:cubicBezTo>
                  <a:cubicBezTo>
                    <a:pt x="2292353" y="482838"/>
                    <a:pt x="2278865" y="486237"/>
                    <a:pt x="2266432" y="491525"/>
                  </a:cubicBezTo>
                  <a:cubicBezTo>
                    <a:pt x="2244473" y="502321"/>
                    <a:pt x="2248694" y="491859"/>
                    <a:pt x="2237086" y="489820"/>
                  </a:cubicBezTo>
                  <a:cubicBezTo>
                    <a:pt x="2221864" y="487147"/>
                    <a:pt x="2186876" y="521573"/>
                    <a:pt x="2177703" y="511746"/>
                  </a:cubicBezTo>
                  <a:cubicBezTo>
                    <a:pt x="2175957" y="509875"/>
                    <a:pt x="2203153" y="496940"/>
                    <a:pt x="2206116" y="492361"/>
                  </a:cubicBezTo>
                  <a:cubicBezTo>
                    <a:pt x="2212935" y="482334"/>
                    <a:pt x="2193939" y="484038"/>
                    <a:pt x="2181762" y="487381"/>
                  </a:cubicBezTo>
                  <a:cubicBezTo>
                    <a:pt x="2157408" y="494065"/>
                    <a:pt x="2155825" y="509707"/>
                    <a:pt x="2131146" y="507134"/>
                  </a:cubicBezTo>
                  <a:cubicBezTo>
                    <a:pt x="2123028" y="506265"/>
                    <a:pt x="2110852" y="504393"/>
                    <a:pt x="2108457" y="499680"/>
                  </a:cubicBezTo>
                  <a:cubicBezTo>
                    <a:pt x="2106508" y="495536"/>
                    <a:pt x="2086132" y="502354"/>
                    <a:pt x="2080531" y="503691"/>
                  </a:cubicBezTo>
                  <a:cubicBezTo>
                    <a:pt x="2056177" y="509574"/>
                    <a:pt x="2064782" y="495135"/>
                    <a:pt x="2040834" y="498076"/>
                  </a:cubicBezTo>
                  <a:cubicBezTo>
                    <a:pt x="2016886" y="501017"/>
                    <a:pt x="1979949" y="509473"/>
                    <a:pt x="1960954" y="522609"/>
                  </a:cubicBezTo>
                  <a:cubicBezTo>
                    <a:pt x="1955636" y="526219"/>
                    <a:pt x="1950278" y="530865"/>
                    <a:pt x="1949954" y="534842"/>
                  </a:cubicBezTo>
                  <a:cubicBezTo>
                    <a:pt x="1949954" y="537014"/>
                    <a:pt x="1954784" y="539622"/>
                    <a:pt x="1950644" y="542362"/>
                  </a:cubicBezTo>
                  <a:cubicBezTo>
                    <a:pt x="1940090" y="549348"/>
                    <a:pt x="1931932" y="541259"/>
                    <a:pt x="1926290" y="540490"/>
                  </a:cubicBezTo>
                  <a:cubicBezTo>
                    <a:pt x="1910825" y="538352"/>
                    <a:pt x="1888257" y="570171"/>
                    <a:pt x="1874538" y="569101"/>
                  </a:cubicBezTo>
                  <a:cubicBezTo>
                    <a:pt x="1860819" y="568032"/>
                    <a:pt x="1874538" y="544100"/>
                    <a:pt x="1860453" y="539922"/>
                  </a:cubicBezTo>
                  <a:cubicBezTo>
                    <a:pt x="1837642" y="533238"/>
                    <a:pt x="1821771" y="523211"/>
                    <a:pt x="1787067" y="539922"/>
                  </a:cubicBezTo>
                  <a:cubicBezTo>
                    <a:pt x="1775499" y="545471"/>
                    <a:pt x="1770831" y="550651"/>
                    <a:pt x="1762307" y="557069"/>
                  </a:cubicBezTo>
                  <a:cubicBezTo>
                    <a:pt x="1752485" y="564522"/>
                    <a:pt x="1736817" y="570204"/>
                    <a:pt x="1724802" y="576454"/>
                  </a:cubicBezTo>
                  <a:cubicBezTo>
                    <a:pt x="1711083" y="583574"/>
                    <a:pt x="1694157" y="594603"/>
                    <a:pt x="1696024" y="603427"/>
                  </a:cubicBezTo>
                  <a:cubicBezTo>
                    <a:pt x="1698094" y="612886"/>
                    <a:pt x="1720378" y="607237"/>
                    <a:pt x="1725127" y="612752"/>
                  </a:cubicBezTo>
                  <a:cubicBezTo>
                    <a:pt x="1730282" y="619069"/>
                    <a:pt x="1685592" y="639825"/>
                    <a:pt x="1727603" y="631804"/>
                  </a:cubicBezTo>
                  <a:cubicBezTo>
                    <a:pt x="1762672" y="625119"/>
                    <a:pt x="1760075" y="639224"/>
                    <a:pt x="1724478" y="642900"/>
                  </a:cubicBezTo>
                  <a:cubicBezTo>
                    <a:pt x="1688880" y="646577"/>
                    <a:pt x="1689246" y="632873"/>
                    <a:pt x="1670331" y="623682"/>
                  </a:cubicBezTo>
                  <a:cubicBezTo>
                    <a:pt x="1660467" y="618869"/>
                    <a:pt x="1674390" y="604029"/>
                    <a:pt x="1680844" y="596274"/>
                  </a:cubicBezTo>
                  <a:cubicBezTo>
                    <a:pt x="1685999" y="590125"/>
                    <a:pt x="1710637" y="575251"/>
                    <a:pt x="1707755" y="569903"/>
                  </a:cubicBezTo>
                  <a:cubicBezTo>
                    <a:pt x="1704873" y="564555"/>
                    <a:pt x="1663593" y="582872"/>
                    <a:pt x="1658519" y="585211"/>
                  </a:cubicBezTo>
                  <a:cubicBezTo>
                    <a:pt x="1625804" y="600118"/>
                    <a:pt x="1594956" y="619571"/>
                    <a:pt x="1578070" y="640293"/>
                  </a:cubicBezTo>
                  <a:cubicBezTo>
                    <a:pt x="1562687" y="659144"/>
                    <a:pt x="1561834" y="677059"/>
                    <a:pt x="1572428" y="690429"/>
                  </a:cubicBezTo>
                  <a:cubicBezTo>
                    <a:pt x="1582129" y="702628"/>
                    <a:pt x="1590815" y="700623"/>
                    <a:pt x="1619106" y="690763"/>
                  </a:cubicBezTo>
                  <a:cubicBezTo>
                    <a:pt x="1633881" y="685616"/>
                    <a:pt x="1650848" y="679198"/>
                    <a:pt x="1665947" y="677594"/>
                  </a:cubicBezTo>
                  <a:cubicBezTo>
                    <a:pt x="1684456" y="675589"/>
                    <a:pt x="1659331" y="687020"/>
                    <a:pt x="1653040" y="688858"/>
                  </a:cubicBezTo>
                  <a:cubicBezTo>
                    <a:pt x="1635545" y="693905"/>
                    <a:pt x="1577421" y="712990"/>
                    <a:pt x="1620568" y="712455"/>
                  </a:cubicBezTo>
                  <a:cubicBezTo>
                    <a:pt x="1635598" y="712271"/>
                    <a:pt x="1650486" y="710012"/>
                    <a:pt x="1664608" y="705770"/>
                  </a:cubicBezTo>
                  <a:cubicBezTo>
                    <a:pt x="1676541" y="702094"/>
                    <a:pt x="1688150" y="692401"/>
                    <a:pt x="1700083" y="690562"/>
                  </a:cubicBezTo>
                  <a:cubicBezTo>
                    <a:pt x="1713072" y="688557"/>
                    <a:pt x="1717943" y="693370"/>
                    <a:pt x="1733245" y="689058"/>
                  </a:cubicBezTo>
                  <a:cubicBezTo>
                    <a:pt x="1756259" y="682574"/>
                    <a:pt x="1778137" y="672848"/>
                    <a:pt x="1801355" y="666497"/>
                  </a:cubicBezTo>
                  <a:cubicBezTo>
                    <a:pt x="1826277" y="659646"/>
                    <a:pt x="1878800" y="653128"/>
                    <a:pt x="1889191" y="633575"/>
                  </a:cubicBezTo>
                  <a:cubicBezTo>
                    <a:pt x="1892519" y="627158"/>
                    <a:pt x="1949061" y="617833"/>
                    <a:pt x="1958762" y="615292"/>
                  </a:cubicBezTo>
                  <a:cubicBezTo>
                    <a:pt x="2000041" y="604196"/>
                    <a:pt x="1941064" y="607003"/>
                    <a:pt x="1951253" y="597545"/>
                  </a:cubicBezTo>
                  <a:cubicBezTo>
                    <a:pt x="1956692" y="592531"/>
                    <a:pt x="1983724" y="591395"/>
                    <a:pt x="1990990" y="590860"/>
                  </a:cubicBezTo>
                  <a:cubicBezTo>
                    <a:pt x="1997200" y="590392"/>
                    <a:pt x="2003979" y="590359"/>
                    <a:pt x="2007550" y="592598"/>
                  </a:cubicBezTo>
                  <a:cubicBezTo>
                    <a:pt x="2012299" y="595639"/>
                    <a:pt x="2019727" y="592096"/>
                    <a:pt x="2026019" y="592932"/>
                  </a:cubicBezTo>
                  <a:cubicBezTo>
                    <a:pt x="2043594" y="595272"/>
                    <a:pt x="2063848" y="591228"/>
                    <a:pt x="2082601" y="592698"/>
                  </a:cubicBezTo>
                  <a:cubicBezTo>
                    <a:pt x="2101353" y="594169"/>
                    <a:pt x="2058612" y="611349"/>
                    <a:pt x="2058004" y="616696"/>
                  </a:cubicBezTo>
                  <a:cubicBezTo>
                    <a:pt x="2057111" y="624016"/>
                    <a:pt x="2082357" y="610446"/>
                    <a:pt x="2084834" y="608808"/>
                  </a:cubicBezTo>
                  <a:cubicBezTo>
                    <a:pt x="2092667" y="603661"/>
                    <a:pt x="2106590" y="592096"/>
                    <a:pt x="2118604" y="592966"/>
                  </a:cubicBezTo>
                  <a:cubicBezTo>
                    <a:pt x="2127818" y="593668"/>
                    <a:pt x="2131633" y="598648"/>
                    <a:pt x="2138899" y="600820"/>
                  </a:cubicBezTo>
                  <a:cubicBezTo>
                    <a:pt x="2147017" y="603193"/>
                    <a:pt x="2162238" y="593233"/>
                    <a:pt x="2174537" y="593634"/>
                  </a:cubicBezTo>
                  <a:cubicBezTo>
                    <a:pt x="2190773" y="594169"/>
                    <a:pt x="2211352" y="598414"/>
                    <a:pt x="2217278" y="606068"/>
                  </a:cubicBezTo>
                  <a:cubicBezTo>
                    <a:pt x="2221946" y="612084"/>
                    <a:pt x="2213828" y="621844"/>
                    <a:pt x="2218617" y="627158"/>
                  </a:cubicBezTo>
                  <a:cubicBezTo>
                    <a:pt x="2222351" y="631269"/>
                    <a:pt x="2246665" y="620841"/>
                    <a:pt x="2251657" y="618769"/>
                  </a:cubicBezTo>
                  <a:cubicBezTo>
                    <a:pt x="2269314" y="611248"/>
                    <a:pt x="2280070" y="601188"/>
                    <a:pt x="2300771" y="601656"/>
                  </a:cubicBezTo>
                  <a:cubicBezTo>
                    <a:pt x="2323177" y="602157"/>
                    <a:pt x="2343715" y="603461"/>
                    <a:pt x="2319239" y="617766"/>
                  </a:cubicBezTo>
                  <a:cubicBezTo>
                    <a:pt x="2311483" y="622358"/>
                    <a:pt x="2303235" y="626366"/>
                    <a:pt x="2294601" y="629731"/>
                  </a:cubicBezTo>
                  <a:cubicBezTo>
                    <a:pt x="2284048" y="633742"/>
                    <a:pt x="2288553" y="630367"/>
                    <a:pt x="2284251" y="628027"/>
                  </a:cubicBezTo>
                  <a:cubicBezTo>
                    <a:pt x="2260912" y="615226"/>
                    <a:pt x="2154364" y="645975"/>
                    <a:pt x="2180544" y="663356"/>
                  </a:cubicBezTo>
                  <a:cubicBezTo>
                    <a:pt x="2188378" y="668536"/>
                    <a:pt x="2208957" y="670040"/>
                    <a:pt x="2192315" y="680970"/>
                  </a:cubicBezTo>
                  <a:cubicBezTo>
                    <a:pt x="2164633" y="699186"/>
                    <a:pt x="2133419" y="698049"/>
                    <a:pt x="2102531" y="708912"/>
                  </a:cubicBezTo>
                  <a:cubicBezTo>
                    <a:pt x="2094413" y="711853"/>
                    <a:pt x="2085036" y="720777"/>
                    <a:pt x="2077243" y="725056"/>
                  </a:cubicBezTo>
                  <a:cubicBezTo>
                    <a:pt x="2052889" y="738425"/>
                    <a:pt x="2066081" y="754669"/>
                    <a:pt x="2094940" y="745644"/>
                  </a:cubicBezTo>
                  <a:cubicBezTo>
                    <a:pt x="2109918" y="740999"/>
                    <a:pt x="2123353" y="734147"/>
                    <a:pt x="2138168" y="728933"/>
                  </a:cubicBezTo>
                  <a:cubicBezTo>
                    <a:pt x="2149574" y="724855"/>
                    <a:pt x="2161061" y="722950"/>
                    <a:pt x="2172548" y="719541"/>
                  </a:cubicBezTo>
                  <a:cubicBezTo>
                    <a:pt x="2180666" y="717168"/>
                    <a:pt x="2176039" y="713324"/>
                    <a:pt x="2178961" y="710015"/>
                  </a:cubicBezTo>
                  <a:cubicBezTo>
                    <a:pt x="2185293" y="702729"/>
                    <a:pt x="2208308" y="699319"/>
                    <a:pt x="2218901" y="697281"/>
                  </a:cubicBezTo>
                  <a:cubicBezTo>
                    <a:pt x="2242484" y="692735"/>
                    <a:pt x="2249871" y="705637"/>
                    <a:pt x="2272196" y="700255"/>
                  </a:cubicBezTo>
                  <a:cubicBezTo>
                    <a:pt x="2295291" y="694707"/>
                    <a:pt x="2285631" y="715196"/>
                    <a:pt x="2305114" y="715396"/>
                  </a:cubicBezTo>
                  <a:cubicBezTo>
                    <a:pt x="2326424" y="715630"/>
                    <a:pt x="2351143" y="705001"/>
                    <a:pt x="2373224" y="703163"/>
                  </a:cubicBezTo>
                  <a:cubicBezTo>
                    <a:pt x="2393762" y="701492"/>
                    <a:pt x="2413448" y="704734"/>
                    <a:pt x="2434474" y="703531"/>
                  </a:cubicBezTo>
                  <a:cubicBezTo>
                    <a:pt x="2588715" y="695041"/>
                    <a:pt x="2391327" y="666096"/>
                    <a:pt x="2383818" y="674887"/>
                  </a:cubicBezTo>
                  <a:cubicBezTo>
                    <a:pt x="2390150" y="667400"/>
                    <a:pt x="2425503" y="664559"/>
                    <a:pt x="2434352" y="664559"/>
                  </a:cubicBezTo>
                  <a:cubicBezTo>
                    <a:pt x="2459802" y="664559"/>
                    <a:pt x="2484561" y="667066"/>
                    <a:pt x="2511838" y="656203"/>
                  </a:cubicBezTo>
                  <a:cubicBezTo>
                    <a:pt x="2524015" y="651357"/>
                    <a:pt x="2550520" y="631871"/>
                    <a:pt x="2527221" y="632038"/>
                  </a:cubicBezTo>
                  <a:cubicBezTo>
                    <a:pt x="2503923" y="632205"/>
                    <a:pt x="2509199" y="623949"/>
                    <a:pt x="2494750" y="617666"/>
                  </a:cubicBezTo>
                  <a:cubicBezTo>
                    <a:pt x="2472750" y="608107"/>
                    <a:pt x="2412230" y="629665"/>
                    <a:pt x="2396887" y="612151"/>
                  </a:cubicBezTo>
                  <a:cubicBezTo>
                    <a:pt x="2393803" y="608608"/>
                    <a:pt x="2405005" y="605666"/>
                    <a:pt x="2405290" y="601823"/>
                  </a:cubicBezTo>
                  <a:cubicBezTo>
                    <a:pt x="2405290" y="597311"/>
                    <a:pt x="2396238" y="596274"/>
                    <a:pt x="2397983" y="591027"/>
                  </a:cubicBezTo>
                  <a:cubicBezTo>
                    <a:pt x="2403504" y="574315"/>
                    <a:pt x="2435854" y="585044"/>
                    <a:pt x="2451440" y="581301"/>
                  </a:cubicBezTo>
                  <a:close/>
                  <a:moveTo>
                    <a:pt x="2124205" y="641697"/>
                  </a:moveTo>
                  <a:cubicBezTo>
                    <a:pt x="2143607" y="633609"/>
                    <a:pt x="2128873" y="621643"/>
                    <a:pt x="2118604" y="619136"/>
                  </a:cubicBezTo>
                  <a:cubicBezTo>
                    <a:pt x="2103343" y="615092"/>
                    <a:pt x="2070505" y="627091"/>
                    <a:pt x="2058612" y="636817"/>
                  </a:cubicBezTo>
                  <a:cubicBezTo>
                    <a:pt x="2044568" y="648282"/>
                    <a:pt x="2041808" y="665562"/>
                    <a:pt x="2067826" y="663556"/>
                  </a:cubicBezTo>
                  <a:cubicBezTo>
                    <a:pt x="2088365" y="662119"/>
                    <a:pt x="2106630" y="648850"/>
                    <a:pt x="2124205" y="641530"/>
                  </a:cubicBezTo>
                  <a:close/>
                  <a:moveTo>
                    <a:pt x="1848195" y="521372"/>
                  </a:moveTo>
                  <a:cubicBezTo>
                    <a:pt x="1844907" y="530397"/>
                    <a:pt x="1862808" y="527355"/>
                    <a:pt x="1871981" y="529528"/>
                  </a:cubicBezTo>
                  <a:cubicBezTo>
                    <a:pt x="1887121" y="533104"/>
                    <a:pt x="1886187" y="544067"/>
                    <a:pt x="1913423" y="534708"/>
                  </a:cubicBezTo>
                  <a:cubicBezTo>
                    <a:pt x="1930998" y="528692"/>
                    <a:pt x="1942566" y="518331"/>
                    <a:pt x="1961035" y="512047"/>
                  </a:cubicBezTo>
                  <a:cubicBezTo>
                    <a:pt x="1975850" y="506967"/>
                    <a:pt x="1994968" y="502822"/>
                    <a:pt x="2008200" y="495770"/>
                  </a:cubicBezTo>
                  <a:cubicBezTo>
                    <a:pt x="2032554" y="482835"/>
                    <a:pt x="1951050" y="490957"/>
                    <a:pt x="1943581" y="492428"/>
                  </a:cubicBezTo>
                  <a:cubicBezTo>
                    <a:pt x="1926655" y="495536"/>
                    <a:pt x="1912205" y="502455"/>
                    <a:pt x="1895604" y="505797"/>
                  </a:cubicBezTo>
                  <a:cubicBezTo>
                    <a:pt x="1883427" y="508270"/>
                    <a:pt x="1851808" y="511278"/>
                    <a:pt x="1848195" y="521305"/>
                  </a:cubicBezTo>
                  <a:cubicBezTo>
                    <a:pt x="1843812" y="533639"/>
                    <a:pt x="1852619" y="509273"/>
                    <a:pt x="1848236" y="521439"/>
                  </a:cubicBezTo>
                  <a:close/>
                  <a:moveTo>
                    <a:pt x="2668920" y="954308"/>
                  </a:moveTo>
                  <a:cubicBezTo>
                    <a:pt x="2674116" y="959121"/>
                    <a:pt x="2761992" y="954308"/>
                    <a:pt x="2761668" y="945885"/>
                  </a:cubicBezTo>
                  <a:cubicBezTo>
                    <a:pt x="2761343" y="937462"/>
                    <a:pt x="2664536" y="949963"/>
                    <a:pt x="2668961" y="954375"/>
                  </a:cubicBezTo>
                  <a:close/>
                  <a:moveTo>
                    <a:pt x="3040560" y="906880"/>
                  </a:moveTo>
                  <a:cubicBezTo>
                    <a:pt x="3036907" y="913331"/>
                    <a:pt x="3030291" y="905677"/>
                    <a:pt x="3032117" y="902334"/>
                  </a:cubicBezTo>
                  <a:cubicBezTo>
                    <a:pt x="3034390" y="898223"/>
                    <a:pt x="3045715" y="888965"/>
                    <a:pt x="3027652" y="895014"/>
                  </a:cubicBezTo>
                  <a:cubicBezTo>
                    <a:pt x="3001026" y="904039"/>
                    <a:pt x="3017464" y="887260"/>
                    <a:pt x="3019007" y="879974"/>
                  </a:cubicBezTo>
                  <a:cubicBezTo>
                    <a:pt x="3019616" y="876966"/>
                    <a:pt x="3004963" y="878771"/>
                    <a:pt x="3002162" y="879172"/>
                  </a:cubicBezTo>
                  <a:cubicBezTo>
                    <a:pt x="2992015" y="880676"/>
                    <a:pt x="2994247" y="881846"/>
                    <a:pt x="2990432" y="885856"/>
                  </a:cubicBezTo>
                  <a:cubicBezTo>
                    <a:pt x="2981461" y="895115"/>
                    <a:pt x="2953048" y="886157"/>
                    <a:pt x="2945336" y="884486"/>
                  </a:cubicBezTo>
                  <a:cubicBezTo>
                    <a:pt x="2939613" y="883216"/>
                    <a:pt x="2949395" y="878537"/>
                    <a:pt x="2939045" y="879707"/>
                  </a:cubicBezTo>
                  <a:cubicBezTo>
                    <a:pt x="2932713" y="880375"/>
                    <a:pt x="2920374" y="883450"/>
                    <a:pt x="2919887" y="888029"/>
                  </a:cubicBezTo>
                  <a:cubicBezTo>
                    <a:pt x="2919278" y="893778"/>
                    <a:pt x="2913555" y="886024"/>
                    <a:pt x="2913717" y="884185"/>
                  </a:cubicBezTo>
                  <a:cubicBezTo>
                    <a:pt x="2914447" y="876832"/>
                    <a:pt x="2923864" y="866471"/>
                    <a:pt x="2927639" y="858683"/>
                  </a:cubicBezTo>
                  <a:cubicBezTo>
                    <a:pt x="2929303" y="855341"/>
                    <a:pt x="2946879" y="844979"/>
                    <a:pt x="2932551" y="845982"/>
                  </a:cubicBezTo>
                  <a:cubicBezTo>
                    <a:pt x="2923568" y="846804"/>
                    <a:pt x="2915292" y="850384"/>
                    <a:pt x="2909374" y="856009"/>
                  </a:cubicBezTo>
                  <a:cubicBezTo>
                    <a:pt x="2896803" y="866782"/>
                    <a:pt x="2886940" y="879493"/>
                    <a:pt x="2880352" y="893410"/>
                  </a:cubicBezTo>
                  <a:cubicBezTo>
                    <a:pt x="2874832" y="906345"/>
                    <a:pt x="2889607" y="910791"/>
                    <a:pt x="2864360" y="920517"/>
                  </a:cubicBezTo>
                  <a:cubicBezTo>
                    <a:pt x="2857987" y="922990"/>
                    <a:pt x="2844958" y="931480"/>
                    <a:pt x="2856729" y="932716"/>
                  </a:cubicBezTo>
                  <a:cubicBezTo>
                    <a:pt x="2863751" y="933485"/>
                    <a:pt x="2854740" y="941707"/>
                    <a:pt x="2852670" y="944080"/>
                  </a:cubicBezTo>
                  <a:cubicBezTo>
                    <a:pt x="2838748" y="961093"/>
                    <a:pt x="2869352" y="952470"/>
                    <a:pt x="2885791" y="946921"/>
                  </a:cubicBezTo>
                  <a:cubicBezTo>
                    <a:pt x="2899105" y="942409"/>
                    <a:pt x="2913149" y="940905"/>
                    <a:pt x="2926381" y="936894"/>
                  </a:cubicBezTo>
                  <a:cubicBezTo>
                    <a:pt x="2935879" y="933920"/>
                    <a:pt x="2948949" y="922422"/>
                    <a:pt x="2958609" y="923892"/>
                  </a:cubicBezTo>
                  <a:cubicBezTo>
                    <a:pt x="2977240" y="926733"/>
                    <a:pt x="2984221" y="919180"/>
                    <a:pt x="2974561" y="932750"/>
                  </a:cubicBezTo>
                  <a:cubicBezTo>
                    <a:pt x="2970786" y="938031"/>
                    <a:pt x="2974886" y="940738"/>
                    <a:pt x="2982922" y="935491"/>
                  </a:cubicBezTo>
                  <a:cubicBezTo>
                    <a:pt x="2990959" y="930243"/>
                    <a:pt x="3003217" y="919113"/>
                    <a:pt x="3016612" y="921185"/>
                  </a:cubicBezTo>
                  <a:cubicBezTo>
                    <a:pt x="3023959" y="922322"/>
                    <a:pt x="3015435" y="927870"/>
                    <a:pt x="3024162" y="928438"/>
                  </a:cubicBezTo>
                  <a:cubicBezTo>
                    <a:pt x="3032657" y="928786"/>
                    <a:pt x="3041136" y="927539"/>
                    <a:pt x="3048962" y="924795"/>
                  </a:cubicBezTo>
                  <a:cubicBezTo>
                    <a:pt x="3078511" y="914768"/>
                    <a:pt x="3043239" y="901967"/>
                    <a:pt x="3040357" y="906980"/>
                  </a:cubicBezTo>
                  <a:cubicBezTo>
                    <a:pt x="3036826" y="913464"/>
                    <a:pt x="3044375" y="900329"/>
                    <a:pt x="3040601" y="906947"/>
                  </a:cubicBezTo>
                  <a:close/>
                  <a:moveTo>
                    <a:pt x="543965" y="1751661"/>
                  </a:moveTo>
                  <a:cubicBezTo>
                    <a:pt x="526227" y="1771448"/>
                    <a:pt x="592673" y="1765298"/>
                    <a:pt x="607366" y="1760117"/>
                  </a:cubicBezTo>
                  <a:cubicBezTo>
                    <a:pt x="626565" y="1753232"/>
                    <a:pt x="595758" y="1748720"/>
                    <a:pt x="592186" y="1747884"/>
                  </a:cubicBezTo>
                  <a:cubicBezTo>
                    <a:pt x="576843" y="1744107"/>
                    <a:pt x="566979" y="1726192"/>
                    <a:pt x="543965" y="1751661"/>
                  </a:cubicBezTo>
                  <a:cubicBezTo>
                    <a:pt x="526593" y="1771013"/>
                    <a:pt x="561378" y="1732342"/>
                    <a:pt x="543965" y="1751661"/>
                  </a:cubicBezTo>
                  <a:close/>
                  <a:moveTo>
                    <a:pt x="2829493" y="994015"/>
                  </a:moveTo>
                  <a:cubicBezTo>
                    <a:pt x="2815409" y="998895"/>
                    <a:pt x="2833836" y="975231"/>
                    <a:pt x="2816626" y="984456"/>
                  </a:cubicBezTo>
                  <a:cubicBezTo>
                    <a:pt x="2806276" y="989971"/>
                    <a:pt x="2800918" y="999898"/>
                    <a:pt x="2794180" y="1006649"/>
                  </a:cubicBezTo>
                  <a:cubicBezTo>
                    <a:pt x="2791663" y="1009223"/>
                    <a:pt x="2797387" y="1012866"/>
                    <a:pt x="2792962" y="1014838"/>
                  </a:cubicBezTo>
                  <a:cubicBezTo>
                    <a:pt x="2788538" y="1016810"/>
                    <a:pt x="2783870" y="1018749"/>
                    <a:pt x="2779811" y="1020420"/>
                  </a:cubicBezTo>
                  <a:cubicBezTo>
                    <a:pt x="2765593" y="1025804"/>
                    <a:pt x="2750323" y="1029053"/>
                    <a:pt x="2734716" y="1030012"/>
                  </a:cubicBezTo>
                  <a:cubicBezTo>
                    <a:pt x="2724163" y="1030614"/>
                    <a:pt x="2714786" y="1026904"/>
                    <a:pt x="2703218" y="1026971"/>
                  </a:cubicBezTo>
                  <a:cubicBezTo>
                    <a:pt x="2691042" y="1026971"/>
                    <a:pt x="2677403" y="1021957"/>
                    <a:pt x="2672857" y="1015908"/>
                  </a:cubicBezTo>
                  <a:cubicBezTo>
                    <a:pt x="2669570" y="1011496"/>
                    <a:pt x="2681543" y="1005179"/>
                    <a:pt x="2677200" y="1001201"/>
                  </a:cubicBezTo>
                  <a:cubicBezTo>
                    <a:pt x="2672857" y="997224"/>
                    <a:pt x="2661857" y="1004276"/>
                    <a:pt x="2659057" y="1006950"/>
                  </a:cubicBezTo>
                  <a:cubicBezTo>
                    <a:pt x="2656256" y="1009624"/>
                    <a:pt x="2648625" y="1013635"/>
                    <a:pt x="2646677" y="1009624"/>
                  </a:cubicBezTo>
                  <a:cubicBezTo>
                    <a:pt x="2644241" y="1004845"/>
                    <a:pt x="2656418" y="999898"/>
                    <a:pt x="2662588" y="996756"/>
                  </a:cubicBezTo>
                  <a:cubicBezTo>
                    <a:pt x="2691407" y="982183"/>
                    <a:pt x="2684222" y="963934"/>
                    <a:pt x="2647895" y="973861"/>
                  </a:cubicBezTo>
                  <a:cubicBezTo>
                    <a:pt x="2614165" y="983119"/>
                    <a:pt x="2581246" y="1000332"/>
                    <a:pt x="2554538" y="1016242"/>
                  </a:cubicBezTo>
                  <a:cubicBezTo>
                    <a:pt x="2527830" y="1032152"/>
                    <a:pt x="2519834" y="1052440"/>
                    <a:pt x="2496454" y="1069152"/>
                  </a:cubicBezTo>
                  <a:cubicBezTo>
                    <a:pt x="2484277" y="1077942"/>
                    <a:pt x="2490893" y="1067246"/>
                    <a:pt x="2495034" y="1063336"/>
                  </a:cubicBezTo>
                  <a:cubicBezTo>
                    <a:pt x="2499174" y="1059425"/>
                    <a:pt x="2503923" y="1055314"/>
                    <a:pt x="2507982" y="1051236"/>
                  </a:cubicBezTo>
                  <a:cubicBezTo>
                    <a:pt x="2512650" y="1046524"/>
                    <a:pt x="2507982" y="1041544"/>
                    <a:pt x="2511066" y="1038368"/>
                  </a:cubicBezTo>
                  <a:cubicBezTo>
                    <a:pt x="2513993" y="1037476"/>
                    <a:pt x="2516855" y="1036436"/>
                    <a:pt x="2519631" y="1035260"/>
                  </a:cubicBezTo>
                  <a:cubicBezTo>
                    <a:pt x="2523049" y="1032496"/>
                    <a:pt x="2526097" y="1029438"/>
                    <a:pt x="2528723" y="1026135"/>
                  </a:cubicBezTo>
                  <a:cubicBezTo>
                    <a:pt x="2535096" y="1018715"/>
                    <a:pt x="2540413" y="1010727"/>
                    <a:pt x="2549018" y="1003708"/>
                  </a:cubicBezTo>
                  <a:cubicBezTo>
                    <a:pt x="2554173" y="999430"/>
                    <a:pt x="2579420" y="993213"/>
                    <a:pt x="2579501" y="989236"/>
                  </a:cubicBezTo>
                  <a:cubicBezTo>
                    <a:pt x="2579501" y="983052"/>
                    <a:pt x="2589486" y="972825"/>
                    <a:pt x="2597442" y="967577"/>
                  </a:cubicBezTo>
                  <a:cubicBezTo>
                    <a:pt x="2607751" y="960892"/>
                    <a:pt x="2626463" y="955879"/>
                    <a:pt x="2639371" y="951768"/>
                  </a:cubicBezTo>
                  <a:cubicBezTo>
                    <a:pt x="2664861" y="943646"/>
                    <a:pt x="2690757" y="936226"/>
                    <a:pt x="2716735" y="929040"/>
                  </a:cubicBezTo>
                  <a:cubicBezTo>
                    <a:pt x="2759029" y="917375"/>
                    <a:pt x="2801973" y="911058"/>
                    <a:pt x="2831441" y="887160"/>
                  </a:cubicBezTo>
                  <a:cubicBezTo>
                    <a:pt x="2839235" y="880843"/>
                    <a:pt x="2842807" y="872253"/>
                    <a:pt x="2853888" y="867106"/>
                  </a:cubicBezTo>
                  <a:cubicBezTo>
                    <a:pt x="2867607" y="860923"/>
                    <a:pt x="2884858" y="860421"/>
                    <a:pt x="2898009" y="853970"/>
                  </a:cubicBezTo>
                  <a:cubicBezTo>
                    <a:pt x="2909414" y="848221"/>
                    <a:pt x="2913839" y="840601"/>
                    <a:pt x="2923215" y="834184"/>
                  </a:cubicBezTo>
                  <a:cubicBezTo>
                    <a:pt x="2943510" y="820413"/>
                    <a:pt x="2900079" y="832947"/>
                    <a:pt x="2902920" y="827298"/>
                  </a:cubicBezTo>
                  <a:cubicBezTo>
                    <a:pt x="2904665" y="823956"/>
                    <a:pt x="2918425" y="821015"/>
                    <a:pt x="2921104" y="815199"/>
                  </a:cubicBezTo>
                  <a:cubicBezTo>
                    <a:pt x="2923783" y="809383"/>
                    <a:pt x="2923905" y="806776"/>
                    <a:pt x="2914366" y="805606"/>
                  </a:cubicBezTo>
                  <a:cubicBezTo>
                    <a:pt x="2906249" y="804604"/>
                    <a:pt x="2894924" y="797819"/>
                    <a:pt x="2884898" y="803467"/>
                  </a:cubicBezTo>
                  <a:cubicBezTo>
                    <a:pt x="2880027" y="806241"/>
                    <a:pt x="2871666" y="814798"/>
                    <a:pt x="2863589" y="813494"/>
                  </a:cubicBezTo>
                  <a:cubicBezTo>
                    <a:pt x="2852751" y="811656"/>
                    <a:pt x="2876861" y="791903"/>
                    <a:pt x="2840777" y="804136"/>
                  </a:cubicBezTo>
                  <a:cubicBezTo>
                    <a:pt x="2817885" y="811957"/>
                    <a:pt x="2798807" y="827365"/>
                    <a:pt x="2779893" y="837559"/>
                  </a:cubicBezTo>
                  <a:cubicBezTo>
                    <a:pt x="2771775" y="842005"/>
                    <a:pt x="2770963" y="834518"/>
                    <a:pt x="2772343" y="831944"/>
                  </a:cubicBezTo>
                  <a:cubicBezTo>
                    <a:pt x="2774169" y="828602"/>
                    <a:pt x="2789025" y="821549"/>
                    <a:pt x="2794018" y="818575"/>
                  </a:cubicBezTo>
                  <a:cubicBezTo>
                    <a:pt x="2801040" y="814230"/>
                    <a:pt x="2811106" y="812993"/>
                    <a:pt x="2818372" y="808013"/>
                  </a:cubicBezTo>
                  <a:cubicBezTo>
                    <a:pt x="2825637" y="803033"/>
                    <a:pt x="2847637" y="797986"/>
                    <a:pt x="2851574" y="792170"/>
                  </a:cubicBezTo>
                  <a:cubicBezTo>
                    <a:pt x="2857297" y="783781"/>
                    <a:pt x="2831482" y="788059"/>
                    <a:pt x="2825150" y="790499"/>
                  </a:cubicBezTo>
                  <a:cubicBezTo>
                    <a:pt x="2815571" y="794142"/>
                    <a:pt x="2806235" y="791602"/>
                    <a:pt x="2798117" y="790700"/>
                  </a:cubicBezTo>
                  <a:cubicBezTo>
                    <a:pt x="2789999" y="789797"/>
                    <a:pt x="2784236" y="795412"/>
                    <a:pt x="2779081" y="794677"/>
                  </a:cubicBezTo>
                  <a:cubicBezTo>
                    <a:pt x="2766904" y="793006"/>
                    <a:pt x="2765930" y="799457"/>
                    <a:pt x="2754727" y="799490"/>
                  </a:cubicBezTo>
                  <a:cubicBezTo>
                    <a:pt x="2744336" y="799490"/>
                    <a:pt x="2740561" y="792805"/>
                    <a:pt x="2732484" y="790766"/>
                  </a:cubicBezTo>
                  <a:cubicBezTo>
                    <a:pt x="2721313" y="788193"/>
                    <a:pt x="2709782" y="786836"/>
                    <a:pt x="2698185" y="786722"/>
                  </a:cubicBezTo>
                  <a:cubicBezTo>
                    <a:pt x="2691772" y="786722"/>
                    <a:pt x="2669773" y="789530"/>
                    <a:pt x="2666485" y="786722"/>
                  </a:cubicBezTo>
                  <a:cubicBezTo>
                    <a:pt x="2662426" y="783380"/>
                    <a:pt x="2688403" y="780739"/>
                    <a:pt x="2691447" y="778868"/>
                  </a:cubicBezTo>
                  <a:cubicBezTo>
                    <a:pt x="2720834" y="760953"/>
                    <a:pt x="2678702" y="768306"/>
                    <a:pt x="2678783" y="756741"/>
                  </a:cubicBezTo>
                  <a:cubicBezTo>
                    <a:pt x="2678783" y="752597"/>
                    <a:pt x="2660680" y="753132"/>
                    <a:pt x="2655769" y="751828"/>
                  </a:cubicBezTo>
                  <a:cubicBezTo>
                    <a:pt x="2648536" y="749508"/>
                    <a:pt x="2641713" y="746407"/>
                    <a:pt x="2635474" y="742603"/>
                  </a:cubicBezTo>
                  <a:cubicBezTo>
                    <a:pt x="2622830" y="736567"/>
                    <a:pt x="2609627" y="731373"/>
                    <a:pt x="2595980" y="727061"/>
                  </a:cubicBezTo>
                  <a:cubicBezTo>
                    <a:pt x="2588715" y="724454"/>
                    <a:pt x="2560708" y="703664"/>
                    <a:pt x="2556324" y="717903"/>
                  </a:cubicBezTo>
                  <a:cubicBezTo>
                    <a:pt x="2554092" y="725256"/>
                    <a:pt x="2553564" y="729000"/>
                    <a:pt x="2544878" y="735918"/>
                  </a:cubicBezTo>
                  <a:cubicBezTo>
                    <a:pt x="2539682" y="740096"/>
                    <a:pt x="2555269" y="739662"/>
                    <a:pt x="2548206" y="745945"/>
                  </a:cubicBezTo>
                  <a:cubicBezTo>
                    <a:pt x="2543214" y="750324"/>
                    <a:pt x="2548206" y="758346"/>
                    <a:pt x="2541671" y="760217"/>
                  </a:cubicBezTo>
                  <a:cubicBezTo>
                    <a:pt x="2536638" y="761621"/>
                    <a:pt x="2534284" y="770244"/>
                    <a:pt x="2535096" y="770244"/>
                  </a:cubicBezTo>
                  <a:cubicBezTo>
                    <a:pt x="2529819" y="770244"/>
                    <a:pt x="2510011" y="767403"/>
                    <a:pt x="2513827" y="776495"/>
                  </a:cubicBezTo>
                  <a:cubicBezTo>
                    <a:pt x="2516140" y="781943"/>
                    <a:pt x="2498078" y="790532"/>
                    <a:pt x="2490122" y="793574"/>
                  </a:cubicBezTo>
                  <a:cubicBezTo>
                    <a:pt x="2477012" y="798554"/>
                    <a:pt x="2477945" y="789931"/>
                    <a:pt x="2468326" y="791502"/>
                  </a:cubicBezTo>
                  <a:cubicBezTo>
                    <a:pt x="2464672" y="792070"/>
                    <a:pt x="2463780" y="795212"/>
                    <a:pt x="2459964" y="794042"/>
                  </a:cubicBezTo>
                  <a:cubicBezTo>
                    <a:pt x="2456149" y="792872"/>
                    <a:pt x="2453713" y="789630"/>
                    <a:pt x="2447787" y="789764"/>
                  </a:cubicBezTo>
                  <a:cubicBezTo>
                    <a:pt x="2439953" y="789764"/>
                    <a:pt x="2421566" y="799323"/>
                    <a:pt x="2423433" y="789998"/>
                  </a:cubicBezTo>
                  <a:cubicBezTo>
                    <a:pt x="2424651" y="783647"/>
                    <a:pt x="2406548" y="788627"/>
                    <a:pt x="2404640" y="784616"/>
                  </a:cubicBezTo>
                  <a:cubicBezTo>
                    <a:pt x="2403666" y="782611"/>
                    <a:pt x="2408496" y="780338"/>
                    <a:pt x="2406751" y="777932"/>
                  </a:cubicBezTo>
                  <a:cubicBezTo>
                    <a:pt x="2403853" y="775000"/>
                    <a:pt x="2400675" y="772263"/>
                    <a:pt x="2397253" y="769743"/>
                  </a:cubicBezTo>
                  <a:cubicBezTo>
                    <a:pt x="2393446" y="766855"/>
                    <a:pt x="2391883" y="762470"/>
                    <a:pt x="2393194" y="758346"/>
                  </a:cubicBezTo>
                  <a:cubicBezTo>
                    <a:pt x="2394412" y="755538"/>
                    <a:pt x="2400054" y="751661"/>
                    <a:pt x="2398917" y="749054"/>
                  </a:cubicBezTo>
                  <a:cubicBezTo>
                    <a:pt x="2396400" y="743305"/>
                    <a:pt x="2379231" y="756741"/>
                    <a:pt x="2370504" y="754936"/>
                  </a:cubicBezTo>
                  <a:cubicBezTo>
                    <a:pt x="2362670" y="753332"/>
                    <a:pt x="2347896" y="759682"/>
                    <a:pt x="2338844" y="761387"/>
                  </a:cubicBezTo>
                  <a:cubicBezTo>
                    <a:pt x="2322121" y="764462"/>
                    <a:pt x="2324800" y="757644"/>
                    <a:pt x="2312988" y="757711"/>
                  </a:cubicBezTo>
                  <a:cubicBezTo>
                    <a:pt x="2307509" y="757711"/>
                    <a:pt x="2303734" y="758245"/>
                    <a:pt x="2300284" y="755972"/>
                  </a:cubicBezTo>
                  <a:cubicBezTo>
                    <a:pt x="2294926" y="752430"/>
                    <a:pt x="2290299" y="756908"/>
                    <a:pt x="2283764" y="756507"/>
                  </a:cubicBezTo>
                  <a:cubicBezTo>
                    <a:pt x="2279705" y="756240"/>
                    <a:pt x="2280760" y="752196"/>
                    <a:pt x="2276052" y="751728"/>
                  </a:cubicBezTo>
                  <a:cubicBezTo>
                    <a:pt x="2270572" y="751159"/>
                    <a:pt x="2264687" y="753900"/>
                    <a:pt x="2259004" y="753967"/>
                  </a:cubicBezTo>
                  <a:cubicBezTo>
                    <a:pt x="2242322" y="754268"/>
                    <a:pt x="2233879" y="754936"/>
                    <a:pt x="2218942" y="764195"/>
                  </a:cubicBezTo>
                  <a:cubicBezTo>
                    <a:pt x="2202706" y="774222"/>
                    <a:pt x="2177946" y="778500"/>
                    <a:pt x="2158869" y="780405"/>
                  </a:cubicBezTo>
                  <a:cubicBezTo>
                    <a:pt x="2133866" y="782912"/>
                    <a:pt x="2108051" y="790232"/>
                    <a:pt x="2098756" y="805606"/>
                  </a:cubicBezTo>
                  <a:cubicBezTo>
                    <a:pt x="2093560" y="814297"/>
                    <a:pt x="2106427" y="815199"/>
                    <a:pt x="2117224" y="814698"/>
                  </a:cubicBezTo>
                  <a:cubicBezTo>
                    <a:pt x="2131146" y="814029"/>
                    <a:pt x="2124693" y="823455"/>
                    <a:pt x="2120715" y="829471"/>
                  </a:cubicBezTo>
                  <a:cubicBezTo>
                    <a:pt x="2115316" y="837593"/>
                    <a:pt x="2113936" y="836390"/>
                    <a:pt x="2124368" y="839799"/>
                  </a:cubicBezTo>
                  <a:cubicBezTo>
                    <a:pt x="2132486" y="842506"/>
                    <a:pt x="2145028" y="847486"/>
                    <a:pt x="2149087" y="852500"/>
                  </a:cubicBezTo>
                  <a:cubicBezTo>
                    <a:pt x="2156596" y="861791"/>
                    <a:pt x="2138655" y="859920"/>
                    <a:pt x="2137641" y="866838"/>
                  </a:cubicBezTo>
                  <a:cubicBezTo>
                    <a:pt x="2136951" y="871417"/>
                    <a:pt x="2140563" y="872922"/>
                    <a:pt x="2136098" y="878403"/>
                  </a:cubicBezTo>
                  <a:cubicBezTo>
                    <a:pt x="2132039" y="883250"/>
                    <a:pt x="2124652" y="891772"/>
                    <a:pt x="2128873" y="895616"/>
                  </a:cubicBezTo>
                  <a:cubicBezTo>
                    <a:pt x="2133095" y="899460"/>
                    <a:pt x="2154688" y="896619"/>
                    <a:pt x="2162928" y="896686"/>
                  </a:cubicBezTo>
                  <a:cubicBezTo>
                    <a:pt x="2178393" y="896686"/>
                    <a:pt x="2191341" y="898758"/>
                    <a:pt x="2199459" y="905142"/>
                  </a:cubicBezTo>
                  <a:cubicBezTo>
                    <a:pt x="2217440" y="919079"/>
                    <a:pt x="2219754" y="936192"/>
                    <a:pt x="2194953" y="955845"/>
                  </a:cubicBezTo>
                  <a:cubicBezTo>
                    <a:pt x="2183507" y="965003"/>
                    <a:pt x="2176363" y="975900"/>
                    <a:pt x="2161345" y="983721"/>
                  </a:cubicBezTo>
                  <a:cubicBezTo>
                    <a:pt x="2155906" y="986562"/>
                    <a:pt x="2135124" y="992010"/>
                    <a:pt x="2136991" y="996422"/>
                  </a:cubicBezTo>
                  <a:cubicBezTo>
                    <a:pt x="2140563" y="1004410"/>
                    <a:pt x="2160777" y="1002204"/>
                    <a:pt x="2165404" y="1009190"/>
                  </a:cubicBezTo>
                  <a:cubicBezTo>
                    <a:pt x="2170031" y="1016175"/>
                    <a:pt x="2176404" y="1025534"/>
                    <a:pt x="2184887" y="1031249"/>
                  </a:cubicBezTo>
                  <a:cubicBezTo>
                    <a:pt x="2191625" y="1035795"/>
                    <a:pt x="2202990" y="1035694"/>
                    <a:pt x="2194548" y="1044953"/>
                  </a:cubicBezTo>
                  <a:cubicBezTo>
                    <a:pt x="2186430" y="1053643"/>
                    <a:pt x="2187039" y="1051337"/>
                    <a:pt x="2195968" y="1053676"/>
                  </a:cubicBezTo>
                  <a:cubicBezTo>
                    <a:pt x="2210946" y="1057620"/>
                    <a:pt x="2191463" y="1059793"/>
                    <a:pt x="2184887" y="1059693"/>
                  </a:cubicBezTo>
                  <a:cubicBezTo>
                    <a:pt x="2173522" y="1059693"/>
                    <a:pt x="2170884" y="1071926"/>
                    <a:pt x="2172710" y="1075335"/>
                  </a:cubicBezTo>
                  <a:cubicBezTo>
                    <a:pt x="2174131" y="1078176"/>
                    <a:pt x="2157205" y="1078176"/>
                    <a:pt x="2155703" y="1078209"/>
                  </a:cubicBezTo>
                  <a:cubicBezTo>
                    <a:pt x="2144622" y="1078610"/>
                    <a:pt x="2143932" y="1080281"/>
                    <a:pt x="2138493" y="1075669"/>
                  </a:cubicBezTo>
                  <a:cubicBezTo>
                    <a:pt x="2132039" y="1070188"/>
                    <a:pt x="2117346" y="1073196"/>
                    <a:pt x="2106508" y="1072327"/>
                  </a:cubicBezTo>
                  <a:cubicBezTo>
                    <a:pt x="2097498" y="1071524"/>
                    <a:pt x="2093885" y="1066812"/>
                    <a:pt x="2083129" y="1066143"/>
                  </a:cubicBezTo>
                  <a:cubicBezTo>
                    <a:pt x="2060683" y="1064840"/>
                    <a:pt x="2072860" y="1045187"/>
                    <a:pt x="2056948" y="1039404"/>
                  </a:cubicBezTo>
                  <a:cubicBezTo>
                    <a:pt x="2045867" y="1035527"/>
                    <a:pt x="2060398" y="1024364"/>
                    <a:pt x="2050576" y="1020821"/>
                  </a:cubicBezTo>
                  <a:cubicBezTo>
                    <a:pt x="2039657" y="1016910"/>
                    <a:pt x="2017170" y="1026336"/>
                    <a:pt x="2004141" y="1030313"/>
                  </a:cubicBezTo>
                  <a:cubicBezTo>
                    <a:pt x="1989285" y="1034825"/>
                    <a:pt x="1974632" y="1042279"/>
                    <a:pt x="1959492" y="1045254"/>
                  </a:cubicBezTo>
                  <a:cubicBezTo>
                    <a:pt x="1948777" y="1047359"/>
                    <a:pt x="1938020" y="1045955"/>
                    <a:pt x="1927426" y="1047092"/>
                  </a:cubicBezTo>
                  <a:cubicBezTo>
                    <a:pt x="1912895" y="1048629"/>
                    <a:pt x="1897958" y="1052974"/>
                    <a:pt x="1883589" y="1054378"/>
                  </a:cubicBezTo>
                  <a:cubicBezTo>
                    <a:pt x="1872184" y="1055515"/>
                    <a:pt x="1867354" y="1052039"/>
                    <a:pt x="1857977" y="1051972"/>
                  </a:cubicBezTo>
                  <a:cubicBezTo>
                    <a:pt x="1840361" y="1051771"/>
                    <a:pt x="1809919" y="1054612"/>
                    <a:pt x="1791897" y="1063403"/>
                  </a:cubicBezTo>
                  <a:cubicBezTo>
                    <a:pt x="1784307" y="1067113"/>
                    <a:pt x="1771034" y="1066745"/>
                    <a:pt x="1763484" y="1067480"/>
                  </a:cubicBezTo>
                  <a:cubicBezTo>
                    <a:pt x="1749846" y="1068984"/>
                    <a:pt x="1741566" y="1072661"/>
                    <a:pt x="1730160" y="1079479"/>
                  </a:cubicBezTo>
                  <a:cubicBezTo>
                    <a:pt x="1721758" y="1084526"/>
                    <a:pt x="1713924" y="1089874"/>
                    <a:pt x="1705522" y="1094921"/>
                  </a:cubicBezTo>
                  <a:cubicBezTo>
                    <a:pt x="1696105" y="1100570"/>
                    <a:pt x="1703899" y="1086799"/>
                    <a:pt x="1702681" y="1085395"/>
                  </a:cubicBezTo>
                  <a:cubicBezTo>
                    <a:pt x="1697607" y="1079513"/>
                    <a:pt x="1668261" y="1062901"/>
                    <a:pt x="1653973" y="1066478"/>
                  </a:cubicBezTo>
                  <a:cubicBezTo>
                    <a:pt x="1626250" y="1073162"/>
                    <a:pt x="1611395" y="1085262"/>
                    <a:pt x="1600719" y="1069820"/>
                  </a:cubicBezTo>
                  <a:cubicBezTo>
                    <a:pt x="1591993" y="1057219"/>
                    <a:pt x="1591018" y="1045788"/>
                    <a:pt x="1596214" y="1029411"/>
                  </a:cubicBezTo>
                  <a:cubicBezTo>
                    <a:pt x="1598081" y="1023595"/>
                    <a:pt x="1596214" y="1018414"/>
                    <a:pt x="1597837" y="1012900"/>
                  </a:cubicBezTo>
                  <a:cubicBezTo>
                    <a:pt x="1600232" y="1005212"/>
                    <a:pt x="1619837" y="999530"/>
                    <a:pt x="1618822" y="992578"/>
                  </a:cubicBezTo>
                  <a:cubicBezTo>
                    <a:pt x="1617727" y="985125"/>
                    <a:pt x="1616265" y="985626"/>
                    <a:pt x="1626940" y="978172"/>
                  </a:cubicBezTo>
                  <a:cubicBezTo>
                    <a:pt x="1630037" y="975996"/>
                    <a:pt x="1631413" y="972584"/>
                    <a:pt x="1630512" y="969315"/>
                  </a:cubicBezTo>
                  <a:cubicBezTo>
                    <a:pt x="1630512" y="965739"/>
                    <a:pt x="1638102" y="964569"/>
                    <a:pt x="1638630" y="962263"/>
                  </a:cubicBezTo>
                  <a:cubicBezTo>
                    <a:pt x="1639158" y="959956"/>
                    <a:pt x="1629457" y="962463"/>
                    <a:pt x="1631405" y="959422"/>
                  </a:cubicBezTo>
                  <a:cubicBezTo>
                    <a:pt x="1633353" y="956380"/>
                    <a:pt x="1644353" y="952737"/>
                    <a:pt x="1647885" y="951200"/>
                  </a:cubicBezTo>
                  <a:cubicBezTo>
                    <a:pt x="1658966" y="946854"/>
                    <a:pt x="1675080" y="939568"/>
                    <a:pt x="1679423" y="932014"/>
                  </a:cubicBezTo>
                  <a:cubicBezTo>
                    <a:pt x="1690220" y="913264"/>
                    <a:pt x="1637453" y="938699"/>
                    <a:pt x="1629254" y="936760"/>
                  </a:cubicBezTo>
                  <a:cubicBezTo>
                    <a:pt x="1614560" y="933418"/>
                    <a:pt x="1599299" y="939902"/>
                    <a:pt x="1579937" y="944615"/>
                  </a:cubicBezTo>
                  <a:cubicBezTo>
                    <a:pt x="1575878" y="945618"/>
                    <a:pt x="1566096" y="946687"/>
                    <a:pt x="1574742" y="942409"/>
                  </a:cubicBezTo>
                  <a:cubicBezTo>
                    <a:pt x="1586919" y="936393"/>
                    <a:pt x="1603155" y="932817"/>
                    <a:pt x="1616184" y="929541"/>
                  </a:cubicBezTo>
                  <a:cubicBezTo>
                    <a:pt x="1635667" y="924628"/>
                    <a:pt x="1676298" y="920550"/>
                    <a:pt x="1691519" y="907949"/>
                  </a:cubicBezTo>
                  <a:cubicBezTo>
                    <a:pt x="1698378" y="902268"/>
                    <a:pt x="1686486" y="898725"/>
                    <a:pt x="1687135" y="894145"/>
                  </a:cubicBezTo>
                  <a:cubicBezTo>
                    <a:pt x="1687703" y="890201"/>
                    <a:pt x="1719972" y="885556"/>
                    <a:pt x="1724640" y="884319"/>
                  </a:cubicBezTo>
                  <a:cubicBezTo>
                    <a:pt x="1755529" y="875996"/>
                    <a:pt x="1753946" y="853770"/>
                    <a:pt x="1770222" y="839866"/>
                  </a:cubicBezTo>
                  <a:cubicBezTo>
                    <a:pt x="1788691" y="824023"/>
                    <a:pt x="1710149" y="851497"/>
                    <a:pt x="1700042" y="852767"/>
                  </a:cubicBezTo>
                  <a:cubicBezTo>
                    <a:pt x="1693508" y="853469"/>
                    <a:pt x="1662700" y="856778"/>
                    <a:pt x="1666637" y="850093"/>
                  </a:cubicBezTo>
                  <a:cubicBezTo>
                    <a:pt x="1670574" y="843408"/>
                    <a:pt x="1692899" y="841503"/>
                    <a:pt x="1700083" y="840868"/>
                  </a:cubicBezTo>
                  <a:cubicBezTo>
                    <a:pt x="1731215" y="837994"/>
                    <a:pt x="1750983" y="840267"/>
                    <a:pt x="1771927" y="819043"/>
                  </a:cubicBezTo>
                  <a:cubicBezTo>
                    <a:pt x="1777041" y="813862"/>
                    <a:pt x="1791166" y="802598"/>
                    <a:pt x="1792222" y="797418"/>
                  </a:cubicBezTo>
                  <a:cubicBezTo>
                    <a:pt x="1793074" y="793273"/>
                    <a:pt x="1770872" y="798186"/>
                    <a:pt x="1766447" y="798120"/>
                  </a:cubicBezTo>
                  <a:cubicBezTo>
                    <a:pt x="1755610" y="797919"/>
                    <a:pt x="1785930" y="784750"/>
                    <a:pt x="1788975" y="783614"/>
                  </a:cubicBezTo>
                  <a:cubicBezTo>
                    <a:pt x="1806875" y="776929"/>
                    <a:pt x="1810487" y="786956"/>
                    <a:pt x="1829077" y="777765"/>
                  </a:cubicBezTo>
                  <a:cubicBezTo>
                    <a:pt x="1836221" y="774222"/>
                    <a:pt x="1858383" y="766735"/>
                    <a:pt x="1846369" y="764195"/>
                  </a:cubicBezTo>
                  <a:cubicBezTo>
                    <a:pt x="1841092" y="763058"/>
                    <a:pt x="1809838" y="767236"/>
                    <a:pt x="1815723" y="761220"/>
                  </a:cubicBezTo>
                  <a:cubicBezTo>
                    <a:pt x="1821609" y="755204"/>
                    <a:pt x="1836384" y="758880"/>
                    <a:pt x="1843487" y="758346"/>
                  </a:cubicBezTo>
                  <a:cubicBezTo>
                    <a:pt x="1861427" y="756942"/>
                    <a:pt x="1860088" y="765431"/>
                    <a:pt x="1877420" y="753399"/>
                  </a:cubicBezTo>
                  <a:cubicBezTo>
                    <a:pt x="1890084" y="744608"/>
                    <a:pt x="1899216" y="738258"/>
                    <a:pt x="1907497" y="728398"/>
                  </a:cubicBezTo>
                  <a:cubicBezTo>
                    <a:pt x="1913139" y="721713"/>
                    <a:pt x="1927102" y="719240"/>
                    <a:pt x="1924504" y="710884"/>
                  </a:cubicBezTo>
                  <a:cubicBezTo>
                    <a:pt x="1921500" y="701091"/>
                    <a:pt x="1893453" y="708879"/>
                    <a:pt x="1889921" y="700222"/>
                  </a:cubicBezTo>
                  <a:cubicBezTo>
                    <a:pt x="1888785" y="697348"/>
                    <a:pt x="1854527" y="696244"/>
                    <a:pt x="1879124" y="690195"/>
                  </a:cubicBezTo>
                  <a:cubicBezTo>
                    <a:pt x="1887973" y="688022"/>
                    <a:pt x="1914722" y="677460"/>
                    <a:pt x="1909445" y="671110"/>
                  </a:cubicBezTo>
                  <a:cubicBezTo>
                    <a:pt x="1907659" y="669004"/>
                    <a:pt x="1891423" y="672079"/>
                    <a:pt x="1893209" y="669071"/>
                  </a:cubicBezTo>
                  <a:cubicBezTo>
                    <a:pt x="1894995" y="666063"/>
                    <a:pt x="1905386" y="661217"/>
                    <a:pt x="1897715" y="660448"/>
                  </a:cubicBezTo>
                  <a:cubicBezTo>
                    <a:pt x="1890043" y="659679"/>
                    <a:pt x="1881032" y="664124"/>
                    <a:pt x="1873361" y="665963"/>
                  </a:cubicBezTo>
                  <a:cubicBezTo>
                    <a:pt x="1855785" y="670141"/>
                    <a:pt x="1854933" y="660013"/>
                    <a:pt x="1839509" y="664726"/>
                  </a:cubicBezTo>
                  <a:cubicBezTo>
                    <a:pt x="1811989" y="673149"/>
                    <a:pt x="1785240" y="678096"/>
                    <a:pt x="1758330" y="689292"/>
                  </a:cubicBezTo>
                  <a:cubicBezTo>
                    <a:pt x="1749927" y="692835"/>
                    <a:pt x="1758613" y="701559"/>
                    <a:pt x="1761820" y="702896"/>
                  </a:cubicBezTo>
                  <a:cubicBezTo>
                    <a:pt x="1764296" y="703932"/>
                    <a:pt x="1798107" y="698216"/>
                    <a:pt x="1783576" y="707007"/>
                  </a:cubicBezTo>
                  <a:cubicBezTo>
                    <a:pt x="1774281" y="712622"/>
                    <a:pt x="1791248" y="713090"/>
                    <a:pt x="1777325" y="717234"/>
                  </a:cubicBezTo>
                  <a:cubicBezTo>
                    <a:pt x="1761090" y="722081"/>
                    <a:pt x="1763728" y="728599"/>
                    <a:pt x="1765149" y="735116"/>
                  </a:cubicBezTo>
                  <a:cubicBezTo>
                    <a:pt x="1766001" y="739394"/>
                    <a:pt x="1765149" y="750290"/>
                    <a:pt x="1752972" y="753934"/>
                  </a:cubicBezTo>
                  <a:cubicBezTo>
                    <a:pt x="1744367" y="756474"/>
                    <a:pt x="1747857" y="743238"/>
                    <a:pt x="1736736" y="747817"/>
                  </a:cubicBezTo>
                  <a:cubicBezTo>
                    <a:pt x="1708120" y="759448"/>
                    <a:pt x="1760724" y="762256"/>
                    <a:pt x="1757031" y="768707"/>
                  </a:cubicBezTo>
                  <a:cubicBezTo>
                    <a:pt x="1755650" y="771180"/>
                    <a:pt x="1748222" y="773854"/>
                    <a:pt x="1745138" y="775592"/>
                  </a:cubicBezTo>
                  <a:cubicBezTo>
                    <a:pt x="1738725" y="779235"/>
                    <a:pt x="1739739" y="782277"/>
                    <a:pt x="1735315" y="785887"/>
                  </a:cubicBezTo>
                  <a:cubicBezTo>
                    <a:pt x="1734584" y="786455"/>
                    <a:pt x="1702843" y="781675"/>
                    <a:pt x="1699921" y="781241"/>
                  </a:cubicBezTo>
                  <a:cubicBezTo>
                    <a:pt x="1690545" y="779703"/>
                    <a:pt x="1676013" y="774222"/>
                    <a:pt x="1689733" y="765331"/>
                  </a:cubicBezTo>
                  <a:cubicBezTo>
                    <a:pt x="1700205" y="758646"/>
                    <a:pt x="1694806" y="753533"/>
                    <a:pt x="1685308" y="750190"/>
                  </a:cubicBezTo>
                  <a:cubicBezTo>
                    <a:pt x="1679220" y="748051"/>
                    <a:pt x="1652309" y="748753"/>
                    <a:pt x="1643866" y="750424"/>
                  </a:cubicBezTo>
                  <a:cubicBezTo>
                    <a:pt x="1622151" y="754702"/>
                    <a:pt x="1630431" y="763092"/>
                    <a:pt x="1625520" y="770478"/>
                  </a:cubicBezTo>
                  <a:cubicBezTo>
                    <a:pt x="1619188" y="780138"/>
                    <a:pt x="1615535" y="800994"/>
                    <a:pt x="1603642" y="785753"/>
                  </a:cubicBezTo>
                  <a:cubicBezTo>
                    <a:pt x="1599583" y="780305"/>
                    <a:pt x="1596173" y="779737"/>
                    <a:pt x="1588096" y="777397"/>
                  </a:cubicBezTo>
                  <a:cubicBezTo>
                    <a:pt x="1578436" y="774589"/>
                    <a:pt x="1613302" y="760184"/>
                    <a:pt x="1602262" y="759148"/>
                  </a:cubicBezTo>
                  <a:cubicBezTo>
                    <a:pt x="1595889" y="758546"/>
                    <a:pt x="1570602" y="765164"/>
                    <a:pt x="1561672" y="766601"/>
                  </a:cubicBezTo>
                  <a:cubicBezTo>
                    <a:pt x="1552742" y="768038"/>
                    <a:pt x="1541824" y="784616"/>
                    <a:pt x="1533706" y="778767"/>
                  </a:cubicBezTo>
                  <a:cubicBezTo>
                    <a:pt x="1530986" y="776729"/>
                    <a:pt x="1527739" y="764963"/>
                    <a:pt x="1535492" y="762624"/>
                  </a:cubicBezTo>
                  <a:cubicBezTo>
                    <a:pt x="1548967" y="758546"/>
                    <a:pt x="1554082" y="750859"/>
                    <a:pt x="1538252" y="753466"/>
                  </a:cubicBezTo>
                  <a:cubicBezTo>
                    <a:pt x="1525588" y="755571"/>
                    <a:pt x="1525669" y="751293"/>
                    <a:pt x="1515806" y="751694"/>
                  </a:cubicBezTo>
                  <a:cubicBezTo>
                    <a:pt x="1509433" y="751928"/>
                    <a:pt x="1488813" y="758880"/>
                    <a:pt x="1485485" y="756307"/>
                  </a:cubicBezTo>
                  <a:cubicBezTo>
                    <a:pt x="1480655" y="752630"/>
                    <a:pt x="1488976" y="743505"/>
                    <a:pt x="1479437" y="742068"/>
                  </a:cubicBezTo>
                  <a:cubicBezTo>
                    <a:pt x="1466477" y="740407"/>
                    <a:pt x="1453253" y="740791"/>
                    <a:pt x="1440471" y="743205"/>
                  </a:cubicBezTo>
                  <a:cubicBezTo>
                    <a:pt x="1432028" y="744809"/>
                    <a:pt x="1420176" y="751794"/>
                    <a:pt x="1417091" y="745644"/>
                  </a:cubicBezTo>
                  <a:cubicBezTo>
                    <a:pt x="1416320" y="744040"/>
                    <a:pt x="1431582" y="733645"/>
                    <a:pt x="1434058" y="730571"/>
                  </a:cubicBezTo>
                  <a:cubicBezTo>
                    <a:pt x="1437427" y="726359"/>
                    <a:pt x="1454353" y="708945"/>
                    <a:pt x="1438117" y="712622"/>
                  </a:cubicBezTo>
                  <a:cubicBezTo>
                    <a:pt x="1414615" y="717903"/>
                    <a:pt x="1442176" y="704834"/>
                    <a:pt x="1451146" y="702194"/>
                  </a:cubicBezTo>
                  <a:cubicBezTo>
                    <a:pt x="1486135" y="692167"/>
                    <a:pt x="1492020" y="687956"/>
                    <a:pt x="1503913" y="667834"/>
                  </a:cubicBezTo>
                  <a:cubicBezTo>
                    <a:pt x="1510813" y="656136"/>
                    <a:pt x="1539591" y="623214"/>
                    <a:pt x="1499854" y="638288"/>
                  </a:cubicBezTo>
                  <a:cubicBezTo>
                    <a:pt x="1483171" y="644672"/>
                    <a:pt x="1469046" y="651824"/>
                    <a:pt x="1451471" y="655000"/>
                  </a:cubicBezTo>
                  <a:cubicBezTo>
                    <a:pt x="1437082" y="657590"/>
                    <a:pt x="1423163" y="661715"/>
                    <a:pt x="1410069" y="667266"/>
                  </a:cubicBezTo>
                  <a:cubicBezTo>
                    <a:pt x="1395355" y="673333"/>
                    <a:pt x="1381157" y="680211"/>
                    <a:pt x="1367572" y="687855"/>
                  </a:cubicBezTo>
                  <a:cubicBezTo>
                    <a:pt x="1350727" y="697515"/>
                    <a:pt x="1360387" y="696044"/>
                    <a:pt x="1369885" y="698785"/>
                  </a:cubicBezTo>
                  <a:cubicBezTo>
                    <a:pt x="1380033" y="701693"/>
                    <a:pt x="1352188" y="706338"/>
                    <a:pt x="1349591" y="708177"/>
                  </a:cubicBezTo>
                  <a:cubicBezTo>
                    <a:pt x="1344801" y="711753"/>
                    <a:pt x="1356491" y="718939"/>
                    <a:pt x="1357709" y="721011"/>
                  </a:cubicBezTo>
                  <a:cubicBezTo>
                    <a:pt x="1361768" y="727228"/>
                    <a:pt x="1361768" y="735684"/>
                    <a:pt x="1374797" y="736921"/>
                  </a:cubicBezTo>
                  <a:cubicBezTo>
                    <a:pt x="1391033" y="738459"/>
                    <a:pt x="1394158" y="744475"/>
                    <a:pt x="1399151" y="752898"/>
                  </a:cubicBezTo>
                  <a:cubicBezTo>
                    <a:pt x="1403209" y="759582"/>
                    <a:pt x="1391033" y="763560"/>
                    <a:pt x="1384011" y="770044"/>
                  </a:cubicBezTo>
                  <a:cubicBezTo>
                    <a:pt x="1381900" y="772016"/>
                    <a:pt x="1399759" y="771648"/>
                    <a:pt x="1399719" y="775024"/>
                  </a:cubicBezTo>
                  <a:cubicBezTo>
                    <a:pt x="1399719" y="780539"/>
                    <a:pt x="1377760" y="781074"/>
                    <a:pt x="1371996" y="784717"/>
                  </a:cubicBezTo>
                  <a:cubicBezTo>
                    <a:pt x="1361970" y="791000"/>
                    <a:pt x="1364812" y="804136"/>
                    <a:pt x="1375528" y="803969"/>
                  </a:cubicBezTo>
                  <a:cubicBezTo>
                    <a:pt x="1393225" y="803735"/>
                    <a:pt x="1384254" y="807110"/>
                    <a:pt x="1382387" y="816703"/>
                  </a:cubicBezTo>
                  <a:cubicBezTo>
                    <a:pt x="1380398" y="827064"/>
                    <a:pt x="1398623" y="826496"/>
                    <a:pt x="1413925" y="823388"/>
                  </a:cubicBezTo>
                  <a:cubicBezTo>
                    <a:pt x="1430527" y="819845"/>
                    <a:pt x="1447250" y="813361"/>
                    <a:pt x="1463810" y="810520"/>
                  </a:cubicBezTo>
                  <a:cubicBezTo>
                    <a:pt x="1487109" y="806342"/>
                    <a:pt x="1470710" y="811489"/>
                    <a:pt x="1472375" y="816135"/>
                  </a:cubicBezTo>
                  <a:cubicBezTo>
                    <a:pt x="1473389" y="818909"/>
                    <a:pt x="1479275" y="818341"/>
                    <a:pt x="1477651" y="822385"/>
                  </a:cubicBezTo>
                  <a:cubicBezTo>
                    <a:pt x="1476393" y="825427"/>
                    <a:pt x="1472659" y="828535"/>
                    <a:pt x="1471603" y="831543"/>
                  </a:cubicBezTo>
                  <a:cubicBezTo>
                    <a:pt x="1467747" y="842840"/>
                    <a:pt x="1482968" y="826095"/>
                    <a:pt x="1484511" y="822151"/>
                  </a:cubicBezTo>
                  <a:cubicBezTo>
                    <a:pt x="1489219" y="809985"/>
                    <a:pt x="1502452" y="821516"/>
                    <a:pt x="1503953" y="824858"/>
                  </a:cubicBezTo>
                  <a:cubicBezTo>
                    <a:pt x="1505455" y="828201"/>
                    <a:pt x="1501599" y="830808"/>
                    <a:pt x="1496282" y="834150"/>
                  </a:cubicBezTo>
                  <a:cubicBezTo>
                    <a:pt x="1486825" y="840133"/>
                    <a:pt x="1486825" y="846651"/>
                    <a:pt x="1479031" y="852867"/>
                  </a:cubicBezTo>
                  <a:cubicBezTo>
                    <a:pt x="1472050" y="858449"/>
                    <a:pt x="1449441" y="862460"/>
                    <a:pt x="1453703" y="868476"/>
                  </a:cubicBezTo>
                  <a:cubicBezTo>
                    <a:pt x="1456910" y="873055"/>
                    <a:pt x="1472983" y="875161"/>
                    <a:pt x="1472375" y="880709"/>
                  </a:cubicBezTo>
                  <a:cubicBezTo>
                    <a:pt x="1471684" y="887394"/>
                    <a:pt x="1445829" y="891873"/>
                    <a:pt x="1439497" y="892174"/>
                  </a:cubicBezTo>
                  <a:cubicBezTo>
                    <a:pt x="1419202" y="893109"/>
                    <a:pt x="1435803" y="878035"/>
                    <a:pt x="1432881" y="870782"/>
                  </a:cubicBezTo>
                  <a:cubicBezTo>
                    <a:pt x="1431419" y="867173"/>
                    <a:pt x="1409258" y="877467"/>
                    <a:pt x="1403413" y="879105"/>
                  </a:cubicBezTo>
                  <a:cubicBezTo>
                    <a:pt x="1399638" y="880074"/>
                    <a:pt x="1374269" y="882046"/>
                    <a:pt x="1386730" y="876999"/>
                  </a:cubicBezTo>
                  <a:cubicBezTo>
                    <a:pt x="1392900" y="874526"/>
                    <a:pt x="1419730" y="868276"/>
                    <a:pt x="1418187" y="863128"/>
                  </a:cubicBezTo>
                  <a:cubicBezTo>
                    <a:pt x="1415792" y="854940"/>
                    <a:pt x="1434788" y="852867"/>
                    <a:pt x="1446600" y="848054"/>
                  </a:cubicBezTo>
                  <a:cubicBezTo>
                    <a:pt x="1461415" y="841971"/>
                    <a:pt x="1465799" y="832513"/>
                    <a:pt x="1453216" y="830674"/>
                  </a:cubicBezTo>
                  <a:cubicBezTo>
                    <a:pt x="1439862" y="828736"/>
                    <a:pt x="1433408" y="834618"/>
                    <a:pt x="1420744" y="840935"/>
                  </a:cubicBezTo>
                  <a:cubicBezTo>
                    <a:pt x="1408080" y="847252"/>
                    <a:pt x="1400449" y="842138"/>
                    <a:pt x="1414859" y="836690"/>
                  </a:cubicBezTo>
                  <a:cubicBezTo>
                    <a:pt x="1430364" y="830774"/>
                    <a:pt x="1442135" y="820781"/>
                    <a:pt x="1417457" y="828903"/>
                  </a:cubicBezTo>
                  <a:cubicBezTo>
                    <a:pt x="1398907" y="835019"/>
                    <a:pt x="1390383" y="844979"/>
                    <a:pt x="1370819" y="843743"/>
                  </a:cubicBezTo>
                  <a:cubicBezTo>
                    <a:pt x="1362336" y="843208"/>
                    <a:pt x="1348048" y="844578"/>
                    <a:pt x="1340214" y="851330"/>
                  </a:cubicBezTo>
                  <a:cubicBezTo>
                    <a:pt x="1330229" y="859987"/>
                    <a:pt x="1341960" y="866304"/>
                    <a:pt x="1331569" y="874726"/>
                  </a:cubicBezTo>
                  <a:cubicBezTo>
                    <a:pt x="1326292" y="879072"/>
                    <a:pt x="1305672" y="885255"/>
                    <a:pt x="1308757" y="890669"/>
                  </a:cubicBezTo>
                  <a:cubicBezTo>
                    <a:pt x="1312370" y="896886"/>
                    <a:pt x="1343299" y="882681"/>
                    <a:pt x="1351174" y="880642"/>
                  </a:cubicBezTo>
                  <a:cubicBezTo>
                    <a:pt x="1354299" y="879773"/>
                    <a:pt x="1383077" y="877534"/>
                    <a:pt x="1372686" y="881912"/>
                  </a:cubicBezTo>
                  <a:cubicBezTo>
                    <a:pt x="1367450" y="884085"/>
                    <a:pt x="1368059" y="886391"/>
                    <a:pt x="1366841" y="888965"/>
                  </a:cubicBezTo>
                  <a:cubicBezTo>
                    <a:pt x="1365218" y="892307"/>
                    <a:pt x="1355841" y="892976"/>
                    <a:pt x="1352351" y="894379"/>
                  </a:cubicBezTo>
                  <a:cubicBezTo>
                    <a:pt x="1345410" y="897120"/>
                    <a:pt x="1343299" y="901064"/>
                    <a:pt x="1349793" y="901733"/>
                  </a:cubicBezTo>
                  <a:cubicBezTo>
                    <a:pt x="1358723" y="902669"/>
                    <a:pt x="1350686" y="908852"/>
                    <a:pt x="1353852" y="912395"/>
                  </a:cubicBezTo>
                  <a:cubicBezTo>
                    <a:pt x="1357018" y="915938"/>
                    <a:pt x="1322355" y="925163"/>
                    <a:pt x="1317322" y="927268"/>
                  </a:cubicBezTo>
                  <a:cubicBezTo>
                    <a:pt x="1301212" y="934501"/>
                    <a:pt x="1285641" y="942513"/>
                    <a:pt x="1270684" y="951266"/>
                  </a:cubicBezTo>
                  <a:cubicBezTo>
                    <a:pt x="1235127" y="971321"/>
                    <a:pt x="1208257" y="967611"/>
                    <a:pt x="1173269" y="983320"/>
                  </a:cubicBezTo>
                  <a:cubicBezTo>
                    <a:pt x="1161376" y="988634"/>
                    <a:pt x="1153582" y="983821"/>
                    <a:pt x="1140797" y="989403"/>
                  </a:cubicBezTo>
                  <a:cubicBezTo>
                    <a:pt x="1127199" y="995219"/>
                    <a:pt x="1122856" y="991275"/>
                    <a:pt x="1118513" y="986562"/>
                  </a:cubicBezTo>
                  <a:cubicBezTo>
                    <a:pt x="1108447" y="975666"/>
                    <a:pt x="1065259" y="1010627"/>
                    <a:pt x="1054584" y="1017445"/>
                  </a:cubicBezTo>
                  <a:cubicBezTo>
                    <a:pt x="1043909" y="1024264"/>
                    <a:pt x="1026861" y="1032486"/>
                    <a:pt x="1025238" y="1040842"/>
                  </a:cubicBezTo>
                  <a:cubicBezTo>
                    <a:pt x="1023614" y="1049198"/>
                    <a:pt x="1033802" y="1045086"/>
                    <a:pt x="1043584" y="1040541"/>
                  </a:cubicBezTo>
                  <a:cubicBezTo>
                    <a:pt x="1052189" y="1036497"/>
                    <a:pt x="1053691" y="1029912"/>
                    <a:pt x="1062499" y="1025400"/>
                  </a:cubicBezTo>
                  <a:cubicBezTo>
                    <a:pt x="1080034" y="1016476"/>
                    <a:pt x="1085838" y="1010025"/>
                    <a:pt x="1100491" y="999931"/>
                  </a:cubicBezTo>
                  <a:cubicBezTo>
                    <a:pt x="1110963" y="992712"/>
                    <a:pt x="1110517" y="999931"/>
                    <a:pt x="1105849" y="1004577"/>
                  </a:cubicBezTo>
                  <a:cubicBezTo>
                    <a:pt x="1096501" y="1013173"/>
                    <a:pt x="1086171" y="1021008"/>
                    <a:pt x="1075001" y="1027974"/>
                  </a:cubicBezTo>
                  <a:cubicBezTo>
                    <a:pt x="1037090" y="1052707"/>
                    <a:pt x="1075610" y="1045320"/>
                    <a:pt x="1092008" y="1055448"/>
                  </a:cubicBezTo>
                  <a:cubicBezTo>
                    <a:pt x="1094687" y="1057119"/>
                    <a:pt x="1077842" y="1072995"/>
                    <a:pt x="1072971" y="1074399"/>
                  </a:cubicBezTo>
                  <a:cubicBezTo>
                    <a:pt x="1069602" y="1075402"/>
                    <a:pt x="1051499" y="1078878"/>
                    <a:pt x="1060226" y="1072861"/>
                  </a:cubicBezTo>
                  <a:cubicBezTo>
                    <a:pt x="1078289" y="1060461"/>
                    <a:pt x="1046385" y="1060762"/>
                    <a:pt x="1034452" y="1066177"/>
                  </a:cubicBezTo>
                  <a:cubicBezTo>
                    <a:pt x="1027511" y="1069319"/>
                    <a:pt x="1031894" y="1064071"/>
                    <a:pt x="1027470" y="1064305"/>
                  </a:cubicBezTo>
                  <a:cubicBezTo>
                    <a:pt x="1023980" y="1064506"/>
                    <a:pt x="1016552" y="1069452"/>
                    <a:pt x="1013101" y="1070689"/>
                  </a:cubicBezTo>
                  <a:cubicBezTo>
                    <a:pt x="998002" y="1075970"/>
                    <a:pt x="989519" y="1070288"/>
                    <a:pt x="975921" y="1082253"/>
                  </a:cubicBezTo>
                  <a:cubicBezTo>
                    <a:pt x="955910" y="1099834"/>
                    <a:pt x="914428" y="1119554"/>
                    <a:pt x="887679" y="1132990"/>
                  </a:cubicBezTo>
                  <a:cubicBezTo>
                    <a:pt x="880901" y="1136333"/>
                    <a:pt x="823750" y="1165445"/>
                    <a:pt x="823994" y="1155284"/>
                  </a:cubicBezTo>
                  <a:cubicBezTo>
                    <a:pt x="823994" y="1149635"/>
                    <a:pt x="835237" y="1140611"/>
                    <a:pt x="842300" y="1135430"/>
                  </a:cubicBezTo>
                  <a:cubicBezTo>
                    <a:pt x="850702" y="1129214"/>
                    <a:pt x="866856" y="1124167"/>
                    <a:pt x="850986" y="1122830"/>
                  </a:cubicBezTo>
                  <a:cubicBezTo>
                    <a:pt x="837429" y="1121693"/>
                    <a:pt x="821437" y="1124935"/>
                    <a:pt x="805363" y="1130150"/>
                  </a:cubicBezTo>
                  <a:cubicBezTo>
                    <a:pt x="802846" y="1130985"/>
                    <a:pt x="776382" y="1139909"/>
                    <a:pt x="779507" y="1142884"/>
                  </a:cubicBezTo>
                  <a:cubicBezTo>
                    <a:pt x="783566" y="1146895"/>
                    <a:pt x="707217" y="1172364"/>
                    <a:pt x="698044" y="1175004"/>
                  </a:cubicBezTo>
                  <a:cubicBezTo>
                    <a:pt x="685014" y="1178547"/>
                    <a:pt x="672594" y="1185833"/>
                    <a:pt x="659727" y="1190813"/>
                  </a:cubicBezTo>
                  <a:cubicBezTo>
                    <a:pt x="641056" y="1198133"/>
                    <a:pt x="625956" y="1200239"/>
                    <a:pt x="607894" y="1204550"/>
                  </a:cubicBezTo>
                  <a:cubicBezTo>
                    <a:pt x="578182" y="1211636"/>
                    <a:pt x="553747" y="1228749"/>
                    <a:pt x="543681" y="1246798"/>
                  </a:cubicBezTo>
                  <a:cubicBezTo>
                    <a:pt x="539906" y="1253482"/>
                    <a:pt x="520301" y="1266852"/>
                    <a:pt x="510113" y="1269526"/>
                  </a:cubicBezTo>
                  <a:cubicBezTo>
                    <a:pt x="503822" y="1271063"/>
                    <a:pt x="511006" y="1259866"/>
                    <a:pt x="509910" y="1258061"/>
                  </a:cubicBezTo>
                  <a:cubicBezTo>
                    <a:pt x="505149" y="1254990"/>
                    <a:pt x="499779" y="1252617"/>
                    <a:pt x="494039" y="1251043"/>
                  </a:cubicBezTo>
                  <a:cubicBezTo>
                    <a:pt x="483202" y="1251344"/>
                    <a:pt x="481863" y="1264947"/>
                    <a:pt x="481132" y="1268256"/>
                  </a:cubicBezTo>
                  <a:cubicBezTo>
                    <a:pt x="468022" y="1323939"/>
                    <a:pt x="416473" y="1277648"/>
                    <a:pt x="372554" y="1300008"/>
                  </a:cubicBezTo>
                  <a:cubicBezTo>
                    <a:pt x="358795" y="1307027"/>
                    <a:pt x="384731" y="1305590"/>
                    <a:pt x="385868" y="1307595"/>
                  </a:cubicBezTo>
                  <a:cubicBezTo>
                    <a:pt x="387491" y="1310135"/>
                    <a:pt x="374381" y="1315316"/>
                    <a:pt x="373691" y="1318759"/>
                  </a:cubicBezTo>
                  <a:cubicBezTo>
                    <a:pt x="372230" y="1326145"/>
                    <a:pt x="376248" y="1328786"/>
                    <a:pt x="366872" y="1338211"/>
                  </a:cubicBezTo>
                  <a:cubicBezTo>
                    <a:pt x="359200" y="1346066"/>
                    <a:pt x="356806" y="1338211"/>
                    <a:pt x="346009" y="1345331"/>
                  </a:cubicBezTo>
                  <a:cubicBezTo>
                    <a:pt x="331356" y="1354923"/>
                    <a:pt x="330990" y="1376615"/>
                    <a:pt x="312076" y="1382732"/>
                  </a:cubicBezTo>
                  <a:cubicBezTo>
                    <a:pt x="308301" y="1383935"/>
                    <a:pt x="307367" y="1381528"/>
                    <a:pt x="303633" y="1383868"/>
                  </a:cubicBezTo>
                  <a:cubicBezTo>
                    <a:pt x="297378" y="1388230"/>
                    <a:pt x="291777" y="1393186"/>
                    <a:pt x="286951" y="1398641"/>
                  </a:cubicBezTo>
                  <a:cubicBezTo>
                    <a:pt x="276560" y="1409337"/>
                    <a:pt x="270715" y="1415888"/>
                    <a:pt x="272014" y="1424210"/>
                  </a:cubicBezTo>
                  <a:cubicBezTo>
                    <a:pt x="273394" y="1434237"/>
                    <a:pt x="232195" y="1454024"/>
                    <a:pt x="256305" y="1428087"/>
                  </a:cubicBezTo>
                  <a:cubicBezTo>
                    <a:pt x="269335" y="1414049"/>
                    <a:pt x="278183" y="1399677"/>
                    <a:pt x="292349" y="1385773"/>
                  </a:cubicBezTo>
                  <a:cubicBezTo>
                    <a:pt x="305663" y="1372705"/>
                    <a:pt x="323278" y="1361608"/>
                    <a:pt x="335212" y="1347904"/>
                  </a:cubicBezTo>
                  <a:cubicBezTo>
                    <a:pt x="351448" y="1329220"/>
                    <a:pt x="315445" y="1350912"/>
                    <a:pt x="307043" y="1356628"/>
                  </a:cubicBezTo>
                  <a:cubicBezTo>
                    <a:pt x="285571" y="1371167"/>
                    <a:pt x="272298" y="1390586"/>
                    <a:pt x="251800" y="1406228"/>
                  </a:cubicBezTo>
                  <a:cubicBezTo>
                    <a:pt x="236822" y="1417659"/>
                    <a:pt x="253423" y="1416255"/>
                    <a:pt x="237025" y="1424578"/>
                  </a:cubicBezTo>
                  <a:cubicBezTo>
                    <a:pt x="227852" y="1429291"/>
                    <a:pt x="229516" y="1431831"/>
                    <a:pt x="223103" y="1436477"/>
                  </a:cubicBezTo>
                  <a:cubicBezTo>
                    <a:pt x="213767" y="1443161"/>
                    <a:pt x="219572" y="1432265"/>
                    <a:pt x="215472" y="1433134"/>
                  </a:cubicBezTo>
                  <a:cubicBezTo>
                    <a:pt x="195664" y="1436711"/>
                    <a:pt x="202646" y="1444331"/>
                    <a:pt x="191118" y="1453188"/>
                  </a:cubicBezTo>
                  <a:cubicBezTo>
                    <a:pt x="181742" y="1460207"/>
                    <a:pt x="171067" y="1465589"/>
                    <a:pt x="165384" y="1474078"/>
                  </a:cubicBezTo>
                  <a:cubicBezTo>
                    <a:pt x="157835" y="1485442"/>
                    <a:pt x="177845" y="1477822"/>
                    <a:pt x="185679" y="1477420"/>
                  </a:cubicBezTo>
                  <a:cubicBezTo>
                    <a:pt x="205040" y="1476284"/>
                    <a:pt x="155196" y="1494132"/>
                    <a:pt x="153938" y="1494801"/>
                  </a:cubicBezTo>
                  <a:cubicBezTo>
                    <a:pt x="132507" y="1504460"/>
                    <a:pt x="116798" y="1515423"/>
                    <a:pt x="93987" y="1522977"/>
                  </a:cubicBezTo>
                  <a:cubicBezTo>
                    <a:pt x="79902" y="1527623"/>
                    <a:pt x="67279" y="1528124"/>
                    <a:pt x="54899" y="1531567"/>
                  </a:cubicBezTo>
                  <a:cubicBezTo>
                    <a:pt x="39150" y="1535945"/>
                    <a:pt x="14796" y="1555999"/>
                    <a:pt x="-60" y="1564456"/>
                  </a:cubicBezTo>
                  <a:lnTo>
                    <a:pt x="172609" y="1746514"/>
                  </a:lnTo>
                  <a:cubicBezTo>
                    <a:pt x="180159" y="1754469"/>
                    <a:pt x="187696" y="1762413"/>
                    <a:pt x="195218" y="1770345"/>
                  </a:cubicBezTo>
                  <a:cubicBezTo>
                    <a:pt x="199764" y="1775158"/>
                    <a:pt x="237756" y="1740598"/>
                    <a:pt x="241246" y="1738325"/>
                  </a:cubicBezTo>
                  <a:cubicBezTo>
                    <a:pt x="253626" y="1730036"/>
                    <a:pt x="256427" y="1738091"/>
                    <a:pt x="263855" y="1738526"/>
                  </a:cubicBezTo>
                  <a:cubicBezTo>
                    <a:pt x="277331" y="1739328"/>
                    <a:pt x="295637" y="1733211"/>
                    <a:pt x="309924" y="1733479"/>
                  </a:cubicBezTo>
                  <a:cubicBezTo>
                    <a:pt x="325470" y="1733779"/>
                    <a:pt x="328799" y="1728198"/>
                    <a:pt x="339271" y="1717201"/>
                  </a:cubicBezTo>
                  <a:cubicBezTo>
                    <a:pt x="348282" y="1707743"/>
                    <a:pt x="343533" y="1704133"/>
                    <a:pt x="348931" y="1696646"/>
                  </a:cubicBezTo>
                  <a:cubicBezTo>
                    <a:pt x="353680" y="1689961"/>
                    <a:pt x="365167" y="1683276"/>
                    <a:pt x="373650" y="1679332"/>
                  </a:cubicBezTo>
                  <a:cubicBezTo>
                    <a:pt x="385827" y="1674051"/>
                    <a:pt x="385827" y="1679332"/>
                    <a:pt x="394595" y="1679332"/>
                  </a:cubicBezTo>
                  <a:cubicBezTo>
                    <a:pt x="416878" y="1679332"/>
                    <a:pt x="443302" y="1672213"/>
                    <a:pt x="465789" y="1672882"/>
                  </a:cubicBezTo>
                  <a:cubicBezTo>
                    <a:pt x="488276" y="1673550"/>
                    <a:pt x="506622" y="1684246"/>
                    <a:pt x="532356" y="1679566"/>
                  </a:cubicBezTo>
                  <a:cubicBezTo>
                    <a:pt x="547375" y="1676826"/>
                    <a:pt x="590359" y="1656571"/>
                    <a:pt x="594986" y="1667901"/>
                  </a:cubicBezTo>
                  <a:cubicBezTo>
                    <a:pt x="597340" y="1673584"/>
                    <a:pt x="597381" y="1675322"/>
                    <a:pt x="607853" y="1674954"/>
                  </a:cubicBezTo>
                  <a:cubicBezTo>
                    <a:pt x="623277" y="1674419"/>
                    <a:pt x="604281" y="1692067"/>
                    <a:pt x="598802" y="1699387"/>
                  </a:cubicBezTo>
                  <a:cubicBezTo>
                    <a:pt x="602536" y="1702361"/>
                    <a:pt x="625226" y="1695576"/>
                    <a:pt x="617514" y="1703230"/>
                  </a:cubicBezTo>
                  <a:cubicBezTo>
                    <a:pt x="608422" y="1712255"/>
                    <a:pt x="617717" y="1707709"/>
                    <a:pt x="621248" y="1713257"/>
                  </a:cubicBezTo>
                  <a:cubicBezTo>
                    <a:pt x="626849" y="1722215"/>
                    <a:pt x="645358" y="1712990"/>
                    <a:pt x="652502" y="1702395"/>
                  </a:cubicBezTo>
                  <a:cubicBezTo>
                    <a:pt x="660620" y="1690162"/>
                    <a:pt x="667764" y="1711352"/>
                    <a:pt x="669712" y="1711386"/>
                  </a:cubicBezTo>
                  <a:cubicBezTo>
                    <a:pt x="679738" y="1711386"/>
                    <a:pt x="680874" y="1701359"/>
                    <a:pt x="692118" y="1699888"/>
                  </a:cubicBezTo>
                  <a:cubicBezTo>
                    <a:pt x="699302" y="1698986"/>
                    <a:pt x="715660" y="1696345"/>
                    <a:pt x="720530" y="1698351"/>
                  </a:cubicBezTo>
                  <a:cubicBezTo>
                    <a:pt x="725401" y="1700356"/>
                    <a:pt x="707663" y="1709480"/>
                    <a:pt x="716877" y="1713124"/>
                  </a:cubicBezTo>
                  <a:cubicBezTo>
                    <a:pt x="720936" y="1714694"/>
                    <a:pt x="723737" y="1711453"/>
                    <a:pt x="728364" y="1711352"/>
                  </a:cubicBezTo>
                  <a:cubicBezTo>
                    <a:pt x="734412" y="1711352"/>
                    <a:pt x="733032" y="1717235"/>
                    <a:pt x="738512" y="1717135"/>
                  </a:cubicBezTo>
                  <a:cubicBezTo>
                    <a:pt x="750502" y="1715761"/>
                    <a:pt x="761766" y="1711596"/>
                    <a:pt x="770983" y="1705135"/>
                  </a:cubicBezTo>
                  <a:cubicBezTo>
                    <a:pt x="782714" y="1695509"/>
                    <a:pt x="795053" y="1702127"/>
                    <a:pt x="806865" y="1698752"/>
                  </a:cubicBezTo>
                  <a:cubicBezTo>
                    <a:pt x="818676" y="1695376"/>
                    <a:pt x="824684" y="1685382"/>
                    <a:pt x="833492" y="1688725"/>
                  </a:cubicBezTo>
                  <a:cubicBezTo>
                    <a:pt x="846846" y="1693738"/>
                    <a:pt x="845669" y="1693437"/>
                    <a:pt x="863366" y="1682574"/>
                  </a:cubicBezTo>
                  <a:cubicBezTo>
                    <a:pt x="872758" y="1679159"/>
                    <a:pt x="882394" y="1676224"/>
                    <a:pt x="892225" y="1673784"/>
                  </a:cubicBezTo>
                  <a:cubicBezTo>
                    <a:pt x="896852" y="1673416"/>
                    <a:pt x="913454" y="1680469"/>
                    <a:pt x="916254" y="1678798"/>
                  </a:cubicBezTo>
                  <a:lnTo>
                    <a:pt x="924697" y="1674219"/>
                  </a:lnTo>
                  <a:cubicBezTo>
                    <a:pt x="942151" y="1664726"/>
                    <a:pt x="959657" y="1655301"/>
                    <a:pt x="977220" y="1645942"/>
                  </a:cubicBezTo>
                  <a:cubicBezTo>
                    <a:pt x="1045464" y="1609554"/>
                    <a:pt x="1114251" y="1574125"/>
                    <a:pt x="1183578" y="1539655"/>
                  </a:cubicBezTo>
                  <a:cubicBezTo>
                    <a:pt x="1339066" y="1462336"/>
                    <a:pt x="1497065" y="1389918"/>
                    <a:pt x="1657586" y="1322402"/>
                  </a:cubicBezTo>
                  <a:cubicBezTo>
                    <a:pt x="1675961" y="1314671"/>
                    <a:pt x="1694372" y="1307017"/>
                    <a:pt x="1712828" y="1299440"/>
                  </a:cubicBezTo>
                  <a:lnTo>
                    <a:pt x="1721596" y="1295797"/>
                  </a:lnTo>
                  <a:cubicBezTo>
                    <a:pt x="1721060" y="1293591"/>
                    <a:pt x="1720719" y="1291358"/>
                    <a:pt x="1720581" y="1289112"/>
                  </a:cubicBezTo>
                  <a:cubicBezTo>
                    <a:pt x="1722894" y="1277982"/>
                    <a:pt x="1739496" y="1291084"/>
                    <a:pt x="1741688" y="1291552"/>
                  </a:cubicBezTo>
                  <a:cubicBezTo>
                    <a:pt x="1750333" y="1293357"/>
                    <a:pt x="1771805" y="1288845"/>
                    <a:pt x="1779599" y="1282728"/>
                  </a:cubicBezTo>
                  <a:cubicBezTo>
                    <a:pt x="1794495" y="1271063"/>
                    <a:pt x="1801842" y="1279185"/>
                    <a:pt x="1817428" y="1273737"/>
                  </a:cubicBezTo>
                  <a:cubicBezTo>
                    <a:pt x="1830052" y="1269325"/>
                    <a:pt x="1837723" y="1273136"/>
                    <a:pt x="1849575" y="1269091"/>
                  </a:cubicBezTo>
                  <a:cubicBezTo>
                    <a:pt x="1856678" y="1266685"/>
                    <a:pt x="1856557" y="1263175"/>
                    <a:pt x="1861509" y="1259967"/>
                  </a:cubicBezTo>
                  <a:cubicBezTo>
                    <a:pt x="1867719" y="1255923"/>
                    <a:pt x="1877745" y="1253917"/>
                    <a:pt x="1884929" y="1252380"/>
                  </a:cubicBezTo>
                  <a:cubicBezTo>
                    <a:pt x="1904980" y="1248101"/>
                    <a:pt x="1906360" y="1247333"/>
                    <a:pt x="1914519" y="1234264"/>
                  </a:cubicBezTo>
                  <a:cubicBezTo>
                    <a:pt x="1919390" y="1226476"/>
                    <a:pt x="1923408" y="1218221"/>
                    <a:pt x="1937005" y="1213374"/>
                  </a:cubicBezTo>
                  <a:cubicBezTo>
                    <a:pt x="1954865" y="1206957"/>
                    <a:pt x="1995739" y="1193320"/>
                    <a:pt x="2005156" y="1204584"/>
                  </a:cubicBezTo>
                  <a:cubicBezTo>
                    <a:pt x="2012949" y="1213876"/>
                    <a:pt x="2030484" y="1197899"/>
                    <a:pt x="2040915" y="1202378"/>
                  </a:cubicBezTo>
                  <a:cubicBezTo>
                    <a:pt x="2052037" y="1207024"/>
                    <a:pt x="2063848" y="1220259"/>
                    <a:pt x="2079029" y="1220025"/>
                  </a:cubicBezTo>
                  <a:cubicBezTo>
                    <a:pt x="2099324" y="1219725"/>
                    <a:pt x="2118807" y="1210299"/>
                    <a:pt x="2141172" y="1206923"/>
                  </a:cubicBezTo>
                  <a:cubicBezTo>
                    <a:pt x="2158788" y="1204216"/>
                    <a:pt x="2180463" y="1189443"/>
                    <a:pt x="2196821" y="1193086"/>
                  </a:cubicBezTo>
                  <a:cubicBezTo>
                    <a:pt x="2202219" y="1194256"/>
                    <a:pt x="2236680" y="1205319"/>
                    <a:pt x="2228481" y="1210500"/>
                  </a:cubicBezTo>
                  <a:cubicBezTo>
                    <a:pt x="2213503" y="1219892"/>
                    <a:pt x="2196739" y="1212706"/>
                    <a:pt x="2182776" y="1218689"/>
                  </a:cubicBezTo>
                  <a:cubicBezTo>
                    <a:pt x="2181112" y="1219357"/>
                    <a:pt x="2178961" y="1237072"/>
                    <a:pt x="2179732" y="1238743"/>
                  </a:cubicBezTo>
                  <a:cubicBezTo>
                    <a:pt x="2181721" y="1242586"/>
                    <a:pt x="2185212" y="1268824"/>
                    <a:pt x="2170112" y="1270696"/>
                  </a:cubicBezTo>
                  <a:cubicBezTo>
                    <a:pt x="2170234" y="1276010"/>
                    <a:pt x="2174979" y="1280479"/>
                    <a:pt x="2181356" y="1281291"/>
                  </a:cubicBezTo>
                  <a:cubicBezTo>
                    <a:pt x="2196861" y="1267186"/>
                    <a:pt x="2207577" y="1257527"/>
                    <a:pt x="2234123" y="1254251"/>
                  </a:cubicBezTo>
                  <a:cubicBezTo>
                    <a:pt x="2246300" y="1252747"/>
                    <a:pt x="2251211" y="1248870"/>
                    <a:pt x="2258476" y="1242185"/>
                  </a:cubicBezTo>
                  <a:cubicBezTo>
                    <a:pt x="2260060" y="1240782"/>
                    <a:pt x="2272642" y="1231724"/>
                    <a:pt x="2270248" y="1238843"/>
                  </a:cubicBezTo>
                  <a:cubicBezTo>
                    <a:pt x="2278366" y="1232961"/>
                    <a:pt x="2277919" y="1230520"/>
                    <a:pt x="2272399" y="1226209"/>
                  </a:cubicBezTo>
                  <a:cubicBezTo>
                    <a:pt x="2267000" y="1228549"/>
                    <a:pt x="2258517" y="1233128"/>
                    <a:pt x="2252753" y="1231724"/>
                  </a:cubicBezTo>
                  <a:cubicBezTo>
                    <a:pt x="2239278" y="1228381"/>
                    <a:pt x="2260019" y="1216583"/>
                    <a:pt x="2268218" y="1212137"/>
                  </a:cubicBezTo>
                  <a:cubicBezTo>
                    <a:pt x="2284900" y="1203013"/>
                    <a:pt x="2303653" y="1199069"/>
                    <a:pt x="2320538" y="1191047"/>
                  </a:cubicBezTo>
                  <a:cubicBezTo>
                    <a:pt x="2326627" y="1188173"/>
                    <a:pt x="2334542" y="1182424"/>
                    <a:pt x="2341888" y="1181355"/>
                  </a:cubicBezTo>
                  <a:cubicBezTo>
                    <a:pt x="2350980" y="1180051"/>
                    <a:pt x="2358124" y="1169422"/>
                    <a:pt x="2364253" y="1163707"/>
                  </a:cubicBezTo>
                  <a:cubicBezTo>
                    <a:pt x="2380002" y="1149335"/>
                    <a:pt x="2402083" y="1144889"/>
                    <a:pt x="2426234" y="1137168"/>
                  </a:cubicBezTo>
                  <a:cubicBezTo>
                    <a:pt x="2441171" y="1132355"/>
                    <a:pt x="2475754" y="1125437"/>
                    <a:pt x="2486591" y="1117114"/>
                  </a:cubicBezTo>
                  <a:cubicBezTo>
                    <a:pt x="2497428" y="1108792"/>
                    <a:pt x="2508753" y="1099166"/>
                    <a:pt x="2512284" y="1089907"/>
                  </a:cubicBezTo>
                  <a:cubicBezTo>
                    <a:pt x="2515816" y="1080649"/>
                    <a:pt x="2515450" y="1071491"/>
                    <a:pt x="2520767" y="1061731"/>
                  </a:cubicBezTo>
                  <a:cubicBezTo>
                    <a:pt x="2526085" y="1051972"/>
                    <a:pt x="2529779" y="1047727"/>
                    <a:pt x="2545933" y="1046357"/>
                  </a:cubicBezTo>
                  <a:cubicBezTo>
                    <a:pt x="2556324" y="1045488"/>
                    <a:pt x="2582464" y="1034792"/>
                    <a:pt x="2584696" y="1042680"/>
                  </a:cubicBezTo>
                  <a:cubicBezTo>
                    <a:pt x="2586275" y="1049412"/>
                    <a:pt x="2590001" y="1055675"/>
                    <a:pt x="2595493" y="1060829"/>
                  </a:cubicBezTo>
                  <a:cubicBezTo>
                    <a:pt x="2600916" y="1065448"/>
                    <a:pt x="2607240" y="1069292"/>
                    <a:pt x="2614205" y="1072193"/>
                  </a:cubicBezTo>
                  <a:cubicBezTo>
                    <a:pt x="2629751" y="1078878"/>
                    <a:pt x="2628330" y="1076772"/>
                    <a:pt x="2645013" y="1067346"/>
                  </a:cubicBezTo>
                  <a:cubicBezTo>
                    <a:pt x="2661695" y="1057921"/>
                    <a:pt x="2677200" y="1054311"/>
                    <a:pt x="2687267" y="1040875"/>
                  </a:cubicBezTo>
                  <a:cubicBezTo>
                    <a:pt x="2688647" y="1039037"/>
                    <a:pt x="2690879" y="1032853"/>
                    <a:pt x="2695912" y="1035561"/>
                  </a:cubicBezTo>
                  <a:cubicBezTo>
                    <a:pt x="2703178" y="1039505"/>
                    <a:pt x="2692340" y="1041911"/>
                    <a:pt x="2691610" y="1045588"/>
                  </a:cubicBezTo>
                  <a:cubicBezTo>
                    <a:pt x="2690636" y="1050468"/>
                    <a:pt x="2731388" y="1040708"/>
                    <a:pt x="2731469" y="1040240"/>
                  </a:cubicBezTo>
                  <a:cubicBezTo>
                    <a:pt x="2731022" y="1044719"/>
                    <a:pt x="2698997" y="1051938"/>
                    <a:pt x="2693152" y="1054077"/>
                  </a:cubicBezTo>
                  <a:cubicBezTo>
                    <a:pt x="2677809" y="1059592"/>
                    <a:pt x="2664739" y="1073530"/>
                    <a:pt x="2659828" y="1082354"/>
                  </a:cubicBezTo>
                  <a:cubicBezTo>
                    <a:pt x="2654917" y="1091178"/>
                    <a:pt x="2671640" y="1094420"/>
                    <a:pt x="2684507" y="1091378"/>
                  </a:cubicBezTo>
                  <a:cubicBezTo>
                    <a:pt x="2708333" y="1085729"/>
                    <a:pt x="2711986" y="1070722"/>
                    <a:pt x="2723879" y="1060161"/>
                  </a:cubicBezTo>
                  <a:cubicBezTo>
                    <a:pt x="2730982" y="1053910"/>
                    <a:pt x="2756959" y="1046791"/>
                    <a:pt x="2767634" y="1042045"/>
                  </a:cubicBezTo>
                  <a:cubicBezTo>
                    <a:pt x="2774007" y="1039104"/>
                    <a:pt x="2810213" y="1024999"/>
                    <a:pt x="2810213" y="1020453"/>
                  </a:cubicBezTo>
                  <a:cubicBezTo>
                    <a:pt x="2810213" y="1018147"/>
                    <a:pt x="2802095" y="1017779"/>
                    <a:pt x="2805342" y="1014638"/>
                  </a:cubicBezTo>
                  <a:cubicBezTo>
                    <a:pt x="2808590" y="1011496"/>
                    <a:pt x="2817519" y="1008688"/>
                    <a:pt x="2822674" y="1006649"/>
                  </a:cubicBezTo>
                  <a:cubicBezTo>
                    <a:pt x="2829895" y="1004266"/>
                    <a:pt x="2836714" y="1001131"/>
                    <a:pt x="2842969" y="997324"/>
                  </a:cubicBezTo>
                  <a:cubicBezTo>
                    <a:pt x="2853157" y="990038"/>
                    <a:pt x="2835419" y="991575"/>
                    <a:pt x="2828681" y="993982"/>
                  </a:cubicBezTo>
                  <a:close/>
                  <a:moveTo>
                    <a:pt x="781861" y="1236637"/>
                  </a:moveTo>
                  <a:cubicBezTo>
                    <a:pt x="776585" y="1247099"/>
                    <a:pt x="771430" y="1258128"/>
                    <a:pt x="754342" y="1266050"/>
                  </a:cubicBezTo>
                  <a:cubicBezTo>
                    <a:pt x="740866" y="1272266"/>
                    <a:pt x="713752" y="1285736"/>
                    <a:pt x="736645" y="1285001"/>
                  </a:cubicBezTo>
                  <a:cubicBezTo>
                    <a:pt x="750689" y="1284533"/>
                    <a:pt x="720165" y="1304186"/>
                    <a:pt x="715984" y="1308397"/>
                  </a:cubicBezTo>
                  <a:cubicBezTo>
                    <a:pt x="714604" y="1309667"/>
                    <a:pt x="691387" y="1333231"/>
                    <a:pt x="695365" y="1324240"/>
                  </a:cubicBezTo>
                  <a:cubicBezTo>
                    <a:pt x="698490" y="1317188"/>
                    <a:pt x="704416" y="1309835"/>
                    <a:pt x="706973" y="1302849"/>
                  </a:cubicBezTo>
                  <a:cubicBezTo>
                    <a:pt x="711276" y="1290917"/>
                    <a:pt x="692889" y="1302047"/>
                    <a:pt x="686476" y="1308832"/>
                  </a:cubicBezTo>
                  <a:cubicBezTo>
                    <a:pt x="678845" y="1316887"/>
                    <a:pt x="680752" y="1326179"/>
                    <a:pt x="673933" y="1332529"/>
                  </a:cubicBezTo>
                  <a:cubicBezTo>
                    <a:pt x="670159" y="1335872"/>
                    <a:pt x="631111" y="1358332"/>
                    <a:pt x="632288" y="1350244"/>
                  </a:cubicBezTo>
                  <a:cubicBezTo>
                    <a:pt x="634399" y="1348305"/>
                    <a:pt x="636591" y="1346367"/>
                    <a:pt x="638864" y="1344462"/>
                  </a:cubicBezTo>
                  <a:cubicBezTo>
                    <a:pt x="641137" y="1341119"/>
                    <a:pt x="638864" y="1338713"/>
                    <a:pt x="640934" y="1335203"/>
                  </a:cubicBezTo>
                  <a:cubicBezTo>
                    <a:pt x="645521" y="1327783"/>
                    <a:pt x="654044" y="1324574"/>
                    <a:pt x="643247" y="1322770"/>
                  </a:cubicBezTo>
                  <a:cubicBezTo>
                    <a:pt x="629488" y="1320497"/>
                    <a:pt x="668332" y="1306994"/>
                    <a:pt x="671417" y="1301980"/>
                  </a:cubicBezTo>
                  <a:cubicBezTo>
                    <a:pt x="677749" y="1291686"/>
                    <a:pt x="634886" y="1306827"/>
                    <a:pt x="628432" y="1314213"/>
                  </a:cubicBezTo>
                  <a:cubicBezTo>
                    <a:pt x="622149" y="1321640"/>
                    <a:pt x="614847" y="1328448"/>
                    <a:pt x="606676" y="1334501"/>
                  </a:cubicBezTo>
                  <a:cubicBezTo>
                    <a:pt x="602617" y="1337509"/>
                    <a:pt x="576356" y="1353553"/>
                    <a:pt x="572378" y="1350912"/>
                  </a:cubicBezTo>
                  <a:cubicBezTo>
                    <a:pt x="573190" y="1351414"/>
                    <a:pt x="690088" y="1258830"/>
                    <a:pt x="702752" y="1252981"/>
                  </a:cubicBezTo>
                  <a:cubicBezTo>
                    <a:pt x="735467" y="1236470"/>
                    <a:pt x="677992" y="1285068"/>
                    <a:pt x="725158" y="1264813"/>
                  </a:cubicBezTo>
                  <a:cubicBezTo>
                    <a:pt x="744316" y="1256591"/>
                    <a:pt x="752231" y="1248101"/>
                    <a:pt x="761688" y="1236537"/>
                  </a:cubicBezTo>
                  <a:cubicBezTo>
                    <a:pt x="771917" y="1224137"/>
                    <a:pt x="787869" y="1224805"/>
                    <a:pt x="781780" y="1236804"/>
                  </a:cubicBezTo>
                  <a:cubicBezTo>
                    <a:pt x="771917" y="1256290"/>
                    <a:pt x="791847" y="1216984"/>
                    <a:pt x="781861" y="1236637"/>
                  </a:cubicBezTo>
                  <a:close/>
                  <a:moveTo>
                    <a:pt x="1030393" y="1254385"/>
                  </a:moveTo>
                  <a:cubicBezTo>
                    <a:pt x="1023955" y="1263630"/>
                    <a:pt x="1015009" y="1271521"/>
                    <a:pt x="1004253" y="1277447"/>
                  </a:cubicBezTo>
                  <a:cubicBezTo>
                    <a:pt x="987246" y="1287207"/>
                    <a:pt x="996663" y="1288109"/>
                    <a:pt x="990290" y="1297501"/>
                  </a:cubicBezTo>
                  <a:cubicBezTo>
                    <a:pt x="981401" y="1310570"/>
                    <a:pt x="925346" y="1334067"/>
                    <a:pt x="907162" y="1339949"/>
                  </a:cubicBezTo>
                  <a:cubicBezTo>
                    <a:pt x="892631" y="1344629"/>
                    <a:pt x="895513" y="1340885"/>
                    <a:pt x="905904" y="1334836"/>
                  </a:cubicBezTo>
                  <a:cubicBezTo>
                    <a:pt x="921531" y="1325744"/>
                    <a:pt x="920638" y="1324307"/>
                    <a:pt x="923642" y="1314347"/>
                  </a:cubicBezTo>
                  <a:cubicBezTo>
                    <a:pt x="925996" y="1306726"/>
                    <a:pt x="946737" y="1295396"/>
                    <a:pt x="945154" y="1290649"/>
                  </a:cubicBezTo>
                  <a:cubicBezTo>
                    <a:pt x="942516" y="1282628"/>
                    <a:pt x="912682" y="1293658"/>
                    <a:pt x="911911" y="1289146"/>
                  </a:cubicBezTo>
                  <a:cubicBezTo>
                    <a:pt x="910003" y="1276578"/>
                    <a:pt x="961431" y="1267153"/>
                    <a:pt x="970076" y="1267387"/>
                  </a:cubicBezTo>
                  <a:cubicBezTo>
                    <a:pt x="1007135" y="1268055"/>
                    <a:pt x="1017363" y="1247767"/>
                    <a:pt x="1039647" y="1228281"/>
                  </a:cubicBezTo>
                  <a:cubicBezTo>
                    <a:pt x="1043381" y="1224939"/>
                    <a:pt x="1083849" y="1190646"/>
                    <a:pt x="1088355" y="1197197"/>
                  </a:cubicBezTo>
                  <a:cubicBezTo>
                    <a:pt x="1095012" y="1206756"/>
                    <a:pt x="1039647" y="1242319"/>
                    <a:pt x="1030271" y="1254385"/>
                  </a:cubicBezTo>
                  <a:cubicBezTo>
                    <a:pt x="1015537" y="1273503"/>
                    <a:pt x="1044924" y="1235434"/>
                    <a:pt x="1030393" y="1254385"/>
                  </a:cubicBezTo>
                  <a:close/>
                  <a:moveTo>
                    <a:pt x="1658722" y="1284901"/>
                  </a:moveTo>
                  <a:cubicBezTo>
                    <a:pt x="1650239" y="1289012"/>
                    <a:pt x="1646302" y="1280221"/>
                    <a:pt x="1644191" y="1277848"/>
                  </a:cubicBezTo>
                  <a:cubicBezTo>
                    <a:pt x="1636479" y="1269125"/>
                    <a:pt x="1626859" y="1268022"/>
                    <a:pt x="1608431" y="1269225"/>
                  </a:cubicBezTo>
                  <a:cubicBezTo>
                    <a:pt x="1588948" y="1270462"/>
                    <a:pt x="1533259" y="1264746"/>
                    <a:pt x="1553189" y="1243923"/>
                  </a:cubicBezTo>
                  <a:cubicBezTo>
                    <a:pt x="1576974" y="1219190"/>
                    <a:pt x="1607376" y="1240748"/>
                    <a:pt x="1620121" y="1247266"/>
                  </a:cubicBezTo>
                  <a:cubicBezTo>
                    <a:pt x="1628239" y="1251344"/>
                    <a:pt x="1684821" y="1272099"/>
                    <a:pt x="1658722" y="1284800"/>
                  </a:cubicBezTo>
                  <a:cubicBezTo>
                    <a:pt x="1644435" y="1291819"/>
                    <a:pt x="1670168" y="1279286"/>
                    <a:pt x="1658560" y="128496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E22C9F08-1B03-401C-9845-3E4AB37C96E6}"/>
                </a:ext>
              </a:extLst>
            </p:cNvPr>
            <p:cNvSpPr/>
            <p:nvPr/>
          </p:nvSpPr>
          <p:spPr>
            <a:xfrm>
              <a:off x="1855872" y="4330062"/>
              <a:ext cx="1764396" cy="853808"/>
            </a:xfrm>
            <a:custGeom>
              <a:avLst/>
              <a:gdLst>
                <a:gd name="connsiteX0" fmla="*/ 1718592 w 1764396"/>
                <a:gd name="connsiteY0" fmla="*/ 1121 h 853808"/>
                <a:gd name="connsiteX1" fmla="*/ 1668342 w 1764396"/>
                <a:gd name="connsiteY1" fmla="*/ 8274 h 853808"/>
                <a:gd name="connsiteX2" fmla="*/ 1648493 w 1764396"/>
                <a:gd name="connsiteY2" fmla="*/ 41430 h 853808"/>
                <a:gd name="connsiteX3" fmla="*/ 1598162 w 1764396"/>
                <a:gd name="connsiteY3" fmla="*/ 86184 h 853808"/>
                <a:gd name="connsiteX4" fmla="*/ 1544746 w 1764396"/>
                <a:gd name="connsiteY4" fmla="*/ 103164 h 853808"/>
                <a:gd name="connsiteX5" fmla="*/ 1507809 w 1764396"/>
                <a:gd name="connsiteY5" fmla="*/ 116934 h 853808"/>
                <a:gd name="connsiteX6" fmla="*/ 1484876 w 1764396"/>
                <a:gd name="connsiteY6" fmla="*/ 138158 h 853808"/>
                <a:gd name="connsiteX7" fmla="*/ 1484389 w 1764396"/>
                <a:gd name="connsiteY7" fmla="*/ 149823 h 853808"/>
                <a:gd name="connsiteX8" fmla="*/ 1407268 w 1764396"/>
                <a:gd name="connsiteY8" fmla="*/ 186990 h 853808"/>
                <a:gd name="connsiteX9" fmla="*/ 1334491 w 1764396"/>
                <a:gd name="connsiteY9" fmla="*/ 253202 h 853808"/>
                <a:gd name="connsiteX10" fmla="*/ 1283186 w 1764396"/>
                <a:gd name="connsiteY10" fmla="*/ 255809 h 853808"/>
                <a:gd name="connsiteX11" fmla="*/ 1298123 w 1764396"/>
                <a:gd name="connsiteY11" fmla="*/ 246852 h 853808"/>
                <a:gd name="connsiteX12" fmla="*/ 1316023 w 1764396"/>
                <a:gd name="connsiteY12" fmla="*/ 241938 h 853808"/>
                <a:gd name="connsiteX13" fmla="*/ 1283145 w 1764396"/>
                <a:gd name="connsiteY13" fmla="*/ 215199 h 853808"/>
                <a:gd name="connsiteX14" fmla="*/ 1256802 w 1764396"/>
                <a:gd name="connsiteY14" fmla="*/ 231243 h 853808"/>
                <a:gd name="connsiteX15" fmla="*/ 1256802 w 1764396"/>
                <a:gd name="connsiteY15" fmla="*/ 215400 h 853808"/>
                <a:gd name="connsiteX16" fmla="*/ 1243327 w 1764396"/>
                <a:gd name="connsiteY16" fmla="*/ 195112 h 853808"/>
                <a:gd name="connsiteX17" fmla="*/ 1204644 w 1764396"/>
                <a:gd name="connsiteY17" fmla="*/ 204370 h 853808"/>
                <a:gd name="connsiteX18" fmla="*/ 1200058 w 1764396"/>
                <a:gd name="connsiteY18" fmla="*/ 214899 h 853808"/>
                <a:gd name="connsiteX19" fmla="*/ 1183051 w 1764396"/>
                <a:gd name="connsiteY19" fmla="*/ 226898 h 853808"/>
                <a:gd name="connsiteX20" fmla="*/ 1178789 w 1764396"/>
                <a:gd name="connsiteY20" fmla="*/ 258416 h 853808"/>
                <a:gd name="connsiteX21" fmla="*/ 1193442 w 1764396"/>
                <a:gd name="connsiteY21" fmla="*/ 281812 h 853808"/>
                <a:gd name="connsiteX22" fmla="*/ 1170671 w 1764396"/>
                <a:gd name="connsiteY22" fmla="*/ 304875 h 853808"/>
                <a:gd name="connsiteX23" fmla="*/ 1139579 w 1764396"/>
                <a:gd name="connsiteY23" fmla="*/ 258750 h 853808"/>
                <a:gd name="connsiteX24" fmla="*/ 1137509 w 1764396"/>
                <a:gd name="connsiteY24" fmla="*/ 249659 h 853808"/>
                <a:gd name="connsiteX25" fmla="*/ 1127605 w 1764396"/>
                <a:gd name="connsiteY25" fmla="*/ 249893 h 853808"/>
                <a:gd name="connsiteX26" fmla="*/ 1143841 w 1764396"/>
                <a:gd name="connsiteY26" fmla="*/ 228335 h 853808"/>
                <a:gd name="connsiteX27" fmla="*/ 1190722 w 1764396"/>
                <a:gd name="connsiteY27" fmla="*/ 201362 h 853808"/>
                <a:gd name="connsiteX28" fmla="*/ 1218567 w 1764396"/>
                <a:gd name="connsiteY28" fmla="*/ 189363 h 853808"/>
                <a:gd name="connsiteX29" fmla="*/ 1228024 w 1764396"/>
                <a:gd name="connsiteY29" fmla="*/ 180840 h 853808"/>
                <a:gd name="connsiteX30" fmla="*/ 1205132 w 1764396"/>
                <a:gd name="connsiteY30" fmla="*/ 184583 h 853808"/>
                <a:gd name="connsiteX31" fmla="*/ 1190032 w 1764396"/>
                <a:gd name="connsiteY31" fmla="*/ 186221 h 853808"/>
                <a:gd name="connsiteX32" fmla="*/ 1133491 w 1764396"/>
                <a:gd name="connsiteY32" fmla="*/ 211055 h 853808"/>
                <a:gd name="connsiteX33" fmla="*/ 1108082 w 1764396"/>
                <a:gd name="connsiteY33" fmla="*/ 214197 h 853808"/>
                <a:gd name="connsiteX34" fmla="*/ 1088882 w 1764396"/>
                <a:gd name="connsiteY34" fmla="*/ 214598 h 853808"/>
                <a:gd name="connsiteX35" fmla="*/ 1076705 w 1764396"/>
                <a:gd name="connsiteY35" fmla="*/ 209551 h 853808"/>
                <a:gd name="connsiteX36" fmla="*/ 1031367 w 1764396"/>
                <a:gd name="connsiteY36" fmla="*/ 246317 h 853808"/>
                <a:gd name="connsiteX37" fmla="*/ 1009327 w 1764396"/>
                <a:gd name="connsiteY37" fmla="*/ 250495 h 853808"/>
                <a:gd name="connsiteX38" fmla="*/ 981726 w 1764396"/>
                <a:gd name="connsiteY38" fmla="*/ 261491 h 853808"/>
                <a:gd name="connsiteX39" fmla="*/ 986556 w 1764396"/>
                <a:gd name="connsiteY39" fmla="*/ 242740 h 853808"/>
                <a:gd name="connsiteX40" fmla="*/ 1038592 w 1764396"/>
                <a:gd name="connsiteY40" fmla="*/ 209584 h 853808"/>
                <a:gd name="connsiteX41" fmla="*/ 1000559 w 1764396"/>
                <a:gd name="connsiteY41" fmla="*/ 218542 h 853808"/>
                <a:gd name="connsiteX42" fmla="*/ 972146 w 1764396"/>
                <a:gd name="connsiteY42" fmla="*/ 231543 h 853808"/>
                <a:gd name="connsiteX43" fmla="*/ 938660 w 1764396"/>
                <a:gd name="connsiteY43" fmla="*/ 235788 h 853808"/>
                <a:gd name="connsiteX44" fmla="*/ 899369 w 1764396"/>
                <a:gd name="connsiteY44" fmla="*/ 249759 h 853808"/>
                <a:gd name="connsiteX45" fmla="*/ 868196 w 1764396"/>
                <a:gd name="connsiteY45" fmla="*/ 246183 h 853808"/>
                <a:gd name="connsiteX46" fmla="*/ 855735 w 1764396"/>
                <a:gd name="connsiteY46" fmla="*/ 254338 h 853808"/>
                <a:gd name="connsiteX47" fmla="*/ 850986 w 1764396"/>
                <a:gd name="connsiteY47" fmla="*/ 258750 h 853808"/>
                <a:gd name="connsiteX48" fmla="*/ 711276 w 1764396"/>
                <a:gd name="connsiteY48" fmla="*/ 317743 h 853808"/>
                <a:gd name="connsiteX49" fmla="*/ 214782 w 1764396"/>
                <a:gd name="connsiteY49" fmla="*/ 552610 h 853808"/>
                <a:gd name="connsiteX50" fmla="*/ 50881 w 1764396"/>
                <a:gd name="connsiteY50" fmla="*/ 639512 h 853808"/>
                <a:gd name="connsiteX51" fmla="*/ 74747 w 1764396"/>
                <a:gd name="connsiteY51" fmla="*/ 671331 h 853808"/>
                <a:gd name="connsiteX52" fmla="*/ 66629 w 1764396"/>
                <a:gd name="connsiteY52" fmla="*/ 662841 h 853808"/>
                <a:gd name="connsiteX53" fmla="*/ 44589 w 1764396"/>
                <a:gd name="connsiteY53" fmla="*/ 657093 h 853808"/>
                <a:gd name="connsiteX54" fmla="*/ -60 w 1764396"/>
                <a:gd name="connsiteY54" fmla="*/ 681525 h 853808"/>
                <a:gd name="connsiteX55" fmla="*/ 23848 w 1764396"/>
                <a:gd name="connsiteY55" fmla="*/ 692288 h 853808"/>
                <a:gd name="connsiteX56" fmla="*/ 54290 w 1764396"/>
                <a:gd name="connsiteY56" fmla="*/ 699641 h 853808"/>
                <a:gd name="connsiteX57" fmla="*/ 54290 w 1764396"/>
                <a:gd name="connsiteY57" fmla="*/ 707395 h 853808"/>
                <a:gd name="connsiteX58" fmla="*/ 66102 w 1764396"/>
                <a:gd name="connsiteY58" fmla="*/ 726513 h 853808"/>
                <a:gd name="connsiteX59" fmla="*/ 87898 w 1764396"/>
                <a:gd name="connsiteY59" fmla="*/ 765619 h 853808"/>
                <a:gd name="connsiteX60" fmla="*/ 103728 w 1764396"/>
                <a:gd name="connsiteY60" fmla="*/ 785105 h 853808"/>
                <a:gd name="connsiteX61" fmla="*/ 128975 w 1764396"/>
                <a:gd name="connsiteY61" fmla="*/ 811476 h 853808"/>
                <a:gd name="connsiteX62" fmla="*/ 154303 w 1764396"/>
                <a:gd name="connsiteY62" fmla="*/ 825715 h 853808"/>
                <a:gd name="connsiteX63" fmla="*/ 181052 w 1764396"/>
                <a:gd name="connsiteY63" fmla="*/ 831731 h 853808"/>
                <a:gd name="connsiteX64" fmla="*/ 217583 w 1764396"/>
                <a:gd name="connsiteY64" fmla="*/ 834037 h 853808"/>
                <a:gd name="connsiteX65" fmla="*/ 244169 w 1764396"/>
                <a:gd name="connsiteY65" fmla="*/ 838048 h 853808"/>
                <a:gd name="connsiteX66" fmla="*/ 258457 w 1764396"/>
                <a:gd name="connsiteY66" fmla="*/ 848075 h 853808"/>
                <a:gd name="connsiteX67" fmla="*/ 301360 w 1764396"/>
                <a:gd name="connsiteY67" fmla="*/ 848810 h 853808"/>
                <a:gd name="connsiteX68" fmla="*/ 320640 w 1764396"/>
                <a:gd name="connsiteY68" fmla="*/ 849813 h 853808"/>
                <a:gd name="connsiteX69" fmla="*/ 369672 w 1764396"/>
                <a:gd name="connsiteY69" fmla="*/ 837179 h 853808"/>
                <a:gd name="connsiteX70" fmla="*/ 428649 w 1764396"/>
                <a:gd name="connsiteY70" fmla="*/ 842059 h 853808"/>
                <a:gd name="connsiteX71" fmla="*/ 471431 w 1764396"/>
                <a:gd name="connsiteY71" fmla="*/ 816022 h 853808"/>
                <a:gd name="connsiteX72" fmla="*/ 508205 w 1764396"/>
                <a:gd name="connsiteY72" fmla="*/ 803187 h 853808"/>
                <a:gd name="connsiteX73" fmla="*/ 569902 w 1764396"/>
                <a:gd name="connsiteY73" fmla="*/ 786977 h 853808"/>
                <a:gd name="connsiteX74" fmla="*/ 607123 w 1764396"/>
                <a:gd name="connsiteY74" fmla="*/ 777117 h 853808"/>
                <a:gd name="connsiteX75" fmla="*/ 658996 w 1764396"/>
                <a:gd name="connsiteY75" fmla="*/ 752049 h 853808"/>
                <a:gd name="connsiteX76" fmla="*/ 686922 w 1764396"/>
                <a:gd name="connsiteY76" fmla="*/ 733365 h 853808"/>
                <a:gd name="connsiteX77" fmla="*/ 729298 w 1764396"/>
                <a:gd name="connsiteY77" fmla="*/ 710804 h 853808"/>
                <a:gd name="connsiteX78" fmla="*/ 799437 w 1764396"/>
                <a:gd name="connsiteY78" fmla="*/ 713980 h 853808"/>
                <a:gd name="connsiteX79" fmla="*/ 847657 w 1764396"/>
                <a:gd name="connsiteY79" fmla="*/ 715216 h 853808"/>
                <a:gd name="connsiteX80" fmla="*/ 862838 w 1764396"/>
                <a:gd name="connsiteY80" fmla="*/ 692154 h 853808"/>
                <a:gd name="connsiteX81" fmla="*/ 913251 w 1764396"/>
                <a:gd name="connsiteY81" fmla="*/ 680924 h 853808"/>
                <a:gd name="connsiteX82" fmla="*/ 961958 w 1764396"/>
                <a:gd name="connsiteY82" fmla="*/ 692990 h 853808"/>
                <a:gd name="connsiteX83" fmla="*/ 994998 w 1764396"/>
                <a:gd name="connsiteY83" fmla="*/ 707027 h 853808"/>
                <a:gd name="connsiteX84" fmla="*/ 1049104 w 1764396"/>
                <a:gd name="connsiteY84" fmla="*/ 696432 h 853808"/>
                <a:gd name="connsiteX85" fmla="*/ 1026983 w 1764396"/>
                <a:gd name="connsiteY85" fmla="*/ 683063 h 853808"/>
                <a:gd name="connsiteX86" fmla="*/ 1030068 w 1764396"/>
                <a:gd name="connsiteY86" fmla="*/ 668891 h 853808"/>
                <a:gd name="connsiteX87" fmla="*/ 1035223 w 1764396"/>
                <a:gd name="connsiteY87" fmla="*/ 655221 h 853808"/>
                <a:gd name="connsiteX88" fmla="*/ 1041352 w 1764396"/>
                <a:gd name="connsiteY88" fmla="*/ 642085 h 853808"/>
                <a:gd name="connsiteX89" fmla="*/ 1064244 w 1764396"/>
                <a:gd name="connsiteY89" fmla="*/ 629919 h 853808"/>
                <a:gd name="connsiteX90" fmla="*/ 1075975 w 1764396"/>
                <a:gd name="connsiteY90" fmla="*/ 615447 h 853808"/>
                <a:gd name="connsiteX91" fmla="*/ 1077396 w 1764396"/>
                <a:gd name="connsiteY91" fmla="*/ 605821 h 853808"/>
                <a:gd name="connsiteX92" fmla="*/ 1095499 w 1764396"/>
                <a:gd name="connsiteY92" fmla="*/ 597665 h 853808"/>
                <a:gd name="connsiteX93" fmla="*/ 1109827 w 1764396"/>
                <a:gd name="connsiteY93" fmla="*/ 587638 h 853808"/>
                <a:gd name="connsiteX94" fmla="*/ 1120786 w 1764396"/>
                <a:gd name="connsiteY94" fmla="*/ 580018 h 853808"/>
                <a:gd name="connsiteX95" fmla="*/ 1146966 w 1764396"/>
                <a:gd name="connsiteY95" fmla="*/ 578313 h 853808"/>
                <a:gd name="connsiteX96" fmla="*/ 1156302 w 1764396"/>
                <a:gd name="connsiteY96" fmla="*/ 568286 h 853808"/>
                <a:gd name="connsiteX97" fmla="*/ 1187110 w 1764396"/>
                <a:gd name="connsiteY97" fmla="*/ 568520 h 853808"/>
                <a:gd name="connsiteX98" fmla="*/ 1208582 w 1764396"/>
                <a:gd name="connsiteY98" fmla="*/ 560699 h 853808"/>
                <a:gd name="connsiteX99" fmla="*/ 1212641 w 1764396"/>
                <a:gd name="connsiteY99" fmla="*/ 551574 h 853808"/>
                <a:gd name="connsiteX100" fmla="*/ 1238009 w 1764396"/>
                <a:gd name="connsiteY100" fmla="*/ 553546 h 853808"/>
                <a:gd name="connsiteX101" fmla="*/ 1232205 w 1764396"/>
                <a:gd name="connsiteY101" fmla="*/ 547129 h 853808"/>
                <a:gd name="connsiteX102" fmla="*/ 1219500 w 1764396"/>
                <a:gd name="connsiteY102" fmla="*/ 537637 h 853808"/>
                <a:gd name="connsiteX103" fmla="*/ 1256599 w 1764396"/>
                <a:gd name="connsiteY103" fmla="*/ 520022 h 853808"/>
                <a:gd name="connsiteX104" fmla="*/ 1272470 w 1764396"/>
                <a:gd name="connsiteY104" fmla="*/ 511566 h 853808"/>
                <a:gd name="connsiteX105" fmla="*/ 1294997 w 1764396"/>
                <a:gd name="connsiteY105" fmla="*/ 506185 h 853808"/>
                <a:gd name="connsiteX106" fmla="*/ 1331772 w 1764396"/>
                <a:gd name="connsiteY106" fmla="*/ 494754 h 853808"/>
                <a:gd name="connsiteX107" fmla="*/ 1364852 w 1764396"/>
                <a:gd name="connsiteY107" fmla="*/ 492882 h 853808"/>
                <a:gd name="connsiteX108" fmla="*/ 1403250 w 1764396"/>
                <a:gd name="connsiteY108" fmla="*/ 481051 h 853808"/>
                <a:gd name="connsiteX109" fmla="*/ 1433895 w 1764396"/>
                <a:gd name="connsiteY109" fmla="*/ 494186 h 853808"/>
                <a:gd name="connsiteX110" fmla="*/ 1445504 w 1764396"/>
                <a:gd name="connsiteY110" fmla="*/ 510898 h 853808"/>
                <a:gd name="connsiteX111" fmla="*/ 1462146 w 1764396"/>
                <a:gd name="connsiteY111" fmla="*/ 515310 h 853808"/>
                <a:gd name="connsiteX112" fmla="*/ 1470629 w 1764396"/>
                <a:gd name="connsiteY112" fmla="*/ 525337 h 853808"/>
                <a:gd name="connsiteX113" fmla="*/ 1497378 w 1764396"/>
                <a:gd name="connsiteY113" fmla="*/ 529983 h 853808"/>
                <a:gd name="connsiteX114" fmla="*/ 1518525 w 1764396"/>
                <a:gd name="connsiteY114" fmla="*/ 533960 h 853808"/>
                <a:gd name="connsiteX115" fmla="*/ 1527982 w 1764396"/>
                <a:gd name="connsiteY115" fmla="*/ 514240 h 853808"/>
                <a:gd name="connsiteX116" fmla="*/ 1518444 w 1764396"/>
                <a:gd name="connsiteY116" fmla="*/ 492749 h 853808"/>
                <a:gd name="connsiteX117" fmla="*/ 1497053 w 1764396"/>
                <a:gd name="connsiteY117" fmla="*/ 479079 h 853808"/>
                <a:gd name="connsiteX118" fmla="*/ 1475947 w 1764396"/>
                <a:gd name="connsiteY118" fmla="*/ 465208 h 853808"/>
                <a:gd name="connsiteX119" fmla="*/ 1453216 w 1764396"/>
                <a:gd name="connsiteY119" fmla="*/ 418883 h 853808"/>
                <a:gd name="connsiteX120" fmla="*/ 1466854 w 1764396"/>
                <a:gd name="connsiteY120" fmla="*/ 397224 h 853808"/>
                <a:gd name="connsiteX121" fmla="*/ 1489382 w 1764396"/>
                <a:gd name="connsiteY121" fmla="*/ 376769 h 853808"/>
                <a:gd name="connsiteX122" fmla="*/ 1512315 w 1764396"/>
                <a:gd name="connsiteY122" fmla="*/ 357818 h 853808"/>
                <a:gd name="connsiteX123" fmla="*/ 1533827 w 1764396"/>
                <a:gd name="connsiteY123" fmla="*/ 336059 h 853808"/>
                <a:gd name="connsiteX124" fmla="*/ 1552620 w 1764396"/>
                <a:gd name="connsiteY124" fmla="*/ 319581 h 853808"/>
                <a:gd name="connsiteX125" fmla="*/ 1542676 w 1764396"/>
                <a:gd name="connsiteY125" fmla="*/ 314334 h 853808"/>
                <a:gd name="connsiteX126" fmla="*/ 1549901 w 1764396"/>
                <a:gd name="connsiteY126" fmla="*/ 308986 h 853808"/>
                <a:gd name="connsiteX127" fmla="*/ 1576934 w 1764396"/>
                <a:gd name="connsiteY127" fmla="*/ 297020 h 853808"/>
                <a:gd name="connsiteX128" fmla="*/ 1558100 w 1764396"/>
                <a:gd name="connsiteY128" fmla="*/ 292976 h 853808"/>
                <a:gd name="connsiteX129" fmla="*/ 1557004 w 1764396"/>
                <a:gd name="connsiteY129" fmla="*/ 281010 h 853808"/>
                <a:gd name="connsiteX130" fmla="*/ 1541377 w 1764396"/>
                <a:gd name="connsiteY130" fmla="*/ 273958 h 853808"/>
                <a:gd name="connsiteX131" fmla="*/ 1515765 w 1764396"/>
                <a:gd name="connsiteY131" fmla="*/ 266839 h 853808"/>
                <a:gd name="connsiteX132" fmla="*/ 1526643 w 1764396"/>
                <a:gd name="connsiteY132" fmla="*/ 253937 h 853808"/>
                <a:gd name="connsiteX133" fmla="*/ 1526156 w 1764396"/>
                <a:gd name="connsiteY133" fmla="*/ 229571 h 853808"/>
                <a:gd name="connsiteX134" fmla="*/ 1526805 w 1764396"/>
                <a:gd name="connsiteY134" fmla="*/ 239197 h 853808"/>
                <a:gd name="connsiteX135" fmla="*/ 1544989 w 1764396"/>
                <a:gd name="connsiteY135" fmla="*/ 252366 h 853808"/>
                <a:gd name="connsiteX136" fmla="*/ 1560292 w 1764396"/>
                <a:gd name="connsiteY136" fmla="*/ 261057 h 853808"/>
                <a:gd name="connsiteX137" fmla="*/ 1553879 w 1764396"/>
                <a:gd name="connsiteY137" fmla="*/ 233148 h 853808"/>
                <a:gd name="connsiteX138" fmla="*/ 1551606 w 1764396"/>
                <a:gd name="connsiteY138" fmla="*/ 226062 h 853808"/>
                <a:gd name="connsiteX139" fmla="*/ 1571901 w 1764396"/>
                <a:gd name="connsiteY139" fmla="*/ 223689 h 853808"/>
                <a:gd name="connsiteX140" fmla="*/ 1585173 w 1764396"/>
                <a:gd name="connsiteY140" fmla="*/ 204905 h 853808"/>
                <a:gd name="connsiteX141" fmla="*/ 1586919 w 1764396"/>
                <a:gd name="connsiteY141" fmla="*/ 197217 h 853808"/>
                <a:gd name="connsiteX142" fmla="*/ 1579856 w 1764396"/>
                <a:gd name="connsiteY142" fmla="*/ 192939 h 853808"/>
                <a:gd name="connsiteX143" fmla="*/ 1630796 w 1764396"/>
                <a:gd name="connsiteY143" fmla="*/ 169543 h 853808"/>
                <a:gd name="connsiteX144" fmla="*/ 1626169 w 1764396"/>
                <a:gd name="connsiteY144" fmla="*/ 165398 h 853808"/>
                <a:gd name="connsiteX145" fmla="*/ 1593251 w 1764396"/>
                <a:gd name="connsiteY145" fmla="*/ 178066 h 853808"/>
                <a:gd name="connsiteX146" fmla="*/ 1626859 w 1764396"/>
                <a:gd name="connsiteY146" fmla="*/ 158312 h 853808"/>
                <a:gd name="connsiteX147" fmla="*/ 1644678 w 1764396"/>
                <a:gd name="connsiteY147" fmla="*/ 150023 h 853808"/>
                <a:gd name="connsiteX148" fmla="*/ 1646992 w 1764396"/>
                <a:gd name="connsiteY148" fmla="*/ 142570 h 853808"/>
                <a:gd name="connsiteX149" fmla="*/ 1669478 w 1764396"/>
                <a:gd name="connsiteY149" fmla="*/ 140030 h 853808"/>
                <a:gd name="connsiteX150" fmla="*/ 1671832 w 1764396"/>
                <a:gd name="connsiteY150" fmla="*/ 126961 h 853808"/>
                <a:gd name="connsiteX151" fmla="*/ 1658194 w 1764396"/>
                <a:gd name="connsiteY151" fmla="*/ 125123 h 853808"/>
                <a:gd name="connsiteX152" fmla="*/ 1660833 w 1764396"/>
                <a:gd name="connsiteY152" fmla="*/ 115530 h 853808"/>
                <a:gd name="connsiteX153" fmla="*/ 1663674 w 1764396"/>
                <a:gd name="connsiteY153" fmla="*/ 102729 h 853808"/>
                <a:gd name="connsiteX154" fmla="*/ 1681615 w 1764396"/>
                <a:gd name="connsiteY154" fmla="*/ 88390 h 853808"/>
                <a:gd name="connsiteX155" fmla="*/ 1694563 w 1764396"/>
                <a:gd name="connsiteY155" fmla="*/ 80201 h 853808"/>
                <a:gd name="connsiteX156" fmla="*/ 1709906 w 1764396"/>
                <a:gd name="connsiteY156" fmla="*/ 61986 h 853808"/>
                <a:gd name="connsiteX157" fmla="*/ 1735112 w 1764396"/>
                <a:gd name="connsiteY157" fmla="*/ 59111 h 853808"/>
                <a:gd name="connsiteX158" fmla="*/ 1764337 w 1764396"/>
                <a:gd name="connsiteY158" fmla="*/ 38088 h 853808"/>
                <a:gd name="connsiteX159" fmla="*/ 1719120 w 1764396"/>
                <a:gd name="connsiteY159" fmla="*/ 854 h 853808"/>
                <a:gd name="connsiteX160" fmla="*/ 1718592 w 1764396"/>
                <a:gd name="connsiteY160" fmla="*/ 1121 h 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764396" h="853808">
                  <a:moveTo>
                    <a:pt x="1718592" y="1121"/>
                  </a:moveTo>
                  <a:cubicBezTo>
                    <a:pt x="1717456" y="-650"/>
                    <a:pt x="1671914" y="6536"/>
                    <a:pt x="1668342" y="8274"/>
                  </a:cubicBezTo>
                  <a:cubicBezTo>
                    <a:pt x="1653527" y="15259"/>
                    <a:pt x="1650198" y="33041"/>
                    <a:pt x="1648493" y="41430"/>
                  </a:cubicBezTo>
                  <a:cubicBezTo>
                    <a:pt x="1644434" y="60983"/>
                    <a:pt x="1630188" y="76124"/>
                    <a:pt x="1598162" y="86184"/>
                  </a:cubicBezTo>
                  <a:cubicBezTo>
                    <a:pt x="1580331" y="91756"/>
                    <a:pt x="1562524" y="97415"/>
                    <a:pt x="1544746" y="103164"/>
                  </a:cubicBezTo>
                  <a:cubicBezTo>
                    <a:pt x="1533381" y="106773"/>
                    <a:pt x="1516333" y="110383"/>
                    <a:pt x="1507809" y="116934"/>
                  </a:cubicBezTo>
                  <a:cubicBezTo>
                    <a:pt x="1499622" y="123599"/>
                    <a:pt x="1491963" y="130688"/>
                    <a:pt x="1484876" y="138158"/>
                  </a:cubicBezTo>
                  <a:cubicBezTo>
                    <a:pt x="1478098" y="144843"/>
                    <a:pt x="1489463" y="142971"/>
                    <a:pt x="1484389" y="149823"/>
                  </a:cubicBezTo>
                  <a:cubicBezTo>
                    <a:pt x="1472212" y="166267"/>
                    <a:pt x="1429877" y="177297"/>
                    <a:pt x="1407268" y="186990"/>
                  </a:cubicBezTo>
                  <a:cubicBezTo>
                    <a:pt x="1422612" y="199022"/>
                    <a:pt x="1355273" y="242607"/>
                    <a:pt x="1334491" y="253202"/>
                  </a:cubicBezTo>
                  <a:cubicBezTo>
                    <a:pt x="1319270" y="260823"/>
                    <a:pt x="1282820" y="271685"/>
                    <a:pt x="1283186" y="255809"/>
                  </a:cubicBezTo>
                  <a:cubicBezTo>
                    <a:pt x="1283186" y="251029"/>
                    <a:pt x="1290532" y="247119"/>
                    <a:pt x="1298123" y="246852"/>
                  </a:cubicBezTo>
                  <a:cubicBezTo>
                    <a:pt x="1308148" y="246484"/>
                    <a:pt x="1307174" y="249960"/>
                    <a:pt x="1316023" y="241938"/>
                  </a:cubicBezTo>
                  <a:cubicBezTo>
                    <a:pt x="1299787" y="239933"/>
                    <a:pt x="1303359" y="211857"/>
                    <a:pt x="1283145" y="215199"/>
                  </a:cubicBezTo>
                  <a:cubicBezTo>
                    <a:pt x="1270441" y="217272"/>
                    <a:pt x="1265570" y="225995"/>
                    <a:pt x="1256802" y="231243"/>
                  </a:cubicBezTo>
                  <a:cubicBezTo>
                    <a:pt x="1249253" y="235755"/>
                    <a:pt x="1256031" y="216737"/>
                    <a:pt x="1256802" y="215400"/>
                  </a:cubicBezTo>
                  <a:cubicBezTo>
                    <a:pt x="1261430" y="204972"/>
                    <a:pt x="1258832" y="197585"/>
                    <a:pt x="1243327" y="195112"/>
                  </a:cubicBezTo>
                  <a:cubicBezTo>
                    <a:pt x="1232164" y="193340"/>
                    <a:pt x="1213493" y="195446"/>
                    <a:pt x="1204644" y="204370"/>
                  </a:cubicBezTo>
                  <a:cubicBezTo>
                    <a:pt x="1200870" y="208180"/>
                    <a:pt x="1202412" y="211055"/>
                    <a:pt x="1200058" y="214899"/>
                  </a:cubicBezTo>
                  <a:cubicBezTo>
                    <a:pt x="1196932" y="219879"/>
                    <a:pt x="1188936" y="222987"/>
                    <a:pt x="1183051" y="226898"/>
                  </a:cubicBezTo>
                  <a:cubicBezTo>
                    <a:pt x="1169981" y="235688"/>
                    <a:pt x="1175704" y="251096"/>
                    <a:pt x="1178789" y="258416"/>
                  </a:cubicBezTo>
                  <a:cubicBezTo>
                    <a:pt x="1182198" y="266471"/>
                    <a:pt x="1195025" y="272287"/>
                    <a:pt x="1193442" y="281812"/>
                  </a:cubicBezTo>
                  <a:cubicBezTo>
                    <a:pt x="1192346" y="288497"/>
                    <a:pt x="1181874" y="300797"/>
                    <a:pt x="1170671" y="304875"/>
                  </a:cubicBezTo>
                  <a:cubicBezTo>
                    <a:pt x="1137306" y="317075"/>
                    <a:pt x="1139295" y="267574"/>
                    <a:pt x="1139579" y="258750"/>
                  </a:cubicBezTo>
                  <a:cubicBezTo>
                    <a:pt x="1139579" y="255909"/>
                    <a:pt x="1140229" y="251698"/>
                    <a:pt x="1137509" y="249659"/>
                  </a:cubicBezTo>
                  <a:cubicBezTo>
                    <a:pt x="1134789" y="247620"/>
                    <a:pt x="1129066" y="251665"/>
                    <a:pt x="1127605" y="249893"/>
                  </a:cubicBezTo>
                  <a:cubicBezTo>
                    <a:pt x="1123952" y="245481"/>
                    <a:pt x="1138808" y="232713"/>
                    <a:pt x="1143841" y="228335"/>
                  </a:cubicBezTo>
                  <a:cubicBezTo>
                    <a:pt x="1156586" y="217104"/>
                    <a:pt x="1172619" y="209116"/>
                    <a:pt x="1190722" y="201362"/>
                  </a:cubicBezTo>
                  <a:cubicBezTo>
                    <a:pt x="1199977" y="197418"/>
                    <a:pt x="1209637" y="193741"/>
                    <a:pt x="1218567" y="189363"/>
                  </a:cubicBezTo>
                  <a:cubicBezTo>
                    <a:pt x="1225264" y="186021"/>
                    <a:pt x="1223032" y="183781"/>
                    <a:pt x="1228024" y="180840"/>
                  </a:cubicBezTo>
                  <a:cubicBezTo>
                    <a:pt x="1217430" y="180405"/>
                    <a:pt x="1211788" y="178801"/>
                    <a:pt x="1205132" y="184583"/>
                  </a:cubicBezTo>
                  <a:cubicBezTo>
                    <a:pt x="1199774" y="189363"/>
                    <a:pt x="1195228" y="186890"/>
                    <a:pt x="1190032" y="186221"/>
                  </a:cubicBezTo>
                  <a:cubicBezTo>
                    <a:pt x="1169737" y="183614"/>
                    <a:pt x="1150051" y="203367"/>
                    <a:pt x="1133491" y="211055"/>
                  </a:cubicBezTo>
                  <a:cubicBezTo>
                    <a:pt x="1125089" y="214932"/>
                    <a:pt x="1115022" y="216336"/>
                    <a:pt x="1108082" y="214197"/>
                  </a:cubicBezTo>
                  <a:cubicBezTo>
                    <a:pt x="1099639" y="211589"/>
                    <a:pt x="1098908" y="213829"/>
                    <a:pt x="1088882" y="214598"/>
                  </a:cubicBezTo>
                  <a:cubicBezTo>
                    <a:pt x="1079709" y="215300"/>
                    <a:pt x="1092617" y="197084"/>
                    <a:pt x="1076705" y="209551"/>
                  </a:cubicBezTo>
                  <a:cubicBezTo>
                    <a:pt x="1061931" y="221282"/>
                    <a:pt x="1050403" y="236290"/>
                    <a:pt x="1031367" y="246317"/>
                  </a:cubicBezTo>
                  <a:cubicBezTo>
                    <a:pt x="1022437" y="250929"/>
                    <a:pt x="1018216" y="249057"/>
                    <a:pt x="1009327" y="250495"/>
                  </a:cubicBezTo>
                  <a:cubicBezTo>
                    <a:pt x="998773" y="252199"/>
                    <a:pt x="991792" y="259486"/>
                    <a:pt x="981726" y="261491"/>
                  </a:cubicBezTo>
                  <a:cubicBezTo>
                    <a:pt x="962567" y="265301"/>
                    <a:pt x="981726" y="247019"/>
                    <a:pt x="986556" y="242740"/>
                  </a:cubicBezTo>
                  <a:cubicBezTo>
                    <a:pt x="1000559" y="230440"/>
                    <a:pt x="1027389" y="221082"/>
                    <a:pt x="1038592" y="209584"/>
                  </a:cubicBezTo>
                  <a:cubicBezTo>
                    <a:pt x="1026415" y="211723"/>
                    <a:pt x="1012411" y="213628"/>
                    <a:pt x="1000559" y="218542"/>
                  </a:cubicBezTo>
                  <a:cubicBezTo>
                    <a:pt x="988707" y="223455"/>
                    <a:pt x="988626" y="231911"/>
                    <a:pt x="972146" y="231543"/>
                  </a:cubicBezTo>
                  <a:cubicBezTo>
                    <a:pt x="960659" y="231209"/>
                    <a:pt x="948929" y="237292"/>
                    <a:pt x="938660" y="235788"/>
                  </a:cubicBezTo>
                  <a:cubicBezTo>
                    <a:pt x="921409" y="233215"/>
                    <a:pt x="915524" y="247487"/>
                    <a:pt x="899369" y="249759"/>
                  </a:cubicBezTo>
                  <a:cubicBezTo>
                    <a:pt x="879074" y="252634"/>
                    <a:pt x="880048" y="251230"/>
                    <a:pt x="868196" y="246183"/>
                  </a:cubicBezTo>
                  <a:cubicBezTo>
                    <a:pt x="858820" y="242206"/>
                    <a:pt x="854314" y="249759"/>
                    <a:pt x="855735" y="254338"/>
                  </a:cubicBezTo>
                  <a:cubicBezTo>
                    <a:pt x="856628" y="257246"/>
                    <a:pt x="856019" y="256678"/>
                    <a:pt x="850986" y="258750"/>
                  </a:cubicBezTo>
                  <a:cubicBezTo>
                    <a:pt x="804226" y="278002"/>
                    <a:pt x="757658" y="297665"/>
                    <a:pt x="711276" y="317743"/>
                  </a:cubicBezTo>
                  <a:cubicBezTo>
                    <a:pt x="542962" y="390516"/>
                    <a:pt x="377466" y="468807"/>
                    <a:pt x="214782" y="552610"/>
                  </a:cubicBezTo>
                  <a:cubicBezTo>
                    <a:pt x="159771" y="580887"/>
                    <a:pt x="105137" y="609855"/>
                    <a:pt x="50881" y="639512"/>
                  </a:cubicBezTo>
                  <a:cubicBezTo>
                    <a:pt x="59810" y="640682"/>
                    <a:pt x="94961" y="660402"/>
                    <a:pt x="74747" y="671331"/>
                  </a:cubicBezTo>
                  <a:cubicBezTo>
                    <a:pt x="58511" y="680021"/>
                    <a:pt x="66629" y="666251"/>
                    <a:pt x="66629" y="662841"/>
                  </a:cubicBezTo>
                  <a:cubicBezTo>
                    <a:pt x="67035" y="653349"/>
                    <a:pt x="48851" y="663042"/>
                    <a:pt x="44589" y="657093"/>
                  </a:cubicBezTo>
                  <a:cubicBezTo>
                    <a:pt x="31682" y="667120"/>
                    <a:pt x="15121" y="674339"/>
                    <a:pt x="-60" y="681525"/>
                  </a:cubicBezTo>
                  <a:cubicBezTo>
                    <a:pt x="8667" y="684634"/>
                    <a:pt x="13376" y="690249"/>
                    <a:pt x="23848" y="692288"/>
                  </a:cubicBezTo>
                  <a:cubicBezTo>
                    <a:pt x="31073" y="693691"/>
                    <a:pt x="45401" y="701680"/>
                    <a:pt x="54290" y="699641"/>
                  </a:cubicBezTo>
                  <a:cubicBezTo>
                    <a:pt x="75275" y="694861"/>
                    <a:pt x="54655" y="704253"/>
                    <a:pt x="54290" y="707395"/>
                  </a:cubicBezTo>
                  <a:cubicBezTo>
                    <a:pt x="53478" y="713478"/>
                    <a:pt x="63220" y="721567"/>
                    <a:pt x="66102" y="726513"/>
                  </a:cubicBezTo>
                  <a:cubicBezTo>
                    <a:pt x="73489" y="739114"/>
                    <a:pt x="87533" y="749910"/>
                    <a:pt x="87898" y="765619"/>
                  </a:cubicBezTo>
                  <a:cubicBezTo>
                    <a:pt x="88223" y="776849"/>
                    <a:pt x="90171" y="781662"/>
                    <a:pt x="103728" y="785105"/>
                  </a:cubicBezTo>
                  <a:cubicBezTo>
                    <a:pt x="122115" y="789784"/>
                    <a:pt x="120776" y="800847"/>
                    <a:pt x="128975" y="811476"/>
                  </a:cubicBezTo>
                  <a:cubicBezTo>
                    <a:pt x="134374" y="818495"/>
                    <a:pt x="147890" y="819130"/>
                    <a:pt x="154303" y="825715"/>
                  </a:cubicBezTo>
                  <a:cubicBezTo>
                    <a:pt x="161894" y="833435"/>
                    <a:pt x="166480" y="831062"/>
                    <a:pt x="181052" y="831731"/>
                  </a:cubicBezTo>
                  <a:cubicBezTo>
                    <a:pt x="188805" y="832065"/>
                    <a:pt x="213524" y="830594"/>
                    <a:pt x="217583" y="834037"/>
                  </a:cubicBezTo>
                  <a:cubicBezTo>
                    <a:pt x="224442" y="840053"/>
                    <a:pt x="239339" y="833268"/>
                    <a:pt x="244169" y="838048"/>
                  </a:cubicBezTo>
                  <a:cubicBezTo>
                    <a:pt x="249527" y="843362"/>
                    <a:pt x="246158" y="848075"/>
                    <a:pt x="258457" y="848075"/>
                  </a:cubicBezTo>
                  <a:cubicBezTo>
                    <a:pt x="271486" y="848342"/>
                    <a:pt x="292024" y="843964"/>
                    <a:pt x="301360" y="848810"/>
                  </a:cubicBezTo>
                  <a:cubicBezTo>
                    <a:pt x="310696" y="853657"/>
                    <a:pt x="304810" y="855829"/>
                    <a:pt x="320640" y="849813"/>
                  </a:cubicBezTo>
                  <a:cubicBezTo>
                    <a:pt x="336470" y="843797"/>
                    <a:pt x="354573" y="845401"/>
                    <a:pt x="369672" y="837179"/>
                  </a:cubicBezTo>
                  <a:cubicBezTo>
                    <a:pt x="395122" y="823308"/>
                    <a:pt x="412982" y="836778"/>
                    <a:pt x="428649" y="842059"/>
                  </a:cubicBezTo>
                  <a:cubicBezTo>
                    <a:pt x="437133" y="840822"/>
                    <a:pt x="463759" y="820634"/>
                    <a:pt x="471431" y="816022"/>
                  </a:cubicBezTo>
                  <a:cubicBezTo>
                    <a:pt x="488113" y="805995"/>
                    <a:pt x="489088" y="806396"/>
                    <a:pt x="508205" y="803187"/>
                  </a:cubicBezTo>
                  <a:cubicBezTo>
                    <a:pt x="528135" y="799845"/>
                    <a:pt x="549810" y="792191"/>
                    <a:pt x="569902" y="786977"/>
                  </a:cubicBezTo>
                  <a:cubicBezTo>
                    <a:pt x="580618" y="784169"/>
                    <a:pt x="597016" y="782063"/>
                    <a:pt x="607123" y="777117"/>
                  </a:cubicBezTo>
                  <a:cubicBezTo>
                    <a:pt x="624414" y="768694"/>
                    <a:pt x="641705" y="760338"/>
                    <a:pt x="658996" y="752049"/>
                  </a:cubicBezTo>
                  <a:cubicBezTo>
                    <a:pt x="672959" y="745364"/>
                    <a:pt x="682417" y="743292"/>
                    <a:pt x="686922" y="733365"/>
                  </a:cubicBezTo>
                  <a:cubicBezTo>
                    <a:pt x="690981" y="724775"/>
                    <a:pt x="717689" y="716119"/>
                    <a:pt x="729298" y="710804"/>
                  </a:cubicBezTo>
                  <a:cubicBezTo>
                    <a:pt x="738268" y="706626"/>
                    <a:pt x="795946" y="708565"/>
                    <a:pt x="799437" y="713980"/>
                  </a:cubicBezTo>
                  <a:cubicBezTo>
                    <a:pt x="805688" y="723338"/>
                    <a:pt x="831909" y="717857"/>
                    <a:pt x="847657" y="715216"/>
                  </a:cubicBezTo>
                  <a:cubicBezTo>
                    <a:pt x="860971" y="712977"/>
                    <a:pt x="854030" y="699006"/>
                    <a:pt x="862838" y="692154"/>
                  </a:cubicBezTo>
                  <a:cubicBezTo>
                    <a:pt x="873391" y="683965"/>
                    <a:pt x="901845" y="680556"/>
                    <a:pt x="913251" y="680924"/>
                  </a:cubicBezTo>
                  <a:cubicBezTo>
                    <a:pt x="931881" y="681525"/>
                    <a:pt x="941988" y="692254"/>
                    <a:pt x="961958" y="692990"/>
                  </a:cubicBezTo>
                  <a:cubicBezTo>
                    <a:pt x="975596" y="693491"/>
                    <a:pt x="979453" y="710370"/>
                    <a:pt x="994998" y="707027"/>
                  </a:cubicBezTo>
                  <a:cubicBezTo>
                    <a:pt x="1010544" y="703685"/>
                    <a:pt x="1034127" y="697401"/>
                    <a:pt x="1049104" y="696432"/>
                  </a:cubicBezTo>
                  <a:cubicBezTo>
                    <a:pt x="1046588" y="691251"/>
                    <a:pt x="1024426" y="688377"/>
                    <a:pt x="1026983" y="683063"/>
                  </a:cubicBezTo>
                  <a:cubicBezTo>
                    <a:pt x="1029540" y="677748"/>
                    <a:pt x="1035710" y="673036"/>
                    <a:pt x="1030068" y="668891"/>
                  </a:cubicBezTo>
                  <a:cubicBezTo>
                    <a:pt x="1023695" y="664111"/>
                    <a:pt x="1027917" y="662006"/>
                    <a:pt x="1035223" y="655221"/>
                  </a:cubicBezTo>
                  <a:cubicBezTo>
                    <a:pt x="1041880" y="649071"/>
                    <a:pt x="1038551" y="647534"/>
                    <a:pt x="1041352" y="642085"/>
                  </a:cubicBezTo>
                  <a:cubicBezTo>
                    <a:pt x="1044153" y="636637"/>
                    <a:pt x="1058521" y="634565"/>
                    <a:pt x="1064244" y="629919"/>
                  </a:cubicBezTo>
                  <a:cubicBezTo>
                    <a:pt x="1069387" y="625855"/>
                    <a:pt x="1073393" y="620918"/>
                    <a:pt x="1075975" y="615447"/>
                  </a:cubicBezTo>
                  <a:cubicBezTo>
                    <a:pt x="1077314" y="612305"/>
                    <a:pt x="1072281" y="608428"/>
                    <a:pt x="1077396" y="605821"/>
                  </a:cubicBezTo>
                  <a:cubicBezTo>
                    <a:pt x="1083159" y="602913"/>
                    <a:pt x="1092333" y="602478"/>
                    <a:pt x="1095499" y="597665"/>
                  </a:cubicBezTo>
                  <a:cubicBezTo>
                    <a:pt x="1099964" y="590713"/>
                    <a:pt x="1096473" y="589945"/>
                    <a:pt x="1109827" y="587638"/>
                  </a:cubicBezTo>
                  <a:cubicBezTo>
                    <a:pt x="1120746" y="585833"/>
                    <a:pt x="1112749" y="582190"/>
                    <a:pt x="1120786" y="580018"/>
                  </a:cubicBezTo>
                  <a:cubicBezTo>
                    <a:pt x="1130406" y="577444"/>
                    <a:pt x="1136291" y="582057"/>
                    <a:pt x="1146966" y="578313"/>
                  </a:cubicBezTo>
                  <a:cubicBezTo>
                    <a:pt x="1156667" y="574971"/>
                    <a:pt x="1151025" y="571294"/>
                    <a:pt x="1156302" y="568286"/>
                  </a:cubicBezTo>
                  <a:cubicBezTo>
                    <a:pt x="1164420" y="563674"/>
                    <a:pt x="1178139" y="570325"/>
                    <a:pt x="1187110" y="568520"/>
                  </a:cubicBezTo>
                  <a:cubicBezTo>
                    <a:pt x="1194623" y="566635"/>
                    <a:pt x="1201832" y="564008"/>
                    <a:pt x="1208582" y="560699"/>
                  </a:cubicBezTo>
                  <a:cubicBezTo>
                    <a:pt x="1215522" y="557357"/>
                    <a:pt x="1210084" y="552811"/>
                    <a:pt x="1212641" y="551574"/>
                  </a:cubicBezTo>
                  <a:cubicBezTo>
                    <a:pt x="1216700" y="549602"/>
                    <a:pt x="1232935" y="554014"/>
                    <a:pt x="1238009" y="553546"/>
                  </a:cubicBezTo>
                  <a:cubicBezTo>
                    <a:pt x="1257858" y="551775"/>
                    <a:pt x="1239105" y="547396"/>
                    <a:pt x="1232205" y="547129"/>
                  </a:cubicBezTo>
                  <a:cubicBezTo>
                    <a:pt x="1228958" y="547129"/>
                    <a:pt x="1218161" y="539442"/>
                    <a:pt x="1219500" y="537637"/>
                  </a:cubicBezTo>
                  <a:cubicBezTo>
                    <a:pt x="1226725" y="528077"/>
                    <a:pt x="1244219" y="524936"/>
                    <a:pt x="1256599" y="520022"/>
                  </a:cubicBezTo>
                  <a:cubicBezTo>
                    <a:pt x="1262931" y="517516"/>
                    <a:pt x="1263094" y="505684"/>
                    <a:pt x="1272470" y="511566"/>
                  </a:cubicBezTo>
                  <a:cubicBezTo>
                    <a:pt x="1280141" y="516379"/>
                    <a:pt x="1283876" y="512469"/>
                    <a:pt x="1294997" y="506185"/>
                  </a:cubicBezTo>
                  <a:cubicBezTo>
                    <a:pt x="1306119" y="499901"/>
                    <a:pt x="1317930" y="494086"/>
                    <a:pt x="1331772" y="494754"/>
                  </a:cubicBezTo>
                  <a:cubicBezTo>
                    <a:pt x="1343949" y="495389"/>
                    <a:pt x="1352432" y="506686"/>
                    <a:pt x="1364852" y="492882"/>
                  </a:cubicBezTo>
                  <a:cubicBezTo>
                    <a:pt x="1377273" y="479079"/>
                    <a:pt x="1383848" y="476973"/>
                    <a:pt x="1403250" y="481051"/>
                  </a:cubicBezTo>
                  <a:cubicBezTo>
                    <a:pt x="1415711" y="483658"/>
                    <a:pt x="1434667" y="483658"/>
                    <a:pt x="1433895" y="494186"/>
                  </a:cubicBezTo>
                  <a:cubicBezTo>
                    <a:pt x="1433327" y="501706"/>
                    <a:pt x="1439456" y="505750"/>
                    <a:pt x="1445504" y="510898"/>
                  </a:cubicBezTo>
                  <a:cubicBezTo>
                    <a:pt x="1449563" y="514441"/>
                    <a:pt x="1456666" y="513237"/>
                    <a:pt x="1462146" y="515310"/>
                  </a:cubicBezTo>
                  <a:cubicBezTo>
                    <a:pt x="1467625" y="517382"/>
                    <a:pt x="1467625" y="521995"/>
                    <a:pt x="1470629" y="525337"/>
                  </a:cubicBezTo>
                  <a:cubicBezTo>
                    <a:pt x="1473633" y="528679"/>
                    <a:pt x="1490924" y="527075"/>
                    <a:pt x="1497378" y="529983"/>
                  </a:cubicBezTo>
                  <a:cubicBezTo>
                    <a:pt x="1503832" y="532890"/>
                    <a:pt x="1506957" y="536667"/>
                    <a:pt x="1518525" y="533960"/>
                  </a:cubicBezTo>
                  <a:cubicBezTo>
                    <a:pt x="1530093" y="531253"/>
                    <a:pt x="1526643" y="519488"/>
                    <a:pt x="1527982" y="514240"/>
                  </a:cubicBezTo>
                  <a:cubicBezTo>
                    <a:pt x="1530702" y="504714"/>
                    <a:pt x="1525750" y="499266"/>
                    <a:pt x="1518444" y="492749"/>
                  </a:cubicBezTo>
                  <a:cubicBezTo>
                    <a:pt x="1512741" y="486853"/>
                    <a:pt x="1505407" y="482167"/>
                    <a:pt x="1497053" y="479079"/>
                  </a:cubicBezTo>
                  <a:cubicBezTo>
                    <a:pt x="1488123" y="476405"/>
                    <a:pt x="1484876" y="468784"/>
                    <a:pt x="1475947" y="465208"/>
                  </a:cubicBezTo>
                  <a:cubicBezTo>
                    <a:pt x="1452161" y="455749"/>
                    <a:pt x="1444124" y="439171"/>
                    <a:pt x="1453216" y="418883"/>
                  </a:cubicBezTo>
                  <a:cubicBezTo>
                    <a:pt x="1456455" y="411155"/>
                    <a:pt x="1461050" y="403859"/>
                    <a:pt x="1466854" y="397224"/>
                  </a:cubicBezTo>
                  <a:cubicBezTo>
                    <a:pt x="1475662" y="387732"/>
                    <a:pt x="1485526" y="387197"/>
                    <a:pt x="1489382" y="376769"/>
                  </a:cubicBezTo>
                  <a:cubicBezTo>
                    <a:pt x="1492966" y="367828"/>
                    <a:pt x="1501469" y="360802"/>
                    <a:pt x="1512315" y="357818"/>
                  </a:cubicBezTo>
                  <a:cubicBezTo>
                    <a:pt x="1525506" y="353640"/>
                    <a:pt x="1523396" y="343278"/>
                    <a:pt x="1533827" y="336059"/>
                  </a:cubicBezTo>
                  <a:cubicBezTo>
                    <a:pt x="1540119" y="331681"/>
                    <a:pt x="1563458" y="324127"/>
                    <a:pt x="1552620" y="319581"/>
                  </a:cubicBezTo>
                  <a:cubicBezTo>
                    <a:pt x="1549252" y="318177"/>
                    <a:pt x="1543447" y="317375"/>
                    <a:pt x="1542676" y="314334"/>
                  </a:cubicBezTo>
                  <a:cubicBezTo>
                    <a:pt x="1542270" y="312696"/>
                    <a:pt x="1545233" y="307248"/>
                    <a:pt x="1549901" y="308986"/>
                  </a:cubicBezTo>
                  <a:cubicBezTo>
                    <a:pt x="1559602" y="312663"/>
                    <a:pt x="1572307" y="302101"/>
                    <a:pt x="1576934" y="297020"/>
                  </a:cubicBezTo>
                  <a:cubicBezTo>
                    <a:pt x="1589395" y="283250"/>
                    <a:pt x="1562606" y="297589"/>
                    <a:pt x="1558100" y="292976"/>
                  </a:cubicBezTo>
                  <a:cubicBezTo>
                    <a:pt x="1554650" y="289366"/>
                    <a:pt x="1571901" y="283818"/>
                    <a:pt x="1557004" y="281010"/>
                  </a:cubicBezTo>
                  <a:cubicBezTo>
                    <a:pt x="1546207" y="278938"/>
                    <a:pt x="1530215" y="286893"/>
                    <a:pt x="1541377" y="273958"/>
                  </a:cubicBezTo>
                  <a:cubicBezTo>
                    <a:pt x="1547587" y="266772"/>
                    <a:pt x="1521610" y="267039"/>
                    <a:pt x="1515765" y="266839"/>
                  </a:cubicBezTo>
                  <a:cubicBezTo>
                    <a:pt x="1504278" y="266471"/>
                    <a:pt x="1526968" y="257514"/>
                    <a:pt x="1526643" y="253937"/>
                  </a:cubicBezTo>
                  <a:cubicBezTo>
                    <a:pt x="1526156" y="248823"/>
                    <a:pt x="1511138" y="234485"/>
                    <a:pt x="1526156" y="229571"/>
                  </a:cubicBezTo>
                  <a:cubicBezTo>
                    <a:pt x="1533503" y="227198"/>
                    <a:pt x="1527049" y="237693"/>
                    <a:pt x="1526805" y="239197"/>
                  </a:cubicBezTo>
                  <a:cubicBezTo>
                    <a:pt x="1525547" y="247921"/>
                    <a:pt x="1538049" y="247520"/>
                    <a:pt x="1544989" y="252366"/>
                  </a:cubicBezTo>
                  <a:cubicBezTo>
                    <a:pt x="1550916" y="256544"/>
                    <a:pt x="1551768" y="279941"/>
                    <a:pt x="1560292" y="261057"/>
                  </a:cubicBezTo>
                  <a:cubicBezTo>
                    <a:pt x="1566056" y="248289"/>
                    <a:pt x="1568410" y="238462"/>
                    <a:pt x="1553879" y="233148"/>
                  </a:cubicBezTo>
                  <a:cubicBezTo>
                    <a:pt x="1552499" y="232646"/>
                    <a:pt x="1546248" y="227232"/>
                    <a:pt x="1551606" y="226062"/>
                  </a:cubicBezTo>
                  <a:cubicBezTo>
                    <a:pt x="1560373" y="224090"/>
                    <a:pt x="1563377" y="231711"/>
                    <a:pt x="1571901" y="223689"/>
                  </a:cubicBezTo>
                  <a:cubicBezTo>
                    <a:pt x="1577681" y="218147"/>
                    <a:pt x="1582182" y="211780"/>
                    <a:pt x="1585173" y="204905"/>
                  </a:cubicBezTo>
                  <a:cubicBezTo>
                    <a:pt x="1586387" y="202468"/>
                    <a:pt x="1586980" y="199851"/>
                    <a:pt x="1586919" y="197217"/>
                  </a:cubicBezTo>
                  <a:cubicBezTo>
                    <a:pt x="1586554" y="194276"/>
                    <a:pt x="1580140" y="194878"/>
                    <a:pt x="1579856" y="192939"/>
                  </a:cubicBezTo>
                  <a:cubicBezTo>
                    <a:pt x="1579410" y="189597"/>
                    <a:pt x="1624099" y="173219"/>
                    <a:pt x="1630796" y="169543"/>
                  </a:cubicBezTo>
                  <a:cubicBezTo>
                    <a:pt x="1642973" y="162858"/>
                    <a:pt x="1638914" y="160418"/>
                    <a:pt x="1626169" y="165398"/>
                  </a:cubicBezTo>
                  <a:cubicBezTo>
                    <a:pt x="1618985" y="168172"/>
                    <a:pt x="1601044" y="178400"/>
                    <a:pt x="1593251" y="178066"/>
                  </a:cubicBezTo>
                  <a:cubicBezTo>
                    <a:pt x="1586269" y="177732"/>
                    <a:pt x="1624099" y="159382"/>
                    <a:pt x="1626859" y="158312"/>
                  </a:cubicBezTo>
                  <a:cubicBezTo>
                    <a:pt x="1632379" y="156106"/>
                    <a:pt x="1641756" y="153934"/>
                    <a:pt x="1644678" y="150023"/>
                  </a:cubicBezTo>
                  <a:cubicBezTo>
                    <a:pt x="1645368" y="149121"/>
                    <a:pt x="1645855" y="142570"/>
                    <a:pt x="1646992" y="142570"/>
                  </a:cubicBezTo>
                  <a:cubicBezTo>
                    <a:pt x="1656084" y="142570"/>
                    <a:pt x="1659453" y="145177"/>
                    <a:pt x="1669478" y="140030"/>
                  </a:cubicBezTo>
                  <a:cubicBezTo>
                    <a:pt x="1679504" y="134883"/>
                    <a:pt x="1680762" y="129668"/>
                    <a:pt x="1671832" y="126961"/>
                  </a:cubicBezTo>
                  <a:cubicBezTo>
                    <a:pt x="1669357" y="126192"/>
                    <a:pt x="1657098" y="127295"/>
                    <a:pt x="1658194" y="125123"/>
                  </a:cubicBezTo>
                  <a:cubicBezTo>
                    <a:pt x="1660711" y="120243"/>
                    <a:pt x="1662903" y="119775"/>
                    <a:pt x="1660833" y="115530"/>
                  </a:cubicBezTo>
                  <a:cubicBezTo>
                    <a:pt x="1659087" y="111921"/>
                    <a:pt x="1661117" y="106840"/>
                    <a:pt x="1663674" y="102729"/>
                  </a:cubicBezTo>
                  <a:cubicBezTo>
                    <a:pt x="1667490" y="96746"/>
                    <a:pt x="1678246" y="93638"/>
                    <a:pt x="1681615" y="88390"/>
                  </a:cubicBezTo>
                  <a:cubicBezTo>
                    <a:pt x="1684984" y="83143"/>
                    <a:pt x="1688921" y="84045"/>
                    <a:pt x="1694563" y="80201"/>
                  </a:cubicBezTo>
                  <a:cubicBezTo>
                    <a:pt x="1702031" y="75121"/>
                    <a:pt x="1700245" y="66063"/>
                    <a:pt x="1709906" y="61986"/>
                  </a:cubicBezTo>
                  <a:cubicBezTo>
                    <a:pt x="1717537" y="58643"/>
                    <a:pt x="1727035" y="61183"/>
                    <a:pt x="1735112" y="59111"/>
                  </a:cubicBezTo>
                  <a:cubicBezTo>
                    <a:pt x="1746802" y="56170"/>
                    <a:pt x="1756543" y="43703"/>
                    <a:pt x="1764337" y="38088"/>
                  </a:cubicBezTo>
                  <a:cubicBezTo>
                    <a:pt x="1735924" y="29230"/>
                    <a:pt x="1729957" y="17365"/>
                    <a:pt x="1719120" y="854"/>
                  </a:cubicBezTo>
                  <a:cubicBezTo>
                    <a:pt x="1715629" y="-3358"/>
                    <a:pt x="1721311" y="5266"/>
                    <a:pt x="1718592" y="112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D96CF696-58A4-4CB8-A7D7-C82B4F750A7C}"/>
                </a:ext>
              </a:extLst>
            </p:cNvPr>
            <p:cNvSpPr/>
            <p:nvPr/>
          </p:nvSpPr>
          <p:spPr>
            <a:xfrm>
              <a:off x="652802" y="5602226"/>
              <a:ext cx="33518" cy="37941"/>
            </a:xfrm>
            <a:custGeom>
              <a:avLst/>
              <a:gdLst>
                <a:gd name="connsiteX0" fmla="*/ 28830 w 33518"/>
                <a:gd name="connsiteY0" fmla="*/ 1025 h 37941"/>
                <a:gd name="connsiteX1" fmla="*/ 417 w 33518"/>
                <a:gd name="connsiteY1" fmla="*/ 37557 h 37941"/>
                <a:gd name="connsiteX2" fmla="*/ 28830 w 33518"/>
                <a:gd name="connsiteY2" fmla="*/ 1025 h 3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18" h="37941">
                  <a:moveTo>
                    <a:pt x="28830" y="1025"/>
                  </a:moveTo>
                  <a:cubicBezTo>
                    <a:pt x="19291" y="5905"/>
                    <a:pt x="-3642" y="31775"/>
                    <a:pt x="417" y="37557"/>
                  </a:cubicBezTo>
                  <a:cubicBezTo>
                    <a:pt x="1756" y="39295"/>
                    <a:pt x="47948" y="-8969"/>
                    <a:pt x="28830" y="102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D979141B-BA13-4403-8E0B-27DE598BD0E4}"/>
                </a:ext>
              </a:extLst>
            </p:cNvPr>
            <p:cNvSpPr/>
            <p:nvPr/>
          </p:nvSpPr>
          <p:spPr>
            <a:xfrm>
              <a:off x="651006" y="5597707"/>
              <a:ext cx="41035" cy="43985"/>
            </a:xfrm>
            <a:custGeom>
              <a:avLst/>
              <a:gdLst>
                <a:gd name="connsiteX0" fmla="*/ 5257 w 41035"/>
                <a:gd name="connsiteY0" fmla="*/ 41808 h 43985"/>
                <a:gd name="connsiteX1" fmla="*/ 5257 w 41035"/>
                <a:gd name="connsiteY1" fmla="*/ 41808 h 43985"/>
                <a:gd name="connsiteX2" fmla="*/ 1969 w 41035"/>
                <a:gd name="connsiteY2" fmla="*/ 43647 h 43985"/>
                <a:gd name="connsiteX3" fmla="*/ 1117 w 41035"/>
                <a:gd name="connsiteY3" fmla="*/ 43647 h 43985"/>
                <a:gd name="connsiteX4" fmla="*/ 630 w 41035"/>
                <a:gd name="connsiteY4" fmla="*/ 43179 h 43985"/>
                <a:gd name="connsiteX5" fmla="*/ 24172 w 41035"/>
                <a:gd name="connsiteY5" fmla="*/ 8452 h 43985"/>
                <a:gd name="connsiteX6" fmla="*/ 24415 w 41035"/>
                <a:gd name="connsiteY6" fmla="*/ 7917 h 43985"/>
                <a:gd name="connsiteX7" fmla="*/ 25958 w 41035"/>
                <a:gd name="connsiteY7" fmla="*/ 6513 h 43985"/>
                <a:gd name="connsiteX8" fmla="*/ 25958 w 41035"/>
                <a:gd name="connsiteY8" fmla="*/ 6513 h 43985"/>
                <a:gd name="connsiteX9" fmla="*/ 26404 w 41035"/>
                <a:gd name="connsiteY9" fmla="*/ 6280 h 43985"/>
                <a:gd name="connsiteX10" fmla="*/ 34522 w 41035"/>
                <a:gd name="connsiteY10" fmla="*/ 2001 h 43985"/>
                <a:gd name="connsiteX11" fmla="*/ 34522 w 41035"/>
                <a:gd name="connsiteY11" fmla="*/ 2001 h 43985"/>
                <a:gd name="connsiteX12" fmla="*/ 34969 w 41035"/>
                <a:gd name="connsiteY12" fmla="*/ 1800 h 43985"/>
                <a:gd name="connsiteX13" fmla="*/ 40976 w 41035"/>
                <a:gd name="connsiteY13" fmla="*/ -339 h 43985"/>
                <a:gd name="connsiteX14" fmla="*/ 36917 w 41035"/>
                <a:gd name="connsiteY14" fmla="*/ 3004 h 43985"/>
                <a:gd name="connsiteX15" fmla="*/ 36917 w 41035"/>
                <a:gd name="connsiteY15" fmla="*/ 3004 h 43985"/>
                <a:gd name="connsiteX16" fmla="*/ 5257 w 41035"/>
                <a:gd name="connsiteY16" fmla="*/ 41808 h 43985"/>
                <a:gd name="connsiteX17" fmla="*/ 26891 w 41035"/>
                <a:gd name="connsiteY17" fmla="*/ 9488 h 43985"/>
                <a:gd name="connsiteX18" fmla="*/ 3796 w 41035"/>
                <a:gd name="connsiteY18" fmla="*/ 39870 h 43985"/>
                <a:gd name="connsiteX19" fmla="*/ 33386 w 41035"/>
                <a:gd name="connsiteY19" fmla="*/ 5711 h 43985"/>
                <a:gd name="connsiteX20" fmla="*/ 33386 w 41035"/>
                <a:gd name="connsiteY20" fmla="*/ 5711 h 43985"/>
                <a:gd name="connsiteX21" fmla="*/ 30910 w 41035"/>
                <a:gd name="connsiteY21" fmla="*/ 6747 h 43985"/>
                <a:gd name="connsiteX22" fmla="*/ 26891 w 41035"/>
                <a:gd name="connsiteY22" fmla="*/ 9488 h 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035" h="43985">
                  <a:moveTo>
                    <a:pt x="5257" y="41808"/>
                  </a:moveTo>
                  <a:lnTo>
                    <a:pt x="5257" y="41808"/>
                  </a:lnTo>
                  <a:cubicBezTo>
                    <a:pt x="4364" y="42644"/>
                    <a:pt x="3232" y="43279"/>
                    <a:pt x="1969" y="43647"/>
                  </a:cubicBezTo>
                  <a:lnTo>
                    <a:pt x="1117" y="43647"/>
                  </a:lnTo>
                  <a:lnTo>
                    <a:pt x="630" y="43179"/>
                  </a:lnTo>
                  <a:cubicBezTo>
                    <a:pt x="-3673" y="37597"/>
                    <a:pt x="13132" y="17510"/>
                    <a:pt x="24172" y="8452"/>
                  </a:cubicBezTo>
                  <a:lnTo>
                    <a:pt x="24415" y="7917"/>
                  </a:lnTo>
                  <a:cubicBezTo>
                    <a:pt x="24793" y="7349"/>
                    <a:pt x="25321" y="6881"/>
                    <a:pt x="25958" y="6513"/>
                  </a:cubicBezTo>
                  <a:lnTo>
                    <a:pt x="25958" y="6513"/>
                  </a:lnTo>
                  <a:lnTo>
                    <a:pt x="26404" y="6280"/>
                  </a:lnTo>
                  <a:cubicBezTo>
                    <a:pt x="28986" y="4708"/>
                    <a:pt x="31697" y="3271"/>
                    <a:pt x="34522" y="2001"/>
                  </a:cubicBezTo>
                  <a:lnTo>
                    <a:pt x="34522" y="2001"/>
                  </a:lnTo>
                  <a:lnTo>
                    <a:pt x="34969" y="1800"/>
                  </a:lnTo>
                  <a:lnTo>
                    <a:pt x="40976" y="-339"/>
                  </a:lnTo>
                  <a:lnTo>
                    <a:pt x="36917" y="3004"/>
                  </a:lnTo>
                  <a:lnTo>
                    <a:pt x="36917" y="3004"/>
                  </a:lnTo>
                  <a:cubicBezTo>
                    <a:pt x="39718" y="7750"/>
                    <a:pt x="11670" y="36595"/>
                    <a:pt x="5257" y="41808"/>
                  </a:cubicBezTo>
                  <a:close/>
                  <a:moveTo>
                    <a:pt x="26891" y="9488"/>
                  </a:moveTo>
                  <a:cubicBezTo>
                    <a:pt x="16866" y="17409"/>
                    <a:pt x="2862" y="34355"/>
                    <a:pt x="3796" y="39870"/>
                  </a:cubicBezTo>
                  <a:cubicBezTo>
                    <a:pt x="12726" y="32417"/>
                    <a:pt x="34563" y="7917"/>
                    <a:pt x="33386" y="5711"/>
                  </a:cubicBezTo>
                  <a:lnTo>
                    <a:pt x="33386" y="5711"/>
                  </a:lnTo>
                  <a:cubicBezTo>
                    <a:pt x="32513" y="5978"/>
                    <a:pt x="31681" y="6313"/>
                    <a:pt x="30910" y="6747"/>
                  </a:cubicBezTo>
                  <a:cubicBezTo>
                    <a:pt x="29469" y="7549"/>
                    <a:pt x="28125" y="8485"/>
                    <a:pt x="26891" y="948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227F62C9-077C-4EDC-B3BF-2960B3DA902D}"/>
                </a:ext>
              </a:extLst>
            </p:cNvPr>
            <p:cNvSpPr/>
            <p:nvPr/>
          </p:nvSpPr>
          <p:spPr>
            <a:xfrm>
              <a:off x="608327" y="5685688"/>
              <a:ext cx="14219" cy="22572"/>
            </a:xfrm>
            <a:custGeom>
              <a:avLst/>
              <a:gdLst>
                <a:gd name="connsiteX0" fmla="*/ 5316 w 14219"/>
                <a:gd name="connsiteY0" fmla="*/ 19907 h 22572"/>
                <a:gd name="connsiteX1" fmla="*/ 7873 w 14219"/>
                <a:gd name="connsiteY1" fmla="*/ -147 h 22572"/>
                <a:gd name="connsiteX2" fmla="*/ 5316 w 14219"/>
                <a:gd name="connsiteY2" fmla="*/ 19907 h 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9" h="22572">
                  <a:moveTo>
                    <a:pt x="5316" y="19907"/>
                  </a:moveTo>
                  <a:cubicBezTo>
                    <a:pt x="15626" y="6136"/>
                    <a:pt x="17493" y="-1685"/>
                    <a:pt x="7873" y="-147"/>
                  </a:cubicBezTo>
                  <a:cubicBezTo>
                    <a:pt x="-1747" y="1390"/>
                    <a:pt x="-2639" y="30536"/>
                    <a:pt x="5316" y="1990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AF5CACCB-6F8F-4A99-8D05-5280849F493C}"/>
                </a:ext>
              </a:extLst>
            </p:cNvPr>
            <p:cNvSpPr/>
            <p:nvPr/>
          </p:nvSpPr>
          <p:spPr>
            <a:xfrm>
              <a:off x="606443" y="5686147"/>
              <a:ext cx="8152" cy="23664"/>
            </a:xfrm>
            <a:custGeom>
              <a:avLst/>
              <a:gdLst>
                <a:gd name="connsiteX0" fmla="*/ 6673 w 8152"/>
                <a:gd name="connsiteY0" fmla="*/ 21855 h 23664"/>
                <a:gd name="connsiteX1" fmla="*/ 1640 w 8152"/>
                <a:gd name="connsiteY1" fmla="*/ 22790 h 23664"/>
                <a:gd name="connsiteX2" fmla="*/ 259 w 8152"/>
                <a:gd name="connsiteY2" fmla="*/ 12329 h 23664"/>
                <a:gd name="connsiteX3" fmla="*/ 6186 w 8152"/>
                <a:gd name="connsiteY3" fmla="*/ -339 h 23664"/>
                <a:gd name="connsiteX4" fmla="*/ 8093 w 8152"/>
                <a:gd name="connsiteY4" fmla="*/ 1232 h 23664"/>
                <a:gd name="connsiteX5" fmla="*/ 4034 w 8152"/>
                <a:gd name="connsiteY5" fmla="*/ 11058 h 23664"/>
                <a:gd name="connsiteX6" fmla="*/ 4968 w 8152"/>
                <a:gd name="connsiteY6" fmla="*/ 20083 h 23664"/>
                <a:gd name="connsiteX7" fmla="*/ 4724 w 8152"/>
                <a:gd name="connsiteY7" fmla="*/ 20317 h 23664"/>
                <a:gd name="connsiteX8" fmla="*/ 6673 w 8152"/>
                <a:gd name="connsiteY8" fmla="*/ 21855 h 2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52" h="23664">
                  <a:moveTo>
                    <a:pt x="6673" y="21855"/>
                  </a:moveTo>
                  <a:cubicBezTo>
                    <a:pt x="4806" y="23392"/>
                    <a:pt x="2817" y="23760"/>
                    <a:pt x="1640" y="22790"/>
                  </a:cubicBezTo>
                  <a:cubicBezTo>
                    <a:pt x="-268" y="21186"/>
                    <a:pt x="-309" y="16105"/>
                    <a:pt x="259" y="12329"/>
                  </a:cubicBezTo>
                  <a:cubicBezTo>
                    <a:pt x="609" y="7716"/>
                    <a:pt x="2679" y="3271"/>
                    <a:pt x="6186" y="-339"/>
                  </a:cubicBezTo>
                  <a:lnTo>
                    <a:pt x="8093" y="1232"/>
                  </a:lnTo>
                  <a:cubicBezTo>
                    <a:pt x="5646" y="4140"/>
                    <a:pt x="4237" y="7549"/>
                    <a:pt x="4034" y="11058"/>
                  </a:cubicBezTo>
                  <a:cubicBezTo>
                    <a:pt x="3194" y="14067"/>
                    <a:pt x="3519" y="17242"/>
                    <a:pt x="4968" y="20083"/>
                  </a:cubicBezTo>
                  <a:cubicBezTo>
                    <a:pt x="4968" y="20083"/>
                    <a:pt x="4968" y="20083"/>
                    <a:pt x="4724" y="20317"/>
                  </a:cubicBezTo>
                  <a:cubicBezTo>
                    <a:pt x="5496" y="20852"/>
                    <a:pt x="5983" y="21353"/>
                    <a:pt x="6673" y="2185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6735F3E5-D1DA-41E3-9AAB-99C83B868643}"/>
                </a:ext>
              </a:extLst>
            </p:cNvPr>
            <p:cNvSpPr/>
            <p:nvPr/>
          </p:nvSpPr>
          <p:spPr>
            <a:xfrm>
              <a:off x="472869" y="5553108"/>
              <a:ext cx="49218" cy="38034"/>
            </a:xfrm>
            <a:custGeom>
              <a:avLst/>
              <a:gdLst>
                <a:gd name="connsiteX0" fmla="*/ 20508 w 49218"/>
                <a:gd name="connsiteY0" fmla="*/ 14748 h 38034"/>
                <a:gd name="connsiteX1" fmla="*/ 213 w 49218"/>
                <a:gd name="connsiteY1" fmla="*/ 33499 h 38034"/>
                <a:gd name="connsiteX2" fmla="*/ 29275 w 49218"/>
                <a:gd name="connsiteY2" fmla="*/ 25276 h 38034"/>
                <a:gd name="connsiteX3" fmla="*/ 44496 w 49218"/>
                <a:gd name="connsiteY3" fmla="*/ -259 h 38034"/>
                <a:gd name="connsiteX4" fmla="*/ 20386 w 49218"/>
                <a:gd name="connsiteY4" fmla="*/ 14748 h 3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18" h="38034">
                  <a:moveTo>
                    <a:pt x="20508" y="14748"/>
                  </a:moveTo>
                  <a:cubicBezTo>
                    <a:pt x="14094" y="11406"/>
                    <a:pt x="1430" y="29354"/>
                    <a:pt x="213" y="33499"/>
                  </a:cubicBezTo>
                  <a:cubicBezTo>
                    <a:pt x="-2994" y="45096"/>
                    <a:pt x="23065" y="29421"/>
                    <a:pt x="29275" y="25276"/>
                  </a:cubicBezTo>
                  <a:cubicBezTo>
                    <a:pt x="38408" y="19127"/>
                    <a:pt x="58134" y="1579"/>
                    <a:pt x="44496" y="-259"/>
                  </a:cubicBezTo>
                  <a:cubicBezTo>
                    <a:pt x="33618" y="-1730"/>
                    <a:pt x="25987" y="17723"/>
                    <a:pt x="20386" y="1474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E87E4E98-2FAC-45DF-8873-FD7D804D2FBF}"/>
                </a:ext>
              </a:extLst>
            </p:cNvPr>
            <p:cNvSpPr/>
            <p:nvPr/>
          </p:nvSpPr>
          <p:spPr>
            <a:xfrm>
              <a:off x="471045" y="5551766"/>
              <a:ext cx="52995" cy="40996"/>
            </a:xfrm>
            <a:custGeom>
              <a:avLst/>
              <a:gdLst>
                <a:gd name="connsiteX0" fmla="*/ 37755 w 52995"/>
                <a:gd name="connsiteY0" fmla="*/ 23276 h 40996"/>
                <a:gd name="connsiteX1" fmla="*/ 31870 w 52995"/>
                <a:gd name="connsiteY1" fmla="*/ 27655 h 40996"/>
                <a:gd name="connsiteX2" fmla="*/ 2524 w 52995"/>
                <a:gd name="connsiteY2" fmla="*/ 40556 h 40996"/>
                <a:gd name="connsiteX3" fmla="*/ 251 w 52995"/>
                <a:gd name="connsiteY3" fmla="*/ 35409 h 40996"/>
                <a:gd name="connsiteX4" fmla="*/ 13483 w 52995"/>
                <a:gd name="connsiteY4" fmla="*/ 17795 h 40996"/>
                <a:gd name="connsiteX5" fmla="*/ 19490 w 52995"/>
                <a:gd name="connsiteY5" fmla="*/ 14452 h 40996"/>
                <a:gd name="connsiteX6" fmla="*/ 19490 w 52995"/>
                <a:gd name="connsiteY6" fmla="*/ 14452 h 40996"/>
                <a:gd name="connsiteX7" fmla="*/ 21966 w 52995"/>
                <a:gd name="connsiteY7" fmla="*/ 13817 h 40996"/>
                <a:gd name="connsiteX8" fmla="*/ 21966 w 52995"/>
                <a:gd name="connsiteY8" fmla="*/ 13817 h 40996"/>
                <a:gd name="connsiteX9" fmla="*/ 22981 w 52995"/>
                <a:gd name="connsiteY9" fmla="*/ 14352 h 40996"/>
                <a:gd name="connsiteX10" fmla="*/ 23914 w 52995"/>
                <a:gd name="connsiteY10" fmla="*/ 14820 h 40996"/>
                <a:gd name="connsiteX11" fmla="*/ 25781 w 52995"/>
                <a:gd name="connsiteY11" fmla="*/ 14252 h 40996"/>
                <a:gd name="connsiteX12" fmla="*/ 29840 w 52995"/>
                <a:gd name="connsiteY12" fmla="*/ 10141 h 40996"/>
                <a:gd name="connsiteX13" fmla="*/ 36254 w 52995"/>
                <a:gd name="connsiteY13" fmla="*/ 3757 h 40996"/>
                <a:gd name="connsiteX14" fmla="*/ 47538 w 52995"/>
                <a:gd name="connsiteY14" fmla="*/ -321 h 40996"/>
                <a:gd name="connsiteX15" fmla="*/ 52895 w 52995"/>
                <a:gd name="connsiteY15" fmla="*/ 4826 h 40996"/>
                <a:gd name="connsiteX16" fmla="*/ 37755 w 52995"/>
                <a:gd name="connsiteY16" fmla="*/ 23276 h 40996"/>
                <a:gd name="connsiteX17" fmla="*/ 15390 w 52995"/>
                <a:gd name="connsiteY17" fmla="*/ 19366 h 40996"/>
                <a:gd name="connsiteX18" fmla="*/ 4025 w 52995"/>
                <a:gd name="connsiteY18" fmla="*/ 34373 h 40996"/>
                <a:gd name="connsiteX19" fmla="*/ 5081 w 52995"/>
                <a:gd name="connsiteY19" fmla="*/ 37414 h 40996"/>
                <a:gd name="connsiteX20" fmla="*/ 30571 w 52995"/>
                <a:gd name="connsiteY20" fmla="*/ 25649 h 40996"/>
                <a:gd name="connsiteX21" fmla="*/ 49161 w 52995"/>
                <a:gd name="connsiteY21" fmla="*/ 6097 h 40996"/>
                <a:gd name="connsiteX22" fmla="*/ 45102 w 52995"/>
                <a:gd name="connsiteY22" fmla="*/ 2754 h 40996"/>
                <a:gd name="connsiteX23" fmla="*/ 38121 w 52995"/>
                <a:gd name="connsiteY23" fmla="*/ 5294 h 40996"/>
                <a:gd name="connsiteX24" fmla="*/ 32519 w 52995"/>
                <a:gd name="connsiteY24" fmla="*/ 10876 h 40996"/>
                <a:gd name="connsiteX25" fmla="*/ 25822 w 52995"/>
                <a:gd name="connsiteY25" fmla="*/ 17026 h 40996"/>
                <a:gd name="connsiteX26" fmla="*/ 25335 w 52995"/>
                <a:gd name="connsiteY26" fmla="*/ 17627 h 40996"/>
                <a:gd name="connsiteX27" fmla="*/ 24686 w 52995"/>
                <a:gd name="connsiteY27" fmla="*/ 18296 h 40996"/>
                <a:gd name="connsiteX28" fmla="*/ 23833 w 52995"/>
                <a:gd name="connsiteY28" fmla="*/ 18597 h 40996"/>
                <a:gd name="connsiteX29" fmla="*/ 22453 w 52995"/>
                <a:gd name="connsiteY29" fmla="*/ 18597 h 40996"/>
                <a:gd name="connsiteX30" fmla="*/ 22453 w 52995"/>
                <a:gd name="connsiteY30" fmla="*/ 18597 h 40996"/>
                <a:gd name="connsiteX31" fmla="*/ 21641 w 52995"/>
                <a:gd name="connsiteY31" fmla="*/ 18162 h 40996"/>
                <a:gd name="connsiteX32" fmla="*/ 20627 w 52995"/>
                <a:gd name="connsiteY32" fmla="*/ 17661 h 40996"/>
                <a:gd name="connsiteX33" fmla="*/ 20627 w 52995"/>
                <a:gd name="connsiteY33" fmla="*/ 17661 h 40996"/>
                <a:gd name="connsiteX34" fmla="*/ 15390 w 52995"/>
                <a:gd name="connsiteY34" fmla="*/ 19432 h 4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995" h="40996">
                  <a:moveTo>
                    <a:pt x="37755" y="23276"/>
                  </a:moveTo>
                  <a:cubicBezTo>
                    <a:pt x="35726" y="24947"/>
                    <a:pt x="33696" y="26451"/>
                    <a:pt x="31870" y="27655"/>
                  </a:cubicBezTo>
                  <a:cubicBezTo>
                    <a:pt x="31870" y="27655"/>
                    <a:pt x="10195" y="41993"/>
                    <a:pt x="2524" y="40556"/>
                  </a:cubicBezTo>
                  <a:cubicBezTo>
                    <a:pt x="900" y="40255"/>
                    <a:pt x="-764" y="39119"/>
                    <a:pt x="251" y="35409"/>
                  </a:cubicBezTo>
                  <a:cubicBezTo>
                    <a:pt x="3157" y="28858"/>
                    <a:pt x="7662" y="22875"/>
                    <a:pt x="13483" y="17795"/>
                  </a:cubicBezTo>
                  <a:cubicBezTo>
                    <a:pt x="15175" y="16357"/>
                    <a:pt x="17221" y="15188"/>
                    <a:pt x="19490" y="14452"/>
                  </a:cubicBezTo>
                  <a:lnTo>
                    <a:pt x="19490" y="14452"/>
                  </a:lnTo>
                  <a:cubicBezTo>
                    <a:pt x="20505" y="13617"/>
                    <a:pt x="20911" y="13416"/>
                    <a:pt x="21966" y="13817"/>
                  </a:cubicBezTo>
                  <a:lnTo>
                    <a:pt x="21966" y="13817"/>
                  </a:lnTo>
                  <a:lnTo>
                    <a:pt x="22981" y="14352"/>
                  </a:lnTo>
                  <a:lnTo>
                    <a:pt x="23914" y="14820"/>
                  </a:lnTo>
                  <a:cubicBezTo>
                    <a:pt x="24483" y="15087"/>
                    <a:pt x="24807" y="15021"/>
                    <a:pt x="25781" y="14252"/>
                  </a:cubicBezTo>
                  <a:cubicBezTo>
                    <a:pt x="27222" y="12949"/>
                    <a:pt x="28578" y="11578"/>
                    <a:pt x="29840" y="10141"/>
                  </a:cubicBezTo>
                  <a:cubicBezTo>
                    <a:pt x="31768" y="7868"/>
                    <a:pt x="33912" y="5729"/>
                    <a:pt x="36254" y="3757"/>
                  </a:cubicBezTo>
                  <a:cubicBezTo>
                    <a:pt x="39006" y="983"/>
                    <a:pt x="43199" y="-521"/>
                    <a:pt x="47538" y="-321"/>
                  </a:cubicBezTo>
                  <a:cubicBezTo>
                    <a:pt x="51597" y="214"/>
                    <a:pt x="53220" y="1952"/>
                    <a:pt x="52895" y="4826"/>
                  </a:cubicBezTo>
                  <a:cubicBezTo>
                    <a:pt x="52287" y="11077"/>
                    <a:pt x="41165" y="20502"/>
                    <a:pt x="37755" y="23276"/>
                  </a:cubicBezTo>
                  <a:close/>
                  <a:moveTo>
                    <a:pt x="15390" y="19366"/>
                  </a:moveTo>
                  <a:cubicBezTo>
                    <a:pt x="10471" y="23711"/>
                    <a:pt x="6615" y="28825"/>
                    <a:pt x="4025" y="34373"/>
                  </a:cubicBezTo>
                  <a:cubicBezTo>
                    <a:pt x="3295" y="37080"/>
                    <a:pt x="4634" y="37347"/>
                    <a:pt x="5081" y="37414"/>
                  </a:cubicBezTo>
                  <a:cubicBezTo>
                    <a:pt x="9464" y="38250"/>
                    <a:pt x="24077" y="30028"/>
                    <a:pt x="30571" y="25649"/>
                  </a:cubicBezTo>
                  <a:cubicBezTo>
                    <a:pt x="37065" y="21271"/>
                    <a:pt x="48552" y="11244"/>
                    <a:pt x="49161" y="6097"/>
                  </a:cubicBezTo>
                  <a:cubicBezTo>
                    <a:pt x="49161" y="4191"/>
                    <a:pt x="48106" y="3088"/>
                    <a:pt x="45102" y="2754"/>
                  </a:cubicBezTo>
                  <a:cubicBezTo>
                    <a:pt x="42407" y="2587"/>
                    <a:pt x="39789" y="3556"/>
                    <a:pt x="38121" y="5294"/>
                  </a:cubicBezTo>
                  <a:cubicBezTo>
                    <a:pt x="36112" y="7066"/>
                    <a:pt x="34240" y="8904"/>
                    <a:pt x="32519" y="10876"/>
                  </a:cubicBezTo>
                  <a:cubicBezTo>
                    <a:pt x="30648" y="13182"/>
                    <a:pt x="28395" y="15255"/>
                    <a:pt x="25822" y="17026"/>
                  </a:cubicBezTo>
                  <a:lnTo>
                    <a:pt x="25335" y="17627"/>
                  </a:lnTo>
                  <a:cubicBezTo>
                    <a:pt x="25096" y="17828"/>
                    <a:pt x="24880" y="18062"/>
                    <a:pt x="24686" y="18296"/>
                  </a:cubicBezTo>
                  <a:lnTo>
                    <a:pt x="23833" y="18597"/>
                  </a:lnTo>
                  <a:cubicBezTo>
                    <a:pt x="23411" y="18831"/>
                    <a:pt x="22875" y="18831"/>
                    <a:pt x="22453" y="18597"/>
                  </a:cubicBezTo>
                  <a:lnTo>
                    <a:pt x="22453" y="18597"/>
                  </a:lnTo>
                  <a:cubicBezTo>
                    <a:pt x="22169" y="18463"/>
                    <a:pt x="21897" y="18330"/>
                    <a:pt x="21641" y="18162"/>
                  </a:cubicBezTo>
                  <a:lnTo>
                    <a:pt x="20627" y="17661"/>
                  </a:lnTo>
                  <a:lnTo>
                    <a:pt x="20627" y="17661"/>
                  </a:lnTo>
                  <a:cubicBezTo>
                    <a:pt x="19815" y="17093"/>
                    <a:pt x="18435" y="16892"/>
                    <a:pt x="15390" y="1943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13CFDF57-4DD5-4F81-BEC8-C0AFA7BC654A}"/>
                </a:ext>
              </a:extLst>
            </p:cNvPr>
            <p:cNvSpPr/>
            <p:nvPr/>
          </p:nvSpPr>
          <p:spPr>
            <a:xfrm>
              <a:off x="294219" y="4855383"/>
              <a:ext cx="1310283" cy="734334"/>
            </a:xfrm>
            <a:custGeom>
              <a:avLst/>
              <a:gdLst>
                <a:gd name="connsiteX0" fmla="*/ 1291630 w 1310283"/>
                <a:gd name="connsiteY0" fmla="*/ 107239 h 734334"/>
                <a:gd name="connsiteX1" fmla="*/ 1238620 w 1310283"/>
                <a:gd name="connsiteY1" fmla="*/ 112353 h 734334"/>
                <a:gd name="connsiteX2" fmla="*/ 1175625 w 1310283"/>
                <a:gd name="connsiteY2" fmla="*/ 109211 h 734334"/>
                <a:gd name="connsiteX3" fmla="*/ 1098504 w 1310283"/>
                <a:gd name="connsiteY3" fmla="*/ 113957 h 734334"/>
                <a:gd name="connsiteX4" fmla="*/ 1050771 w 1310283"/>
                <a:gd name="connsiteY4" fmla="*/ 125889 h 734334"/>
                <a:gd name="connsiteX5" fmla="*/ 1043099 w 1310283"/>
                <a:gd name="connsiteY5" fmla="*/ 142902 h 734334"/>
                <a:gd name="connsiteX6" fmla="*/ 1017649 w 1310283"/>
                <a:gd name="connsiteY6" fmla="*/ 167769 h 734334"/>
                <a:gd name="connsiteX7" fmla="*/ 977628 w 1310283"/>
                <a:gd name="connsiteY7" fmla="*/ 171111 h 734334"/>
                <a:gd name="connsiteX8" fmla="*/ 947510 w 1310283"/>
                <a:gd name="connsiteY8" fmla="*/ 169674 h 734334"/>
                <a:gd name="connsiteX9" fmla="*/ 891253 w 1310283"/>
                <a:gd name="connsiteY9" fmla="*/ 205504 h 734334"/>
                <a:gd name="connsiteX10" fmla="*/ 885530 w 1310283"/>
                <a:gd name="connsiteY10" fmla="*/ 199454 h 734334"/>
                <a:gd name="connsiteX11" fmla="*/ 702470 w 1310283"/>
                <a:gd name="connsiteY11" fmla="*/ 6433 h 734334"/>
                <a:gd name="connsiteX12" fmla="*/ 696016 w 1310283"/>
                <a:gd name="connsiteY12" fmla="*/ -252 h 734334"/>
                <a:gd name="connsiteX13" fmla="*/ 611874 w 1310283"/>
                <a:gd name="connsiteY13" fmla="*/ 39857 h 734334"/>
                <a:gd name="connsiteX14" fmla="*/ 539421 w 1310283"/>
                <a:gd name="connsiteY14" fmla="*/ 85346 h 734334"/>
                <a:gd name="connsiteX15" fmla="*/ 495624 w 1310283"/>
                <a:gd name="connsiteY15" fmla="*/ 114391 h 734334"/>
                <a:gd name="connsiteX16" fmla="*/ 439083 w 1310283"/>
                <a:gd name="connsiteY16" fmla="*/ 139760 h 734334"/>
                <a:gd name="connsiteX17" fmla="*/ 368091 w 1310283"/>
                <a:gd name="connsiteY17" fmla="*/ 193639 h 734334"/>
                <a:gd name="connsiteX18" fmla="*/ 356158 w 1310283"/>
                <a:gd name="connsiteY18" fmla="*/ 198184 h 734334"/>
                <a:gd name="connsiteX19" fmla="*/ 340977 w 1310283"/>
                <a:gd name="connsiteY19" fmla="*/ 206373 h 734334"/>
                <a:gd name="connsiteX20" fmla="*/ 316624 w 1310283"/>
                <a:gd name="connsiteY20" fmla="*/ 209080 h 734334"/>
                <a:gd name="connsiteX21" fmla="*/ 284598 w 1310283"/>
                <a:gd name="connsiteY21" fmla="*/ 235819 h 734334"/>
                <a:gd name="connsiteX22" fmla="*/ 267956 w 1310283"/>
                <a:gd name="connsiteY22" fmla="*/ 245846 h 734334"/>
                <a:gd name="connsiteX23" fmla="*/ 258743 w 1310283"/>
                <a:gd name="connsiteY23" fmla="*/ 243674 h 734334"/>
                <a:gd name="connsiteX24" fmla="*/ 238772 w 1310283"/>
                <a:gd name="connsiteY24" fmla="*/ 269176 h 734334"/>
                <a:gd name="connsiteX25" fmla="*/ 233861 w 1310283"/>
                <a:gd name="connsiteY25" fmla="*/ 260218 h 734334"/>
                <a:gd name="connsiteX26" fmla="*/ 205976 w 1310283"/>
                <a:gd name="connsiteY26" fmla="*/ 272218 h 734334"/>
                <a:gd name="connsiteX27" fmla="*/ 185438 w 1310283"/>
                <a:gd name="connsiteY27" fmla="*/ 302299 h 734334"/>
                <a:gd name="connsiteX28" fmla="*/ 151504 w 1310283"/>
                <a:gd name="connsiteY28" fmla="*/ 335990 h 734334"/>
                <a:gd name="connsiteX29" fmla="*/ 127151 w 1310283"/>
                <a:gd name="connsiteY29" fmla="*/ 363665 h 734334"/>
                <a:gd name="connsiteX30" fmla="*/ 138029 w 1310283"/>
                <a:gd name="connsiteY30" fmla="*/ 361392 h 734334"/>
                <a:gd name="connsiteX31" fmla="*/ 131940 w 1310283"/>
                <a:gd name="connsiteY31" fmla="*/ 370984 h 734334"/>
                <a:gd name="connsiteX32" fmla="*/ 113675 w 1310283"/>
                <a:gd name="connsiteY32" fmla="*/ 383886 h 734334"/>
                <a:gd name="connsiteX33" fmla="*/ 85749 w 1310283"/>
                <a:gd name="connsiteY33" fmla="*/ 409990 h 734334"/>
                <a:gd name="connsiteX34" fmla="*/ 66956 w 1310283"/>
                <a:gd name="connsiteY34" fmla="*/ 435057 h 734334"/>
                <a:gd name="connsiteX35" fmla="*/ 60624 w 1310283"/>
                <a:gd name="connsiteY35" fmla="*/ 456148 h 734334"/>
                <a:gd name="connsiteX36" fmla="*/ 63952 w 1310283"/>
                <a:gd name="connsiteY36" fmla="*/ 474698 h 734334"/>
                <a:gd name="connsiteX37" fmla="*/ 7614 w 1310283"/>
                <a:gd name="connsiteY37" fmla="*/ 532019 h 734334"/>
                <a:gd name="connsiteX38" fmla="*/ 18938 w 1310283"/>
                <a:gd name="connsiteY38" fmla="*/ 548196 h 734334"/>
                <a:gd name="connsiteX39" fmla="*/ 105151 w 1310283"/>
                <a:gd name="connsiteY39" fmla="*/ 518917 h 734334"/>
                <a:gd name="connsiteX40" fmla="*/ 156294 w 1310283"/>
                <a:gd name="connsiteY40" fmla="*/ 487065 h 734334"/>
                <a:gd name="connsiteX41" fmla="*/ 174438 w 1310283"/>
                <a:gd name="connsiteY41" fmla="*/ 487867 h 734334"/>
                <a:gd name="connsiteX42" fmla="*/ 210197 w 1310283"/>
                <a:gd name="connsiteY42" fmla="*/ 468280 h 734334"/>
                <a:gd name="connsiteX43" fmla="*/ 200293 w 1310283"/>
                <a:gd name="connsiteY43" fmla="*/ 482352 h 734334"/>
                <a:gd name="connsiteX44" fmla="*/ 175128 w 1310283"/>
                <a:gd name="connsiteY44" fmla="*/ 514405 h 734334"/>
                <a:gd name="connsiteX45" fmla="*/ 162707 w 1310283"/>
                <a:gd name="connsiteY45" fmla="*/ 519485 h 734334"/>
                <a:gd name="connsiteX46" fmla="*/ 146471 w 1310283"/>
                <a:gd name="connsiteY46" fmla="*/ 531184 h 734334"/>
                <a:gd name="connsiteX47" fmla="*/ 122808 w 1310283"/>
                <a:gd name="connsiteY47" fmla="*/ 542313 h 734334"/>
                <a:gd name="connsiteX48" fmla="*/ 79295 w 1310283"/>
                <a:gd name="connsiteY48" fmla="*/ 578712 h 734334"/>
                <a:gd name="connsiteX49" fmla="*/ 79295 w 1310283"/>
                <a:gd name="connsiteY49" fmla="*/ 588271 h 734334"/>
                <a:gd name="connsiteX50" fmla="*/ 46823 w 1310283"/>
                <a:gd name="connsiteY50" fmla="*/ 622463 h 734334"/>
                <a:gd name="connsiteX51" fmla="*/ 72476 w 1310283"/>
                <a:gd name="connsiteY51" fmla="*/ 624335 h 734334"/>
                <a:gd name="connsiteX52" fmla="*/ 85100 w 1310283"/>
                <a:gd name="connsiteY52" fmla="*/ 620525 h 734334"/>
                <a:gd name="connsiteX53" fmla="*/ 93218 w 1310283"/>
                <a:gd name="connsiteY53" fmla="*/ 624803 h 734334"/>
                <a:gd name="connsiteX54" fmla="*/ 161165 w 1310283"/>
                <a:gd name="connsiteY54" fmla="*/ 584695 h 734334"/>
                <a:gd name="connsiteX55" fmla="*/ 190511 w 1310283"/>
                <a:gd name="connsiteY55" fmla="*/ 564941 h 734334"/>
                <a:gd name="connsiteX56" fmla="*/ 209670 w 1310283"/>
                <a:gd name="connsiteY56" fmla="*/ 535094 h 734334"/>
                <a:gd name="connsiteX57" fmla="*/ 237636 w 1310283"/>
                <a:gd name="connsiteY57" fmla="*/ 511497 h 734334"/>
                <a:gd name="connsiteX58" fmla="*/ 239868 w 1310283"/>
                <a:gd name="connsiteY58" fmla="*/ 520421 h 734334"/>
                <a:gd name="connsiteX59" fmla="*/ 248960 w 1310283"/>
                <a:gd name="connsiteY59" fmla="*/ 554480 h 734334"/>
                <a:gd name="connsiteX60" fmla="*/ 228219 w 1310283"/>
                <a:gd name="connsiteY60" fmla="*/ 574868 h 734334"/>
                <a:gd name="connsiteX61" fmla="*/ 216042 w 1310283"/>
                <a:gd name="connsiteY61" fmla="*/ 598264 h 734334"/>
                <a:gd name="connsiteX62" fmla="*/ 192622 w 1310283"/>
                <a:gd name="connsiteY62" fmla="*/ 631889 h 734334"/>
                <a:gd name="connsiteX63" fmla="*/ 181135 w 1310283"/>
                <a:gd name="connsiteY63" fmla="*/ 646428 h 734334"/>
                <a:gd name="connsiteX64" fmla="*/ 176630 w 1310283"/>
                <a:gd name="connsiteY64" fmla="*/ 669824 h 734334"/>
                <a:gd name="connsiteX65" fmla="*/ 167375 w 1310283"/>
                <a:gd name="connsiteY65" fmla="*/ 683194 h 734334"/>
                <a:gd name="connsiteX66" fmla="*/ 198751 w 1310283"/>
                <a:gd name="connsiteY66" fmla="*/ 676710 h 734334"/>
                <a:gd name="connsiteX67" fmla="*/ 217057 w 1310283"/>
                <a:gd name="connsiteY67" fmla="*/ 684731 h 734334"/>
                <a:gd name="connsiteX68" fmla="*/ 277252 w 1310283"/>
                <a:gd name="connsiteY68" fmla="*/ 669490 h 734334"/>
                <a:gd name="connsiteX69" fmla="*/ 303716 w 1310283"/>
                <a:gd name="connsiteY69" fmla="*/ 631722 h 734334"/>
                <a:gd name="connsiteX70" fmla="*/ 324011 w 1310283"/>
                <a:gd name="connsiteY70" fmla="*/ 628145 h 734334"/>
                <a:gd name="connsiteX71" fmla="*/ 336188 w 1310283"/>
                <a:gd name="connsiteY71" fmla="*/ 641849 h 734334"/>
                <a:gd name="connsiteX72" fmla="*/ 369066 w 1310283"/>
                <a:gd name="connsiteY72" fmla="*/ 633359 h 734334"/>
                <a:gd name="connsiteX73" fmla="*/ 374708 w 1310283"/>
                <a:gd name="connsiteY73" fmla="*/ 619990 h 734334"/>
                <a:gd name="connsiteX74" fmla="*/ 404785 w 1310283"/>
                <a:gd name="connsiteY74" fmla="*/ 599936 h 734334"/>
                <a:gd name="connsiteX75" fmla="*/ 432548 w 1310283"/>
                <a:gd name="connsiteY75" fmla="*/ 592449 h 734334"/>
                <a:gd name="connsiteX76" fmla="*/ 431817 w 1310283"/>
                <a:gd name="connsiteY76" fmla="*/ 572963 h 734334"/>
                <a:gd name="connsiteX77" fmla="*/ 449149 w 1310283"/>
                <a:gd name="connsiteY77" fmla="*/ 569621 h 734334"/>
                <a:gd name="connsiteX78" fmla="*/ 475248 w 1310283"/>
                <a:gd name="connsiteY78" fmla="*/ 543584 h 734334"/>
                <a:gd name="connsiteX79" fmla="*/ 473300 w 1310283"/>
                <a:gd name="connsiteY79" fmla="*/ 567916 h 734334"/>
                <a:gd name="connsiteX80" fmla="*/ 486898 w 1310283"/>
                <a:gd name="connsiteY80" fmla="*/ 583057 h 734334"/>
                <a:gd name="connsiteX81" fmla="*/ 478333 w 1310283"/>
                <a:gd name="connsiteY81" fmla="*/ 605284 h 734334"/>
                <a:gd name="connsiteX82" fmla="*/ 458566 w 1310283"/>
                <a:gd name="connsiteY82" fmla="*/ 634830 h 734334"/>
                <a:gd name="connsiteX83" fmla="*/ 438758 w 1310283"/>
                <a:gd name="connsiteY83" fmla="*/ 677645 h 734334"/>
                <a:gd name="connsiteX84" fmla="*/ 412253 w 1310283"/>
                <a:gd name="connsiteY84" fmla="*/ 695661 h 734334"/>
                <a:gd name="connsiteX85" fmla="*/ 401619 w 1310283"/>
                <a:gd name="connsiteY85" fmla="*/ 721464 h 734334"/>
                <a:gd name="connsiteX86" fmla="*/ 419559 w 1310283"/>
                <a:gd name="connsiteY86" fmla="*/ 712306 h 734334"/>
                <a:gd name="connsiteX87" fmla="*/ 431127 w 1310283"/>
                <a:gd name="connsiteY87" fmla="*/ 696196 h 734334"/>
                <a:gd name="connsiteX88" fmla="*/ 456780 w 1310283"/>
                <a:gd name="connsiteY88" fmla="*/ 667351 h 734334"/>
                <a:gd name="connsiteX89" fmla="*/ 494285 w 1310283"/>
                <a:gd name="connsiteY89" fmla="*/ 623533 h 734334"/>
                <a:gd name="connsiteX90" fmla="*/ 522292 w 1310283"/>
                <a:gd name="connsiteY90" fmla="*/ 573865 h 734334"/>
                <a:gd name="connsiteX91" fmla="*/ 527244 w 1310283"/>
                <a:gd name="connsiteY91" fmla="*/ 557655 h 734334"/>
                <a:gd name="connsiteX92" fmla="*/ 538487 w 1310283"/>
                <a:gd name="connsiteY92" fmla="*/ 544286 h 734334"/>
                <a:gd name="connsiteX93" fmla="*/ 550136 w 1310283"/>
                <a:gd name="connsiteY93" fmla="*/ 523697 h 734334"/>
                <a:gd name="connsiteX94" fmla="*/ 568199 w 1310283"/>
                <a:gd name="connsiteY94" fmla="*/ 501904 h 734334"/>
                <a:gd name="connsiteX95" fmla="*/ 564424 w 1310283"/>
                <a:gd name="connsiteY95" fmla="*/ 494217 h 734334"/>
                <a:gd name="connsiteX96" fmla="*/ 573516 w 1310283"/>
                <a:gd name="connsiteY96" fmla="*/ 479343 h 734334"/>
                <a:gd name="connsiteX97" fmla="*/ 546280 w 1310283"/>
                <a:gd name="connsiteY97" fmla="*/ 475734 h 734334"/>
                <a:gd name="connsiteX98" fmla="*/ 562516 w 1310283"/>
                <a:gd name="connsiteY98" fmla="*/ 454142 h 734334"/>
                <a:gd name="connsiteX99" fmla="*/ 571000 w 1310283"/>
                <a:gd name="connsiteY99" fmla="*/ 424963 h 734334"/>
                <a:gd name="connsiteX100" fmla="*/ 582649 w 1310283"/>
                <a:gd name="connsiteY100" fmla="*/ 396587 h 734334"/>
                <a:gd name="connsiteX101" fmla="*/ 600914 w 1310283"/>
                <a:gd name="connsiteY101" fmla="*/ 369179 h 734334"/>
                <a:gd name="connsiteX102" fmla="*/ 607043 w 1310283"/>
                <a:gd name="connsiteY102" fmla="*/ 368812 h 734334"/>
                <a:gd name="connsiteX103" fmla="*/ 624740 w 1310283"/>
                <a:gd name="connsiteY103" fmla="*/ 359787 h 734334"/>
                <a:gd name="connsiteX104" fmla="*/ 633345 w 1310283"/>
                <a:gd name="connsiteY104" fmla="*/ 360055 h 734334"/>
                <a:gd name="connsiteX105" fmla="*/ 616095 w 1310283"/>
                <a:gd name="connsiteY105" fmla="*/ 371385 h 734334"/>
                <a:gd name="connsiteX106" fmla="*/ 596612 w 1310283"/>
                <a:gd name="connsiteY106" fmla="*/ 399829 h 734334"/>
                <a:gd name="connsiteX107" fmla="*/ 600955 w 1310283"/>
                <a:gd name="connsiteY107" fmla="*/ 422022 h 734334"/>
                <a:gd name="connsiteX108" fmla="*/ 612036 w 1310283"/>
                <a:gd name="connsiteY108" fmla="*/ 425732 h 734334"/>
                <a:gd name="connsiteX109" fmla="*/ 627135 w 1310283"/>
                <a:gd name="connsiteY109" fmla="*/ 423860 h 734334"/>
                <a:gd name="connsiteX110" fmla="*/ 662245 w 1310283"/>
                <a:gd name="connsiteY110" fmla="*/ 375363 h 734334"/>
                <a:gd name="connsiteX111" fmla="*/ 701902 w 1310283"/>
                <a:gd name="connsiteY111" fmla="*/ 344947 h 734334"/>
                <a:gd name="connsiteX112" fmla="*/ 685666 w 1310283"/>
                <a:gd name="connsiteY112" fmla="*/ 340034 h 734334"/>
                <a:gd name="connsiteX113" fmla="*/ 677954 w 1310283"/>
                <a:gd name="connsiteY113" fmla="*/ 323656 h 734334"/>
                <a:gd name="connsiteX114" fmla="*/ 716392 w 1310283"/>
                <a:gd name="connsiteY114" fmla="*/ 306042 h 734334"/>
                <a:gd name="connsiteX115" fmla="*/ 746226 w 1310283"/>
                <a:gd name="connsiteY115" fmla="*/ 294511 h 734334"/>
                <a:gd name="connsiteX116" fmla="*/ 729381 w 1310283"/>
                <a:gd name="connsiteY116" fmla="*/ 310120 h 734334"/>
                <a:gd name="connsiteX117" fmla="*/ 737255 w 1310283"/>
                <a:gd name="connsiteY117" fmla="*/ 312393 h 734334"/>
                <a:gd name="connsiteX118" fmla="*/ 753491 w 1310283"/>
                <a:gd name="connsiteY118" fmla="*/ 294110 h 734334"/>
                <a:gd name="connsiteX119" fmla="*/ 768509 w 1310283"/>
                <a:gd name="connsiteY119" fmla="*/ 289464 h 734334"/>
                <a:gd name="connsiteX120" fmla="*/ 779347 w 1310283"/>
                <a:gd name="connsiteY120" fmla="*/ 275393 h 734334"/>
                <a:gd name="connsiteX121" fmla="*/ 796395 w 1310283"/>
                <a:gd name="connsiteY121" fmla="*/ 274724 h 734334"/>
                <a:gd name="connsiteX122" fmla="*/ 834427 w 1310283"/>
                <a:gd name="connsiteY122" fmla="*/ 253734 h 734334"/>
                <a:gd name="connsiteX123" fmla="*/ 888127 w 1310283"/>
                <a:gd name="connsiteY123" fmla="*/ 218272 h 734334"/>
                <a:gd name="connsiteX124" fmla="*/ 932776 w 1310283"/>
                <a:gd name="connsiteY124" fmla="*/ 194006 h 734334"/>
                <a:gd name="connsiteX125" fmla="*/ 950311 w 1310283"/>
                <a:gd name="connsiteY125" fmla="*/ 184882 h 734334"/>
                <a:gd name="connsiteX126" fmla="*/ 957252 w 1310283"/>
                <a:gd name="connsiteY126" fmla="*/ 195945 h 734334"/>
                <a:gd name="connsiteX127" fmla="*/ 1019922 w 1310283"/>
                <a:gd name="connsiteY127" fmla="*/ 178431 h 734334"/>
                <a:gd name="connsiteX128" fmla="*/ 1056818 w 1310283"/>
                <a:gd name="connsiteY128" fmla="*/ 162087 h 734334"/>
                <a:gd name="connsiteX129" fmla="*/ 1078047 w 1310283"/>
                <a:gd name="connsiteY129" fmla="*/ 148918 h 734334"/>
                <a:gd name="connsiteX130" fmla="*/ 1097165 w 1310283"/>
                <a:gd name="connsiteY130" fmla="*/ 142400 h 734334"/>
                <a:gd name="connsiteX131" fmla="*/ 1075409 w 1310283"/>
                <a:gd name="connsiteY131" fmla="*/ 129900 h 734334"/>
                <a:gd name="connsiteX132" fmla="*/ 1093187 w 1310283"/>
                <a:gd name="connsiteY132" fmla="*/ 127861 h 734334"/>
                <a:gd name="connsiteX133" fmla="*/ 1111168 w 1310283"/>
                <a:gd name="connsiteY133" fmla="*/ 144573 h 734334"/>
                <a:gd name="connsiteX134" fmla="*/ 1089980 w 1310283"/>
                <a:gd name="connsiteY134" fmla="*/ 156338 h 734334"/>
                <a:gd name="connsiteX135" fmla="*/ 1072892 w 1310283"/>
                <a:gd name="connsiteY135" fmla="*/ 164025 h 734334"/>
                <a:gd name="connsiteX136" fmla="*/ 1116485 w 1310283"/>
                <a:gd name="connsiteY136" fmla="*/ 169841 h 734334"/>
                <a:gd name="connsiteX137" fmla="*/ 1141123 w 1310283"/>
                <a:gd name="connsiteY137" fmla="*/ 164594 h 734334"/>
                <a:gd name="connsiteX138" fmla="*/ 1120220 w 1310283"/>
                <a:gd name="connsiteY138" fmla="*/ 155636 h 734334"/>
                <a:gd name="connsiteX139" fmla="*/ 1132397 w 1310283"/>
                <a:gd name="connsiteY139" fmla="*/ 151291 h 734334"/>
                <a:gd name="connsiteX140" fmla="*/ 1149769 w 1310283"/>
                <a:gd name="connsiteY140" fmla="*/ 139894 h 734334"/>
                <a:gd name="connsiteX141" fmla="*/ 1137592 w 1310283"/>
                <a:gd name="connsiteY141" fmla="*/ 127126 h 734334"/>
                <a:gd name="connsiteX142" fmla="*/ 1166005 w 1310283"/>
                <a:gd name="connsiteY142" fmla="*/ 128630 h 734334"/>
                <a:gd name="connsiteX143" fmla="*/ 1161946 w 1310283"/>
                <a:gd name="connsiteY143" fmla="*/ 143771 h 734334"/>
                <a:gd name="connsiteX144" fmla="*/ 1150216 w 1310283"/>
                <a:gd name="connsiteY144" fmla="*/ 158778 h 734334"/>
                <a:gd name="connsiteX145" fmla="*/ 1165274 w 1310283"/>
                <a:gd name="connsiteY145" fmla="*/ 167134 h 734334"/>
                <a:gd name="connsiteX146" fmla="*/ 1168440 w 1310283"/>
                <a:gd name="connsiteY146" fmla="*/ 155837 h 734334"/>
                <a:gd name="connsiteX147" fmla="*/ 1180617 w 1310283"/>
                <a:gd name="connsiteY147" fmla="*/ 149152 h 734334"/>
                <a:gd name="connsiteX148" fmla="*/ 1199491 w 1310283"/>
                <a:gd name="connsiteY148" fmla="*/ 143637 h 734334"/>
                <a:gd name="connsiteX149" fmla="*/ 1219502 w 1310283"/>
                <a:gd name="connsiteY149" fmla="*/ 134078 h 734334"/>
                <a:gd name="connsiteX150" fmla="*/ 1193647 w 1310283"/>
                <a:gd name="connsiteY150" fmla="*/ 135983 h 734334"/>
                <a:gd name="connsiteX151" fmla="*/ 1216702 w 1310283"/>
                <a:gd name="connsiteY151" fmla="*/ 126324 h 734334"/>
                <a:gd name="connsiteX152" fmla="*/ 1227823 w 1310283"/>
                <a:gd name="connsiteY152" fmla="*/ 139192 h 734334"/>
                <a:gd name="connsiteX153" fmla="*/ 1202414 w 1310283"/>
                <a:gd name="connsiteY153" fmla="*/ 151993 h 734334"/>
                <a:gd name="connsiteX154" fmla="*/ 1201886 w 1310283"/>
                <a:gd name="connsiteY154" fmla="*/ 162020 h 734334"/>
                <a:gd name="connsiteX155" fmla="*/ 1214063 w 1310283"/>
                <a:gd name="connsiteY155" fmla="*/ 176492 h 734334"/>
                <a:gd name="connsiteX156" fmla="*/ 1224617 w 1310283"/>
                <a:gd name="connsiteY156" fmla="*/ 166031 h 734334"/>
                <a:gd name="connsiteX157" fmla="*/ 1245561 w 1310283"/>
                <a:gd name="connsiteY157" fmla="*/ 152895 h 734334"/>
                <a:gd name="connsiteX158" fmla="*/ 1259037 w 1310283"/>
                <a:gd name="connsiteY158" fmla="*/ 141899 h 734334"/>
                <a:gd name="connsiteX159" fmla="*/ 1269347 w 1310283"/>
                <a:gd name="connsiteY159" fmla="*/ 130702 h 734334"/>
                <a:gd name="connsiteX160" fmla="*/ 1282213 w 1310283"/>
                <a:gd name="connsiteY160" fmla="*/ 139492 h 734334"/>
                <a:gd name="connsiteX161" fmla="*/ 1294390 w 1310283"/>
                <a:gd name="connsiteY161" fmla="*/ 134579 h 734334"/>
                <a:gd name="connsiteX162" fmla="*/ 1309611 w 1310283"/>
                <a:gd name="connsiteY162" fmla="*/ 110949 h 734334"/>
                <a:gd name="connsiteX163" fmla="*/ 1291265 w 1310283"/>
                <a:gd name="connsiteY163" fmla="*/ 107205 h 734334"/>
                <a:gd name="connsiteX164" fmla="*/ 1291630 w 1310283"/>
                <a:gd name="connsiteY164" fmla="*/ 107239 h 73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310283" h="734334">
                  <a:moveTo>
                    <a:pt x="1291630" y="107239"/>
                  </a:moveTo>
                  <a:cubicBezTo>
                    <a:pt x="1290940" y="91229"/>
                    <a:pt x="1256398" y="107239"/>
                    <a:pt x="1238620" y="112353"/>
                  </a:cubicBezTo>
                  <a:cubicBezTo>
                    <a:pt x="1212561" y="119672"/>
                    <a:pt x="1195189" y="112085"/>
                    <a:pt x="1175625" y="109211"/>
                  </a:cubicBezTo>
                  <a:cubicBezTo>
                    <a:pt x="1152489" y="105868"/>
                    <a:pt x="1125293" y="111116"/>
                    <a:pt x="1098504" y="113957"/>
                  </a:cubicBezTo>
                  <a:cubicBezTo>
                    <a:pt x="1078940" y="116063"/>
                    <a:pt x="1073866" y="107272"/>
                    <a:pt x="1050771" y="125889"/>
                  </a:cubicBezTo>
                  <a:cubicBezTo>
                    <a:pt x="1040339" y="134312"/>
                    <a:pt x="1047970" y="135181"/>
                    <a:pt x="1043099" y="142902"/>
                  </a:cubicBezTo>
                  <a:cubicBezTo>
                    <a:pt x="1039649" y="148316"/>
                    <a:pt x="1026214" y="165496"/>
                    <a:pt x="1017649" y="167769"/>
                  </a:cubicBezTo>
                  <a:cubicBezTo>
                    <a:pt x="1004417" y="171111"/>
                    <a:pt x="991063" y="168805"/>
                    <a:pt x="977628" y="171111"/>
                  </a:cubicBezTo>
                  <a:cubicBezTo>
                    <a:pt x="962163" y="173952"/>
                    <a:pt x="959971" y="169072"/>
                    <a:pt x="947510" y="169674"/>
                  </a:cubicBezTo>
                  <a:cubicBezTo>
                    <a:pt x="929570" y="170576"/>
                    <a:pt x="908625" y="206440"/>
                    <a:pt x="891253" y="205504"/>
                  </a:cubicBezTo>
                  <a:cubicBezTo>
                    <a:pt x="888817" y="205504"/>
                    <a:pt x="886666" y="200658"/>
                    <a:pt x="885530" y="199454"/>
                  </a:cubicBezTo>
                  <a:lnTo>
                    <a:pt x="702470" y="6433"/>
                  </a:lnTo>
                  <a:lnTo>
                    <a:pt x="696016" y="-252"/>
                  </a:lnTo>
                  <a:cubicBezTo>
                    <a:pt x="694149" y="-2324"/>
                    <a:pt x="619383" y="33172"/>
                    <a:pt x="611874" y="39857"/>
                  </a:cubicBezTo>
                  <a:cubicBezTo>
                    <a:pt x="587195" y="60579"/>
                    <a:pt x="567793" y="70740"/>
                    <a:pt x="539421" y="85346"/>
                  </a:cubicBezTo>
                  <a:cubicBezTo>
                    <a:pt x="523185" y="93702"/>
                    <a:pt x="511211" y="105768"/>
                    <a:pt x="495624" y="114391"/>
                  </a:cubicBezTo>
                  <a:cubicBezTo>
                    <a:pt x="477237" y="124418"/>
                    <a:pt x="457714" y="129900"/>
                    <a:pt x="439083" y="139760"/>
                  </a:cubicBezTo>
                  <a:cubicBezTo>
                    <a:pt x="412180" y="154593"/>
                    <a:pt x="388232" y="172766"/>
                    <a:pt x="368091" y="193639"/>
                  </a:cubicBezTo>
                  <a:cubicBezTo>
                    <a:pt x="364032" y="197984"/>
                    <a:pt x="360420" y="197616"/>
                    <a:pt x="356158" y="198184"/>
                  </a:cubicBezTo>
                  <a:cubicBezTo>
                    <a:pt x="349664" y="199120"/>
                    <a:pt x="346822" y="203532"/>
                    <a:pt x="340977" y="206373"/>
                  </a:cubicBezTo>
                  <a:cubicBezTo>
                    <a:pt x="332859" y="210384"/>
                    <a:pt x="332454" y="198218"/>
                    <a:pt x="316624" y="209080"/>
                  </a:cubicBezTo>
                  <a:cubicBezTo>
                    <a:pt x="305283" y="217436"/>
                    <a:pt x="294587" y="226364"/>
                    <a:pt x="284598" y="235819"/>
                  </a:cubicBezTo>
                  <a:cubicBezTo>
                    <a:pt x="279930" y="239897"/>
                    <a:pt x="274004" y="244944"/>
                    <a:pt x="267956" y="245846"/>
                  </a:cubicBezTo>
                  <a:cubicBezTo>
                    <a:pt x="264263" y="246481"/>
                    <a:pt x="262274" y="242237"/>
                    <a:pt x="258743" y="243674"/>
                  </a:cubicBezTo>
                  <a:cubicBezTo>
                    <a:pt x="248352" y="247852"/>
                    <a:pt x="248352" y="262124"/>
                    <a:pt x="238772" y="269176"/>
                  </a:cubicBezTo>
                  <a:cubicBezTo>
                    <a:pt x="217097" y="285219"/>
                    <a:pt x="235525" y="262491"/>
                    <a:pt x="233861" y="260218"/>
                  </a:cubicBezTo>
                  <a:cubicBezTo>
                    <a:pt x="231263" y="256542"/>
                    <a:pt x="210928" y="269577"/>
                    <a:pt x="205976" y="272218"/>
                  </a:cubicBezTo>
                  <a:cubicBezTo>
                    <a:pt x="194692" y="278200"/>
                    <a:pt x="188725" y="295614"/>
                    <a:pt x="185438" y="302299"/>
                  </a:cubicBezTo>
                  <a:cubicBezTo>
                    <a:pt x="179593" y="314431"/>
                    <a:pt x="165427" y="326230"/>
                    <a:pt x="151504" y="335990"/>
                  </a:cubicBezTo>
                  <a:cubicBezTo>
                    <a:pt x="147811" y="338530"/>
                    <a:pt x="109453" y="367542"/>
                    <a:pt x="127151" y="363665"/>
                  </a:cubicBezTo>
                  <a:cubicBezTo>
                    <a:pt x="129911" y="363029"/>
                    <a:pt x="136852" y="359319"/>
                    <a:pt x="138029" y="361392"/>
                  </a:cubicBezTo>
                  <a:cubicBezTo>
                    <a:pt x="139206" y="363464"/>
                    <a:pt x="136527" y="368979"/>
                    <a:pt x="131940" y="370984"/>
                  </a:cubicBezTo>
                  <a:cubicBezTo>
                    <a:pt x="119520" y="376432"/>
                    <a:pt x="121143" y="372756"/>
                    <a:pt x="113675" y="383886"/>
                  </a:cubicBezTo>
                  <a:cubicBezTo>
                    <a:pt x="107546" y="393010"/>
                    <a:pt x="95856" y="402436"/>
                    <a:pt x="85749" y="409990"/>
                  </a:cubicBezTo>
                  <a:cubicBezTo>
                    <a:pt x="73937" y="418813"/>
                    <a:pt x="71258" y="424696"/>
                    <a:pt x="66956" y="435057"/>
                  </a:cubicBezTo>
                  <a:cubicBezTo>
                    <a:pt x="64724" y="440371"/>
                    <a:pt x="57458" y="452872"/>
                    <a:pt x="60624" y="456148"/>
                  </a:cubicBezTo>
                  <a:cubicBezTo>
                    <a:pt x="65495" y="461228"/>
                    <a:pt x="67281" y="465005"/>
                    <a:pt x="63952" y="474698"/>
                  </a:cubicBezTo>
                  <a:cubicBezTo>
                    <a:pt x="57377" y="493682"/>
                    <a:pt x="27787" y="516243"/>
                    <a:pt x="7614" y="532019"/>
                  </a:cubicBezTo>
                  <a:cubicBezTo>
                    <a:pt x="-7892" y="544185"/>
                    <a:pt x="2256" y="556285"/>
                    <a:pt x="18938" y="548196"/>
                  </a:cubicBezTo>
                  <a:cubicBezTo>
                    <a:pt x="53196" y="531484"/>
                    <a:pt x="74343" y="518516"/>
                    <a:pt x="105151" y="518917"/>
                  </a:cubicBezTo>
                  <a:cubicBezTo>
                    <a:pt x="125730" y="519218"/>
                    <a:pt x="136527" y="502473"/>
                    <a:pt x="156294" y="487065"/>
                  </a:cubicBezTo>
                  <a:cubicBezTo>
                    <a:pt x="168917" y="477037"/>
                    <a:pt x="169120" y="484491"/>
                    <a:pt x="174438" y="487867"/>
                  </a:cubicBezTo>
                  <a:cubicBezTo>
                    <a:pt x="183002" y="493348"/>
                    <a:pt x="199847" y="472224"/>
                    <a:pt x="210197" y="468280"/>
                  </a:cubicBezTo>
                  <a:cubicBezTo>
                    <a:pt x="225703" y="462298"/>
                    <a:pt x="202079" y="480847"/>
                    <a:pt x="200293" y="482352"/>
                  </a:cubicBezTo>
                  <a:cubicBezTo>
                    <a:pt x="186858" y="493348"/>
                    <a:pt x="186371" y="503809"/>
                    <a:pt x="175128" y="514405"/>
                  </a:cubicBezTo>
                  <a:cubicBezTo>
                    <a:pt x="170703" y="518549"/>
                    <a:pt x="167334" y="517313"/>
                    <a:pt x="162707" y="519485"/>
                  </a:cubicBezTo>
                  <a:cubicBezTo>
                    <a:pt x="156683" y="522761"/>
                    <a:pt x="151222" y="526705"/>
                    <a:pt x="146471" y="531184"/>
                  </a:cubicBezTo>
                  <a:cubicBezTo>
                    <a:pt x="136527" y="539840"/>
                    <a:pt x="124999" y="554346"/>
                    <a:pt x="122808" y="542313"/>
                  </a:cubicBezTo>
                  <a:cubicBezTo>
                    <a:pt x="119073" y="521858"/>
                    <a:pt x="83232" y="568117"/>
                    <a:pt x="79295" y="578712"/>
                  </a:cubicBezTo>
                  <a:cubicBezTo>
                    <a:pt x="78037" y="582054"/>
                    <a:pt x="86804" y="583625"/>
                    <a:pt x="79295" y="588271"/>
                  </a:cubicBezTo>
                  <a:cubicBezTo>
                    <a:pt x="61761" y="599067"/>
                    <a:pt x="57417" y="607890"/>
                    <a:pt x="46823" y="622463"/>
                  </a:cubicBezTo>
                  <a:cubicBezTo>
                    <a:pt x="23931" y="653547"/>
                    <a:pt x="47919" y="640278"/>
                    <a:pt x="72476" y="624335"/>
                  </a:cubicBezTo>
                  <a:cubicBezTo>
                    <a:pt x="77509" y="620993"/>
                    <a:pt x="90214" y="611199"/>
                    <a:pt x="85100" y="620525"/>
                  </a:cubicBezTo>
                  <a:cubicBezTo>
                    <a:pt x="78483" y="632557"/>
                    <a:pt x="84166" y="625371"/>
                    <a:pt x="93218" y="624803"/>
                  </a:cubicBezTo>
                  <a:cubicBezTo>
                    <a:pt x="119479" y="623065"/>
                    <a:pt x="139003" y="604949"/>
                    <a:pt x="161165" y="584695"/>
                  </a:cubicBezTo>
                  <a:cubicBezTo>
                    <a:pt x="171596" y="575102"/>
                    <a:pt x="178172" y="571960"/>
                    <a:pt x="190511" y="564941"/>
                  </a:cubicBezTo>
                  <a:cubicBezTo>
                    <a:pt x="200456" y="559326"/>
                    <a:pt x="204636" y="542548"/>
                    <a:pt x="209670" y="535094"/>
                  </a:cubicBezTo>
                  <a:cubicBezTo>
                    <a:pt x="215474" y="526471"/>
                    <a:pt x="225378" y="514472"/>
                    <a:pt x="237636" y="511497"/>
                  </a:cubicBezTo>
                  <a:cubicBezTo>
                    <a:pt x="247824" y="509024"/>
                    <a:pt x="244861" y="514104"/>
                    <a:pt x="239868" y="520421"/>
                  </a:cubicBezTo>
                  <a:cubicBezTo>
                    <a:pt x="230046" y="532922"/>
                    <a:pt x="291904" y="520421"/>
                    <a:pt x="248960" y="554480"/>
                  </a:cubicBezTo>
                  <a:cubicBezTo>
                    <a:pt x="238935" y="562468"/>
                    <a:pt x="225094" y="566312"/>
                    <a:pt x="228219" y="574868"/>
                  </a:cubicBezTo>
                  <a:cubicBezTo>
                    <a:pt x="231564" y="584059"/>
                    <a:pt x="226437" y="593920"/>
                    <a:pt x="216042" y="598264"/>
                  </a:cubicBezTo>
                  <a:cubicBezTo>
                    <a:pt x="187021" y="611166"/>
                    <a:pt x="174356" y="619689"/>
                    <a:pt x="192622" y="631889"/>
                  </a:cubicBezTo>
                  <a:cubicBezTo>
                    <a:pt x="195991" y="634128"/>
                    <a:pt x="183936" y="643219"/>
                    <a:pt x="181135" y="646428"/>
                  </a:cubicBezTo>
                  <a:cubicBezTo>
                    <a:pt x="171637" y="657458"/>
                    <a:pt x="180770" y="660566"/>
                    <a:pt x="176630" y="669824"/>
                  </a:cubicBezTo>
                  <a:cubicBezTo>
                    <a:pt x="175371" y="672732"/>
                    <a:pt x="164453" y="682325"/>
                    <a:pt x="167375" y="683194"/>
                  </a:cubicBezTo>
                  <a:cubicBezTo>
                    <a:pt x="173301" y="685099"/>
                    <a:pt x="190105" y="683595"/>
                    <a:pt x="198751" y="676710"/>
                  </a:cubicBezTo>
                  <a:cubicBezTo>
                    <a:pt x="220101" y="659664"/>
                    <a:pt x="213282" y="679818"/>
                    <a:pt x="217057" y="684731"/>
                  </a:cubicBezTo>
                  <a:cubicBezTo>
                    <a:pt x="217057" y="684397"/>
                    <a:pt x="273111" y="671964"/>
                    <a:pt x="277252" y="669490"/>
                  </a:cubicBezTo>
                  <a:cubicBezTo>
                    <a:pt x="293487" y="659463"/>
                    <a:pt x="303107" y="641314"/>
                    <a:pt x="303716" y="631722"/>
                  </a:cubicBezTo>
                  <a:cubicBezTo>
                    <a:pt x="303960" y="627778"/>
                    <a:pt x="322469" y="628012"/>
                    <a:pt x="324011" y="628145"/>
                  </a:cubicBezTo>
                  <a:cubicBezTo>
                    <a:pt x="337284" y="629181"/>
                    <a:pt x="329937" y="636401"/>
                    <a:pt x="336188" y="641849"/>
                  </a:cubicBezTo>
                  <a:cubicBezTo>
                    <a:pt x="345726" y="650071"/>
                    <a:pt x="353154" y="651876"/>
                    <a:pt x="369066" y="633359"/>
                  </a:cubicBezTo>
                  <a:cubicBezTo>
                    <a:pt x="374139" y="627510"/>
                    <a:pt x="371095" y="625204"/>
                    <a:pt x="374708" y="619990"/>
                  </a:cubicBezTo>
                  <a:cubicBezTo>
                    <a:pt x="382010" y="610932"/>
                    <a:pt x="392506" y="603947"/>
                    <a:pt x="404785" y="599936"/>
                  </a:cubicBezTo>
                  <a:cubicBezTo>
                    <a:pt x="408844" y="598666"/>
                    <a:pt x="429626" y="597229"/>
                    <a:pt x="432548" y="592449"/>
                  </a:cubicBezTo>
                  <a:cubicBezTo>
                    <a:pt x="434537" y="589106"/>
                    <a:pt x="420696" y="578277"/>
                    <a:pt x="431817" y="572963"/>
                  </a:cubicBezTo>
                  <a:cubicBezTo>
                    <a:pt x="438555" y="569621"/>
                    <a:pt x="438718" y="577308"/>
                    <a:pt x="449149" y="569621"/>
                  </a:cubicBezTo>
                  <a:cubicBezTo>
                    <a:pt x="452883" y="566780"/>
                    <a:pt x="474599" y="543082"/>
                    <a:pt x="475248" y="543584"/>
                  </a:cubicBezTo>
                  <a:cubicBezTo>
                    <a:pt x="479835" y="546926"/>
                    <a:pt x="470540" y="562368"/>
                    <a:pt x="473300" y="567916"/>
                  </a:cubicBezTo>
                  <a:cubicBezTo>
                    <a:pt x="475735" y="572863"/>
                    <a:pt x="488399" y="576305"/>
                    <a:pt x="486898" y="583057"/>
                  </a:cubicBezTo>
                  <a:cubicBezTo>
                    <a:pt x="485558" y="589274"/>
                    <a:pt x="480079" y="598331"/>
                    <a:pt x="478333" y="605284"/>
                  </a:cubicBezTo>
                  <a:cubicBezTo>
                    <a:pt x="475451" y="616481"/>
                    <a:pt x="465507" y="623834"/>
                    <a:pt x="458566" y="634830"/>
                  </a:cubicBezTo>
                  <a:cubicBezTo>
                    <a:pt x="452559" y="644356"/>
                    <a:pt x="448540" y="670292"/>
                    <a:pt x="438758" y="677645"/>
                  </a:cubicBezTo>
                  <a:cubicBezTo>
                    <a:pt x="430234" y="684063"/>
                    <a:pt x="420615" y="689010"/>
                    <a:pt x="412253" y="695661"/>
                  </a:cubicBezTo>
                  <a:cubicBezTo>
                    <a:pt x="400076" y="705320"/>
                    <a:pt x="404866" y="711938"/>
                    <a:pt x="401619" y="721464"/>
                  </a:cubicBezTo>
                  <a:cubicBezTo>
                    <a:pt x="393014" y="746699"/>
                    <a:pt x="410711" y="728683"/>
                    <a:pt x="419559" y="712306"/>
                  </a:cubicBezTo>
                  <a:cubicBezTo>
                    <a:pt x="423618" y="704953"/>
                    <a:pt x="417854" y="698201"/>
                    <a:pt x="431127" y="696196"/>
                  </a:cubicBezTo>
                  <a:cubicBezTo>
                    <a:pt x="442614" y="694458"/>
                    <a:pt x="448824" y="673601"/>
                    <a:pt x="456780" y="667351"/>
                  </a:cubicBezTo>
                  <a:cubicBezTo>
                    <a:pt x="467861" y="658561"/>
                    <a:pt x="497167" y="632023"/>
                    <a:pt x="494285" y="623533"/>
                  </a:cubicBezTo>
                  <a:cubicBezTo>
                    <a:pt x="489942" y="610966"/>
                    <a:pt x="509384" y="589173"/>
                    <a:pt x="522292" y="573865"/>
                  </a:cubicBezTo>
                  <a:cubicBezTo>
                    <a:pt x="529679" y="565075"/>
                    <a:pt x="524687" y="565142"/>
                    <a:pt x="527244" y="557655"/>
                  </a:cubicBezTo>
                  <a:cubicBezTo>
                    <a:pt x="528421" y="554313"/>
                    <a:pt x="536133" y="547828"/>
                    <a:pt x="538487" y="544286"/>
                  </a:cubicBezTo>
                  <a:cubicBezTo>
                    <a:pt x="542818" y="537601"/>
                    <a:pt x="546707" y="530716"/>
                    <a:pt x="550136" y="523697"/>
                  </a:cubicBezTo>
                  <a:cubicBezTo>
                    <a:pt x="553343" y="517513"/>
                    <a:pt x="567590" y="506985"/>
                    <a:pt x="568199" y="501904"/>
                  </a:cubicBezTo>
                  <a:cubicBezTo>
                    <a:pt x="568564" y="498562"/>
                    <a:pt x="565601" y="496757"/>
                    <a:pt x="564424" y="494217"/>
                  </a:cubicBezTo>
                  <a:cubicBezTo>
                    <a:pt x="562476" y="490005"/>
                    <a:pt x="571324" y="484558"/>
                    <a:pt x="573516" y="479343"/>
                  </a:cubicBezTo>
                  <a:cubicBezTo>
                    <a:pt x="582933" y="456649"/>
                    <a:pt x="538487" y="496055"/>
                    <a:pt x="546280" y="475734"/>
                  </a:cubicBezTo>
                  <a:cubicBezTo>
                    <a:pt x="549609" y="467010"/>
                    <a:pt x="554723" y="462097"/>
                    <a:pt x="562516" y="454142"/>
                  </a:cubicBezTo>
                  <a:cubicBezTo>
                    <a:pt x="574693" y="441675"/>
                    <a:pt x="564018" y="436461"/>
                    <a:pt x="571000" y="424963"/>
                  </a:cubicBezTo>
                  <a:cubicBezTo>
                    <a:pt x="575546" y="417476"/>
                    <a:pt x="575059" y="402570"/>
                    <a:pt x="582649" y="396587"/>
                  </a:cubicBezTo>
                  <a:cubicBezTo>
                    <a:pt x="593486" y="388164"/>
                    <a:pt x="590767" y="377201"/>
                    <a:pt x="600914" y="369179"/>
                  </a:cubicBezTo>
                  <a:cubicBezTo>
                    <a:pt x="602700" y="367809"/>
                    <a:pt x="605663" y="369012"/>
                    <a:pt x="607043" y="368812"/>
                  </a:cubicBezTo>
                  <a:cubicBezTo>
                    <a:pt x="613091" y="367943"/>
                    <a:pt x="618896" y="362394"/>
                    <a:pt x="624740" y="359787"/>
                  </a:cubicBezTo>
                  <a:cubicBezTo>
                    <a:pt x="628191" y="358250"/>
                    <a:pt x="633305" y="357180"/>
                    <a:pt x="633345" y="360055"/>
                  </a:cubicBezTo>
                  <a:cubicBezTo>
                    <a:pt x="633345" y="365202"/>
                    <a:pt x="620438" y="369213"/>
                    <a:pt x="616095" y="371385"/>
                  </a:cubicBezTo>
                  <a:cubicBezTo>
                    <a:pt x="603431" y="377636"/>
                    <a:pt x="592959" y="393044"/>
                    <a:pt x="596612" y="399829"/>
                  </a:cubicBezTo>
                  <a:cubicBezTo>
                    <a:pt x="599331" y="404909"/>
                    <a:pt x="594095" y="420585"/>
                    <a:pt x="600955" y="422022"/>
                  </a:cubicBezTo>
                  <a:cubicBezTo>
                    <a:pt x="607815" y="423459"/>
                    <a:pt x="626161" y="408653"/>
                    <a:pt x="612036" y="425732"/>
                  </a:cubicBezTo>
                  <a:cubicBezTo>
                    <a:pt x="597911" y="442811"/>
                    <a:pt x="615040" y="435458"/>
                    <a:pt x="627135" y="423860"/>
                  </a:cubicBezTo>
                  <a:cubicBezTo>
                    <a:pt x="642925" y="408686"/>
                    <a:pt x="649541" y="391038"/>
                    <a:pt x="662245" y="375363"/>
                  </a:cubicBezTo>
                  <a:cubicBezTo>
                    <a:pt x="665533" y="371285"/>
                    <a:pt x="701820" y="344880"/>
                    <a:pt x="701902" y="344947"/>
                  </a:cubicBezTo>
                  <a:cubicBezTo>
                    <a:pt x="697315" y="340101"/>
                    <a:pt x="695854" y="337828"/>
                    <a:pt x="685666" y="340034"/>
                  </a:cubicBezTo>
                  <a:cubicBezTo>
                    <a:pt x="668659" y="343711"/>
                    <a:pt x="672230" y="333817"/>
                    <a:pt x="677954" y="323656"/>
                  </a:cubicBezTo>
                  <a:cubicBezTo>
                    <a:pt x="680227" y="319579"/>
                    <a:pt x="712130" y="305340"/>
                    <a:pt x="716392" y="306042"/>
                  </a:cubicBezTo>
                  <a:cubicBezTo>
                    <a:pt x="718543" y="306343"/>
                    <a:pt x="750244" y="288328"/>
                    <a:pt x="746226" y="294511"/>
                  </a:cubicBezTo>
                  <a:cubicBezTo>
                    <a:pt x="742613" y="300026"/>
                    <a:pt x="732100" y="304304"/>
                    <a:pt x="729381" y="310120"/>
                  </a:cubicBezTo>
                  <a:cubicBezTo>
                    <a:pt x="727798" y="313462"/>
                    <a:pt x="732222" y="316270"/>
                    <a:pt x="737255" y="312393"/>
                  </a:cubicBezTo>
                  <a:cubicBezTo>
                    <a:pt x="744683" y="306744"/>
                    <a:pt x="743100" y="299291"/>
                    <a:pt x="753491" y="294110"/>
                  </a:cubicBezTo>
                  <a:cubicBezTo>
                    <a:pt x="758524" y="292506"/>
                    <a:pt x="763517" y="290935"/>
                    <a:pt x="768509" y="289464"/>
                  </a:cubicBezTo>
                  <a:cubicBezTo>
                    <a:pt x="775328" y="285788"/>
                    <a:pt x="773705" y="278000"/>
                    <a:pt x="779347" y="275393"/>
                  </a:cubicBezTo>
                  <a:cubicBezTo>
                    <a:pt x="784136" y="273187"/>
                    <a:pt x="786207" y="279638"/>
                    <a:pt x="796395" y="274724"/>
                  </a:cubicBezTo>
                  <a:cubicBezTo>
                    <a:pt x="809598" y="268397"/>
                    <a:pt x="822303" y="261385"/>
                    <a:pt x="834427" y="253734"/>
                  </a:cubicBezTo>
                  <a:cubicBezTo>
                    <a:pt x="844575" y="247050"/>
                    <a:pt x="877452" y="218873"/>
                    <a:pt x="888127" y="218272"/>
                  </a:cubicBezTo>
                  <a:cubicBezTo>
                    <a:pt x="907489" y="217135"/>
                    <a:pt x="923075" y="210852"/>
                    <a:pt x="932776" y="194006"/>
                  </a:cubicBezTo>
                  <a:cubicBezTo>
                    <a:pt x="935861" y="188725"/>
                    <a:pt x="943532" y="181773"/>
                    <a:pt x="950311" y="184882"/>
                  </a:cubicBezTo>
                  <a:cubicBezTo>
                    <a:pt x="957089" y="187990"/>
                    <a:pt x="933426" y="206507"/>
                    <a:pt x="957252" y="195945"/>
                  </a:cubicBezTo>
                  <a:cubicBezTo>
                    <a:pt x="976532" y="186757"/>
                    <a:pt x="997833" y="180804"/>
                    <a:pt x="1019922" y="178431"/>
                  </a:cubicBezTo>
                  <a:cubicBezTo>
                    <a:pt x="1028974" y="177462"/>
                    <a:pt x="1067494" y="171479"/>
                    <a:pt x="1056818" y="162087"/>
                  </a:cubicBezTo>
                  <a:cubicBezTo>
                    <a:pt x="1048701" y="155101"/>
                    <a:pt x="1067047" y="153397"/>
                    <a:pt x="1078047" y="148918"/>
                  </a:cubicBezTo>
                  <a:cubicBezTo>
                    <a:pt x="1081091" y="147715"/>
                    <a:pt x="1099438" y="146311"/>
                    <a:pt x="1097165" y="142400"/>
                  </a:cubicBezTo>
                  <a:cubicBezTo>
                    <a:pt x="1094202" y="137153"/>
                    <a:pt x="1074232" y="136418"/>
                    <a:pt x="1075409" y="129900"/>
                  </a:cubicBezTo>
                  <a:cubicBezTo>
                    <a:pt x="1075896" y="126992"/>
                    <a:pt x="1091969" y="127761"/>
                    <a:pt x="1093187" y="127861"/>
                  </a:cubicBezTo>
                  <a:cubicBezTo>
                    <a:pt x="1104268" y="128763"/>
                    <a:pt x="1110072" y="137086"/>
                    <a:pt x="1111168" y="144573"/>
                  </a:cubicBezTo>
                  <a:cubicBezTo>
                    <a:pt x="1112061" y="150790"/>
                    <a:pt x="1096272" y="157541"/>
                    <a:pt x="1089980" y="156338"/>
                  </a:cubicBezTo>
                  <a:cubicBezTo>
                    <a:pt x="1083689" y="155135"/>
                    <a:pt x="1079427" y="156338"/>
                    <a:pt x="1072892" y="164025"/>
                  </a:cubicBezTo>
                  <a:cubicBezTo>
                    <a:pt x="1057671" y="182275"/>
                    <a:pt x="1112183" y="165496"/>
                    <a:pt x="1116485" y="169841"/>
                  </a:cubicBezTo>
                  <a:cubicBezTo>
                    <a:pt x="1120788" y="174186"/>
                    <a:pt x="1155614" y="176526"/>
                    <a:pt x="1141123" y="164594"/>
                  </a:cubicBezTo>
                  <a:cubicBezTo>
                    <a:pt x="1135847" y="160215"/>
                    <a:pt x="1124076" y="160683"/>
                    <a:pt x="1120220" y="155636"/>
                  </a:cubicBezTo>
                  <a:cubicBezTo>
                    <a:pt x="1115146" y="148951"/>
                    <a:pt x="1129068" y="144874"/>
                    <a:pt x="1132397" y="151291"/>
                  </a:cubicBezTo>
                  <a:cubicBezTo>
                    <a:pt x="1137876" y="161318"/>
                    <a:pt x="1144898" y="145542"/>
                    <a:pt x="1149769" y="139894"/>
                  </a:cubicBezTo>
                  <a:cubicBezTo>
                    <a:pt x="1156872" y="131605"/>
                    <a:pt x="1137592" y="132774"/>
                    <a:pt x="1137592" y="127126"/>
                  </a:cubicBezTo>
                  <a:cubicBezTo>
                    <a:pt x="1137592" y="120207"/>
                    <a:pt x="1164422" y="125622"/>
                    <a:pt x="1166005" y="128630"/>
                  </a:cubicBezTo>
                  <a:cubicBezTo>
                    <a:pt x="1166979" y="130334"/>
                    <a:pt x="1163367" y="141398"/>
                    <a:pt x="1161946" y="143771"/>
                  </a:cubicBezTo>
                  <a:cubicBezTo>
                    <a:pt x="1158130" y="150255"/>
                    <a:pt x="1146400" y="152661"/>
                    <a:pt x="1150216" y="158778"/>
                  </a:cubicBezTo>
                  <a:cubicBezTo>
                    <a:pt x="1151474" y="160850"/>
                    <a:pt x="1158861" y="170476"/>
                    <a:pt x="1165274" y="167134"/>
                  </a:cubicBezTo>
                  <a:cubicBezTo>
                    <a:pt x="1169942" y="164727"/>
                    <a:pt x="1167020" y="158410"/>
                    <a:pt x="1168440" y="155837"/>
                  </a:cubicBezTo>
                  <a:cubicBezTo>
                    <a:pt x="1173664" y="155569"/>
                    <a:pt x="1178312" y="153019"/>
                    <a:pt x="1180617" y="149152"/>
                  </a:cubicBezTo>
                  <a:cubicBezTo>
                    <a:pt x="1186381" y="139125"/>
                    <a:pt x="1189709" y="144205"/>
                    <a:pt x="1199491" y="143637"/>
                  </a:cubicBezTo>
                  <a:cubicBezTo>
                    <a:pt x="1202982" y="143436"/>
                    <a:pt x="1231314" y="136117"/>
                    <a:pt x="1219502" y="134078"/>
                  </a:cubicBezTo>
                  <a:cubicBezTo>
                    <a:pt x="1211384" y="132707"/>
                    <a:pt x="1195148" y="143771"/>
                    <a:pt x="1193647" y="135983"/>
                  </a:cubicBezTo>
                  <a:cubicBezTo>
                    <a:pt x="1191901" y="127193"/>
                    <a:pt x="1210735" y="125956"/>
                    <a:pt x="1216702" y="126324"/>
                  </a:cubicBezTo>
                  <a:cubicBezTo>
                    <a:pt x="1227742" y="126792"/>
                    <a:pt x="1236509" y="128529"/>
                    <a:pt x="1227823" y="139192"/>
                  </a:cubicBezTo>
                  <a:cubicBezTo>
                    <a:pt x="1218122" y="151124"/>
                    <a:pt x="1218569" y="149787"/>
                    <a:pt x="1202414" y="151993"/>
                  </a:cubicBezTo>
                  <a:cubicBezTo>
                    <a:pt x="1184879" y="154399"/>
                    <a:pt x="1195270" y="160583"/>
                    <a:pt x="1201886" y="162020"/>
                  </a:cubicBezTo>
                  <a:cubicBezTo>
                    <a:pt x="1212074" y="164193"/>
                    <a:pt x="1205945" y="174353"/>
                    <a:pt x="1214063" y="176492"/>
                  </a:cubicBezTo>
                  <a:cubicBezTo>
                    <a:pt x="1227864" y="180035"/>
                    <a:pt x="1224860" y="169808"/>
                    <a:pt x="1224617" y="166031"/>
                  </a:cubicBezTo>
                  <a:cubicBezTo>
                    <a:pt x="1224089" y="158912"/>
                    <a:pt x="1250472" y="163725"/>
                    <a:pt x="1245561" y="152895"/>
                  </a:cubicBezTo>
                  <a:cubicBezTo>
                    <a:pt x="1242720" y="146578"/>
                    <a:pt x="1243937" y="140596"/>
                    <a:pt x="1259037" y="141899"/>
                  </a:cubicBezTo>
                  <a:cubicBezTo>
                    <a:pt x="1265977" y="142500"/>
                    <a:pt x="1263096" y="133643"/>
                    <a:pt x="1269347" y="130702"/>
                  </a:cubicBezTo>
                  <a:cubicBezTo>
                    <a:pt x="1280914" y="125254"/>
                    <a:pt x="1275354" y="141732"/>
                    <a:pt x="1282213" y="139492"/>
                  </a:cubicBezTo>
                  <a:cubicBezTo>
                    <a:pt x="1290575" y="136785"/>
                    <a:pt x="1288302" y="129800"/>
                    <a:pt x="1294390" y="134579"/>
                  </a:cubicBezTo>
                  <a:cubicBezTo>
                    <a:pt x="1297678" y="130201"/>
                    <a:pt x="1313508" y="113990"/>
                    <a:pt x="1309611" y="110949"/>
                  </a:cubicBezTo>
                  <a:cubicBezTo>
                    <a:pt x="1305715" y="107907"/>
                    <a:pt x="1291549" y="113456"/>
                    <a:pt x="1291265" y="107205"/>
                  </a:cubicBezTo>
                  <a:cubicBezTo>
                    <a:pt x="1291265" y="99384"/>
                    <a:pt x="1291874" y="115026"/>
                    <a:pt x="1291630" y="1072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898B7AA6-1920-4018-83E4-83002D56FD61}"/>
                </a:ext>
              </a:extLst>
            </p:cNvPr>
            <p:cNvSpPr/>
            <p:nvPr/>
          </p:nvSpPr>
          <p:spPr>
            <a:xfrm>
              <a:off x="864710" y="5312038"/>
              <a:ext cx="58215" cy="75051"/>
            </a:xfrm>
            <a:custGeom>
              <a:avLst/>
              <a:gdLst>
                <a:gd name="connsiteX0" fmla="*/ 43006 w 58215"/>
                <a:gd name="connsiteY0" fmla="*/ 629 h 75051"/>
                <a:gd name="connsiteX1" fmla="*/ 14594 w 58215"/>
                <a:gd name="connsiteY1" fmla="*/ 52837 h 75051"/>
                <a:gd name="connsiteX2" fmla="*/ 6476 w 58215"/>
                <a:gd name="connsiteY2" fmla="*/ 74128 h 75051"/>
                <a:gd name="connsiteX3" fmla="*/ 32047 w 58215"/>
                <a:gd name="connsiteY3" fmla="*/ 60992 h 75051"/>
                <a:gd name="connsiteX4" fmla="*/ 54980 w 58215"/>
                <a:gd name="connsiteY4" fmla="*/ 18410 h 75051"/>
                <a:gd name="connsiteX5" fmla="*/ 46619 w 58215"/>
                <a:gd name="connsiteY5" fmla="*/ 11726 h 75051"/>
                <a:gd name="connsiteX6" fmla="*/ 42803 w 58215"/>
                <a:gd name="connsiteY6" fmla="*/ 763 h 75051"/>
                <a:gd name="connsiteX7" fmla="*/ 43006 w 58215"/>
                <a:gd name="connsiteY7" fmla="*/ 629 h 7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15" h="75051">
                  <a:moveTo>
                    <a:pt x="43006" y="629"/>
                  </a:moveTo>
                  <a:cubicBezTo>
                    <a:pt x="36066" y="-8429"/>
                    <a:pt x="16420" y="50765"/>
                    <a:pt x="14594" y="52837"/>
                  </a:cubicBezTo>
                  <a:cubicBezTo>
                    <a:pt x="5664" y="62630"/>
                    <a:pt x="-8461" y="70183"/>
                    <a:pt x="6476" y="74128"/>
                  </a:cubicBezTo>
                  <a:cubicBezTo>
                    <a:pt x="19099" y="77470"/>
                    <a:pt x="20276" y="65604"/>
                    <a:pt x="32047" y="60992"/>
                  </a:cubicBezTo>
                  <a:cubicBezTo>
                    <a:pt x="43818" y="56379"/>
                    <a:pt x="66508" y="17541"/>
                    <a:pt x="54980" y="18410"/>
                  </a:cubicBezTo>
                  <a:cubicBezTo>
                    <a:pt x="45482" y="19146"/>
                    <a:pt x="32412" y="25095"/>
                    <a:pt x="46619" y="11726"/>
                  </a:cubicBezTo>
                  <a:cubicBezTo>
                    <a:pt x="64762" y="-5554"/>
                    <a:pt x="47349" y="6746"/>
                    <a:pt x="42803" y="763"/>
                  </a:cubicBezTo>
                  <a:cubicBezTo>
                    <a:pt x="40327" y="-2947"/>
                    <a:pt x="45726" y="4205"/>
                    <a:pt x="43006" y="62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A01C664E-1BD5-4080-87C3-BD6B6FA4D62F}"/>
                </a:ext>
              </a:extLst>
            </p:cNvPr>
            <p:cNvSpPr/>
            <p:nvPr/>
          </p:nvSpPr>
          <p:spPr>
            <a:xfrm>
              <a:off x="862871" y="5310599"/>
              <a:ext cx="62157" cy="78016"/>
            </a:xfrm>
            <a:custGeom>
              <a:avLst/>
              <a:gdLst>
                <a:gd name="connsiteX0" fmla="*/ 20288 w 62157"/>
                <a:gd name="connsiteY0" fmla="*/ 74697 h 78016"/>
                <a:gd name="connsiteX1" fmla="*/ 7178 w 62157"/>
                <a:gd name="connsiteY1" fmla="*/ 77070 h 78016"/>
                <a:gd name="connsiteX2" fmla="*/ -47 w 62157"/>
                <a:gd name="connsiteY2" fmla="*/ 71221 h 78016"/>
                <a:gd name="connsiteX3" fmla="*/ 8639 w 62157"/>
                <a:gd name="connsiteY3" fmla="*/ 60158 h 78016"/>
                <a:gd name="connsiteX4" fmla="*/ 15052 w 62157"/>
                <a:gd name="connsiteY4" fmla="*/ 53908 h 78016"/>
                <a:gd name="connsiteX5" fmla="*/ 18705 w 62157"/>
                <a:gd name="connsiteY5" fmla="*/ 44683 h 78016"/>
                <a:gd name="connsiteX6" fmla="*/ 40583 w 62157"/>
                <a:gd name="connsiteY6" fmla="*/ 964 h 78016"/>
                <a:gd name="connsiteX7" fmla="*/ 43627 w 62157"/>
                <a:gd name="connsiteY7" fmla="*/ -339 h 78016"/>
                <a:gd name="connsiteX8" fmla="*/ 44277 w 62157"/>
                <a:gd name="connsiteY8" fmla="*/ -339 h 78016"/>
                <a:gd name="connsiteX9" fmla="*/ 44804 w 62157"/>
                <a:gd name="connsiteY9" fmla="*/ -339 h 78016"/>
                <a:gd name="connsiteX10" fmla="*/ 45900 w 62157"/>
                <a:gd name="connsiteY10" fmla="*/ -5 h 78016"/>
                <a:gd name="connsiteX11" fmla="*/ 45900 w 62157"/>
                <a:gd name="connsiteY11" fmla="*/ -5 h 78016"/>
                <a:gd name="connsiteX12" fmla="*/ 46266 w 62157"/>
                <a:gd name="connsiteY12" fmla="*/ 497 h 78016"/>
                <a:gd name="connsiteX13" fmla="*/ 46672 w 62157"/>
                <a:gd name="connsiteY13" fmla="*/ 1031 h 78016"/>
                <a:gd name="connsiteX14" fmla="*/ 46672 w 62157"/>
                <a:gd name="connsiteY14" fmla="*/ 1031 h 78016"/>
                <a:gd name="connsiteX15" fmla="*/ 54059 w 62157"/>
                <a:gd name="connsiteY15" fmla="*/ 2168 h 78016"/>
                <a:gd name="connsiteX16" fmla="*/ 58645 w 62157"/>
                <a:gd name="connsiteY16" fmla="*/ 2870 h 78016"/>
                <a:gd name="connsiteX17" fmla="*/ 49919 w 62157"/>
                <a:gd name="connsiteY17" fmla="*/ 13666 h 78016"/>
                <a:gd name="connsiteX18" fmla="*/ 44317 w 62157"/>
                <a:gd name="connsiteY18" fmla="*/ 20350 h 78016"/>
                <a:gd name="connsiteX19" fmla="*/ 50365 w 62157"/>
                <a:gd name="connsiteY19" fmla="*/ 19715 h 78016"/>
                <a:gd name="connsiteX20" fmla="*/ 57793 w 62157"/>
                <a:gd name="connsiteY20" fmla="*/ 18545 h 78016"/>
                <a:gd name="connsiteX21" fmla="*/ 62096 w 62157"/>
                <a:gd name="connsiteY21" fmla="*/ 22423 h 78016"/>
                <a:gd name="connsiteX22" fmla="*/ 37742 w 62157"/>
                <a:gd name="connsiteY22" fmla="*/ 61863 h 78016"/>
                <a:gd name="connsiteX23" fmla="*/ 37742 w 62157"/>
                <a:gd name="connsiteY23" fmla="*/ 61863 h 78016"/>
                <a:gd name="connsiteX24" fmla="*/ 34007 w 62157"/>
                <a:gd name="connsiteY24" fmla="*/ 63968 h 78016"/>
                <a:gd name="connsiteX25" fmla="*/ 24875 w 62157"/>
                <a:gd name="connsiteY25" fmla="*/ 70653 h 78016"/>
                <a:gd name="connsiteX26" fmla="*/ 20288 w 62157"/>
                <a:gd name="connsiteY26" fmla="*/ 74697 h 78016"/>
                <a:gd name="connsiteX27" fmla="*/ 42207 w 62157"/>
                <a:gd name="connsiteY27" fmla="*/ 2636 h 78016"/>
                <a:gd name="connsiteX28" fmla="*/ 22480 w 62157"/>
                <a:gd name="connsiteY28" fmla="*/ 43981 h 78016"/>
                <a:gd name="connsiteX29" fmla="*/ 17934 w 62157"/>
                <a:gd name="connsiteY29" fmla="*/ 54609 h 78016"/>
                <a:gd name="connsiteX30" fmla="*/ 11074 w 62157"/>
                <a:gd name="connsiteY30" fmla="*/ 61294 h 78016"/>
                <a:gd name="connsiteX31" fmla="*/ 3849 w 62157"/>
                <a:gd name="connsiteY31" fmla="*/ 69851 h 78016"/>
                <a:gd name="connsiteX32" fmla="*/ 9897 w 62157"/>
                <a:gd name="connsiteY32" fmla="*/ 74095 h 78016"/>
                <a:gd name="connsiteX33" fmla="*/ 18502 w 62157"/>
                <a:gd name="connsiteY33" fmla="*/ 73026 h 78016"/>
                <a:gd name="connsiteX34" fmla="*/ 22277 w 62157"/>
                <a:gd name="connsiteY34" fmla="*/ 69684 h 78016"/>
                <a:gd name="connsiteX35" fmla="*/ 34048 w 62157"/>
                <a:gd name="connsiteY35" fmla="*/ 61227 h 78016"/>
                <a:gd name="connsiteX36" fmla="*/ 36037 w 62157"/>
                <a:gd name="connsiteY36" fmla="*/ 60058 h 78016"/>
                <a:gd name="connsiteX37" fmla="*/ 36037 w 62157"/>
                <a:gd name="connsiteY37" fmla="*/ 60058 h 78016"/>
                <a:gd name="connsiteX38" fmla="*/ 58199 w 62157"/>
                <a:gd name="connsiteY38" fmla="*/ 23860 h 78016"/>
                <a:gd name="connsiteX39" fmla="*/ 56210 w 62157"/>
                <a:gd name="connsiteY39" fmla="*/ 21453 h 78016"/>
                <a:gd name="connsiteX40" fmla="*/ 49350 w 62157"/>
                <a:gd name="connsiteY40" fmla="*/ 22523 h 78016"/>
                <a:gd name="connsiteX41" fmla="*/ 40502 w 62157"/>
                <a:gd name="connsiteY41" fmla="*/ 22289 h 78016"/>
                <a:gd name="connsiteX42" fmla="*/ 47402 w 62157"/>
                <a:gd name="connsiteY42" fmla="*/ 12630 h 78016"/>
                <a:gd name="connsiteX43" fmla="*/ 54708 w 62157"/>
                <a:gd name="connsiteY43" fmla="*/ 4909 h 78016"/>
                <a:gd name="connsiteX44" fmla="*/ 52719 w 62157"/>
                <a:gd name="connsiteY44" fmla="*/ 5142 h 78016"/>
                <a:gd name="connsiteX45" fmla="*/ 44601 w 62157"/>
                <a:gd name="connsiteY45" fmla="*/ 4741 h 78016"/>
                <a:gd name="connsiteX46" fmla="*/ 43749 w 62157"/>
                <a:gd name="connsiteY46" fmla="*/ 4374 h 78016"/>
                <a:gd name="connsiteX47" fmla="*/ 43749 w 62157"/>
                <a:gd name="connsiteY47" fmla="*/ 4374 h 78016"/>
                <a:gd name="connsiteX48" fmla="*/ 43343 w 62157"/>
                <a:gd name="connsiteY48" fmla="*/ 3839 h 78016"/>
                <a:gd name="connsiteX49" fmla="*/ 42897 w 62157"/>
                <a:gd name="connsiteY49" fmla="*/ 3237 h 78016"/>
                <a:gd name="connsiteX50" fmla="*/ 42207 w 62157"/>
                <a:gd name="connsiteY50" fmla="*/ 2636 h 7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157" h="78016">
                  <a:moveTo>
                    <a:pt x="20288" y="74697"/>
                  </a:moveTo>
                  <a:cubicBezTo>
                    <a:pt x="16834" y="77505"/>
                    <a:pt x="11740" y="78407"/>
                    <a:pt x="7178" y="77070"/>
                  </a:cubicBezTo>
                  <a:cubicBezTo>
                    <a:pt x="2063" y="75733"/>
                    <a:pt x="-250" y="73728"/>
                    <a:pt x="-47" y="71221"/>
                  </a:cubicBezTo>
                  <a:cubicBezTo>
                    <a:pt x="196" y="67879"/>
                    <a:pt x="4296" y="64135"/>
                    <a:pt x="8639" y="60158"/>
                  </a:cubicBezTo>
                  <a:cubicBezTo>
                    <a:pt x="10908" y="58153"/>
                    <a:pt x="13047" y="56080"/>
                    <a:pt x="15052" y="53908"/>
                  </a:cubicBezTo>
                  <a:cubicBezTo>
                    <a:pt x="15336" y="53406"/>
                    <a:pt x="16960" y="49161"/>
                    <a:pt x="18705" y="44683"/>
                  </a:cubicBezTo>
                  <a:cubicBezTo>
                    <a:pt x="28122" y="20117"/>
                    <a:pt x="34941" y="5076"/>
                    <a:pt x="40583" y="964"/>
                  </a:cubicBezTo>
                  <a:cubicBezTo>
                    <a:pt x="41440" y="330"/>
                    <a:pt x="42491" y="-138"/>
                    <a:pt x="43627" y="-339"/>
                  </a:cubicBezTo>
                  <a:lnTo>
                    <a:pt x="44277" y="-339"/>
                  </a:lnTo>
                  <a:lnTo>
                    <a:pt x="44804" y="-339"/>
                  </a:lnTo>
                  <a:cubicBezTo>
                    <a:pt x="45332" y="-339"/>
                    <a:pt x="45535" y="-339"/>
                    <a:pt x="45900" y="-5"/>
                  </a:cubicBezTo>
                  <a:lnTo>
                    <a:pt x="45900" y="-5"/>
                  </a:lnTo>
                  <a:lnTo>
                    <a:pt x="46266" y="497"/>
                  </a:lnTo>
                  <a:lnTo>
                    <a:pt x="46672" y="1031"/>
                  </a:lnTo>
                  <a:lnTo>
                    <a:pt x="46672" y="1031"/>
                  </a:lnTo>
                  <a:cubicBezTo>
                    <a:pt x="48173" y="3004"/>
                    <a:pt x="51299" y="2569"/>
                    <a:pt x="54059" y="2168"/>
                  </a:cubicBezTo>
                  <a:cubicBezTo>
                    <a:pt x="56088" y="1900"/>
                    <a:pt x="58118" y="1600"/>
                    <a:pt x="58645" y="2870"/>
                  </a:cubicBezTo>
                  <a:cubicBezTo>
                    <a:pt x="59173" y="4140"/>
                    <a:pt x="56941" y="6947"/>
                    <a:pt x="49919" y="13666"/>
                  </a:cubicBezTo>
                  <a:cubicBezTo>
                    <a:pt x="44155" y="19181"/>
                    <a:pt x="44317" y="20350"/>
                    <a:pt x="44317" y="20350"/>
                  </a:cubicBezTo>
                  <a:cubicBezTo>
                    <a:pt x="44317" y="20350"/>
                    <a:pt x="48052" y="20350"/>
                    <a:pt x="50365" y="19715"/>
                  </a:cubicBezTo>
                  <a:cubicBezTo>
                    <a:pt x="52809" y="19181"/>
                    <a:pt x="55289" y="18813"/>
                    <a:pt x="57793" y="18545"/>
                  </a:cubicBezTo>
                  <a:cubicBezTo>
                    <a:pt x="59701" y="18545"/>
                    <a:pt x="61852" y="18946"/>
                    <a:pt x="62096" y="22423"/>
                  </a:cubicBezTo>
                  <a:cubicBezTo>
                    <a:pt x="62299" y="31246"/>
                    <a:pt x="47970" y="54442"/>
                    <a:pt x="37742" y="61863"/>
                  </a:cubicBezTo>
                  <a:lnTo>
                    <a:pt x="37742" y="61863"/>
                  </a:lnTo>
                  <a:cubicBezTo>
                    <a:pt x="36626" y="62698"/>
                    <a:pt x="35367" y="63433"/>
                    <a:pt x="34007" y="63968"/>
                  </a:cubicBezTo>
                  <a:cubicBezTo>
                    <a:pt x="30432" y="65639"/>
                    <a:pt x="27318" y="67912"/>
                    <a:pt x="24875" y="70653"/>
                  </a:cubicBezTo>
                  <a:cubicBezTo>
                    <a:pt x="23466" y="72090"/>
                    <a:pt x="21932" y="73427"/>
                    <a:pt x="20288" y="74697"/>
                  </a:cubicBezTo>
                  <a:close/>
                  <a:moveTo>
                    <a:pt x="42207" y="2636"/>
                  </a:moveTo>
                  <a:cubicBezTo>
                    <a:pt x="36971" y="6479"/>
                    <a:pt x="26742" y="32717"/>
                    <a:pt x="22480" y="43981"/>
                  </a:cubicBezTo>
                  <a:cubicBezTo>
                    <a:pt x="21429" y="47658"/>
                    <a:pt x="19907" y="51200"/>
                    <a:pt x="17934" y="54609"/>
                  </a:cubicBezTo>
                  <a:cubicBezTo>
                    <a:pt x="15742" y="57016"/>
                    <a:pt x="13266" y="59289"/>
                    <a:pt x="11074" y="61294"/>
                  </a:cubicBezTo>
                  <a:cubicBezTo>
                    <a:pt x="7259" y="64637"/>
                    <a:pt x="4012" y="67745"/>
                    <a:pt x="3849" y="69851"/>
                  </a:cubicBezTo>
                  <a:cubicBezTo>
                    <a:pt x="3687" y="71957"/>
                    <a:pt x="5716" y="73193"/>
                    <a:pt x="9897" y="74095"/>
                  </a:cubicBezTo>
                  <a:cubicBezTo>
                    <a:pt x="12759" y="75232"/>
                    <a:pt x="16180" y="74831"/>
                    <a:pt x="18502" y="73026"/>
                  </a:cubicBezTo>
                  <a:cubicBezTo>
                    <a:pt x="19854" y="71990"/>
                    <a:pt x="21116" y="70853"/>
                    <a:pt x="22277" y="69684"/>
                  </a:cubicBezTo>
                  <a:cubicBezTo>
                    <a:pt x="25455" y="66241"/>
                    <a:pt x="29461" y="63366"/>
                    <a:pt x="34048" y="61227"/>
                  </a:cubicBezTo>
                  <a:cubicBezTo>
                    <a:pt x="34779" y="60927"/>
                    <a:pt x="35448" y="60526"/>
                    <a:pt x="36037" y="60058"/>
                  </a:cubicBezTo>
                  <a:lnTo>
                    <a:pt x="36037" y="60058"/>
                  </a:lnTo>
                  <a:cubicBezTo>
                    <a:pt x="44926" y="53607"/>
                    <a:pt x="58402" y="31647"/>
                    <a:pt x="58199" y="23860"/>
                  </a:cubicBezTo>
                  <a:cubicBezTo>
                    <a:pt x="58199" y="22155"/>
                    <a:pt x="57468" y="21353"/>
                    <a:pt x="56210" y="21453"/>
                  </a:cubicBezTo>
                  <a:cubicBezTo>
                    <a:pt x="53897" y="21687"/>
                    <a:pt x="51603" y="22021"/>
                    <a:pt x="49350" y="22523"/>
                  </a:cubicBezTo>
                  <a:cubicBezTo>
                    <a:pt x="45007" y="23392"/>
                    <a:pt x="41232" y="24127"/>
                    <a:pt x="40502" y="22289"/>
                  </a:cubicBezTo>
                  <a:cubicBezTo>
                    <a:pt x="39771" y="20451"/>
                    <a:pt x="41882" y="17877"/>
                    <a:pt x="47402" y="12630"/>
                  </a:cubicBezTo>
                  <a:cubicBezTo>
                    <a:pt x="50138" y="10256"/>
                    <a:pt x="52585" y="7683"/>
                    <a:pt x="54708" y="4909"/>
                  </a:cubicBezTo>
                  <a:cubicBezTo>
                    <a:pt x="54039" y="4942"/>
                    <a:pt x="53377" y="5042"/>
                    <a:pt x="52719" y="5142"/>
                  </a:cubicBezTo>
                  <a:cubicBezTo>
                    <a:pt x="50036" y="5778"/>
                    <a:pt x="47171" y="5644"/>
                    <a:pt x="44601" y="4741"/>
                  </a:cubicBezTo>
                  <a:cubicBezTo>
                    <a:pt x="44236" y="4741"/>
                    <a:pt x="44074" y="4741"/>
                    <a:pt x="43749" y="4374"/>
                  </a:cubicBezTo>
                  <a:lnTo>
                    <a:pt x="43749" y="4374"/>
                  </a:lnTo>
                  <a:cubicBezTo>
                    <a:pt x="43749" y="4374"/>
                    <a:pt x="43465" y="4040"/>
                    <a:pt x="43343" y="3839"/>
                  </a:cubicBezTo>
                  <a:lnTo>
                    <a:pt x="42897" y="3237"/>
                  </a:lnTo>
                  <a:cubicBezTo>
                    <a:pt x="42531" y="2669"/>
                    <a:pt x="42247" y="2636"/>
                    <a:pt x="42207" y="263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E56B0076-7D79-4193-916D-A72C8B85A297}"/>
                </a:ext>
              </a:extLst>
            </p:cNvPr>
            <p:cNvSpPr/>
            <p:nvPr/>
          </p:nvSpPr>
          <p:spPr>
            <a:xfrm>
              <a:off x="5470978" y="4062935"/>
              <a:ext cx="409341" cy="152581"/>
            </a:xfrm>
            <a:custGeom>
              <a:avLst/>
              <a:gdLst>
                <a:gd name="connsiteX0" fmla="*/ 403991 w 409341"/>
                <a:gd name="connsiteY0" fmla="*/ 13159 h 152581"/>
                <a:gd name="connsiteX1" fmla="*/ 336937 w 409341"/>
                <a:gd name="connsiteY1" fmla="*/ 11120 h 152581"/>
                <a:gd name="connsiteX2" fmla="*/ 317657 w 409341"/>
                <a:gd name="connsiteY2" fmla="*/ 8614 h 152581"/>
                <a:gd name="connsiteX3" fmla="*/ 292329 w 409341"/>
                <a:gd name="connsiteY3" fmla="*/ 10819 h 152581"/>
                <a:gd name="connsiteX4" fmla="*/ 172467 w 409341"/>
                <a:gd name="connsiteY4" fmla="*/ 592 h 152581"/>
                <a:gd name="connsiteX5" fmla="*/ 50333 w 409341"/>
                <a:gd name="connsiteY5" fmla="*/ 2865 h 152581"/>
                <a:gd name="connsiteX6" fmla="*/ 15223 w 409341"/>
                <a:gd name="connsiteY6" fmla="*/ 12892 h 152581"/>
                <a:gd name="connsiteX7" fmla="*/ 3533 w 409341"/>
                <a:gd name="connsiteY7" fmla="*/ 23220 h 152581"/>
                <a:gd name="connsiteX8" fmla="*/ 16846 w 409341"/>
                <a:gd name="connsiteY8" fmla="*/ 41904 h 152581"/>
                <a:gd name="connsiteX9" fmla="*/ 34746 w 409341"/>
                <a:gd name="connsiteY9" fmla="*/ 36756 h 152581"/>
                <a:gd name="connsiteX10" fmla="*/ 50536 w 409341"/>
                <a:gd name="connsiteY10" fmla="*/ 40934 h 152581"/>
                <a:gd name="connsiteX11" fmla="*/ 69126 w 409341"/>
                <a:gd name="connsiteY11" fmla="*/ 39597 h 152581"/>
                <a:gd name="connsiteX12" fmla="*/ 90192 w 409341"/>
                <a:gd name="connsiteY12" fmla="*/ 41536 h 152581"/>
                <a:gd name="connsiteX13" fmla="*/ 99893 w 409341"/>
                <a:gd name="connsiteY13" fmla="*/ 44343 h 152581"/>
                <a:gd name="connsiteX14" fmla="*/ 79598 w 409341"/>
                <a:gd name="connsiteY14" fmla="*/ 54972 h 152581"/>
                <a:gd name="connsiteX15" fmla="*/ 83657 w 409341"/>
                <a:gd name="connsiteY15" fmla="*/ 66704 h 152581"/>
                <a:gd name="connsiteX16" fmla="*/ 79882 w 409341"/>
                <a:gd name="connsiteY16" fmla="*/ 82179 h 152581"/>
                <a:gd name="connsiteX17" fmla="*/ 66731 w 409341"/>
                <a:gd name="connsiteY17" fmla="*/ 87426 h 152581"/>
                <a:gd name="connsiteX18" fmla="*/ 80816 w 409341"/>
                <a:gd name="connsiteY18" fmla="*/ 98222 h 152581"/>
                <a:gd name="connsiteX19" fmla="*/ 72170 w 409341"/>
                <a:gd name="connsiteY19" fmla="*/ 105475 h 152581"/>
                <a:gd name="connsiteX20" fmla="*/ 83860 w 409341"/>
                <a:gd name="connsiteY20" fmla="*/ 115502 h 152581"/>
                <a:gd name="connsiteX21" fmla="*/ 70709 w 409341"/>
                <a:gd name="connsiteY21" fmla="*/ 122521 h 152581"/>
                <a:gd name="connsiteX22" fmla="*/ 73794 w 409341"/>
                <a:gd name="connsiteY22" fmla="*/ 135222 h 152581"/>
                <a:gd name="connsiteX23" fmla="*/ 116616 w 409341"/>
                <a:gd name="connsiteY23" fmla="*/ 149828 h 152581"/>
                <a:gd name="connsiteX24" fmla="*/ 148195 w 409341"/>
                <a:gd name="connsiteY24" fmla="*/ 144748 h 152581"/>
                <a:gd name="connsiteX25" fmla="*/ 165729 w 409341"/>
                <a:gd name="connsiteY25" fmla="*/ 141171 h 152581"/>
                <a:gd name="connsiteX26" fmla="*/ 202260 w 409341"/>
                <a:gd name="connsiteY26" fmla="*/ 135690 h 152581"/>
                <a:gd name="connsiteX27" fmla="*/ 231566 w 409341"/>
                <a:gd name="connsiteY27" fmla="*/ 133718 h 152581"/>
                <a:gd name="connsiteX28" fmla="*/ 254378 w 409341"/>
                <a:gd name="connsiteY28" fmla="*/ 121084 h 152581"/>
                <a:gd name="connsiteX29" fmla="*/ 279219 w 409341"/>
                <a:gd name="connsiteY29" fmla="*/ 113162 h 152581"/>
                <a:gd name="connsiteX30" fmla="*/ 285672 w 409341"/>
                <a:gd name="connsiteY30" fmla="*/ 100495 h 152581"/>
                <a:gd name="connsiteX31" fmla="*/ 300041 w 409341"/>
                <a:gd name="connsiteY31" fmla="*/ 82781 h 152581"/>
                <a:gd name="connsiteX32" fmla="*/ 325410 w 409341"/>
                <a:gd name="connsiteY32" fmla="*/ 52064 h 152581"/>
                <a:gd name="connsiteX33" fmla="*/ 333528 w 409341"/>
                <a:gd name="connsiteY33" fmla="*/ 42806 h 152581"/>
                <a:gd name="connsiteX34" fmla="*/ 370058 w 409341"/>
                <a:gd name="connsiteY34" fmla="*/ 35887 h 152581"/>
                <a:gd name="connsiteX35" fmla="*/ 404235 w 409341"/>
                <a:gd name="connsiteY35" fmla="*/ 13126 h 152581"/>
                <a:gd name="connsiteX36" fmla="*/ 403991 w 409341"/>
                <a:gd name="connsiteY36" fmla="*/ 13159 h 152581"/>
                <a:gd name="connsiteX37" fmla="*/ 408984 w 409341"/>
                <a:gd name="connsiteY37" fmla="*/ 68141 h 152581"/>
                <a:gd name="connsiteX38" fmla="*/ 381464 w 409341"/>
                <a:gd name="connsiteY38" fmla="*/ 73990 h 152581"/>
                <a:gd name="connsiteX39" fmla="*/ 408984 w 409341"/>
                <a:gd name="connsiteY39" fmla="*/ 68141 h 1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09341" h="152581">
                  <a:moveTo>
                    <a:pt x="403991" y="13159"/>
                  </a:moveTo>
                  <a:cubicBezTo>
                    <a:pt x="382519" y="13494"/>
                    <a:pt x="357476" y="15031"/>
                    <a:pt x="336937" y="11120"/>
                  </a:cubicBezTo>
                  <a:cubicBezTo>
                    <a:pt x="334664" y="10686"/>
                    <a:pt x="317373" y="3333"/>
                    <a:pt x="317657" y="8614"/>
                  </a:cubicBezTo>
                  <a:cubicBezTo>
                    <a:pt x="317941" y="13895"/>
                    <a:pt x="296672" y="11956"/>
                    <a:pt x="292329" y="10819"/>
                  </a:cubicBezTo>
                  <a:cubicBezTo>
                    <a:pt x="254499" y="-43"/>
                    <a:pt x="215574" y="-1781"/>
                    <a:pt x="172467" y="592"/>
                  </a:cubicBezTo>
                  <a:cubicBezTo>
                    <a:pt x="136505" y="2497"/>
                    <a:pt x="83170" y="9249"/>
                    <a:pt x="50333" y="2865"/>
                  </a:cubicBezTo>
                  <a:cubicBezTo>
                    <a:pt x="31783" y="-745"/>
                    <a:pt x="31580" y="11488"/>
                    <a:pt x="15223" y="12892"/>
                  </a:cubicBezTo>
                  <a:cubicBezTo>
                    <a:pt x="4507" y="13794"/>
                    <a:pt x="-5681" y="17972"/>
                    <a:pt x="3533" y="23220"/>
                  </a:cubicBezTo>
                  <a:cubicBezTo>
                    <a:pt x="14573" y="29503"/>
                    <a:pt x="17496" y="32445"/>
                    <a:pt x="16846" y="41904"/>
                  </a:cubicBezTo>
                  <a:cubicBezTo>
                    <a:pt x="21879" y="41235"/>
                    <a:pt x="30566" y="35219"/>
                    <a:pt x="34746" y="36756"/>
                  </a:cubicBezTo>
                  <a:cubicBezTo>
                    <a:pt x="42296" y="39664"/>
                    <a:pt x="37141" y="42171"/>
                    <a:pt x="50536" y="40934"/>
                  </a:cubicBezTo>
                  <a:cubicBezTo>
                    <a:pt x="57395" y="40299"/>
                    <a:pt x="63484" y="42204"/>
                    <a:pt x="69126" y="39597"/>
                  </a:cubicBezTo>
                  <a:cubicBezTo>
                    <a:pt x="80775" y="34183"/>
                    <a:pt x="83251" y="38795"/>
                    <a:pt x="90192" y="41536"/>
                  </a:cubicBezTo>
                  <a:cubicBezTo>
                    <a:pt x="92100" y="42338"/>
                    <a:pt x="100745" y="42271"/>
                    <a:pt x="99893" y="44343"/>
                  </a:cubicBezTo>
                  <a:cubicBezTo>
                    <a:pt x="97863" y="49056"/>
                    <a:pt x="84672" y="51396"/>
                    <a:pt x="79598" y="54972"/>
                  </a:cubicBezTo>
                  <a:cubicBezTo>
                    <a:pt x="74524" y="58548"/>
                    <a:pt x="82277" y="63562"/>
                    <a:pt x="83657" y="66704"/>
                  </a:cubicBezTo>
                  <a:cubicBezTo>
                    <a:pt x="86011" y="71918"/>
                    <a:pt x="78299" y="76463"/>
                    <a:pt x="79882" y="82179"/>
                  </a:cubicBezTo>
                  <a:cubicBezTo>
                    <a:pt x="81140" y="86658"/>
                    <a:pt x="71115" y="84853"/>
                    <a:pt x="66731" y="87426"/>
                  </a:cubicBezTo>
                  <a:cubicBezTo>
                    <a:pt x="61049" y="90769"/>
                    <a:pt x="77974" y="96183"/>
                    <a:pt x="80816" y="98222"/>
                  </a:cubicBezTo>
                  <a:cubicBezTo>
                    <a:pt x="84875" y="101063"/>
                    <a:pt x="74200" y="102267"/>
                    <a:pt x="72170" y="105475"/>
                  </a:cubicBezTo>
                  <a:cubicBezTo>
                    <a:pt x="68111" y="111792"/>
                    <a:pt x="78827" y="111625"/>
                    <a:pt x="83860" y="115502"/>
                  </a:cubicBezTo>
                  <a:cubicBezTo>
                    <a:pt x="87432" y="118310"/>
                    <a:pt x="73144" y="120182"/>
                    <a:pt x="70709" y="122521"/>
                  </a:cubicBezTo>
                  <a:cubicBezTo>
                    <a:pt x="66082" y="126933"/>
                    <a:pt x="68882" y="131746"/>
                    <a:pt x="73794" y="135222"/>
                  </a:cubicBezTo>
                  <a:cubicBezTo>
                    <a:pt x="98148" y="131278"/>
                    <a:pt x="102207" y="143177"/>
                    <a:pt x="116616" y="149828"/>
                  </a:cubicBezTo>
                  <a:cubicBezTo>
                    <a:pt x="132852" y="157449"/>
                    <a:pt x="133339" y="144581"/>
                    <a:pt x="148195" y="144748"/>
                  </a:cubicBezTo>
                  <a:cubicBezTo>
                    <a:pt x="154364" y="145119"/>
                    <a:pt x="160493" y="143866"/>
                    <a:pt x="165729" y="141171"/>
                  </a:cubicBezTo>
                  <a:cubicBezTo>
                    <a:pt x="176242" y="136626"/>
                    <a:pt x="189677" y="136693"/>
                    <a:pt x="202260" y="135690"/>
                  </a:cubicBezTo>
                  <a:cubicBezTo>
                    <a:pt x="211799" y="134921"/>
                    <a:pt x="222230" y="135022"/>
                    <a:pt x="231566" y="133718"/>
                  </a:cubicBezTo>
                  <a:cubicBezTo>
                    <a:pt x="245286" y="131813"/>
                    <a:pt x="244555" y="125329"/>
                    <a:pt x="254378" y="121084"/>
                  </a:cubicBezTo>
                  <a:cubicBezTo>
                    <a:pt x="261521" y="118009"/>
                    <a:pt x="275403" y="118109"/>
                    <a:pt x="279219" y="113162"/>
                  </a:cubicBezTo>
                  <a:cubicBezTo>
                    <a:pt x="283034" y="108216"/>
                    <a:pt x="278772" y="104472"/>
                    <a:pt x="285672" y="100495"/>
                  </a:cubicBezTo>
                  <a:cubicBezTo>
                    <a:pt x="298701" y="92941"/>
                    <a:pt x="305317" y="92941"/>
                    <a:pt x="300041" y="82781"/>
                  </a:cubicBezTo>
                  <a:cubicBezTo>
                    <a:pt x="292410" y="68141"/>
                    <a:pt x="309985" y="62258"/>
                    <a:pt x="325410" y="52064"/>
                  </a:cubicBezTo>
                  <a:cubicBezTo>
                    <a:pt x="329996" y="49023"/>
                    <a:pt x="326830" y="45380"/>
                    <a:pt x="333528" y="42806"/>
                  </a:cubicBezTo>
                  <a:cubicBezTo>
                    <a:pt x="344446" y="38628"/>
                    <a:pt x="358774" y="39731"/>
                    <a:pt x="370058" y="35887"/>
                  </a:cubicBezTo>
                  <a:cubicBezTo>
                    <a:pt x="386051" y="30406"/>
                    <a:pt x="408497" y="24724"/>
                    <a:pt x="404235" y="13126"/>
                  </a:cubicBezTo>
                  <a:cubicBezTo>
                    <a:pt x="392585" y="13326"/>
                    <a:pt x="406630" y="20278"/>
                    <a:pt x="403991" y="13159"/>
                  </a:cubicBezTo>
                  <a:close/>
                  <a:moveTo>
                    <a:pt x="408984" y="68141"/>
                  </a:moveTo>
                  <a:cubicBezTo>
                    <a:pt x="406264" y="59618"/>
                    <a:pt x="374442" y="71684"/>
                    <a:pt x="381464" y="73990"/>
                  </a:cubicBezTo>
                  <a:cubicBezTo>
                    <a:pt x="395792" y="78603"/>
                    <a:pt x="411663" y="76664"/>
                    <a:pt x="408984" y="6814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10BBF503-FFA0-4989-9474-E8B8C162A748}"/>
                </a:ext>
              </a:extLst>
            </p:cNvPr>
            <p:cNvSpPr/>
            <p:nvPr/>
          </p:nvSpPr>
          <p:spPr>
            <a:xfrm>
              <a:off x="6184814" y="3979688"/>
              <a:ext cx="108851" cy="29931"/>
            </a:xfrm>
            <a:custGeom>
              <a:avLst/>
              <a:gdLst>
                <a:gd name="connsiteX0" fmla="*/ 99 w 108851"/>
                <a:gd name="connsiteY0" fmla="*/ 25950 h 29931"/>
                <a:gd name="connsiteX1" fmla="*/ 20800 w 108851"/>
                <a:gd name="connsiteY1" fmla="*/ 24746 h 29931"/>
                <a:gd name="connsiteX2" fmla="*/ 32206 w 108851"/>
                <a:gd name="connsiteY2" fmla="*/ 29459 h 29931"/>
                <a:gd name="connsiteX3" fmla="*/ 66423 w 108851"/>
                <a:gd name="connsiteY3" fmla="*/ 29125 h 29931"/>
                <a:gd name="connsiteX4" fmla="*/ 84729 w 108851"/>
                <a:gd name="connsiteY4" fmla="*/ 18262 h 29931"/>
                <a:gd name="connsiteX5" fmla="*/ 107987 w 108851"/>
                <a:gd name="connsiteY5" fmla="*/ 6698 h 29931"/>
                <a:gd name="connsiteX6" fmla="*/ 99179 w 108851"/>
                <a:gd name="connsiteY6" fmla="*/ -188 h 29931"/>
                <a:gd name="connsiteX7" fmla="*/ 54977 w 108851"/>
                <a:gd name="connsiteY7" fmla="*/ 7266 h 29931"/>
                <a:gd name="connsiteX8" fmla="*/ 15077 w 108851"/>
                <a:gd name="connsiteY8" fmla="*/ 3923 h 29931"/>
                <a:gd name="connsiteX9" fmla="*/ 1276 w 108851"/>
                <a:gd name="connsiteY9" fmla="*/ 7065 h 29931"/>
                <a:gd name="connsiteX10" fmla="*/ 99 w 108851"/>
                <a:gd name="connsiteY10" fmla="*/ 25883 h 29931"/>
                <a:gd name="connsiteX11" fmla="*/ 99 w 108851"/>
                <a:gd name="connsiteY11" fmla="*/ 25950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51" h="29931">
                  <a:moveTo>
                    <a:pt x="99" y="25950"/>
                  </a:moveTo>
                  <a:cubicBezTo>
                    <a:pt x="6797" y="24275"/>
                    <a:pt x="13859" y="23864"/>
                    <a:pt x="20800" y="24746"/>
                  </a:cubicBezTo>
                  <a:cubicBezTo>
                    <a:pt x="30014" y="26752"/>
                    <a:pt x="20353" y="30328"/>
                    <a:pt x="32206" y="29459"/>
                  </a:cubicBezTo>
                  <a:cubicBezTo>
                    <a:pt x="43571" y="28714"/>
                    <a:pt x="55017" y="28603"/>
                    <a:pt x="66423" y="29125"/>
                  </a:cubicBezTo>
                  <a:cubicBezTo>
                    <a:pt x="67681" y="29125"/>
                    <a:pt x="84201" y="19766"/>
                    <a:pt x="84729" y="18262"/>
                  </a:cubicBezTo>
                  <a:cubicBezTo>
                    <a:pt x="87083" y="11577"/>
                    <a:pt x="98326" y="10842"/>
                    <a:pt x="107987" y="6698"/>
                  </a:cubicBezTo>
                  <a:cubicBezTo>
                    <a:pt x="111234" y="5294"/>
                    <a:pt x="103928" y="-1424"/>
                    <a:pt x="99179" y="-188"/>
                  </a:cubicBezTo>
                  <a:cubicBezTo>
                    <a:pt x="85378" y="3456"/>
                    <a:pt x="69467" y="4057"/>
                    <a:pt x="54977" y="7266"/>
                  </a:cubicBezTo>
                  <a:cubicBezTo>
                    <a:pt x="44342" y="9639"/>
                    <a:pt x="26320" y="4425"/>
                    <a:pt x="15077" y="3923"/>
                  </a:cubicBezTo>
                  <a:cubicBezTo>
                    <a:pt x="5741" y="3589"/>
                    <a:pt x="2332" y="1283"/>
                    <a:pt x="1276" y="7065"/>
                  </a:cubicBezTo>
                  <a:cubicBezTo>
                    <a:pt x="59" y="13285"/>
                    <a:pt x="-307" y="19592"/>
                    <a:pt x="99" y="25883"/>
                  </a:cubicBezTo>
                  <a:cubicBezTo>
                    <a:pt x="8217" y="24379"/>
                    <a:pt x="-429" y="17861"/>
                    <a:pt x="99" y="259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4EBE6436-102C-44F9-B2B5-B9872C8CA5E4}"/>
                </a:ext>
              </a:extLst>
            </p:cNvPr>
            <p:cNvSpPr/>
            <p:nvPr/>
          </p:nvSpPr>
          <p:spPr>
            <a:xfrm>
              <a:off x="6403305" y="4097892"/>
              <a:ext cx="204258" cy="133001"/>
            </a:xfrm>
            <a:custGeom>
              <a:avLst/>
              <a:gdLst>
                <a:gd name="connsiteX0" fmla="*/ 202118 w 204258"/>
                <a:gd name="connsiteY0" fmla="*/ 395 h 133001"/>
                <a:gd name="connsiteX1" fmla="*/ 180889 w 204258"/>
                <a:gd name="connsiteY1" fmla="*/ 6779 h 133001"/>
                <a:gd name="connsiteX2" fmla="*/ 150041 w 204258"/>
                <a:gd name="connsiteY2" fmla="*/ 4206 h 133001"/>
                <a:gd name="connsiteX3" fmla="*/ 94271 w 204258"/>
                <a:gd name="connsiteY3" fmla="*/ 1966 h 133001"/>
                <a:gd name="connsiteX4" fmla="*/ 69308 w 204258"/>
                <a:gd name="connsiteY4" fmla="*/ 7180 h 133001"/>
                <a:gd name="connsiteX5" fmla="*/ 44427 w 204258"/>
                <a:gd name="connsiteY5" fmla="*/ 11559 h 133001"/>
                <a:gd name="connsiteX6" fmla="*/ 17556 w 204258"/>
                <a:gd name="connsiteY6" fmla="*/ 21586 h 133001"/>
                <a:gd name="connsiteX7" fmla="*/ -60 w 204258"/>
                <a:gd name="connsiteY7" fmla="*/ 36660 h 133001"/>
                <a:gd name="connsiteX8" fmla="*/ 17434 w 204258"/>
                <a:gd name="connsiteY8" fmla="*/ 48459 h 133001"/>
                <a:gd name="connsiteX9" fmla="*/ 35294 w 204258"/>
                <a:gd name="connsiteY9" fmla="*/ 58486 h 133001"/>
                <a:gd name="connsiteX10" fmla="*/ 59404 w 204258"/>
                <a:gd name="connsiteY10" fmla="*/ 58285 h 133001"/>
                <a:gd name="connsiteX11" fmla="*/ 58552 w 204258"/>
                <a:gd name="connsiteY11" fmla="*/ 63499 h 133001"/>
                <a:gd name="connsiteX12" fmla="*/ 30829 w 204258"/>
                <a:gd name="connsiteY12" fmla="*/ 65705 h 133001"/>
                <a:gd name="connsiteX13" fmla="*/ 40043 w 204258"/>
                <a:gd name="connsiteY13" fmla="*/ 78373 h 133001"/>
                <a:gd name="connsiteX14" fmla="*/ 61109 w 204258"/>
                <a:gd name="connsiteY14" fmla="*/ 91742 h 133001"/>
                <a:gd name="connsiteX15" fmla="*/ 86153 w 204258"/>
                <a:gd name="connsiteY15" fmla="*/ 98427 h 133001"/>
                <a:gd name="connsiteX16" fmla="*/ 80633 w 204258"/>
                <a:gd name="connsiteY16" fmla="*/ 85492 h 133001"/>
                <a:gd name="connsiteX17" fmla="*/ 97275 w 204258"/>
                <a:gd name="connsiteY17" fmla="*/ 83787 h 133001"/>
                <a:gd name="connsiteX18" fmla="*/ 87898 w 204258"/>
                <a:gd name="connsiteY18" fmla="*/ 75164 h 133001"/>
                <a:gd name="connsiteX19" fmla="*/ 87533 w 204258"/>
                <a:gd name="connsiteY19" fmla="*/ 71454 h 133001"/>
                <a:gd name="connsiteX20" fmla="*/ 106894 w 204258"/>
                <a:gd name="connsiteY20" fmla="*/ 74128 h 133001"/>
                <a:gd name="connsiteX21" fmla="*/ 106610 w 204258"/>
                <a:gd name="connsiteY21" fmla="*/ 56848 h 133001"/>
                <a:gd name="connsiteX22" fmla="*/ 86640 w 204258"/>
                <a:gd name="connsiteY22" fmla="*/ 56848 h 133001"/>
                <a:gd name="connsiteX23" fmla="*/ 96219 w 204258"/>
                <a:gd name="connsiteY23" fmla="*/ 50163 h 133001"/>
                <a:gd name="connsiteX24" fmla="*/ 78563 w 204258"/>
                <a:gd name="connsiteY24" fmla="*/ 21619 h 133001"/>
                <a:gd name="connsiteX25" fmla="*/ 108072 w 204258"/>
                <a:gd name="connsiteY25" fmla="*/ 27936 h 133001"/>
                <a:gd name="connsiteX26" fmla="*/ 116677 w 204258"/>
                <a:gd name="connsiteY26" fmla="*/ 16238 h 133001"/>
                <a:gd name="connsiteX27" fmla="*/ 138554 w 204258"/>
                <a:gd name="connsiteY27" fmla="*/ 17575 h 133001"/>
                <a:gd name="connsiteX28" fmla="*/ 158606 w 204258"/>
                <a:gd name="connsiteY28" fmla="*/ 13765 h 133001"/>
                <a:gd name="connsiteX29" fmla="*/ 194365 w 204258"/>
                <a:gd name="connsiteY29" fmla="*/ 14634 h 133001"/>
                <a:gd name="connsiteX30" fmla="*/ 202483 w 204258"/>
                <a:gd name="connsiteY30" fmla="*/ 9720 h 133001"/>
                <a:gd name="connsiteX31" fmla="*/ 202036 w 204258"/>
                <a:gd name="connsiteY31" fmla="*/ 395 h 133001"/>
                <a:gd name="connsiteX32" fmla="*/ 202118 w 204258"/>
                <a:gd name="connsiteY32" fmla="*/ 395 h 133001"/>
                <a:gd name="connsiteX33" fmla="*/ 166033 w 204258"/>
                <a:gd name="connsiteY33" fmla="*/ 126001 h 133001"/>
                <a:gd name="connsiteX34" fmla="*/ 129746 w 204258"/>
                <a:gd name="connsiteY34" fmla="*/ 123461 h 133001"/>
                <a:gd name="connsiteX35" fmla="*/ 96422 w 204258"/>
                <a:gd name="connsiteY35" fmla="*/ 122124 h 133001"/>
                <a:gd name="connsiteX36" fmla="*/ 133968 w 204258"/>
                <a:gd name="connsiteY36" fmla="*/ 131783 h 133001"/>
                <a:gd name="connsiteX37" fmla="*/ 185435 w 204258"/>
                <a:gd name="connsiteY37" fmla="*/ 127739 h 133001"/>
                <a:gd name="connsiteX38" fmla="*/ 166033 w 204258"/>
                <a:gd name="connsiteY38" fmla="*/ 126001 h 13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4258" h="133001">
                  <a:moveTo>
                    <a:pt x="202118" y="395"/>
                  </a:moveTo>
                  <a:cubicBezTo>
                    <a:pt x="187546" y="395"/>
                    <a:pt x="190550" y="5777"/>
                    <a:pt x="180889" y="6779"/>
                  </a:cubicBezTo>
                  <a:cubicBezTo>
                    <a:pt x="171229" y="7782"/>
                    <a:pt x="159174" y="5543"/>
                    <a:pt x="150041" y="4206"/>
                  </a:cubicBezTo>
                  <a:cubicBezTo>
                    <a:pt x="133196" y="1732"/>
                    <a:pt x="108883" y="-3281"/>
                    <a:pt x="94271" y="1966"/>
                  </a:cubicBezTo>
                  <a:cubicBezTo>
                    <a:pt x="86356" y="4837"/>
                    <a:pt x="77913" y="6599"/>
                    <a:pt x="69308" y="7180"/>
                  </a:cubicBezTo>
                  <a:cubicBezTo>
                    <a:pt x="59729" y="7615"/>
                    <a:pt x="55142" y="11726"/>
                    <a:pt x="44427" y="11559"/>
                  </a:cubicBezTo>
                  <a:cubicBezTo>
                    <a:pt x="25309" y="11258"/>
                    <a:pt x="30585" y="15169"/>
                    <a:pt x="17556" y="21586"/>
                  </a:cubicBezTo>
                  <a:cubicBezTo>
                    <a:pt x="10331" y="25420"/>
                    <a:pt x="4324" y="30580"/>
                    <a:pt x="-60" y="36660"/>
                  </a:cubicBezTo>
                  <a:cubicBezTo>
                    <a:pt x="8992" y="39300"/>
                    <a:pt x="15811" y="42743"/>
                    <a:pt x="17434" y="48459"/>
                  </a:cubicBezTo>
                  <a:cubicBezTo>
                    <a:pt x="19058" y="54174"/>
                    <a:pt x="19708" y="61828"/>
                    <a:pt x="35294" y="58486"/>
                  </a:cubicBezTo>
                  <a:cubicBezTo>
                    <a:pt x="45198" y="56447"/>
                    <a:pt x="48486" y="54441"/>
                    <a:pt x="59404" y="58285"/>
                  </a:cubicBezTo>
                  <a:cubicBezTo>
                    <a:pt x="68090" y="61360"/>
                    <a:pt x="71581" y="65237"/>
                    <a:pt x="58552" y="63499"/>
                  </a:cubicBezTo>
                  <a:cubicBezTo>
                    <a:pt x="50718" y="62463"/>
                    <a:pt x="35213" y="60558"/>
                    <a:pt x="30829" y="65705"/>
                  </a:cubicBezTo>
                  <a:cubicBezTo>
                    <a:pt x="26770" y="70317"/>
                    <a:pt x="43006" y="73593"/>
                    <a:pt x="40043" y="78373"/>
                  </a:cubicBezTo>
                  <a:cubicBezTo>
                    <a:pt x="34523" y="87230"/>
                    <a:pt x="51083" y="88968"/>
                    <a:pt x="61109" y="91742"/>
                  </a:cubicBezTo>
                  <a:cubicBezTo>
                    <a:pt x="64356" y="92578"/>
                    <a:pt x="83920" y="103006"/>
                    <a:pt x="86153" y="98427"/>
                  </a:cubicBezTo>
                  <a:cubicBezTo>
                    <a:pt x="88101" y="94583"/>
                    <a:pt x="82540" y="89202"/>
                    <a:pt x="80633" y="85492"/>
                  </a:cubicBezTo>
                  <a:cubicBezTo>
                    <a:pt x="77020" y="78606"/>
                    <a:pt x="90577" y="84222"/>
                    <a:pt x="97275" y="83787"/>
                  </a:cubicBezTo>
                  <a:cubicBezTo>
                    <a:pt x="113510" y="82784"/>
                    <a:pt x="96422" y="75298"/>
                    <a:pt x="87898" y="75164"/>
                  </a:cubicBezTo>
                  <a:cubicBezTo>
                    <a:pt x="81566" y="75164"/>
                    <a:pt x="84164" y="72323"/>
                    <a:pt x="87533" y="71454"/>
                  </a:cubicBezTo>
                  <a:cubicBezTo>
                    <a:pt x="94839" y="69649"/>
                    <a:pt x="100034" y="73593"/>
                    <a:pt x="106894" y="74128"/>
                  </a:cubicBezTo>
                  <a:cubicBezTo>
                    <a:pt x="132750" y="76100"/>
                    <a:pt x="130761" y="57416"/>
                    <a:pt x="106610" y="56848"/>
                  </a:cubicBezTo>
                  <a:cubicBezTo>
                    <a:pt x="97518" y="56681"/>
                    <a:pt x="94677" y="61962"/>
                    <a:pt x="86640" y="56848"/>
                  </a:cubicBezTo>
                  <a:cubicBezTo>
                    <a:pt x="77954" y="51467"/>
                    <a:pt x="91795" y="52670"/>
                    <a:pt x="96219" y="50163"/>
                  </a:cubicBezTo>
                  <a:cubicBezTo>
                    <a:pt x="106691" y="43813"/>
                    <a:pt x="52666" y="23625"/>
                    <a:pt x="78563" y="21619"/>
                  </a:cubicBezTo>
                  <a:cubicBezTo>
                    <a:pt x="90537" y="20717"/>
                    <a:pt x="94027" y="28805"/>
                    <a:pt x="108072" y="27936"/>
                  </a:cubicBezTo>
                  <a:cubicBezTo>
                    <a:pt x="125890" y="26833"/>
                    <a:pt x="109411" y="21252"/>
                    <a:pt x="116677" y="16238"/>
                  </a:cubicBezTo>
                  <a:cubicBezTo>
                    <a:pt x="123008" y="11927"/>
                    <a:pt x="133359" y="13999"/>
                    <a:pt x="138554" y="17575"/>
                  </a:cubicBezTo>
                  <a:cubicBezTo>
                    <a:pt x="143750" y="21152"/>
                    <a:pt x="153207" y="14233"/>
                    <a:pt x="158606" y="13765"/>
                  </a:cubicBezTo>
                  <a:cubicBezTo>
                    <a:pt x="169971" y="12394"/>
                    <a:pt x="193553" y="25363"/>
                    <a:pt x="194365" y="14634"/>
                  </a:cubicBezTo>
                  <a:cubicBezTo>
                    <a:pt x="194365" y="12428"/>
                    <a:pt x="200494" y="11292"/>
                    <a:pt x="202483" y="9720"/>
                  </a:cubicBezTo>
                  <a:cubicBezTo>
                    <a:pt x="205974" y="7147"/>
                    <a:pt x="203254" y="3236"/>
                    <a:pt x="202036" y="395"/>
                  </a:cubicBezTo>
                  <a:cubicBezTo>
                    <a:pt x="194974" y="395"/>
                    <a:pt x="203051" y="2668"/>
                    <a:pt x="202118" y="395"/>
                  </a:cubicBezTo>
                  <a:close/>
                  <a:moveTo>
                    <a:pt x="166033" y="126001"/>
                  </a:moveTo>
                  <a:cubicBezTo>
                    <a:pt x="156982" y="122659"/>
                    <a:pt x="139975" y="124397"/>
                    <a:pt x="129746" y="123461"/>
                  </a:cubicBezTo>
                  <a:cubicBezTo>
                    <a:pt x="118503" y="122458"/>
                    <a:pt x="106042" y="115105"/>
                    <a:pt x="96422" y="122124"/>
                  </a:cubicBezTo>
                  <a:cubicBezTo>
                    <a:pt x="93540" y="124196"/>
                    <a:pt x="129341" y="131082"/>
                    <a:pt x="133968" y="131783"/>
                  </a:cubicBezTo>
                  <a:cubicBezTo>
                    <a:pt x="140340" y="132653"/>
                    <a:pt x="186085" y="134424"/>
                    <a:pt x="185435" y="127739"/>
                  </a:cubicBezTo>
                  <a:cubicBezTo>
                    <a:pt x="185435" y="126202"/>
                    <a:pt x="168834" y="127004"/>
                    <a:pt x="166033" y="1260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F9A51ADE-40D4-440B-90FA-7A1637DFE95D}"/>
                </a:ext>
              </a:extLst>
            </p:cNvPr>
            <p:cNvSpPr/>
            <p:nvPr/>
          </p:nvSpPr>
          <p:spPr>
            <a:xfrm>
              <a:off x="6772790" y="4234827"/>
              <a:ext cx="74213" cy="17814"/>
            </a:xfrm>
            <a:custGeom>
              <a:avLst/>
              <a:gdLst>
                <a:gd name="connsiteX0" fmla="*/ 49382 w 74213"/>
                <a:gd name="connsiteY0" fmla="*/ 12329 h 17814"/>
                <a:gd name="connsiteX1" fmla="*/ 74060 w 74213"/>
                <a:gd name="connsiteY1" fmla="*/ -339 h 17814"/>
                <a:gd name="connsiteX2" fmla="*/ 715 w 74213"/>
                <a:gd name="connsiteY2" fmla="*/ 7616 h 17814"/>
                <a:gd name="connsiteX3" fmla="*/ 49423 w 74213"/>
                <a:gd name="connsiteY3" fmla="*/ 12329 h 17814"/>
                <a:gd name="connsiteX4" fmla="*/ 49382 w 74213"/>
                <a:gd name="connsiteY4" fmla="*/ 12329 h 1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13" h="17814">
                  <a:moveTo>
                    <a:pt x="49382" y="12329"/>
                  </a:moveTo>
                  <a:cubicBezTo>
                    <a:pt x="47880" y="4976"/>
                    <a:pt x="75969" y="3739"/>
                    <a:pt x="74060" y="-339"/>
                  </a:cubicBezTo>
                  <a:cubicBezTo>
                    <a:pt x="75360" y="2369"/>
                    <a:pt x="4530" y="1901"/>
                    <a:pt x="715" y="7616"/>
                  </a:cubicBezTo>
                  <a:cubicBezTo>
                    <a:pt x="-7403" y="19816"/>
                    <a:pt x="51006" y="19849"/>
                    <a:pt x="49423" y="12329"/>
                  </a:cubicBezTo>
                  <a:cubicBezTo>
                    <a:pt x="48936" y="9454"/>
                    <a:pt x="50113" y="15170"/>
                    <a:pt x="49382" y="1232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6AFF8DF0-03DC-434F-BDE9-45E0FF49E47F}"/>
                </a:ext>
              </a:extLst>
            </p:cNvPr>
            <p:cNvSpPr/>
            <p:nvPr/>
          </p:nvSpPr>
          <p:spPr>
            <a:xfrm>
              <a:off x="4894682" y="3539638"/>
              <a:ext cx="369449" cy="97718"/>
            </a:xfrm>
            <a:custGeom>
              <a:avLst/>
              <a:gdLst>
                <a:gd name="connsiteX0" fmla="*/ 316361 w 369449"/>
                <a:gd name="connsiteY0" fmla="*/ 58298 h 97718"/>
                <a:gd name="connsiteX1" fmla="*/ 339862 w 369449"/>
                <a:gd name="connsiteY1" fmla="*/ 45564 h 97718"/>
                <a:gd name="connsiteX2" fmla="*/ 367585 w 369449"/>
                <a:gd name="connsiteY2" fmla="*/ 30155 h 97718"/>
                <a:gd name="connsiteX3" fmla="*/ 339172 w 369449"/>
                <a:gd name="connsiteY3" fmla="*/ 17655 h 97718"/>
                <a:gd name="connsiteX4" fmla="*/ 320095 w 369449"/>
                <a:gd name="connsiteY4" fmla="*/ 1144 h 97718"/>
                <a:gd name="connsiteX5" fmla="*/ 281819 w 369449"/>
                <a:gd name="connsiteY5" fmla="*/ 2146 h 97718"/>
                <a:gd name="connsiteX6" fmla="*/ 259292 w 369449"/>
                <a:gd name="connsiteY6" fmla="*/ 7528 h 97718"/>
                <a:gd name="connsiteX7" fmla="*/ 238753 w 369449"/>
                <a:gd name="connsiteY7" fmla="*/ 12942 h 97718"/>
                <a:gd name="connsiteX8" fmla="*/ 205064 w 369449"/>
                <a:gd name="connsiteY8" fmla="*/ 18123 h 97718"/>
                <a:gd name="connsiteX9" fmla="*/ 168127 w 369449"/>
                <a:gd name="connsiteY9" fmla="*/ 21465 h 97718"/>
                <a:gd name="connsiteX10" fmla="*/ 150227 w 369449"/>
                <a:gd name="connsiteY10" fmla="*/ 25276 h 97718"/>
                <a:gd name="connsiteX11" fmla="*/ 138050 w 369449"/>
                <a:gd name="connsiteY11" fmla="*/ 35303 h 97718"/>
                <a:gd name="connsiteX12" fmla="*/ 109921 w 369449"/>
                <a:gd name="connsiteY12" fmla="*/ 47937 h 97718"/>
                <a:gd name="connsiteX13" fmla="*/ 95512 w 369449"/>
                <a:gd name="connsiteY13" fmla="*/ 37509 h 97718"/>
                <a:gd name="connsiteX14" fmla="*/ 86054 w 369449"/>
                <a:gd name="connsiteY14" fmla="*/ 28685 h 97718"/>
                <a:gd name="connsiteX15" fmla="*/ 46399 w 369449"/>
                <a:gd name="connsiteY15" fmla="*/ 24407 h 97718"/>
                <a:gd name="connsiteX16" fmla="*/ 52852 w 369449"/>
                <a:gd name="connsiteY16" fmla="*/ 35002 h 97718"/>
                <a:gd name="connsiteX17" fmla="*/ 25170 w 369449"/>
                <a:gd name="connsiteY17" fmla="*/ 35002 h 97718"/>
                <a:gd name="connsiteX18" fmla="*/ 1222 w 369449"/>
                <a:gd name="connsiteY18" fmla="*/ 56928 h 97718"/>
                <a:gd name="connsiteX19" fmla="*/ 69494 w 369449"/>
                <a:gd name="connsiteY19" fmla="*/ 56393 h 97718"/>
                <a:gd name="connsiteX20" fmla="*/ 63081 w 369449"/>
                <a:gd name="connsiteY20" fmla="*/ 64749 h 97718"/>
                <a:gd name="connsiteX21" fmla="*/ 14373 w 369449"/>
                <a:gd name="connsiteY21" fmla="*/ 75879 h 97718"/>
                <a:gd name="connsiteX22" fmla="*/ 46439 w 369449"/>
                <a:gd name="connsiteY22" fmla="*/ 71901 h 97718"/>
                <a:gd name="connsiteX23" fmla="*/ 67140 w 369449"/>
                <a:gd name="connsiteY23" fmla="*/ 75411 h 97718"/>
                <a:gd name="connsiteX24" fmla="*/ 86542 w 369449"/>
                <a:gd name="connsiteY24" fmla="*/ 78753 h 97718"/>
                <a:gd name="connsiteX25" fmla="*/ 69981 w 369449"/>
                <a:gd name="connsiteY25" fmla="*/ 90351 h 97718"/>
                <a:gd name="connsiteX26" fmla="*/ 76841 w 369449"/>
                <a:gd name="connsiteY26" fmla="*/ 97036 h 97718"/>
                <a:gd name="connsiteX27" fmla="*/ 136711 w 369449"/>
                <a:gd name="connsiteY27" fmla="*/ 91187 h 97718"/>
                <a:gd name="connsiteX28" fmla="*/ 185946 w 369449"/>
                <a:gd name="connsiteY28" fmla="*/ 95766 h 97718"/>
                <a:gd name="connsiteX29" fmla="*/ 228971 w 369449"/>
                <a:gd name="connsiteY29" fmla="*/ 83065 h 97718"/>
                <a:gd name="connsiteX30" fmla="*/ 266030 w 369449"/>
                <a:gd name="connsiteY30" fmla="*/ 73439 h 97718"/>
                <a:gd name="connsiteX31" fmla="*/ 315996 w 369449"/>
                <a:gd name="connsiteY31" fmla="*/ 58632 h 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9449" h="97718">
                  <a:moveTo>
                    <a:pt x="316361" y="58298"/>
                  </a:moveTo>
                  <a:cubicBezTo>
                    <a:pt x="332353" y="56426"/>
                    <a:pt x="329715" y="49775"/>
                    <a:pt x="339862" y="45564"/>
                  </a:cubicBezTo>
                  <a:cubicBezTo>
                    <a:pt x="352039" y="40617"/>
                    <a:pt x="360888" y="38244"/>
                    <a:pt x="367585" y="30155"/>
                  </a:cubicBezTo>
                  <a:cubicBezTo>
                    <a:pt x="376352" y="19493"/>
                    <a:pt x="350943" y="18858"/>
                    <a:pt x="339172" y="17655"/>
                  </a:cubicBezTo>
                  <a:cubicBezTo>
                    <a:pt x="330283" y="16719"/>
                    <a:pt x="319730" y="5723"/>
                    <a:pt x="320095" y="1144"/>
                  </a:cubicBezTo>
                  <a:cubicBezTo>
                    <a:pt x="320095" y="2046"/>
                    <a:pt x="287948" y="3684"/>
                    <a:pt x="281819" y="2146"/>
                  </a:cubicBezTo>
                  <a:cubicBezTo>
                    <a:pt x="268221" y="-1196"/>
                    <a:pt x="256491" y="-2633"/>
                    <a:pt x="259292" y="7528"/>
                  </a:cubicBezTo>
                  <a:cubicBezTo>
                    <a:pt x="261403" y="15315"/>
                    <a:pt x="238185" y="8931"/>
                    <a:pt x="238753" y="12942"/>
                  </a:cubicBezTo>
                  <a:cubicBezTo>
                    <a:pt x="239971" y="20964"/>
                    <a:pt x="201695" y="7996"/>
                    <a:pt x="205064" y="18123"/>
                  </a:cubicBezTo>
                  <a:cubicBezTo>
                    <a:pt x="205064" y="18390"/>
                    <a:pt x="175961" y="15349"/>
                    <a:pt x="168127" y="21465"/>
                  </a:cubicBezTo>
                  <a:cubicBezTo>
                    <a:pt x="160293" y="27582"/>
                    <a:pt x="165854" y="35403"/>
                    <a:pt x="150227" y="25276"/>
                  </a:cubicBezTo>
                  <a:cubicBezTo>
                    <a:pt x="135371" y="15616"/>
                    <a:pt x="136183" y="31659"/>
                    <a:pt x="138050" y="35303"/>
                  </a:cubicBezTo>
                  <a:cubicBezTo>
                    <a:pt x="141622" y="41753"/>
                    <a:pt x="117106" y="40684"/>
                    <a:pt x="109921" y="47937"/>
                  </a:cubicBezTo>
                  <a:cubicBezTo>
                    <a:pt x="106228" y="51613"/>
                    <a:pt x="92874" y="41052"/>
                    <a:pt x="95512" y="37509"/>
                  </a:cubicBezTo>
                  <a:cubicBezTo>
                    <a:pt x="99571" y="31860"/>
                    <a:pt x="98475" y="31325"/>
                    <a:pt x="86054" y="28685"/>
                  </a:cubicBezTo>
                  <a:cubicBezTo>
                    <a:pt x="73147" y="25784"/>
                    <a:pt x="59793" y="24343"/>
                    <a:pt x="46399" y="24407"/>
                  </a:cubicBezTo>
                  <a:cubicBezTo>
                    <a:pt x="18919" y="25142"/>
                    <a:pt x="51716" y="32930"/>
                    <a:pt x="52852" y="35002"/>
                  </a:cubicBezTo>
                  <a:cubicBezTo>
                    <a:pt x="53664" y="36439"/>
                    <a:pt x="27930" y="33899"/>
                    <a:pt x="25170" y="35002"/>
                  </a:cubicBezTo>
                  <a:cubicBezTo>
                    <a:pt x="18838" y="37141"/>
                    <a:pt x="-5922" y="54120"/>
                    <a:pt x="1222" y="56928"/>
                  </a:cubicBezTo>
                  <a:cubicBezTo>
                    <a:pt x="10923" y="60705"/>
                    <a:pt x="96568" y="40517"/>
                    <a:pt x="69494" y="56393"/>
                  </a:cubicBezTo>
                  <a:cubicBezTo>
                    <a:pt x="63122" y="60103"/>
                    <a:pt x="84350" y="61573"/>
                    <a:pt x="63081" y="64749"/>
                  </a:cubicBezTo>
                  <a:cubicBezTo>
                    <a:pt x="59428" y="65250"/>
                    <a:pt x="7391" y="70999"/>
                    <a:pt x="14373" y="75879"/>
                  </a:cubicBezTo>
                  <a:cubicBezTo>
                    <a:pt x="18432" y="78453"/>
                    <a:pt x="41325" y="72771"/>
                    <a:pt x="46439" y="71901"/>
                  </a:cubicBezTo>
                  <a:cubicBezTo>
                    <a:pt x="64258" y="68793"/>
                    <a:pt x="59590" y="69762"/>
                    <a:pt x="67140" y="75411"/>
                  </a:cubicBezTo>
                  <a:cubicBezTo>
                    <a:pt x="73350" y="80057"/>
                    <a:pt x="80412" y="71333"/>
                    <a:pt x="86542" y="78753"/>
                  </a:cubicBezTo>
                  <a:cubicBezTo>
                    <a:pt x="92671" y="86173"/>
                    <a:pt x="90195" y="86407"/>
                    <a:pt x="69981" y="90351"/>
                  </a:cubicBezTo>
                  <a:cubicBezTo>
                    <a:pt x="51838" y="93928"/>
                    <a:pt x="63243" y="98707"/>
                    <a:pt x="76841" y="97036"/>
                  </a:cubicBezTo>
                  <a:cubicBezTo>
                    <a:pt x="100789" y="93694"/>
                    <a:pt x="112641" y="87845"/>
                    <a:pt x="136711" y="91187"/>
                  </a:cubicBezTo>
                  <a:cubicBezTo>
                    <a:pt x="152500" y="93426"/>
                    <a:pt x="168127" y="97471"/>
                    <a:pt x="185946" y="95766"/>
                  </a:cubicBezTo>
                  <a:cubicBezTo>
                    <a:pt x="197798" y="94629"/>
                    <a:pt x="224790" y="90284"/>
                    <a:pt x="228971" y="83065"/>
                  </a:cubicBezTo>
                  <a:cubicBezTo>
                    <a:pt x="232381" y="77149"/>
                    <a:pt x="257059" y="75912"/>
                    <a:pt x="266030" y="73439"/>
                  </a:cubicBezTo>
                  <a:cubicBezTo>
                    <a:pt x="283930" y="68526"/>
                    <a:pt x="295092" y="61106"/>
                    <a:pt x="315996" y="5863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5DAD1E59-B78E-4D16-9C5B-A038C62BB5B5}"/>
                </a:ext>
              </a:extLst>
            </p:cNvPr>
            <p:cNvSpPr/>
            <p:nvPr/>
          </p:nvSpPr>
          <p:spPr>
            <a:xfrm>
              <a:off x="5413047" y="3811841"/>
              <a:ext cx="137872" cy="87325"/>
            </a:xfrm>
            <a:custGeom>
              <a:avLst/>
              <a:gdLst>
                <a:gd name="connsiteX0" fmla="*/ 126488 w 137872"/>
                <a:gd name="connsiteY0" fmla="*/ 22099 h 87325"/>
                <a:gd name="connsiteX1" fmla="*/ 99253 w 137872"/>
                <a:gd name="connsiteY1" fmla="*/ 16450 h 87325"/>
                <a:gd name="connsiteX2" fmla="*/ 85249 w 137872"/>
                <a:gd name="connsiteY2" fmla="*/ 22801 h 87325"/>
                <a:gd name="connsiteX3" fmla="*/ 89511 w 137872"/>
                <a:gd name="connsiteY3" fmla="*/ 374 h 87325"/>
                <a:gd name="connsiteX4" fmla="*/ 57486 w 137872"/>
                <a:gd name="connsiteY4" fmla="*/ 1343 h 87325"/>
                <a:gd name="connsiteX5" fmla="*/ 62478 w 137872"/>
                <a:gd name="connsiteY5" fmla="*/ 10635 h 87325"/>
                <a:gd name="connsiteX6" fmla="*/ 56552 w 137872"/>
                <a:gd name="connsiteY6" fmla="*/ 17821 h 87325"/>
                <a:gd name="connsiteX7" fmla="*/ 35486 w 137872"/>
                <a:gd name="connsiteY7" fmla="*/ 23670 h 87325"/>
                <a:gd name="connsiteX8" fmla="*/ 13892 w 137872"/>
                <a:gd name="connsiteY8" fmla="*/ 23369 h 87325"/>
                <a:gd name="connsiteX9" fmla="*/ 9833 w 137872"/>
                <a:gd name="connsiteY9" fmla="*/ 30622 h 87325"/>
                <a:gd name="connsiteX10" fmla="*/ 9833 w 137872"/>
                <a:gd name="connsiteY10" fmla="*/ 42655 h 87325"/>
                <a:gd name="connsiteX11" fmla="*/ 33619 w 137872"/>
                <a:gd name="connsiteY11" fmla="*/ 52114 h 87325"/>
                <a:gd name="connsiteX12" fmla="*/ 25014 w 137872"/>
                <a:gd name="connsiteY12" fmla="*/ 58063 h 87325"/>
                <a:gd name="connsiteX13" fmla="*/ 20143 w 137872"/>
                <a:gd name="connsiteY13" fmla="*/ 66085 h 87325"/>
                <a:gd name="connsiteX14" fmla="*/ 376 w 137872"/>
                <a:gd name="connsiteY14" fmla="*/ 75811 h 87325"/>
                <a:gd name="connsiteX15" fmla="*/ 19737 w 137872"/>
                <a:gd name="connsiteY15" fmla="*/ 86139 h 87325"/>
                <a:gd name="connsiteX16" fmla="*/ 90526 w 137872"/>
                <a:gd name="connsiteY16" fmla="*/ 70998 h 87325"/>
                <a:gd name="connsiteX17" fmla="*/ 137813 w 137872"/>
                <a:gd name="connsiteY17" fmla="*/ 52982 h 87325"/>
                <a:gd name="connsiteX18" fmla="*/ 134200 w 137872"/>
                <a:gd name="connsiteY18" fmla="*/ 36271 h 87325"/>
                <a:gd name="connsiteX19" fmla="*/ 126082 w 137872"/>
                <a:gd name="connsiteY19" fmla="*/ 22032 h 87325"/>
                <a:gd name="connsiteX20" fmla="*/ 126488 w 137872"/>
                <a:gd name="connsiteY20" fmla="*/ 22099 h 87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7872" h="87325">
                  <a:moveTo>
                    <a:pt x="126488" y="22099"/>
                  </a:moveTo>
                  <a:cubicBezTo>
                    <a:pt x="120765" y="20294"/>
                    <a:pt x="106193" y="11069"/>
                    <a:pt x="99253" y="16450"/>
                  </a:cubicBezTo>
                  <a:cubicBezTo>
                    <a:pt x="93733" y="20729"/>
                    <a:pt x="98075" y="25542"/>
                    <a:pt x="85249" y="22801"/>
                  </a:cubicBezTo>
                  <a:cubicBezTo>
                    <a:pt x="60327" y="17487"/>
                    <a:pt x="85817" y="11404"/>
                    <a:pt x="89511" y="374"/>
                  </a:cubicBezTo>
                  <a:cubicBezTo>
                    <a:pt x="78511" y="1009"/>
                    <a:pt x="68567" y="-2167"/>
                    <a:pt x="57486" y="1343"/>
                  </a:cubicBezTo>
                  <a:cubicBezTo>
                    <a:pt x="46405" y="4853"/>
                    <a:pt x="53995" y="9732"/>
                    <a:pt x="62478" y="10635"/>
                  </a:cubicBezTo>
                  <a:cubicBezTo>
                    <a:pt x="76319" y="12139"/>
                    <a:pt x="62925" y="16517"/>
                    <a:pt x="56552" y="17821"/>
                  </a:cubicBezTo>
                  <a:cubicBezTo>
                    <a:pt x="49571" y="19292"/>
                    <a:pt x="42670" y="22834"/>
                    <a:pt x="35486" y="23670"/>
                  </a:cubicBezTo>
                  <a:cubicBezTo>
                    <a:pt x="28302" y="24506"/>
                    <a:pt x="21239" y="22901"/>
                    <a:pt x="13892" y="23369"/>
                  </a:cubicBezTo>
                  <a:cubicBezTo>
                    <a:pt x="457" y="24272"/>
                    <a:pt x="4151" y="27681"/>
                    <a:pt x="9833" y="30622"/>
                  </a:cubicBezTo>
                  <a:cubicBezTo>
                    <a:pt x="18316" y="34967"/>
                    <a:pt x="4841" y="39011"/>
                    <a:pt x="9833" y="42655"/>
                  </a:cubicBezTo>
                  <a:cubicBezTo>
                    <a:pt x="14826" y="46298"/>
                    <a:pt x="35648" y="46766"/>
                    <a:pt x="33619" y="52114"/>
                  </a:cubicBezTo>
                  <a:cubicBezTo>
                    <a:pt x="32767" y="54420"/>
                    <a:pt x="27652" y="56325"/>
                    <a:pt x="25014" y="58063"/>
                  </a:cubicBezTo>
                  <a:cubicBezTo>
                    <a:pt x="20955" y="60837"/>
                    <a:pt x="22781" y="63177"/>
                    <a:pt x="20143" y="66085"/>
                  </a:cubicBezTo>
                  <a:cubicBezTo>
                    <a:pt x="16084" y="70563"/>
                    <a:pt x="3664" y="71165"/>
                    <a:pt x="376" y="75811"/>
                  </a:cubicBezTo>
                  <a:cubicBezTo>
                    <a:pt x="-2912" y="80457"/>
                    <a:pt x="13283" y="85036"/>
                    <a:pt x="19737" y="86139"/>
                  </a:cubicBezTo>
                  <a:cubicBezTo>
                    <a:pt x="42508" y="89982"/>
                    <a:pt x="74818" y="80022"/>
                    <a:pt x="90526" y="70998"/>
                  </a:cubicBezTo>
                  <a:cubicBezTo>
                    <a:pt x="108142" y="60971"/>
                    <a:pt x="137123" y="70998"/>
                    <a:pt x="137813" y="52982"/>
                  </a:cubicBezTo>
                  <a:cubicBezTo>
                    <a:pt x="137813" y="47280"/>
                    <a:pt x="136595" y="41618"/>
                    <a:pt x="134200" y="36271"/>
                  </a:cubicBezTo>
                  <a:cubicBezTo>
                    <a:pt x="132861" y="32928"/>
                    <a:pt x="124621" y="25441"/>
                    <a:pt x="126082" y="22032"/>
                  </a:cubicBezTo>
                  <a:cubicBezTo>
                    <a:pt x="122429" y="20762"/>
                    <a:pt x="126123" y="22834"/>
                    <a:pt x="126488" y="2209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8443F2CF-F61F-4143-8FFB-23490C0D5E53}"/>
                </a:ext>
              </a:extLst>
            </p:cNvPr>
            <p:cNvSpPr/>
            <p:nvPr/>
          </p:nvSpPr>
          <p:spPr>
            <a:xfrm>
              <a:off x="5485393" y="3660260"/>
              <a:ext cx="332681" cy="264004"/>
            </a:xfrm>
            <a:custGeom>
              <a:avLst/>
              <a:gdLst>
                <a:gd name="connsiteX0" fmla="*/ 58729 w 332681"/>
                <a:gd name="connsiteY0" fmla="*/ 145939 h 264004"/>
                <a:gd name="connsiteX1" fmla="*/ 22929 w 332681"/>
                <a:gd name="connsiteY1" fmla="*/ 151086 h 264004"/>
                <a:gd name="connsiteX2" fmla="*/ 117 w 332681"/>
                <a:gd name="connsiteY2" fmla="*/ 169469 h 264004"/>
                <a:gd name="connsiteX3" fmla="*/ 23619 w 332681"/>
                <a:gd name="connsiteY3" fmla="*/ 173513 h 264004"/>
                <a:gd name="connsiteX4" fmla="*/ 54143 w 332681"/>
                <a:gd name="connsiteY4" fmla="*/ 173680 h 264004"/>
                <a:gd name="connsiteX5" fmla="*/ 79146 w 332681"/>
                <a:gd name="connsiteY5" fmla="*/ 163954 h 264004"/>
                <a:gd name="connsiteX6" fmla="*/ 58851 w 332681"/>
                <a:gd name="connsiteY6" fmla="*/ 145939 h 264004"/>
                <a:gd name="connsiteX7" fmla="*/ 332548 w 332681"/>
                <a:gd name="connsiteY7" fmla="*/ 196074 h 264004"/>
                <a:gd name="connsiteX8" fmla="*/ 313511 w 332681"/>
                <a:gd name="connsiteY8" fmla="*/ 187384 h 264004"/>
                <a:gd name="connsiteX9" fmla="*/ 292851 w 332681"/>
                <a:gd name="connsiteY9" fmla="*/ 191128 h 264004"/>
                <a:gd name="connsiteX10" fmla="*/ 281608 w 332681"/>
                <a:gd name="connsiteY10" fmla="*/ 179697 h 264004"/>
                <a:gd name="connsiteX11" fmla="*/ 268619 w 332681"/>
                <a:gd name="connsiteY11" fmla="*/ 168500 h 264004"/>
                <a:gd name="connsiteX12" fmla="*/ 256888 w 332681"/>
                <a:gd name="connsiteY12" fmla="*/ 155130 h 264004"/>
                <a:gd name="connsiteX13" fmla="*/ 231885 w 332681"/>
                <a:gd name="connsiteY13" fmla="*/ 147309 h 264004"/>
                <a:gd name="connsiteX14" fmla="*/ 219708 w 332681"/>
                <a:gd name="connsiteY14" fmla="*/ 132971 h 264004"/>
                <a:gd name="connsiteX15" fmla="*/ 195355 w 332681"/>
                <a:gd name="connsiteY15" fmla="*/ 122943 h 264004"/>
                <a:gd name="connsiteX16" fmla="*/ 164872 w 332681"/>
                <a:gd name="connsiteY16" fmla="*/ 121874 h 264004"/>
                <a:gd name="connsiteX17" fmla="*/ 176034 w 332681"/>
                <a:gd name="connsiteY17" fmla="*/ 110209 h 264004"/>
                <a:gd name="connsiteX18" fmla="*/ 199901 w 332681"/>
                <a:gd name="connsiteY18" fmla="*/ 79326 h 264004"/>
                <a:gd name="connsiteX19" fmla="*/ 144536 w 332681"/>
                <a:gd name="connsiteY19" fmla="*/ 79326 h 264004"/>
                <a:gd name="connsiteX20" fmla="*/ 122374 w 332681"/>
                <a:gd name="connsiteY20" fmla="*/ 77889 h 264004"/>
                <a:gd name="connsiteX21" fmla="*/ 147012 w 332681"/>
                <a:gd name="connsiteY21" fmla="*/ 64519 h 264004"/>
                <a:gd name="connsiteX22" fmla="*/ 142953 w 332681"/>
                <a:gd name="connsiteY22" fmla="*/ 55428 h 264004"/>
                <a:gd name="connsiteX23" fmla="*/ 83326 w 332681"/>
                <a:gd name="connsiteY23" fmla="*/ 72908 h 264004"/>
                <a:gd name="connsiteX24" fmla="*/ 71637 w 332681"/>
                <a:gd name="connsiteY24" fmla="*/ 83871 h 264004"/>
                <a:gd name="connsiteX25" fmla="*/ 61246 w 332681"/>
                <a:gd name="connsiteY25" fmla="*/ 92996 h 264004"/>
                <a:gd name="connsiteX26" fmla="*/ 38110 w 332681"/>
                <a:gd name="connsiteY26" fmla="*/ 92729 h 264004"/>
                <a:gd name="connsiteX27" fmla="*/ 69364 w 332681"/>
                <a:gd name="connsiteY27" fmla="*/ 99413 h 264004"/>
                <a:gd name="connsiteX28" fmla="*/ 67253 w 332681"/>
                <a:gd name="connsiteY28" fmla="*/ 117696 h 264004"/>
                <a:gd name="connsiteX29" fmla="*/ 47689 w 332681"/>
                <a:gd name="connsiteY29" fmla="*/ 134007 h 264004"/>
                <a:gd name="connsiteX30" fmla="*/ 69729 w 332681"/>
                <a:gd name="connsiteY30" fmla="*/ 126887 h 264004"/>
                <a:gd name="connsiteX31" fmla="*/ 74438 w 332681"/>
                <a:gd name="connsiteY31" fmla="*/ 134508 h 264004"/>
                <a:gd name="connsiteX32" fmla="*/ 102850 w 332681"/>
                <a:gd name="connsiteY32" fmla="*/ 121974 h 264004"/>
                <a:gd name="connsiteX33" fmla="*/ 107478 w 332681"/>
                <a:gd name="connsiteY33" fmla="*/ 136413 h 264004"/>
                <a:gd name="connsiteX34" fmla="*/ 95828 w 332681"/>
                <a:gd name="connsiteY34" fmla="*/ 151420 h 264004"/>
                <a:gd name="connsiteX35" fmla="*/ 143603 w 332681"/>
                <a:gd name="connsiteY35" fmla="*/ 146574 h 264004"/>
                <a:gd name="connsiteX36" fmla="*/ 152897 w 332681"/>
                <a:gd name="connsiteY36" fmla="*/ 151153 h 264004"/>
                <a:gd name="connsiteX37" fmla="*/ 165399 w 332681"/>
                <a:gd name="connsiteY37" fmla="*/ 162283 h 264004"/>
                <a:gd name="connsiteX38" fmla="*/ 166820 w 332681"/>
                <a:gd name="connsiteY38" fmla="*/ 175151 h 264004"/>
                <a:gd name="connsiteX39" fmla="*/ 149325 w 332681"/>
                <a:gd name="connsiteY39" fmla="*/ 186382 h 264004"/>
                <a:gd name="connsiteX40" fmla="*/ 130167 w 332681"/>
                <a:gd name="connsiteY40" fmla="*/ 184276 h 264004"/>
                <a:gd name="connsiteX41" fmla="*/ 119086 w 332681"/>
                <a:gd name="connsiteY41" fmla="*/ 194303 h 264004"/>
                <a:gd name="connsiteX42" fmla="*/ 119086 w 332681"/>
                <a:gd name="connsiteY42" fmla="*/ 214357 h 264004"/>
                <a:gd name="connsiteX43" fmla="*/ 97574 w 332681"/>
                <a:gd name="connsiteY43" fmla="*/ 223916 h 264004"/>
                <a:gd name="connsiteX44" fmla="*/ 120142 w 332681"/>
                <a:gd name="connsiteY44" fmla="*/ 223716 h 264004"/>
                <a:gd name="connsiteX45" fmla="*/ 142953 w 332681"/>
                <a:gd name="connsiteY45" fmla="*/ 226323 h 264004"/>
                <a:gd name="connsiteX46" fmla="*/ 162883 w 332681"/>
                <a:gd name="connsiteY46" fmla="*/ 228094 h 264004"/>
                <a:gd name="connsiteX47" fmla="*/ 180823 w 332681"/>
                <a:gd name="connsiteY47" fmla="*/ 225487 h 264004"/>
                <a:gd name="connsiteX48" fmla="*/ 166982 w 332681"/>
                <a:gd name="connsiteY48" fmla="*/ 233041 h 264004"/>
                <a:gd name="connsiteX49" fmla="*/ 134998 w 332681"/>
                <a:gd name="connsiteY49" fmla="*/ 236383 h 264004"/>
                <a:gd name="connsiteX50" fmla="*/ 98467 w 332681"/>
                <a:gd name="connsiteY50" fmla="*/ 259780 h 264004"/>
                <a:gd name="connsiteX51" fmla="*/ 134024 w 332681"/>
                <a:gd name="connsiteY51" fmla="*/ 254900 h 264004"/>
                <a:gd name="connsiteX52" fmla="*/ 152654 w 332681"/>
                <a:gd name="connsiteY52" fmla="*/ 254332 h 264004"/>
                <a:gd name="connsiteX53" fmla="*/ 170027 w 332681"/>
                <a:gd name="connsiteY53" fmla="*/ 247647 h 264004"/>
                <a:gd name="connsiteX54" fmla="*/ 204731 w 332681"/>
                <a:gd name="connsiteY54" fmla="*/ 243202 h 264004"/>
                <a:gd name="connsiteX55" fmla="*/ 228273 w 332681"/>
                <a:gd name="connsiteY55" fmla="*/ 243001 h 264004"/>
                <a:gd name="connsiteX56" fmla="*/ 283434 w 332681"/>
                <a:gd name="connsiteY56" fmla="*/ 236951 h 264004"/>
                <a:gd name="connsiteX57" fmla="*/ 303729 w 332681"/>
                <a:gd name="connsiteY57" fmla="*/ 223749 h 264004"/>
                <a:gd name="connsiteX58" fmla="*/ 311035 w 332681"/>
                <a:gd name="connsiteY58" fmla="*/ 210981 h 264004"/>
                <a:gd name="connsiteX59" fmla="*/ 332264 w 332681"/>
                <a:gd name="connsiteY59" fmla="*/ 196308 h 264004"/>
                <a:gd name="connsiteX60" fmla="*/ 332548 w 332681"/>
                <a:gd name="connsiteY60" fmla="*/ 195907 h 264004"/>
                <a:gd name="connsiteX61" fmla="*/ 26014 w 332681"/>
                <a:gd name="connsiteY61" fmla="*/ 83905 h 264004"/>
                <a:gd name="connsiteX62" fmla="*/ 47121 w 332681"/>
                <a:gd name="connsiteY62" fmla="*/ 67427 h 264004"/>
                <a:gd name="connsiteX63" fmla="*/ 26014 w 332681"/>
                <a:gd name="connsiteY63" fmla="*/ 83738 h 264004"/>
                <a:gd name="connsiteX64" fmla="*/ 215974 w 332681"/>
                <a:gd name="connsiteY64" fmla="*/ 18996 h 264004"/>
                <a:gd name="connsiteX65" fmla="*/ 220317 w 332681"/>
                <a:gd name="connsiteY65" fmla="*/ -122 h 264004"/>
                <a:gd name="connsiteX66" fmla="*/ 215974 w 332681"/>
                <a:gd name="connsiteY66" fmla="*/ 18829 h 2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32681" h="264004">
                  <a:moveTo>
                    <a:pt x="58729" y="145939"/>
                  </a:moveTo>
                  <a:cubicBezTo>
                    <a:pt x="47364" y="141293"/>
                    <a:pt x="33645" y="148713"/>
                    <a:pt x="22929" y="151086"/>
                  </a:cubicBezTo>
                  <a:cubicBezTo>
                    <a:pt x="17856" y="152223"/>
                    <a:pt x="2635" y="165024"/>
                    <a:pt x="117" y="169469"/>
                  </a:cubicBezTo>
                  <a:cubicBezTo>
                    <a:pt x="-2399" y="173914"/>
                    <a:pt x="22726" y="177190"/>
                    <a:pt x="23619" y="173513"/>
                  </a:cubicBezTo>
                  <a:cubicBezTo>
                    <a:pt x="26501" y="160512"/>
                    <a:pt x="43386" y="170171"/>
                    <a:pt x="54143" y="173680"/>
                  </a:cubicBezTo>
                  <a:cubicBezTo>
                    <a:pt x="56294" y="169235"/>
                    <a:pt x="73504" y="167297"/>
                    <a:pt x="79146" y="163954"/>
                  </a:cubicBezTo>
                  <a:cubicBezTo>
                    <a:pt x="90511" y="157270"/>
                    <a:pt x="66360" y="149081"/>
                    <a:pt x="58851" y="145939"/>
                  </a:cubicBezTo>
                  <a:close/>
                  <a:moveTo>
                    <a:pt x="332548" y="196074"/>
                  </a:moveTo>
                  <a:cubicBezTo>
                    <a:pt x="332954" y="191128"/>
                    <a:pt x="321061" y="188420"/>
                    <a:pt x="313511" y="187384"/>
                  </a:cubicBezTo>
                  <a:cubicBezTo>
                    <a:pt x="299873" y="185579"/>
                    <a:pt x="302633" y="188821"/>
                    <a:pt x="292851" y="191128"/>
                  </a:cubicBezTo>
                  <a:cubicBezTo>
                    <a:pt x="277630" y="194737"/>
                    <a:pt x="281121" y="182705"/>
                    <a:pt x="281608" y="179697"/>
                  </a:cubicBezTo>
                  <a:cubicBezTo>
                    <a:pt x="281608" y="178694"/>
                    <a:pt x="269431" y="171909"/>
                    <a:pt x="268619" y="168500"/>
                  </a:cubicBezTo>
                  <a:cubicBezTo>
                    <a:pt x="266589" y="163102"/>
                    <a:pt x="262490" y="158403"/>
                    <a:pt x="256888" y="155130"/>
                  </a:cubicBezTo>
                  <a:cubicBezTo>
                    <a:pt x="249866" y="150618"/>
                    <a:pt x="239232" y="151086"/>
                    <a:pt x="231885" y="147309"/>
                  </a:cubicBezTo>
                  <a:cubicBezTo>
                    <a:pt x="224538" y="143532"/>
                    <a:pt x="222266" y="137951"/>
                    <a:pt x="219708" y="132971"/>
                  </a:cubicBezTo>
                  <a:cubicBezTo>
                    <a:pt x="215650" y="124715"/>
                    <a:pt x="204649" y="128124"/>
                    <a:pt x="195355" y="122943"/>
                  </a:cubicBezTo>
                  <a:cubicBezTo>
                    <a:pt x="187237" y="118130"/>
                    <a:pt x="175384" y="120972"/>
                    <a:pt x="164872" y="121874"/>
                  </a:cubicBezTo>
                  <a:cubicBezTo>
                    <a:pt x="154359" y="122776"/>
                    <a:pt x="174491" y="110811"/>
                    <a:pt x="176034" y="110209"/>
                  </a:cubicBezTo>
                  <a:cubicBezTo>
                    <a:pt x="189631" y="104861"/>
                    <a:pt x="200388" y="87548"/>
                    <a:pt x="199901" y="79326"/>
                  </a:cubicBezTo>
                  <a:cubicBezTo>
                    <a:pt x="199535" y="73777"/>
                    <a:pt x="150868" y="78557"/>
                    <a:pt x="144536" y="79326"/>
                  </a:cubicBezTo>
                  <a:cubicBezTo>
                    <a:pt x="138204" y="80094"/>
                    <a:pt x="122049" y="84172"/>
                    <a:pt x="122374" y="77889"/>
                  </a:cubicBezTo>
                  <a:cubicBezTo>
                    <a:pt x="122374" y="75148"/>
                    <a:pt x="143359" y="67561"/>
                    <a:pt x="147012" y="64519"/>
                  </a:cubicBezTo>
                  <a:cubicBezTo>
                    <a:pt x="155130" y="57834"/>
                    <a:pt x="157403" y="42025"/>
                    <a:pt x="142953" y="55428"/>
                  </a:cubicBezTo>
                  <a:cubicBezTo>
                    <a:pt x="128503" y="68831"/>
                    <a:pt x="86493" y="50782"/>
                    <a:pt x="83326" y="72908"/>
                  </a:cubicBezTo>
                  <a:cubicBezTo>
                    <a:pt x="82556" y="78356"/>
                    <a:pt x="78578" y="79593"/>
                    <a:pt x="71637" y="83871"/>
                  </a:cubicBezTo>
                  <a:cubicBezTo>
                    <a:pt x="68552" y="85743"/>
                    <a:pt x="71353" y="96840"/>
                    <a:pt x="61246" y="92996"/>
                  </a:cubicBezTo>
                  <a:cubicBezTo>
                    <a:pt x="57471" y="91559"/>
                    <a:pt x="38556" y="84272"/>
                    <a:pt x="38110" y="92729"/>
                  </a:cubicBezTo>
                  <a:cubicBezTo>
                    <a:pt x="37744" y="99848"/>
                    <a:pt x="63275" y="96940"/>
                    <a:pt x="69364" y="99413"/>
                  </a:cubicBezTo>
                  <a:cubicBezTo>
                    <a:pt x="75452" y="101887"/>
                    <a:pt x="36527" y="113718"/>
                    <a:pt x="67253" y="117696"/>
                  </a:cubicBezTo>
                  <a:cubicBezTo>
                    <a:pt x="91323" y="120804"/>
                    <a:pt x="36648" y="131667"/>
                    <a:pt x="47689" y="134007"/>
                  </a:cubicBezTo>
                  <a:cubicBezTo>
                    <a:pt x="53372" y="135210"/>
                    <a:pt x="65346" y="128358"/>
                    <a:pt x="69729" y="126887"/>
                  </a:cubicBezTo>
                  <a:cubicBezTo>
                    <a:pt x="74113" y="125417"/>
                    <a:pt x="73545" y="133405"/>
                    <a:pt x="74438" y="134508"/>
                  </a:cubicBezTo>
                  <a:cubicBezTo>
                    <a:pt x="84382" y="146540"/>
                    <a:pt x="102850" y="121974"/>
                    <a:pt x="102850" y="121974"/>
                  </a:cubicBezTo>
                  <a:cubicBezTo>
                    <a:pt x="104474" y="121974"/>
                    <a:pt x="107680" y="134909"/>
                    <a:pt x="107478" y="136413"/>
                  </a:cubicBezTo>
                  <a:cubicBezTo>
                    <a:pt x="106828" y="141393"/>
                    <a:pt x="94164" y="146674"/>
                    <a:pt x="95828" y="151420"/>
                  </a:cubicBezTo>
                  <a:cubicBezTo>
                    <a:pt x="98223" y="158105"/>
                    <a:pt x="138448" y="149649"/>
                    <a:pt x="143603" y="146574"/>
                  </a:cubicBezTo>
                  <a:cubicBezTo>
                    <a:pt x="153425" y="140625"/>
                    <a:pt x="160326" y="146306"/>
                    <a:pt x="152897" y="151153"/>
                  </a:cubicBezTo>
                  <a:cubicBezTo>
                    <a:pt x="142344" y="158038"/>
                    <a:pt x="155008" y="160578"/>
                    <a:pt x="165399" y="162283"/>
                  </a:cubicBezTo>
                  <a:cubicBezTo>
                    <a:pt x="174329" y="163787"/>
                    <a:pt x="166373" y="171341"/>
                    <a:pt x="166820" y="175151"/>
                  </a:cubicBezTo>
                  <a:cubicBezTo>
                    <a:pt x="167713" y="183072"/>
                    <a:pt x="165318" y="185512"/>
                    <a:pt x="149325" y="186382"/>
                  </a:cubicBezTo>
                  <a:cubicBezTo>
                    <a:pt x="140640" y="186883"/>
                    <a:pt x="136743" y="184610"/>
                    <a:pt x="130167" y="184276"/>
                  </a:cubicBezTo>
                  <a:cubicBezTo>
                    <a:pt x="119777" y="183774"/>
                    <a:pt x="123429" y="191228"/>
                    <a:pt x="119086" y="194303"/>
                  </a:cubicBezTo>
                  <a:cubicBezTo>
                    <a:pt x="103175" y="205199"/>
                    <a:pt x="155901" y="202358"/>
                    <a:pt x="119086" y="214357"/>
                  </a:cubicBezTo>
                  <a:cubicBezTo>
                    <a:pt x="114743" y="215761"/>
                    <a:pt x="89618" y="219705"/>
                    <a:pt x="97574" y="223916"/>
                  </a:cubicBezTo>
                  <a:cubicBezTo>
                    <a:pt x="105529" y="228128"/>
                    <a:pt x="111659" y="224651"/>
                    <a:pt x="120142" y="223716"/>
                  </a:cubicBezTo>
                  <a:cubicBezTo>
                    <a:pt x="123673" y="223315"/>
                    <a:pt x="138813" y="225955"/>
                    <a:pt x="142953" y="226323"/>
                  </a:cubicBezTo>
                  <a:cubicBezTo>
                    <a:pt x="149529" y="227409"/>
                    <a:pt x="156185" y="228000"/>
                    <a:pt x="162883" y="228094"/>
                  </a:cubicBezTo>
                  <a:cubicBezTo>
                    <a:pt x="166942" y="227860"/>
                    <a:pt x="176764" y="224417"/>
                    <a:pt x="180823" y="225487"/>
                  </a:cubicBezTo>
                  <a:cubicBezTo>
                    <a:pt x="185897" y="226857"/>
                    <a:pt x="168240" y="232807"/>
                    <a:pt x="166982" y="233041"/>
                  </a:cubicBezTo>
                  <a:cubicBezTo>
                    <a:pt x="156388" y="234779"/>
                    <a:pt x="144414" y="232372"/>
                    <a:pt x="134998" y="236383"/>
                  </a:cubicBezTo>
                  <a:cubicBezTo>
                    <a:pt x="121075" y="242366"/>
                    <a:pt x="105489" y="250989"/>
                    <a:pt x="98467" y="259780"/>
                  </a:cubicBezTo>
                  <a:cubicBezTo>
                    <a:pt x="88969" y="271177"/>
                    <a:pt x="125581" y="253763"/>
                    <a:pt x="134024" y="254900"/>
                  </a:cubicBezTo>
                  <a:cubicBezTo>
                    <a:pt x="141046" y="255836"/>
                    <a:pt x="147743" y="259780"/>
                    <a:pt x="152654" y="254332"/>
                  </a:cubicBezTo>
                  <a:cubicBezTo>
                    <a:pt x="157565" y="248883"/>
                    <a:pt x="159960" y="249886"/>
                    <a:pt x="170027" y="247647"/>
                  </a:cubicBezTo>
                  <a:cubicBezTo>
                    <a:pt x="181676" y="244973"/>
                    <a:pt x="193650" y="247212"/>
                    <a:pt x="204731" y="243202"/>
                  </a:cubicBezTo>
                  <a:cubicBezTo>
                    <a:pt x="214513" y="239659"/>
                    <a:pt x="217760" y="241029"/>
                    <a:pt x="228273" y="243001"/>
                  </a:cubicBezTo>
                  <a:cubicBezTo>
                    <a:pt x="238785" y="244973"/>
                    <a:pt x="272150" y="239057"/>
                    <a:pt x="283434" y="236951"/>
                  </a:cubicBezTo>
                  <a:cubicBezTo>
                    <a:pt x="294718" y="234846"/>
                    <a:pt x="340706" y="219638"/>
                    <a:pt x="303729" y="223749"/>
                  </a:cubicBezTo>
                  <a:cubicBezTo>
                    <a:pt x="287128" y="225654"/>
                    <a:pt x="307788" y="212385"/>
                    <a:pt x="311035" y="210981"/>
                  </a:cubicBezTo>
                  <a:cubicBezTo>
                    <a:pt x="319722" y="207037"/>
                    <a:pt x="331736" y="202826"/>
                    <a:pt x="332264" y="196308"/>
                  </a:cubicBezTo>
                  <a:cubicBezTo>
                    <a:pt x="333197" y="188320"/>
                    <a:pt x="331939" y="203494"/>
                    <a:pt x="332548" y="195907"/>
                  </a:cubicBezTo>
                  <a:close/>
                  <a:moveTo>
                    <a:pt x="26014" y="83905"/>
                  </a:moveTo>
                  <a:cubicBezTo>
                    <a:pt x="39449" y="82802"/>
                    <a:pt x="53899" y="70301"/>
                    <a:pt x="47121" y="67427"/>
                  </a:cubicBezTo>
                  <a:cubicBezTo>
                    <a:pt x="40342" y="64553"/>
                    <a:pt x="15948" y="84573"/>
                    <a:pt x="26014" y="83738"/>
                  </a:cubicBezTo>
                  <a:close/>
                  <a:moveTo>
                    <a:pt x="215974" y="18996"/>
                  </a:moveTo>
                  <a:cubicBezTo>
                    <a:pt x="224092" y="14350"/>
                    <a:pt x="233347" y="-2428"/>
                    <a:pt x="220317" y="-122"/>
                  </a:cubicBezTo>
                  <a:cubicBezTo>
                    <a:pt x="207288" y="2184"/>
                    <a:pt x="212443" y="20868"/>
                    <a:pt x="215974" y="1882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21F76FDB-88CC-4127-AA59-221487A84BA9}"/>
                </a:ext>
              </a:extLst>
            </p:cNvPr>
            <p:cNvSpPr/>
            <p:nvPr/>
          </p:nvSpPr>
          <p:spPr>
            <a:xfrm>
              <a:off x="6025946" y="3726809"/>
              <a:ext cx="155655" cy="75462"/>
            </a:xfrm>
            <a:custGeom>
              <a:avLst/>
              <a:gdLst>
                <a:gd name="connsiteX0" fmla="*/ 78924 w 155655"/>
                <a:gd name="connsiteY0" fmla="*/ 27249 h 75462"/>
                <a:gd name="connsiteX1" fmla="*/ 67803 w 155655"/>
                <a:gd name="connsiteY1" fmla="*/ 845 h 75462"/>
                <a:gd name="connsiteX2" fmla="*/ 45275 w 155655"/>
                <a:gd name="connsiteY2" fmla="*/ 12509 h 75462"/>
                <a:gd name="connsiteX3" fmla="*/ 35006 w 155655"/>
                <a:gd name="connsiteY3" fmla="*/ 21333 h 75462"/>
                <a:gd name="connsiteX4" fmla="*/ 10084 w 155655"/>
                <a:gd name="connsiteY4" fmla="*/ 18726 h 75462"/>
                <a:gd name="connsiteX5" fmla="*/ 1113 w 155655"/>
                <a:gd name="connsiteY5" fmla="*/ 43627 h 75462"/>
                <a:gd name="connsiteX6" fmla="*/ 8947 w 155655"/>
                <a:gd name="connsiteY6" fmla="*/ 53654 h 75462"/>
                <a:gd name="connsiteX7" fmla="*/ 16253 w 155655"/>
                <a:gd name="connsiteY7" fmla="*/ 65686 h 75462"/>
                <a:gd name="connsiteX8" fmla="*/ 63744 w 155655"/>
                <a:gd name="connsiteY8" fmla="*/ 70633 h 75462"/>
                <a:gd name="connsiteX9" fmla="*/ 53677 w 155655"/>
                <a:gd name="connsiteY9" fmla="*/ 59770 h 75462"/>
                <a:gd name="connsiteX10" fmla="*/ 78599 w 155655"/>
                <a:gd name="connsiteY10" fmla="*/ 65486 h 75462"/>
                <a:gd name="connsiteX11" fmla="*/ 83713 w 155655"/>
                <a:gd name="connsiteY11" fmla="*/ 52117 h 75462"/>
                <a:gd name="connsiteX12" fmla="*/ 64109 w 155655"/>
                <a:gd name="connsiteY12" fmla="*/ 51381 h 75462"/>
                <a:gd name="connsiteX13" fmla="*/ 73525 w 155655"/>
                <a:gd name="connsiteY13" fmla="*/ 40819 h 75462"/>
                <a:gd name="connsiteX14" fmla="*/ 91953 w 155655"/>
                <a:gd name="connsiteY14" fmla="*/ 36474 h 75462"/>
                <a:gd name="connsiteX15" fmla="*/ 78924 w 155655"/>
                <a:gd name="connsiteY15" fmla="*/ 27015 h 75462"/>
                <a:gd name="connsiteX16" fmla="*/ 154096 w 155655"/>
                <a:gd name="connsiteY16" fmla="*/ 42858 h 75462"/>
                <a:gd name="connsiteX17" fmla="*/ 140377 w 155655"/>
                <a:gd name="connsiteY17" fmla="*/ 46200 h 75462"/>
                <a:gd name="connsiteX18" fmla="*/ 132259 w 155655"/>
                <a:gd name="connsiteY18" fmla="*/ 41087 h 75462"/>
                <a:gd name="connsiteX19" fmla="*/ 120529 w 155655"/>
                <a:gd name="connsiteY19" fmla="*/ 44262 h 75462"/>
                <a:gd name="connsiteX20" fmla="*/ 106484 w 155655"/>
                <a:gd name="connsiteY20" fmla="*/ 54022 h 75462"/>
                <a:gd name="connsiteX21" fmla="*/ 121949 w 155655"/>
                <a:gd name="connsiteY21" fmla="*/ 62946 h 75462"/>
                <a:gd name="connsiteX22" fmla="*/ 108270 w 155655"/>
                <a:gd name="connsiteY22" fmla="*/ 69363 h 75462"/>
                <a:gd name="connsiteX23" fmla="*/ 145532 w 155655"/>
                <a:gd name="connsiteY23" fmla="*/ 62678 h 75462"/>
                <a:gd name="connsiteX24" fmla="*/ 153893 w 155655"/>
                <a:gd name="connsiteY24" fmla="*/ 42624 h 75462"/>
                <a:gd name="connsiteX25" fmla="*/ 154096 w 155655"/>
                <a:gd name="connsiteY25" fmla="*/ 42858 h 7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5655" h="75462">
                  <a:moveTo>
                    <a:pt x="78924" y="27249"/>
                  </a:moveTo>
                  <a:cubicBezTo>
                    <a:pt x="64636" y="23706"/>
                    <a:pt x="101817" y="-6642"/>
                    <a:pt x="67803" y="845"/>
                  </a:cubicBezTo>
                  <a:cubicBezTo>
                    <a:pt x="55382" y="3585"/>
                    <a:pt x="59685" y="12142"/>
                    <a:pt x="45275" y="12509"/>
                  </a:cubicBezTo>
                  <a:cubicBezTo>
                    <a:pt x="29770" y="12944"/>
                    <a:pt x="44545" y="22169"/>
                    <a:pt x="35006" y="21333"/>
                  </a:cubicBezTo>
                  <a:cubicBezTo>
                    <a:pt x="26888" y="20631"/>
                    <a:pt x="18770" y="10705"/>
                    <a:pt x="10084" y="18726"/>
                  </a:cubicBezTo>
                  <a:cubicBezTo>
                    <a:pt x="1398" y="26748"/>
                    <a:pt x="-2093" y="34536"/>
                    <a:pt x="1113" y="43627"/>
                  </a:cubicBezTo>
                  <a:cubicBezTo>
                    <a:pt x="2169" y="47631"/>
                    <a:pt x="4970" y="51187"/>
                    <a:pt x="8947" y="53654"/>
                  </a:cubicBezTo>
                  <a:cubicBezTo>
                    <a:pt x="16010" y="58300"/>
                    <a:pt x="12276" y="60974"/>
                    <a:pt x="16253" y="65686"/>
                  </a:cubicBezTo>
                  <a:cubicBezTo>
                    <a:pt x="21084" y="71402"/>
                    <a:pt x="51120" y="71536"/>
                    <a:pt x="63744" y="70633"/>
                  </a:cubicBezTo>
                  <a:cubicBezTo>
                    <a:pt x="62891" y="69898"/>
                    <a:pt x="42434" y="60305"/>
                    <a:pt x="53677" y="59770"/>
                  </a:cubicBezTo>
                  <a:cubicBezTo>
                    <a:pt x="62729" y="59336"/>
                    <a:pt x="69466" y="64851"/>
                    <a:pt x="78599" y="65486"/>
                  </a:cubicBezTo>
                  <a:cubicBezTo>
                    <a:pt x="95119" y="66656"/>
                    <a:pt x="95972" y="54289"/>
                    <a:pt x="83713" y="52117"/>
                  </a:cubicBezTo>
                  <a:cubicBezTo>
                    <a:pt x="75596" y="50679"/>
                    <a:pt x="71131" y="56395"/>
                    <a:pt x="64109" y="51381"/>
                  </a:cubicBezTo>
                  <a:cubicBezTo>
                    <a:pt x="60293" y="48640"/>
                    <a:pt x="71983" y="43293"/>
                    <a:pt x="73525" y="40819"/>
                  </a:cubicBezTo>
                  <a:cubicBezTo>
                    <a:pt x="75677" y="37310"/>
                    <a:pt x="86758" y="37811"/>
                    <a:pt x="91953" y="36474"/>
                  </a:cubicBezTo>
                  <a:cubicBezTo>
                    <a:pt x="103359" y="33600"/>
                    <a:pt x="83105" y="28051"/>
                    <a:pt x="78924" y="27015"/>
                  </a:cubicBezTo>
                  <a:close/>
                  <a:moveTo>
                    <a:pt x="154096" y="42858"/>
                  </a:moveTo>
                  <a:cubicBezTo>
                    <a:pt x="148698" y="41087"/>
                    <a:pt x="145653" y="48975"/>
                    <a:pt x="140377" y="46200"/>
                  </a:cubicBezTo>
                  <a:cubicBezTo>
                    <a:pt x="139362" y="45699"/>
                    <a:pt x="134167" y="40452"/>
                    <a:pt x="132259" y="41087"/>
                  </a:cubicBezTo>
                  <a:cubicBezTo>
                    <a:pt x="125440" y="43560"/>
                    <a:pt x="131447" y="44696"/>
                    <a:pt x="120529" y="44262"/>
                  </a:cubicBezTo>
                  <a:cubicBezTo>
                    <a:pt x="110868" y="43894"/>
                    <a:pt x="104293" y="49710"/>
                    <a:pt x="106484" y="54022"/>
                  </a:cubicBezTo>
                  <a:cubicBezTo>
                    <a:pt x="108676" y="58333"/>
                    <a:pt x="115577" y="60706"/>
                    <a:pt x="121949" y="62946"/>
                  </a:cubicBezTo>
                  <a:cubicBezTo>
                    <a:pt x="134126" y="66990"/>
                    <a:pt x="107134" y="66622"/>
                    <a:pt x="108270" y="69363"/>
                  </a:cubicBezTo>
                  <a:cubicBezTo>
                    <a:pt x="113709" y="82732"/>
                    <a:pt x="142244" y="69564"/>
                    <a:pt x="145532" y="62678"/>
                  </a:cubicBezTo>
                  <a:cubicBezTo>
                    <a:pt x="146831" y="59938"/>
                    <a:pt x="157709" y="43861"/>
                    <a:pt x="153893" y="42624"/>
                  </a:cubicBezTo>
                  <a:cubicBezTo>
                    <a:pt x="150078" y="41387"/>
                    <a:pt x="158967" y="44195"/>
                    <a:pt x="154096" y="4285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94EC706C-4EC9-4450-9B80-305CBCD7917D}"/>
                </a:ext>
              </a:extLst>
            </p:cNvPr>
            <p:cNvSpPr/>
            <p:nvPr/>
          </p:nvSpPr>
          <p:spPr>
            <a:xfrm>
              <a:off x="6133094" y="3422086"/>
              <a:ext cx="437081" cy="362666"/>
            </a:xfrm>
            <a:custGeom>
              <a:avLst/>
              <a:gdLst>
                <a:gd name="connsiteX0" fmla="*/ 432347 w 437081"/>
                <a:gd name="connsiteY0" fmla="*/ 89049 h 362666"/>
                <a:gd name="connsiteX1" fmla="*/ 432103 w 437081"/>
                <a:gd name="connsiteY1" fmla="*/ 77652 h 362666"/>
                <a:gd name="connsiteX2" fmla="*/ 425447 w 437081"/>
                <a:gd name="connsiteY2" fmla="*/ 63414 h 362666"/>
                <a:gd name="connsiteX3" fmla="*/ 424838 w 437081"/>
                <a:gd name="connsiteY3" fmla="*/ 54322 h 362666"/>
                <a:gd name="connsiteX4" fmla="*/ 418060 w 437081"/>
                <a:gd name="connsiteY4" fmla="*/ 47404 h 362666"/>
                <a:gd name="connsiteX5" fmla="*/ 412986 w 437081"/>
                <a:gd name="connsiteY5" fmla="*/ 27650 h 362666"/>
                <a:gd name="connsiteX6" fmla="*/ 371381 w 437081"/>
                <a:gd name="connsiteY6" fmla="*/ 16788 h 362666"/>
                <a:gd name="connsiteX7" fmla="*/ 330102 w 437081"/>
                <a:gd name="connsiteY7" fmla="*/ 744 h 362666"/>
                <a:gd name="connsiteX8" fmla="*/ 309807 w 437081"/>
                <a:gd name="connsiteY8" fmla="*/ 10069 h 362666"/>
                <a:gd name="connsiteX9" fmla="*/ 279486 w 437081"/>
                <a:gd name="connsiteY9" fmla="*/ 13813 h 362666"/>
                <a:gd name="connsiteX10" fmla="*/ 240561 w 437081"/>
                <a:gd name="connsiteY10" fmla="*/ 11239 h 362666"/>
                <a:gd name="connsiteX11" fmla="*/ 238085 w 437081"/>
                <a:gd name="connsiteY11" fmla="*/ 25578 h 362666"/>
                <a:gd name="connsiteX12" fmla="*/ 199159 w 437081"/>
                <a:gd name="connsiteY12" fmla="*/ 28920 h 362666"/>
                <a:gd name="connsiteX13" fmla="*/ 174805 w 437081"/>
                <a:gd name="connsiteY13" fmla="*/ 46602 h 362666"/>
                <a:gd name="connsiteX14" fmla="*/ 173344 w 437081"/>
                <a:gd name="connsiteY14" fmla="*/ 54757 h 362666"/>
                <a:gd name="connsiteX15" fmla="*/ 159016 w 437081"/>
                <a:gd name="connsiteY15" fmla="*/ 62110 h 362666"/>
                <a:gd name="connsiteX16" fmla="*/ 146108 w 437081"/>
                <a:gd name="connsiteY16" fmla="*/ 77117 h 362666"/>
                <a:gd name="connsiteX17" fmla="*/ 112662 w 437081"/>
                <a:gd name="connsiteY17" fmla="*/ 84838 h 362666"/>
                <a:gd name="connsiteX18" fmla="*/ 95452 w 437081"/>
                <a:gd name="connsiteY18" fmla="*/ 115454 h 362666"/>
                <a:gd name="connsiteX19" fmla="*/ 97482 w 437081"/>
                <a:gd name="connsiteY19" fmla="*/ 128456 h 362666"/>
                <a:gd name="connsiteX20" fmla="*/ 79866 w 437081"/>
                <a:gd name="connsiteY20" fmla="*/ 139720 h 362666"/>
                <a:gd name="connsiteX21" fmla="*/ 45040 w 437081"/>
                <a:gd name="connsiteY21" fmla="*/ 146204 h 362666"/>
                <a:gd name="connsiteX22" fmla="*/ 36516 w 437081"/>
                <a:gd name="connsiteY22" fmla="*/ 169400 h 362666"/>
                <a:gd name="connsiteX23" fmla="*/ 33147 w 437081"/>
                <a:gd name="connsiteY23" fmla="*/ 179427 h 362666"/>
                <a:gd name="connsiteX24" fmla="*/ 38383 w 437081"/>
                <a:gd name="connsiteY24" fmla="*/ 191259 h 362666"/>
                <a:gd name="connsiteX25" fmla="*/ 45567 w 437081"/>
                <a:gd name="connsiteY25" fmla="*/ 206233 h 362666"/>
                <a:gd name="connsiteX26" fmla="*/ 48855 w 437081"/>
                <a:gd name="connsiteY26" fmla="*/ 220772 h 362666"/>
                <a:gd name="connsiteX27" fmla="*/ 49424 w 437081"/>
                <a:gd name="connsiteY27" fmla="*/ 233540 h 362666"/>
                <a:gd name="connsiteX28" fmla="*/ 39195 w 437081"/>
                <a:gd name="connsiteY28" fmla="*/ 247110 h 362666"/>
                <a:gd name="connsiteX29" fmla="*/ 22269 w 437081"/>
                <a:gd name="connsiteY29" fmla="*/ 256669 h 362666"/>
                <a:gd name="connsiteX30" fmla="*/ 16058 w 437081"/>
                <a:gd name="connsiteY30" fmla="*/ 273380 h 362666"/>
                <a:gd name="connsiteX31" fmla="*/ 2340 w 437081"/>
                <a:gd name="connsiteY31" fmla="*/ 282773 h 362666"/>
                <a:gd name="connsiteX32" fmla="*/ 22269 w 437081"/>
                <a:gd name="connsiteY32" fmla="*/ 302526 h 362666"/>
                <a:gd name="connsiteX33" fmla="*/ 44269 w 437081"/>
                <a:gd name="connsiteY33" fmla="*/ 325622 h 362666"/>
                <a:gd name="connsiteX34" fmla="*/ 52387 w 437081"/>
                <a:gd name="connsiteY34" fmla="*/ 342801 h 362666"/>
                <a:gd name="connsiteX35" fmla="*/ 60910 w 437081"/>
                <a:gd name="connsiteY35" fmla="*/ 360783 h 362666"/>
                <a:gd name="connsiteX36" fmla="*/ 94559 w 437081"/>
                <a:gd name="connsiteY36" fmla="*/ 360148 h 362666"/>
                <a:gd name="connsiteX37" fmla="*/ 104504 w 437081"/>
                <a:gd name="connsiteY37" fmla="*/ 347447 h 362666"/>
                <a:gd name="connsiteX38" fmla="*/ 138234 w 437081"/>
                <a:gd name="connsiteY38" fmla="*/ 344506 h 362666"/>
                <a:gd name="connsiteX39" fmla="*/ 160112 w 437081"/>
                <a:gd name="connsiteY39" fmla="*/ 334713 h 362666"/>
                <a:gd name="connsiteX40" fmla="*/ 175130 w 437081"/>
                <a:gd name="connsiteY40" fmla="*/ 337721 h 362666"/>
                <a:gd name="connsiteX41" fmla="*/ 190514 w 437081"/>
                <a:gd name="connsiteY41" fmla="*/ 319538 h 362666"/>
                <a:gd name="connsiteX42" fmla="*/ 171152 w 437081"/>
                <a:gd name="connsiteY42" fmla="*/ 326223 h 362666"/>
                <a:gd name="connsiteX43" fmla="*/ 178499 w 437081"/>
                <a:gd name="connsiteY43" fmla="*/ 310648 h 362666"/>
                <a:gd name="connsiteX44" fmla="*/ 183167 w 437081"/>
                <a:gd name="connsiteY44" fmla="*/ 288956 h 362666"/>
                <a:gd name="connsiteX45" fmla="*/ 215638 w 437081"/>
                <a:gd name="connsiteY45" fmla="*/ 276455 h 362666"/>
                <a:gd name="connsiteX46" fmla="*/ 236583 w 437081"/>
                <a:gd name="connsiteY46" fmla="*/ 261682 h 362666"/>
                <a:gd name="connsiteX47" fmla="*/ 253671 w 437081"/>
                <a:gd name="connsiteY47" fmla="*/ 250485 h 362666"/>
                <a:gd name="connsiteX48" fmla="*/ 225989 w 437081"/>
                <a:gd name="connsiteY48" fmla="*/ 234542 h 362666"/>
                <a:gd name="connsiteX49" fmla="*/ 199037 w 437081"/>
                <a:gd name="connsiteY49" fmla="*/ 227523 h 362666"/>
                <a:gd name="connsiteX50" fmla="*/ 199037 w 437081"/>
                <a:gd name="connsiteY50" fmla="*/ 203592 h 362666"/>
                <a:gd name="connsiteX51" fmla="*/ 212513 w 437081"/>
                <a:gd name="connsiteY51" fmla="*/ 182903 h 362666"/>
                <a:gd name="connsiteX52" fmla="*/ 243686 w 437081"/>
                <a:gd name="connsiteY52" fmla="*/ 170269 h 362666"/>
                <a:gd name="connsiteX53" fmla="*/ 327829 w 437081"/>
                <a:gd name="connsiteY53" fmla="*/ 142895 h 362666"/>
                <a:gd name="connsiteX54" fmla="*/ 345891 w 437081"/>
                <a:gd name="connsiteY54" fmla="*/ 129960 h 362666"/>
                <a:gd name="connsiteX55" fmla="*/ 352426 w 437081"/>
                <a:gd name="connsiteY55" fmla="*/ 111677 h 362666"/>
                <a:gd name="connsiteX56" fmla="*/ 437015 w 437081"/>
                <a:gd name="connsiteY56" fmla="*/ 97706 h 362666"/>
                <a:gd name="connsiteX57" fmla="*/ 432672 w 437081"/>
                <a:gd name="connsiteY57" fmla="*/ 89116 h 362666"/>
                <a:gd name="connsiteX58" fmla="*/ 248638 w 437081"/>
                <a:gd name="connsiteY58" fmla="*/ 304531 h 362666"/>
                <a:gd name="connsiteX59" fmla="*/ 224812 w 437081"/>
                <a:gd name="connsiteY59" fmla="*/ 326123 h 362666"/>
                <a:gd name="connsiteX60" fmla="*/ 248638 w 437081"/>
                <a:gd name="connsiteY60" fmla="*/ 304531 h 3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37081" h="362666">
                  <a:moveTo>
                    <a:pt x="432347" y="89049"/>
                  </a:moveTo>
                  <a:cubicBezTo>
                    <a:pt x="418669" y="81596"/>
                    <a:pt x="426665" y="82899"/>
                    <a:pt x="432103" y="77652"/>
                  </a:cubicBezTo>
                  <a:cubicBezTo>
                    <a:pt x="439085" y="70967"/>
                    <a:pt x="430034" y="68828"/>
                    <a:pt x="425447" y="63414"/>
                  </a:cubicBezTo>
                  <a:cubicBezTo>
                    <a:pt x="423052" y="60539"/>
                    <a:pt x="424838" y="57197"/>
                    <a:pt x="424838" y="54322"/>
                  </a:cubicBezTo>
                  <a:cubicBezTo>
                    <a:pt x="424838" y="50579"/>
                    <a:pt x="420414" y="50545"/>
                    <a:pt x="418060" y="47404"/>
                  </a:cubicBezTo>
                  <a:cubicBezTo>
                    <a:pt x="412458" y="39984"/>
                    <a:pt x="428857" y="33433"/>
                    <a:pt x="412986" y="27650"/>
                  </a:cubicBezTo>
                  <a:cubicBezTo>
                    <a:pt x="400322" y="23038"/>
                    <a:pt x="385141" y="20397"/>
                    <a:pt x="371381" y="16788"/>
                  </a:cubicBezTo>
                  <a:cubicBezTo>
                    <a:pt x="355470" y="12676"/>
                    <a:pt x="345201" y="5323"/>
                    <a:pt x="330102" y="744"/>
                  </a:cubicBezTo>
                  <a:cubicBezTo>
                    <a:pt x="316463" y="-3400"/>
                    <a:pt x="310984" y="5357"/>
                    <a:pt x="309807" y="10069"/>
                  </a:cubicBezTo>
                  <a:cubicBezTo>
                    <a:pt x="306560" y="22436"/>
                    <a:pt x="296493" y="16520"/>
                    <a:pt x="279486" y="13813"/>
                  </a:cubicBezTo>
                  <a:cubicBezTo>
                    <a:pt x="274534" y="12977"/>
                    <a:pt x="242712" y="9969"/>
                    <a:pt x="240561" y="11239"/>
                  </a:cubicBezTo>
                  <a:cubicBezTo>
                    <a:pt x="233944" y="15050"/>
                    <a:pt x="245147" y="22002"/>
                    <a:pt x="238085" y="25578"/>
                  </a:cubicBezTo>
                  <a:cubicBezTo>
                    <a:pt x="229439" y="29923"/>
                    <a:pt x="210200" y="26514"/>
                    <a:pt x="199159" y="28920"/>
                  </a:cubicBezTo>
                  <a:cubicBezTo>
                    <a:pt x="189458" y="31093"/>
                    <a:pt x="177241" y="41521"/>
                    <a:pt x="174805" y="46602"/>
                  </a:cubicBezTo>
                  <a:cubicBezTo>
                    <a:pt x="172938" y="50211"/>
                    <a:pt x="180569" y="51080"/>
                    <a:pt x="173344" y="54757"/>
                  </a:cubicBezTo>
                  <a:cubicBezTo>
                    <a:pt x="168270" y="56812"/>
                    <a:pt x="163481" y="59276"/>
                    <a:pt x="159016" y="62110"/>
                  </a:cubicBezTo>
                  <a:cubicBezTo>
                    <a:pt x="151831" y="67658"/>
                    <a:pt x="150898" y="71636"/>
                    <a:pt x="146108" y="77117"/>
                  </a:cubicBezTo>
                  <a:cubicBezTo>
                    <a:pt x="140304" y="84036"/>
                    <a:pt x="114610" y="77786"/>
                    <a:pt x="112662" y="84838"/>
                  </a:cubicBezTo>
                  <a:cubicBezTo>
                    <a:pt x="109131" y="97338"/>
                    <a:pt x="111688" y="104458"/>
                    <a:pt x="95452" y="115454"/>
                  </a:cubicBezTo>
                  <a:cubicBezTo>
                    <a:pt x="86928" y="121236"/>
                    <a:pt x="80596" y="125481"/>
                    <a:pt x="97482" y="128456"/>
                  </a:cubicBezTo>
                  <a:cubicBezTo>
                    <a:pt x="110146" y="130695"/>
                    <a:pt x="95168" y="142360"/>
                    <a:pt x="79866" y="139720"/>
                  </a:cubicBezTo>
                  <a:cubicBezTo>
                    <a:pt x="67689" y="137905"/>
                    <a:pt x="55106" y="140244"/>
                    <a:pt x="45040" y="146204"/>
                  </a:cubicBezTo>
                  <a:cubicBezTo>
                    <a:pt x="28520" y="155295"/>
                    <a:pt x="39195" y="160008"/>
                    <a:pt x="36516" y="169400"/>
                  </a:cubicBezTo>
                  <a:cubicBezTo>
                    <a:pt x="35501" y="172742"/>
                    <a:pt x="32457" y="175750"/>
                    <a:pt x="33147" y="179427"/>
                  </a:cubicBezTo>
                  <a:cubicBezTo>
                    <a:pt x="33837" y="183103"/>
                    <a:pt x="40534" y="186914"/>
                    <a:pt x="38383" y="191259"/>
                  </a:cubicBezTo>
                  <a:cubicBezTo>
                    <a:pt x="35014" y="197943"/>
                    <a:pt x="30712" y="202188"/>
                    <a:pt x="45567" y="206233"/>
                  </a:cubicBezTo>
                  <a:cubicBezTo>
                    <a:pt x="55918" y="209074"/>
                    <a:pt x="64442" y="217764"/>
                    <a:pt x="48855" y="220772"/>
                  </a:cubicBezTo>
                  <a:cubicBezTo>
                    <a:pt x="30590" y="224281"/>
                    <a:pt x="47597" y="227189"/>
                    <a:pt x="49424" y="233540"/>
                  </a:cubicBezTo>
                  <a:cubicBezTo>
                    <a:pt x="50722" y="238252"/>
                    <a:pt x="51534" y="246642"/>
                    <a:pt x="39195" y="247110"/>
                  </a:cubicBezTo>
                  <a:cubicBezTo>
                    <a:pt x="21538" y="247745"/>
                    <a:pt x="26774" y="248781"/>
                    <a:pt x="22269" y="256669"/>
                  </a:cubicBezTo>
                  <a:cubicBezTo>
                    <a:pt x="19265" y="261983"/>
                    <a:pt x="20645" y="268434"/>
                    <a:pt x="16058" y="273380"/>
                  </a:cubicBezTo>
                  <a:cubicBezTo>
                    <a:pt x="11472" y="278327"/>
                    <a:pt x="-6469" y="268634"/>
                    <a:pt x="2340" y="282773"/>
                  </a:cubicBezTo>
                  <a:cubicBezTo>
                    <a:pt x="7373" y="290828"/>
                    <a:pt x="20767" y="293635"/>
                    <a:pt x="22269" y="302526"/>
                  </a:cubicBezTo>
                  <a:cubicBezTo>
                    <a:pt x="23324" y="308709"/>
                    <a:pt x="34771" y="321444"/>
                    <a:pt x="44269" y="325622"/>
                  </a:cubicBezTo>
                  <a:cubicBezTo>
                    <a:pt x="56648" y="331070"/>
                    <a:pt x="45080" y="339893"/>
                    <a:pt x="52387" y="342801"/>
                  </a:cubicBezTo>
                  <a:cubicBezTo>
                    <a:pt x="66349" y="348350"/>
                    <a:pt x="53726" y="353330"/>
                    <a:pt x="60910" y="360783"/>
                  </a:cubicBezTo>
                  <a:cubicBezTo>
                    <a:pt x="64076" y="364126"/>
                    <a:pt x="89729" y="361151"/>
                    <a:pt x="94559" y="360148"/>
                  </a:cubicBezTo>
                  <a:cubicBezTo>
                    <a:pt x="105518" y="357875"/>
                    <a:pt x="93707" y="349219"/>
                    <a:pt x="104504" y="347447"/>
                  </a:cubicBezTo>
                  <a:cubicBezTo>
                    <a:pt x="117614" y="345275"/>
                    <a:pt x="121024" y="340462"/>
                    <a:pt x="138234" y="344506"/>
                  </a:cubicBezTo>
                  <a:cubicBezTo>
                    <a:pt x="158001" y="349252"/>
                    <a:pt x="150411" y="336016"/>
                    <a:pt x="160112" y="334713"/>
                  </a:cubicBezTo>
                  <a:cubicBezTo>
                    <a:pt x="167824" y="333677"/>
                    <a:pt x="166525" y="343670"/>
                    <a:pt x="175130" y="337721"/>
                  </a:cubicBezTo>
                  <a:cubicBezTo>
                    <a:pt x="177646" y="335983"/>
                    <a:pt x="195628" y="321210"/>
                    <a:pt x="190514" y="319538"/>
                  </a:cubicBezTo>
                  <a:cubicBezTo>
                    <a:pt x="186170" y="318168"/>
                    <a:pt x="173669" y="328329"/>
                    <a:pt x="171152" y="326223"/>
                  </a:cubicBezTo>
                  <a:cubicBezTo>
                    <a:pt x="166687" y="322212"/>
                    <a:pt x="176632" y="314525"/>
                    <a:pt x="178499" y="310648"/>
                  </a:cubicBezTo>
                  <a:cubicBezTo>
                    <a:pt x="181909" y="303562"/>
                    <a:pt x="179920" y="296008"/>
                    <a:pt x="183167" y="288956"/>
                  </a:cubicBezTo>
                  <a:cubicBezTo>
                    <a:pt x="187510" y="279597"/>
                    <a:pt x="201635" y="280567"/>
                    <a:pt x="215638" y="276455"/>
                  </a:cubicBezTo>
                  <a:cubicBezTo>
                    <a:pt x="230616" y="272077"/>
                    <a:pt x="227815" y="266729"/>
                    <a:pt x="236583" y="261682"/>
                  </a:cubicBezTo>
                  <a:cubicBezTo>
                    <a:pt x="241210" y="259042"/>
                    <a:pt x="257487" y="254998"/>
                    <a:pt x="253671" y="250485"/>
                  </a:cubicBezTo>
                  <a:cubicBezTo>
                    <a:pt x="248475" y="244402"/>
                    <a:pt x="236015" y="238720"/>
                    <a:pt x="225989" y="234542"/>
                  </a:cubicBezTo>
                  <a:cubicBezTo>
                    <a:pt x="217303" y="230932"/>
                    <a:pt x="198834" y="233640"/>
                    <a:pt x="199037" y="227523"/>
                  </a:cubicBezTo>
                  <a:cubicBezTo>
                    <a:pt x="199281" y="219769"/>
                    <a:pt x="190635" y="210578"/>
                    <a:pt x="199037" y="203592"/>
                  </a:cubicBezTo>
                  <a:cubicBezTo>
                    <a:pt x="206465" y="197342"/>
                    <a:pt x="204476" y="188117"/>
                    <a:pt x="212513" y="182903"/>
                  </a:cubicBezTo>
                  <a:cubicBezTo>
                    <a:pt x="220550" y="177689"/>
                    <a:pt x="236867" y="175483"/>
                    <a:pt x="243686" y="170269"/>
                  </a:cubicBezTo>
                  <a:cubicBezTo>
                    <a:pt x="262235" y="155897"/>
                    <a:pt x="299538" y="152253"/>
                    <a:pt x="327829" y="142895"/>
                  </a:cubicBezTo>
                  <a:cubicBezTo>
                    <a:pt x="335947" y="140221"/>
                    <a:pt x="351817" y="135943"/>
                    <a:pt x="345891" y="129960"/>
                  </a:cubicBezTo>
                  <a:cubicBezTo>
                    <a:pt x="334648" y="118529"/>
                    <a:pt x="349585" y="122005"/>
                    <a:pt x="352426" y="111677"/>
                  </a:cubicBezTo>
                  <a:cubicBezTo>
                    <a:pt x="356932" y="94965"/>
                    <a:pt x="409252" y="93127"/>
                    <a:pt x="437015" y="97706"/>
                  </a:cubicBezTo>
                  <a:cubicBezTo>
                    <a:pt x="437137" y="94457"/>
                    <a:pt x="435554" y="91322"/>
                    <a:pt x="432672" y="89116"/>
                  </a:cubicBezTo>
                  <a:close/>
                  <a:moveTo>
                    <a:pt x="248638" y="304531"/>
                  </a:moveTo>
                  <a:cubicBezTo>
                    <a:pt x="229561" y="304297"/>
                    <a:pt x="220225" y="322914"/>
                    <a:pt x="224812" y="326123"/>
                  </a:cubicBezTo>
                  <a:cubicBezTo>
                    <a:pt x="228668" y="328730"/>
                    <a:pt x="267634" y="304799"/>
                    <a:pt x="248638" y="30453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60F2A4A7-F856-491E-BF88-4056860C01C2}"/>
                </a:ext>
              </a:extLst>
            </p:cNvPr>
            <p:cNvSpPr/>
            <p:nvPr/>
          </p:nvSpPr>
          <p:spPr>
            <a:xfrm>
              <a:off x="6485433" y="3690407"/>
              <a:ext cx="205999" cy="54197"/>
            </a:xfrm>
            <a:custGeom>
              <a:avLst/>
              <a:gdLst>
                <a:gd name="connsiteX0" fmla="*/ 195730 w 205999"/>
                <a:gd name="connsiteY0" fmla="*/ 16591 h 54197"/>
                <a:gd name="connsiteX1" fmla="*/ 203604 w 205999"/>
                <a:gd name="connsiteY1" fmla="*/ 5795 h 54197"/>
                <a:gd name="connsiteX2" fmla="*/ 138376 w 205999"/>
                <a:gd name="connsiteY2" fmla="*/ 414 h 54197"/>
                <a:gd name="connsiteX3" fmla="*/ 71444 w 205999"/>
                <a:gd name="connsiteY3" fmla="*/ 2587 h 54197"/>
                <a:gd name="connsiteX4" fmla="*/ 46157 w 205999"/>
                <a:gd name="connsiteY4" fmla="*/ 9271 h 54197"/>
                <a:gd name="connsiteX5" fmla="*/ 50581 w 205999"/>
                <a:gd name="connsiteY5" fmla="*/ 20502 h 54197"/>
                <a:gd name="connsiteX6" fmla="*/ 78994 w 205999"/>
                <a:gd name="connsiteY6" fmla="*/ 37815 h 54197"/>
                <a:gd name="connsiteX7" fmla="*/ 131314 w 205999"/>
                <a:gd name="connsiteY7" fmla="*/ 46037 h 54197"/>
                <a:gd name="connsiteX8" fmla="*/ 180914 w 205999"/>
                <a:gd name="connsiteY8" fmla="*/ 53858 h 54197"/>
                <a:gd name="connsiteX9" fmla="*/ 188140 w 205999"/>
                <a:gd name="connsiteY9" fmla="*/ 40823 h 54197"/>
                <a:gd name="connsiteX10" fmla="*/ 195852 w 205999"/>
                <a:gd name="connsiteY10" fmla="*/ 16625 h 54197"/>
                <a:gd name="connsiteX11" fmla="*/ 17135 w 205999"/>
                <a:gd name="connsiteY11" fmla="*/ 20234 h 54197"/>
                <a:gd name="connsiteX12" fmla="*/ 12791 w 205999"/>
                <a:gd name="connsiteY12" fmla="*/ 33035 h 54197"/>
                <a:gd name="connsiteX13" fmla="*/ 17135 w 205999"/>
                <a:gd name="connsiteY13" fmla="*/ 20234 h 54197"/>
                <a:gd name="connsiteX14" fmla="*/ 32640 w 205999"/>
                <a:gd name="connsiteY14" fmla="*/ 13550 h 54197"/>
                <a:gd name="connsiteX15" fmla="*/ 10965 w 205999"/>
                <a:gd name="connsiteY15" fmla="*/ 13984 h 54197"/>
                <a:gd name="connsiteX16" fmla="*/ 32559 w 205999"/>
                <a:gd name="connsiteY16" fmla="*/ 13516 h 5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5999" h="54197">
                  <a:moveTo>
                    <a:pt x="195730" y="16591"/>
                  </a:moveTo>
                  <a:cubicBezTo>
                    <a:pt x="200113" y="12447"/>
                    <a:pt x="210586" y="11678"/>
                    <a:pt x="203604" y="5795"/>
                  </a:cubicBezTo>
                  <a:cubicBezTo>
                    <a:pt x="187368" y="11477"/>
                    <a:pt x="156398" y="1316"/>
                    <a:pt x="138376" y="414"/>
                  </a:cubicBezTo>
                  <a:cubicBezTo>
                    <a:pt x="119299" y="-555"/>
                    <a:pt x="88654" y="-1224"/>
                    <a:pt x="71444" y="2587"/>
                  </a:cubicBezTo>
                  <a:cubicBezTo>
                    <a:pt x="62798" y="4258"/>
                    <a:pt x="54356" y="6491"/>
                    <a:pt x="46157" y="9271"/>
                  </a:cubicBezTo>
                  <a:cubicBezTo>
                    <a:pt x="43924" y="10140"/>
                    <a:pt x="50216" y="18095"/>
                    <a:pt x="50581" y="20502"/>
                  </a:cubicBezTo>
                  <a:cubicBezTo>
                    <a:pt x="52732" y="31498"/>
                    <a:pt x="96041" y="29493"/>
                    <a:pt x="78994" y="37815"/>
                  </a:cubicBezTo>
                  <a:cubicBezTo>
                    <a:pt x="103916" y="37815"/>
                    <a:pt x="112236" y="38417"/>
                    <a:pt x="131314" y="46037"/>
                  </a:cubicBezTo>
                  <a:cubicBezTo>
                    <a:pt x="146535" y="52120"/>
                    <a:pt x="162690" y="51652"/>
                    <a:pt x="180914" y="53858"/>
                  </a:cubicBezTo>
                  <a:cubicBezTo>
                    <a:pt x="175476" y="45503"/>
                    <a:pt x="199058" y="51051"/>
                    <a:pt x="188140" y="40823"/>
                  </a:cubicBezTo>
                  <a:cubicBezTo>
                    <a:pt x="177221" y="30596"/>
                    <a:pt x="187449" y="24512"/>
                    <a:pt x="195852" y="16625"/>
                  </a:cubicBezTo>
                  <a:close/>
                  <a:moveTo>
                    <a:pt x="17135" y="20234"/>
                  </a:moveTo>
                  <a:cubicBezTo>
                    <a:pt x="1427" y="21805"/>
                    <a:pt x="-10020" y="38651"/>
                    <a:pt x="12791" y="33035"/>
                  </a:cubicBezTo>
                  <a:cubicBezTo>
                    <a:pt x="29271" y="29025"/>
                    <a:pt x="56304" y="16324"/>
                    <a:pt x="17135" y="20234"/>
                  </a:cubicBezTo>
                  <a:close/>
                  <a:moveTo>
                    <a:pt x="32640" y="13550"/>
                  </a:moveTo>
                  <a:cubicBezTo>
                    <a:pt x="36943" y="9940"/>
                    <a:pt x="3740" y="10207"/>
                    <a:pt x="10965" y="13984"/>
                  </a:cubicBezTo>
                  <a:cubicBezTo>
                    <a:pt x="16283" y="16691"/>
                    <a:pt x="28256" y="17126"/>
                    <a:pt x="32559" y="1351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60E52B42-D2EA-4F31-B566-CED0DC2B9E87}"/>
                </a:ext>
              </a:extLst>
            </p:cNvPr>
            <p:cNvSpPr/>
            <p:nvPr/>
          </p:nvSpPr>
          <p:spPr>
            <a:xfrm>
              <a:off x="6740807" y="4790963"/>
              <a:ext cx="238344" cy="176141"/>
            </a:xfrm>
            <a:custGeom>
              <a:avLst/>
              <a:gdLst>
                <a:gd name="connsiteX0" fmla="*/ 208168 w 238344"/>
                <a:gd name="connsiteY0" fmla="*/ 52804 h 176141"/>
                <a:gd name="connsiteX1" fmla="*/ 238285 w 238344"/>
                <a:gd name="connsiteY1" fmla="*/ 31614 h 176141"/>
                <a:gd name="connsiteX2" fmla="*/ 213526 w 238344"/>
                <a:gd name="connsiteY2" fmla="*/ 30410 h 176141"/>
                <a:gd name="connsiteX3" fmla="*/ 192216 w 238344"/>
                <a:gd name="connsiteY3" fmla="*/ 27068 h 176141"/>
                <a:gd name="connsiteX4" fmla="*/ 167862 w 238344"/>
                <a:gd name="connsiteY4" fmla="*/ 35691 h 176141"/>
                <a:gd name="connsiteX5" fmla="*/ 147567 w 238344"/>
                <a:gd name="connsiteY5" fmla="*/ 31213 h 176141"/>
                <a:gd name="connsiteX6" fmla="*/ 102350 w 238344"/>
                <a:gd name="connsiteY6" fmla="*/ 14768 h 176141"/>
                <a:gd name="connsiteX7" fmla="*/ 77063 w 238344"/>
                <a:gd name="connsiteY7" fmla="*/ 9688 h 176141"/>
                <a:gd name="connsiteX8" fmla="*/ 53967 w 238344"/>
                <a:gd name="connsiteY8" fmla="*/ 764 h 176141"/>
                <a:gd name="connsiteX9" fmla="*/ 13661 w 238344"/>
                <a:gd name="connsiteY9" fmla="*/ 9788 h 176141"/>
                <a:gd name="connsiteX10" fmla="*/ 24864 w 238344"/>
                <a:gd name="connsiteY10" fmla="*/ 17242 h 176141"/>
                <a:gd name="connsiteX11" fmla="*/ 26853 w 238344"/>
                <a:gd name="connsiteY11" fmla="*/ 27035 h 176141"/>
                <a:gd name="connsiteX12" fmla="*/ 34241 w 238344"/>
                <a:gd name="connsiteY12" fmla="*/ 34789 h 176141"/>
                <a:gd name="connsiteX13" fmla="*/ 36351 w 238344"/>
                <a:gd name="connsiteY13" fmla="*/ 45986 h 176141"/>
                <a:gd name="connsiteX14" fmla="*/ 4326 w 238344"/>
                <a:gd name="connsiteY14" fmla="*/ 79410 h 176141"/>
                <a:gd name="connsiteX15" fmla="*/ 2702 w 238344"/>
                <a:gd name="connsiteY15" fmla="*/ 98962 h 176141"/>
                <a:gd name="connsiteX16" fmla="*/ 55469 w 238344"/>
                <a:gd name="connsiteY16" fmla="*/ 121189 h 176141"/>
                <a:gd name="connsiteX17" fmla="*/ 101173 w 238344"/>
                <a:gd name="connsiteY17" fmla="*/ 140876 h 176141"/>
                <a:gd name="connsiteX18" fmla="*/ 99387 w 238344"/>
                <a:gd name="connsiteY18" fmla="*/ 151738 h 176141"/>
                <a:gd name="connsiteX19" fmla="*/ 142006 w 238344"/>
                <a:gd name="connsiteY19" fmla="*/ 175803 h 176141"/>
                <a:gd name="connsiteX20" fmla="*/ 167943 w 238344"/>
                <a:gd name="connsiteY20" fmla="*/ 147460 h 176141"/>
                <a:gd name="connsiteX21" fmla="*/ 193271 w 238344"/>
                <a:gd name="connsiteY21" fmla="*/ 134625 h 176141"/>
                <a:gd name="connsiteX22" fmla="*/ 211536 w 238344"/>
                <a:gd name="connsiteY22" fmla="*/ 127740 h 176141"/>
                <a:gd name="connsiteX23" fmla="*/ 200374 w 238344"/>
                <a:gd name="connsiteY23" fmla="*/ 113468 h 176141"/>
                <a:gd name="connsiteX24" fmla="*/ 208168 w 238344"/>
                <a:gd name="connsiteY24" fmla="*/ 52804 h 17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8344" h="176141">
                  <a:moveTo>
                    <a:pt x="208168" y="52804"/>
                  </a:moveTo>
                  <a:cubicBezTo>
                    <a:pt x="218031" y="45618"/>
                    <a:pt x="228016" y="38566"/>
                    <a:pt x="238285" y="31614"/>
                  </a:cubicBezTo>
                  <a:cubicBezTo>
                    <a:pt x="230857" y="31814"/>
                    <a:pt x="220101" y="34288"/>
                    <a:pt x="213526" y="30410"/>
                  </a:cubicBezTo>
                  <a:cubicBezTo>
                    <a:pt x="205773" y="25831"/>
                    <a:pt x="203784" y="25163"/>
                    <a:pt x="192216" y="27068"/>
                  </a:cubicBezTo>
                  <a:cubicBezTo>
                    <a:pt x="182149" y="28639"/>
                    <a:pt x="177035" y="33753"/>
                    <a:pt x="167862" y="35691"/>
                  </a:cubicBezTo>
                  <a:cubicBezTo>
                    <a:pt x="164493" y="36427"/>
                    <a:pt x="151139" y="31881"/>
                    <a:pt x="147567" y="31213"/>
                  </a:cubicBezTo>
                  <a:cubicBezTo>
                    <a:pt x="129383" y="27870"/>
                    <a:pt x="115826" y="23893"/>
                    <a:pt x="102350" y="14768"/>
                  </a:cubicBezTo>
                  <a:cubicBezTo>
                    <a:pt x="96465" y="10758"/>
                    <a:pt x="84775" y="11025"/>
                    <a:pt x="77063" y="9688"/>
                  </a:cubicBezTo>
                  <a:cubicBezTo>
                    <a:pt x="68052" y="8117"/>
                    <a:pt x="62166" y="2602"/>
                    <a:pt x="53967" y="764"/>
                  </a:cubicBezTo>
                  <a:cubicBezTo>
                    <a:pt x="35742" y="-3314"/>
                    <a:pt x="25798" y="4875"/>
                    <a:pt x="13661" y="9788"/>
                  </a:cubicBezTo>
                  <a:cubicBezTo>
                    <a:pt x="13661" y="11392"/>
                    <a:pt x="22916" y="15938"/>
                    <a:pt x="24864" y="17242"/>
                  </a:cubicBezTo>
                  <a:cubicBezTo>
                    <a:pt x="27746" y="19180"/>
                    <a:pt x="26569" y="24628"/>
                    <a:pt x="26853" y="27035"/>
                  </a:cubicBezTo>
                  <a:cubicBezTo>
                    <a:pt x="27300" y="30979"/>
                    <a:pt x="29451" y="31681"/>
                    <a:pt x="34241" y="34789"/>
                  </a:cubicBezTo>
                  <a:cubicBezTo>
                    <a:pt x="39842" y="38432"/>
                    <a:pt x="37569" y="41106"/>
                    <a:pt x="36351" y="45986"/>
                  </a:cubicBezTo>
                  <a:cubicBezTo>
                    <a:pt x="32779" y="60458"/>
                    <a:pt x="13864" y="67043"/>
                    <a:pt x="4326" y="79410"/>
                  </a:cubicBezTo>
                  <a:cubicBezTo>
                    <a:pt x="49340" y="89971"/>
                    <a:pt x="-13574" y="92177"/>
                    <a:pt x="2702" y="98962"/>
                  </a:cubicBezTo>
                  <a:cubicBezTo>
                    <a:pt x="20318" y="106315"/>
                    <a:pt x="37894" y="113725"/>
                    <a:pt x="55469" y="121189"/>
                  </a:cubicBezTo>
                  <a:cubicBezTo>
                    <a:pt x="70771" y="127717"/>
                    <a:pt x="85993" y="134281"/>
                    <a:pt x="101173" y="140876"/>
                  </a:cubicBezTo>
                  <a:cubicBezTo>
                    <a:pt x="104014" y="142112"/>
                    <a:pt x="96181" y="149900"/>
                    <a:pt x="99387" y="151738"/>
                  </a:cubicBezTo>
                  <a:cubicBezTo>
                    <a:pt x="113513" y="159827"/>
                    <a:pt x="127719" y="167848"/>
                    <a:pt x="142006" y="175803"/>
                  </a:cubicBezTo>
                  <a:cubicBezTo>
                    <a:pt x="150124" y="166144"/>
                    <a:pt x="158648" y="156651"/>
                    <a:pt x="167943" y="147460"/>
                  </a:cubicBezTo>
                  <a:cubicBezTo>
                    <a:pt x="174965" y="140575"/>
                    <a:pt x="184504" y="139739"/>
                    <a:pt x="193271" y="134625"/>
                  </a:cubicBezTo>
                  <a:cubicBezTo>
                    <a:pt x="196072" y="132987"/>
                    <a:pt x="215799" y="133088"/>
                    <a:pt x="211536" y="127740"/>
                  </a:cubicBezTo>
                  <a:cubicBezTo>
                    <a:pt x="208898" y="124398"/>
                    <a:pt x="199928" y="116944"/>
                    <a:pt x="200374" y="113468"/>
                  </a:cubicBezTo>
                  <a:cubicBezTo>
                    <a:pt x="202972" y="93237"/>
                    <a:pt x="205570" y="73015"/>
                    <a:pt x="208168" y="5280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70CDE094-A778-474B-81AA-8433B2FC1B0B}"/>
                </a:ext>
              </a:extLst>
            </p:cNvPr>
            <p:cNvSpPr/>
            <p:nvPr/>
          </p:nvSpPr>
          <p:spPr>
            <a:xfrm>
              <a:off x="6618227" y="4801043"/>
              <a:ext cx="160371" cy="86995"/>
            </a:xfrm>
            <a:custGeom>
              <a:avLst/>
              <a:gdLst>
                <a:gd name="connsiteX0" fmla="*/ 149919 w 160371"/>
                <a:gd name="connsiteY0" fmla="*/ 20097 h 86995"/>
                <a:gd name="connsiteX1" fmla="*/ 147565 w 160371"/>
                <a:gd name="connsiteY1" fmla="*/ 7095 h 86995"/>
                <a:gd name="connsiteX2" fmla="*/ 137255 w 160371"/>
                <a:gd name="connsiteY2" fmla="*/ 243 h 86995"/>
                <a:gd name="connsiteX3" fmla="*/ 123699 w 160371"/>
                <a:gd name="connsiteY3" fmla="*/ 5691 h 86995"/>
                <a:gd name="connsiteX4" fmla="*/ 87168 w 160371"/>
                <a:gd name="connsiteY4" fmla="*/ 6460 h 86995"/>
                <a:gd name="connsiteX5" fmla="*/ 73935 w 160371"/>
                <a:gd name="connsiteY5" fmla="*/ 2215 h 86995"/>
                <a:gd name="connsiteX6" fmla="*/ 54087 w 160371"/>
                <a:gd name="connsiteY6" fmla="*/ 2950 h 86995"/>
                <a:gd name="connsiteX7" fmla="*/ 44305 w 160371"/>
                <a:gd name="connsiteY7" fmla="*/ 18292 h 86995"/>
                <a:gd name="connsiteX8" fmla="*/ 52870 w 160371"/>
                <a:gd name="connsiteY8" fmla="*/ 27216 h 86995"/>
                <a:gd name="connsiteX9" fmla="*/ 41707 w 160371"/>
                <a:gd name="connsiteY9" fmla="*/ 37243 h 86995"/>
                <a:gd name="connsiteX10" fmla="*/ 15405 w 160371"/>
                <a:gd name="connsiteY10" fmla="*/ 53286 h 86995"/>
                <a:gd name="connsiteX11" fmla="*/ 6800 w 160371"/>
                <a:gd name="connsiteY11" fmla="*/ 69196 h 86995"/>
                <a:gd name="connsiteX12" fmla="*/ -60 w 160371"/>
                <a:gd name="connsiteY12" fmla="*/ 86309 h 86995"/>
                <a:gd name="connsiteX13" fmla="*/ 44346 w 160371"/>
                <a:gd name="connsiteY13" fmla="*/ 82365 h 86995"/>
                <a:gd name="connsiteX14" fmla="*/ 65128 w 160371"/>
                <a:gd name="connsiteY14" fmla="*/ 82766 h 86995"/>
                <a:gd name="connsiteX15" fmla="*/ 89482 w 160371"/>
                <a:gd name="connsiteY15" fmla="*/ 65887 h 86995"/>
                <a:gd name="connsiteX16" fmla="*/ 126743 w 160371"/>
                <a:gd name="connsiteY16" fmla="*/ 69229 h 86995"/>
                <a:gd name="connsiteX17" fmla="*/ 148824 w 160371"/>
                <a:gd name="connsiteY17" fmla="*/ 51247 h 86995"/>
                <a:gd name="connsiteX18" fmla="*/ 160270 w 160371"/>
                <a:gd name="connsiteY18" fmla="*/ 28252 h 86995"/>
                <a:gd name="connsiteX19" fmla="*/ 149919 w 160371"/>
                <a:gd name="connsiteY19" fmla="*/ 20097 h 8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0371" h="86995">
                  <a:moveTo>
                    <a:pt x="149919" y="20097"/>
                  </a:moveTo>
                  <a:cubicBezTo>
                    <a:pt x="149554" y="16955"/>
                    <a:pt x="151137" y="9501"/>
                    <a:pt x="147565" y="7095"/>
                  </a:cubicBezTo>
                  <a:lnTo>
                    <a:pt x="137255" y="243"/>
                  </a:lnTo>
                  <a:cubicBezTo>
                    <a:pt x="133196" y="-2464"/>
                    <a:pt x="127230" y="5123"/>
                    <a:pt x="123699" y="5691"/>
                  </a:cubicBezTo>
                  <a:cubicBezTo>
                    <a:pt x="112131" y="7563"/>
                    <a:pt x="97600" y="-1261"/>
                    <a:pt x="87168" y="6460"/>
                  </a:cubicBezTo>
                  <a:cubicBezTo>
                    <a:pt x="84814" y="8231"/>
                    <a:pt x="75884" y="2850"/>
                    <a:pt x="73935" y="2215"/>
                  </a:cubicBezTo>
                  <a:cubicBezTo>
                    <a:pt x="68172" y="310"/>
                    <a:pt x="59770" y="2215"/>
                    <a:pt x="54087" y="2950"/>
                  </a:cubicBezTo>
                  <a:cubicBezTo>
                    <a:pt x="44102" y="4287"/>
                    <a:pt x="44874" y="12510"/>
                    <a:pt x="44305" y="18292"/>
                  </a:cubicBezTo>
                  <a:cubicBezTo>
                    <a:pt x="43899" y="22370"/>
                    <a:pt x="53235" y="23439"/>
                    <a:pt x="52870" y="27216"/>
                  </a:cubicBezTo>
                  <a:cubicBezTo>
                    <a:pt x="52585" y="29723"/>
                    <a:pt x="44995" y="35672"/>
                    <a:pt x="41707" y="37243"/>
                  </a:cubicBezTo>
                  <a:cubicBezTo>
                    <a:pt x="31316" y="42156"/>
                    <a:pt x="19342" y="43928"/>
                    <a:pt x="15405" y="53286"/>
                  </a:cubicBezTo>
                  <a:cubicBezTo>
                    <a:pt x="13132" y="58734"/>
                    <a:pt x="8627" y="63648"/>
                    <a:pt x="6800" y="69196"/>
                  </a:cubicBezTo>
                  <a:cubicBezTo>
                    <a:pt x="4974" y="74744"/>
                    <a:pt x="6800" y="81997"/>
                    <a:pt x="-60" y="86309"/>
                  </a:cubicBezTo>
                  <a:cubicBezTo>
                    <a:pt x="14634" y="88147"/>
                    <a:pt x="29409" y="82097"/>
                    <a:pt x="44346" y="82365"/>
                  </a:cubicBezTo>
                  <a:lnTo>
                    <a:pt x="65128" y="82766"/>
                  </a:lnTo>
                  <a:cubicBezTo>
                    <a:pt x="70729" y="82766"/>
                    <a:pt x="78400" y="67057"/>
                    <a:pt x="89482" y="65887"/>
                  </a:cubicBezTo>
                  <a:cubicBezTo>
                    <a:pt x="102064" y="65005"/>
                    <a:pt x="114688" y="66141"/>
                    <a:pt x="126743" y="69229"/>
                  </a:cubicBezTo>
                  <a:cubicBezTo>
                    <a:pt x="132507" y="61742"/>
                    <a:pt x="140990" y="57665"/>
                    <a:pt x="148824" y="51247"/>
                  </a:cubicBezTo>
                  <a:cubicBezTo>
                    <a:pt x="156657" y="44830"/>
                    <a:pt x="159012" y="36708"/>
                    <a:pt x="160270" y="28252"/>
                  </a:cubicBezTo>
                  <a:cubicBezTo>
                    <a:pt x="160960" y="25511"/>
                    <a:pt x="153045" y="22136"/>
                    <a:pt x="149919" y="2009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822B04E9-153D-40C4-B349-00CD0B2F1E4F}"/>
                </a:ext>
              </a:extLst>
            </p:cNvPr>
            <p:cNvSpPr/>
            <p:nvPr/>
          </p:nvSpPr>
          <p:spPr>
            <a:xfrm>
              <a:off x="7543958" y="4132244"/>
              <a:ext cx="538747" cy="228958"/>
            </a:xfrm>
            <a:custGeom>
              <a:avLst/>
              <a:gdLst>
                <a:gd name="connsiteX0" fmla="*/ 535157 w 538747"/>
                <a:gd name="connsiteY0" fmla="*/ 187074 h 228958"/>
                <a:gd name="connsiteX1" fmla="*/ 506460 w 538747"/>
                <a:gd name="connsiteY1" fmla="*/ 169460 h 228958"/>
                <a:gd name="connsiteX2" fmla="*/ 486733 w 538747"/>
                <a:gd name="connsiteY2" fmla="*/ 168557 h 228958"/>
                <a:gd name="connsiteX3" fmla="*/ 465789 w 538747"/>
                <a:gd name="connsiteY3" fmla="*/ 157461 h 228958"/>
                <a:gd name="connsiteX4" fmla="*/ 425199 w 538747"/>
                <a:gd name="connsiteY4" fmla="*/ 152648 h 228958"/>
                <a:gd name="connsiteX5" fmla="*/ 404174 w 538747"/>
                <a:gd name="connsiteY5" fmla="*/ 160068 h 228958"/>
                <a:gd name="connsiteX6" fmla="*/ 385868 w 538747"/>
                <a:gd name="connsiteY6" fmla="*/ 151478 h 228958"/>
                <a:gd name="connsiteX7" fmla="*/ 354613 w 538747"/>
                <a:gd name="connsiteY7" fmla="*/ 140883 h 228958"/>
                <a:gd name="connsiteX8" fmla="*/ 333872 w 538747"/>
                <a:gd name="connsiteY8" fmla="*/ 122466 h 228958"/>
                <a:gd name="connsiteX9" fmla="*/ 332046 w 538747"/>
                <a:gd name="connsiteY9" fmla="*/ 102746 h 228958"/>
                <a:gd name="connsiteX10" fmla="*/ 309477 w 538747"/>
                <a:gd name="connsiteY10" fmla="*/ 84263 h 228958"/>
                <a:gd name="connsiteX11" fmla="*/ 251516 w 538747"/>
                <a:gd name="connsiteY11" fmla="*/ 71696 h 228958"/>
                <a:gd name="connsiteX12" fmla="*/ 204472 w 538747"/>
                <a:gd name="connsiteY12" fmla="*/ 65011 h 228958"/>
                <a:gd name="connsiteX13" fmla="*/ 168753 w 538747"/>
                <a:gd name="connsiteY13" fmla="*/ 34930 h 228958"/>
                <a:gd name="connsiteX14" fmla="*/ 117691 w 538747"/>
                <a:gd name="connsiteY14" fmla="*/ 33426 h 228958"/>
                <a:gd name="connsiteX15" fmla="*/ 119396 w 538747"/>
                <a:gd name="connsiteY15" fmla="*/ 6052 h 228958"/>
                <a:gd name="connsiteX16" fmla="*/ 105149 w 538747"/>
                <a:gd name="connsiteY16" fmla="*/ 27577 h 228958"/>
                <a:gd name="connsiteX17" fmla="*/ 104824 w 538747"/>
                <a:gd name="connsiteY17" fmla="*/ 1439 h 228958"/>
                <a:gd name="connsiteX18" fmla="*/ 41382 w 538747"/>
                <a:gd name="connsiteY18" fmla="*/ -64 h 228958"/>
                <a:gd name="connsiteX19" fmla="*/ 18936 w 538747"/>
                <a:gd name="connsiteY19" fmla="*/ 8358 h 228958"/>
                <a:gd name="connsiteX20" fmla="*/ 7084 w 538747"/>
                <a:gd name="connsiteY20" fmla="*/ 49402 h 228958"/>
                <a:gd name="connsiteX21" fmla="*/ -60 w 538747"/>
                <a:gd name="connsiteY21" fmla="*/ 73100 h 228958"/>
                <a:gd name="connsiteX22" fmla="*/ 32128 w 538747"/>
                <a:gd name="connsiteY22" fmla="*/ 78581 h 228958"/>
                <a:gd name="connsiteX23" fmla="*/ 46619 w 538747"/>
                <a:gd name="connsiteY23" fmla="*/ 68019 h 228958"/>
                <a:gd name="connsiteX24" fmla="*/ 68699 w 538747"/>
                <a:gd name="connsiteY24" fmla="*/ 65479 h 228958"/>
                <a:gd name="connsiteX25" fmla="*/ 88994 w 538747"/>
                <a:gd name="connsiteY25" fmla="*/ 61802 h 228958"/>
                <a:gd name="connsiteX26" fmla="*/ 111643 w 538747"/>
                <a:gd name="connsiteY26" fmla="*/ 71328 h 228958"/>
                <a:gd name="connsiteX27" fmla="*/ 136443 w 538747"/>
                <a:gd name="connsiteY27" fmla="*/ 84063 h 228958"/>
                <a:gd name="connsiteX28" fmla="*/ 160229 w 538747"/>
                <a:gd name="connsiteY28" fmla="*/ 103883 h 228958"/>
                <a:gd name="connsiteX29" fmla="*/ 182756 w 538747"/>
                <a:gd name="connsiteY29" fmla="*/ 108395 h 228958"/>
                <a:gd name="connsiteX30" fmla="*/ 198992 w 538747"/>
                <a:gd name="connsiteY30" fmla="*/ 130321 h 228958"/>
                <a:gd name="connsiteX31" fmla="*/ 238405 w 538747"/>
                <a:gd name="connsiteY31" fmla="*/ 161973 h 228958"/>
                <a:gd name="connsiteX32" fmla="*/ 269213 w 538747"/>
                <a:gd name="connsiteY32" fmla="*/ 176947 h 228958"/>
                <a:gd name="connsiteX33" fmla="*/ 296733 w 538747"/>
                <a:gd name="connsiteY33" fmla="*/ 192556 h 228958"/>
                <a:gd name="connsiteX34" fmla="*/ 317312 w 538747"/>
                <a:gd name="connsiteY34" fmla="*/ 213145 h 228958"/>
                <a:gd name="connsiteX35" fmla="*/ 355628 w 538747"/>
                <a:gd name="connsiteY35" fmla="*/ 228620 h 228958"/>
                <a:gd name="connsiteX36" fmla="*/ 369672 w 538747"/>
                <a:gd name="connsiteY36" fmla="*/ 214883 h 228958"/>
                <a:gd name="connsiteX37" fmla="*/ 374381 w 538747"/>
                <a:gd name="connsiteY37" fmla="*/ 198505 h 228958"/>
                <a:gd name="connsiteX38" fmla="*/ 358997 w 538747"/>
                <a:gd name="connsiteY38" fmla="*/ 183799 h 228958"/>
                <a:gd name="connsiteX39" fmla="*/ 384894 w 538747"/>
                <a:gd name="connsiteY39" fmla="*/ 181793 h 228958"/>
                <a:gd name="connsiteX40" fmla="*/ 402996 w 538747"/>
                <a:gd name="connsiteY40" fmla="*/ 174774 h 228958"/>
                <a:gd name="connsiteX41" fmla="*/ 428487 w 538747"/>
                <a:gd name="connsiteY41" fmla="*/ 168491 h 228958"/>
                <a:gd name="connsiteX42" fmla="*/ 463962 w 538747"/>
                <a:gd name="connsiteY42" fmla="*/ 171365 h 228958"/>
                <a:gd name="connsiteX43" fmla="*/ 451785 w 538747"/>
                <a:gd name="connsiteY43" fmla="*/ 184367 h 228958"/>
                <a:gd name="connsiteX44" fmla="*/ 497124 w 538747"/>
                <a:gd name="connsiteY44" fmla="*/ 190082 h 228958"/>
                <a:gd name="connsiteX45" fmla="*/ 518759 w 538747"/>
                <a:gd name="connsiteY45" fmla="*/ 192455 h 228958"/>
                <a:gd name="connsiteX46" fmla="*/ 538688 w 538747"/>
                <a:gd name="connsiteY46" fmla="*/ 191419 h 228958"/>
                <a:gd name="connsiteX47" fmla="*/ 534994 w 538747"/>
                <a:gd name="connsiteY47" fmla="*/ 186974 h 22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8747" h="228958">
                  <a:moveTo>
                    <a:pt x="535157" y="187074"/>
                  </a:moveTo>
                  <a:cubicBezTo>
                    <a:pt x="526552" y="180219"/>
                    <a:pt x="516892" y="174300"/>
                    <a:pt x="506460" y="169460"/>
                  </a:cubicBezTo>
                  <a:cubicBezTo>
                    <a:pt x="495866" y="164680"/>
                    <a:pt x="496759" y="169460"/>
                    <a:pt x="486733" y="168557"/>
                  </a:cubicBezTo>
                  <a:cubicBezTo>
                    <a:pt x="474556" y="167388"/>
                    <a:pt x="471999" y="162541"/>
                    <a:pt x="465789" y="157461"/>
                  </a:cubicBezTo>
                  <a:cubicBezTo>
                    <a:pt x="456250" y="149707"/>
                    <a:pt x="436727" y="151411"/>
                    <a:pt x="425199" y="152648"/>
                  </a:cubicBezTo>
                  <a:cubicBezTo>
                    <a:pt x="413672" y="153885"/>
                    <a:pt x="411723" y="156726"/>
                    <a:pt x="404174" y="160068"/>
                  </a:cubicBezTo>
                  <a:cubicBezTo>
                    <a:pt x="391997" y="165482"/>
                    <a:pt x="392281" y="155322"/>
                    <a:pt x="385868" y="151478"/>
                  </a:cubicBezTo>
                  <a:cubicBezTo>
                    <a:pt x="376329" y="146381"/>
                    <a:pt x="365735" y="142788"/>
                    <a:pt x="354613" y="140883"/>
                  </a:cubicBezTo>
                  <a:cubicBezTo>
                    <a:pt x="339677" y="137808"/>
                    <a:pt x="339960" y="129820"/>
                    <a:pt x="333872" y="122466"/>
                  </a:cubicBezTo>
                  <a:cubicBezTo>
                    <a:pt x="327784" y="115113"/>
                    <a:pt x="332533" y="110100"/>
                    <a:pt x="332046" y="102746"/>
                  </a:cubicBezTo>
                  <a:cubicBezTo>
                    <a:pt x="331802" y="98702"/>
                    <a:pt x="315201" y="87672"/>
                    <a:pt x="309477" y="84263"/>
                  </a:cubicBezTo>
                  <a:cubicBezTo>
                    <a:pt x="298356" y="77579"/>
                    <a:pt x="265925" y="74905"/>
                    <a:pt x="251516" y="71696"/>
                  </a:cubicBezTo>
                  <a:cubicBezTo>
                    <a:pt x="235767" y="68153"/>
                    <a:pt x="219855" y="68354"/>
                    <a:pt x="204472" y="65011"/>
                  </a:cubicBezTo>
                  <a:cubicBezTo>
                    <a:pt x="194122" y="62705"/>
                    <a:pt x="177074" y="40712"/>
                    <a:pt x="168753" y="34930"/>
                  </a:cubicBezTo>
                  <a:cubicBezTo>
                    <a:pt x="162827" y="42016"/>
                    <a:pt x="112414" y="46695"/>
                    <a:pt x="117691" y="33426"/>
                  </a:cubicBezTo>
                  <a:cubicBezTo>
                    <a:pt x="118016" y="32624"/>
                    <a:pt x="140096" y="2008"/>
                    <a:pt x="119396" y="6052"/>
                  </a:cubicBezTo>
                  <a:cubicBezTo>
                    <a:pt x="106610" y="8559"/>
                    <a:pt x="114728" y="23198"/>
                    <a:pt x="105149" y="27577"/>
                  </a:cubicBezTo>
                  <a:cubicBezTo>
                    <a:pt x="96544" y="31521"/>
                    <a:pt x="101090" y="4749"/>
                    <a:pt x="104824" y="1439"/>
                  </a:cubicBezTo>
                  <a:cubicBezTo>
                    <a:pt x="83636" y="871"/>
                    <a:pt x="62530" y="370"/>
                    <a:pt x="41382" y="-64"/>
                  </a:cubicBezTo>
                  <a:cubicBezTo>
                    <a:pt x="21371" y="-465"/>
                    <a:pt x="21818" y="-1736"/>
                    <a:pt x="18936" y="8358"/>
                  </a:cubicBezTo>
                  <a:cubicBezTo>
                    <a:pt x="14958" y="22062"/>
                    <a:pt x="11021" y="35742"/>
                    <a:pt x="7084" y="49402"/>
                  </a:cubicBezTo>
                  <a:cubicBezTo>
                    <a:pt x="6029" y="53246"/>
                    <a:pt x="5907" y="71161"/>
                    <a:pt x="-60" y="73100"/>
                  </a:cubicBezTo>
                  <a:cubicBezTo>
                    <a:pt x="6029" y="75807"/>
                    <a:pt x="26567" y="83127"/>
                    <a:pt x="32128" y="78581"/>
                  </a:cubicBezTo>
                  <a:cubicBezTo>
                    <a:pt x="37689" y="74036"/>
                    <a:pt x="34239" y="69991"/>
                    <a:pt x="46619" y="68019"/>
                  </a:cubicBezTo>
                  <a:cubicBezTo>
                    <a:pt x="55102" y="66682"/>
                    <a:pt x="63991" y="70292"/>
                    <a:pt x="68699" y="65479"/>
                  </a:cubicBezTo>
                  <a:cubicBezTo>
                    <a:pt x="70688" y="63440"/>
                    <a:pt x="84367" y="61435"/>
                    <a:pt x="88994" y="61802"/>
                  </a:cubicBezTo>
                  <a:cubicBezTo>
                    <a:pt x="99060" y="62672"/>
                    <a:pt x="104297" y="68019"/>
                    <a:pt x="111643" y="71328"/>
                  </a:cubicBezTo>
                  <a:cubicBezTo>
                    <a:pt x="121994" y="75941"/>
                    <a:pt x="133805" y="76241"/>
                    <a:pt x="136443" y="84063"/>
                  </a:cubicBezTo>
                  <a:cubicBezTo>
                    <a:pt x="140868" y="97432"/>
                    <a:pt x="133034" y="98401"/>
                    <a:pt x="160229" y="103883"/>
                  </a:cubicBezTo>
                  <a:cubicBezTo>
                    <a:pt x="167657" y="105353"/>
                    <a:pt x="175531" y="106490"/>
                    <a:pt x="182756" y="108395"/>
                  </a:cubicBezTo>
                  <a:cubicBezTo>
                    <a:pt x="189981" y="110300"/>
                    <a:pt x="197085" y="126644"/>
                    <a:pt x="198992" y="130321"/>
                  </a:cubicBezTo>
                  <a:cubicBezTo>
                    <a:pt x="205568" y="141852"/>
                    <a:pt x="222981" y="152548"/>
                    <a:pt x="238405" y="161973"/>
                  </a:cubicBezTo>
                  <a:cubicBezTo>
                    <a:pt x="247741" y="167655"/>
                    <a:pt x="259877" y="171365"/>
                    <a:pt x="269213" y="176947"/>
                  </a:cubicBezTo>
                  <a:cubicBezTo>
                    <a:pt x="279401" y="182996"/>
                    <a:pt x="283866" y="188545"/>
                    <a:pt x="296733" y="192556"/>
                  </a:cubicBezTo>
                  <a:cubicBezTo>
                    <a:pt x="318002" y="199240"/>
                    <a:pt x="318164" y="202014"/>
                    <a:pt x="317312" y="213145"/>
                  </a:cubicBezTo>
                  <a:cubicBezTo>
                    <a:pt x="329935" y="214448"/>
                    <a:pt x="346252" y="222871"/>
                    <a:pt x="355628" y="228620"/>
                  </a:cubicBezTo>
                  <a:cubicBezTo>
                    <a:pt x="356805" y="222232"/>
                    <a:pt x="362244" y="216928"/>
                    <a:pt x="369672" y="214883"/>
                  </a:cubicBezTo>
                  <a:cubicBezTo>
                    <a:pt x="383473" y="210805"/>
                    <a:pt x="369672" y="205357"/>
                    <a:pt x="374381" y="198505"/>
                  </a:cubicBezTo>
                  <a:cubicBezTo>
                    <a:pt x="377709" y="193659"/>
                    <a:pt x="361757" y="188478"/>
                    <a:pt x="358997" y="183799"/>
                  </a:cubicBezTo>
                  <a:cubicBezTo>
                    <a:pt x="354938" y="177114"/>
                    <a:pt x="380144" y="181392"/>
                    <a:pt x="384894" y="181793"/>
                  </a:cubicBezTo>
                  <a:cubicBezTo>
                    <a:pt x="395731" y="182662"/>
                    <a:pt x="395771" y="173270"/>
                    <a:pt x="402996" y="174774"/>
                  </a:cubicBezTo>
                  <a:cubicBezTo>
                    <a:pt x="417040" y="177682"/>
                    <a:pt x="415945" y="165783"/>
                    <a:pt x="428487" y="168491"/>
                  </a:cubicBezTo>
                  <a:cubicBezTo>
                    <a:pt x="441029" y="171198"/>
                    <a:pt x="453287" y="168190"/>
                    <a:pt x="463962" y="171365"/>
                  </a:cubicBezTo>
                  <a:cubicBezTo>
                    <a:pt x="474637" y="174540"/>
                    <a:pt x="454789" y="182829"/>
                    <a:pt x="451785" y="184367"/>
                  </a:cubicBezTo>
                  <a:cubicBezTo>
                    <a:pt x="465505" y="187041"/>
                    <a:pt x="484988" y="186205"/>
                    <a:pt x="497124" y="190082"/>
                  </a:cubicBezTo>
                  <a:cubicBezTo>
                    <a:pt x="503862" y="192221"/>
                    <a:pt x="513360" y="195865"/>
                    <a:pt x="518759" y="192455"/>
                  </a:cubicBezTo>
                  <a:cubicBezTo>
                    <a:pt x="524157" y="189046"/>
                    <a:pt x="534994" y="193558"/>
                    <a:pt x="538688" y="191419"/>
                  </a:cubicBezTo>
                  <a:cubicBezTo>
                    <a:pt x="538688" y="189815"/>
                    <a:pt x="537592" y="188344"/>
                    <a:pt x="534994" y="18697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52240FBF-4F21-4C1B-BC22-C10D08C0656D}"/>
                </a:ext>
              </a:extLst>
            </p:cNvPr>
            <p:cNvSpPr/>
            <p:nvPr/>
          </p:nvSpPr>
          <p:spPr>
            <a:xfrm>
              <a:off x="5919452" y="3026621"/>
              <a:ext cx="906744" cy="691640"/>
            </a:xfrm>
            <a:custGeom>
              <a:avLst/>
              <a:gdLst>
                <a:gd name="connsiteX0" fmla="*/ 879299 w 906744"/>
                <a:gd name="connsiteY0" fmla="*/ 389425 h 691640"/>
                <a:gd name="connsiteX1" fmla="*/ 862333 w 906744"/>
                <a:gd name="connsiteY1" fmla="*/ 385748 h 691640"/>
                <a:gd name="connsiteX2" fmla="*/ 841307 w 906744"/>
                <a:gd name="connsiteY2" fmla="*/ 377626 h 691640"/>
                <a:gd name="connsiteX3" fmla="*/ 870492 w 906744"/>
                <a:gd name="connsiteY3" fmla="*/ 380969 h 691640"/>
                <a:gd name="connsiteX4" fmla="*/ 883115 w 906744"/>
                <a:gd name="connsiteY4" fmla="*/ 377626 h 691640"/>
                <a:gd name="connsiteX5" fmla="*/ 904465 w 906744"/>
                <a:gd name="connsiteY5" fmla="*/ 376222 h 691640"/>
                <a:gd name="connsiteX6" fmla="*/ 863876 w 906744"/>
                <a:gd name="connsiteY6" fmla="*/ 358876 h 691640"/>
                <a:gd name="connsiteX7" fmla="*/ 816548 w 906744"/>
                <a:gd name="connsiteY7" fmla="*/ 360747 h 691640"/>
                <a:gd name="connsiteX8" fmla="*/ 807943 w 906744"/>
                <a:gd name="connsiteY8" fmla="*/ 361750 h 691640"/>
                <a:gd name="connsiteX9" fmla="*/ 808470 w 906744"/>
                <a:gd name="connsiteY9" fmla="*/ 353661 h 691640"/>
                <a:gd name="connsiteX10" fmla="*/ 818496 w 906744"/>
                <a:gd name="connsiteY10" fmla="*/ 349885 h 691640"/>
                <a:gd name="connsiteX11" fmla="*/ 776121 w 906744"/>
                <a:gd name="connsiteY11" fmla="*/ 350319 h 691640"/>
                <a:gd name="connsiteX12" fmla="*/ 752781 w 906744"/>
                <a:gd name="connsiteY12" fmla="*/ 355266 h 691640"/>
                <a:gd name="connsiteX13" fmla="*/ 718320 w 906744"/>
                <a:gd name="connsiteY13" fmla="*/ 359644 h 691640"/>
                <a:gd name="connsiteX14" fmla="*/ 693642 w 906744"/>
                <a:gd name="connsiteY14" fmla="*/ 366697 h 691640"/>
                <a:gd name="connsiteX15" fmla="*/ 710162 w 906744"/>
                <a:gd name="connsiteY15" fmla="*/ 354731 h 691640"/>
                <a:gd name="connsiteX16" fmla="*/ 728306 w 906744"/>
                <a:gd name="connsiteY16" fmla="*/ 344704 h 691640"/>
                <a:gd name="connsiteX17" fmla="*/ 717874 w 906744"/>
                <a:gd name="connsiteY17" fmla="*/ 337652 h 691640"/>
                <a:gd name="connsiteX18" fmla="*/ 701029 w 906744"/>
                <a:gd name="connsiteY18" fmla="*/ 344804 h 691640"/>
                <a:gd name="connsiteX19" fmla="*/ 679232 w 906744"/>
                <a:gd name="connsiteY19" fmla="*/ 341830 h 691640"/>
                <a:gd name="connsiteX20" fmla="*/ 674118 w 906744"/>
                <a:gd name="connsiteY20" fmla="*/ 344203 h 691640"/>
                <a:gd name="connsiteX21" fmla="*/ 674118 w 906744"/>
                <a:gd name="connsiteY21" fmla="*/ 350887 h 691640"/>
                <a:gd name="connsiteX22" fmla="*/ 652606 w 906744"/>
                <a:gd name="connsiteY22" fmla="*/ 348247 h 691640"/>
                <a:gd name="connsiteX23" fmla="*/ 628252 w 906744"/>
                <a:gd name="connsiteY23" fmla="*/ 358274 h 691640"/>
                <a:gd name="connsiteX24" fmla="*/ 622854 w 906744"/>
                <a:gd name="connsiteY24" fmla="*/ 368669 h 691640"/>
                <a:gd name="connsiteX25" fmla="*/ 616197 w 906744"/>
                <a:gd name="connsiteY25" fmla="*/ 357873 h 691640"/>
                <a:gd name="connsiteX26" fmla="*/ 616197 w 906744"/>
                <a:gd name="connsiteY26" fmla="*/ 351823 h 691640"/>
                <a:gd name="connsiteX27" fmla="*/ 640551 w 906744"/>
                <a:gd name="connsiteY27" fmla="*/ 344771 h 691640"/>
                <a:gd name="connsiteX28" fmla="*/ 628374 w 906744"/>
                <a:gd name="connsiteY28" fmla="*/ 344203 h 691640"/>
                <a:gd name="connsiteX29" fmla="*/ 594562 w 906744"/>
                <a:gd name="connsiteY29" fmla="*/ 354698 h 691640"/>
                <a:gd name="connsiteX30" fmla="*/ 562090 w 906744"/>
                <a:gd name="connsiteY30" fmla="*/ 360480 h 691640"/>
                <a:gd name="connsiteX31" fmla="*/ 583116 w 906744"/>
                <a:gd name="connsiteY31" fmla="*/ 368903 h 691640"/>
                <a:gd name="connsiteX32" fmla="*/ 556124 w 906744"/>
                <a:gd name="connsiteY32" fmla="*/ 366429 h 691640"/>
                <a:gd name="connsiteX33" fmla="*/ 542689 w 906744"/>
                <a:gd name="connsiteY33" fmla="*/ 359444 h 691640"/>
                <a:gd name="connsiteX34" fmla="*/ 532419 w 906744"/>
                <a:gd name="connsiteY34" fmla="*/ 362987 h 691640"/>
                <a:gd name="connsiteX35" fmla="*/ 544921 w 906744"/>
                <a:gd name="connsiteY35" fmla="*/ 369504 h 691640"/>
                <a:gd name="connsiteX36" fmla="*/ 538508 w 906744"/>
                <a:gd name="connsiteY36" fmla="*/ 377693 h 691640"/>
                <a:gd name="connsiteX37" fmla="*/ 531689 w 906744"/>
                <a:gd name="connsiteY37" fmla="*/ 368836 h 691640"/>
                <a:gd name="connsiteX38" fmla="*/ 508349 w 906744"/>
                <a:gd name="connsiteY38" fmla="*/ 370540 h 691640"/>
                <a:gd name="connsiteX39" fmla="*/ 509730 w 906744"/>
                <a:gd name="connsiteY39" fmla="*/ 360146 h 691640"/>
                <a:gd name="connsiteX40" fmla="*/ 473199 w 906744"/>
                <a:gd name="connsiteY40" fmla="*/ 361583 h 691640"/>
                <a:gd name="connsiteX41" fmla="*/ 471332 w 906744"/>
                <a:gd name="connsiteY41" fmla="*/ 372680 h 691640"/>
                <a:gd name="connsiteX42" fmla="*/ 449454 w 906744"/>
                <a:gd name="connsiteY42" fmla="*/ 378863 h 691640"/>
                <a:gd name="connsiteX43" fmla="*/ 427251 w 906744"/>
                <a:gd name="connsiteY43" fmla="*/ 375888 h 691640"/>
                <a:gd name="connsiteX44" fmla="*/ 404034 w 906744"/>
                <a:gd name="connsiteY44" fmla="*/ 389057 h 691640"/>
                <a:gd name="connsiteX45" fmla="*/ 430539 w 906744"/>
                <a:gd name="connsiteY45" fmla="*/ 390127 h 691640"/>
                <a:gd name="connsiteX46" fmla="*/ 432122 w 906744"/>
                <a:gd name="connsiteY46" fmla="*/ 400455 h 691640"/>
                <a:gd name="connsiteX47" fmla="*/ 409473 w 906744"/>
                <a:gd name="connsiteY47" fmla="*/ 399987 h 691640"/>
                <a:gd name="connsiteX48" fmla="*/ 387554 w 906744"/>
                <a:gd name="connsiteY48" fmla="*/ 395107 h 691640"/>
                <a:gd name="connsiteX49" fmla="*/ 380127 w 906744"/>
                <a:gd name="connsiteY49" fmla="*/ 384177 h 691640"/>
                <a:gd name="connsiteX50" fmla="*/ 354393 w 906744"/>
                <a:gd name="connsiteY50" fmla="*/ 395809 h 691640"/>
                <a:gd name="connsiteX51" fmla="*/ 338157 w 906744"/>
                <a:gd name="connsiteY51" fmla="*/ 399719 h 691640"/>
                <a:gd name="connsiteX52" fmla="*/ 337142 w 906744"/>
                <a:gd name="connsiteY52" fmla="*/ 404098 h 691640"/>
                <a:gd name="connsiteX53" fmla="*/ 310272 w 906744"/>
                <a:gd name="connsiteY53" fmla="*/ 414827 h 691640"/>
                <a:gd name="connsiteX54" fmla="*/ 274431 w 906744"/>
                <a:gd name="connsiteY54" fmla="*/ 424553 h 691640"/>
                <a:gd name="connsiteX55" fmla="*/ 318471 w 906744"/>
                <a:gd name="connsiteY55" fmla="*/ 415729 h 691640"/>
                <a:gd name="connsiteX56" fmla="*/ 353094 w 906744"/>
                <a:gd name="connsiteY56" fmla="*/ 410114 h 691640"/>
                <a:gd name="connsiteX57" fmla="*/ 381506 w 906744"/>
                <a:gd name="connsiteY57" fmla="*/ 406237 h 691640"/>
                <a:gd name="connsiteX58" fmla="*/ 395551 w 906744"/>
                <a:gd name="connsiteY58" fmla="*/ 411785 h 691640"/>
                <a:gd name="connsiteX59" fmla="*/ 392831 w 906744"/>
                <a:gd name="connsiteY59" fmla="*/ 421311 h 691640"/>
                <a:gd name="connsiteX60" fmla="*/ 374160 w 906744"/>
                <a:gd name="connsiteY60" fmla="*/ 415361 h 691640"/>
                <a:gd name="connsiteX61" fmla="*/ 346884 w 906744"/>
                <a:gd name="connsiteY61" fmla="*/ 424586 h 691640"/>
                <a:gd name="connsiteX62" fmla="*/ 336330 w 906744"/>
                <a:gd name="connsiteY62" fmla="*/ 437956 h 691640"/>
                <a:gd name="connsiteX63" fmla="*/ 322733 w 906744"/>
                <a:gd name="connsiteY63" fmla="*/ 443671 h 691640"/>
                <a:gd name="connsiteX64" fmla="*/ 291966 w 906744"/>
                <a:gd name="connsiteY64" fmla="*/ 461854 h 691640"/>
                <a:gd name="connsiteX65" fmla="*/ 286121 w 906744"/>
                <a:gd name="connsiteY65" fmla="*/ 474387 h 691640"/>
                <a:gd name="connsiteX66" fmla="*/ 263228 w 906744"/>
                <a:gd name="connsiteY66" fmla="*/ 476025 h 691640"/>
                <a:gd name="connsiteX67" fmla="*/ 257302 w 906744"/>
                <a:gd name="connsiteY67" fmla="*/ 486988 h 691640"/>
                <a:gd name="connsiteX68" fmla="*/ 253893 w 906744"/>
                <a:gd name="connsiteY68" fmla="*/ 492102 h 691640"/>
                <a:gd name="connsiteX69" fmla="*/ 253893 w 906744"/>
                <a:gd name="connsiteY69" fmla="*/ 503700 h 691640"/>
                <a:gd name="connsiteX70" fmla="*/ 234369 w 906744"/>
                <a:gd name="connsiteY70" fmla="*/ 503967 h 691640"/>
                <a:gd name="connsiteX71" fmla="*/ 218133 w 906744"/>
                <a:gd name="connsiteY71" fmla="*/ 508212 h 691640"/>
                <a:gd name="connsiteX72" fmla="*/ 215048 w 906744"/>
                <a:gd name="connsiteY72" fmla="*/ 514496 h 691640"/>
                <a:gd name="connsiteX73" fmla="*/ 202871 w 906744"/>
                <a:gd name="connsiteY73" fmla="*/ 522952 h 691640"/>
                <a:gd name="connsiteX74" fmla="*/ 175839 w 906744"/>
                <a:gd name="connsiteY74" fmla="*/ 532143 h 691640"/>
                <a:gd name="connsiteX75" fmla="*/ 159278 w 906744"/>
                <a:gd name="connsiteY75" fmla="*/ 539530 h 691640"/>
                <a:gd name="connsiteX76" fmla="*/ 147426 w 906744"/>
                <a:gd name="connsiteY76" fmla="*/ 551629 h 691640"/>
                <a:gd name="connsiteX77" fmla="*/ 133666 w 906744"/>
                <a:gd name="connsiteY77" fmla="*/ 545246 h 691640"/>
                <a:gd name="connsiteX78" fmla="*/ 119946 w 906744"/>
                <a:gd name="connsiteY78" fmla="*/ 550326 h 691640"/>
                <a:gd name="connsiteX79" fmla="*/ 115319 w 906744"/>
                <a:gd name="connsiteY79" fmla="*/ 557579 h 691640"/>
                <a:gd name="connsiteX80" fmla="*/ 74080 w 906744"/>
                <a:gd name="connsiteY80" fmla="*/ 569210 h 691640"/>
                <a:gd name="connsiteX81" fmla="*/ 90600 w 906744"/>
                <a:gd name="connsiteY81" fmla="*/ 574224 h 691640"/>
                <a:gd name="connsiteX82" fmla="*/ 61334 w 906744"/>
                <a:gd name="connsiteY82" fmla="*/ 573689 h 691640"/>
                <a:gd name="connsiteX83" fmla="*/ 43110 w 906744"/>
                <a:gd name="connsiteY83" fmla="*/ 580006 h 691640"/>
                <a:gd name="connsiteX84" fmla="*/ 29593 w 906744"/>
                <a:gd name="connsiteY84" fmla="*/ 590033 h 691640"/>
                <a:gd name="connsiteX85" fmla="*/ 1708 w 906744"/>
                <a:gd name="connsiteY85" fmla="*/ 594478 h 691640"/>
                <a:gd name="connsiteX86" fmla="*/ 12749 w 906744"/>
                <a:gd name="connsiteY86" fmla="*/ 606143 h 691640"/>
                <a:gd name="connsiteX87" fmla="*/ 5564 w 906744"/>
                <a:gd name="connsiteY87" fmla="*/ 611458 h 691640"/>
                <a:gd name="connsiteX88" fmla="*/ 11125 w 906744"/>
                <a:gd name="connsiteY88" fmla="*/ 616805 h 691640"/>
                <a:gd name="connsiteX89" fmla="*/ 1586 w 906744"/>
                <a:gd name="connsiteY89" fmla="*/ 623490 h 691640"/>
                <a:gd name="connsiteX90" fmla="*/ 2520 w 906744"/>
                <a:gd name="connsiteY90" fmla="*/ 632247 h 691640"/>
                <a:gd name="connsiteX91" fmla="*/ 18756 w 906744"/>
                <a:gd name="connsiteY91" fmla="*/ 638364 h 691640"/>
                <a:gd name="connsiteX92" fmla="*/ 30527 w 906744"/>
                <a:gd name="connsiteY92" fmla="*/ 640770 h 691640"/>
                <a:gd name="connsiteX93" fmla="*/ 50294 w 906744"/>
                <a:gd name="connsiteY93" fmla="*/ 633317 h 691640"/>
                <a:gd name="connsiteX94" fmla="*/ 56464 w 906744"/>
                <a:gd name="connsiteY94" fmla="*/ 637495 h 691640"/>
                <a:gd name="connsiteX95" fmla="*/ 44693 w 906744"/>
                <a:gd name="connsiteY95" fmla="*/ 640402 h 691640"/>
                <a:gd name="connsiteX96" fmla="*/ 21881 w 906744"/>
                <a:gd name="connsiteY96" fmla="*/ 648491 h 691640"/>
                <a:gd name="connsiteX97" fmla="*/ 15955 w 906744"/>
                <a:gd name="connsiteY97" fmla="*/ 643812 h 691640"/>
                <a:gd name="connsiteX98" fmla="*/ 7310 w 906744"/>
                <a:gd name="connsiteY98" fmla="*/ 648926 h 691640"/>
                <a:gd name="connsiteX99" fmla="*/ 10476 w 906744"/>
                <a:gd name="connsiteY99" fmla="*/ 656145 h 691640"/>
                <a:gd name="connsiteX100" fmla="*/ 8974 w 906744"/>
                <a:gd name="connsiteY100" fmla="*/ 663131 h 691640"/>
                <a:gd name="connsiteX101" fmla="*/ 40350 w 906744"/>
                <a:gd name="connsiteY101" fmla="*/ 657749 h 691640"/>
                <a:gd name="connsiteX102" fmla="*/ 42541 w 906744"/>
                <a:gd name="connsiteY102" fmla="*/ 662830 h 691640"/>
                <a:gd name="connsiteX103" fmla="*/ 34423 w 906744"/>
                <a:gd name="connsiteY103" fmla="*/ 669849 h 691640"/>
                <a:gd name="connsiteX104" fmla="*/ 25940 w 906744"/>
                <a:gd name="connsiteY104" fmla="*/ 678071 h 691640"/>
                <a:gd name="connsiteX105" fmla="*/ 57682 w 906744"/>
                <a:gd name="connsiteY105" fmla="*/ 686260 h 691640"/>
                <a:gd name="connsiteX106" fmla="*/ 97419 w 906744"/>
                <a:gd name="connsiteY106" fmla="*/ 691039 h 691640"/>
                <a:gd name="connsiteX107" fmla="*/ 137400 w 906744"/>
                <a:gd name="connsiteY107" fmla="*/ 678405 h 691640"/>
                <a:gd name="connsiteX108" fmla="*/ 160414 w 906744"/>
                <a:gd name="connsiteY108" fmla="*/ 667075 h 691640"/>
                <a:gd name="connsiteX109" fmla="*/ 188827 w 906744"/>
                <a:gd name="connsiteY109" fmla="*/ 659253 h 691640"/>
                <a:gd name="connsiteX110" fmla="*/ 201004 w 906744"/>
                <a:gd name="connsiteY110" fmla="*/ 657281 h 691640"/>
                <a:gd name="connsiteX111" fmla="*/ 210461 w 906744"/>
                <a:gd name="connsiteY111" fmla="*/ 662729 h 691640"/>
                <a:gd name="connsiteX112" fmla="*/ 214520 w 906744"/>
                <a:gd name="connsiteY112" fmla="*/ 669180 h 691640"/>
                <a:gd name="connsiteX113" fmla="*/ 225155 w 906744"/>
                <a:gd name="connsiteY113" fmla="*/ 669949 h 691640"/>
                <a:gd name="connsiteX114" fmla="*/ 242690 w 906744"/>
                <a:gd name="connsiteY114" fmla="*/ 642776 h 691640"/>
                <a:gd name="connsiteX115" fmla="*/ 263472 w 906744"/>
                <a:gd name="connsiteY115" fmla="*/ 635656 h 691640"/>
                <a:gd name="connsiteX116" fmla="*/ 254501 w 906744"/>
                <a:gd name="connsiteY116" fmla="*/ 617641 h 691640"/>
                <a:gd name="connsiteX117" fmla="*/ 268911 w 906744"/>
                <a:gd name="connsiteY117" fmla="*/ 605074 h 691640"/>
                <a:gd name="connsiteX118" fmla="*/ 248616 w 906744"/>
                <a:gd name="connsiteY118" fmla="*/ 592105 h 691640"/>
                <a:gd name="connsiteX119" fmla="*/ 252675 w 906744"/>
                <a:gd name="connsiteY119" fmla="*/ 583516 h 691640"/>
                <a:gd name="connsiteX120" fmla="*/ 247358 w 906744"/>
                <a:gd name="connsiteY120" fmla="*/ 570982 h 691640"/>
                <a:gd name="connsiteX121" fmla="*/ 248941 w 906744"/>
                <a:gd name="connsiteY121" fmla="*/ 549791 h 691640"/>
                <a:gd name="connsiteX122" fmla="*/ 284010 w 906744"/>
                <a:gd name="connsiteY122" fmla="*/ 534149 h 691640"/>
                <a:gd name="connsiteX123" fmla="*/ 314655 w 906744"/>
                <a:gd name="connsiteY123" fmla="*/ 529135 h 691640"/>
                <a:gd name="connsiteX124" fmla="*/ 299799 w 906744"/>
                <a:gd name="connsiteY124" fmla="*/ 518206 h 691640"/>
                <a:gd name="connsiteX125" fmla="*/ 327197 w 906744"/>
                <a:gd name="connsiteY125" fmla="*/ 488125 h 691640"/>
                <a:gd name="connsiteX126" fmla="*/ 355610 w 906744"/>
                <a:gd name="connsiteY126" fmla="*/ 474989 h 691640"/>
                <a:gd name="connsiteX127" fmla="*/ 373145 w 906744"/>
                <a:gd name="connsiteY127" fmla="*/ 457509 h 691640"/>
                <a:gd name="connsiteX128" fmla="*/ 387474 w 906744"/>
                <a:gd name="connsiteY128" fmla="*/ 450155 h 691640"/>
                <a:gd name="connsiteX129" fmla="*/ 391248 w 906744"/>
                <a:gd name="connsiteY129" fmla="*/ 440128 h 691640"/>
                <a:gd name="connsiteX130" fmla="*/ 427251 w 906744"/>
                <a:gd name="connsiteY130" fmla="*/ 423015 h 691640"/>
                <a:gd name="connsiteX131" fmla="*/ 453472 w 906744"/>
                <a:gd name="connsiteY131" fmla="*/ 413657 h 691640"/>
                <a:gd name="connsiteX132" fmla="*/ 486999 w 906744"/>
                <a:gd name="connsiteY132" fmla="*/ 408777 h 691640"/>
                <a:gd name="connsiteX133" fmla="*/ 523530 w 906744"/>
                <a:gd name="connsiteY133" fmla="*/ 408576 h 691640"/>
                <a:gd name="connsiteX134" fmla="*/ 547884 w 906744"/>
                <a:gd name="connsiteY134" fmla="*/ 397413 h 691640"/>
                <a:gd name="connsiteX135" fmla="*/ 592086 w 906744"/>
                <a:gd name="connsiteY135" fmla="*/ 398616 h 691640"/>
                <a:gd name="connsiteX136" fmla="*/ 619728 w 906744"/>
                <a:gd name="connsiteY136" fmla="*/ 406638 h 691640"/>
                <a:gd name="connsiteX137" fmla="*/ 637344 w 906744"/>
                <a:gd name="connsiteY137" fmla="*/ 409044 h 691640"/>
                <a:gd name="connsiteX138" fmla="*/ 652241 w 906744"/>
                <a:gd name="connsiteY138" fmla="*/ 406437 h 691640"/>
                <a:gd name="connsiteX139" fmla="*/ 687635 w 906744"/>
                <a:gd name="connsiteY139" fmla="*/ 414526 h 691640"/>
                <a:gd name="connsiteX140" fmla="*/ 700299 w 906744"/>
                <a:gd name="connsiteY140" fmla="*/ 407641 h 691640"/>
                <a:gd name="connsiteX141" fmla="*/ 716535 w 906744"/>
                <a:gd name="connsiteY141" fmla="*/ 404064 h 691640"/>
                <a:gd name="connsiteX142" fmla="*/ 724652 w 906744"/>
                <a:gd name="connsiteY142" fmla="*/ 385715 h 691640"/>
                <a:gd name="connsiteX143" fmla="*/ 763659 w 906744"/>
                <a:gd name="connsiteY143" fmla="*/ 378194 h 691640"/>
                <a:gd name="connsiteX144" fmla="*/ 809201 w 906744"/>
                <a:gd name="connsiteY144" fmla="*/ 381303 h 691640"/>
                <a:gd name="connsiteX145" fmla="*/ 841064 w 906744"/>
                <a:gd name="connsiteY145" fmla="*/ 403028 h 691640"/>
                <a:gd name="connsiteX146" fmla="*/ 893425 w 906744"/>
                <a:gd name="connsiteY146" fmla="*/ 396343 h 691640"/>
                <a:gd name="connsiteX147" fmla="*/ 879827 w 906744"/>
                <a:gd name="connsiteY147" fmla="*/ 389659 h 691640"/>
                <a:gd name="connsiteX148" fmla="*/ 879299 w 906744"/>
                <a:gd name="connsiteY148" fmla="*/ 389425 h 691640"/>
                <a:gd name="connsiteX149" fmla="*/ 245450 w 906744"/>
                <a:gd name="connsiteY149" fmla="*/ 43892 h 691640"/>
                <a:gd name="connsiteX150" fmla="*/ 225885 w 906744"/>
                <a:gd name="connsiteY150" fmla="*/ 65717 h 691640"/>
                <a:gd name="connsiteX151" fmla="*/ 295335 w 906744"/>
                <a:gd name="connsiteY151" fmla="*/ 83499 h 691640"/>
                <a:gd name="connsiteX152" fmla="*/ 320744 w 906744"/>
                <a:gd name="connsiteY152" fmla="*/ 76647 h 691640"/>
                <a:gd name="connsiteX153" fmla="*/ 329389 w 906744"/>
                <a:gd name="connsiteY153" fmla="*/ 68993 h 691640"/>
                <a:gd name="connsiteX154" fmla="*/ 344245 w 906744"/>
                <a:gd name="connsiteY154" fmla="*/ 66586 h 691640"/>
                <a:gd name="connsiteX155" fmla="*/ 362308 w 906744"/>
                <a:gd name="connsiteY155" fmla="*/ 62509 h 691640"/>
                <a:gd name="connsiteX156" fmla="*/ 360156 w 906744"/>
                <a:gd name="connsiteY156" fmla="*/ 75076 h 691640"/>
                <a:gd name="connsiteX157" fmla="*/ 396159 w 906744"/>
                <a:gd name="connsiteY157" fmla="*/ 68057 h 691640"/>
                <a:gd name="connsiteX158" fmla="*/ 396159 w 906744"/>
                <a:gd name="connsiteY158" fmla="*/ 79254 h 691640"/>
                <a:gd name="connsiteX159" fmla="*/ 363363 w 906744"/>
                <a:gd name="connsiteY159" fmla="*/ 82997 h 691640"/>
                <a:gd name="connsiteX160" fmla="*/ 326832 w 906744"/>
                <a:gd name="connsiteY160" fmla="*/ 89014 h 691640"/>
                <a:gd name="connsiteX161" fmla="*/ 325493 w 906744"/>
                <a:gd name="connsiteY161" fmla="*/ 100311 h 691640"/>
                <a:gd name="connsiteX162" fmla="*/ 411584 w 906744"/>
                <a:gd name="connsiteY162" fmla="*/ 100311 h 691640"/>
                <a:gd name="connsiteX163" fmla="*/ 344002 w 906744"/>
                <a:gd name="connsiteY163" fmla="*/ 105592 h 691640"/>
                <a:gd name="connsiteX164" fmla="*/ 337426 w 906744"/>
                <a:gd name="connsiteY164" fmla="*/ 109402 h 691640"/>
                <a:gd name="connsiteX165" fmla="*/ 310718 w 906744"/>
                <a:gd name="connsiteY165" fmla="*/ 108800 h 691640"/>
                <a:gd name="connsiteX166" fmla="*/ 335518 w 906744"/>
                <a:gd name="connsiteY166" fmla="*/ 122905 h 691640"/>
                <a:gd name="connsiteX167" fmla="*/ 351024 w 906744"/>
                <a:gd name="connsiteY167" fmla="*/ 127751 h 691640"/>
                <a:gd name="connsiteX168" fmla="*/ 379843 w 906744"/>
                <a:gd name="connsiteY168" fmla="*/ 128955 h 691640"/>
                <a:gd name="connsiteX169" fmla="*/ 360075 w 906744"/>
                <a:gd name="connsiteY169" fmla="*/ 135038 h 691640"/>
                <a:gd name="connsiteX170" fmla="*/ 389706 w 906744"/>
                <a:gd name="connsiteY170" fmla="*/ 142993 h 691640"/>
                <a:gd name="connsiteX171" fmla="*/ 430580 w 906744"/>
                <a:gd name="connsiteY171" fmla="*/ 121033 h 691640"/>
                <a:gd name="connsiteX172" fmla="*/ 466136 w 906744"/>
                <a:gd name="connsiteY172" fmla="*/ 108800 h 691640"/>
                <a:gd name="connsiteX173" fmla="*/ 472184 w 906744"/>
                <a:gd name="connsiteY173" fmla="*/ 96333 h 691640"/>
                <a:gd name="connsiteX174" fmla="*/ 489678 w 906744"/>
                <a:gd name="connsiteY174" fmla="*/ 90350 h 691640"/>
                <a:gd name="connsiteX175" fmla="*/ 517807 w 906744"/>
                <a:gd name="connsiteY175" fmla="*/ 73104 h 691640"/>
                <a:gd name="connsiteX176" fmla="*/ 563064 w 906744"/>
                <a:gd name="connsiteY176" fmla="*/ 71132 h 691640"/>
                <a:gd name="connsiteX177" fmla="*/ 545895 w 906744"/>
                <a:gd name="connsiteY177" fmla="*/ 77817 h 691640"/>
                <a:gd name="connsiteX178" fmla="*/ 577068 w 906744"/>
                <a:gd name="connsiteY178" fmla="*/ 104555 h 691640"/>
                <a:gd name="connsiteX179" fmla="*/ 565987 w 906744"/>
                <a:gd name="connsiteY179" fmla="*/ 117724 h 691640"/>
                <a:gd name="connsiteX180" fmla="*/ 615060 w 906744"/>
                <a:gd name="connsiteY180" fmla="*/ 115017 h 691640"/>
                <a:gd name="connsiteX181" fmla="*/ 618875 w 906744"/>
                <a:gd name="connsiteY181" fmla="*/ 123841 h 691640"/>
                <a:gd name="connsiteX182" fmla="*/ 661657 w 906744"/>
                <a:gd name="connsiteY182" fmla="*/ 119997 h 691640"/>
                <a:gd name="connsiteX183" fmla="*/ 699365 w 906744"/>
                <a:gd name="connsiteY183" fmla="*/ 110371 h 691640"/>
                <a:gd name="connsiteX184" fmla="*/ 668801 w 906744"/>
                <a:gd name="connsiteY184" fmla="*/ 105124 h 691640"/>
                <a:gd name="connsiteX185" fmla="*/ 644447 w 906744"/>
                <a:gd name="connsiteY185" fmla="*/ 99943 h 691640"/>
                <a:gd name="connsiteX186" fmla="*/ 616968 w 906744"/>
                <a:gd name="connsiteY186" fmla="*/ 91119 h 691640"/>
                <a:gd name="connsiteX187" fmla="*/ 612909 w 906744"/>
                <a:gd name="connsiteY187" fmla="*/ 83365 h 691640"/>
                <a:gd name="connsiteX188" fmla="*/ 581817 w 906744"/>
                <a:gd name="connsiteY188" fmla="*/ 73104 h 691640"/>
                <a:gd name="connsiteX189" fmla="*/ 568017 w 906744"/>
                <a:gd name="connsiteY189" fmla="*/ 61205 h 691640"/>
                <a:gd name="connsiteX190" fmla="*/ 548980 w 906744"/>
                <a:gd name="connsiteY190" fmla="*/ 54821 h 691640"/>
                <a:gd name="connsiteX191" fmla="*/ 523489 w 906744"/>
                <a:gd name="connsiteY191" fmla="*/ 52816 h 691640"/>
                <a:gd name="connsiteX192" fmla="*/ 488948 w 906744"/>
                <a:gd name="connsiteY192" fmla="*/ 48805 h 691640"/>
                <a:gd name="connsiteX193" fmla="*/ 474579 w 906744"/>
                <a:gd name="connsiteY193" fmla="*/ 35202 h 691640"/>
                <a:gd name="connsiteX194" fmla="*/ 441580 w 906744"/>
                <a:gd name="connsiteY194" fmla="*/ 39346 h 691640"/>
                <a:gd name="connsiteX195" fmla="*/ 452133 w 906744"/>
                <a:gd name="connsiteY195" fmla="*/ 25810 h 691640"/>
                <a:gd name="connsiteX196" fmla="*/ 421447 w 906744"/>
                <a:gd name="connsiteY196" fmla="*/ 20328 h 691640"/>
                <a:gd name="connsiteX197" fmla="*/ 403506 w 906744"/>
                <a:gd name="connsiteY197" fmla="*/ 17153 h 691640"/>
                <a:gd name="connsiteX198" fmla="*/ 386337 w 906744"/>
                <a:gd name="connsiteY198" fmla="*/ 21598 h 691640"/>
                <a:gd name="connsiteX199" fmla="*/ 388407 w 906744"/>
                <a:gd name="connsiteY199" fmla="*/ 33430 h 691640"/>
                <a:gd name="connsiteX200" fmla="*/ 403141 w 906744"/>
                <a:gd name="connsiteY200" fmla="*/ 52080 h 691640"/>
                <a:gd name="connsiteX201" fmla="*/ 366285 w 906744"/>
                <a:gd name="connsiteY201" fmla="*/ 37942 h 691640"/>
                <a:gd name="connsiteX202" fmla="*/ 345990 w 906744"/>
                <a:gd name="connsiteY202" fmla="*/ 22367 h 691640"/>
                <a:gd name="connsiteX203" fmla="*/ 321840 w 906744"/>
                <a:gd name="connsiteY203" fmla="*/ 34667 h 691640"/>
                <a:gd name="connsiteX204" fmla="*/ 320541 w 906744"/>
                <a:gd name="connsiteY204" fmla="*/ 42521 h 691640"/>
                <a:gd name="connsiteX205" fmla="*/ 312423 w 906744"/>
                <a:gd name="connsiteY205" fmla="*/ 40650 h 691640"/>
                <a:gd name="connsiteX206" fmla="*/ 283320 w 906744"/>
                <a:gd name="connsiteY206" fmla="*/ 29820 h 691640"/>
                <a:gd name="connsiteX207" fmla="*/ 307674 w 906744"/>
                <a:gd name="connsiteY207" fmla="*/ 20629 h 691640"/>
                <a:gd name="connsiteX208" fmla="*/ 244597 w 906744"/>
                <a:gd name="connsiteY208" fmla="*/ 23637 h 691640"/>
                <a:gd name="connsiteX209" fmla="*/ 198609 w 906744"/>
                <a:gd name="connsiteY209" fmla="*/ 32762 h 691640"/>
                <a:gd name="connsiteX210" fmla="*/ 217402 w 906744"/>
                <a:gd name="connsiteY210" fmla="*/ 48972 h 691640"/>
                <a:gd name="connsiteX211" fmla="*/ 245490 w 906744"/>
                <a:gd name="connsiteY211" fmla="*/ 43959 h 691640"/>
                <a:gd name="connsiteX212" fmla="*/ 211557 w 906744"/>
                <a:gd name="connsiteY212" fmla="*/ 74441 h 691640"/>
                <a:gd name="connsiteX213" fmla="*/ 237819 w 906744"/>
                <a:gd name="connsiteY213" fmla="*/ 82830 h 691640"/>
                <a:gd name="connsiteX214" fmla="*/ 200517 w 906744"/>
                <a:gd name="connsiteY214" fmla="*/ 60035 h 691640"/>
                <a:gd name="connsiteX215" fmla="*/ 185661 w 906744"/>
                <a:gd name="connsiteY215" fmla="*/ 63846 h 691640"/>
                <a:gd name="connsiteX216" fmla="*/ 211557 w 906744"/>
                <a:gd name="connsiteY216" fmla="*/ 74441 h 691640"/>
                <a:gd name="connsiteX217" fmla="*/ 475391 w 906744"/>
                <a:gd name="connsiteY217" fmla="*/ 16618 h 691640"/>
                <a:gd name="connsiteX218" fmla="*/ 474579 w 906744"/>
                <a:gd name="connsiteY218" fmla="*/ 24372 h 691640"/>
                <a:gd name="connsiteX219" fmla="*/ 509324 w 906744"/>
                <a:gd name="connsiteY219" fmla="*/ 28717 h 691640"/>
                <a:gd name="connsiteX220" fmla="*/ 593020 w 906744"/>
                <a:gd name="connsiteY220" fmla="*/ 28049 h 691640"/>
                <a:gd name="connsiteX221" fmla="*/ 587987 w 906744"/>
                <a:gd name="connsiteY221" fmla="*/ 32394 h 691640"/>
                <a:gd name="connsiteX222" fmla="*/ 529619 w 906744"/>
                <a:gd name="connsiteY222" fmla="*/ 37341 h 691640"/>
                <a:gd name="connsiteX223" fmla="*/ 578326 w 906744"/>
                <a:gd name="connsiteY223" fmla="*/ 45997 h 691640"/>
                <a:gd name="connsiteX224" fmla="*/ 630646 w 906744"/>
                <a:gd name="connsiteY224" fmla="*/ 49340 h 691640"/>
                <a:gd name="connsiteX225" fmla="*/ 711096 w 906744"/>
                <a:gd name="connsiteY225" fmla="*/ 52381 h 691640"/>
                <a:gd name="connsiteX226" fmla="*/ 776364 w 906744"/>
                <a:gd name="connsiteY226" fmla="*/ 39012 h 691640"/>
                <a:gd name="connsiteX227" fmla="*/ 781843 w 906744"/>
                <a:gd name="connsiteY227" fmla="*/ 22935 h 691640"/>
                <a:gd name="connsiteX228" fmla="*/ 739833 w 906744"/>
                <a:gd name="connsiteY228" fmla="*/ 20428 h 691640"/>
                <a:gd name="connsiteX229" fmla="*/ 703302 w 906744"/>
                <a:gd name="connsiteY229" fmla="*/ 13409 h 691640"/>
                <a:gd name="connsiteX230" fmla="*/ 669816 w 906744"/>
                <a:gd name="connsiteY230" fmla="*/ 16752 h 691640"/>
                <a:gd name="connsiteX231" fmla="*/ 651672 w 906744"/>
                <a:gd name="connsiteY231" fmla="*/ 11872 h 691640"/>
                <a:gd name="connsiteX232" fmla="*/ 625979 w 906744"/>
                <a:gd name="connsiteY232" fmla="*/ 6858 h 691640"/>
                <a:gd name="connsiteX233" fmla="*/ 626222 w 906744"/>
                <a:gd name="connsiteY233" fmla="*/ 20896 h 691640"/>
                <a:gd name="connsiteX234" fmla="*/ 598337 w 906744"/>
                <a:gd name="connsiteY234" fmla="*/ 15782 h 691640"/>
                <a:gd name="connsiteX235" fmla="*/ 576013 w 906744"/>
                <a:gd name="connsiteY235" fmla="*/ 13376 h 691640"/>
                <a:gd name="connsiteX236" fmla="*/ 553080 w 906744"/>
                <a:gd name="connsiteY236" fmla="*/ 4652 h 691640"/>
                <a:gd name="connsiteX237" fmla="*/ 523287 w 906744"/>
                <a:gd name="connsiteY237" fmla="*/ 341 h 691640"/>
                <a:gd name="connsiteX238" fmla="*/ 511110 w 906744"/>
                <a:gd name="connsiteY238" fmla="*/ 5455 h 691640"/>
                <a:gd name="connsiteX239" fmla="*/ 500962 w 906744"/>
                <a:gd name="connsiteY239" fmla="*/ 10234 h 691640"/>
                <a:gd name="connsiteX240" fmla="*/ 482453 w 906744"/>
                <a:gd name="connsiteY240" fmla="*/ 5154 h 691640"/>
                <a:gd name="connsiteX241" fmla="*/ 466217 w 906744"/>
                <a:gd name="connsiteY241" fmla="*/ 3382 h 691640"/>
                <a:gd name="connsiteX242" fmla="*/ 454527 w 906744"/>
                <a:gd name="connsiteY242" fmla="*/ 9265 h 691640"/>
                <a:gd name="connsiteX243" fmla="*/ 475269 w 906744"/>
                <a:gd name="connsiteY243" fmla="*/ 16652 h 69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</a:cxnLst>
              <a:rect l="l" t="t" r="r" b="b"/>
              <a:pathLst>
                <a:path w="906744" h="691640">
                  <a:moveTo>
                    <a:pt x="879299" y="389425"/>
                  </a:moveTo>
                  <a:cubicBezTo>
                    <a:pt x="874429" y="396611"/>
                    <a:pt x="864647" y="387319"/>
                    <a:pt x="862333" y="385748"/>
                  </a:cubicBezTo>
                  <a:cubicBezTo>
                    <a:pt x="858274" y="382941"/>
                    <a:pt x="842809" y="380601"/>
                    <a:pt x="841307" y="377626"/>
                  </a:cubicBezTo>
                  <a:cubicBezTo>
                    <a:pt x="840211" y="375287"/>
                    <a:pt x="866960" y="381303"/>
                    <a:pt x="870492" y="380969"/>
                  </a:cubicBezTo>
                  <a:cubicBezTo>
                    <a:pt x="874875" y="380367"/>
                    <a:pt x="879137" y="379241"/>
                    <a:pt x="883115" y="377626"/>
                  </a:cubicBezTo>
                  <a:cubicBezTo>
                    <a:pt x="890056" y="375053"/>
                    <a:pt x="896794" y="376958"/>
                    <a:pt x="904465" y="376222"/>
                  </a:cubicBezTo>
                  <a:cubicBezTo>
                    <a:pt x="916642" y="375053"/>
                    <a:pt x="875281" y="358608"/>
                    <a:pt x="863876" y="358876"/>
                  </a:cubicBezTo>
                  <a:cubicBezTo>
                    <a:pt x="851699" y="359143"/>
                    <a:pt x="818131" y="343033"/>
                    <a:pt x="816548" y="360747"/>
                  </a:cubicBezTo>
                  <a:cubicBezTo>
                    <a:pt x="816020" y="366931"/>
                    <a:pt x="803356" y="364925"/>
                    <a:pt x="807943" y="361750"/>
                  </a:cubicBezTo>
                  <a:cubicBezTo>
                    <a:pt x="812002" y="359076"/>
                    <a:pt x="806075" y="356269"/>
                    <a:pt x="808470" y="353661"/>
                  </a:cubicBezTo>
                  <a:cubicBezTo>
                    <a:pt x="810865" y="351054"/>
                    <a:pt x="818252" y="353127"/>
                    <a:pt x="818496" y="349885"/>
                  </a:cubicBezTo>
                  <a:cubicBezTo>
                    <a:pt x="819470" y="336515"/>
                    <a:pt x="762929" y="342197"/>
                    <a:pt x="776121" y="350319"/>
                  </a:cubicBezTo>
                  <a:cubicBezTo>
                    <a:pt x="782736" y="354363"/>
                    <a:pt x="743649" y="371911"/>
                    <a:pt x="752781" y="355266"/>
                  </a:cubicBezTo>
                  <a:cubicBezTo>
                    <a:pt x="763619" y="335513"/>
                    <a:pt x="729239" y="354297"/>
                    <a:pt x="718320" y="359644"/>
                  </a:cubicBezTo>
                  <a:cubicBezTo>
                    <a:pt x="714951" y="361282"/>
                    <a:pt x="700704" y="369671"/>
                    <a:pt x="693642" y="366697"/>
                  </a:cubicBezTo>
                  <a:cubicBezTo>
                    <a:pt x="682602" y="362184"/>
                    <a:pt x="706468" y="356369"/>
                    <a:pt x="710162" y="354731"/>
                  </a:cubicBezTo>
                  <a:cubicBezTo>
                    <a:pt x="714951" y="352592"/>
                    <a:pt x="720106" y="344303"/>
                    <a:pt x="728306" y="344704"/>
                  </a:cubicBezTo>
                  <a:cubicBezTo>
                    <a:pt x="741781" y="345406"/>
                    <a:pt x="729199" y="336549"/>
                    <a:pt x="717874" y="337652"/>
                  </a:cubicBezTo>
                  <a:cubicBezTo>
                    <a:pt x="709756" y="338387"/>
                    <a:pt x="708741" y="345272"/>
                    <a:pt x="701029" y="344804"/>
                  </a:cubicBezTo>
                  <a:cubicBezTo>
                    <a:pt x="699081" y="344804"/>
                    <a:pt x="679111" y="341061"/>
                    <a:pt x="679232" y="341830"/>
                  </a:cubicBezTo>
                  <a:cubicBezTo>
                    <a:pt x="677974" y="343136"/>
                    <a:pt x="676148" y="343989"/>
                    <a:pt x="674118" y="344203"/>
                  </a:cubicBezTo>
                  <a:cubicBezTo>
                    <a:pt x="668192" y="346208"/>
                    <a:pt x="674443" y="348147"/>
                    <a:pt x="674118" y="350887"/>
                  </a:cubicBezTo>
                  <a:cubicBezTo>
                    <a:pt x="673306" y="355700"/>
                    <a:pt x="659100" y="347244"/>
                    <a:pt x="652606" y="348247"/>
                  </a:cubicBezTo>
                  <a:cubicBezTo>
                    <a:pt x="648547" y="348848"/>
                    <a:pt x="628536" y="356135"/>
                    <a:pt x="628252" y="358274"/>
                  </a:cubicBezTo>
                  <a:cubicBezTo>
                    <a:pt x="628252" y="356970"/>
                    <a:pt x="638805" y="375587"/>
                    <a:pt x="622854" y="368669"/>
                  </a:cubicBezTo>
                  <a:cubicBezTo>
                    <a:pt x="616643" y="365995"/>
                    <a:pt x="621311" y="360747"/>
                    <a:pt x="616197" y="357873"/>
                  </a:cubicBezTo>
                  <a:cubicBezTo>
                    <a:pt x="612787" y="355968"/>
                    <a:pt x="604994" y="354865"/>
                    <a:pt x="616197" y="351823"/>
                  </a:cubicBezTo>
                  <a:cubicBezTo>
                    <a:pt x="625573" y="349216"/>
                    <a:pt x="634827" y="350553"/>
                    <a:pt x="640551" y="344771"/>
                  </a:cubicBezTo>
                  <a:cubicBezTo>
                    <a:pt x="644366" y="340827"/>
                    <a:pt x="628780" y="339590"/>
                    <a:pt x="628374" y="344203"/>
                  </a:cubicBezTo>
                  <a:cubicBezTo>
                    <a:pt x="628008" y="350052"/>
                    <a:pt x="569113" y="340860"/>
                    <a:pt x="594562" y="354698"/>
                  </a:cubicBezTo>
                  <a:cubicBezTo>
                    <a:pt x="629429" y="373549"/>
                    <a:pt x="559330" y="350119"/>
                    <a:pt x="562090" y="360480"/>
                  </a:cubicBezTo>
                  <a:cubicBezTo>
                    <a:pt x="563186" y="364524"/>
                    <a:pt x="581533" y="364992"/>
                    <a:pt x="583116" y="368903"/>
                  </a:cubicBezTo>
                  <a:cubicBezTo>
                    <a:pt x="582710" y="367800"/>
                    <a:pt x="559330" y="367365"/>
                    <a:pt x="556124" y="366429"/>
                  </a:cubicBezTo>
                  <a:cubicBezTo>
                    <a:pt x="550482" y="364791"/>
                    <a:pt x="549102" y="359377"/>
                    <a:pt x="542689" y="359444"/>
                  </a:cubicBezTo>
                  <a:cubicBezTo>
                    <a:pt x="540497" y="359444"/>
                    <a:pt x="529375" y="360848"/>
                    <a:pt x="532419" y="362987"/>
                  </a:cubicBezTo>
                  <a:cubicBezTo>
                    <a:pt x="536803" y="366028"/>
                    <a:pt x="545408" y="364457"/>
                    <a:pt x="544921" y="369504"/>
                  </a:cubicBezTo>
                  <a:cubicBezTo>
                    <a:pt x="544921" y="371309"/>
                    <a:pt x="545652" y="378829"/>
                    <a:pt x="538508" y="377693"/>
                  </a:cubicBezTo>
                  <a:cubicBezTo>
                    <a:pt x="527589" y="376022"/>
                    <a:pt x="535910" y="371543"/>
                    <a:pt x="531689" y="368836"/>
                  </a:cubicBezTo>
                  <a:cubicBezTo>
                    <a:pt x="525681" y="365025"/>
                    <a:pt x="514154" y="371276"/>
                    <a:pt x="508349" y="370540"/>
                  </a:cubicBezTo>
                  <a:cubicBezTo>
                    <a:pt x="506807" y="370340"/>
                    <a:pt x="511069" y="361583"/>
                    <a:pt x="509730" y="360146"/>
                  </a:cubicBezTo>
                  <a:cubicBezTo>
                    <a:pt x="506239" y="356269"/>
                    <a:pt x="478760" y="359945"/>
                    <a:pt x="473199" y="361583"/>
                  </a:cubicBezTo>
                  <a:cubicBezTo>
                    <a:pt x="469789" y="362552"/>
                    <a:pt x="488948" y="374651"/>
                    <a:pt x="471332" y="372680"/>
                  </a:cubicBezTo>
                  <a:cubicBezTo>
                    <a:pt x="456719" y="371075"/>
                    <a:pt x="460495" y="382707"/>
                    <a:pt x="449454" y="378863"/>
                  </a:cubicBezTo>
                  <a:cubicBezTo>
                    <a:pt x="441336" y="376089"/>
                    <a:pt x="440200" y="372178"/>
                    <a:pt x="427251" y="375888"/>
                  </a:cubicBezTo>
                  <a:cubicBezTo>
                    <a:pt x="420798" y="377693"/>
                    <a:pt x="402897" y="385046"/>
                    <a:pt x="404034" y="389057"/>
                  </a:cubicBezTo>
                  <a:cubicBezTo>
                    <a:pt x="405495" y="393837"/>
                    <a:pt x="425425" y="384879"/>
                    <a:pt x="430539" y="390127"/>
                  </a:cubicBezTo>
                  <a:cubicBezTo>
                    <a:pt x="431595" y="391196"/>
                    <a:pt x="434598" y="400154"/>
                    <a:pt x="432122" y="400455"/>
                  </a:cubicBezTo>
                  <a:cubicBezTo>
                    <a:pt x="425587" y="400922"/>
                    <a:pt x="412355" y="391330"/>
                    <a:pt x="409473" y="399987"/>
                  </a:cubicBezTo>
                  <a:cubicBezTo>
                    <a:pt x="407322" y="406671"/>
                    <a:pt x="394901" y="391965"/>
                    <a:pt x="387554" y="395107"/>
                  </a:cubicBezTo>
                  <a:cubicBezTo>
                    <a:pt x="356057" y="408476"/>
                    <a:pt x="392709" y="385080"/>
                    <a:pt x="380127" y="384177"/>
                  </a:cubicBezTo>
                  <a:cubicBezTo>
                    <a:pt x="373876" y="383743"/>
                    <a:pt x="360116" y="394204"/>
                    <a:pt x="354393" y="395809"/>
                  </a:cubicBezTo>
                  <a:cubicBezTo>
                    <a:pt x="351267" y="396678"/>
                    <a:pt x="340186" y="397914"/>
                    <a:pt x="338157" y="399719"/>
                  </a:cubicBezTo>
                  <a:cubicBezTo>
                    <a:pt x="336127" y="401524"/>
                    <a:pt x="343840" y="401791"/>
                    <a:pt x="337142" y="404098"/>
                  </a:cubicBezTo>
                  <a:cubicBezTo>
                    <a:pt x="327116" y="407440"/>
                    <a:pt x="321880" y="412520"/>
                    <a:pt x="310272" y="414827"/>
                  </a:cubicBezTo>
                  <a:cubicBezTo>
                    <a:pt x="306213" y="415562"/>
                    <a:pt x="270412" y="421511"/>
                    <a:pt x="274431" y="424553"/>
                  </a:cubicBezTo>
                  <a:cubicBezTo>
                    <a:pt x="276826" y="426425"/>
                    <a:pt x="313559" y="417133"/>
                    <a:pt x="318471" y="415729"/>
                  </a:cubicBezTo>
                  <a:cubicBezTo>
                    <a:pt x="324925" y="413824"/>
                    <a:pt x="344692" y="407139"/>
                    <a:pt x="353094" y="410114"/>
                  </a:cubicBezTo>
                  <a:cubicBezTo>
                    <a:pt x="366813" y="415027"/>
                    <a:pt x="370142" y="407908"/>
                    <a:pt x="381506" y="406237"/>
                  </a:cubicBezTo>
                  <a:cubicBezTo>
                    <a:pt x="387554" y="405301"/>
                    <a:pt x="402410" y="408209"/>
                    <a:pt x="395551" y="411785"/>
                  </a:cubicBezTo>
                  <a:cubicBezTo>
                    <a:pt x="388691" y="415361"/>
                    <a:pt x="397621" y="419807"/>
                    <a:pt x="392831" y="421311"/>
                  </a:cubicBezTo>
                  <a:cubicBezTo>
                    <a:pt x="381669" y="424921"/>
                    <a:pt x="383374" y="415930"/>
                    <a:pt x="374160" y="415361"/>
                  </a:cubicBezTo>
                  <a:cubicBezTo>
                    <a:pt x="372577" y="415361"/>
                    <a:pt x="349806" y="423450"/>
                    <a:pt x="346884" y="424586"/>
                  </a:cubicBezTo>
                  <a:cubicBezTo>
                    <a:pt x="337873" y="428263"/>
                    <a:pt x="342825" y="434613"/>
                    <a:pt x="336330" y="437956"/>
                  </a:cubicBezTo>
                  <a:cubicBezTo>
                    <a:pt x="329836" y="441298"/>
                    <a:pt x="328212" y="437722"/>
                    <a:pt x="322733" y="443671"/>
                  </a:cubicBezTo>
                  <a:cubicBezTo>
                    <a:pt x="316279" y="450724"/>
                    <a:pt x="303290" y="456640"/>
                    <a:pt x="291966" y="461854"/>
                  </a:cubicBezTo>
                  <a:cubicBezTo>
                    <a:pt x="280641" y="467068"/>
                    <a:pt x="291641" y="469407"/>
                    <a:pt x="286121" y="474387"/>
                  </a:cubicBezTo>
                  <a:cubicBezTo>
                    <a:pt x="282062" y="478064"/>
                    <a:pt x="269885" y="475992"/>
                    <a:pt x="263228" y="476025"/>
                  </a:cubicBezTo>
                  <a:cubicBezTo>
                    <a:pt x="252350" y="476025"/>
                    <a:pt x="257424" y="483746"/>
                    <a:pt x="257302" y="486988"/>
                  </a:cubicBezTo>
                  <a:cubicBezTo>
                    <a:pt x="257505" y="489101"/>
                    <a:pt x="256165" y="491116"/>
                    <a:pt x="253893" y="492102"/>
                  </a:cubicBezTo>
                  <a:cubicBezTo>
                    <a:pt x="246018" y="495444"/>
                    <a:pt x="253893" y="499923"/>
                    <a:pt x="253893" y="503700"/>
                  </a:cubicBezTo>
                  <a:cubicBezTo>
                    <a:pt x="253893" y="506608"/>
                    <a:pt x="237657" y="503433"/>
                    <a:pt x="234369" y="503967"/>
                  </a:cubicBezTo>
                  <a:cubicBezTo>
                    <a:pt x="228037" y="504937"/>
                    <a:pt x="227306" y="507811"/>
                    <a:pt x="218133" y="508212"/>
                  </a:cubicBezTo>
                  <a:cubicBezTo>
                    <a:pt x="205347" y="508780"/>
                    <a:pt x="205022" y="510117"/>
                    <a:pt x="215048" y="514496"/>
                  </a:cubicBezTo>
                  <a:cubicBezTo>
                    <a:pt x="244192" y="527297"/>
                    <a:pt x="216469" y="518741"/>
                    <a:pt x="202871" y="522952"/>
                  </a:cubicBezTo>
                  <a:cubicBezTo>
                    <a:pt x="194307" y="525592"/>
                    <a:pt x="181074" y="527598"/>
                    <a:pt x="175839" y="532143"/>
                  </a:cubicBezTo>
                  <a:cubicBezTo>
                    <a:pt x="169750" y="537424"/>
                    <a:pt x="168086" y="536188"/>
                    <a:pt x="159278" y="539530"/>
                  </a:cubicBezTo>
                  <a:cubicBezTo>
                    <a:pt x="151647" y="542471"/>
                    <a:pt x="155219" y="548722"/>
                    <a:pt x="147426" y="551629"/>
                  </a:cubicBezTo>
                  <a:cubicBezTo>
                    <a:pt x="141297" y="553936"/>
                    <a:pt x="137603" y="546549"/>
                    <a:pt x="133666" y="545246"/>
                  </a:cubicBezTo>
                  <a:cubicBezTo>
                    <a:pt x="125548" y="542572"/>
                    <a:pt x="115928" y="545647"/>
                    <a:pt x="119946" y="550326"/>
                  </a:cubicBezTo>
                  <a:cubicBezTo>
                    <a:pt x="125020" y="556242"/>
                    <a:pt x="129485" y="556409"/>
                    <a:pt x="115319" y="557579"/>
                  </a:cubicBezTo>
                  <a:cubicBezTo>
                    <a:pt x="108338" y="558147"/>
                    <a:pt x="67220" y="567372"/>
                    <a:pt x="74080" y="569210"/>
                  </a:cubicBezTo>
                  <a:cubicBezTo>
                    <a:pt x="75500" y="569611"/>
                    <a:pt x="95187" y="572285"/>
                    <a:pt x="90600" y="574224"/>
                  </a:cubicBezTo>
                  <a:cubicBezTo>
                    <a:pt x="84633" y="576664"/>
                    <a:pt x="67869" y="574224"/>
                    <a:pt x="61334" y="573689"/>
                  </a:cubicBezTo>
                  <a:cubicBezTo>
                    <a:pt x="50659" y="572653"/>
                    <a:pt x="53216" y="580842"/>
                    <a:pt x="43110" y="580006"/>
                  </a:cubicBezTo>
                  <a:cubicBezTo>
                    <a:pt x="21678" y="578268"/>
                    <a:pt x="31664" y="586691"/>
                    <a:pt x="29593" y="590033"/>
                  </a:cubicBezTo>
                  <a:cubicBezTo>
                    <a:pt x="27929" y="593008"/>
                    <a:pt x="7959" y="587660"/>
                    <a:pt x="1708" y="594478"/>
                  </a:cubicBezTo>
                  <a:cubicBezTo>
                    <a:pt x="-5963" y="602901"/>
                    <a:pt x="13885" y="601163"/>
                    <a:pt x="12749" y="606143"/>
                  </a:cubicBezTo>
                  <a:cubicBezTo>
                    <a:pt x="12302" y="608182"/>
                    <a:pt x="5118" y="609486"/>
                    <a:pt x="5564" y="611458"/>
                  </a:cubicBezTo>
                  <a:cubicBezTo>
                    <a:pt x="6092" y="614131"/>
                    <a:pt x="19162" y="612293"/>
                    <a:pt x="11125" y="616805"/>
                  </a:cubicBezTo>
                  <a:cubicBezTo>
                    <a:pt x="7066" y="619078"/>
                    <a:pt x="-1052" y="619613"/>
                    <a:pt x="1586" y="623490"/>
                  </a:cubicBezTo>
                  <a:cubicBezTo>
                    <a:pt x="5199" y="628804"/>
                    <a:pt x="8771" y="627401"/>
                    <a:pt x="2520" y="632247"/>
                  </a:cubicBezTo>
                  <a:cubicBezTo>
                    <a:pt x="-7100" y="639767"/>
                    <a:pt x="14413" y="637829"/>
                    <a:pt x="18756" y="638364"/>
                  </a:cubicBezTo>
                  <a:cubicBezTo>
                    <a:pt x="24682" y="639099"/>
                    <a:pt x="21759" y="643110"/>
                    <a:pt x="30527" y="640770"/>
                  </a:cubicBezTo>
                  <a:cubicBezTo>
                    <a:pt x="37224" y="638999"/>
                    <a:pt x="42704" y="634085"/>
                    <a:pt x="50294" y="633317"/>
                  </a:cubicBezTo>
                  <a:cubicBezTo>
                    <a:pt x="54962" y="632949"/>
                    <a:pt x="56870" y="635723"/>
                    <a:pt x="56464" y="637495"/>
                  </a:cubicBezTo>
                  <a:cubicBezTo>
                    <a:pt x="55733" y="640670"/>
                    <a:pt x="48995" y="639767"/>
                    <a:pt x="44693" y="640402"/>
                  </a:cubicBezTo>
                  <a:cubicBezTo>
                    <a:pt x="36210" y="641672"/>
                    <a:pt x="31460" y="655443"/>
                    <a:pt x="21881" y="648491"/>
                  </a:cubicBezTo>
                  <a:cubicBezTo>
                    <a:pt x="20014" y="647154"/>
                    <a:pt x="21678" y="643010"/>
                    <a:pt x="15955" y="643812"/>
                  </a:cubicBezTo>
                  <a:cubicBezTo>
                    <a:pt x="11896" y="644380"/>
                    <a:pt x="7432" y="646686"/>
                    <a:pt x="7310" y="648926"/>
                  </a:cubicBezTo>
                  <a:cubicBezTo>
                    <a:pt x="7310" y="651934"/>
                    <a:pt x="13641" y="652736"/>
                    <a:pt x="10476" y="656145"/>
                  </a:cubicBezTo>
                  <a:cubicBezTo>
                    <a:pt x="8933" y="657816"/>
                    <a:pt x="3494" y="661660"/>
                    <a:pt x="8974" y="663131"/>
                  </a:cubicBezTo>
                  <a:cubicBezTo>
                    <a:pt x="22166" y="666673"/>
                    <a:pt x="28051" y="652602"/>
                    <a:pt x="40350" y="657749"/>
                  </a:cubicBezTo>
                  <a:cubicBezTo>
                    <a:pt x="42339" y="658551"/>
                    <a:pt x="47372" y="661794"/>
                    <a:pt x="42541" y="662830"/>
                  </a:cubicBezTo>
                  <a:cubicBezTo>
                    <a:pt x="34180" y="664668"/>
                    <a:pt x="39294" y="667208"/>
                    <a:pt x="34423" y="669849"/>
                  </a:cubicBezTo>
                  <a:cubicBezTo>
                    <a:pt x="29553" y="672489"/>
                    <a:pt x="12830" y="672222"/>
                    <a:pt x="25940" y="678071"/>
                  </a:cubicBezTo>
                  <a:cubicBezTo>
                    <a:pt x="35885" y="682225"/>
                    <a:pt x="46641" y="684993"/>
                    <a:pt x="57682" y="686260"/>
                  </a:cubicBezTo>
                  <a:cubicBezTo>
                    <a:pt x="72172" y="687830"/>
                    <a:pt x="81224" y="692443"/>
                    <a:pt x="97419" y="691039"/>
                  </a:cubicBezTo>
                  <a:cubicBezTo>
                    <a:pt x="112315" y="689736"/>
                    <a:pt x="126400" y="683185"/>
                    <a:pt x="137400" y="678405"/>
                  </a:cubicBezTo>
                  <a:cubicBezTo>
                    <a:pt x="145477" y="675213"/>
                    <a:pt x="153189" y="671420"/>
                    <a:pt x="160414" y="667075"/>
                  </a:cubicBezTo>
                  <a:cubicBezTo>
                    <a:pt x="168532" y="661760"/>
                    <a:pt x="185864" y="669481"/>
                    <a:pt x="188827" y="659253"/>
                  </a:cubicBezTo>
                  <a:cubicBezTo>
                    <a:pt x="190653" y="652769"/>
                    <a:pt x="194266" y="649494"/>
                    <a:pt x="201004" y="657281"/>
                  </a:cubicBezTo>
                  <a:cubicBezTo>
                    <a:pt x="203805" y="660624"/>
                    <a:pt x="205915" y="660457"/>
                    <a:pt x="210461" y="662729"/>
                  </a:cubicBezTo>
                  <a:cubicBezTo>
                    <a:pt x="213181" y="664070"/>
                    <a:pt x="214764" y="666570"/>
                    <a:pt x="214520" y="669180"/>
                  </a:cubicBezTo>
                  <a:cubicBezTo>
                    <a:pt x="218092" y="668769"/>
                    <a:pt x="221745" y="669033"/>
                    <a:pt x="225155" y="669949"/>
                  </a:cubicBezTo>
                  <a:cubicBezTo>
                    <a:pt x="230553" y="672021"/>
                    <a:pt x="237007" y="643210"/>
                    <a:pt x="242690" y="642776"/>
                  </a:cubicBezTo>
                  <a:cubicBezTo>
                    <a:pt x="255272" y="641840"/>
                    <a:pt x="261767" y="643244"/>
                    <a:pt x="263472" y="635656"/>
                  </a:cubicBezTo>
                  <a:cubicBezTo>
                    <a:pt x="264730" y="630275"/>
                    <a:pt x="250808" y="621117"/>
                    <a:pt x="254501" y="617641"/>
                  </a:cubicBezTo>
                  <a:cubicBezTo>
                    <a:pt x="258195" y="614165"/>
                    <a:pt x="281900" y="613931"/>
                    <a:pt x="268911" y="605074"/>
                  </a:cubicBezTo>
                  <a:cubicBezTo>
                    <a:pt x="261645" y="600094"/>
                    <a:pt x="244841" y="600328"/>
                    <a:pt x="248616" y="592105"/>
                  </a:cubicBezTo>
                  <a:cubicBezTo>
                    <a:pt x="250036" y="589131"/>
                    <a:pt x="253689" y="586758"/>
                    <a:pt x="252675" y="583516"/>
                  </a:cubicBezTo>
                  <a:cubicBezTo>
                    <a:pt x="251498" y="578970"/>
                    <a:pt x="245693" y="575795"/>
                    <a:pt x="247358" y="570982"/>
                  </a:cubicBezTo>
                  <a:cubicBezTo>
                    <a:pt x="249834" y="563929"/>
                    <a:pt x="243948" y="556409"/>
                    <a:pt x="248941" y="549791"/>
                  </a:cubicBezTo>
                  <a:cubicBezTo>
                    <a:pt x="253933" y="543173"/>
                    <a:pt x="268099" y="535285"/>
                    <a:pt x="284010" y="534149"/>
                  </a:cubicBezTo>
                  <a:cubicBezTo>
                    <a:pt x="298135" y="533146"/>
                    <a:pt x="309865" y="540366"/>
                    <a:pt x="314655" y="529135"/>
                  </a:cubicBezTo>
                  <a:cubicBezTo>
                    <a:pt x="317700" y="521949"/>
                    <a:pt x="297242" y="524289"/>
                    <a:pt x="299799" y="518206"/>
                  </a:cubicBezTo>
                  <a:cubicBezTo>
                    <a:pt x="304589" y="506842"/>
                    <a:pt x="328212" y="501494"/>
                    <a:pt x="327197" y="488125"/>
                  </a:cubicBezTo>
                  <a:cubicBezTo>
                    <a:pt x="326021" y="473151"/>
                    <a:pt x="335802" y="481039"/>
                    <a:pt x="355610" y="474989"/>
                  </a:cubicBezTo>
                  <a:cubicBezTo>
                    <a:pt x="361780" y="473084"/>
                    <a:pt x="368193" y="461285"/>
                    <a:pt x="373145" y="457509"/>
                  </a:cubicBezTo>
                  <a:cubicBezTo>
                    <a:pt x="377610" y="454674"/>
                    <a:pt x="382400" y="452211"/>
                    <a:pt x="387474" y="450155"/>
                  </a:cubicBezTo>
                  <a:cubicBezTo>
                    <a:pt x="394861" y="446412"/>
                    <a:pt x="385565" y="443471"/>
                    <a:pt x="391248" y="440128"/>
                  </a:cubicBezTo>
                  <a:cubicBezTo>
                    <a:pt x="402248" y="433076"/>
                    <a:pt x="403101" y="422481"/>
                    <a:pt x="427251" y="423015"/>
                  </a:cubicBezTo>
                  <a:cubicBezTo>
                    <a:pt x="444786" y="423383"/>
                    <a:pt x="455258" y="423015"/>
                    <a:pt x="453472" y="413657"/>
                  </a:cubicBezTo>
                  <a:cubicBezTo>
                    <a:pt x="451199" y="402025"/>
                    <a:pt x="469992" y="408242"/>
                    <a:pt x="486999" y="408777"/>
                  </a:cubicBezTo>
                  <a:cubicBezTo>
                    <a:pt x="496822" y="409044"/>
                    <a:pt x="523043" y="420074"/>
                    <a:pt x="523530" y="408576"/>
                  </a:cubicBezTo>
                  <a:cubicBezTo>
                    <a:pt x="523855" y="401624"/>
                    <a:pt x="529984" y="391296"/>
                    <a:pt x="547884" y="397413"/>
                  </a:cubicBezTo>
                  <a:cubicBezTo>
                    <a:pt x="560061" y="385280"/>
                    <a:pt x="578083" y="390728"/>
                    <a:pt x="592086" y="398616"/>
                  </a:cubicBezTo>
                  <a:cubicBezTo>
                    <a:pt x="600204" y="403329"/>
                    <a:pt x="607876" y="404766"/>
                    <a:pt x="619728" y="406638"/>
                  </a:cubicBezTo>
                  <a:cubicBezTo>
                    <a:pt x="625532" y="407684"/>
                    <a:pt x="631418" y="408486"/>
                    <a:pt x="637344" y="409044"/>
                  </a:cubicBezTo>
                  <a:cubicBezTo>
                    <a:pt x="645746" y="409646"/>
                    <a:pt x="645462" y="406671"/>
                    <a:pt x="652241" y="406437"/>
                  </a:cubicBezTo>
                  <a:cubicBezTo>
                    <a:pt x="666203" y="405936"/>
                    <a:pt x="678056" y="411217"/>
                    <a:pt x="687635" y="414526"/>
                  </a:cubicBezTo>
                  <a:cubicBezTo>
                    <a:pt x="693966" y="416698"/>
                    <a:pt x="699812" y="409479"/>
                    <a:pt x="700299" y="407641"/>
                  </a:cubicBezTo>
                  <a:cubicBezTo>
                    <a:pt x="702206" y="401691"/>
                    <a:pt x="707239" y="405401"/>
                    <a:pt x="716535" y="404064"/>
                  </a:cubicBezTo>
                  <a:cubicBezTo>
                    <a:pt x="729158" y="402293"/>
                    <a:pt x="711989" y="389458"/>
                    <a:pt x="724652" y="385715"/>
                  </a:cubicBezTo>
                  <a:cubicBezTo>
                    <a:pt x="740888" y="381035"/>
                    <a:pt x="743121" y="377125"/>
                    <a:pt x="763659" y="378194"/>
                  </a:cubicBezTo>
                  <a:cubicBezTo>
                    <a:pt x="785862" y="379331"/>
                    <a:pt x="789068" y="371510"/>
                    <a:pt x="809201" y="381303"/>
                  </a:cubicBezTo>
                  <a:cubicBezTo>
                    <a:pt x="829334" y="391096"/>
                    <a:pt x="842687" y="387352"/>
                    <a:pt x="841064" y="403028"/>
                  </a:cubicBezTo>
                  <a:cubicBezTo>
                    <a:pt x="851617" y="398817"/>
                    <a:pt x="879584" y="395608"/>
                    <a:pt x="893425" y="396343"/>
                  </a:cubicBezTo>
                  <a:cubicBezTo>
                    <a:pt x="925125" y="397814"/>
                    <a:pt x="886362" y="380066"/>
                    <a:pt x="879827" y="389659"/>
                  </a:cubicBezTo>
                  <a:cubicBezTo>
                    <a:pt x="876823" y="393068"/>
                    <a:pt x="881573" y="386149"/>
                    <a:pt x="879299" y="389425"/>
                  </a:cubicBezTo>
                  <a:close/>
                  <a:moveTo>
                    <a:pt x="245450" y="43892"/>
                  </a:moveTo>
                  <a:cubicBezTo>
                    <a:pt x="255394" y="44861"/>
                    <a:pt x="217362" y="59333"/>
                    <a:pt x="225885" y="65717"/>
                  </a:cubicBezTo>
                  <a:cubicBezTo>
                    <a:pt x="238874" y="75410"/>
                    <a:pt x="270818" y="84267"/>
                    <a:pt x="295335" y="83499"/>
                  </a:cubicBezTo>
                  <a:cubicBezTo>
                    <a:pt x="306821" y="83164"/>
                    <a:pt x="316360" y="81928"/>
                    <a:pt x="320744" y="76647"/>
                  </a:cubicBezTo>
                  <a:cubicBezTo>
                    <a:pt x="322773" y="74207"/>
                    <a:pt x="324113" y="70530"/>
                    <a:pt x="329389" y="68993"/>
                  </a:cubicBezTo>
                  <a:cubicBezTo>
                    <a:pt x="334666" y="67455"/>
                    <a:pt x="341039" y="69461"/>
                    <a:pt x="344245" y="66586"/>
                  </a:cubicBezTo>
                  <a:cubicBezTo>
                    <a:pt x="346396" y="64648"/>
                    <a:pt x="356828" y="56559"/>
                    <a:pt x="362308" y="62509"/>
                  </a:cubicBezTo>
                  <a:cubicBezTo>
                    <a:pt x="366367" y="66586"/>
                    <a:pt x="346559" y="74508"/>
                    <a:pt x="360156" y="75076"/>
                  </a:cubicBezTo>
                  <a:cubicBezTo>
                    <a:pt x="376068" y="75778"/>
                    <a:pt x="383130" y="70230"/>
                    <a:pt x="396159" y="68057"/>
                  </a:cubicBezTo>
                  <a:cubicBezTo>
                    <a:pt x="408336" y="66052"/>
                    <a:pt x="406023" y="77650"/>
                    <a:pt x="396159" y="79254"/>
                  </a:cubicBezTo>
                  <a:cubicBezTo>
                    <a:pt x="385565" y="80992"/>
                    <a:pt x="373186" y="80123"/>
                    <a:pt x="363363" y="82997"/>
                  </a:cubicBezTo>
                  <a:cubicBezTo>
                    <a:pt x="351754" y="86908"/>
                    <a:pt x="339374" y="88950"/>
                    <a:pt x="326832" y="89014"/>
                  </a:cubicBezTo>
                  <a:cubicBezTo>
                    <a:pt x="294360" y="90183"/>
                    <a:pt x="286242" y="102182"/>
                    <a:pt x="325493" y="100311"/>
                  </a:cubicBezTo>
                  <a:cubicBezTo>
                    <a:pt x="341404" y="99509"/>
                    <a:pt x="399731" y="93225"/>
                    <a:pt x="411584" y="100311"/>
                  </a:cubicBezTo>
                  <a:cubicBezTo>
                    <a:pt x="411056" y="99943"/>
                    <a:pt x="349847" y="102851"/>
                    <a:pt x="344002" y="105592"/>
                  </a:cubicBezTo>
                  <a:cubicBezTo>
                    <a:pt x="340552" y="107163"/>
                    <a:pt x="343352" y="109502"/>
                    <a:pt x="337426" y="109402"/>
                  </a:cubicBezTo>
                  <a:cubicBezTo>
                    <a:pt x="328740" y="109235"/>
                    <a:pt x="319283" y="107564"/>
                    <a:pt x="310718" y="108800"/>
                  </a:cubicBezTo>
                  <a:cubicBezTo>
                    <a:pt x="288678" y="112143"/>
                    <a:pt x="331256" y="121702"/>
                    <a:pt x="335518" y="122905"/>
                  </a:cubicBezTo>
                  <a:cubicBezTo>
                    <a:pt x="341648" y="124610"/>
                    <a:pt x="343231" y="127417"/>
                    <a:pt x="351024" y="127751"/>
                  </a:cubicBezTo>
                  <a:cubicBezTo>
                    <a:pt x="353703" y="127751"/>
                    <a:pt x="380410" y="126615"/>
                    <a:pt x="379843" y="128955"/>
                  </a:cubicBezTo>
                  <a:cubicBezTo>
                    <a:pt x="379356" y="130726"/>
                    <a:pt x="356666" y="133433"/>
                    <a:pt x="360075" y="135038"/>
                  </a:cubicBezTo>
                  <a:cubicBezTo>
                    <a:pt x="367868" y="138681"/>
                    <a:pt x="383820" y="138213"/>
                    <a:pt x="389706" y="142993"/>
                  </a:cubicBezTo>
                  <a:cubicBezTo>
                    <a:pt x="405455" y="155727"/>
                    <a:pt x="426236" y="123774"/>
                    <a:pt x="430580" y="121033"/>
                  </a:cubicBezTo>
                  <a:cubicBezTo>
                    <a:pt x="440605" y="114349"/>
                    <a:pt x="451483" y="112477"/>
                    <a:pt x="466136" y="108800"/>
                  </a:cubicBezTo>
                  <a:cubicBezTo>
                    <a:pt x="477623" y="105892"/>
                    <a:pt x="469627" y="101013"/>
                    <a:pt x="472184" y="96333"/>
                  </a:cubicBezTo>
                  <a:cubicBezTo>
                    <a:pt x="474742" y="91654"/>
                    <a:pt x="493778" y="94395"/>
                    <a:pt x="489678" y="90350"/>
                  </a:cubicBezTo>
                  <a:cubicBezTo>
                    <a:pt x="481804" y="82630"/>
                    <a:pt x="502505" y="74140"/>
                    <a:pt x="517807" y="73104"/>
                  </a:cubicBezTo>
                  <a:cubicBezTo>
                    <a:pt x="528442" y="72369"/>
                    <a:pt x="553648" y="69461"/>
                    <a:pt x="563064" y="71132"/>
                  </a:cubicBezTo>
                  <a:cubicBezTo>
                    <a:pt x="578286" y="73806"/>
                    <a:pt x="547275" y="76413"/>
                    <a:pt x="545895" y="77817"/>
                  </a:cubicBezTo>
                  <a:cubicBezTo>
                    <a:pt x="535017" y="88111"/>
                    <a:pt x="590097" y="92389"/>
                    <a:pt x="577068" y="104555"/>
                  </a:cubicBezTo>
                  <a:cubicBezTo>
                    <a:pt x="574470" y="106962"/>
                    <a:pt x="551253" y="115886"/>
                    <a:pt x="565987" y="117724"/>
                  </a:cubicBezTo>
                  <a:cubicBezTo>
                    <a:pt x="583238" y="119897"/>
                    <a:pt x="598459" y="113847"/>
                    <a:pt x="615060" y="115017"/>
                  </a:cubicBezTo>
                  <a:cubicBezTo>
                    <a:pt x="623178" y="115585"/>
                    <a:pt x="617455" y="121535"/>
                    <a:pt x="618875" y="123841"/>
                  </a:cubicBezTo>
                  <a:cubicBezTo>
                    <a:pt x="624274" y="132464"/>
                    <a:pt x="655406" y="122370"/>
                    <a:pt x="661657" y="119997"/>
                  </a:cubicBezTo>
                  <a:cubicBezTo>
                    <a:pt x="672657" y="115752"/>
                    <a:pt x="689745" y="114382"/>
                    <a:pt x="699365" y="110371"/>
                  </a:cubicBezTo>
                  <a:cubicBezTo>
                    <a:pt x="713653" y="104355"/>
                    <a:pt x="670952" y="105023"/>
                    <a:pt x="668801" y="105124"/>
                  </a:cubicBezTo>
                  <a:cubicBezTo>
                    <a:pt x="665351" y="105124"/>
                    <a:pt x="633934" y="103854"/>
                    <a:pt x="644447" y="99943"/>
                  </a:cubicBezTo>
                  <a:cubicBezTo>
                    <a:pt x="665229" y="92256"/>
                    <a:pt x="626709" y="92623"/>
                    <a:pt x="616968" y="91119"/>
                  </a:cubicBezTo>
                  <a:cubicBezTo>
                    <a:pt x="596389" y="87777"/>
                    <a:pt x="617820" y="87944"/>
                    <a:pt x="612909" y="83365"/>
                  </a:cubicBezTo>
                  <a:cubicBezTo>
                    <a:pt x="606983" y="78051"/>
                    <a:pt x="582791" y="77883"/>
                    <a:pt x="581817" y="73104"/>
                  </a:cubicBezTo>
                  <a:cubicBezTo>
                    <a:pt x="580356" y="65784"/>
                    <a:pt x="585227" y="64547"/>
                    <a:pt x="568017" y="61205"/>
                  </a:cubicBezTo>
                  <a:cubicBezTo>
                    <a:pt x="556368" y="58966"/>
                    <a:pt x="559452" y="55924"/>
                    <a:pt x="548980" y="54821"/>
                  </a:cubicBezTo>
                  <a:cubicBezTo>
                    <a:pt x="541390" y="53986"/>
                    <a:pt x="523124" y="60871"/>
                    <a:pt x="523489" y="52816"/>
                  </a:cubicBezTo>
                  <a:cubicBezTo>
                    <a:pt x="523733" y="47501"/>
                    <a:pt x="495280" y="48738"/>
                    <a:pt x="488948" y="48805"/>
                  </a:cubicBezTo>
                  <a:cubicBezTo>
                    <a:pt x="479653" y="48805"/>
                    <a:pt x="481195" y="37675"/>
                    <a:pt x="474579" y="35202"/>
                  </a:cubicBezTo>
                  <a:cubicBezTo>
                    <a:pt x="467963" y="32728"/>
                    <a:pt x="441863" y="42354"/>
                    <a:pt x="441580" y="39346"/>
                  </a:cubicBezTo>
                  <a:cubicBezTo>
                    <a:pt x="441133" y="34934"/>
                    <a:pt x="460535" y="29987"/>
                    <a:pt x="452133" y="25810"/>
                  </a:cubicBezTo>
                  <a:cubicBezTo>
                    <a:pt x="442594" y="21942"/>
                    <a:pt x="432082" y="20061"/>
                    <a:pt x="421447" y="20328"/>
                  </a:cubicBezTo>
                  <a:cubicBezTo>
                    <a:pt x="409270" y="20729"/>
                    <a:pt x="413329" y="24172"/>
                    <a:pt x="403506" y="17153"/>
                  </a:cubicBezTo>
                  <a:cubicBezTo>
                    <a:pt x="388772" y="6758"/>
                    <a:pt x="395023" y="20863"/>
                    <a:pt x="386337" y="21598"/>
                  </a:cubicBezTo>
                  <a:cubicBezTo>
                    <a:pt x="365433" y="23370"/>
                    <a:pt x="382927" y="29286"/>
                    <a:pt x="388407" y="33430"/>
                  </a:cubicBezTo>
                  <a:cubicBezTo>
                    <a:pt x="395185" y="38504"/>
                    <a:pt x="400259" y="44924"/>
                    <a:pt x="403141" y="52080"/>
                  </a:cubicBezTo>
                  <a:cubicBezTo>
                    <a:pt x="407200" y="62408"/>
                    <a:pt x="369898" y="41117"/>
                    <a:pt x="366285" y="37942"/>
                  </a:cubicBezTo>
                  <a:cubicBezTo>
                    <a:pt x="360359" y="32695"/>
                    <a:pt x="361658" y="24339"/>
                    <a:pt x="345990" y="22367"/>
                  </a:cubicBezTo>
                  <a:cubicBezTo>
                    <a:pt x="338685" y="21431"/>
                    <a:pt x="323260" y="31625"/>
                    <a:pt x="321840" y="34667"/>
                  </a:cubicBezTo>
                  <a:cubicBezTo>
                    <a:pt x="320419" y="37708"/>
                    <a:pt x="325899" y="40382"/>
                    <a:pt x="320541" y="42521"/>
                  </a:cubicBezTo>
                  <a:cubicBezTo>
                    <a:pt x="316807" y="44059"/>
                    <a:pt x="312423" y="42856"/>
                    <a:pt x="312423" y="40650"/>
                  </a:cubicBezTo>
                  <a:cubicBezTo>
                    <a:pt x="312423" y="37575"/>
                    <a:pt x="289043" y="27715"/>
                    <a:pt x="283320" y="29820"/>
                  </a:cubicBezTo>
                  <a:cubicBezTo>
                    <a:pt x="287379" y="28350"/>
                    <a:pt x="341648" y="22534"/>
                    <a:pt x="307674" y="20629"/>
                  </a:cubicBezTo>
                  <a:cubicBezTo>
                    <a:pt x="286526" y="19459"/>
                    <a:pt x="263025" y="27314"/>
                    <a:pt x="244597" y="23637"/>
                  </a:cubicBezTo>
                  <a:cubicBezTo>
                    <a:pt x="233395" y="21398"/>
                    <a:pt x="199665" y="26979"/>
                    <a:pt x="198609" y="32762"/>
                  </a:cubicBezTo>
                  <a:cubicBezTo>
                    <a:pt x="197757" y="37307"/>
                    <a:pt x="203886" y="49106"/>
                    <a:pt x="217402" y="48972"/>
                  </a:cubicBezTo>
                  <a:cubicBezTo>
                    <a:pt x="227956" y="48972"/>
                    <a:pt x="233922" y="42789"/>
                    <a:pt x="245490" y="43959"/>
                  </a:cubicBezTo>
                  <a:close/>
                  <a:moveTo>
                    <a:pt x="211557" y="74441"/>
                  </a:moveTo>
                  <a:cubicBezTo>
                    <a:pt x="221543" y="75611"/>
                    <a:pt x="226941" y="83231"/>
                    <a:pt x="237819" y="82830"/>
                  </a:cubicBezTo>
                  <a:cubicBezTo>
                    <a:pt x="234125" y="82830"/>
                    <a:pt x="206443" y="62408"/>
                    <a:pt x="200517" y="60035"/>
                  </a:cubicBezTo>
                  <a:cubicBezTo>
                    <a:pt x="193779" y="57294"/>
                    <a:pt x="180750" y="59367"/>
                    <a:pt x="185661" y="63846"/>
                  </a:cubicBezTo>
                  <a:cubicBezTo>
                    <a:pt x="192845" y="69387"/>
                    <a:pt x="201856" y="73074"/>
                    <a:pt x="211557" y="74441"/>
                  </a:cubicBezTo>
                  <a:close/>
                  <a:moveTo>
                    <a:pt x="475391" y="16618"/>
                  </a:moveTo>
                  <a:cubicBezTo>
                    <a:pt x="481317" y="18891"/>
                    <a:pt x="461590" y="19960"/>
                    <a:pt x="474579" y="24372"/>
                  </a:cubicBezTo>
                  <a:cubicBezTo>
                    <a:pt x="484442" y="27715"/>
                    <a:pt x="497796" y="28316"/>
                    <a:pt x="509324" y="28717"/>
                  </a:cubicBezTo>
                  <a:cubicBezTo>
                    <a:pt x="537412" y="29720"/>
                    <a:pt x="565054" y="27782"/>
                    <a:pt x="593020" y="28049"/>
                  </a:cubicBezTo>
                  <a:cubicBezTo>
                    <a:pt x="617374" y="28283"/>
                    <a:pt x="602193" y="31391"/>
                    <a:pt x="587987" y="32394"/>
                  </a:cubicBezTo>
                  <a:cubicBezTo>
                    <a:pt x="571223" y="33464"/>
                    <a:pt x="543622" y="32695"/>
                    <a:pt x="529619" y="37341"/>
                  </a:cubicBezTo>
                  <a:cubicBezTo>
                    <a:pt x="522028" y="39814"/>
                    <a:pt x="573983" y="45596"/>
                    <a:pt x="578326" y="45997"/>
                  </a:cubicBezTo>
                  <a:cubicBezTo>
                    <a:pt x="595496" y="47334"/>
                    <a:pt x="616765" y="44961"/>
                    <a:pt x="630646" y="49340"/>
                  </a:cubicBezTo>
                  <a:cubicBezTo>
                    <a:pt x="660358" y="58832"/>
                    <a:pt x="680735" y="52949"/>
                    <a:pt x="711096" y="52381"/>
                  </a:cubicBezTo>
                  <a:cubicBezTo>
                    <a:pt x="740564" y="51813"/>
                    <a:pt x="751360" y="43323"/>
                    <a:pt x="776364" y="39012"/>
                  </a:cubicBezTo>
                  <a:cubicBezTo>
                    <a:pt x="797430" y="35335"/>
                    <a:pt x="819064" y="26211"/>
                    <a:pt x="781843" y="22935"/>
                  </a:cubicBezTo>
                  <a:cubicBezTo>
                    <a:pt x="767881" y="21732"/>
                    <a:pt x="753756" y="21765"/>
                    <a:pt x="739833" y="20428"/>
                  </a:cubicBezTo>
                  <a:cubicBezTo>
                    <a:pt x="727291" y="19192"/>
                    <a:pt x="715885" y="15181"/>
                    <a:pt x="703302" y="13409"/>
                  </a:cubicBezTo>
                  <a:cubicBezTo>
                    <a:pt x="685483" y="10802"/>
                    <a:pt x="681668" y="11905"/>
                    <a:pt x="669816" y="16752"/>
                  </a:cubicBezTo>
                  <a:cubicBezTo>
                    <a:pt x="657963" y="21598"/>
                    <a:pt x="652809" y="16752"/>
                    <a:pt x="651672" y="11872"/>
                  </a:cubicBezTo>
                  <a:cubicBezTo>
                    <a:pt x="650170" y="5555"/>
                    <a:pt x="637506" y="3015"/>
                    <a:pt x="625979" y="6858"/>
                  </a:cubicBezTo>
                  <a:cubicBezTo>
                    <a:pt x="615385" y="10401"/>
                    <a:pt x="625654" y="16384"/>
                    <a:pt x="626222" y="20896"/>
                  </a:cubicBezTo>
                  <a:cubicBezTo>
                    <a:pt x="626791" y="25408"/>
                    <a:pt x="600610" y="17286"/>
                    <a:pt x="598337" y="15782"/>
                  </a:cubicBezTo>
                  <a:cubicBezTo>
                    <a:pt x="590219" y="10334"/>
                    <a:pt x="590219" y="11905"/>
                    <a:pt x="576013" y="13376"/>
                  </a:cubicBezTo>
                  <a:cubicBezTo>
                    <a:pt x="564526" y="14579"/>
                    <a:pt x="561928" y="7427"/>
                    <a:pt x="553080" y="4652"/>
                  </a:cubicBezTo>
                  <a:cubicBezTo>
                    <a:pt x="551415" y="4151"/>
                    <a:pt x="522028" y="-2433"/>
                    <a:pt x="523287" y="341"/>
                  </a:cubicBezTo>
                  <a:cubicBezTo>
                    <a:pt x="525966" y="6290"/>
                    <a:pt x="529497" y="10368"/>
                    <a:pt x="511110" y="5455"/>
                  </a:cubicBezTo>
                  <a:cubicBezTo>
                    <a:pt x="494102" y="1009"/>
                    <a:pt x="499623" y="4218"/>
                    <a:pt x="500962" y="10234"/>
                  </a:cubicBezTo>
                  <a:cubicBezTo>
                    <a:pt x="502464" y="17119"/>
                    <a:pt x="484726" y="6156"/>
                    <a:pt x="482453" y="5154"/>
                  </a:cubicBezTo>
                  <a:cubicBezTo>
                    <a:pt x="478394" y="3382"/>
                    <a:pt x="471575" y="1277"/>
                    <a:pt x="466217" y="3382"/>
                  </a:cubicBezTo>
                  <a:cubicBezTo>
                    <a:pt x="466217" y="3382"/>
                    <a:pt x="455299" y="10368"/>
                    <a:pt x="454527" y="9265"/>
                  </a:cubicBezTo>
                  <a:cubicBezTo>
                    <a:pt x="456598" y="12206"/>
                    <a:pt x="470276" y="14713"/>
                    <a:pt x="475269" y="1665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C8810151-1012-4895-949B-F8AC3426744F}"/>
                </a:ext>
              </a:extLst>
            </p:cNvPr>
            <p:cNvSpPr/>
            <p:nvPr/>
          </p:nvSpPr>
          <p:spPr>
            <a:xfrm>
              <a:off x="11777845" y="5475123"/>
              <a:ext cx="77660" cy="70717"/>
            </a:xfrm>
            <a:custGeom>
              <a:avLst/>
              <a:gdLst>
                <a:gd name="connsiteX0" fmla="*/ 38856 w 77660"/>
                <a:gd name="connsiteY0" fmla="*/ 23613 h 70717"/>
                <a:gd name="connsiteX1" fmla="*/ 214 w 77660"/>
                <a:gd name="connsiteY1" fmla="*/ 16 h 70717"/>
                <a:gd name="connsiteX2" fmla="*/ 43726 w 77660"/>
                <a:gd name="connsiteY2" fmla="*/ 46809 h 70717"/>
                <a:gd name="connsiteX3" fmla="*/ 74128 w 77660"/>
                <a:gd name="connsiteY3" fmla="*/ 61782 h 70717"/>
                <a:gd name="connsiteX4" fmla="*/ 38856 w 77660"/>
                <a:gd name="connsiteY4" fmla="*/ 23746 h 7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60" h="70717">
                  <a:moveTo>
                    <a:pt x="38856" y="23613"/>
                  </a:moveTo>
                  <a:cubicBezTo>
                    <a:pt x="32889" y="21507"/>
                    <a:pt x="3055" y="-3594"/>
                    <a:pt x="214" y="16"/>
                  </a:cubicBezTo>
                  <a:cubicBezTo>
                    <a:pt x="-3845" y="5297"/>
                    <a:pt x="38490" y="38186"/>
                    <a:pt x="43726" y="46809"/>
                  </a:cubicBezTo>
                  <a:cubicBezTo>
                    <a:pt x="51033" y="58440"/>
                    <a:pt x="89146" y="83575"/>
                    <a:pt x="74128" y="61782"/>
                  </a:cubicBezTo>
                  <a:cubicBezTo>
                    <a:pt x="68771" y="53961"/>
                    <a:pt x="50262" y="27691"/>
                    <a:pt x="38856" y="2374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1EDE554F-BE7D-479D-84AD-14F886B0317E}"/>
                </a:ext>
              </a:extLst>
            </p:cNvPr>
            <p:cNvSpPr/>
            <p:nvPr/>
          </p:nvSpPr>
          <p:spPr>
            <a:xfrm>
              <a:off x="11775862" y="5473516"/>
              <a:ext cx="81478" cy="73590"/>
            </a:xfrm>
            <a:custGeom>
              <a:avLst/>
              <a:gdLst>
                <a:gd name="connsiteX0" fmla="*/ 55613 w 81478"/>
                <a:gd name="connsiteY0" fmla="*/ 60147 h 73590"/>
                <a:gd name="connsiteX1" fmla="*/ 44005 w 81478"/>
                <a:gd name="connsiteY1" fmla="*/ 48248 h 73590"/>
                <a:gd name="connsiteX2" fmla="*/ 26836 w 81478"/>
                <a:gd name="connsiteY2" fmla="*/ 31269 h 73590"/>
                <a:gd name="connsiteX3" fmla="*/ 371 w 81478"/>
                <a:gd name="connsiteY3" fmla="*/ 352 h 73590"/>
                <a:gd name="connsiteX4" fmla="*/ 2766 w 81478"/>
                <a:gd name="connsiteY4" fmla="*/ -249 h 73590"/>
                <a:gd name="connsiteX5" fmla="*/ 26795 w 81478"/>
                <a:gd name="connsiteY5" fmla="*/ 14424 h 73590"/>
                <a:gd name="connsiteX6" fmla="*/ 40595 w 81478"/>
                <a:gd name="connsiteY6" fmla="*/ 23749 h 73590"/>
                <a:gd name="connsiteX7" fmla="*/ 40595 w 81478"/>
                <a:gd name="connsiteY7" fmla="*/ 23749 h 73590"/>
                <a:gd name="connsiteX8" fmla="*/ 42219 w 81478"/>
                <a:gd name="connsiteY8" fmla="*/ 24317 h 73590"/>
                <a:gd name="connsiteX9" fmla="*/ 42665 w 81478"/>
                <a:gd name="connsiteY9" fmla="*/ 24317 h 73590"/>
                <a:gd name="connsiteX10" fmla="*/ 42665 w 81478"/>
                <a:gd name="connsiteY10" fmla="*/ 24317 h 73590"/>
                <a:gd name="connsiteX11" fmla="*/ 43883 w 81478"/>
                <a:gd name="connsiteY11" fmla="*/ 24986 h 73590"/>
                <a:gd name="connsiteX12" fmla="*/ 44613 w 81478"/>
                <a:gd name="connsiteY12" fmla="*/ 25587 h 73590"/>
                <a:gd name="connsiteX13" fmla="*/ 77613 w 81478"/>
                <a:gd name="connsiteY13" fmla="*/ 62988 h 73590"/>
                <a:gd name="connsiteX14" fmla="*/ 80048 w 81478"/>
                <a:gd name="connsiteY14" fmla="*/ 73015 h 73590"/>
                <a:gd name="connsiteX15" fmla="*/ 55613 w 81478"/>
                <a:gd name="connsiteY15" fmla="*/ 60147 h 73590"/>
                <a:gd name="connsiteX16" fmla="*/ 36414 w 81478"/>
                <a:gd name="connsiteY16" fmla="*/ 24150 h 73590"/>
                <a:gd name="connsiteX17" fmla="*/ 25252 w 81478"/>
                <a:gd name="connsiteY17" fmla="*/ 16296 h 73590"/>
                <a:gd name="connsiteX18" fmla="*/ 4308 w 81478"/>
                <a:gd name="connsiteY18" fmla="*/ 2926 h 73590"/>
                <a:gd name="connsiteX19" fmla="*/ 29068 w 81478"/>
                <a:gd name="connsiteY19" fmla="*/ 30033 h 73590"/>
                <a:gd name="connsiteX20" fmla="*/ 47415 w 81478"/>
                <a:gd name="connsiteY20" fmla="*/ 48349 h 73590"/>
                <a:gd name="connsiteX21" fmla="*/ 57481 w 81478"/>
                <a:gd name="connsiteY21" fmla="*/ 58610 h 73590"/>
                <a:gd name="connsiteX22" fmla="*/ 77288 w 81478"/>
                <a:gd name="connsiteY22" fmla="*/ 70275 h 73590"/>
                <a:gd name="connsiteX23" fmla="*/ 74488 w 81478"/>
                <a:gd name="connsiteY23" fmla="*/ 63356 h 73590"/>
                <a:gd name="connsiteX24" fmla="*/ 46846 w 81478"/>
                <a:gd name="connsiteY24" fmla="*/ 30266 h 73590"/>
                <a:gd name="connsiteX25" fmla="*/ 41407 w 81478"/>
                <a:gd name="connsiteY25" fmla="*/ 26924 h 73590"/>
                <a:gd name="connsiteX26" fmla="*/ 38931 w 81478"/>
                <a:gd name="connsiteY26" fmla="*/ 26055 h 73590"/>
                <a:gd name="connsiteX27" fmla="*/ 38931 w 81478"/>
                <a:gd name="connsiteY27" fmla="*/ 26055 h 73590"/>
                <a:gd name="connsiteX28" fmla="*/ 37632 w 81478"/>
                <a:gd name="connsiteY28" fmla="*/ 25353 h 73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1478" h="73590">
                  <a:moveTo>
                    <a:pt x="55613" y="60147"/>
                  </a:moveTo>
                  <a:cubicBezTo>
                    <a:pt x="51068" y="56671"/>
                    <a:pt x="47171" y="52660"/>
                    <a:pt x="44005" y="48248"/>
                  </a:cubicBezTo>
                  <a:cubicBezTo>
                    <a:pt x="38809" y="42232"/>
                    <a:pt x="33087" y="36550"/>
                    <a:pt x="26836" y="31269"/>
                  </a:cubicBezTo>
                  <a:cubicBezTo>
                    <a:pt x="11655" y="17398"/>
                    <a:pt x="-2755" y="4363"/>
                    <a:pt x="371" y="352"/>
                  </a:cubicBezTo>
                  <a:cubicBezTo>
                    <a:pt x="939" y="-249"/>
                    <a:pt x="1913" y="-483"/>
                    <a:pt x="2766" y="-249"/>
                  </a:cubicBezTo>
                  <a:cubicBezTo>
                    <a:pt x="6825" y="319"/>
                    <a:pt x="14943" y="5901"/>
                    <a:pt x="26795" y="14424"/>
                  </a:cubicBezTo>
                  <a:cubicBezTo>
                    <a:pt x="31138" y="17799"/>
                    <a:pt x="35724" y="20908"/>
                    <a:pt x="40595" y="23749"/>
                  </a:cubicBezTo>
                  <a:lnTo>
                    <a:pt x="40595" y="23749"/>
                  </a:lnTo>
                  <a:lnTo>
                    <a:pt x="42219" y="24317"/>
                  </a:lnTo>
                  <a:lnTo>
                    <a:pt x="42665" y="24317"/>
                  </a:lnTo>
                  <a:lnTo>
                    <a:pt x="42665" y="24317"/>
                  </a:lnTo>
                  <a:cubicBezTo>
                    <a:pt x="43112" y="24451"/>
                    <a:pt x="43558" y="24685"/>
                    <a:pt x="43883" y="24986"/>
                  </a:cubicBezTo>
                  <a:lnTo>
                    <a:pt x="44613" y="25587"/>
                  </a:lnTo>
                  <a:cubicBezTo>
                    <a:pt x="53016" y="30801"/>
                    <a:pt x="64015" y="43268"/>
                    <a:pt x="77613" y="62988"/>
                  </a:cubicBezTo>
                  <a:cubicBezTo>
                    <a:pt x="81672" y="68904"/>
                    <a:pt x="82484" y="72313"/>
                    <a:pt x="80048" y="73015"/>
                  </a:cubicBezTo>
                  <a:cubicBezTo>
                    <a:pt x="75746" y="74787"/>
                    <a:pt x="63204" y="66230"/>
                    <a:pt x="55613" y="60147"/>
                  </a:cubicBezTo>
                  <a:close/>
                  <a:moveTo>
                    <a:pt x="36414" y="24150"/>
                  </a:moveTo>
                  <a:cubicBezTo>
                    <a:pt x="33654" y="22345"/>
                    <a:pt x="29961" y="19671"/>
                    <a:pt x="25252" y="16296"/>
                  </a:cubicBezTo>
                  <a:cubicBezTo>
                    <a:pt x="18108" y="11115"/>
                    <a:pt x="7271" y="3294"/>
                    <a:pt x="4308" y="2926"/>
                  </a:cubicBezTo>
                  <a:cubicBezTo>
                    <a:pt x="2116" y="5466"/>
                    <a:pt x="18352" y="20206"/>
                    <a:pt x="29068" y="30033"/>
                  </a:cubicBezTo>
                  <a:cubicBezTo>
                    <a:pt x="35806" y="35681"/>
                    <a:pt x="41975" y="41798"/>
                    <a:pt x="47415" y="48349"/>
                  </a:cubicBezTo>
                  <a:cubicBezTo>
                    <a:pt x="50175" y="52125"/>
                    <a:pt x="53584" y="55602"/>
                    <a:pt x="57481" y="58610"/>
                  </a:cubicBezTo>
                  <a:cubicBezTo>
                    <a:pt x="66411" y="65896"/>
                    <a:pt x="75462" y="70876"/>
                    <a:pt x="77288" y="70275"/>
                  </a:cubicBezTo>
                  <a:cubicBezTo>
                    <a:pt x="78019" y="70007"/>
                    <a:pt x="77735" y="68069"/>
                    <a:pt x="74488" y="63356"/>
                  </a:cubicBezTo>
                  <a:cubicBezTo>
                    <a:pt x="60606" y="43302"/>
                    <a:pt x="51757" y="34277"/>
                    <a:pt x="46846" y="30266"/>
                  </a:cubicBezTo>
                  <a:cubicBezTo>
                    <a:pt x="45263" y="28930"/>
                    <a:pt x="43396" y="27793"/>
                    <a:pt x="41407" y="26924"/>
                  </a:cubicBezTo>
                  <a:lnTo>
                    <a:pt x="38931" y="26055"/>
                  </a:lnTo>
                  <a:lnTo>
                    <a:pt x="38931" y="26055"/>
                  </a:lnTo>
                  <a:cubicBezTo>
                    <a:pt x="38403" y="25922"/>
                    <a:pt x="37957" y="25687"/>
                    <a:pt x="37632" y="2535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D1E95CB8-9657-4042-BB38-19A11C7D8581}"/>
                </a:ext>
              </a:extLst>
            </p:cNvPr>
            <p:cNvSpPr/>
            <p:nvPr/>
          </p:nvSpPr>
          <p:spPr>
            <a:xfrm>
              <a:off x="9654605" y="4966909"/>
              <a:ext cx="618513" cy="154301"/>
            </a:xfrm>
            <a:custGeom>
              <a:avLst/>
              <a:gdLst>
                <a:gd name="connsiteX0" fmla="*/ 589973 w 618513"/>
                <a:gd name="connsiteY0" fmla="*/ 78168 h 154301"/>
                <a:gd name="connsiteX1" fmla="*/ 556285 w 618513"/>
                <a:gd name="connsiteY1" fmla="*/ 65033 h 154301"/>
                <a:gd name="connsiteX2" fmla="*/ 528643 w 618513"/>
                <a:gd name="connsiteY2" fmla="*/ 34617 h 154301"/>
                <a:gd name="connsiteX3" fmla="*/ 512407 w 618513"/>
                <a:gd name="connsiteY3" fmla="*/ 6241 h 154301"/>
                <a:gd name="connsiteX4" fmla="*/ 495197 w 618513"/>
                <a:gd name="connsiteY4" fmla="*/ 291 h 154301"/>
                <a:gd name="connsiteX5" fmla="*/ 493208 w 618513"/>
                <a:gd name="connsiteY5" fmla="*/ 12157 h 154301"/>
                <a:gd name="connsiteX6" fmla="*/ 469991 w 618513"/>
                <a:gd name="connsiteY6" fmla="*/ 24824 h 154301"/>
                <a:gd name="connsiteX7" fmla="*/ 440604 w 618513"/>
                <a:gd name="connsiteY7" fmla="*/ 24022 h 154301"/>
                <a:gd name="connsiteX8" fmla="*/ 426640 w 618513"/>
                <a:gd name="connsiteY8" fmla="*/ 23821 h 154301"/>
                <a:gd name="connsiteX9" fmla="*/ 406345 w 618513"/>
                <a:gd name="connsiteY9" fmla="*/ 23821 h 154301"/>
                <a:gd name="connsiteX10" fmla="*/ 407401 w 618513"/>
                <a:gd name="connsiteY10" fmla="*/ 33849 h 154301"/>
                <a:gd name="connsiteX11" fmla="*/ 397091 w 618513"/>
                <a:gd name="connsiteY11" fmla="*/ 43876 h 154301"/>
                <a:gd name="connsiteX12" fmla="*/ 420187 w 618513"/>
                <a:gd name="connsiteY12" fmla="*/ 47218 h 154301"/>
                <a:gd name="connsiteX13" fmla="*/ 431268 w 618513"/>
                <a:gd name="connsiteY13" fmla="*/ 50059 h 154301"/>
                <a:gd name="connsiteX14" fmla="*/ 433581 w 618513"/>
                <a:gd name="connsiteY14" fmla="*/ 37458 h 154301"/>
                <a:gd name="connsiteX15" fmla="*/ 480503 w 618513"/>
                <a:gd name="connsiteY15" fmla="*/ 65334 h 154301"/>
                <a:gd name="connsiteX16" fmla="*/ 515004 w 618513"/>
                <a:gd name="connsiteY16" fmla="*/ 74759 h 154301"/>
                <a:gd name="connsiteX17" fmla="*/ 570774 w 618513"/>
                <a:gd name="connsiteY17" fmla="*/ 94646 h 154301"/>
                <a:gd name="connsiteX18" fmla="*/ 573737 w 618513"/>
                <a:gd name="connsiteY18" fmla="*/ 89465 h 154301"/>
                <a:gd name="connsiteX19" fmla="*/ 584494 w 618513"/>
                <a:gd name="connsiteY19" fmla="*/ 87694 h 154301"/>
                <a:gd name="connsiteX20" fmla="*/ 618427 w 618513"/>
                <a:gd name="connsiteY20" fmla="*/ 88195 h 154301"/>
                <a:gd name="connsiteX21" fmla="*/ 589731 w 618513"/>
                <a:gd name="connsiteY21" fmla="*/ 78168 h 154301"/>
                <a:gd name="connsiteX22" fmla="*/ 392545 w 618513"/>
                <a:gd name="connsiteY22" fmla="*/ 56877 h 154301"/>
                <a:gd name="connsiteX23" fmla="*/ 373995 w 618513"/>
                <a:gd name="connsiteY23" fmla="*/ 76063 h 154301"/>
                <a:gd name="connsiteX24" fmla="*/ 355771 w 618513"/>
                <a:gd name="connsiteY24" fmla="*/ 80809 h 154301"/>
                <a:gd name="connsiteX25" fmla="*/ 338074 w 618513"/>
                <a:gd name="connsiteY25" fmla="*/ 89933 h 154301"/>
                <a:gd name="connsiteX26" fmla="*/ 291964 w 618513"/>
                <a:gd name="connsiteY26" fmla="*/ 89933 h 154301"/>
                <a:gd name="connsiteX27" fmla="*/ 266108 w 618513"/>
                <a:gd name="connsiteY27" fmla="*/ 79505 h 154301"/>
                <a:gd name="connsiteX28" fmla="*/ 266636 w 618513"/>
                <a:gd name="connsiteY28" fmla="*/ 72820 h 154301"/>
                <a:gd name="connsiteX29" fmla="*/ 229456 w 618513"/>
                <a:gd name="connsiteY29" fmla="*/ 81377 h 154301"/>
                <a:gd name="connsiteX30" fmla="*/ 212124 w 618513"/>
                <a:gd name="connsiteY30" fmla="*/ 81377 h 154301"/>
                <a:gd name="connsiteX31" fmla="*/ 201976 w 618513"/>
                <a:gd name="connsiteY31" fmla="*/ 84452 h 154301"/>
                <a:gd name="connsiteX32" fmla="*/ 192884 w 618513"/>
                <a:gd name="connsiteY32" fmla="*/ 76163 h 154301"/>
                <a:gd name="connsiteX33" fmla="*/ 166217 w 618513"/>
                <a:gd name="connsiteY33" fmla="*/ 65902 h 154301"/>
                <a:gd name="connsiteX34" fmla="*/ 109025 w 618513"/>
                <a:gd name="connsiteY34" fmla="*/ 45647 h 154301"/>
                <a:gd name="connsiteX35" fmla="*/ 72982 w 618513"/>
                <a:gd name="connsiteY35" fmla="*/ 45146 h 154301"/>
                <a:gd name="connsiteX36" fmla="*/ 49318 w 618513"/>
                <a:gd name="connsiteY36" fmla="*/ 43307 h 154301"/>
                <a:gd name="connsiteX37" fmla="*/ 87432 w 618513"/>
                <a:gd name="connsiteY37" fmla="*/ 61456 h 154301"/>
                <a:gd name="connsiteX38" fmla="*/ 144258 w 618513"/>
                <a:gd name="connsiteY38" fmla="*/ 77399 h 154301"/>
                <a:gd name="connsiteX39" fmla="*/ 170032 w 618513"/>
                <a:gd name="connsiteY39" fmla="*/ 99994 h 154301"/>
                <a:gd name="connsiteX40" fmla="*/ 199459 w 618513"/>
                <a:gd name="connsiteY40" fmla="*/ 119212 h 154301"/>
                <a:gd name="connsiteX41" fmla="*/ 216466 w 618513"/>
                <a:gd name="connsiteY41" fmla="*/ 114032 h 154301"/>
                <a:gd name="connsiteX42" fmla="*/ 226249 w 618513"/>
                <a:gd name="connsiteY42" fmla="*/ 115903 h 154301"/>
                <a:gd name="connsiteX43" fmla="*/ 245853 w 618513"/>
                <a:gd name="connsiteY43" fmla="*/ 130376 h 154301"/>
                <a:gd name="connsiteX44" fmla="*/ 271101 w 618513"/>
                <a:gd name="connsiteY44" fmla="*/ 132615 h 154301"/>
                <a:gd name="connsiteX45" fmla="*/ 286078 w 618513"/>
                <a:gd name="connsiteY45" fmla="*/ 144113 h 154301"/>
                <a:gd name="connsiteX46" fmla="*/ 305033 w 618513"/>
                <a:gd name="connsiteY46" fmla="*/ 141406 h 154301"/>
                <a:gd name="connsiteX47" fmla="*/ 307672 w 618513"/>
                <a:gd name="connsiteY47" fmla="*/ 148090 h 154301"/>
                <a:gd name="connsiteX48" fmla="*/ 332472 w 618513"/>
                <a:gd name="connsiteY48" fmla="*/ 153906 h 154301"/>
                <a:gd name="connsiteX49" fmla="*/ 355284 w 618513"/>
                <a:gd name="connsiteY49" fmla="*/ 137194 h 154301"/>
                <a:gd name="connsiteX50" fmla="*/ 378623 w 618513"/>
                <a:gd name="connsiteY50" fmla="*/ 118243 h 154301"/>
                <a:gd name="connsiteX51" fmla="*/ 410201 w 618513"/>
                <a:gd name="connsiteY51" fmla="*/ 115135 h 154301"/>
                <a:gd name="connsiteX52" fmla="*/ 429644 w 618513"/>
                <a:gd name="connsiteY52" fmla="*/ 79973 h 154301"/>
                <a:gd name="connsiteX53" fmla="*/ 427655 w 618513"/>
                <a:gd name="connsiteY53" fmla="*/ 64197 h 154301"/>
                <a:gd name="connsiteX54" fmla="*/ 392586 w 618513"/>
                <a:gd name="connsiteY54" fmla="*/ 57145 h 154301"/>
                <a:gd name="connsiteX55" fmla="*/ 129239 w 618513"/>
                <a:gd name="connsiteY55" fmla="*/ 80040 h 154301"/>
                <a:gd name="connsiteX56" fmla="*/ 83941 w 618513"/>
                <a:gd name="connsiteY56" fmla="*/ 75127 h 154301"/>
                <a:gd name="connsiteX57" fmla="*/ 100665 w 618513"/>
                <a:gd name="connsiteY57" fmla="*/ 92707 h 154301"/>
                <a:gd name="connsiteX58" fmla="*/ 127819 w 618513"/>
                <a:gd name="connsiteY58" fmla="*/ 99192 h 154301"/>
                <a:gd name="connsiteX59" fmla="*/ 152700 w 618513"/>
                <a:gd name="connsiteY59" fmla="*/ 98156 h 154301"/>
                <a:gd name="connsiteX60" fmla="*/ 129239 w 618513"/>
                <a:gd name="connsiteY60" fmla="*/ 80040 h 154301"/>
                <a:gd name="connsiteX61" fmla="*/ 60561 w 618513"/>
                <a:gd name="connsiteY61" fmla="*/ 70381 h 154301"/>
                <a:gd name="connsiteX62" fmla="*/ 46761 w 618513"/>
                <a:gd name="connsiteY62" fmla="*/ 54103 h 154301"/>
                <a:gd name="connsiteX63" fmla="*/ 5197 w 618513"/>
                <a:gd name="connsiteY63" fmla="*/ 44845 h 154301"/>
                <a:gd name="connsiteX64" fmla="*/ 13558 w 618513"/>
                <a:gd name="connsiteY64" fmla="*/ 55407 h 154301"/>
                <a:gd name="connsiteX65" fmla="*/ 20256 w 618513"/>
                <a:gd name="connsiteY65" fmla="*/ 65434 h 154301"/>
                <a:gd name="connsiteX66" fmla="*/ 3614 w 618513"/>
                <a:gd name="connsiteY66" fmla="*/ 84352 h 154301"/>
                <a:gd name="connsiteX67" fmla="*/ 26994 w 618513"/>
                <a:gd name="connsiteY67" fmla="*/ 91705 h 154301"/>
                <a:gd name="connsiteX68" fmla="*/ 64824 w 618513"/>
                <a:gd name="connsiteY68" fmla="*/ 81678 h 154301"/>
                <a:gd name="connsiteX69" fmla="*/ 60561 w 618513"/>
                <a:gd name="connsiteY69" fmla="*/ 70381 h 1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18513" h="154301">
                  <a:moveTo>
                    <a:pt x="589973" y="78168"/>
                  </a:moveTo>
                  <a:cubicBezTo>
                    <a:pt x="586767" y="70280"/>
                    <a:pt x="564199" y="69946"/>
                    <a:pt x="556285" y="65033"/>
                  </a:cubicBezTo>
                  <a:cubicBezTo>
                    <a:pt x="543701" y="57178"/>
                    <a:pt x="535137" y="43942"/>
                    <a:pt x="528643" y="34617"/>
                  </a:cubicBezTo>
                  <a:cubicBezTo>
                    <a:pt x="522148" y="25292"/>
                    <a:pt x="519754" y="14931"/>
                    <a:pt x="512407" y="6241"/>
                  </a:cubicBezTo>
                  <a:cubicBezTo>
                    <a:pt x="508348" y="1662"/>
                    <a:pt x="500027" y="-1815"/>
                    <a:pt x="495197" y="291"/>
                  </a:cubicBezTo>
                  <a:cubicBezTo>
                    <a:pt x="490366" y="2397"/>
                    <a:pt x="496536" y="8981"/>
                    <a:pt x="493208" y="12157"/>
                  </a:cubicBezTo>
                  <a:cubicBezTo>
                    <a:pt x="488580" y="16602"/>
                    <a:pt x="478595" y="23788"/>
                    <a:pt x="469991" y="24824"/>
                  </a:cubicBezTo>
                  <a:cubicBezTo>
                    <a:pt x="455825" y="26562"/>
                    <a:pt x="461426" y="33414"/>
                    <a:pt x="440604" y="24022"/>
                  </a:cubicBezTo>
                  <a:cubicBezTo>
                    <a:pt x="431998" y="20145"/>
                    <a:pt x="430294" y="20212"/>
                    <a:pt x="426640" y="23821"/>
                  </a:cubicBezTo>
                  <a:cubicBezTo>
                    <a:pt x="422988" y="27431"/>
                    <a:pt x="412271" y="22050"/>
                    <a:pt x="406345" y="23821"/>
                  </a:cubicBezTo>
                  <a:cubicBezTo>
                    <a:pt x="400419" y="25593"/>
                    <a:pt x="408132" y="30306"/>
                    <a:pt x="407401" y="33849"/>
                  </a:cubicBezTo>
                  <a:cubicBezTo>
                    <a:pt x="406914" y="36121"/>
                    <a:pt x="394940" y="41603"/>
                    <a:pt x="397091" y="43876"/>
                  </a:cubicBezTo>
                  <a:cubicBezTo>
                    <a:pt x="401637" y="48388"/>
                    <a:pt x="414504" y="44611"/>
                    <a:pt x="420187" y="47218"/>
                  </a:cubicBezTo>
                  <a:cubicBezTo>
                    <a:pt x="423069" y="48555"/>
                    <a:pt x="431998" y="56443"/>
                    <a:pt x="431268" y="50059"/>
                  </a:cubicBezTo>
                  <a:cubicBezTo>
                    <a:pt x="430821" y="45781"/>
                    <a:pt x="410404" y="21816"/>
                    <a:pt x="433581" y="37458"/>
                  </a:cubicBezTo>
                  <a:cubicBezTo>
                    <a:pt x="450061" y="48622"/>
                    <a:pt x="466581" y="49858"/>
                    <a:pt x="480503" y="65334"/>
                  </a:cubicBezTo>
                  <a:cubicBezTo>
                    <a:pt x="501163" y="88396"/>
                    <a:pt x="491341" y="73288"/>
                    <a:pt x="515004" y="74759"/>
                  </a:cubicBezTo>
                  <a:cubicBezTo>
                    <a:pt x="534447" y="75962"/>
                    <a:pt x="553524" y="93543"/>
                    <a:pt x="570774" y="94646"/>
                  </a:cubicBezTo>
                  <a:cubicBezTo>
                    <a:pt x="575118" y="94913"/>
                    <a:pt x="576092" y="92407"/>
                    <a:pt x="573737" y="89465"/>
                  </a:cubicBezTo>
                  <a:cubicBezTo>
                    <a:pt x="571384" y="86524"/>
                    <a:pt x="582992" y="87627"/>
                    <a:pt x="584494" y="87694"/>
                  </a:cubicBezTo>
                  <a:cubicBezTo>
                    <a:pt x="590907" y="87961"/>
                    <a:pt x="616316" y="92473"/>
                    <a:pt x="618427" y="88195"/>
                  </a:cubicBezTo>
                  <a:cubicBezTo>
                    <a:pt x="619442" y="86056"/>
                    <a:pt x="591962" y="83683"/>
                    <a:pt x="589731" y="78168"/>
                  </a:cubicBezTo>
                  <a:close/>
                  <a:moveTo>
                    <a:pt x="392545" y="56877"/>
                  </a:moveTo>
                  <a:cubicBezTo>
                    <a:pt x="372250" y="52666"/>
                    <a:pt x="375213" y="68876"/>
                    <a:pt x="373995" y="76063"/>
                  </a:cubicBezTo>
                  <a:cubicBezTo>
                    <a:pt x="373265" y="80274"/>
                    <a:pt x="360641" y="79940"/>
                    <a:pt x="355771" y="80809"/>
                  </a:cubicBezTo>
                  <a:cubicBezTo>
                    <a:pt x="347409" y="82313"/>
                    <a:pt x="345989" y="88663"/>
                    <a:pt x="338074" y="89933"/>
                  </a:cubicBezTo>
                  <a:cubicBezTo>
                    <a:pt x="322853" y="92497"/>
                    <a:pt x="307185" y="92497"/>
                    <a:pt x="291964" y="89933"/>
                  </a:cubicBezTo>
                  <a:cubicBezTo>
                    <a:pt x="284293" y="88697"/>
                    <a:pt x="266879" y="88329"/>
                    <a:pt x="266108" y="79505"/>
                  </a:cubicBezTo>
                  <a:cubicBezTo>
                    <a:pt x="265905" y="76965"/>
                    <a:pt x="273333" y="74592"/>
                    <a:pt x="266636" y="72820"/>
                  </a:cubicBezTo>
                  <a:cubicBezTo>
                    <a:pt x="244352" y="66437"/>
                    <a:pt x="245042" y="80909"/>
                    <a:pt x="229456" y="81377"/>
                  </a:cubicBezTo>
                  <a:cubicBezTo>
                    <a:pt x="225397" y="81377"/>
                    <a:pt x="214072" y="78903"/>
                    <a:pt x="212124" y="81377"/>
                  </a:cubicBezTo>
                  <a:cubicBezTo>
                    <a:pt x="209566" y="84719"/>
                    <a:pt x="211799" y="87594"/>
                    <a:pt x="201976" y="84452"/>
                  </a:cubicBezTo>
                  <a:cubicBezTo>
                    <a:pt x="192153" y="81310"/>
                    <a:pt x="195036" y="80441"/>
                    <a:pt x="192884" y="76163"/>
                  </a:cubicBezTo>
                  <a:cubicBezTo>
                    <a:pt x="190408" y="71183"/>
                    <a:pt x="171331" y="67205"/>
                    <a:pt x="166217" y="65902"/>
                  </a:cubicBezTo>
                  <a:cubicBezTo>
                    <a:pt x="145232" y="60487"/>
                    <a:pt x="128265" y="44811"/>
                    <a:pt x="109025" y="45647"/>
                  </a:cubicBezTo>
                  <a:cubicBezTo>
                    <a:pt x="97011" y="46476"/>
                    <a:pt x="84956" y="46309"/>
                    <a:pt x="72982" y="45146"/>
                  </a:cubicBezTo>
                  <a:cubicBezTo>
                    <a:pt x="65960" y="44277"/>
                    <a:pt x="52118" y="38227"/>
                    <a:pt x="49318" y="43307"/>
                  </a:cubicBezTo>
                  <a:cubicBezTo>
                    <a:pt x="45259" y="50694"/>
                    <a:pt x="80004" y="63027"/>
                    <a:pt x="87432" y="61456"/>
                  </a:cubicBezTo>
                  <a:cubicBezTo>
                    <a:pt x="99609" y="58849"/>
                    <a:pt x="131268" y="72386"/>
                    <a:pt x="144258" y="77399"/>
                  </a:cubicBezTo>
                  <a:cubicBezTo>
                    <a:pt x="161873" y="84084"/>
                    <a:pt x="183345" y="91003"/>
                    <a:pt x="170032" y="99994"/>
                  </a:cubicBezTo>
                  <a:cubicBezTo>
                    <a:pt x="155825" y="109586"/>
                    <a:pt x="184482" y="120449"/>
                    <a:pt x="199459" y="119212"/>
                  </a:cubicBezTo>
                  <a:cubicBezTo>
                    <a:pt x="206481" y="118577"/>
                    <a:pt x="222717" y="122555"/>
                    <a:pt x="216466" y="114032"/>
                  </a:cubicBezTo>
                  <a:cubicBezTo>
                    <a:pt x="210216" y="105509"/>
                    <a:pt x="223854" y="108617"/>
                    <a:pt x="226249" y="115903"/>
                  </a:cubicBezTo>
                  <a:cubicBezTo>
                    <a:pt x="228197" y="121853"/>
                    <a:pt x="237614" y="127602"/>
                    <a:pt x="245853" y="130376"/>
                  </a:cubicBezTo>
                  <a:cubicBezTo>
                    <a:pt x="252997" y="132749"/>
                    <a:pt x="266473" y="129674"/>
                    <a:pt x="271101" y="132615"/>
                  </a:cubicBezTo>
                  <a:cubicBezTo>
                    <a:pt x="276946" y="136325"/>
                    <a:pt x="276621" y="142976"/>
                    <a:pt x="286078" y="144113"/>
                  </a:cubicBezTo>
                  <a:cubicBezTo>
                    <a:pt x="292451" y="143565"/>
                    <a:pt x="298782" y="142662"/>
                    <a:pt x="305033" y="141406"/>
                  </a:cubicBezTo>
                  <a:cubicBezTo>
                    <a:pt x="307063" y="143979"/>
                    <a:pt x="302720" y="144748"/>
                    <a:pt x="307672" y="148090"/>
                  </a:cubicBezTo>
                  <a:cubicBezTo>
                    <a:pt x="314896" y="152288"/>
                    <a:pt x="323665" y="154337"/>
                    <a:pt x="332472" y="153906"/>
                  </a:cubicBezTo>
                  <a:cubicBezTo>
                    <a:pt x="347085" y="153304"/>
                    <a:pt x="342945" y="139233"/>
                    <a:pt x="355284" y="137194"/>
                  </a:cubicBezTo>
                  <a:cubicBezTo>
                    <a:pt x="367623" y="135155"/>
                    <a:pt x="380409" y="128370"/>
                    <a:pt x="378623" y="118243"/>
                  </a:cubicBezTo>
                  <a:cubicBezTo>
                    <a:pt x="376958" y="108751"/>
                    <a:pt x="400948" y="114199"/>
                    <a:pt x="410201" y="115135"/>
                  </a:cubicBezTo>
                  <a:cubicBezTo>
                    <a:pt x="432647" y="117341"/>
                    <a:pt x="428224" y="90969"/>
                    <a:pt x="429644" y="79973"/>
                  </a:cubicBezTo>
                  <a:cubicBezTo>
                    <a:pt x="430131" y="76196"/>
                    <a:pt x="436382" y="67840"/>
                    <a:pt x="427655" y="64197"/>
                  </a:cubicBezTo>
                  <a:cubicBezTo>
                    <a:pt x="416169" y="59417"/>
                    <a:pt x="403951" y="59518"/>
                    <a:pt x="392586" y="57145"/>
                  </a:cubicBezTo>
                  <a:close/>
                  <a:moveTo>
                    <a:pt x="129239" y="80040"/>
                  </a:moveTo>
                  <a:cubicBezTo>
                    <a:pt x="117062" y="85922"/>
                    <a:pt x="96767" y="63094"/>
                    <a:pt x="83941" y="75127"/>
                  </a:cubicBezTo>
                  <a:cubicBezTo>
                    <a:pt x="76838" y="81811"/>
                    <a:pt x="87189" y="101865"/>
                    <a:pt x="100665" y="92707"/>
                  </a:cubicBezTo>
                  <a:cubicBezTo>
                    <a:pt x="106793" y="88596"/>
                    <a:pt x="120959" y="93042"/>
                    <a:pt x="127819" y="99192"/>
                  </a:cubicBezTo>
                  <a:cubicBezTo>
                    <a:pt x="135327" y="106077"/>
                    <a:pt x="148925" y="100662"/>
                    <a:pt x="152700" y="98156"/>
                  </a:cubicBezTo>
                  <a:cubicBezTo>
                    <a:pt x="162929" y="91471"/>
                    <a:pt x="139265" y="75160"/>
                    <a:pt x="129239" y="80040"/>
                  </a:cubicBezTo>
                  <a:close/>
                  <a:moveTo>
                    <a:pt x="60561" y="70381"/>
                  </a:moveTo>
                  <a:cubicBezTo>
                    <a:pt x="64093" y="65267"/>
                    <a:pt x="44325" y="59250"/>
                    <a:pt x="46761" y="54103"/>
                  </a:cubicBezTo>
                  <a:cubicBezTo>
                    <a:pt x="50048" y="46349"/>
                    <a:pt x="9784" y="44577"/>
                    <a:pt x="5197" y="44845"/>
                  </a:cubicBezTo>
                  <a:cubicBezTo>
                    <a:pt x="-5275" y="45346"/>
                    <a:pt x="1138" y="58214"/>
                    <a:pt x="13558" y="55407"/>
                  </a:cubicBezTo>
                  <a:cubicBezTo>
                    <a:pt x="26994" y="52265"/>
                    <a:pt x="25735" y="58749"/>
                    <a:pt x="20256" y="65434"/>
                  </a:cubicBezTo>
                  <a:cubicBezTo>
                    <a:pt x="14776" y="72119"/>
                    <a:pt x="1991" y="73723"/>
                    <a:pt x="3614" y="84352"/>
                  </a:cubicBezTo>
                  <a:cubicBezTo>
                    <a:pt x="5359" y="95649"/>
                    <a:pt x="18348" y="94111"/>
                    <a:pt x="26994" y="91705"/>
                  </a:cubicBezTo>
                  <a:cubicBezTo>
                    <a:pt x="39171" y="88362"/>
                    <a:pt x="53255" y="85655"/>
                    <a:pt x="64824" y="81678"/>
                  </a:cubicBezTo>
                  <a:cubicBezTo>
                    <a:pt x="72738" y="78937"/>
                    <a:pt x="57923" y="74224"/>
                    <a:pt x="60561" y="7038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5C4416CB-3D57-4F05-83D9-1A2FD8C01303}"/>
                </a:ext>
              </a:extLst>
            </p:cNvPr>
            <p:cNvSpPr/>
            <p:nvPr/>
          </p:nvSpPr>
          <p:spPr>
            <a:xfrm>
              <a:off x="8095516" y="4254715"/>
              <a:ext cx="1885653" cy="828110"/>
            </a:xfrm>
            <a:custGeom>
              <a:avLst/>
              <a:gdLst>
                <a:gd name="connsiteX0" fmla="*/ 1884214 w 1885653"/>
                <a:gd name="connsiteY0" fmla="*/ 558738 h 828110"/>
                <a:gd name="connsiteX1" fmla="*/ 1853407 w 1885653"/>
                <a:gd name="connsiteY1" fmla="*/ 541491 h 828110"/>
                <a:gd name="connsiteX2" fmla="*/ 1825928 w 1885653"/>
                <a:gd name="connsiteY2" fmla="*/ 536912 h 828110"/>
                <a:gd name="connsiteX3" fmla="*/ 1796541 w 1885653"/>
                <a:gd name="connsiteY3" fmla="*/ 524412 h 828110"/>
                <a:gd name="connsiteX4" fmla="*/ 1780994 w 1885653"/>
                <a:gd name="connsiteY4" fmla="*/ 492693 h 828110"/>
                <a:gd name="connsiteX5" fmla="*/ 1742597 w 1885653"/>
                <a:gd name="connsiteY5" fmla="*/ 457063 h 828110"/>
                <a:gd name="connsiteX6" fmla="*/ 1704889 w 1885653"/>
                <a:gd name="connsiteY6" fmla="*/ 430324 h 828110"/>
                <a:gd name="connsiteX7" fmla="*/ 1709435 w 1885653"/>
                <a:gd name="connsiteY7" fmla="*/ 419194 h 828110"/>
                <a:gd name="connsiteX8" fmla="*/ 1705376 w 1885653"/>
                <a:gd name="connsiteY8" fmla="*/ 399140 h 828110"/>
                <a:gd name="connsiteX9" fmla="*/ 1700667 w 1885653"/>
                <a:gd name="connsiteY9" fmla="*/ 387241 h 828110"/>
                <a:gd name="connsiteX10" fmla="*/ 1698922 w 1885653"/>
                <a:gd name="connsiteY10" fmla="*/ 365315 h 828110"/>
                <a:gd name="connsiteX11" fmla="*/ 1692671 w 1885653"/>
                <a:gd name="connsiteY11" fmla="*/ 355021 h 828110"/>
                <a:gd name="connsiteX12" fmla="*/ 1687354 w 1885653"/>
                <a:gd name="connsiteY12" fmla="*/ 340248 h 828110"/>
                <a:gd name="connsiteX13" fmla="*/ 1581212 w 1885653"/>
                <a:gd name="connsiteY13" fmla="*/ 281690 h 828110"/>
                <a:gd name="connsiteX14" fmla="*/ 1541393 w 1885653"/>
                <a:gd name="connsiteY14" fmla="*/ 268320 h 828110"/>
                <a:gd name="connsiteX15" fmla="*/ 1517932 w 1885653"/>
                <a:gd name="connsiteY15" fmla="*/ 273467 h 828110"/>
                <a:gd name="connsiteX16" fmla="*/ 1528851 w 1885653"/>
                <a:gd name="connsiteY16" fmla="*/ 282826 h 828110"/>
                <a:gd name="connsiteX17" fmla="*/ 1502751 w 1885653"/>
                <a:gd name="connsiteY17" fmla="*/ 294691 h 828110"/>
                <a:gd name="connsiteX18" fmla="*/ 1462446 w 1885653"/>
                <a:gd name="connsiteY18" fmla="*/ 307760 h 828110"/>
                <a:gd name="connsiteX19" fmla="*/ 1440933 w 1885653"/>
                <a:gd name="connsiteY19" fmla="*/ 312305 h 828110"/>
                <a:gd name="connsiteX20" fmla="*/ 1411871 w 1885653"/>
                <a:gd name="connsiteY20" fmla="*/ 308963 h 828110"/>
                <a:gd name="connsiteX21" fmla="*/ 1375341 w 1885653"/>
                <a:gd name="connsiteY21" fmla="*/ 287305 h 828110"/>
                <a:gd name="connsiteX22" fmla="*/ 1340839 w 1885653"/>
                <a:gd name="connsiteY22" fmla="*/ 300674 h 828110"/>
                <a:gd name="connsiteX23" fmla="*/ 1332721 w 1885653"/>
                <a:gd name="connsiteY23" fmla="*/ 306891 h 828110"/>
                <a:gd name="connsiteX24" fmla="*/ 1319733 w 1885653"/>
                <a:gd name="connsiteY24" fmla="*/ 311704 h 828110"/>
                <a:gd name="connsiteX25" fmla="*/ 1344655 w 1885653"/>
                <a:gd name="connsiteY25" fmla="*/ 326377 h 828110"/>
                <a:gd name="connsiteX26" fmla="*/ 1374772 w 1885653"/>
                <a:gd name="connsiteY26" fmla="*/ 342587 h 828110"/>
                <a:gd name="connsiteX27" fmla="*/ 1401318 w 1885653"/>
                <a:gd name="connsiteY27" fmla="*/ 344626 h 828110"/>
                <a:gd name="connsiteX28" fmla="*/ 1425672 w 1885653"/>
                <a:gd name="connsiteY28" fmla="*/ 370563 h 828110"/>
                <a:gd name="connsiteX29" fmla="*/ 1436307 w 1885653"/>
                <a:gd name="connsiteY29" fmla="*/ 388645 h 828110"/>
                <a:gd name="connsiteX30" fmla="*/ 1404443 w 1885653"/>
                <a:gd name="connsiteY30" fmla="*/ 378050 h 828110"/>
                <a:gd name="connsiteX31" fmla="*/ 1363650 w 1885653"/>
                <a:gd name="connsiteY31" fmla="*/ 366519 h 828110"/>
                <a:gd name="connsiteX32" fmla="*/ 1310884 w 1885653"/>
                <a:gd name="connsiteY32" fmla="*/ 362374 h 828110"/>
                <a:gd name="connsiteX33" fmla="*/ 1274800 w 1885653"/>
                <a:gd name="connsiteY33" fmla="*/ 357695 h 828110"/>
                <a:gd name="connsiteX34" fmla="*/ 1230151 w 1885653"/>
                <a:gd name="connsiteY34" fmla="*/ 351010 h 828110"/>
                <a:gd name="connsiteX35" fmla="*/ 1190576 w 1885653"/>
                <a:gd name="connsiteY35" fmla="*/ 335435 h 828110"/>
                <a:gd name="connsiteX36" fmla="*/ 1155953 w 1885653"/>
                <a:gd name="connsiteY36" fmla="*/ 330622 h 828110"/>
                <a:gd name="connsiteX37" fmla="*/ 1157130 w 1885653"/>
                <a:gd name="connsiteY37" fmla="*/ 349439 h 828110"/>
                <a:gd name="connsiteX38" fmla="*/ 1127052 w 1885653"/>
                <a:gd name="connsiteY38" fmla="*/ 350275 h 828110"/>
                <a:gd name="connsiteX39" fmla="*/ 1083094 w 1885653"/>
                <a:gd name="connsiteY39" fmla="*/ 351010 h 828110"/>
                <a:gd name="connsiteX40" fmla="*/ 1041490 w 1885653"/>
                <a:gd name="connsiteY40" fmla="*/ 338309 h 828110"/>
                <a:gd name="connsiteX41" fmla="*/ 943871 w 1885653"/>
                <a:gd name="connsiteY41" fmla="*/ 318790 h 828110"/>
                <a:gd name="connsiteX42" fmla="*/ 917691 w 1885653"/>
                <a:gd name="connsiteY42" fmla="*/ 310467 h 828110"/>
                <a:gd name="connsiteX43" fmla="*/ 880430 w 1885653"/>
                <a:gd name="connsiteY43" fmla="*/ 291215 h 828110"/>
                <a:gd name="connsiteX44" fmla="*/ 850718 w 1885653"/>
                <a:gd name="connsiteY44" fmla="*/ 277111 h 828110"/>
                <a:gd name="connsiteX45" fmla="*/ 815080 w 1885653"/>
                <a:gd name="connsiteY45" fmla="*/ 256789 h 828110"/>
                <a:gd name="connsiteX46" fmla="*/ 742018 w 1885653"/>
                <a:gd name="connsiteY46" fmla="*/ 231487 h 828110"/>
                <a:gd name="connsiteX47" fmla="*/ 682270 w 1885653"/>
                <a:gd name="connsiteY47" fmla="*/ 207523 h 828110"/>
                <a:gd name="connsiteX48" fmla="*/ 672367 w 1885653"/>
                <a:gd name="connsiteY48" fmla="*/ 183290 h 828110"/>
                <a:gd name="connsiteX49" fmla="*/ 646673 w 1885653"/>
                <a:gd name="connsiteY49" fmla="*/ 160696 h 828110"/>
                <a:gd name="connsiteX50" fmla="*/ 588752 w 1885653"/>
                <a:gd name="connsiteY50" fmla="*/ 129378 h 828110"/>
                <a:gd name="connsiteX51" fmla="*/ 554981 w 1885653"/>
                <a:gd name="connsiteY51" fmla="*/ 112666 h 828110"/>
                <a:gd name="connsiteX52" fmla="*/ 571582 w 1885653"/>
                <a:gd name="connsiteY52" fmla="*/ 92612 h 828110"/>
                <a:gd name="connsiteX53" fmla="*/ 563464 w 1885653"/>
                <a:gd name="connsiteY53" fmla="*/ 66943 h 828110"/>
                <a:gd name="connsiteX54" fmla="*/ 534362 w 1885653"/>
                <a:gd name="connsiteY54" fmla="*/ 45184 h 828110"/>
                <a:gd name="connsiteX55" fmla="*/ 503960 w 1885653"/>
                <a:gd name="connsiteY55" fmla="*/ 22155 h 828110"/>
                <a:gd name="connsiteX56" fmla="*/ 499901 w 1885653"/>
                <a:gd name="connsiteY56" fmla="*/ 8786 h 828110"/>
                <a:gd name="connsiteX57" fmla="*/ 481107 w 1885653"/>
                <a:gd name="connsiteY57" fmla="*/ -339 h 828110"/>
                <a:gd name="connsiteX58" fmla="*/ 465967 w 1885653"/>
                <a:gd name="connsiteY58" fmla="*/ 7081 h 828110"/>
                <a:gd name="connsiteX59" fmla="*/ 443684 w 1885653"/>
                <a:gd name="connsiteY59" fmla="*/ 11293 h 828110"/>
                <a:gd name="connsiteX60" fmla="*/ 423389 w 1885653"/>
                <a:gd name="connsiteY60" fmla="*/ 19013 h 828110"/>
                <a:gd name="connsiteX61" fmla="*/ 422699 w 1885653"/>
                <a:gd name="connsiteY61" fmla="*/ 33152 h 828110"/>
                <a:gd name="connsiteX62" fmla="*/ 370541 w 1885653"/>
                <a:gd name="connsiteY62" fmla="*/ 24261 h 828110"/>
                <a:gd name="connsiteX63" fmla="*/ 345132 w 1885653"/>
                <a:gd name="connsiteY63" fmla="*/ 14234 h 828110"/>
                <a:gd name="connsiteX64" fmla="*/ 331007 w 1885653"/>
                <a:gd name="connsiteY64" fmla="*/ 24528 h 828110"/>
                <a:gd name="connsiteX65" fmla="*/ 310346 w 1885653"/>
                <a:gd name="connsiteY65" fmla="*/ 42744 h 828110"/>
                <a:gd name="connsiteX66" fmla="*/ 298778 w 1885653"/>
                <a:gd name="connsiteY66" fmla="*/ 47892 h 828110"/>
                <a:gd name="connsiteX67" fmla="*/ 269837 w 1885653"/>
                <a:gd name="connsiteY67" fmla="*/ 39034 h 828110"/>
                <a:gd name="connsiteX68" fmla="*/ 238178 w 1885653"/>
                <a:gd name="connsiteY68" fmla="*/ 41775 h 828110"/>
                <a:gd name="connsiteX69" fmla="*/ 237244 w 1885653"/>
                <a:gd name="connsiteY69" fmla="*/ 57116 h 828110"/>
                <a:gd name="connsiteX70" fmla="*/ 243739 w 1885653"/>
                <a:gd name="connsiteY70" fmla="*/ 74229 h 828110"/>
                <a:gd name="connsiteX71" fmla="*/ 228761 w 1885653"/>
                <a:gd name="connsiteY71" fmla="*/ 80246 h 828110"/>
                <a:gd name="connsiteX72" fmla="*/ 215935 w 1885653"/>
                <a:gd name="connsiteY72" fmla="*/ 93916 h 828110"/>
                <a:gd name="connsiteX73" fmla="*/ 155618 w 1885653"/>
                <a:gd name="connsiteY73" fmla="*/ 97559 h 828110"/>
                <a:gd name="connsiteX74" fmla="*/ 102405 w 1885653"/>
                <a:gd name="connsiteY74" fmla="*/ 94685 h 828110"/>
                <a:gd name="connsiteX75" fmla="*/ 81663 w 1885653"/>
                <a:gd name="connsiteY75" fmla="*/ 96857 h 828110"/>
                <a:gd name="connsiteX76" fmla="*/ 57310 w 1885653"/>
                <a:gd name="connsiteY76" fmla="*/ 88100 h 828110"/>
                <a:gd name="connsiteX77" fmla="*/ 31698 w 1885653"/>
                <a:gd name="connsiteY77" fmla="*/ 89470 h 828110"/>
                <a:gd name="connsiteX78" fmla="*/ 7059 w 1885653"/>
                <a:gd name="connsiteY78" fmla="*/ 95253 h 828110"/>
                <a:gd name="connsiteX79" fmla="*/ 1945 w 1885653"/>
                <a:gd name="connsiteY79" fmla="*/ 113703 h 828110"/>
                <a:gd name="connsiteX80" fmla="*/ 28735 w 1885653"/>
                <a:gd name="connsiteY80" fmla="*/ 130982 h 828110"/>
                <a:gd name="connsiteX81" fmla="*/ 26380 w 1885653"/>
                <a:gd name="connsiteY81" fmla="*/ 154379 h 828110"/>
                <a:gd name="connsiteX82" fmla="*/ 49192 w 1885653"/>
                <a:gd name="connsiteY82" fmla="*/ 171458 h 828110"/>
                <a:gd name="connsiteX83" fmla="*/ 55848 w 1885653"/>
                <a:gd name="connsiteY83" fmla="*/ 185530 h 828110"/>
                <a:gd name="connsiteX84" fmla="*/ 84261 w 1885653"/>
                <a:gd name="connsiteY84" fmla="*/ 200136 h 828110"/>
                <a:gd name="connsiteX85" fmla="*/ 102161 w 1885653"/>
                <a:gd name="connsiteY85" fmla="*/ 207155 h 828110"/>
                <a:gd name="connsiteX86" fmla="*/ 169540 w 1885653"/>
                <a:gd name="connsiteY86" fmla="*/ 229114 h 828110"/>
                <a:gd name="connsiteX87" fmla="*/ 135770 w 1885653"/>
                <a:gd name="connsiteY87" fmla="*/ 241147 h 828110"/>
                <a:gd name="connsiteX88" fmla="*/ 116692 w 1885653"/>
                <a:gd name="connsiteY88" fmla="*/ 241782 h 828110"/>
                <a:gd name="connsiteX89" fmla="*/ 123877 w 1885653"/>
                <a:gd name="connsiteY89" fmla="*/ 257992 h 828110"/>
                <a:gd name="connsiteX90" fmla="*/ 120711 w 1885653"/>
                <a:gd name="connsiteY90" fmla="*/ 268019 h 828110"/>
                <a:gd name="connsiteX91" fmla="*/ 102770 w 1885653"/>
                <a:gd name="connsiteY91" fmla="*/ 261702 h 828110"/>
                <a:gd name="connsiteX92" fmla="*/ 100091 w 1885653"/>
                <a:gd name="connsiteY92" fmla="*/ 282926 h 828110"/>
                <a:gd name="connsiteX93" fmla="*/ 148149 w 1885653"/>
                <a:gd name="connsiteY93" fmla="*/ 324405 h 828110"/>
                <a:gd name="connsiteX94" fmla="*/ 174411 w 1885653"/>
                <a:gd name="connsiteY94" fmla="*/ 325875 h 828110"/>
                <a:gd name="connsiteX95" fmla="*/ 198765 w 1885653"/>
                <a:gd name="connsiteY95" fmla="*/ 341752 h 828110"/>
                <a:gd name="connsiteX96" fmla="*/ 249908 w 1885653"/>
                <a:gd name="connsiteY96" fmla="*/ 380824 h 828110"/>
                <a:gd name="connsiteX97" fmla="*/ 315096 w 1885653"/>
                <a:gd name="connsiteY97" fmla="*/ 411707 h 828110"/>
                <a:gd name="connsiteX98" fmla="*/ 336405 w 1885653"/>
                <a:gd name="connsiteY98" fmla="*/ 418793 h 828110"/>
                <a:gd name="connsiteX99" fmla="*/ 350976 w 1885653"/>
                <a:gd name="connsiteY99" fmla="*/ 417189 h 828110"/>
                <a:gd name="connsiteX100" fmla="*/ 352072 w 1885653"/>
                <a:gd name="connsiteY100" fmla="*/ 435873 h 828110"/>
                <a:gd name="connsiteX101" fmla="*/ 382109 w 1885653"/>
                <a:gd name="connsiteY101" fmla="*/ 426982 h 828110"/>
                <a:gd name="connsiteX102" fmla="*/ 413769 w 1885653"/>
                <a:gd name="connsiteY102" fmla="*/ 438078 h 828110"/>
                <a:gd name="connsiteX103" fmla="*/ 441005 w 1885653"/>
                <a:gd name="connsiteY103" fmla="*/ 450746 h 828110"/>
                <a:gd name="connsiteX104" fmla="*/ 478104 w 1885653"/>
                <a:gd name="connsiteY104" fmla="*/ 445231 h 828110"/>
                <a:gd name="connsiteX105" fmla="*/ 491458 w 1885653"/>
                <a:gd name="connsiteY105" fmla="*/ 446702 h 828110"/>
                <a:gd name="connsiteX106" fmla="*/ 512443 w 1885653"/>
                <a:gd name="connsiteY106" fmla="*/ 444763 h 828110"/>
                <a:gd name="connsiteX107" fmla="*/ 547269 w 1885653"/>
                <a:gd name="connsiteY107" fmla="*/ 454790 h 828110"/>
                <a:gd name="connsiteX108" fmla="*/ 567928 w 1885653"/>
                <a:gd name="connsiteY108" fmla="*/ 468728 h 828110"/>
                <a:gd name="connsiteX109" fmla="*/ 575844 w 1885653"/>
                <a:gd name="connsiteY109" fmla="*/ 478588 h 828110"/>
                <a:gd name="connsiteX110" fmla="*/ 594556 w 1885653"/>
                <a:gd name="connsiteY110" fmla="*/ 483000 h 828110"/>
                <a:gd name="connsiteX111" fmla="*/ 605231 w 1885653"/>
                <a:gd name="connsiteY111" fmla="*/ 501349 h 828110"/>
                <a:gd name="connsiteX112" fmla="*/ 616677 w 1885653"/>
                <a:gd name="connsiteY112" fmla="*/ 515487 h 828110"/>
                <a:gd name="connsiteX113" fmla="*/ 598736 w 1885653"/>
                <a:gd name="connsiteY113" fmla="*/ 536511 h 828110"/>
                <a:gd name="connsiteX114" fmla="*/ 565372 w 1885653"/>
                <a:gd name="connsiteY114" fmla="*/ 549546 h 828110"/>
                <a:gd name="connsiteX115" fmla="*/ 591471 w 1885653"/>
                <a:gd name="connsiteY115" fmla="*/ 570570 h 828110"/>
                <a:gd name="connsiteX116" fmla="*/ 590293 w 1885653"/>
                <a:gd name="connsiteY116" fmla="*/ 585543 h 828110"/>
                <a:gd name="connsiteX117" fmla="*/ 602024 w 1885653"/>
                <a:gd name="connsiteY117" fmla="*/ 592696 h 828110"/>
                <a:gd name="connsiteX118" fmla="*/ 594191 w 1885653"/>
                <a:gd name="connsiteY118" fmla="*/ 603826 h 828110"/>
                <a:gd name="connsiteX119" fmla="*/ 609655 w 1885653"/>
                <a:gd name="connsiteY119" fmla="*/ 617998 h 828110"/>
                <a:gd name="connsiteX120" fmla="*/ 631615 w 1885653"/>
                <a:gd name="connsiteY120" fmla="*/ 629529 h 828110"/>
                <a:gd name="connsiteX121" fmla="*/ 644766 w 1885653"/>
                <a:gd name="connsiteY121" fmla="*/ 641060 h 828110"/>
                <a:gd name="connsiteX122" fmla="*/ 656455 w 1885653"/>
                <a:gd name="connsiteY122" fmla="*/ 633406 h 828110"/>
                <a:gd name="connsiteX123" fmla="*/ 664086 w 1885653"/>
                <a:gd name="connsiteY123" fmla="*/ 624950 h 828110"/>
                <a:gd name="connsiteX124" fmla="*/ 693919 w 1885653"/>
                <a:gd name="connsiteY124" fmla="*/ 629596 h 828110"/>
                <a:gd name="connsiteX125" fmla="*/ 719572 w 1885653"/>
                <a:gd name="connsiteY125" fmla="*/ 637818 h 828110"/>
                <a:gd name="connsiteX126" fmla="*/ 751192 w 1885653"/>
                <a:gd name="connsiteY126" fmla="*/ 646341 h 828110"/>
                <a:gd name="connsiteX127" fmla="*/ 797464 w 1885653"/>
                <a:gd name="connsiteY127" fmla="*/ 660947 h 828110"/>
                <a:gd name="connsiteX128" fmla="*/ 800427 w 1885653"/>
                <a:gd name="connsiteY128" fmla="*/ 672979 h 828110"/>
                <a:gd name="connsiteX129" fmla="*/ 818855 w 1885653"/>
                <a:gd name="connsiteY129" fmla="*/ 692733 h 828110"/>
                <a:gd name="connsiteX130" fmla="*/ 841098 w 1885653"/>
                <a:gd name="connsiteY130" fmla="*/ 703395 h 828110"/>
                <a:gd name="connsiteX131" fmla="*/ 853275 w 1885653"/>
                <a:gd name="connsiteY131" fmla="*/ 702659 h 828110"/>
                <a:gd name="connsiteX132" fmla="*/ 861393 w 1885653"/>
                <a:gd name="connsiteY132" fmla="*/ 711751 h 828110"/>
                <a:gd name="connsiteX133" fmla="*/ 883920 w 1885653"/>
                <a:gd name="connsiteY133" fmla="*/ 718435 h 828110"/>
                <a:gd name="connsiteX134" fmla="*/ 875802 w 1885653"/>
                <a:gd name="connsiteY134" fmla="*/ 735147 h 828110"/>
                <a:gd name="connsiteX135" fmla="*/ 889441 w 1885653"/>
                <a:gd name="connsiteY135" fmla="*/ 735481 h 828110"/>
                <a:gd name="connsiteX136" fmla="*/ 918381 w 1885653"/>
                <a:gd name="connsiteY136" fmla="*/ 734178 h 828110"/>
                <a:gd name="connsiteX137" fmla="*/ 974395 w 1885653"/>
                <a:gd name="connsiteY137" fmla="*/ 740863 h 828110"/>
                <a:gd name="connsiteX138" fmla="*/ 1001265 w 1885653"/>
                <a:gd name="connsiteY138" fmla="*/ 739760 h 828110"/>
                <a:gd name="connsiteX139" fmla="*/ 1026674 w 1885653"/>
                <a:gd name="connsiteY139" fmla="*/ 750689 h 828110"/>
                <a:gd name="connsiteX140" fmla="*/ 1064626 w 1885653"/>
                <a:gd name="connsiteY140" fmla="*/ 760716 h 828110"/>
                <a:gd name="connsiteX141" fmla="*/ 1098234 w 1885653"/>
                <a:gd name="connsiteY141" fmla="*/ 763791 h 828110"/>
                <a:gd name="connsiteX142" fmla="*/ 1137850 w 1885653"/>
                <a:gd name="connsiteY142" fmla="*/ 762053 h 828110"/>
                <a:gd name="connsiteX143" fmla="*/ 1160864 w 1885653"/>
                <a:gd name="connsiteY143" fmla="*/ 762053 h 828110"/>
                <a:gd name="connsiteX144" fmla="*/ 1184203 w 1885653"/>
                <a:gd name="connsiteY144" fmla="*/ 758109 h 828110"/>
                <a:gd name="connsiteX145" fmla="*/ 1196989 w 1885653"/>
                <a:gd name="connsiteY145" fmla="*/ 758811 h 828110"/>
                <a:gd name="connsiteX146" fmla="*/ 1204335 w 1885653"/>
                <a:gd name="connsiteY146" fmla="*/ 748784 h 828110"/>
                <a:gd name="connsiteX147" fmla="*/ 1210871 w 1885653"/>
                <a:gd name="connsiteY147" fmla="*/ 745442 h 828110"/>
                <a:gd name="connsiteX148" fmla="*/ 1213956 w 1885653"/>
                <a:gd name="connsiteY148" fmla="*/ 739225 h 828110"/>
                <a:gd name="connsiteX149" fmla="*/ 1246753 w 1885653"/>
                <a:gd name="connsiteY149" fmla="*/ 739559 h 828110"/>
                <a:gd name="connsiteX150" fmla="*/ 1258483 w 1885653"/>
                <a:gd name="connsiteY150" fmla="*/ 734546 h 828110"/>
                <a:gd name="connsiteX151" fmla="*/ 1278452 w 1885653"/>
                <a:gd name="connsiteY151" fmla="*/ 735147 h 828110"/>
                <a:gd name="connsiteX152" fmla="*/ 1287423 w 1885653"/>
                <a:gd name="connsiteY152" fmla="*/ 725488 h 828110"/>
                <a:gd name="connsiteX153" fmla="*/ 1296312 w 1885653"/>
                <a:gd name="connsiteY153" fmla="*/ 722948 h 828110"/>
                <a:gd name="connsiteX154" fmla="*/ 1297083 w 1885653"/>
                <a:gd name="connsiteY154" fmla="*/ 717533 h 828110"/>
                <a:gd name="connsiteX155" fmla="*/ 1317053 w 1885653"/>
                <a:gd name="connsiteY155" fmla="*/ 717533 h 828110"/>
                <a:gd name="connsiteX156" fmla="*/ 1302806 w 1885653"/>
                <a:gd name="connsiteY156" fmla="*/ 710548 h 828110"/>
                <a:gd name="connsiteX157" fmla="*/ 1291563 w 1885653"/>
                <a:gd name="connsiteY157" fmla="*/ 700888 h 828110"/>
                <a:gd name="connsiteX158" fmla="*/ 1278169 w 1885653"/>
                <a:gd name="connsiteY158" fmla="*/ 696443 h 828110"/>
                <a:gd name="connsiteX159" fmla="*/ 1292254 w 1885653"/>
                <a:gd name="connsiteY159" fmla="*/ 695306 h 828110"/>
                <a:gd name="connsiteX160" fmla="*/ 1310031 w 1885653"/>
                <a:gd name="connsiteY160" fmla="*/ 686951 h 828110"/>
                <a:gd name="connsiteX161" fmla="*/ 1294688 w 1885653"/>
                <a:gd name="connsiteY161" fmla="*/ 674082 h 828110"/>
                <a:gd name="connsiteX162" fmla="*/ 1281619 w 1885653"/>
                <a:gd name="connsiteY162" fmla="*/ 660713 h 828110"/>
                <a:gd name="connsiteX163" fmla="*/ 1320219 w 1885653"/>
                <a:gd name="connsiteY163" fmla="*/ 671342 h 828110"/>
                <a:gd name="connsiteX164" fmla="*/ 1308042 w 1885653"/>
                <a:gd name="connsiteY164" fmla="*/ 650352 h 828110"/>
                <a:gd name="connsiteX165" fmla="*/ 1303131 w 1885653"/>
                <a:gd name="connsiteY165" fmla="*/ 626955 h 828110"/>
                <a:gd name="connsiteX166" fmla="*/ 1288681 w 1885653"/>
                <a:gd name="connsiteY166" fmla="*/ 605664 h 828110"/>
                <a:gd name="connsiteX167" fmla="*/ 1291928 w 1885653"/>
                <a:gd name="connsiteY167" fmla="*/ 591025 h 828110"/>
                <a:gd name="connsiteX168" fmla="*/ 1311939 w 1885653"/>
                <a:gd name="connsiteY168" fmla="*/ 591392 h 828110"/>
                <a:gd name="connsiteX169" fmla="*/ 1320707 w 1885653"/>
                <a:gd name="connsiteY169" fmla="*/ 587749 h 828110"/>
                <a:gd name="connsiteX170" fmla="*/ 1332071 w 1885653"/>
                <a:gd name="connsiteY170" fmla="*/ 591092 h 828110"/>
                <a:gd name="connsiteX171" fmla="*/ 1353301 w 1885653"/>
                <a:gd name="connsiteY171" fmla="*/ 589354 h 828110"/>
                <a:gd name="connsiteX172" fmla="*/ 1401683 w 1885653"/>
                <a:gd name="connsiteY172" fmla="*/ 594568 h 828110"/>
                <a:gd name="connsiteX173" fmla="*/ 1376030 w 1885653"/>
                <a:gd name="connsiteY173" fmla="*/ 578357 h 828110"/>
                <a:gd name="connsiteX174" fmla="*/ 1350459 w 1885653"/>
                <a:gd name="connsiteY174" fmla="*/ 561813 h 828110"/>
                <a:gd name="connsiteX175" fmla="*/ 1303902 w 1885653"/>
                <a:gd name="connsiteY175" fmla="*/ 545870 h 828110"/>
                <a:gd name="connsiteX176" fmla="*/ 1272081 w 1885653"/>
                <a:gd name="connsiteY176" fmla="*/ 514585 h 828110"/>
                <a:gd name="connsiteX177" fmla="*/ 1314902 w 1885653"/>
                <a:gd name="connsiteY177" fmla="*/ 517627 h 828110"/>
                <a:gd name="connsiteX178" fmla="*/ 1343843 w 1885653"/>
                <a:gd name="connsiteY178" fmla="*/ 513482 h 828110"/>
                <a:gd name="connsiteX179" fmla="*/ 1388492 w 1885653"/>
                <a:gd name="connsiteY179" fmla="*/ 515955 h 828110"/>
                <a:gd name="connsiteX180" fmla="*/ 1412846 w 1885653"/>
                <a:gd name="connsiteY180" fmla="*/ 537647 h 828110"/>
                <a:gd name="connsiteX181" fmla="*/ 1390237 w 1885653"/>
                <a:gd name="connsiteY181" fmla="*/ 546271 h 828110"/>
                <a:gd name="connsiteX182" fmla="*/ 1394296 w 1885653"/>
                <a:gd name="connsiteY182" fmla="*/ 557267 h 828110"/>
                <a:gd name="connsiteX183" fmla="*/ 1449701 w 1885653"/>
                <a:gd name="connsiteY183" fmla="*/ 562548 h 828110"/>
                <a:gd name="connsiteX184" fmla="*/ 1474055 w 1885653"/>
                <a:gd name="connsiteY184" fmla="*/ 567294 h 828110"/>
                <a:gd name="connsiteX185" fmla="*/ 1493619 w 1885653"/>
                <a:gd name="connsiteY185" fmla="*/ 567294 h 828110"/>
                <a:gd name="connsiteX186" fmla="*/ 1562621 w 1885653"/>
                <a:gd name="connsiteY186" fmla="*/ 574179 h 828110"/>
                <a:gd name="connsiteX187" fmla="*/ 1589736 w 1885653"/>
                <a:gd name="connsiteY187" fmla="*/ 578324 h 828110"/>
                <a:gd name="connsiteX188" fmla="*/ 1619488 w 1885653"/>
                <a:gd name="connsiteY188" fmla="*/ 593164 h 828110"/>
                <a:gd name="connsiteX189" fmla="*/ 1634628 w 1885653"/>
                <a:gd name="connsiteY189" fmla="*/ 589654 h 828110"/>
                <a:gd name="connsiteX190" fmla="*/ 1663974 w 1885653"/>
                <a:gd name="connsiteY190" fmla="*/ 592128 h 828110"/>
                <a:gd name="connsiteX191" fmla="*/ 1689221 w 1885653"/>
                <a:gd name="connsiteY191" fmla="*/ 590289 h 828110"/>
                <a:gd name="connsiteX192" fmla="*/ 1727010 w 1885653"/>
                <a:gd name="connsiteY192" fmla="*/ 599414 h 828110"/>
                <a:gd name="connsiteX193" fmla="*/ 1736954 w 1885653"/>
                <a:gd name="connsiteY193" fmla="*/ 577020 h 828110"/>
                <a:gd name="connsiteX194" fmla="*/ 1767113 w 1885653"/>
                <a:gd name="connsiteY194" fmla="*/ 572775 h 828110"/>
                <a:gd name="connsiteX195" fmla="*/ 1798894 w 1885653"/>
                <a:gd name="connsiteY195" fmla="*/ 589487 h 828110"/>
                <a:gd name="connsiteX196" fmla="*/ 1831123 w 1885653"/>
                <a:gd name="connsiteY196" fmla="*/ 583337 h 828110"/>
                <a:gd name="connsiteX197" fmla="*/ 1866233 w 1885653"/>
                <a:gd name="connsiteY197" fmla="*/ 571773 h 828110"/>
                <a:gd name="connsiteX198" fmla="*/ 1880642 w 1885653"/>
                <a:gd name="connsiteY198" fmla="*/ 569868 h 828110"/>
                <a:gd name="connsiteX199" fmla="*/ 1883199 w 1885653"/>
                <a:gd name="connsiteY199" fmla="*/ 558203 h 828110"/>
                <a:gd name="connsiteX200" fmla="*/ 1197476 w 1885653"/>
                <a:gd name="connsiteY200" fmla="*/ 795577 h 828110"/>
                <a:gd name="connsiteX201" fmla="*/ 1196218 w 1885653"/>
                <a:gd name="connsiteY201" fmla="*/ 827764 h 828110"/>
                <a:gd name="connsiteX202" fmla="*/ 1236807 w 1885653"/>
                <a:gd name="connsiteY202" fmla="*/ 812690 h 828110"/>
                <a:gd name="connsiteX203" fmla="*/ 1258158 w 1885653"/>
                <a:gd name="connsiteY203" fmla="*/ 793037 h 828110"/>
                <a:gd name="connsiteX204" fmla="*/ 1197517 w 1885653"/>
                <a:gd name="connsiteY204" fmla="*/ 795577 h 828110"/>
                <a:gd name="connsiteX205" fmla="*/ 869795 w 1885653"/>
                <a:gd name="connsiteY205" fmla="*/ 744004 h 828110"/>
                <a:gd name="connsiteX206" fmla="*/ 862489 w 1885653"/>
                <a:gd name="connsiteY206" fmla="*/ 772582 h 828110"/>
                <a:gd name="connsiteX207" fmla="*/ 894960 w 1885653"/>
                <a:gd name="connsiteY207" fmla="*/ 763591 h 828110"/>
                <a:gd name="connsiteX208" fmla="*/ 869795 w 1885653"/>
                <a:gd name="connsiteY208" fmla="*/ 744004 h 82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885653" h="828110">
                  <a:moveTo>
                    <a:pt x="1884214" y="558738"/>
                  </a:moveTo>
                  <a:cubicBezTo>
                    <a:pt x="1892332" y="549145"/>
                    <a:pt x="1862377" y="545101"/>
                    <a:pt x="1853407" y="541491"/>
                  </a:cubicBezTo>
                  <a:cubicBezTo>
                    <a:pt x="1839931" y="536010"/>
                    <a:pt x="1837739" y="537881"/>
                    <a:pt x="1825928" y="536912"/>
                  </a:cubicBezTo>
                  <a:cubicBezTo>
                    <a:pt x="1818621" y="536310"/>
                    <a:pt x="1803319" y="527754"/>
                    <a:pt x="1796541" y="524412"/>
                  </a:cubicBezTo>
                  <a:cubicBezTo>
                    <a:pt x="1777666" y="515220"/>
                    <a:pt x="1772673" y="501550"/>
                    <a:pt x="1780994" y="492693"/>
                  </a:cubicBezTo>
                  <a:cubicBezTo>
                    <a:pt x="1784282" y="489350"/>
                    <a:pt x="1750511" y="461141"/>
                    <a:pt x="1742597" y="457063"/>
                  </a:cubicBezTo>
                  <a:cubicBezTo>
                    <a:pt x="1734682" y="452985"/>
                    <a:pt x="1707243" y="435405"/>
                    <a:pt x="1704889" y="430324"/>
                  </a:cubicBezTo>
                  <a:cubicBezTo>
                    <a:pt x="1702534" y="425244"/>
                    <a:pt x="1710044" y="423639"/>
                    <a:pt x="1709435" y="419194"/>
                  </a:cubicBezTo>
                  <a:cubicBezTo>
                    <a:pt x="1708541" y="412509"/>
                    <a:pt x="1704685" y="405290"/>
                    <a:pt x="1705376" y="399140"/>
                  </a:cubicBezTo>
                  <a:cubicBezTo>
                    <a:pt x="1705863" y="395463"/>
                    <a:pt x="1702453" y="391218"/>
                    <a:pt x="1700667" y="387241"/>
                  </a:cubicBezTo>
                  <a:cubicBezTo>
                    <a:pt x="1697014" y="379153"/>
                    <a:pt x="1701885" y="373136"/>
                    <a:pt x="1698922" y="365315"/>
                  </a:cubicBezTo>
                  <a:cubicBezTo>
                    <a:pt x="1697826" y="362374"/>
                    <a:pt x="1691656" y="357528"/>
                    <a:pt x="1692671" y="355021"/>
                  </a:cubicBezTo>
                  <a:cubicBezTo>
                    <a:pt x="1694944" y="349339"/>
                    <a:pt x="1694822" y="347501"/>
                    <a:pt x="1687354" y="340248"/>
                  </a:cubicBezTo>
                  <a:cubicBezTo>
                    <a:pt x="1663447" y="316851"/>
                    <a:pt x="1620056" y="293889"/>
                    <a:pt x="1581212" y="281690"/>
                  </a:cubicBezTo>
                  <a:cubicBezTo>
                    <a:pt x="1567898" y="277512"/>
                    <a:pt x="1554991" y="270192"/>
                    <a:pt x="1541393" y="268320"/>
                  </a:cubicBezTo>
                  <a:cubicBezTo>
                    <a:pt x="1535711" y="267518"/>
                    <a:pt x="1514361" y="267685"/>
                    <a:pt x="1517932" y="273467"/>
                  </a:cubicBezTo>
                  <a:cubicBezTo>
                    <a:pt x="1520652" y="277946"/>
                    <a:pt x="1528120" y="276810"/>
                    <a:pt x="1528851" y="282826"/>
                  </a:cubicBezTo>
                  <a:cubicBezTo>
                    <a:pt x="1530637" y="296997"/>
                    <a:pt x="1518298" y="292184"/>
                    <a:pt x="1502751" y="294691"/>
                  </a:cubicBezTo>
                  <a:cubicBezTo>
                    <a:pt x="1488667" y="297542"/>
                    <a:pt x="1475110" y="301937"/>
                    <a:pt x="1462446" y="307760"/>
                  </a:cubicBezTo>
                  <a:cubicBezTo>
                    <a:pt x="1455424" y="310701"/>
                    <a:pt x="1455302" y="316884"/>
                    <a:pt x="1440933" y="312305"/>
                  </a:cubicBezTo>
                  <a:cubicBezTo>
                    <a:pt x="1431719" y="309364"/>
                    <a:pt x="1420638" y="309966"/>
                    <a:pt x="1411871" y="308963"/>
                  </a:cubicBezTo>
                  <a:cubicBezTo>
                    <a:pt x="1392997" y="306991"/>
                    <a:pt x="1386625" y="294959"/>
                    <a:pt x="1375341" y="287305"/>
                  </a:cubicBezTo>
                  <a:cubicBezTo>
                    <a:pt x="1363813" y="291760"/>
                    <a:pt x="1352326" y="296219"/>
                    <a:pt x="1340839" y="300674"/>
                  </a:cubicBezTo>
                  <a:cubicBezTo>
                    <a:pt x="1337470" y="302085"/>
                    <a:pt x="1334670" y="304237"/>
                    <a:pt x="1332721" y="306891"/>
                  </a:cubicBezTo>
                  <a:cubicBezTo>
                    <a:pt x="1329921" y="309932"/>
                    <a:pt x="1318961" y="307091"/>
                    <a:pt x="1319733" y="311704"/>
                  </a:cubicBezTo>
                  <a:cubicBezTo>
                    <a:pt x="1321356" y="321062"/>
                    <a:pt x="1333249" y="323135"/>
                    <a:pt x="1344655" y="326377"/>
                  </a:cubicBezTo>
                  <a:cubicBezTo>
                    <a:pt x="1358617" y="330388"/>
                    <a:pt x="1363367" y="337340"/>
                    <a:pt x="1374772" y="342587"/>
                  </a:cubicBezTo>
                  <a:cubicBezTo>
                    <a:pt x="1381551" y="345696"/>
                    <a:pt x="1389871" y="339044"/>
                    <a:pt x="1401318" y="344626"/>
                  </a:cubicBezTo>
                  <a:cubicBezTo>
                    <a:pt x="1411709" y="349706"/>
                    <a:pt x="1419705" y="363711"/>
                    <a:pt x="1425672" y="370563"/>
                  </a:cubicBezTo>
                  <a:cubicBezTo>
                    <a:pt x="1429244" y="374641"/>
                    <a:pt x="1440366" y="385236"/>
                    <a:pt x="1436307" y="388645"/>
                  </a:cubicBezTo>
                  <a:cubicBezTo>
                    <a:pt x="1430259" y="393725"/>
                    <a:pt x="1410735" y="381960"/>
                    <a:pt x="1404443" y="378050"/>
                  </a:cubicBezTo>
                  <a:cubicBezTo>
                    <a:pt x="1392673" y="370496"/>
                    <a:pt x="1376559" y="371666"/>
                    <a:pt x="1363650" y="366519"/>
                  </a:cubicBezTo>
                  <a:cubicBezTo>
                    <a:pt x="1344736" y="358931"/>
                    <a:pt x="1325131" y="357828"/>
                    <a:pt x="1310884" y="362374"/>
                  </a:cubicBezTo>
                  <a:cubicBezTo>
                    <a:pt x="1299154" y="366084"/>
                    <a:pt x="1289533" y="362574"/>
                    <a:pt x="1274800" y="357695"/>
                  </a:cubicBezTo>
                  <a:cubicBezTo>
                    <a:pt x="1258564" y="352280"/>
                    <a:pt x="1246102" y="353450"/>
                    <a:pt x="1230151" y="351010"/>
                  </a:cubicBezTo>
                  <a:cubicBezTo>
                    <a:pt x="1215498" y="348794"/>
                    <a:pt x="1201860" y="343420"/>
                    <a:pt x="1190576" y="335435"/>
                  </a:cubicBezTo>
                  <a:cubicBezTo>
                    <a:pt x="1180754" y="328148"/>
                    <a:pt x="1162163" y="323569"/>
                    <a:pt x="1155953" y="330622"/>
                  </a:cubicBezTo>
                  <a:cubicBezTo>
                    <a:pt x="1151488" y="335735"/>
                    <a:pt x="1161879" y="343991"/>
                    <a:pt x="1157130" y="349439"/>
                  </a:cubicBezTo>
                  <a:cubicBezTo>
                    <a:pt x="1152381" y="354887"/>
                    <a:pt x="1136835" y="350843"/>
                    <a:pt x="1127052" y="350275"/>
                  </a:cubicBezTo>
                  <a:cubicBezTo>
                    <a:pt x="1111467" y="349339"/>
                    <a:pt x="1099493" y="352948"/>
                    <a:pt x="1083094" y="351010"/>
                  </a:cubicBezTo>
                  <a:cubicBezTo>
                    <a:pt x="1068319" y="349098"/>
                    <a:pt x="1054194" y="344780"/>
                    <a:pt x="1041490" y="338309"/>
                  </a:cubicBezTo>
                  <a:cubicBezTo>
                    <a:pt x="1006542" y="321898"/>
                    <a:pt x="979509" y="319425"/>
                    <a:pt x="943871" y="318790"/>
                  </a:cubicBezTo>
                  <a:cubicBezTo>
                    <a:pt x="933277" y="318589"/>
                    <a:pt x="923861" y="318155"/>
                    <a:pt x="917691" y="310467"/>
                  </a:cubicBezTo>
                  <a:cubicBezTo>
                    <a:pt x="910344" y="301242"/>
                    <a:pt x="891754" y="299304"/>
                    <a:pt x="880430" y="291215"/>
                  </a:cubicBezTo>
                  <a:cubicBezTo>
                    <a:pt x="870972" y="284530"/>
                    <a:pt x="860378" y="283127"/>
                    <a:pt x="850718" y="277111"/>
                  </a:cubicBezTo>
                  <a:cubicBezTo>
                    <a:pt x="838216" y="269356"/>
                    <a:pt x="830423" y="262805"/>
                    <a:pt x="815080" y="256789"/>
                  </a:cubicBezTo>
                  <a:cubicBezTo>
                    <a:pt x="791092" y="247464"/>
                    <a:pt x="766779" y="239476"/>
                    <a:pt x="742018" y="231487"/>
                  </a:cubicBezTo>
                  <a:cubicBezTo>
                    <a:pt x="725133" y="225972"/>
                    <a:pt x="687871" y="218118"/>
                    <a:pt x="682270" y="207523"/>
                  </a:cubicBezTo>
                  <a:cubicBezTo>
                    <a:pt x="677927" y="199762"/>
                    <a:pt x="674598" y="191636"/>
                    <a:pt x="672367" y="183290"/>
                  </a:cubicBezTo>
                  <a:cubicBezTo>
                    <a:pt x="669565" y="172762"/>
                    <a:pt x="653898" y="169687"/>
                    <a:pt x="646673" y="160696"/>
                  </a:cubicBezTo>
                  <a:cubicBezTo>
                    <a:pt x="633968" y="144887"/>
                    <a:pt x="612497" y="138737"/>
                    <a:pt x="588752" y="129378"/>
                  </a:cubicBezTo>
                  <a:cubicBezTo>
                    <a:pt x="577671" y="125000"/>
                    <a:pt x="562531" y="119351"/>
                    <a:pt x="554981" y="112666"/>
                  </a:cubicBezTo>
                  <a:cubicBezTo>
                    <a:pt x="548446" y="106817"/>
                    <a:pt x="567157" y="97057"/>
                    <a:pt x="571582" y="92612"/>
                  </a:cubicBezTo>
                  <a:cubicBezTo>
                    <a:pt x="580715" y="83387"/>
                    <a:pt x="562043" y="77371"/>
                    <a:pt x="563464" y="66943"/>
                  </a:cubicBezTo>
                  <a:cubicBezTo>
                    <a:pt x="564763" y="57718"/>
                    <a:pt x="545604" y="50799"/>
                    <a:pt x="534362" y="45184"/>
                  </a:cubicBezTo>
                  <a:cubicBezTo>
                    <a:pt x="522793" y="38881"/>
                    <a:pt x="512564" y="31106"/>
                    <a:pt x="503960" y="22155"/>
                  </a:cubicBezTo>
                  <a:cubicBezTo>
                    <a:pt x="499901" y="17576"/>
                    <a:pt x="500591" y="13231"/>
                    <a:pt x="499901" y="8786"/>
                  </a:cubicBezTo>
                  <a:cubicBezTo>
                    <a:pt x="492837" y="6379"/>
                    <a:pt x="485248" y="3973"/>
                    <a:pt x="481107" y="-339"/>
                  </a:cubicBezTo>
                  <a:cubicBezTo>
                    <a:pt x="477536" y="2803"/>
                    <a:pt x="467550" y="3004"/>
                    <a:pt x="465967" y="7081"/>
                  </a:cubicBezTo>
                  <a:cubicBezTo>
                    <a:pt x="463045" y="14234"/>
                    <a:pt x="455332" y="12797"/>
                    <a:pt x="443684" y="11293"/>
                  </a:cubicBezTo>
                  <a:cubicBezTo>
                    <a:pt x="432725" y="9855"/>
                    <a:pt x="425825" y="14000"/>
                    <a:pt x="423389" y="19013"/>
                  </a:cubicBezTo>
                  <a:cubicBezTo>
                    <a:pt x="421644" y="22356"/>
                    <a:pt x="427732" y="31113"/>
                    <a:pt x="422699" y="33152"/>
                  </a:cubicBezTo>
                  <a:cubicBezTo>
                    <a:pt x="408290" y="39068"/>
                    <a:pt x="386168" y="28539"/>
                    <a:pt x="370541" y="24261"/>
                  </a:cubicBezTo>
                  <a:cubicBezTo>
                    <a:pt x="365873" y="22957"/>
                    <a:pt x="348542" y="13398"/>
                    <a:pt x="345132" y="14234"/>
                  </a:cubicBezTo>
                  <a:cubicBezTo>
                    <a:pt x="339531" y="15404"/>
                    <a:pt x="334659" y="22022"/>
                    <a:pt x="331007" y="24528"/>
                  </a:cubicBezTo>
                  <a:cubicBezTo>
                    <a:pt x="327354" y="27035"/>
                    <a:pt x="305313" y="38399"/>
                    <a:pt x="310346" y="42744"/>
                  </a:cubicBezTo>
                  <a:cubicBezTo>
                    <a:pt x="319601" y="50799"/>
                    <a:pt x="310022" y="51635"/>
                    <a:pt x="298778" y="47892"/>
                  </a:cubicBezTo>
                  <a:cubicBezTo>
                    <a:pt x="285262" y="43446"/>
                    <a:pt x="285140" y="39870"/>
                    <a:pt x="269837" y="39034"/>
                  </a:cubicBezTo>
                  <a:cubicBezTo>
                    <a:pt x="257093" y="38299"/>
                    <a:pt x="232292" y="31313"/>
                    <a:pt x="238178" y="41775"/>
                  </a:cubicBezTo>
                  <a:cubicBezTo>
                    <a:pt x="241385" y="47490"/>
                    <a:pt x="235824" y="51802"/>
                    <a:pt x="237244" y="57116"/>
                  </a:cubicBezTo>
                  <a:cubicBezTo>
                    <a:pt x="238665" y="62431"/>
                    <a:pt x="244022" y="68748"/>
                    <a:pt x="243739" y="74229"/>
                  </a:cubicBezTo>
                  <a:cubicBezTo>
                    <a:pt x="243495" y="78207"/>
                    <a:pt x="233591" y="78875"/>
                    <a:pt x="228761" y="80246"/>
                  </a:cubicBezTo>
                  <a:cubicBezTo>
                    <a:pt x="221211" y="82351"/>
                    <a:pt x="223038" y="94083"/>
                    <a:pt x="215935" y="93916"/>
                  </a:cubicBezTo>
                  <a:cubicBezTo>
                    <a:pt x="196533" y="93481"/>
                    <a:pt x="169703" y="91810"/>
                    <a:pt x="155618" y="97559"/>
                  </a:cubicBezTo>
                  <a:cubicBezTo>
                    <a:pt x="139382" y="104244"/>
                    <a:pt x="119859" y="88902"/>
                    <a:pt x="102405" y="94685"/>
                  </a:cubicBezTo>
                  <a:cubicBezTo>
                    <a:pt x="95342" y="97057"/>
                    <a:pt x="89092" y="95654"/>
                    <a:pt x="81663" y="96857"/>
                  </a:cubicBezTo>
                  <a:cubicBezTo>
                    <a:pt x="71475" y="98562"/>
                    <a:pt x="67863" y="88133"/>
                    <a:pt x="57310" y="88100"/>
                  </a:cubicBezTo>
                  <a:cubicBezTo>
                    <a:pt x="48745" y="87729"/>
                    <a:pt x="40140" y="88190"/>
                    <a:pt x="31698" y="89470"/>
                  </a:cubicBezTo>
                  <a:cubicBezTo>
                    <a:pt x="16517" y="92378"/>
                    <a:pt x="15827" y="86763"/>
                    <a:pt x="7059" y="95253"/>
                  </a:cubicBezTo>
                  <a:cubicBezTo>
                    <a:pt x="2595" y="99598"/>
                    <a:pt x="-3169" y="107085"/>
                    <a:pt x="1945" y="113703"/>
                  </a:cubicBezTo>
                  <a:cubicBezTo>
                    <a:pt x="6329" y="119385"/>
                    <a:pt x="29587" y="123028"/>
                    <a:pt x="28735" y="130982"/>
                  </a:cubicBezTo>
                  <a:cubicBezTo>
                    <a:pt x="28491" y="133556"/>
                    <a:pt x="27801" y="154379"/>
                    <a:pt x="26380" y="154379"/>
                  </a:cubicBezTo>
                  <a:cubicBezTo>
                    <a:pt x="33646" y="159927"/>
                    <a:pt x="43509" y="165375"/>
                    <a:pt x="49192" y="171458"/>
                  </a:cubicBezTo>
                  <a:cubicBezTo>
                    <a:pt x="53251" y="176004"/>
                    <a:pt x="49192" y="180249"/>
                    <a:pt x="55848" y="185530"/>
                  </a:cubicBezTo>
                  <a:cubicBezTo>
                    <a:pt x="64453" y="191479"/>
                    <a:pt x="73992" y="196396"/>
                    <a:pt x="84261" y="200136"/>
                  </a:cubicBezTo>
                  <a:cubicBezTo>
                    <a:pt x="93678" y="203177"/>
                    <a:pt x="96032" y="200738"/>
                    <a:pt x="102161" y="207155"/>
                  </a:cubicBezTo>
                  <a:cubicBezTo>
                    <a:pt x="118884" y="191379"/>
                    <a:pt x="182326" y="218953"/>
                    <a:pt x="169540" y="229114"/>
                  </a:cubicBezTo>
                  <a:cubicBezTo>
                    <a:pt x="159880" y="235648"/>
                    <a:pt x="148190" y="239816"/>
                    <a:pt x="135770" y="241147"/>
                  </a:cubicBezTo>
                  <a:cubicBezTo>
                    <a:pt x="126597" y="242049"/>
                    <a:pt x="121198" y="236133"/>
                    <a:pt x="116692" y="241782"/>
                  </a:cubicBezTo>
                  <a:cubicBezTo>
                    <a:pt x="112633" y="246728"/>
                    <a:pt x="119980" y="252578"/>
                    <a:pt x="123877" y="257992"/>
                  </a:cubicBezTo>
                  <a:cubicBezTo>
                    <a:pt x="126759" y="262036"/>
                    <a:pt x="130006" y="267652"/>
                    <a:pt x="120711" y="268019"/>
                  </a:cubicBezTo>
                  <a:cubicBezTo>
                    <a:pt x="111416" y="268387"/>
                    <a:pt x="110036" y="263307"/>
                    <a:pt x="102770" y="261702"/>
                  </a:cubicBezTo>
                  <a:cubicBezTo>
                    <a:pt x="92947" y="259496"/>
                    <a:pt x="97250" y="279951"/>
                    <a:pt x="100091" y="282926"/>
                  </a:cubicBezTo>
                  <a:cubicBezTo>
                    <a:pt x="104922" y="287873"/>
                    <a:pt x="157282" y="319692"/>
                    <a:pt x="148149" y="324405"/>
                  </a:cubicBezTo>
                  <a:cubicBezTo>
                    <a:pt x="157648" y="326243"/>
                    <a:pt x="167064" y="324104"/>
                    <a:pt x="174411" y="325875"/>
                  </a:cubicBezTo>
                  <a:cubicBezTo>
                    <a:pt x="185898" y="328650"/>
                    <a:pt x="191702" y="336170"/>
                    <a:pt x="198765" y="341752"/>
                  </a:cubicBezTo>
                  <a:cubicBezTo>
                    <a:pt x="215001" y="354620"/>
                    <a:pt x="231683" y="368791"/>
                    <a:pt x="249908" y="380824"/>
                  </a:cubicBezTo>
                  <a:cubicBezTo>
                    <a:pt x="269473" y="393792"/>
                    <a:pt x="292365" y="401680"/>
                    <a:pt x="315096" y="411707"/>
                  </a:cubicBezTo>
                  <a:cubicBezTo>
                    <a:pt x="322036" y="414391"/>
                    <a:pt x="329140" y="416757"/>
                    <a:pt x="336405" y="418793"/>
                  </a:cubicBezTo>
                  <a:cubicBezTo>
                    <a:pt x="341154" y="417657"/>
                    <a:pt x="346065" y="417115"/>
                    <a:pt x="350976" y="417189"/>
                  </a:cubicBezTo>
                  <a:cubicBezTo>
                    <a:pt x="360881" y="419963"/>
                    <a:pt x="350976" y="432296"/>
                    <a:pt x="352072" y="435873"/>
                  </a:cubicBezTo>
                  <a:cubicBezTo>
                    <a:pt x="362911" y="431728"/>
                    <a:pt x="366929" y="426681"/>
                    <a:pt x="382109" y="426982"/>
                  </a:cubicBezTo>
                  <a:cubicBezTo>
                    <a:pt x="398669" y="427349"/>
                    <a:pt x="399238" y="432329"/>
                    <a:pt x="413769" y="438078"/>
                  </a:cubicBezTo>
                  <a:cubicBezTo>
                    <a:pt x="425621" y="442791"/>
                    <a:pt x="432440" y="441955"/>
                    <a:pt x="441005" y="450746"/>
                  </a:cubicBezTo>
                  <a:cubicBezTo>
                    <a:pt x="458256" y="451481"/>
                    <a:pt x="463491" y="448206"/>
                    <a:pt x="478104" y="445231"/>
                  </a:cubicBezTo>
                  <a:cubicBezTo>
                    <a:pt x="481392" y="444563"/>
                    <a:pt x="487399" y="447203"/>
                    <a:pt x="491458" y="446702"/>
                  </a:cubicBezTo>
                  <a:cubicBezTo>
                    <a:pt x="498399" y="445602"/>
                    <a:pt x="505380" y="444954"/>
                    <a:pt x="512443" y="444763"/>
                  </a:cubicBezTo>
                  <a:cubicBezTo>
                    <a:pt x="524294" y="444763"/>
                    <a:pt x="537892" y="455826"/>
                    <a:pt x="547269" y="454790"/>
                  </a:cubicBezTo>
                  <a:cubicBezTo>
                    <a:pt x="564195" y="452685"/>
                    <a:pt x="563220" y="460606"/>
                    <a:pt x="567928" y="468728"/>
                  </a:cubicBezTo>
                  <a:cubicBezTo>
                    <a:pt x="570324" y="472839"/>
                    <a:pt x="569918" y="475078"/>
                    <a:pt x="575844" y="478588"/>
                  </a:cubicBezTo>
                  <a:cubicBezTo>
                    <a:pt x="584205" y="483568"/>
                    <a:pt x="585545" y="480894"/>
                    <a:pt x="594556" y="483000"/>
                  </a:cubicBezTo>
                  <a:cubicBezTo>
                    <a:pt x="612699" y="487211"/>
                    <a:pt x="601984" y="494798"/>
                    <a:pt x="605231" y="501349"/>
                  </a:cubicBezTo>
                  <a:cubicBezTo>
                    <a:pt x="608721" y="508468"/>
                    <a:pt x="621467" y="505561"/>
                    <a:pt x="616677" y="515487"/>
                  </a:cubicBezTo>
                  <a:cubicBezTo>
                    <a:pt x="612943" y="523476"/>
                    <a:pt x="613349" y="533770"/>
                    <a:pt x="598736" y="536511"/>
                  </a:cubicBezTo>
                  <a:cubicBezTo>
                    <a:pt x="587169" y="538683"/>
                    <a:pt x="570608" y="542627"/>
                    <a:pt x="565372" y="549546"/>
                  </a:cubicBezTo>
                  <a:cubicBezTo>
                    <a:pt x="552221" y="566859"/>
                    <a:pt x="585179" y="556498"/>
                    <a:pt x="591471" y="570570"/>
                  </a:cubicBezTo>
                  <a:cubicBezTo>
                    <a:pt x="593622" y="575383"/>
                    <a:pt x="583353" y="578625"/>
                    <a:pt x="590293" y="585543"/>
                  </a:cubicBezTo>
                  <a:cubicBezTo>
                    <a:pt x="593378" y="588585"/>
                    <a:pt x="599346" y="589287"/>
                    <a:pt x="602024" y="592696"/>
                  </a:cubicBezTo>
                  <a:cubicBezTo>
                    <a:pt x="605718" y="597542"/>
                    <a:pt x="596666" y="600718"/>
                    <a:pt x="594191" y="603826"/>
                  </a:cubicBezTo>
                  <a:cubicBezTo>
                    <a:pt x="588711" y="610511"/>
                    <a:pt x="615379" y="611279"/>
                    <a:pt x="609655" y="617998"/>
                  </a:cubicBezTo>
                  <a:cubicBezTo>
                    <a:pt x="602917" y="625852"/>
                    <a:pt x="623334" y="628827"/>
                    <a:pt x="631615" y="629529"/>
                  </a:cubicBezTo>
                  <a:cubicBezTo>
                    <a:pt x="642005" y="630364"/>
                    <a:pt x="640544" y="636581"/>
                    <a:pt x="644766" y="641060"/>
                  </a:cubicBezTo>
                  <a:cubicBezTo>
                    <a:pt x="653939" y="650786"/>
                    <a:pt x="657348" y="637149"/>
                    <a:pt x="656455" y="633406"/>
                  </a:cubicBezTo>
                  <a:cubicBezTo>
                    <a:pt x="656050" y="631634"/>
                    <a:pt x="660514" y="620672"/>
                    <a:pt x="664086" y="624950"/>
                  </a:cubicBezTo>
                  <a:cubicBezTo>
                    <a:pt x="669769" y="631935"/>
                    <a:pt x="685801" y="625284"/>
                    <a:pt x="693919" y="629596"/>
                  </a:cubicBezTo>
                  <a:cubicBezTo>
                    <a:pt x="704189" y="635044"/>
                    <a:pt x="709465" y="631868"/>
                    <a:pt x="719572" y="637818"/>
                  </a:cubicBezTo>
                  <a:cubicBezTo>
                    <a:pt x="723631" y="640091"/>
                    <a:pt x="747579" y="647845"/>
                    <a:pt x="751192" y="646341"/>
                  </a:cubicBezTo>
                  <a:cubicBezTo>
                    <a:pt x="774084" y="636648"/>
                    <a:pt x="778549" y="652691"/>
                    <a:pt x="797464" y="660947"/>
                  </a:cubicBezTo>
                  <a:cubicBezTo>
                    <a:pt x="811995" y="667297"/>
                    <a:pt x="803147" y="667632"/>
                    <a:pt x="800427" y="672979"/>
                  </a:cubicBezTo>
                  <a:cubicBezTo>
                    <a:pt x="798033" y="677592"/>
                    <a:pt x="813335" y="689156"/>
                    <a:pt x="818855" y="692733"/>
                  </a:cubicBezTo>
                  <a:cubicBezTo>
                    <a:pt x="825917" y="697379"/>
                    <a:pt x="830504" y="702125"/>
                    <a:pt x="841098" y="703395"/>
                  </a:cubicBezTo>
                  <a:cubicBezTo>
                    <a:pt x="846415" y="703996"/>
                    <a:pt x="846943" y="699819"/>
                    <a:pt x="853275" y="702659"/>
                  </a:cubicBezTo>
                  <a:cubicBezTo>
                    <a:pt x="859607" y="705501"/>
                    <a:pt x="858633" y="708475"/>
                    <a:pt x="861393" y="711751"/>
                  </a:cubicBezTo>
                  <a:cubicBezTo>
                    <a:pt x="867035" y="718001"/>
                    <a:pt x="882459" y="710748"/>
                    <a:pt x="883920" y="718435"/>
                  </a:cubicBezTo>
                  <a:cubicBezTo>
                    <a:pt x="885382" y="726123"/>
                    <a:pt x="871459" y="725120"/>
                    <a:pt x="875802" y="735147"/>
                  </a:cubicBezTo>
                  <a:cubicBezTo>
                    <a:pt x="880146" y="745174"/>
                    <a:pt x="888507" y="742668"/>
                    <a:pt x="889441" y="735481"/>
                  </a:cubicBezTo>
                  <a:cubicBezTo>
                    <a:pt x="890171" y="729499"/>
                    <a:pt x="912049" y="733309"/>
                    <a:pt x="918381" y="734178"/>
                  </a:cubicBezTo>
                  <a:cubicBezTo>
                    <a:pt x="936890" y="737236"/>
                    <a:pt x="955601" y="739469"/>
                    <a:pt x="974395" y="740863"/>
                  </a:cubicBezTo>
                  <a:cubicBezTo>
                    <a:pt x="979062" y="741063"/>
                    <a:pt x="997571" y="738490"/>
                    <a:pt x="1001265" y="739760"/>
                  </a:cubicBezTo>
                  <a:cubicBezTo>
                    <a:pt x="1009952" y="742701"/>
                    <a:pt x="1016445" y="750990"/>
                    <a:pt x="1026674" y="750689"/>
                  </a:cubicBezTo>
                  <a:cubicBezTo>
                    <a:pt x="1037836" y="750355"/>
                    <a:pt x="1053748" y="756772"/>
                    <a:pt x="1064626" y="760716"/>
                  </a:cubicBezTo>
                  <a:cubicBezTo>
                    <a:pt x="1081309" y="766565"/>
                    <a:pt x="1082851" y="764393"/>
                    <a:pt x="1098234" y="763791"/>
                  </a:cubicBezTo>
                  <a:cubicBezTo>
                    <a:pt x="1109396" y="763290"/>
                    <a:pt x="1129976" y="765730"/>
                    <a:pt x="1137850" y="762053"/>
                  </a:cubicBezTo>
                  <a:cubicBezTo>
                    <a:pt x="1145724" y="758377"/>
                    <a:pt x="1150554" y="762053"/>
                    <a:pt x="1160864" y="762053"/>
                  </a:cubicBezTo>
                  <a:cubicBezTo>
                    <a:pt x="1169469" y="761853"/>
                    <a:pt x="1176695" y="759112"/>
                    <a:pt x="1184203" y="758109"/>
                  </a:cubicBezTo>
                  <a:cubicBezTo>
                    <a:pt x="1188262" y="757575"/>
                    <a:pt x="1193011" y="759680"/>
                    <a:pt x="1196989" y="758811"/>
                  </a:cubicBezTo>
                  <a:cubicBezTo>
                    <a:pt x="1202550" y="757541"/>
                    <a:pt x="1200358" y="751191"/>
                    <a:pt x="1204335" y="748784"/>
                  </a:cubicBezTo>
                  <a:cubicBezTo>
                    <a:pt x="1207502" y="747013"/>
                    <a:pt x="1212453" y="750288"/>
                    <a:pt x="1210871" y="745442"/>
                  </a:cubicBezTo>
                  <a:cubicBezTo>
                    <a:pt x="1209653" y="741765"/>
                    <a:pt x="1205635" y="737554"/>
                    <a:pt x="1213956" y="739225"/>
                  </a:cubicBezTo>
                  <a:cubicBezTo>
                    <a:pt x="1226538" y="741765"/>
                    <a:pt x="1237863" y="744305"/>
                    <a:pt x="1246753" y="739559"/>
                  </a:cubicBezTo>
                  <a:cubicBezTo>
                    <a:pt x="1250812" y="737353"/>
                    <a:pt x="1252232" y="735047"/>
                    <a:pt x="1258483" y="734546"/>
                  </a:cubicBezTo>
                  <a:cubicBezTo>
                    <a:pt x="1264734" y="734044"/>
                    <a:pt x="1273582" y="736584"/>
                    <a:pt x="1278452" y="735147"/>
                  </a:cubicBezTo>
                  <a:cubicBezTo>
                    <a:pt x="1283243" y="733392"/>
                    <a:pt x="1286611" y="729753"/>
                    <a:pt x="1287423" y="725488"/>
                  </a:cubicBezTo>
                  <a:cubicBezTo>
                    <a:pt x="1288600" y="721009"/>
                    <a:pt x="1294202" y="724920"/>
                    <a:pt x="1296312" y="722948"/>
                  </a:cubicBezTo>
                  <a:cubicBezTo>
                    <a:pt x="1298423" y="720976"/>
                    <a:pt x="1292984" y="719305"/>
                    <a:pt x="1297083" y="717533"/>
                  </a:cubicBezTo>
                  <a:cubicBezTo>
                    <a:pt x="1301183" y="715762"/>
                    <a:pt x="1314415" y="719338"/>
                    <a:pt x="1317053" y="717533"/>
                  </a:cubicBezTo>
                  <a:cubicBezTo>
                    <a:pt x="1319692" y="715728"/>
                    <a:pt x="1304876" y="710514"/>
                    <a:pt x="1302806" y="710548"/>
                  </a:cubicBezTo>
                  <a:cubicBezTo>
                    <a:pt x="1296677" y="710548"/>
                    <a:pt x="1296109" y="702793"/>
                    <a:pt x="1291563" y="700888"/>
                  </a:cubicBezTo>
                  <a:cubicBezTo>
                    <a:pt x="1286246" y="698615"/>
                    <a:pt x="1283445" y="701423"/>
                    <a:pt x="1278169" y="696443"/>
                  </a:cubicBezTo>
                  <a:cubicBezTo>
                    <a:pt x="1271715" y="690092"/>
                    <a:pt x="1288437" y="694872"/>
                    <a:pt x="1292254" y="695306"/>
                  </a:cubicBezTo>
                  <a:cubicBezTo>
                    <a:pt x="1307312" y="697044"/>
                    <a:pt x="1326064" y="701256"/>
                    <a:pt x="1310031" y="686951"/>
                  </a:cubicBezTo>
                  <a:cubicBezTo>
                    <a:pt x="1304268" y="681803"/>
                    <a:pt x="1298625" y="680266"/>
                    <a:pt x="1294688" y="674082"/>
                  </a:cubicBezTo>
                  <a:cubicBezTo>
                    <a:pt x="1294039" y="673046"/>
                    <a:pt x="1281822" y="659777"/>
                    <a:pt x="1281619" y="660713"/>
                  </a:cubicBezTo>
                  <a:cubicBezTo>
                    <a:pt x="1282836" y="656000"/>
                    <a:pt x="1340352" y="699518"/>
                    <a:pt x="1320219" y="671342"/>
                  </a:cubicBezTo>
                  <a:cubicBezTo>
                    <a:pt x="1315917" y="665325"/>
                    <a:pt x="1303984" y="655499"/>
                    <a:pt x="1308042" y="650352"/>
                  </a:cubicBezTo>
                  <a:cubicBezTo>
                    <a:pt x="1312101" y="645204"/>
                    <a:pt x="1304227" y="633640"/>
                    <a:pt x="1303131" y="626955"/>
                  </a:cubicBezTo>
                  <a:cubicBezTo>
                    <a:pt x="1301588" y="617797"/>
                    <a:pt x="1299762" y="614154"/>
                    <a:pt x="1288681" y="605664"/>
                  </a:cubicBezTo>
                  <a:cubicBezTo>
                    <a:pt x="1279508" y="598612"/>
                    <a:pt x="1281862" y="593097"/>
                    <a:pt x="1291928" y="591025"/>
                  </a:cubicBezTo>
                  <a:cubicBezTo>
                    <a:pt x="1298261" y="589755"/>
                    <a:pt x="1305445" y="592027"/>
                    <a:pt x="1311939" y="591392"/>
                  </a:cubicBezTo>
                  <a:cubicBezTo>
                    <a:pt x="1315998" y="590958"/>
                    <a:pt x="1316972" y="588284"/>
                    <a:pt x="1320707" y="587749"/>
                  </a:cubicBezTo>
                  <a:cubicBezTo>
                    <a:pt x="1323182" y="587415"/>
                    <a:pt x="1328825" y="591092"/>
                    <a:pt x="1332071" y="591092"/>
                  </a:cubicBezTo>
                  <a:cubicBezTo>
                    <a:pt x="1340189" y="591559"/>
                    <a:pt x="1343802" y="586111"/>
                    <a:pt x="1353301" y="589354"/>
                  </a:cubicBezTo>
                  <a:cubicBezTo>
                    <a:pt x="1362798" y="592596"/>
                    <a:pt x="1406635" y="605430"/>
                    <a:pt x="1401683" y="594568"/>
                  </a:cubicBezTo>
                  <a:cubicBezTo>
                    <a:pt x="1397299" y="585042"/>
                    <a:pt x="1386340" y="584541"/>
                    <a:pt x="1376030" y="578357"/>
                  </a:cubicBezTo>
                  <a:cubicBezTo>
                    <a:pt x="1364219" y="571271"/>
                    <a:pt x="1366898" y="561378"/>
                    <a:pt x="1350459" y="561813"/>
                  </a:cubicBezTo>
                  <a:cubicBezTo>
                    <a:pt x="1337754" y="562147"/>
                    <a:pt x="1288519" y="565389"/>
                    <a:pt x="1303902" y="545870"/>
                  </a:cubicBezTo>
                  <a:cubicBezTo>
                    <a:pt x="1316485" y="529926"/>
                    <a:pt x="1264896" y="530194"/>
                    <a:pt x="1272081" y="514585"/>
                  </a:cubicBezTo>
                  <a:cubicBezTo>
                    <a:pt x="1279630" y="498107"/>
                    <a:pt x="1296028" y="512513"/>
                    <a:pt x="1314902" y="517627"/>
                  </a:cubicBezTo>
                  <a:cubicBezTo>
                    <a:pt x="1328703" y="521336"/>
                    <a:pt x="1330936" y="510674"/>
                    <a:pt x="1343843" y="513482"/>
                  </a:cubicBezTo>
                  <a:cubicBezTo>
                    <a:pt x="1362595" y="517593"/>
                    <a:pt x="1370835" y="516256"/>
                    <a:pt x="1388492" y="515955"/>
                  </a:cubicBezTo>
                  <a:cubicBezTo>
                    <a:pt x="1414550" y="515521"/>
                    <a:pt x="1446697" y="534405"/>
                    <a:pt x="1412846" y="537647"/>
                  </a:cubicBezTo>
                  <a:cubicBezTo>
                    <a:pt x="1402129" y="538683"/>
                    <a:pt x="1392022" y="538617"/>
                    <a:pt x="1390237" y="546271"/>
                  </a:cubicBezTo>
                  <a:cubicBezTo>
                    <a:pt x="1388978" y="551752"/>
                    <a:pt x="1367304" y="552955"/>
                    <a:pt x="1394296" y="557267"/>
                  </a:cubicBezTo>
                  <a:cubicBezTo>
                    <a:pt x="1412927" y="560208"/>
                    <a:pt x="1431152" y="560108"/>
                    <a:pt x="1449701" y="562548"/>
                  </a:cubicBezTo>
                  <a:cubicBezTo>
                    <a:pt x="1458021" y="563280"/>
                    <a:pt x="1466221" y="564874"/>
                    <a:pt x="1474055" y="567294"/>
                  </a:cubicBezTo>
                  <a:cubicBezTo>
                    <a:pt x="1486841" y="571840"/>
                    <a:pt x="1482173" y="565523"/>
                    <a:pt x="1493619" y="567294"/>
                  </a:cubicBezTo>
                  <a:cubicBezTo>
                    <a:pt x="1515010" y="570403"/>
                    <a:pt x="1545006" y="578524"/>
                    <a:pt x="1562621" y="574179"/>
                  </a:cubicBezTo>
                  <a:cubicBezTo>
                    <a:pt x="1571227" y="572040"/>
                    <a:pt x="1581658" y="568765"/>
                    <a:pt x="1589736" y="578324"/>
                  </a:cubicBezTo>
                  <a:cubicBezTo>
                    <a:pt x="1592130" y="581131"/>
                    <a:pt x="1615876" y="595871"/>
                    <a:pt x="1619488" y="593164"/>
                  </a:cubicBezTo>
                  <a:cubicBezTo>
                    <a:pt x="1626226" y="588084"/>
                    <a:pt x="1613927" y="582234"/>
                    <a:pt x="1634628" y="589654"/>
                  </a:cubicBezTo>
                  <a:cubicBezTo>
                    <a:pt x="1641000" y="591961"/>
                    <a:pt x="1657926" y="591994"/>
                    <a:pt x="1663974" y="592128"/>
                  </a:cubicBezTo>
                  <a:cubicBezTo>
                    <a:pt x="1672092" y="592128"/>
                    <a:pt x="1678546" y="580730"/>
                    <a:pt x="1689221" y="590289"/>
                  </a:cubicBezTo>
                  <a:cubicBezTo>
                    <a:pt x="1704442" y="603960"/>
                    <a:pt x="1717633" y="614120"/>
                    <a:pt x="1727010" y="599414"/>
                  </a:cubicBezTo>
                  <a:cubicBezTo>
                    <a:pt x="1731109" y="592201"/>
                    <a:pt x="1734438" y="584708"/>
                    <a:pt x="1736954" y="577020"/>
                  </a:cubicBezTo>
                  <a:cubicBezTo>
                    <a:pt x="1740120" y="568898"/>
                    <a:pt x="1753434" y="570904"/>
                    <a:pt x="1767113" y="572775"/>
                  </a:cubicBezTo>
                  <a:cubicBezTo>
                    <a:pt x="1778762" y="574346"/>
                    <a:pt x="1785460" y="589755"/>
                    <a:pt x="1798894" y="589487"/>
                  </a:cubicBezTo>
                  <a:cubicBezTo>
                    <a:pt x="1810259" y="589487"/>
                    <a:pt x="1819189" y="583204"/>
                    <a:pt x="1831123" y="583337"/>
                  </a:cubicBezTo>
                  <a:cubicBezTo>
                    <a:pt x="1849023" y="583605"/>
                    <a:pt x="1852757" y="575917"/>
                    <a:pt x="1866233" y="571773"/>
                  </a:cubicBezTo>
                  <a:cubicBezTo>
                    <a:pt x="1869318" y="570804"/>
                    <a:pt x="1879709" y="572107"/>
                    <a:pt x="1880642" y="569868"/>
                  </a:cubicBezTo>
                  <a:cubicBezTo>
                    <a:pt x="1882266" y="566024"/>
                    <a:pt x="1880155" y="561712"/>
                    <a:pt x="1883199" y="558203"/>
                  </a:cubicBezTo>
                  <a:close/>
                  <a:moveTo>
                    <a:pt x="1197476" y="795577"/>
                  </a:moveTo>
                  <a:cubicBezTo>
                    <a:pt x="1195203" y="797215"/>
                    <a:pt x="1179454" y="827396"/>
                    <a:pt x="1196218" y="827764"/>
                  </a:cubicBezTo>
                  <a:cubicBezTo>
                    <a:pt x="1211196" y="828098"/>
                    <a:pt x="1226944" y="817737"/>
                    <a:pt x="1236807" y="812690"/>
                  </a:cubicBezTo>
                  <a:cubicBezTo>
                    <a:pt x="1241962" y="810083"/>
                    <a:pt x="1266194" y="800457"/>
                    <a:pt x="1258158" y="793037"/>
                  </a:cubicBezTo>
                  <a:cubicBezTo>
                    <a:pt x="1242287" y="778431"/>
                    <a:pt x="1205838" y="789695"/>
                    <a:pt x="1197517" y="795577"/>
                  </a:cubicBezTo>
                  <a:close/>
                  <a:moveTo>
                    <a:pt x="869795" y="744004"/>
                  </a:moveTo>
                  <a:cubicBezTo>
                    <a:pt x="830139" y="729599"/>
                    <a:pt x="815161" y="766733"/>
                    <a:pt x="862489" y="772582"/>
                  </a:cubicBezTo>
                  <a:cubicBezTo>
                    <a:pt x="877750" y="774487"/>
                    <a:pt x="884083" y="767468"/>
                    <a:pt x="894960" y="763591"/>
                  </a:cubicBezTo>
                  <a:cubicBezTo>
                    <a:pt x="915743" y="756037"/>
                    <a:pt x="883758" y="749152"/>
                    <a:pt x="869795" y="74400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7A0EA71E-55D2-4055-9192-EC0CEB0C6327}"/>
                </a:ext>
              </a:extLst>
            </p:cNvPr>
            <p:cNvSpPr/>
            <p:nvPr/>
          </p:nvSpPr>
          <p:spPr>
            <a:xfrm>
              <a:off x="9067530" y="5140575"/>
              <a:ext cx="250020" cy="257086"/>
            </a:xfrm>
            <a:custGeom>
              <a:avLst/>
              <a:gdLst>
                <a:gd name="connsiteX0" fmla="*/ 181910 w 250020"/>
                <a:gd name="connsiteY0" fmla="*/ 95151 h 257086"/>
                <a:gd name="connsiteX1" fmla="*/ 205776 w 250020"/>
                <a:gd name="connsiteY1" fmla="*/ 122291 h 257086"/>
                <a:gd name="connsiteX2" fmla="*/ 199769 w 250020"/>
                <a:gd name="connsiteY2" fmla="*/ 134691 h 257086"/>
                <a:gd name="connsiteX3" fmla="*/ 214584 w 250020"/>
                <a:gd name="connsiteY3" fmla="*/ 142011 h 257086"/>
                <a:gd name="connsiteX4" fmla="*/ 207805 w 250020"/>
                <a:gd name="connsiteY4" fmla="*/ 155113 h 257086"/>
                <a:gd name="connsiteX5" fmla="*/ 213123 w 250020"/>
                <a:gd name="connsiteY5" fmla="*/ 174933 h 257086"/>
                <a:gd name="connsiteX6" fmla="*/ 224244 w 250020"/>
                <a:gd name="connsiteY6" fmla="*/ 174632 h 257086"/>
                <a:gd name="connsiteX7" fmla="*/ 241617 w 250020"/>
                <a:gd name="connsiteY7" fmla="*/ 170789 h 257086"/>
                <a:gd name="connsiteX8" fmla="*/ 238979 w 250020"/>
                <a:gd name="connsiteY8" fmla="*/ 139972 h 257086"/>
                <a:gd name="connsiteX9" fmla="*/ 223798 w 250020"/>
                <a:gd name="connsiteY9" fmla="*/ 126903 h 257086"/>
                <a:gd name="connsiteX10" fmla="*/ 219171 w 250020"/>
                <a:gd name="connsiteY10" fmla="*/ 111261 h 257086"/>
                <a:gd name="connsiteX11" fmla="*/ 186090 w 250020"/>
                <a:gd name="connsiteY11" fmla="*/ 85024 h 257086"/>
                <a:gd name="connsiteX12" fmla="*/ 173548 w 250020"/>
                <a:gd name="connsiteY12" fmla="*/ 77537 h 257086"/>
                <a:gd name="connsiteX13" fmla="*/ 174076 w 250020"/>
                <a:gd name="connsiteY13" fmla="*/ 60825 h 257086"/>
                <a:gd name="connsiteX14" fmla="*/ 216492 w 250020"/>
                <a:gd name="connsiteY14" fmla="*/ 42776 h 257086"/>
                <a:gd name="connsiteX15" fmla="*/ 220307 w 250020"/>
                <a:gd name="connsiteY15" fmla="*/ 25262 h 257086"/>
                <a:gd name="connsiteX16" fmla="*/ 216248 w 250020"/>
                <a:gd name="connsiteY16" fmla="*/ 17107 h 257086"/>
                <a:gd name="connsiteX17" fmla="*/ 176470 w 250020"/>
                <a:gd name="connsiteY17" fmla="*/ 763 h 257086"/>
                <a:gd name="connsiteX18" fmla="*/ 159585 w 250020"/>
                <a:gd name="connsiteY18" fmla="*/ 25797 h 257086"/>
                <a:gd name="connsiteX19" fmla="*/ 154593 w 250020"/>
                <a:gd name="connsiteY19" fmla="*/ 32482 h 257086"/>
                <a:gd name="connsiteX20" fmla="*/ 143796 w 250020"/>
                <a:gd name="connsiteY20" fmla="*/ 25797 h 257086"/>
                <a:gd name="connsiteX21" fmla="*/ 134866 w 250020"/>
                <a:gd name="connsiteY21" fmla="*/ 48391 h 257086"/>
                <a:gd name="connsiteX22" fmla="*/ 140224 w 250020"/>
                <a:gd name="connsiteY22" fmla="*/ 60892 h 257086"/>
                <a:gd name="connsiteX23" fmla="*/ 141157 w 250020"/>
                <a:gd name="connsiteY23" fmla="*/ 74529 h 257086"/>
                <a:gd name="connsiteX24" fmla="*/ 169245 w 250020"/>
                <a:gd name="connsiteY24" fmla="*/ 83854 h 257086"/>
                <a:gd name="connsiteX25" fmla="*/ 181950 w 250020"/>
                <a:gd name="connsiteY25" fmla="*/ 95184 h 257086"/>
                <a:gd name="connsiteX26" fmla="*/ 181910 w 250020"/>
                <a:gd name="connsiteY26" fmla="*/ 95151 h 257086"/>
                <a:gd name="connsiteX27" fmla="*/ 128940 w 250020"/>
                <a:gd name="connsiteY27" fmla="*/ 78105 h 257086"/>
                <a:gd name="connsiteX28" fmla="*/ 144242 w 250020"/>
                <a:gd name="connsiteY28" fmla="*/ 104844 h 257086"/>
                <a:gd name="connsiteX29" fmla="*/ 129143 w 250020"/>
                <a:gd name="connsiteY29" fmla="*/ 78105 h 257086"/>
                <a:gd name="connsiteX30" fmla="*/ 146109 w 250020"/>
                <a:gd name="connsiteY30" fmla="*/ 140106 h 257086"/>
                <a:gd name="connsiteX31" fmla="*/ 154755 w 250020"/>
                <a:gd name="connsiteY31" fmla="*/ 142813 h 257086"/>
                <a:gd name="connsiteX32" fmla="*/ 164132 w 250020"/>
                <a:gd name="connsiteY32" fmla="*/ 140874 h 257086"/>
                <a:gd name="connsiteX33" fmla="*/ 153862 w 250020"/>
                <a:gd name="connsiteY33" fmla="*/ 155681 h 257086"/>
                <a:gd name="connsiteX34" fmla="*/ 156825 w 250020"/>
                <a:gd name="connsiteY34" fmla="*/ 174365 h 257086"/>
                <a:gd name="connsiteX35" fmla="*/ 187876 w 250020"/>
                <a:gd name="connsiteY35" fmla="*/ 166443 h 257086"/>
                <a:gd name="connsiteX36" fmla="*/ 194452 w 250020"/>
                <a:gd name="connsiteY36" fmla="*/ 160628 h 257086"/>
                <a:gd name="connsiteX37" fmla="*/ 184669 w 250020"/>
                <a:gd name="connsiteY37" fmla="*/ 155514 h 257086"/>
                <a:gd name="connsiteX38" fmla="*/ 182518 w 250020"/>
                <a:gd name="connsiteY38" fmla="*/ 141175 h 257086"/>
                <a:gd name="connsiteX39" fmla="*/ 160397 w 250020"/>
                <a:gd name="connsiteY39" fmla="*/ 119985 h 257086"/>
                <a:gd name="connsiteX40" fmla="*/ 146109 w 250020"/>
                <a:gd name="connsiteY40" fmla="*/ 140039 h 257086"/>
                <a:gd name="connsiteX41" fmla="*/ 48694 w 250020"/>
                <a:gd name="connsiteY41" fmla="*/ 110559 h 257086"/>
                <a:gd name="connsiteX42" fmla="*/ 433 w 250020"/>
                <a:gd name="connsiteY42" fmla="*/ 121088 h 257086"/>
                <a:gd name="connsiteX43" fmla="*/ 32905 w 250020"/>
                <a:gd name="connsiteY43" fmla="*/ 120352 h 257086"/>
                <a:gd name="connsiteX44" fmla="*/ 80273 w 250020"/>
                <a:gd name="connsiteY44" fmla="*/ 109155 h 257086"/>
                <a:gd name="connsiteX45" fmla="*/ 48856 w 250020"/>
                <a:gd name="connsiteY45" fmla="*/ 110559 h 257086"/>
                <a:gd name="connsiteX46" fmla="*/ 182031 w 250020"/>
                <a:gd name="connsiteY46" fmla="*/ 177406 h 257086"/>
                <a:gd name="connsiteX47" fmla="*/ 205979 w 250020"/>
                <a:gd name="connsiteY47" fmla="*/ 178610 h 257086"/>
                <a:gd name="connsiteX48" fmla="*/ 181910 w 250020"/>
                <a:gd name="connsiteY48" fmla="*/ 177406 h 257086"/>
                <a:gd name="connsiteX49" fmla="*/ 229156 w 250020"/>
                <a:gd name="connsiteY49" fmla="*/ 242382 h 257086"/>
                <a:gd name="connsiteX50" fmla="*/ 239669 w 250020"/>
                <a:gd name="connsiteY50" fmla="*/ 225670 h 257086"/>
                <a:gd name="connsiteX51" fmla="*/ 245189 w 250020"/>
                <a:gd name="connsiteY51" fmla="*/ 200502 h 257086"/>
                <a:gd name="connsiteX52" fmla="*/ 228181 w 250020"/>
                <a:gd name="connsiteY52" fmla="*/ 193817 h 257086"/>
                <a:gd name="connsiteX53" fmla="*/ 216411 w 250020"/>
                <a:gd name="connsiteY53" fmla="*/ 198664 h 257086"/>
                <a:gd name="connsiteX54" fmla="*/ 195791 w 250020"/>
                <a:gd name="connsiteY54" fmla="*/ 199399 h 257086"/>
                <a:gd name="connsiteX55" fmla="*/ 173385 w 250020"/>
                <a:gd name="connsiteY55" fmla="*/ 193717 h 257086"/>
                <a:gd name="connsiteX56" fmla="*/ 144972 w 250020"/>
                <a:gd name="connsiteY56" fmla="*/ 184125 h 257086"/>
                <a:gd name="connsiteX57" fmla="*/ 113191 w 250020"/>
                <a:gd name="connsiteY57" fmla="*/ 186264 h 257086"/>
                <a:gd name="connsiteX58" fmla="*/ 115180 w 250020"/>
                <a:gd name="connsiteY58" fmla="*/ 196291 h 257086"/>
                <a:gd name="connsiteX59" fmla="*/ 131740 w 250020"/>
                <a:gd name="connsiteY59" fmla="*/ 196291 h 257086"/>
                <a:gd name="connsiteX60" fmla="*/ 146840 w 250020"/>
                <a:gd name="connsiteY60" fmla="*/ 199031 h 257086"/>
                <a:gd name="connsiteX61" fmla="*/ 158043 w 250020"/>
                <a:gd name="connsiteY61" fmla="*/ 227408 h 257086"/>
                <a:gd name="connsiteX62" fmla="*/ 190149 w 250020"/>
                <a:gd name="connsiteY62" fmla="*/ 256487 h 257086"/>
                <a:gd name="connsiteX63" fmla="*/ 197334 w 250020"/>
                <a:gd name="connsiteY63" fmla="*/ 237435 h 257086"/>
                <a:gd name="connsiteX64" fmla="*/ 229237 w 250020"/>
                <a:gd name="connsiteY64" fmla="*/ 242850 h 25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50020" h="257086">
                  <a:moveTo>
                    <a:pt x="181910" y="95151"/>
                  </a:moveTo>
                  <a:cubicBezTo>
                    <a:pt x="190920" y="97925"/>
                    <a:pt x="215680" y="117578"/>
                    <a:pt x="205776" y="122291"/>
                  </a:cubicBezTo>
                  <a:cubicBezTo>
                    <a:pt x="201027" y="124497"/>
                    <a:pt x="199241" y="130413"/>
                    <a:pt x="199769" y="134691"/>
                  </a:cubicBezTo>
                  <a:cubicBezTo>
                    <a:pt x="200500" y="141108"/>
                    <a:pt x="209267" y="137566"/>
                    <a:pt x="214584" y="142011"/>
                  </a:cubicBezTo>
                  <a:cubicBezTo>
                    <a:pt x="222702" y="148963"/>
                    <a:pt x="207644" y="149798"/>
                    <a:pt x="207805" y="155113"/>
                  </a:cubicBezTo>
                  <a:cubicBezTo>
                    <a:pt x="207805" y="161564"/>
                    <a:pt x="214788" y="168683"/>
                    <a:pt x="213123" y="174933"/>
                  </a:cubicBezTo>
                  <a:cubicBezTo>
                    <a:pt x="210769" y="183490"/>
                    <a:pt x="222987" y="178676"/>
                    <a:pt x="224244" y="174632"/>
                  </a:cubicBezTo>
                  <a:cubicBezTo>
                    <a:pt x="226071" y="168683"/>
                    <a:pt x="233296" y="170521"/>
                    <a:pt x="241617" y="170789"/>
                  </a:cubicBezTo>
                  <a:cubicBezTo>
                    <a:pt x="257326" y="171290"/>
                    <a:pt x="247583" y="146556"/>
                    <a:pt x="238979" y="139972"/>
                  </a:cubicBezTo>
                  <a:cubicBezTo>
                    <a:pt x="234270" y="136329"/>
                    <a:pt x="224732" y="131649"/>
                    <a:pt x="223798" y="126903"/>
                  </a:cubicBezTo>
                  <a:cubicBezTo>
                    <a:pt x="222540" y="120519"/>
                    <a:pt x="225137" y="118280"/>
                    <a:pt x="219171" y="111261"/>
                  </a:cubicBezTo>
                  <a:cubicBezTo>
                    <a:pt x="209511" y="99964"/>
                    <a:pt x="209389" y="90505"/>
                    <a:pt x="186090" y="85024"/>
                  </a:cubicBezTo>
                  <a:cubicBezTo>
                    <a:pt x="177972" y="83185"/>
                    <a:pt x="170666" y="84088"/>
                    <a:pt x="173548" y="77537"/>
                  </a:cubicBezTo>
                  <a:cubicBezTo>
                    <a:pt x="176105" y="71721"/>
                    <a:pt x="173061" y="66473"/>
                    <a:pt x="174076" y="60825"/>
                  </a:cubicBezTo>
                  <a:cubicBezTo>
                    <a:pt x="176309" y="47790"/>
                    <a:pt x="211825" y="55811"/>
                    <a:pt x="216492" y="42776"/>
                  </a:cubicBezTo>
                  <a:cubicBezTo>
                    <a:pt x="218359" y="37529"/>
                    <a:pt x="215884" y="29407"/>
                    <a:pt x="220307" y="25262"/>
                  </a:cubicBezTo>
                  <a:cubicBezTo>
                    <a:pt x="226111" y="19781"/>
                    <a:pt x="224366" y="20416"/>
                    <a:pt x="216248" y="17107"/>
                  </a:cubicBezTo>
                  <a:cubicBezTo>
                    <a:pt x="206426" y="13029"/>
                    <a:pt x="186739" y="-4919"/>
                    <a:pt x="176470" y="763"/>
                  </a:cubicBezTo>
                  <a:cubicBezTo>
                    <a:pt x="166201" y="6445"/>
                    <a:pt x="164010" y="17675"/>
                    <a:pt x="159585" y="25797"/>
                  </a:cubicBezTo>
                  <a:cubicBezTo>
                    <a:pt x="158570" y="28321"/>
                    <a:pt x="156866" y="30610"/>
                    <a:pt x="154593" y="32482"/>
                  </a:cubicBezTo>
                  <a:cubicBezTo>
                    <a:pt x="150331" y="35122"/>
                    <a:pt x="146475" y="26967"/>
                    <a:pt x="143796" y="25797"/>
                  </a:cubicBezTo>
                  <a:cubicBezTo>
                    <a:pt x="138519" y="23123"/>
                    <a:pt x="132228" y="44715"/>
                    <a:pt x="134866" y="48391"/>
                  </a:cubicBezTo>
                  <a:cubicBezTo>
                    <a:pt x="138722" y="53806"/>
                    <a:pt x="144891" y="54876"/>
                    <a:pt x="140224" y="60892"/>
                  </a:cubicBezTo>
                  <a:cubicBezTo>
                    <a:pt x="136612" y="65504"/>
                    <a:pt x="129265" y="68646"/>
                    <a:pt x="141157" y="74529"/>
                  </a:cubicBezTo>
                  <a:cubicBezTo>
                    <a:pt x="148870" y="78339"/>
                    <a:pt x="163522" y="78874"/>
                    <a:pt x="169245" y="83854"/>
                  </a:cubicBezTo>
                  <a:cubicBezTo>
                    <a:pt x="174969" y="88834"/>
                    <a:pt x="172250" y="92143"/>
                    <a:pt x="181950" y="95184"/>
                  </a:cubicBezTo>
                  <a:cubicBezTo>
                    <a:pt x="197902" y="100098"/>
                    <a:pt x="166282" y="90171"/>
                    <a:pt x="181910" y="95151"/>
                  </a:cubicBezTo>
                  <a:close/>
                  <a:moveTo>
                    <a:pt x="128940" y="78105"/>
                  </a:moveTo>
                  <a:cubicBezTo>
                    <a:pt x="127438" y="85425"/>
                    <a:pt x="124881" y="100766"/>
                    <a:pt x="144242" y="104844"/>
                  </a:cubicBezTo>
                  <a:cubicBezTo>
                    <a:pt x="163604" y="108921"/>
                    <a:pt x="130198" y="72991"/>
                    <a:pt x="129143" y="78105"/>
                  </a:cubicBezTo>
                  <a:close/>
                  <a:moveTo>
                    <a:pt x="146109" y="140106"/>
                  </a:moveTo>
                  <a:cubicBezTo>
                    <a:pt x="148950" y="141108"/>
                    <a:pt x="151833" y="142011"/>
                    <a:pt x="154755" y="142813"/>
                  </a:cubicBezTo>
                  <a:cubicBezTo>
                    <a:pt x="160356" y="144083"/>
                    <a:pt x="160681" y="140373"/>
                    <a:pt x="164132" y="140874"/>
                  </a:cubicBezTo>
                  <a:cubicBezTo>
                    <a:pt x="173102" y="142111"/>
                    <a:pt x="155201" y="155113"/>
                    <a:pt x="153862" y="155681"/>
                  </a:cubicBezTo>
                  <a:cubicBezTo>
                    <a:pt x="147490" y="158422"/>
                    <a:pt x="140549" y="173228"/>
                    <a:pt x="156825" y="174365"/>
                  </a:cubicBezTo>
                  <a:cubicBezTo>
                    <a:pt x="168637" y="175200"/>
                    <a:pt x="180124" y="170488"/>
                    <a:pt x="187876" y="166443"/>
                  </a:cubicBezTo>
                  <a:cubicBezTo>
                    <a:pt x="190190" y="165240"/>
                    <a:pt x="194736" y="163101"/>
                    <a:pt x="194452" y="160628"/>
                  </a:cubicBezTo>
                  <a:cubicBezTo>
                    <a:pt x="194005" y="156216"/>
                    <a:pt x="185441" y="157921"/>
                    <a:pt x="184669" y="155514"/>
                  </a:cubicBezTo>
                  <a:cubicBezTo>
                    <a:pt x="183046" y="150601"/>
                    <a:pt x="186902" y="147726"/>
                    <a:pt x="182518" y="141175"/>
                  </a:cubicBezTo>
                  <a:cubicBezTo>
                    <a:pt x="178135" y="134624"/>
                    <a:pt x="170341" y="124998"/>
                    <a:pt x="160397" y="119985"/>
                  </a:cubicBezTo>
                  <a:cubicBezTo>
                    <a:pt x="144161" y="111963"/>
                    <a:pt x="135556" y="137098"/>
                    <a:pt x="146109" y="140039"/>
                  </a:cubicBezTo>
                  <a:close/>
                  <a:moveTo>
                    <a:pt x="48694" y="110559"/>
                  </a:moveTo>
                  <a:cubicBezTo>
                    <a:pt x="35502" y="113634"/>
                    <a:pt x="8104" y="113267"/>
                    <a:pt x="433" y="121088"/>
                  </a:cubicBezTo>
                  <a:cubicBezTo>
                    <a:pt x="-4600" y="126101"/>
                    <a:pt x="30550" y="120753"/>
                    <a:pt x="32905" y="120352"/>
                  </a:cubicBezTo>
                  <a:cubicBezTo>
                    <a:pt x="44878" y="118013"/>
                    <a:pt x="77838" y="118046"/>
                    <a:pt x="80273" y="109155"/>
                  </a:cubicBezTo>
                  <a:cubicBezTo>
                    <a:pt x="85224" y="91040"/>
                    <a:pt x="56852" y="108687"/>
                    <a:pt x="48856" y="110559"/>
                  </a:cubicBezTo>
                  <a:close/>
                  <a:moveTo>
                    <a:pt x="182031" y="177406"/>
                  </a:moveTo>
                  <a:cubicBezTo>
                    <a:pt x="182316" y="183189"/>
                    <a:pt x="209308" y="185762"/>
                    <a:pt x="205979" y="178610"/>
                  </a:cubicBezTo>
                  <a:cubicBezTo>
                    <a:pt x="202651" y="171457"/>
                    <a:pt x="181910" y="173061"/>
                    <a:pt x="181910" y="177406"/>
                  </a:cubicBezTo>
                  <a:close/>
                  <a:moveTo>
                    <a:pt x="229156" y="242382"/>
                  </a:moveTo>
                  <a:cubicBezTo>
                    <a:pt x="238288" y="240911"/>
                    <a:pt x="238735" y="231118"/>
                    <a:pt x="239669" y="225670"/>
                  </a:cubicBezTo>
                  <a:cubicBezTo>
                    <a:pt x="240724" y="218986"/>
                    <a:pt x="248476" y="207421"/>
                    <a:pt x="245189" y="200502"/>
                  </a:cubicBezTo>
                  <a:cubicBezTo>
                    <a:pt x="243119" y="196157"/>
                    <a:pt x="233377" y="191177"/>
                    <a:pt x="228181" y="193817"/>
                  </a:cubicBezTo>
                  <a:cubicBezTo>
                    <a:pt x="220632" y="197394"/>
                    <a:pt x="231957" y="203276"/>
                    <a:pt x="216411" y="198664"/>
                  </a:cubicBezTo>
                  <a:cubicBezTo>
                    <a:pt x="206629" y="195756"/>
                    <a:pt x="206020" y="203243"/>
                    <a:pt x="195791" y="199399"/>
                  </a:cubicBezTo>
                  <a:cubicBezTo>
                    <a:pt x="183858" y="194887"/>
                    <a:pt x="185969" y="205048"/>
                    <a:pt x="173385" y="193717"/>
                  </a:cubicBezTo>
                  <a:cubicBezTo>
                    <a:pt x="162223" y="183690"/>
                    <a:pt x="160803" y="182821"/>
                    <a:pt x="144972" y="184125"/>
                  </a:cubicBezTo>
                  <a:cubicBezTo>
                    <a:pt x="133567" y="185094"/>
                    <a:pt x="121999" y="181384"/>
                    <a:pt x="113191" y="186264"/>
                  </a:cubicBezTo>
                  <a:cubicBezTo>
                    <a:pt x="108767" y="188737"/>
                    <a:pt x="102353" y="195388"/>
                    <a:pt x="115180" y="196291"/>
                  </a:cubicBezTo>
                  <a:cubicBezTo>
                    <a:pt x="120903" y="196759"/>
                    <a:pt x="125855" y="195288"/>
                    <a:pt x="131740" y="196291"/>
                  </a:cubicBezTo>
                  <a:cubicBezTo>
                    <a:pt x="137626" y="197293"/>
                    <a:pt x="140671" y="199867"/>
                    <a:pt x="146840" y="199031"/>
                  </a:cubicBezTo>
                  <a:cubicBezTo>
                    <a:pt x="171518" y="195689"/>
                    <a:pt x="158124" y="222428"/>
                    <a:pt x="158043" y="227408"/>
                  </a:cubicBezTo>
                  <a:cubicBezTo>
                    <a:pt x="157962" y="232388"/>
                    <a:pt x="186456" y="259695"/>
                    <a:pt x="190149" y="256487"/>
                  </a:cubicBezTo>
                  <a:cubicBezTo>
                    <a:pt x="195791" y="251540"/>
                    <a:pt x="192747" y="242850"/>
                    <a:pt x="197334" y="237435"/>
                  </a:cubicBezTo>
                  <a:cubicBezTo>
                    <a:pt x="200581" y="233625"/>
                    <a:pt x="221688" y="244120"/>
                    <a:pt x="229237" y="2428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6EB29894-54B6-4DC8-9812-F71E62C01273}"/>
                </a:ext>
              </a:extLst>
            </p:cNvPr>
            <p:cNvSpPr/>
            <p:nvPr/>
          </p:nvSpPr>
          <p:spPr>
            <a:xfrm>
              <a:off x="9493695" y="5705866"/>
              <a:ext cx="345044" cy="234940"/>
            </a:xfrm>
            <a:custGeom>
              <a:avLst/>
              <a:gdLst>
                <a:gd name="connsiteX0" fmla="*/ 200121 w 345044"/>
                <a:gd name="connsiteY0" fmla="*/ 222296 h 234940"/>
                <a:gd name="connsiteX1" fmla="*/ 186118 w 345044"/>
                <a:gd name="connsiteY1" fmla="*/ 195858 h 234940"/>
                <a:gd name="connsiteX2" fmla="*/ 174468 w 345044"/>
                <a:gd name="connsiteY2" fmla="*/ 162434 h 234940"/>
                <a:gd name="connsiteX3" fmla="*/ 175605 w 345044"/>
                <a:gd name="connsiteY3" fmla="*/ 140809 h 234940"/>
                <a:gd name="connsiteX4" fmla="*/ 177797 w 345044"/>
                <a:gd name="connsiteY4" fmla="*/ 122861 h 234940"/>
                <a:gd name="connsiteX5" fmla="*/ 152550 w 345044"/>
                <a:gd name="connsiteY5" fmla="*/ 95119 h 234940"/>
                <a:gd name="connsiteX6" fmla="*/ 140779 w 345044"/>
                <a:gd name="connsiteY6" fmla="*/ 69851 h 234940"/>
                <a:gd name="connsiteX7" fmla="*/ 66378 w 345044"/>
                <a:gd name="connsiteY7" fmla="*/ -339 h 234940"/>
                <a:gd name="connsiteX8" fmla="*/ 27087 w 345044"/>
                <a:gd name="connsiteY8" fmla="*/ 51869 h 234940"/>
                <a:gd name="connsiteX9" fmla="*/ 3910 w 345044"/>
                <a:gd name="connsiteY9" fmla="*/ 82619 h 234940"/>
                <a:gd name="connsiteX10" fmla="*/ 19010 w 345044"/>
                <a:gd name="connsiteY10" fmla="*/ 109358 h 234940"/>
                <a:gd name="connsiteX11" fmla="*/ 58950 w 345044"/>
                <a:gd name="connsiteY11" fmla="*/ 115508 h 234940"/>
                <a:gd name="connsiteX12" fmla="*/ 88580 w 345044"/>
                <a:gd name="connsiteY12" fmla="*/ 114204 h 234940"/>
                <a:gd name="connsiteX13" fmla="*/ 122392 w 345044"/>
                <a:gd name="connsiteY13" fmla="*/ 144686 h 234940"/>
                <a:gd name="connsiteX14" fmla="*/ 151738 w 345044"/>
                <a:gd name="connsiteY14" fmla="*/ 200504 h 234940"/>
                <a:gd name="connsiteX15" fmla="*/ 190744 w 345044"/>
                <a:gd name="connsiteY15" fmla="*/ 229716 h 234940"/>
                <a:gd name="connsiteX16" fmla="*/ 200121 w 345044"/>
                <a:gd name="connsiteY16" fmla="*/ 222463 h 234940"/>
                <a:gd name="connsiteX17" fmla="*/ 200121 w 345044"/>
                <a:gd name="connsiteY17" fmla="*/ 222296 h 234940"/>
                <a:gd name="connsiteX18" fmla="*/ 301230 w 345044"/>
                <a:gd name="connsiteY18" fmla="*/ 170490 h 234940"/>
                <a:gd name="connsiteX19" fmla="*/ 235150 w 345044"/>
                <a:gd name="connsiteY19" fmla="*/ 148229 h 234940"/>
                <a:gd name="connsiteX20" fmla="*/ 214409 w 345044"/>
                <a:gd name="connsiteY20" fmla="*/ 136731 h 234940"/>
                <a:gd name="connsiteX21" fmla="*/ 225733 w 345044"/>
                <a:gd name="connsiteY21" fmla="*/ 157120 h 234940"/>
                <a:gd name="connsiteX22" fmla="*/ 296643 w 345044"/>
                <a:gd name="connsiteY22" fmla="*/ 183224 h 234940"/>
                <a:gd name="connsiteX23" fmla="*/ 318197 w 345044"/>
                <a:gd name="connsiteY23" fmla="*/ 178043 h 234940"/>
                <a:gd name="connsiteX24" fmla="*/ 301230 w 345044"/>
                <a:gd name="connsiteY24" fmla="*/ 170490 h 234940"/>
                <a:gd name="connsiteX25" fmla="*/ 338289 w 345044"/>
                <a:gd name="connsiteY25" fmla="*/ 168317 h 234940"/>
                <a:gd name="connsiteX26" fmla="*/ 328060 w 345044"/>
                <a:gd name="connsiteY26" fmla="*/ 156385 h 234940"/>
                <a:gd name="connsiteX27" fmla="*/ 332606 w 345044"/>
                <a:gd name="connsiteY27" fmla="*/ 171158 h 234940"/>
                <a:gd name="connsiteX28" fmla="*/ 330577 w 345044"/>
                <a:gd name="connsiteY28" fmla="*/ 183792 h 234940"/>
                <a:gd name="connsiteX29" fmla="*/ 342754 w 345044"/>
                <a:gd name="connsiteY29" fmla="*/ 187435 h 234940"/>
                <a:gd name="connsiteX30" fmla="*/ 338248 w 345044"/>
                <a:gd name="connsiteY30" fmla="*/ 168317 h 23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5044" h="234940">
                  <a:moveTo>
                    <a:pt x="200121" y="222296"/>
                  </a:moveTo>
                  <a:cubicBezTo>
                    <a:pt x="191110" y="212870"/>
                    <a:pt x="195210" y="203412"/>
                    <a:pt x="186118" y="195858"/>
                  </a:cubicBezTo>
                  <a:cubicBezTo>
                    <a:pt x="167934" y="180817"/>
                    <a:pt x="174468" y="177274"/>
                    <a:pt x="174468" y="162434"/>
                  </a:cubicBezTo>
                  <a:cubicBezTo>
                    <a:pt x="174468" y="160228"/>
                    <a:pt x="156446" y="129479"/>
                    <a:pt x="175605" y="140809"/>
                  </a:cubicBezTo>
                  <a:cubicBezTo>
                    <a:pt x="198620" y="154546"/>
                    <a:pt x="185752" y="130181"/>
                    <a:pt x="177797" y="122861"/>
                  </a:cubicBezTo>
                  <a:cubicBezTo>
                    <a:pt x="169841" y="115541"/>
                    <a:pt x="152875" y="104010"/>
                    <a:pt x="152550" y="95119"/>
                  </a:cubicBezTo>
                  <a:cubicBezTo>
                    <a:pt x="152225" y="86228"/>
                    <a:pt x="148247" y="79277"/>
                    <a:pt x="140779" y="69851"/>
                  </a:cubicBezTo>
                  <a:cubicBezTo>
                    <a:pt x="120241" y="43848"/>
                    <a:pt x="93695" y="22523"/>
                    <a:pt x="66378" y="-339"/>
                  </a:cubicBezTo>
                  <a:lnTo>
                    <a:pt x="27087" y="51869"/>
                  </a:lnTo>
                  <a:lnTo>
                    <a:pt x="3910" y="82619"/>
                  </a:lnTo>
                  <a:cubicBezTo>
                    <a:pt x="-3924" y="93014"/>
                    <a:pt x="-798" y="98294"/>
                    <a:pt x="19010" y="109358"/>
                  </a:cubicBezTo>
                  <a:cubicBezTo>
                    <a:pt x="37802" y="119853"/>
                    <a:pt x="43364" y="114806"/>
                    <a:pt x="58950" y="115508"/>
                  </a:cubicBezTo>
                  <a:cubicBezTo>
                    <a:pt x="70437" y="116076"/>
                    <a:pt x="75429" y="107720"/>
                    <a:pt x="88580" y="114204"/>
                  </a:cubicBezTo>
                  <a:cubicBezTo>
                    <a:pt x="102909" y="121758"/>
                    <a:pt x="114557" y="132253"/>
                    <a:pt x="122392" y="144686"/>
                  </a:cubicBezTo>
                  <a:cubicBezTo>
                    <a:pt x="130753" y="158056"/>
                    <a:pt x="129779" y="192115"/>
                    <a:pt x="151738" y="200504"/>
                  </a:cubicBezTo>
                  <a:cubicBezTo>
                    <a:pt x="168379" y="206888"/>
                    <a:pt x="177390" y="220558"/>
                    <a:pt x="190744" y="229716"/>
                  </a:cubicBezTo>
                  <a:cubicBezTo>
                    <a:pt x="205642" y="240111"/>
                    <a:pt x="209416" y="232123"/>
                    <a:pt x="200121" y="222463"/>
                  </a:cubicBezTo>
                  <a:cubicBezTo>
                    <a:pt x="196346" y="218352"/>
                    <a:pt x="203936" y="226307"/>
                    <a:pt x="200121" y="222296"/>
                  </a:cubicBezTo>
                  <a:close/>
                  <a:moveTo>
                    <a:pt x="301230" y="170490"/>
                  </a:moveTo>
                  <a:cubicBezTo>
                    <a:pt x="292259" y="181185"/>
                    <a:pt x="245784" y="155616"/>
                    <a:pt x="235150" y="148229"/>
                  </a:cubicBezTo>
                  <a:cubicBezTo>
                    <a:pt x="230888" y="145221"/>
                    <a:pt x="220456" y="136164"/>
                    <a:pt x="214409" y="136731"/>
                  </a:cubicBezTo>
                  <a:cubicBezTo>
                    <a:pt x="205113" y="137601"/>
                    <a:pt x="222933" y="154580"/>
                    <a:pt x="225733" y="157120"/>
                  </a:cubicBezTo>
                  <a:cubicBezTo>
                    <a:pt x="244242" y="173631"/>
                    <a:pt x="272127" y="182188"/>
                    <a:pt x="296643" y="183224"/>
                  </a:cubicBezTo>
                  <a:cubicBezTo>
                    <a:pt x="303869" y="183524"/>
                    <a:pt x="312636" y="180216"/>
                    <a:pt x="318197" y="178043"/>
                  </a:cubicBezTo>
                  <a:cubicBezTo>
                    <a:pt x="329359" y="173732"/>
                    <a:pt x="306913" y="163705"/>
                    <a:pt x="301230" y="170490"/>
                  </a:cubicBezTo>
                  <a:close/>
                  <a:moveTo>
                    <a:pt x="338289" y="168317"/>
                  </a:moveTo>
                  <a:cubicBezTo>
                    <a:pt x="336625" y="166044"/>
                    <a:pt x="331916" y="157722"/>
                    <a:pt x="328060" y="156385"/>
                  </a:cubicBezTo>
                  <a:cubicBezTo>
                    <a:pt x="327167" y="156084"/>
                    <a:pt x="332485" y="170556"/>
                    <a:pt x="332606" y="171158"/>
                  </a:cubicBezTo>
                  <a:cubicBezTo>
                    <a:pt x="333581" y="176171"/>
                    <a:pt x="330617" y="179247"/>
                    <a:pt x="330577" y="183792"/>
                  </a:cubicBezTo>
                  <a:cubicBezTo>
                    <a:pt x="330577" y="187435"/>
                    <a:pt x="340481" y="188873"/>
                    <a:pt x="342754" y="187435"/>
                  </a:cubicBezTo>
                  <a:cubicBezTo>
                    <a:pt x="348436" y="184093"/>
                    <a:pt x="341901" y="173331"/>
                    <a:pt x="338248" y="168317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1351FB51-1334-4EF8-9794-411343E3D5C1}"/>
                </a:ext>
              </a:extLst>
            </p:cNvPr>
            <p:cNvSpPr/>
            <p:nvPr/>
          </p:nvSpPr>
          <p:spPr>
            <a:xfrm>
              <a:off x="8067306" y="4925650"/>
              <a:ext cx="57559" cy="66327"/>
            </a:xfrm>
            <a:custGeom>
              <a:avLst/>
              <a:gdLst>
                <a:gd name="connsiteX0" fmla="*/ 26706 w 57559"/>
                <a:gd name="connsiteY0" fmla="*/ -162 h 66327"/>
                <a:gd name="connsiteX1" fmla="*/ 647 w 57559"/>
                <a:gd name="connsiteY1" fmla="*/ 38209 h 66327"/>
                <a:gd name="connsiteX2" fmla="*/ 34986 w 57559"/>
                <a:gd name="connsiteY2" fmla="*/ 64246 h 66327"/>
                <a:gd name="connsiteX3" fmla="*/ 53739 w 57559"/>
                <a:gd name="connsiteY3" fmla="*/ 30822 h 66327"/>
                <a:gd name="connsiteX4" fmla="*/ 26706 w 57559"/>
                <a:gd name="connsiteY4" fmla="*/ -162 h 6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59" h="66327">
                  <a:moveTo>
                    <a:pt x="26706" y="-162"/>
                  </a:moveTo>
                  <a:cubicBezTo>
                    <a:pt x="10227" y="-3136"/>
                    <a:pt x="2109" y="32259"/>
                    <a:pt x="647" y="38209"/>
                  </a:cubicBezTo>
                  <a:cubicBezTo>
                    <a:pt x="-2762" y="52547"/>
                    <a:pt x="5762" y="71933"/>
                    <a:pt x="34986" y="64246"/>
                  </a:cubicBezTo>
                  <a:cubicBezTo>
                    <a:pt x="57189" y="58463"/>
                    <a:pt x="61938" y="46163"/>
                    <a:pt x="53739" y="30822"/>
                  </a:cubicBezTo>
                  <a:cubicBezTo>
                    <a:pt x="50735" y="25140"/>
                    <a:pt x="38477" y="1944"/>
                    <a:pt x="26706" y="-16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E2CA66C1-7851-4AF0-A7A7-A1153EA40C98}"/>
                </a:ext>
              </a:extLst>
            </p:cNvPr>
            <p:cNvSpPr/>
            <p:nvPr/>
          </p:nvSpPr>
          <p:spPr>
            <a:xfrm>
              <a:off x="6939174" y="5121049"/>
              <a:ext cx="212223" cy="226932"/>
            </a:xfrm>
            <a:custGeom>
              <a:avLst/>
              <a:gdLst>
                <a:gd name="connsiteX0" fmla="*/ 193875 w 212223"/>
                <a:gd name="connsiteY0" fmla="*/ 3008 h 226932"/>
                <a:gd name="connsiteX1" fmla="*/ 192413 w 212223"/>
                <a:gd name="connsiteY1" fmla="*/ -130 h 226932"/>
                <a:gd name="connsiteX2" fmla="*/ 191074 w 212223"/>
                <a:gd name="connsiteY2" fmla="*/ -334 h 226932"/>
                <a:gd name="connsiteX3" fmla="*/ 170779 w 212223"/>
                <a:gd name="connsiteY3" fmla="*/ 22795 h 226932"/>
                <a:gd name="connsiteX4" fmla="*/ 147643 w 212223"/>
                <a:gd name="connsiteY4" fmla="*/ 24299 h 226932"/>
                <a:gd name="connsiteX5" fmla="*/ 142041 w 212223"/>
                <a:gd name="connsiteY5" fmla="*/ 35462 h 226932"/>
                <a:gd name="connsiteX6" fmla="*/ 127916 w 212223"/>
                <a:gd name="connsiteY6" fmla="*/ 46091 h 226932"/>
                <a:gd name="connsiteX7" fmla="*/ 101858 w 212223"/>
                <a:gd name="connsiteY7" fmla="*/ 50470 h 226932"/>
                <a:gd name="connsiteX8" fmla="*/ 75190 w 212223"/>
                <a:gd name="connsiteY8" fmla="*/ 52943 h 226932"/>
                <a:gd name="connsiteX9" fmla="*/ 42718 w 212223"/>
                <a:gd name="connsiteY9" fmla="*/ 54982 h 226932"/>
                <a:gd name="connsiteX10" fmla="*/ 36102 w 212223"/>
                <a:gd name="connsiteY10" fmla="*/ 71694 h 226932"/>
                <a:gd name="connsiteX11" fmla="*/ 27375 w 212223"/>
                <a:gd name="connsiteY11" fmla="*/ 94422 h 226932"/>
                <a:gd name="connsiteX12" fmla="*/ 24818 w 212223"/>
                <a:gd name="connsiteY12" fmla="*/ 135967 h 226932"/>
                <a:gd name="connsiteX13" fmla="*/ 1236 w 212223"/>
                <a:gd name="connsiteY13" fmla="*/ 175607 h 226932"/>
                <a:gd name="connsiteX14" fmla="*/ 21003 w 212223"/>
                <a:gd name="connsiteY14" fmla="*/ 217688 h 226932"/>
                <a:gd name="connsiteX15" fmla="*/ 46088 w 212223"/>
                <a:gd name="connsiteY15" fmla="*/ 226345 h 226932"/>
                <a:gd name="connsiteX16" fmla="*/ 68696 w 212223"/>
                <a:gd name="connsiteY16" fmla="*/ 224272 h 226932"/>
                <a:gd name="connsiteX17" fmla="*/ 100153 w 212223"/>
                <a:gd name="connsiteY17" fmla="*/ 206792 h 226932"/>
                <a:gd name="connsiteX18" fmla="*/ 160713 w 212223"/>
                <a:gd name="connsiteY18" fmla="*/ 122999 h 226932"/>
                <a:gd name="connsiteX19" fmla="*/ 177355 w 212223"/>
                <a:gd name="connsiteY19" fmla="*/ 94255 h 226932"/>
                <a:gd name="connsiteX20" fmla="*/ 186244 w 212223"/>
                <a:gd name="connsiteY20" fmla="*/ 79615 h 226932"/>
                <a:gd name="connsiteX21" fmla="*/ 194849 w 212223"/>
                <a:gd name="connsiteY21" fmla="*/ 66446 h 226932"/>
                <a:gd name="connsiteX22" fmla="*/ 210841 w 212223"/>
                <a:gd name="connsiteY22" fmla="*/ 66446 h 226932"/>
                <a:gd name="connsiteX23" fmla="*/ 208649 w 212223"/>
                <a:gd name="connsiteY23" fmla="*/ 46760 h 226932"/>
                <a:gd name="connsiteX24" fmla="*/ 205808 w 212223"/>
                <a:gd name="connsiteY24" fmla="*/ 24399 h 226932"/>
                <a:gd name="connsiteX25" fmla="*/ 193631 w 212223"/>
                <a:gd name="connsiteY25" fmla="*/ 2807 h 226932"/>
                <a:gd name="connsiteX26" fmla="*/ 193875 w 212223"/>
                <a:gd name="connsiteY26" fmla="*/ 3008 h 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2223" h="226932">
                  <a:moveTo>
                    <a:pt x="193875" y="3008"/>
                  </a:moveTo>
                  <a:cubicBezTo>
                    <a:pt x="194524" y="1812"/>
                    <a:pt x="193875" y="408"/>
                    <a:pt x="192413" y="-130"/>
                  </a:cubicBezTo>
                  <a:cubicBezTo>
                    <a:pt x="192008" y="-287"/>
                    <a:pt x="191521" y="-358"/>
                    <a:pt x="191074" y="-334"/>
                  </a:cubicBezTo>
                  <a:cubicBezTo>
                    <a:pt x="178085" y="3911"/>
                    <a:pt x="182712" y="19386"/>
                    <a:pt x="170779" y="22795"/>
                  </a:cubicBezTo>
                  <a:cubicBezTo>
                    <a:pt x="163311" y="24934"/>
                    <a:pt x="154543" y="21190"/>
                    <a:pt x="147643" y="24299"/>
                  </a:cubicBezTo>
                  <a:cubicBezTo>
                    <a:pt x="144477" y="25736"/>
                    <a:pt x="143097" y="32889"/>
                    <a:pt x="142041" y="35462"/>
                  </a:cubicBezTo>
                  <a:cubicBezTo>
                    <a:pt x="139403" y="41779"/>
                    <a:pt x="142041" y="44988"/>
                    <a:pt x="127916" y="46091"/>
                  </a:cubicBezTo>
                  <a:cubicBezTo>
                    <a:pt x="118987" y="46355"/>
                    <a:pt x="110179" y="47836"/>
                    <a:pt x="101858" y="50470"/>
                  </a:cubicBezTo>
                  <a:cubicBezTo>
                    <a:pt x="91589" y="53812"/>
                    <a:pt x="86434" y="53077"/>
                    <a:pt x="75190" y="52943"/>
                  </a:cubicBezTo>
                  <a:cubicBezTo>
                    <a:pt x="69995" y="52943"/>
                    <a:pt x="44992" y="52442"/>
                    <a:pt x="42718" y="54982"/>
                  </a:cubicBezTo>
                  <a:cubicBezTo>
                    <a:pt x="38416" y="59795"/>
                    <a:pt x="39512" y="66480"/>
                    <a:pt x="36102" y="71694"/>
                  </a:cubicBezTo>
                  <a:cubicBezTo>
                    <a:pt x="30745" y="79849"/>
                    <a:pt x="25427" y="84729"/>
                    <a:pt x="27375" y="94422"/>
                  </a:cubicBezTo>
                  <a:cubicBezTo>
                    <a:pt x="30541" y="110030"/>
                    <a:pt x="42556" y="122932"/>
                    <a:pt x="24818" y="135967"/>
                  </a:cubicBezTo>
                  <a:cubicBezTo>
                    <a:pt x="9070" y="147532"/>
                    <a:pt x="-4366" y="158328"/>
                    <a:pt x="1236" y="175607"/>
                  </a:cubicBezTo>
                  <a:cubicBezTo>
                    <a:pt x="5538" y="188810"/>
                    <a:pt x="3752" y="208129"/>
                    <a:pt x="21003" y="217688"/>
                  </a:cubicBezTo>
                  <a:cubicBezTo>
                    <a:pt x="28553" y="221932"/>
                    <a:pt x="37117" y="224907"/>
                    <a:pt x="46088" y="226345"/>
                  </a:cubicBezTo>
                  <a:cubicBezTo>
                    <a:pt x="54936" y="227648"/>
                    <a:pt x="60213" y="223370"/>
                    <a:pt x="68696" y="224272"/>
                  </a:cubicBezTo>
                  <a:cubicBezTo>
                    <a:pt x="87367" y="226211"/>
                    <a:pt x="93050" y="216083"/>
                    <a:pt x="100153" y="206792"/>
                  </a:cubicBezTo>
                  <a:cubicBezTo>
                    <a:pt x="121057" y="179217"/>
                    <a:pt x="140743" y="150941"/>
                    <a:pt x="160713" y="122999"/>
                  </a:cubicBezTo>
                  <a:cubicBezTo>
                    <a:pt x="166436" y="114877"/>
                    <a:pt x="177598" y="103780"/>
                    <a:pt x="177355" y="94255"/>
                  </a:cubicBezTo>
                  <a:cubicBezTo>
                    <a:pt x="177355" y="88472"/>
                    <a:pt x="185473" y="85130"/>
                    <a:pt x="186244" y="79615"/>
                  </a:cubicBezTo>
                  <a:cubicBezTo>
                    <a:pt x="186244" y="78880"/>
                    <a:pt x="188071" y="55851"/>
                    <a:pt x="194849" y="66446"/>
                  </a:cubicBezTo>
                  <a:cubicBezTo>
                    <a:pt x="199192" y="73131"/>
                    <a:pt x="207472" y="73131"/>
                    <a:pt x="210841" y="66446"/>
                  </a:cubicBezTo>
                  <a:cubicBezTo>
                    <a:pt x="214210" y="59761"/>
                    <a:pt x="210273" y="53077"/>
                    <a:pt x="208649" y="46760"/>
                  </a:cubicBezTo>
                  <a:cubicBezTo>
                    <a:pt x="206701" y="39306"/>
                    <a:pt x="208649" y="31752"/>
                    <a:pt x="205808" y="24399"/>
                  </a:cubicBezTo>
                  <a:cubicBezTo>
                    <a:pt x="202967" y="17046"/>
                    <a:pt x="195376" y="10127"/>
                    <a:pt x="193631" y="2807"/>
                  </a:cubicBezTo>
                  <a:cubicBezTo>
                    <a:pt x="191926" y="-5615"/>
                    <a:pt x="195174" y="8957"/>
                    <a:pt x="193875" y="300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26A554CE-C848-483B-A263-F29DE9B7ACEB}"/>
                </a:ext>
              </a:extLst>
            </p:cNvPr>
            <p:cNvSpPr/>
            <p:nvPr/>
          </p:nvSpPr>
          <p:spPr>
            <a:xfrm>
              <a:off x="7035373" y="4597804"/>
              <a:ext cx="334418" cy="132428"/>
            </a:xfrm>
            <a:custGeom>
              <a:avLst/>
              <a:gdLst>
                <a:gd name="connsiteX0" fmla="*/ 257153 w 334418"/>
                <a:gd name="connsiteY0" fmla="*/ 6484 h 132428"/>
                <a:gd name="connsiteX1" fmla="*/ 181737 w 334418"/>
                <a:gd name="connsiteY1" fmla="*/ 4712 h 132428"/>
                <a:gd name="connsiteX2" fmla="*/ 149266 w 334418"/>
                <a:gd name="connsiteY2" fmla="*/ 17313 h 132428"/>
                <a:gd name="connsiteX3" fmla="*/ 109406 w 334418"/>
                <a:gd name="connsiteY3" fmla="*/ 14205 h 132428"/>
                <a:gd name="connsiteX4" fmla="*/ 76447 w 334418"/>
                <a:gd name="connsiteY4" fmla="*/ 7185 h 132428"/>
                <a:gd name="connsiteX5" fmla="*/ 52093 w 334418"/>
                <a:gd name="connsiteY5" fmla="*/ 4111 h 132428"/>
                <a:gd name="connsiteX6" fmla="*/ 30581 w 334418"/>
                <a:gd name="connsiteY6" fmla="*/ -301 h 132428"/>
                <a:gd name="connsiteX7" fmla="*/ 9190 w 334418"/>
                <a:gd name="connsiteY7" fmla="*/ 15441 h 132428"/>
                <a:gd name="connsiteX8" fmla="*/ 2858 w 334418"/>
                <a:gd name="connsiteY8" fmla="*/ 27340 h 132428"/>
                <a:gd name="connsiteX9" fmla="*/ 1154 w 334418"/>
                <a:gd name="connsiteY9" fmla="*/ 44052 h 132428"/>
                <a:gd name="connsiteX10" fmla="*/ 11382 w 334418"/>
                <a:gd name="connsiteY10" fmla="*/ 73832 h 132428"/>
                <a:gd name="connsiteX11" fmla="*/ 34965 w 334418"/>
                <a:gd name="connsiteY11" fmla="*/ 85096 h 132428"/>
                <a:gd name="connsiteX12" fmla="*/ 86919 w 334418"/>
                <a:gd name="connsiteY12" fmla="*/ 80517 h 132428"/>
                <a:gd name="connsiteX13" fmla="*/ 134856 w 334418"/>
                <a:gd name="connsiteY13" fmla="*/ 77743 h 132428"/>
                <a:gd name="connsiteX14" fmla="*/ 172889 w 334418"/>
                <a:gd name="connsiteY14" fmla="*/ 77743 h 132428"/>
                <a:gd name="connsiteX15" fmla="*/ 195457 w 334418"/>
                <a:gd name="connsiteY15" fmla="*/ 70523 h 132428"/>
                <a:gd name="connsiteX16" fmla="*/ 220257 w 334418"/>
                <a:gd name="connsiteY16" fmla="*/ 68919 h 132428"/>
                <a:gd name="connsiteX17" fmla="*/ 278097 w 334418"/>
                <a:gd name="connsiteY17" fmla="*/ 63638 h 132428"/>
                <a:gd name="connsiteX18" fmla="*/ 285079 w 334418"/>
                <a:gd name="connsiteY18" fmla="*/ 56719 h 132428"/>
                <a:gd name="connsiteX19" fmla="*/ 313492 w 334418"/>
                <a:gd name="connsiteY19" fmla="*/ 53611 h 132428"/>
                <a:gd name="connsiteX20" fmla="*/ 293197 w 334418"/>
                <a:gd name="connsiteY20" fmla="*/ 17313 h 132428"/>
                <a:gd name="connsiteX21" fmla="*/ 286824 w 334418"/>
                <a:gd name="connsiteY21" fmla="*/ 5982 h 132428"/>
                <a:gd name="connsiteX22" fmla="*/ 257478 w 334418"/>
                <a:gd name="connsiteY22" fmla="*/ 6684 h 132428"/>
                <a:gd name="connsiteX23" fmla="*/ 257153 w 334418"/>
                <a:gd name="connsiteY23" fmla="*/ 6484 h 132428"/>
                <a:gd name="connsiteX24" fmla="*/ 304318 w 334418"/>
                <a:gd name="connsiteY24" fmla="*/ 127945 h 132428"/>
                <a:gd name="connsiteX25" fmla="*/ 334314 w 334418"/>
                <a:gd name="connsiteY25" fmla="*/ 129081 h 132428"/>
                <a:gd name="connsiteX26" fmla="*/ 304318 w 334418"/>
                <a:gd name="connsiteY26" fmla="*/ 127945 h 13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4418" h="132428">
                  <a:moveTo>
                    <a:pt x="257153" y="6484"/>
                  </a:moveTo>
                  <a:cubicBezTo>
                    <a:pt x="228740" y="6149"/>
                    <a:pt x="207390" y="-2441"/>
                    <a:pt x="181737" y="4712"/>
                  </a:cubicBezTo>
                  <a:cubicBezTo>
                    <a:pt x="171143" y="7687"/>
                    <a:pt x="155395" y="11196"/>
                    <a:pt x="149266" y="17313"/>
                  </a:cubicBezTo>
                  <a:cubicBezTo>
                    <a:pt x="139321" y="26972"/>
                    <a:pt x="123978" y="16678"/>
                    <a:pt x="109406" y="14205"/>
                  </a:cubicBezTo>
                  <a:cubicBezTo>
                    <a:pt x="97798" y="12232"/>
                    <a:pt x="87731" y="9358"/>
                    <a:pt x="76447" y="7185"/>
                  </a:cubicBezTo>
                  <a:cubicBezTo>
                    <a:pt x="68451" y="5518"/>
                    <a:pt x="60293" y="4488"/>
                    <a:pt x="52093" y="4111"/>
                  </a:cubicBezTo>
                  <a:cubicBezTo>
                    <a:pt x="44828" y="3910"/>
                    <a:pt x="37157" y="-803"/>
                    <a:pt x="30581" y="-301"/>
                  </a:cubicBezTo>
                  <a:cubicBezTo>
                    <a:pt x="10286" y="1203"/>
                    <a:pt x="23559" y="13068"/>
                    <a:pt x="9190" y="15441"/>
                  </a:cubicBezTo>
                  <a:cubicBezTo>
                    <a:pt x="-4001" y="17781"/>
                    <a:pt x="7850" y="21190"/>
                    <a:pt x="2858" y="27340"/>
                  </a:cubicBezTo>
                  <a:cubicBezTo>
                    <a:pt x="-1201" y="32086"/>
                    <a:pt x="-267" y="38704"/>
                    <a:pt x="1154" y="44052"/>
                  </a:cubicBezTo>
                  <a:cubicBezTo>
                    <a:pt x="3995" y="54647"/>
                    <a:pt x="11544" y="62869"/>
                    <a:pt x="11382" y="73832"/>
                  </a:cubicBezTo>
                  <a:cubicBezTo>
                    <a:pt x="11382" y="83291"/>
                    <a:pt x="20027" y="84093"/>
                    <a:pt x="34965" y="85096"/>
                  </a:cubicBezTo>
                  <a:cubicBezTo>
                    <a:pt x="54691" y="86433"/>
                    <a:pt x="68289" y="81286"/>
                    <a:pt x="86919" y="80517"/>
                  </a:cubicBezTo>
                  <a:cubicBezTo>
                    <a:pt x="104373" y="79815"/>
                    <a:pt x="118945" y="83258"/>
                    <a:pt x="134856" y="77743"/>
                  </a:cubicBezTo>
                  <a:cubicBezTo>
                    <a:pt x="148210" y="73164"/>
                    <a:pt x="159210" y="79046"/>
                    <a:pt x="172889" y="77743"/>
                  </a:cubicBezTo>
                  <a:cubicBezTo>
                    <a:pt x="181859" y="76773"/>
                    <a:pt x="187217" y="72228"/>
                    <a:pt x="195457" y="70523"/>
                  </a:cubicBezTo>
                  <a:cubicBezTo>
                    <a:pt x="203615" y="69240"/>
                    <a:pt x="211936" y="68702"/>
                    <a:pt x="220257" y="68919"/>
                  </a:cubicBezTo>
                  <a:cubicBezTo>
                    <a:pt x="237426" y="68651"/>
                    <a:pt x="265839" y="71392"/>
                    <a:pt x="278097" y="63638"/>
                  </a:cubicBezTo>
                  <a:cubicBezTo>
                    <a:pt x="281263" y="61633"/>
                    <a:pt x="282440" y="58925"/>
                    <a:pt x="285079" y="56719"/>
                  </a:cubicBezTo>
                  <a:cubicBezTo>
                    <a:pt x="290843" y="51873"/>
                    <a:pt x="304359" y="54313"/>
                    <a:pt x="313492" y="53611"/>
                  </a:cubicBezTo>
                  <a:lnTo>
                    <a:pt x="293197" y="17313"/>
                  </a:lnTo>
                  <a:lnTo>
                    <a:pt x="286824" y="5982"/>
                  </a:lnTo>
                  <a:cubicBezTo>
                    <a:pt x="277123" y="6283"/>
                    <a:pt x="267300" y="6818"/>
                    <a:pt x="257478" y="6684"/>
                  </a:cubicBezTo>
                  <a:cubicBezTo>
                    <a:pt x="241648" y="6316"/>
                    <a:pt x="261455" y="6550"/>
                    <a:pt x="257153" y="6484"/>
                  </a:cubicBezTo>
                  <a:close/>
                  <a:moveTo>
                    <a:pt x="304318" y="127945"/>
                  </a:moveTo>
                  <a:cubicBezTo>
                    <a:pt x="312436" y="135098"/>
                    <a:pt x="332731" y="131287"/>
                    <a:pt x="334314" y="129081"/>
                  </a:cubicBezTo>
                  <a:cubicBezTo>
                    <a:pt x="335897" y="126875"/>
                    <a:pt x="294982" y="119856"/>
                    <a:pt x="304318" y="12794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9AF3490B-C7B5-463B-88D7-2CCBC4C19868}"/>
                </a:ext>
              </a:extLst>
            </p:cNvPr>
            <p:cNvSpPr/>
            <p:nvPr/>
          </p:nvSpPr>
          <p:spPr>
            <a:xfrm>
              <a:off x="7434516" y="5899842"/>
              <a:ext cx="46983" cy="25794"/>
            </a:xfrm>
            <a:custGeom>
              <a:avLst/>
              <a:gdLst>
                <a:gd name="connsiteX0" fmla="*/ 19436 w 46983"/>
                <a:gd name="connsiteY0" fmla="*/ 1380 h 25794"/>
                <a:gd name="connsiteX1" fmla="*/ 845 w 46983"/>
                <a:gd name="connsiteY1" fmla="*/ 8867 h 25794"/>
                <a:gd name="connsiteX2" fmla="*/ 24550 w 46983"/>
                <a:gd name="connsiteY2" fmla="*/ 22237 h 25794"/>
                <a:gd name="connsiteX3" fmla="*/ 45860 w 46983"/>
                <a:gd name="connsiteY3" fmla="*/ 16087 h 25794"/>
                <a:gd name="connsiteX4" fmla="*/ 19436 w 46983"/>
                <a:gd name="connsiteY4" fmla="*/ 1380 h 25794"/>
                <a:gd name="connsiteX5" fmla="*/ 19436 w 46983"/>
                <a:gd name="connsiteY5" fmla="*/ 1380 h 2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83" h="25794">
                  <a:moveTo>
                    <a:pt x="19436" y="1380"/>
                  </a:moveTo>
                  <a:cubicBezTo>
                    <a:pt x="17934" y="-4536"/>
                    <a:pt x="1860" y="6528"/>
                    <a:pt x="845" y="8867"/>
                  </a:cubicBezTo>
                  <a:cubicBezTo>
                    <a:pt x="-5040" y="21936"/>
                    <a:pt x="19517" y="17190"/>
                    <a:pt x="24550" y="22237"/>
                  </a:cubicBezTo>
                  <a:cubicBezTo>
                    <a:pt x="31328" y="28921"/>
                    <a:pt x="51786" y="24376"/>
                    <a:pt x="45860" y="16087"/>
                  </a:cubicBezTo>
                  <a:cubicBezTo>
                    <a:pt x="41232" y="9603"/>
                    <a:pt x="21181" y="8366"/>
                    <a:pt x="19436" y="1380"/>
                  </a:cubicBezTo>
                  <a:cubicBezTo>
                    <a:pt x="18015" y="-4234"/>
                    <a:pt x="20856" y="7029"/>
                    <a:pt x="19436" y="138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93698830-3D98-4AAA-957A-C7FD09217BFA}"/>
                </a:ext>
              </a:extLst>
            </p:cNvPr>
            <p:cNvSpPr/>
            <p:nvPr/>
          </p:nvSpPr>
          <p:spPr>
            <a:xfrm>
              <a:off x="7433016" y="5898654"/>
              <a:ext cx="49706" cy="28125"/>
            </a:xfrm>
            <a:custGeom>
              <a:avLst/>
              <a:gdLst>
                <a:gd name="connsiteX0" fmla="*/ 31570 w 49706"/>
                <a:gd name="connsiteY0" fmla="*/ 27403 h 28125"/>
                <a:gd name="connsiteX1" fmla="*/ 31570 w 49706"/>
                <a:gd name="connsiteY1" fmla="*/ 27403 h 28125"/>
                <a:gd name="connsiteX2" fmla="*/ 24832 w 49706"/>
                <a:gd name="connsiteY2" fmla="*/ 24061 h 28125"/>
                <a:gd name="connsiteX3" fmla="*/ 20773 w 49706"/>
                <a:gd name="connsiteY3" fmla="*/ 22423 h 28125"/>
                <a:gd name="connsiteX4" fmla="*/ 15172 w 49706"/>
                <a:gd name="connsiteY4" fmla="*/ 21587 h 28125"/>
                <a:gd name="connsiteX5" fmla="*/ 8799 w 49706"/>
                <a:gd name="connsiteY5" fmla="*/ 20651 h 28125"/>
                <a:gd name="connsiteX6" fmla="*/ 1006 w 49706"/>
                <a:gd name="connsiteY6" fmla="*/ 16841 h 28125"/>
                <a:gd name="connsiteX7" fmla="*/ 1006 w 49706"/>
                <a:gd name="connsiteY7" fmla="*/ 9655 h 28125"/>
                <a:gd name="connsiteX8" fmla="*/ 19636 w 49706"/>
                <a:gd name="connsiteY8" fmla="*/ -138 h 28125"/>
                <a:gd name="connsiteX9" fmla="*/ 19880 w 49706"/>
                <a:gd name="connsiteY9" fmla="*/ -138 h 28125"/>
                <a:gd name="connsiteX10" fmla="*/ 20164 w 49706"/>
                <a:gd name="connsiteY10" fmla="*/ -339 h 28125"/>
                <a:gd name="connsiteX11" fmla="*/ 20976 w 49706"/>
                <a:gd name="connsiteY11" fmla="*/ -339 h 28125"/>
                <a:gd name="connsiteX12" fmla="*/ 22112 w 49706"/>
                <a:gd name="connsiteY12" fmla="*/ 597 h 28125"/>
                <a:gd name="connsiteX13" fmla="*/ 22112 w 49706"/>
                <a:gd name="connsiteY13" fmla="*/ 597 h 28125"/>
                <a:gd name="connsiteX14" fmla="*/ 22112 w 49706"/>
                <a:gd name="connsiteY14" fmla="*/ 1232 h 28125"/>
                <a:gd name="connsiteX15" fmla="*/ 22356 w 49706"/>
                <a:gd name="connsiteY15" fmla="*/ 2202 h 28125"/>
                <a:gd name="connsiteX16" fmla="*/ 34533 w 49706"/>
                <a:gd name="connsiteY16" fmla="*/ 9254 h 28125"/>
                <a:gd name="connsiteX17" fmla="*/ 48415 w 49706"/>
                <a:gd name="connsiteY17" fmla="*/ 16574 h 28125"/>
                <a:gd name="connsiteX18" fmla="*/ 47765 w 49706"/>
                <a:gd name="connsiteY18" fmla="*/ 23860 h 28125"/>
                <a:gd name="connsiteX19" fmla="*/ 31570 w 49706"/>
                <a:gd name="connsiteY19" fmla="*/ 27403 h 28125"/>
                <a:gd name="connsiteX20" fmla="*/ 21423 w 49706"/>
                <a:gd name="connsiteY20" fmla="*/ 20284 h 28125"/>
                <a:gd name="connsiteX21" fmla="*/ 27227 w 49706"/>
                <a:gd name="connsiteY21" fmla="*/ 22824 h 28125"/>
                <a:gd name="connsiteX22" fmla="*/ 32220 w 49706"/>
                <a:gd name="connsiteY22" fmla="*/ 25230 h 28125"/>
                <a:gd name="connsiteX23" fmla="*/ 45655 w 49706"/>
                <a:gd name="connsiteY23" fmla="*/ 22623 h 28125"/>
                <a:gd name="connsiteX24" fmla="*/ 46020 w 49706"/>
                <a:gd name="connsiteY24" fmla="*/ 17744 h 28125"/>
                <a:gd name="connsiteX25" fmla="*/ 33843 w 49706"/>
                <a:gd name="connsiteY25" fmla="*/ 11493 h 28125"/>
                <a:gd name="connsiteX26" fmla="*/ 21057 w 49706"/>
                <a:gd name="connsiteY26" fmla="*/ 5243 h 28125"/>
                <a:gd name="connsiteX27" fmla="*/ 20043 w 49706"/>
                <a:gd name="connsiteY27" fmla="*/ 4341 h 28125"/>
                <a:gd name="connsiteX28" fmla="*/ 20043 w 49706"/>
                <a:gd name="connsiteY28" fmla="*/ 4341 h 28125"/>
                <a:gd name="connsiteX29" fmla="*/ 20043 w 49706"/>
                <a:gd name="connsiteY29" fmla="*/ 3639 h 28125"/>
                <a:gd name="connsiteX30" fmla="*/ 19758 w 49706"/>
                <a:gd name="connsiteY30" fmla="*/ 2536 h 28125"/>
                <a:gd name="connsiteX31" fmla="*/ 19231 w 49706"/>
                <a:gd name="connsiteY31" fmla="*/ 2001 h 28125"/>
                <a:gd name="connsiteX32" fmla="*/ 4131 w 49706"/>
                <a:gd name="connsiteY32" fmla="*/ 10457 h 28125"/>
                <a:gd name="connsiteX33" fmla="*/ 4131 w 49706"/>
                <a:gd name="connsiteY33" fmla="*/ 15838 h 28125"/>
                <a:gd name="connsiteX34" fmla="*/ 9976 w 49706"/>
                <a:gd name="connsiteY34" fmla="*/ 18479 h 28125"/>
                <a:gd name="connsiteX35" fmla="*/ 16024 w 49706"/>
                <a:gd name="connsiteY35" fmla="*/ 19415 h 28125"/>
                <a:gd name="connsiteX36" fmla="*/ 21423 w 49706"/>
                <a:gd name="connsiteY36" fmla="*/ 20150 h 2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706" h="28125">
                  <a:moveTo>
                    <a:pt x="31570" y="27403"/>
                  </a:moveTo>
                  <a:lnTo>
                    <a:pt x="31570" y="27403"/>
                  </a:lnTo>
                  <a:cubicBezTo>
                    <a:pt x="28932" y="26902"/>
                    <a:pt x="26578" y="25732"/>
                    <a:pt x="24832" y="24061"/>
                  </a:cubicBezTo>
                  <a:cubicBezTo>
                    <a:pt x="23695" y="23192"/>
                    <a:pt x="22315" y="22623"/>
                    <a:pt x="20773" y="22423"/>
                  </a:cubicBezTo>
                  <a:cubicBezTo>
                    <a:pt x="19109" y="22088"/>
                    <a:pt x="17201" y="21855"/>
                    <a:pt x="15172" y="21587"/>
                  </a:cubicBezTo>
                  <a:cubicBezTo>
                    <a:pt x="13142" y="21320"/>
                    <a:pt x="10829" y="21052"/>
                    <a:pt x="8799" y="20651"/>
                  </a:cubicBezTo>
                  <a:cubicBezTo>
                    <a:pt x="5714" y="20250"/>
                    <a:pt x="2913" y="18880"/>
                    <a:pt x="1006" y="16841"/>
                  </a:cubicBezTo>
                  <a:cubicBezTo>
                    <a:pt x="-415" y="14602"/>
                    <a:pt x="-415" y="11894"/>
                    <a:pt x="1006" y="9655"/>
                  </a:cubicBezTo>
                  <a:cubicBezTo>
                    <a:pt x="1980" y="7482"/>
                    <a:pt x="13914" y="-1308"/>
                    <a:pt x="19636" y="-138"/>
                  </a:cubicBezTo>
                  <a:lnTo>
                    <a:pt x="19880" y="-138"/>
                  </a:lnTo>
                  <a:lnTo>
                    <a:pt x="20164" y="-339"/>
                  </a:lnTo>
                  <a:lnTo>
                    <a:pt x="20976" y="-339"/>
                  </a:lnTo>
                  <a:cubicBezTo>
                    <a:pt x="21666" y="-339"/>
                    <a:pt x="21869" y="-339"/>
                    <a:pt x="22112" y="597"/>
                  </a:cubicBezTo>
                  <a:lnTo>
                    <a:pt x="22112" y="597"/>
                  </a:lnTo>
                  <a:cubicBezTo>
                    <a:pt x="22072" y="798"/>
                    <a:pt x="22072" y="1032"/>
                    <a:pt x="22112" y="1232"/>
                  </a:cubicBezTo>
                  <a:cubicBezTo>
                    <a:pt x="22153" y="1566"/>
                    <a:pt x="22234" y="1867"/>
                    <a:pt x="22356" y="2202"/>
                  </a:cubicBezTo>
                  <a:cubicBezTo>
                    <a:pt x="23127" y="5310"/>
                    <a:pt x="28769" y="7215"/>
                    <a:pt x="34533" y="9254"/>
                  </a:cubicBezTo>
                  <a:cubicBezTo>
                    <a:pt x="40297" y="11293"/>
                    <a:pt x="45979" y="13165"/>
                    <a:pt x="48415" y="16574"/>
                  </a:cubicBezTo>
                  <a:cubicBezTo>
                    <a:pt x="50282" y="18846"/>
                    <a:pt x="49998" y="21855"/>
                    <a:pt x="47765" y="23860"/>
                  </a:cubicBezTo>
                  <a:cubicBezTo>
                    <a:pt x="43422" y="27202"/>
                    <a:pt x="37333" y="28506"/>
                    <a:pt x="31570" y="27403"/>
                  </a:cubicBezTo>
                  <a:close/>
                  <a:moveTo>
                    <a:pt x="21423" y="20284"/>
                  </a:moveTo>
                  <a:cubicBezTo>
                    <a:pt x="23655" y="20584"/>
                    <a:pt x="25684" y="21487"/>
                    <a:pt x="27227" y="22824"/>
                  </a:cubicBezTo>
                  <a:cubicBezTo>
                    <a:pt x="28526" y="24027"/>
                    <a:pt x="30271" y="24863"/>
                    <a:pt x="32220" y="25230"/>
                  </a:cubicBezTo>
                  <a:cubicBezTo>
                    <a:pt x="36928" y="26266"/>
                    <a:pt x="42001" y="25264"/>
                    <a:pt x="45655" y="22623"/>
                  </a:cubicBezTo>
                  <a:cubicBezTo>
                    <a:pt x="47197" y="21286"/>
                    <a:pt x="47360" y="19214"/>
                    <a:pt x="46020" y="17744"/>
                  </a:cubicBezTo>
                  <a:cubicBezTo>
                    <a:pt x="44112" y="15070"/>
                    <a:pt x="38795" y="13265"/>
                    <a:pt x="33843" y="11493"/>
                  </a:cubicBezTo>
                  <a:cubicBezTo>
                    <a:pt x="29013" y="10290"/>
                    <a:pt x="24629" y="8151"/>
                    <a:pt x="21057" y="5243"/>
                  </a:cubicBezTo>
                  <a:cubicBezTo>
                    <a:pt x="20489" y="5243"/>
                    <a:pt x="20286" y="5042"/>
                    <a:pt x="20043" y="4341"/>
                  </a:cubicBezTo>
                  <a:lnTo>
                    <a:pt x="20043" y="4341"/>
                  </a:lnTo>
                  <a:cubicBezTo>
                    <a:pt x="20043" y="4106"/>
                    <a:pt x="20043" y="3873"/>
                    <a:pt x="20043" y="3639"/>
                  </a:cubicBezTo>
                  <a:cubicBezTo>
                    <a:pt x="20043" y="3338"/>
                    <a:pt x="20043" y="2970"/>
                    <a:pt x="19758" y="2536"/>
                  </a:cubicBezTo>
                  <a:cubicBezTo>
                    <a:pt x="19474" y="2101"/>
                    <a:pt x="19393" y="2034"/>
                    <a:pt x="19231" y="2001"/>
                  </a:cubicBezTo>
                  <a:cubicBezTo>
                    <a:pt x="15821" y="1332"/>
                    <a:pt x="4902" y="8685"/>
                    <a:pt x="4131" y="10457"/>
                  </a:cubicBezTo>
                  <a:cubicBezTo>
                    <a:pt x="3117" y="12162"/>
                    <a:pt x="3117" y="14134"/>
                    <a:pt x="4131" y="15838"/>
                  </a:cubicBezTo>
                  <a:cubicBezTo>
                    <a:pt x="5592" y="17309"/>
                    <a:pt x="7703" y="18245"/>
                    <a:pt x="9976" y="18479"/>
                  </a:cubicBezTo>
                  <a:cubicBezTo>
                    <a:pt x="11843" y="18880"/>
                    <a:pt x="14035" y="19147"/>
                    <a:pt x="16024" y="19415"/>
                  </a:cubicBezTo>
                  <a:cubicBezTo>
                    <a:pt x="18013" y="19682"/>
                    <a:pt x="19596" y="19916"/>
                    <a:pt x="21423" y="2015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6749B43B-3BEF-43FA-8441-0F94808C2C3B}"/>
                </a:ext>
              </a:extLst>
            </p:cNvPr>
            <p:cNvSpPr/>
            <p:nvPr/>
          </p:nvSpPr>
          <p:spPr>
            <a:xfrm>
              <a:off x="9857354" y="5928227"/>
              <a:ext cx="116289" cy="182856"/>
            </a:xfrm>
            <a:custGeom>
              <a:avLst/>
              <a:gdLst>
                <a:gd name="connsiteX0" fmla="*/ 1581 w 116289"/>
                <a:gd name="connsiteY0" fmla="*/ -199 h 182856"/>
                <a:gd name="connsiteX1" fmla="*/ 13149 w 116289"/>
                <a:gd name="connsiteY1" fmla="*/ 37002 h 182856"/>
                <a:gd name="connsiteX2" fmla="*/ 1581 w 116289"/>
                <a:gd name="connsiteY2" fmla="*/ -199 h 182856"/>
                <a:gd name="connsiteX3" fmla="*/ 30766 w 116289"/>
                <a:gd name="connsiteY3" fmla="*/ 43252 h 182856"/>
                <a:gd name="connsiteX4" fmla="*/ 41928 w 116289"/>
                <a:gd name="connsiteY4" fmla="*/ 64409 h 182856"/>
                <a:gd name="connsiteX5" fmla="*/ 30766 w 116289"/>
                <a:gd name="connsiteY5" fmla="*/ 43118 h 182856"/>
                <a:gd name="connsiteX6" fmla="*/ 85764 w 116289"/>
                <a:gd name="connsiteY6" fmla="*/ 114076 h 182856"/>
                <a:gd name="connsiteX7" fmla="*/ 62953 w 116289"/>
                <a:gd name="connsiteY7" fmla="*/ 83995 h 182856"/>
                <a:gd name="connsiteX8" fmla="*/ 85764 w 116289"/>
                <a:gd name="connsiteY8" fmla="*/ 113943 h 182856"/>
                <a:gd name="connsiteX9" fmla="*/ 69934 w 116289"/>
                <a:gd name="connsiteY9" fmla="*/ 124638 h 182856"/>
                <a:gd name="connsiteX10" fmla="*/ 86170 w 116289"/>
                <a:gd name="connsiteY10" fmla="*/ 146531 h 182856"/>
                <a:gd name="connsiteX11" fmla="*/ 69934 w 116289"/>
                <a:gd name="connsiteY11" fmla="*/ 124505 h 182856"/>
                <a:gd name="connsiteX12" fmla="*/ 99159 w 116289"/>
                <a:gd name="connsiteY12" fmla="*/ 163544 h 182856"/>
                <a:gd name="connsiteX13" fmla="*/ 114177 w 116289"/>
                <a:gd name="connsiteY13" fmla="*/ 182461 h 182856"/>
                <a:gd name="connsiteX14" fmla="*/ 99159 w 116289"/>
                <a:gd name="connsiteY14" fmla="*/ 163410 h 182856"/>
                <a:gd name="connsiteX15" fmla="*/ 106099 w 116289"/>
                <a:gd name="connsiteY15" fmla="*/ 125675 h 182856"/>
                <a:gd name="connsiteX16" fmla="*/ 107439 w 116289"/>
                <a:gd name="connsiteY16" fmla="*/ 155421 h 182856"/>
                <a:gd name="connsiteX17" fmla="*/ 106099 w 116289"/>
                <a:gd name="connsiteY17" fmla="*/ 125541 h 18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289" h="182856">
                  <a:moveTo>
                    <a:pt x="1581" y="-199"/>
                  </a:moveTo>
                  <a:cubicBezTo>
                    <a:pt x="-2965" y="2709"/>
                    <a:pt x="2272" y="35264"/>
                    <a:pt x="13149" y="37002"/>
                  </a:cubicBezTo>
                  <a:cubicBezTo>
                    <a:pt x="33404" y="40244"/>
                    <a:pt x="6209" y="-3106"/>
                    <a:pt x="1581" y="-199"/>
                  </a:cubicBezTo>
                  <a:close/>
                  <a:moveTo>
                    <a:pt x="30766" y="43252"/>
                  </a:moveTo>
                  <a:cubicBezTo>
                    <a:pt x="28938" y="44455"/>
                    <a:pt x="37016" y="63774"/>
                    <a:pt x="41928" y="64409"/>
                  </a:cubicBezTo>
                  <a:cubicBezTo>
                    <a:pt x="46839" y="65044"/>
                    <a:pt x="34134" y="40879"/>
                    <a:pt x="30766" y="43118"/>
                  </a:cubicBezTo>
                  <a:close/>
                  <a:moveTo>
                    <a:pt x="85764" y="114076"/>
                  </a:moveTo>
                  <a:cubicBezTo>
                    <a:pt x="93314" y="115380"/>
                    <a:pt x="67093" y="80653"/>
                    <a:pt x="62953" y="83995"/>
                  </a:cubicBezTo>
                  <a:cubicBezTo>
                    <a:pt x="58813" y="87338"/>
                    <a:pt x="78296" y="112606"/>
                    <a:pt x="85764" y="113943"/>
                  </a:cubicBezTo>
                  <a:close/>
                  <a:moveTo>
                    <a:pt x="69934" y="124638"/>
                  </a:moveTo>
                  <a:cubicBezTo>
                    <a:pt x="66484" y="131958"/>
                    <a:pt x="78337" y="144893"/>
                    <a:pt x="86170" y="146531"/>
                  </a:cubicBezTo>
                  <a:cubicBezTo>
                    <a:pt x="94004" y="148169"/>
                    <a:pt x="73506" y="116918"/>
                    <a:pt x="69934" y="124505"/>
                  </a:cubicBezTo>
                  <a:close/>
                  <a:moveTo>
                    <a:pt x="99159" y="163544"/>
                  </a:moveTo>
                  <a:cubicBezTo>
                    <a:pt x="98794" y="165683"/>
                    <a:pt x="105207" y="181091"/>
                    <a:pt x="114177" y="182461"/>
                  </a:cubicBezTo>
                  <a:cubicBezTo>
                    <a:pt x="123148" y="183831"/>
                    <a:pt x="99849" y="159733"/>
                    <a:pt x="99159" y="163410"/>
                  </a:cubicBezTo>
                  <a:close/>
                  <a:moveTo>
                    <a:pt x="106099" y="125675"/>
                  </a:moveTo>
                  <a:cubicBezTo>
                    <a:pt x="94978" y="129017"/>
                    <a:pt x="104720" y="153249"/>
                    <a:pt x="107439" y="155421"/>
                  </a:cubicBezTo>
                  <a:cubicBezTo>
                    <a:pt x="110158" y="157594"/>
                    <a:pt x="114583" y="122867"/>
                    <a:pt x="106099" y="12554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330E4B80-C973-40A9-9836-9CD17069F370}"/>
                </a:ext>
              </a:extLst>
            </p:cNvPr>
            <p:cNvSpPr/>
            <p:nvPr/>
          </p:nvSpPr>
          <p:spPr>
            <a:xfrm>
              <a:off x="8607421" y="5699934"/>
              <a:ext cx="970147" cy="712612"/>
            </a:xfrm>
            <a:custGeom>
              <a:avLst/>
              <a:gdLst>
                <a:gd name="connsiteX0" fmla="*/ 942383 w 970147"/>
                <a:gd name="connsiteY0" fmla="*/ 537263 h 712612"/>
                <a:gd name="connsiteX1" fmla="*/ 945711 w 970147"/>
                <a:gd name="connsiteY1" fmla="*/ 520551 h 712612"/>
                <a:gd name="connsiteX2" fmla="*/ 970065 w 970147"/>
                <a:gd name="connsiteY2" fmla="*/ 494748 h 712612"/>
                <a:gd name="connsiteX3" fmla="*/ 955209 w 970147"/>
                <a:gd name="connsiteY3" fmla="*/ 489467 h 712612"/>
                <a:gd name="connsiteX4" fmla="*/ 956508 w 970147"/>
                <a:gd name="connsiteY4" fmla="*/ 472421 h 712612"/>
                <a:gd name="connsiteX5" fmla="*/ 954356 w 970147"/>
                <a:gd name="connsiteY5" fmla="*/ 460656 h 712612"/>
                <a:gd name="connsiteX6" fmla="*/ 944697 w 970147"/>
                <a:gd name="connsiteY6" fmla="*/ 452801 h 712612"/>
                <a:gd name="connsiteX7" fmla="*/ 945549 w 970147"/>
                <a:gd name="connsiteY7" fmla="*/ 446116 h 712612"/>
                <a:gd name="connsiteX8" fmla="*/ 937958 w 970147"/>
                <a:gd name="connsiteY8" fmla="*/ 436992 h 712612"/>
                <a:gd name="connsiteX9" fmla="*/ 948959 w 970147"/>
                <a:gd name="connsiteY9" fmla="*/ 418542 h 712612"/>
                <a:gd name="connsiteX10" fmla="*/ 934387 w 970147"/>
                <a:gd name="connsiteY10" fmla="*/ 408013 h 712612"/>
                <a:gd name="connsiteX11" fmla="*/ 930693 w 970147"/>
                <a:gd name="connsiteY11" fmla="*/ 393842 h 712612"/>
                <a:gd name="connsiteX12" fmla="*/ 929191 w 970147"/>
                <a:gd name="connsiteY12" fmla="*/ 367103 h 712612"/>
                <a:gd name="connsiteX13" fmla="*/ 911981 w 970147"/>
                <a:gd name="connsiteY13" fmla="*/ 334281 h 712612"/>
                <a:gd name="connsiteX14" fmla="*/ 896313 w 970147"/>
                <a:gd name="connsiteY14" fmla="*/ 317803 h 712612"/>
                <a:gd name="connsiteX15" fmla="*/ 896882 w 970147"/>
                <a:gd name="connsiteY15" fmla="*/ 303632 h 712612"/>
                <a:gd name="connsiteX16" fmla="*/ 906460 w 970147"/>
                <a:gd name="connsiteY16" fmla="*/ 280035 h 712612"/>
                <a:gd name="connsiteX17" fmla="*/ 903051 w 970147"/>
                <a:gd name="connsiteY17" fmla="*/ 260883 h 712612"/>
                <a:gd name="connsiteX18" fmla="*/ 915228 w 970147"/>
                <a:gd name="connsiteY18" fmla="*/ 239057 h 712612"/>
                <a:gd name="connsiteX19" fmla="*/ 906704 w 970147"/>
                <a:gd name="connsiteY19" fmla="*/ 219605 h 712612"/>
                <a:gd name="connsiteX20" fmla="*/ 884908 w 970147"/>
                <a:gd name="connsiteY20" fmla="*/ 204832 h 712612"/>
                <a:gd name="connsiteX21" fmla="*/ 899114 w 970147"/>
                <a:gd name="connsiteY21" fmla="*/ 184543 h 712612"/>
                <a:gd name="connsiteX22" fmla="*/ 898424 w 970147"/>
                <a:gd name="connsiteY22" fmla="*/ 162985 h 712612"/>
                <a:gd name="connsiteX23" fmla="*/ 901549 w 970147"/>
                <a:gd name="connsiteY23" fmla="*/ 142329 h 712612"/>
                <a:gd name="connsiteX24" fmla="*/ 880239 w 970147"/>
                <a:gd name="connsiteY24" fmla="*/ 143265 h 712612"/>
                <a:gd name="connsiteX25" fmla="*/ 872487 w 970147"/>
                <a:gd name="connsiteY25" fmla="*/ 150919 h 712612"/>
                <a:gd name="connsiteX26" fmla="*/ 861203 w 970147"/>
                <a:gd name="connsiteY26" fmla="*/ 154262 h 712612"/>
                <a:gd name="connsiteX27" fmla="*/ 848377 w 970147"/>
                <a:gd name="connsiteY27" fmla="*/ 167865 h 712612"/>
                <a:gd name="connsiteX28" fmla="*/ 831654 w 970147"/>
                <a:gd name="connsiteY28" fmla="*/ 186482 h 712612"/>
                <a:gd name="connsiteX29" fmla="*/ 786071 w 970147"/>
                <a:gd name="connsiteY29" fmla="*/ 217299 h 712612"/>
                <a:gd name="connsiteX30" fmla="*/ 754167 w 970147"/>
                <a:gd name="connsiteY30" fmla="*/ 209177 h 712612"/>
                <a:gd name="connsiteX31" fmla="*/ 743655 w 970147"/>
                <a:gd name="connsiteY31" fmla="*/ 187518 h 712612"/>
                <a:gd name="connsiteX32" fmla="*/ 723847 w 970147"/>
                <a:gd name="connsiteY32" fmla="*/ 171341 h 712612"/>
                <a:gd name="connsiteX33" fmla="*/ 703269 w 970147"/>
                <a:gd name="connsiteY33" fmla="*/ 147343 h 712612"/>
                <a:gd name="connsiteX34" fmla="*/ 694055 w 970147"/>
                <a:gd name="connsiteY34" fmla="*/ 128693 h 712612"/>
                <a:gd name="connsiteX35" fmla="*/ 685693 w 970147"/>
                <a:gd name="connsiteY35" fmla="*/ 116961 h 712612"/>
                <a:gd name="connsiteX36" fmla="*/ 701929 w 970147"/>
                <a:gd name="connsiteY36" fmla="*/ 114253 h 712612"/>
                <a:gd name="connsiteX37" fmla="*/ 713700 w 970147"/>
                <a:gd name="connsiteY37" fmla="*/ 101553 h 712612"/>
                <a:gd name="connsiteX38" fmla="*/ 732534 w 970147"/>
                <a:gd name="connsiteY38" fmla="*/ 104093 h 712612"/>
                <a:gd name="connsiteX39" fmla="*/ 737892 w 970147"/>
                <a:gd name="connsiteY39" fmla="*/ 98411 h 712612"/>
                <a:gd name="connsiteX40" fmla="*/ 748160 w 970147"/>
                <a:gd name="connsiteY40" fmla="*/ 96172 h 712612"/>
                <a:gd name="connsiteX41" fmla="*/ 737648 w 970147"/>
                <a:gd name="connsiteY41" fmla="*/ 86913 h 712612"/>
                <a:gd name="connsiteX42" fmla="*/ 726445 w 970147"/>
                <a:gd name="connsiteY42" fmla="*/ 84039 h 712612"/>
                <a:gd name="connsiteX43" fmla="*/ 714268 w 970147"/>
                <a:gd name="connsiteY43" fmla="*/ 78022 h 712612"/>
                <a:gd name="connsiteX44" fmla="*/ 697221 w 970147"/>
                <a:gd name="connsiteY44" fmla="*/ 66157 h 712612"/>
                <a:gd name="connsiteX45" fmla="*/ 670553 w 970147"/>
                <a:gd name="connsiteY45" fmla="*/ 47072 h 712612"/>
                <a:gd name="connsiteX46" fmla="*/ 651436 w 970147"/>
                <a:gd name="connsiteY46" fmla="*/ 26784 h 712612"/>
                <a:gd name="connsiteX47" fmla="*/ 646159 w 970147"/>
                <a:gd name="connsiteY47" fmla="*/ 32466 h 712612"/>
                <a:gd name="connsiteX48" fmla="*/ 639421 w 970147"/>
                <a:gd name="connsiteY48" fmla="*/ 39886 h 712612"/>
                <a:gd name="connsiteX49" fmla="*/ 612997 w 970147"/>
                <a:gd name="connsiteY49" fmla="*/ 30661 h 712612"/>
                <a:gd name="connsiteX50" fmla="*/ 603946 w 970147"/>
                <a:gd name="connsiteY50" fmla="*/ 25313 h 712612"/>
                <a:gd name="connsiteX51" fmla="*/ 600292 w 970147"/>
                <a:gd name="connsiteY51" fmla="*/ 29291 h 712612"/>
                <a:gd name="connsiteX52" fmla="*/ 589008 w 970147"/>
                <a:gd name="connsiteY52" fmla="*/ 27586 h 712612"/>
                <a:gd name="connsiteX53" fmla="*/ 575857 w 970147"/>
                <a:gd name="connsiteY53" fmla="*/ 32800 h 712612"/>
                <a:gd name="connsiteX54" fmla="*/ 549150 w 970147"/>
                <a:gd name="connsiteY54" fmla="*/ 40722 h 712612"/>
                <a:gd name="connsiteX55" fmla="*/ 546348 w 970147"/>
                <a:gd name="connsiteY55" fmla="*/ 59138 h 712612"/>
                <a:gd name="connsiteX56" fmla="*/ 523050 w 970147"/>
                <a:gd name="connsiteY56" fmla="*/ 40588 h 712612"/>
                <a:gd name="connsiteX57" fmla="*/ 509695 w 970147"/>
                <a:gd name="connsiteY57" fmla="*/ 39919 h 712612"/>
                <a:gd name="connsiteX58" fmla="*/ 503810 w 970147"/>
                <a:gd name="connsiteY58" fmla="*/ 25681 h 712612"/>
                <a:gd name="connsiteX59" fmla="*/ 492121 w 970147"/>
                <a:gd name="connsiteY59" fmla="*/ 7131 h 712612"/>
                <a:gd name="connsiteX60" fmla="*/ 463423 w 970147"/>
                <a:gd name="connsiteY60" fmla="*/ 2752 h 712612"/>
                <a:gd name="connsiteX61" fmla="*/ 445321 w 970147"/>
                <a:gd name="connsiteY61" fmla="*/ 2251 h 712612"/>
                <a:gd name="connsiteX62" fmla="*/ 431723 w 970147"/>
                <a:gd name="connsiteY62" fmla="*/ 4658 h 712612"/>
                <a:gd name="connsiteX63" fmla="*/ 410901 w 970147"/>
                <a:gd name="connsiteY63" fmla="*/ 5527 h 712612"/>
                <a:gd name="connsiteX64" fmla="*/ 396653 w 970147"/>
                <a:gd name="connsiteY64" fmla="*/ 15855 h 712612"/>
                <a:gd name="connsiteX65" fmla="*/ 382163 w 970147"/>
                <a:gd name="connsiteY65" fmla="*/ 14016 h 712612"/>
                <a:gd name="connsiteX66" fmla="*/ 370230 w 970147"/>
                <a:gd name="connsiteY66" fmla="*/ 26450 h 712612"/>
                <a:gd name="connsiteX67" fmla="*/ 367753 w 970147"/>
                <a:gd name="connsiteY67" fmla="*/ 10908 h 712612"/>
                <a:gd name="connsiteX68" fmla="*/ 337839 w 970147"/>
                <a:gd name="connsiteY68" fmla="*/ 13548 h 712612"/>
                <a:gd name="connsiteX69" fmla="*/ 330898 w 970147"/>
                <a:gd name="connsiteY69" fmla="*/ 26517 h 712612"/>
                <a:gd name="connsiteX70" fmla="*/ 301713 w 970147"/>
                <a:gd name="connsiteY70" fmla="*/ 30327 h 712612"/>
                <a:gd name="connsiteX71" fmla="*/ 269648 w 970147"/>
                <a:gd name="connsiteY71" fmla="*/ 32901 h 712612"/>
                <a:gd name="connsiteX72" fmla="*/ 238028 w 970147"/>
                <a:gd name="connsiteY72" fmla="*/ 23575 h 712612"/>
                <a:gd name="connsiteX73" fmla="*/ 212254 w 970147"/>
                <a:gd name="connsiteY73" fmla="*/ 19030 h 712612"/>
                <a:gd name="connsiteX74" fmla="*/ 192568 w 970147"/>
                <a:gd name="connsiteY74" fmla="*/ 19765 h 712612"/>
                <a:gd name="connsiteX75" fmla="*/ 169229 w 970147"/>
                <a:gd name="connsiteY75" fmla="*/ 9237 h 712612"/>
                <a:gd name="connsiteX76" fmla="*/ 123240 w 970147"/>
                <a:gd name="connsiteY76" fmla="*/ 9671 h 712612"/>
                <a:gd name="connsiteX77" fmla="*/ 107005 w 970147"/>
                <a:gd name="connsiteY77" fmla="*/ 10106 h 712612"/>
                <a:gd name="connsiteX78" fmla="*/ 97426 w 970147"/>
                <a:gd name="connsiteY78" fmla="*/ 14284 h 712612"/>
                <a:gd name="connsiteX79" fmla="*/ 101119 w 970147"/>
                <a:gd name="connsiteY79" fmla="*/ 3287 h 712612"/>
                <a:gd name="connsiteX80" fmla="*/ 80297 w 970147"/>
                <a:gd name="connsiteY80" fmla="*/ 23341 h 712612"/>
                <a:gd name="connsiteX81" fmla="*/ 54766 w 970147"/>
                <a:gd name="connsiteY81" fmla="*/ 46404 h 712612"/>
                <a:gd name="connsiteX82" fmla="*/ 58256 w 970147"/>
                <a:gd name="connsiteY82" fmla="*/ 77621 h 712612"/>
                <a:gd name="connsiteX83" fmla="*/ 48474 w 970147"/>
                <a:gd name="connsiteY83" fmla="*/ 64252 h 712612"/>
                <a:gd name="connsiteX84" fmla="*/ 49164 w 970147"/>
                <a:gd name="connsiteY84" fmla="*/ 77856 h 712612"/>
                <a:gd name="connsiteX85" fmla="*/ 41046 w 970147"/>
                <a:gd name="connsiteY85" fmla="*/ 66291 h 712612"/>
                <a:gd name="connsiteX86" fmla="*/ 36419 w 970147"/>
                <a:gd name="connsiteY86" fmla="*/ 67394 h 712612"/>
                <a:gd name="connsiteX87" fmla="*/ 41006 w 970147"/>
                <a:gd name="connsiteY87" fmla="*/ 90189 h 712612"/>
                <a:gd name="connsiteX88" fmla="*/ 45836 w 970147"/>
                <a:gd name="connsiteY88" fmla="*/ 128592 h 712612"/>
                <a:gd name="connsiteX89" fmla="*/ 41980 w 970147"/>
                <a:gd name="connsiteY89" fmla="*/ 150618 h 712612"/>
                <a:gd name="connsiteX90" fmla="*/ 42873 w 970147"/>
                <a:gd name="connsiteY90" fmla="*/ 178093 h 712612"/>
                <a:gd name="connsiteX91" fmla="*/ 42873 w 970147"/>
                <a:gd name="connsiteY91" fmla="*/ 191195 h 712612"/>
                <a:gd name="connsiteX92" fmla="*/ 26069 w 970147"/>
                <a:gd name="connsiteY92" fmla="*/ 210179 h 712612"/>
                <a:gd name="connsiteX93" fmla="*/ 4434 w 970147"/>
                <a:gd name="connsiteY93" fmla="*/ 212820 h 712612"/>
                <a:gd name="connsiteX94" fmla="*/ 11781 w 970147"/>
                <a:gd name="connsiteY94" fmla="*/ 228596 h 712612"/>
                <a:gd name="connsiteX95" fmla="*/ 25501 w 970147"/>
                <a:gd name="connsiteY95" fmla="*/ 247748 h 712612"/>
                <a:gd name="connsiteX96" fmla="*/ 54604 w 970147"/>
                <a:gd name="connsiteY96" fmla="*/ 260582 h 712612"/>
                <a:gd name="connsiteX97" fmla="*/ 76400 w 970147"/>
                <a:gd name="connsiteY97" fmla="*/ 262454 h 712612"/>
                <a:gd name="connsiteX98" fmla="*/ 106152 w 970147"/>
                <a:gd name="connsiteY98" fmla="*/ 263791 h 712612"/>
                <a:gd name="connsiteX99" fmla="*/ 170325 w 970147"/>
                <a:gd name="connsiteY99" fmla="*/ 284213 h 712612"/>
                <a:gd name="connsiteX100" fmla="*/ 203771 w 970147"/>
                <a:gd name="connsiteY100" fmla="*/ 294240 h 712612"/>
                <a:gd name="connsiteX101" fmla="*/ 227435 w 970147"/>
                <a:gd name="connsiteY101" fmla="*/ 288892 h 712612"/>
                <a:gd name="connsiteX102" fmla="*/ 257390 w 970147"/>
                <a:gd name="connsiteY102" fmla="*/ 292234 h 712612"/>
                <a:gd name="connsiteX103" fmla="*/ 281744 w 970147"/>
                <a:gd name="connsiteY103" fmla="*/ 296913 h 712612"/>
                <a:gd name="connsiteX104" fmla="*/ 320629 w 970147"/>
                <a:gd name="connsiteY104" fmla="*/ 311052 h 712612"/>
                <a:gd name="connsiteX105" fmla="*/ 361219 w 970147"/>
                <a:gd name="connsiteY105" fmla="*/ 318238 h 712612"/>
                <a:gd name="connsiteX106" fmla="*/ 411712 w 970147"/>
                <a:gd name="connsiteY106" fmla="*/ 344977 h 712612"/>
                <a:gd name="connsiteX107" fmla="*/ 453479 w 970147"/>
                <a:gd name="connsiteY107" fmla="*/ 377063 h 712612"/>
                <a:gd name="connsiteX108" fmla="*/ 449907 w 970147"/>
                <a:gd name="connsiteY108" fmla="*/ 390967 h 712612"/>
                <a:gd name="connsiteX109" fmla="*/ 460906 w 970147"/>
                <a:gd name="connsiteY109" fmla="*/ 407245 h 712612"/>
                <a:gd name="connsiteX110" fmla="*/ 471257 w 970147"/>
                <a:gd name="connsiteY110" fmla="*/ 436891 h 712612"/>
                <a:gd name="connsiteX111" fmla="*/ 493988 w 970147"/>
                <a:gd name="connsiteY111" fmla="*/ 435554 h 712612"/>
                <a:gd name="connsiteX112" fmla="*/ 507545 w 970147"/>
                <a:gd name="connsiteY112" fmla="*/ 434987 h 712612"/>
                <a:gd name="connsiteX113" fmla="*/ 536282 w 970147"/>
                <a:gd name="connsiteY113" fmla="*/ 433081 h 712612"/>
                <a:gd name="connsiteX114" fmla="*/ 515663 w 970147"/>
                <a:gd name="connsiteY114" fmla="*/ 444011 h 712612"/>
                <a:gd name="connsiteX115" fmla="*/ 492121 w 970147"/>
                <a:gd name="connsiteY115" fmla="*/ 451464 h 712612"/>
                <a:gd name="connsiteX116" fmla="*/ 499386 w 970147"/>
                <a:gd name="connsiteY116" fmla="*/ 462060 h 712612"/>
                <a:gd name="connsiteX117" fmla="*/ 521872 w 970147"/>
                <a:gd name="connsiteY117" fmla="*/ 455375 h 712612"/>
                <a:gd name="connsiteX118" fmla="*/ 512253 w 970147"/>
                <a:gd name="connsiteY118" fmla="*/ 475763 h 712612"/>
                <a:gd name="connsiteX119" fmla="*/ 532142 w 970147"/>
                <a:gd name="connsiteY119" fmla="*/ 489667 h 712612"/>
                <a:gd name="connsiteX120" fmla="*/ 528489 w 970147"/>
                <a:gd name="connsiteY120" fmla="*/ 516039 h 712612"/>
                <a:gd name="connsiteX121" fmla="*/ 532792 w 970147"/>
                <a:gd name="connsiteY121" fmla="*/ 543412 h 712612"/>
                <a:gd name="connsiteX122" fmla="*/ 579753 w 970147"/>
                <a:gd name="connsiteY122" fmla="*/ 586429 h 712612"/>
                <a:gd name="connsiteX123" fmla="*/ 612225 w 970147"/>
                <a:gd name="connsiteY123" fmla="*/ 594183 h 712612"/>
                <a:gd name="connsiteX124" fmla="*/ 625701 w 970147"/>
                <a:gd name="connsiteY124" fmla="*/ 592946 h 712612"/>
                <a:gd name="connsiteX125" fmla="*/ 623469 w 970147"/>
                <a:gd name="connsiteY125" fmla="*/ 599330 h 712612"/>
                <a:gd name="connsiteX126" fmla="*/ 620141 w 970147"/>
                <a:gd name="connsiteY126" fmla="*/ 605647 h 712612"/>
                <a:gd name="connsiteX127" fmla="*/ 629638 w 970147"/>
                <a:gd name="connsiteY127" fmla="*/ 602305 h 712612"/>
                <a:gd name="connsiteX128" fmla="*/ 641126 w 970147"/>
                <a:gd name="connsiteY128" fmla="*/ 630280 h 712612"/>
                <a:gd name="connsiteX129" fmla="*/ 658985 w 970147"/>
                <a:gd name="connsiteY129" fmla="*/ 626671 h 712612"/>
                <a:gd name="connsiteX130" fmla="*/ 686992 w 970147"/>
                <a:gd name="connsiteY130" fmla="*/ 627874 h 712612"/>
                <a:gd name="connsiteX131" fmla="*/ 729652 w 970147"/>
                <a:gd name="connsiteY131" fmla="*/ 643884 h 712612"/>
                <a:gd name="connsiteX132" fmla="*/ 751204 w 970147"/>
                <a:gd name="connsiteY132" fmla="*/ 635762 h 712612"/>
                <a:gd name="connsiteX133" fmla="*/ 765898 w 970147"/>
                <a:gd name="connsiteY133" fmla="*/ 622392 h 712612"/>
                <a:gd name="connsiteX134" fmla="*/ 791470 w 970147"/>
                <a:gd name="connsiteY134" fmla="*/ 614471 h 712612"/>
                <a:gd name="connsiteX135" fmla="*/ 832506 w 970147"/>
                <a:gd name="connsiteY135" fmla="*/ 594985 h 712612"/>
                <a:gd name="connsiteX136" fmla="*/ 847727 w 970147"/>
                <a:gd name="connsiteY136" fmla="*/ 592478 h 712612"/>
                <a:gd name="connsiteX137" fmla="*/ 872081 w 970147"/>
                <a:gd name="connsiteY137" fmla="*/ 587732 h 712612"/>
                <a:gd name="connsiteX138" fmla="*/ 896435 w 970147"/>
                <a:gd name="connsiteY138" fmla="*/ 577170 h 712612"/>
                <a:gd name="connsiteX139" fmla="*/ 916730 w 970147"/>
                <a:gd name="connsiteY139" fmla="*/ 562531 h 712612"/>
                <a:gd name="connsiteX140" fmla="*/ 931017 w 970147"/>
                <a:gd name="connsiteY140" fmla="*/ 549930 h 712612"/>
                <a:gd name="connsiteX141" fmla="*/ 942748 w 970147"/>
                <a:gd name="connsiteY141" fmla="*/ 537798 h 712612"/>
                <a:gd name="connsiteX142" fmla="*/ 623387 w 970147"/>
                <a:gd name="connsiteY142" fmla="*/ 21904 h 712612"/>
                <a:gd name="connsiteX143" fmla="*/ 589130 w 970147"/>
                <a:gd name="connsiteY143" fmla="*/ 12145 h 712612"/>
                <a:gd name="connsiteX144" fmla="*/ 623265 w 970147"/>
                <a:gd name="connsiteY144" fmla="*/ 21904 h 712612"/>
                <a:gd name="connsiteX145" fmla="*/ 466427 w 970147"/>
                <a:gd name="connsiteY145" fmla="*/ 464499 h 712612"/>
                <a:gd name="connsiteX146" fmla="*/ 494272 w 970147"/>
                <a:gd name="connsiteY146" fmla="*/ 475061 h 712612"/>
                <a:gd name="connsiteX147" fmla="*/ 466305 w 970147"/>
                <a:gd name="connsiteY147" fmla="*/ 464499 h 712612"/>
                <a:gd name="connsiteX148" fmla="*/ 613727 w 970147"/>
                <a:gd name="connsiteY148" fmla="*/ 664005 h 712612"/>
                <a:gd name="connsiteX149" fmla="*/ 582352 w 970147"/>
                <a:gd name="connsiteY149" fmla="*/ 637934 h 712612"/>
                <a:gd name="connsiteX150" fmla="*/ 577359 w 970147"/>
                <a:gd name="connsiteY150" fmla="*/ 662467 h 712612"/>
                <a:gd name="connsiteX151" fmla="*/ 566887 w 970147"/>
                <a:gd name="connsiteY151" fmla="*/ 682087 h 712612"/>
                <a:gd name="connsiteX152" fmla="*/ 587182 w 970147"/>
                <a:gd name="connsiteY152" fmla="*/ 710564 h 712612"/>
                <a:gd name="connsiteX153" fmla="*/ 591849 w 970147"/>
                <a:gd name="connsiteY153" fmla="*/ 708792 h 712612"/>
                <a:gd name="connsiteX154" fmla="*/ 600333 w 970147"/>
                <a:gd name="connsiteY154" fmla="*/ 710363 h 712612"/>
                <a:gd name="connsiteX155" fmla="*/ 610561 w 970147"/>
                <a:gd name="connsiteY155" fmla="*/ 705918 h 712612"/>
                <a:gd name="connsiteX156" fmla="*/ 633982 w 970147"/>
                <a:gd name="connsiteY156" fmla="*/ 699768 h 712612"/>
                <a:gd name="connsiteX157" fmla="*/ 652166 w 970147"/>
                <a:gd name="connsiteY157" fmla="*/ 680516 h 712612"/>
                <a:gd name="connsiteX158" fmla="*/ 613606 w 970147"/>
                <a:gd name="connsiteY158" fmla="*/ 664005 h 712612"/>
                <a:gd name="connsiteX159" fmla="*/ 613606 w 970147"/>
                <a:gd name="connsiteY159" fmla="*/ 664005 h 71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970147" h="712612">
                  <a:moveTo>
                    <a:pt x="942383" y="537263"/>
                  </a:moveTo>
                  <a:cubicBezTo>
                    <a:pt x="953789" y="538065"/>
                    <a:pt x="944209" y="523325"/>
                    <a:pt x="945711" y="520551"/>
                  </a:cubicBezTo>
                  <a:cubicBezTo>
                    <a:pt x="947213" y="517777"/>
                    <a:pt x="970917" y="495683"/>
                    <a:pt x="970065" y="494748"/>
                  </a:cubicBezTo>
                  <a:cubicBezTo>
                    <a:pt x="966493" y="490837"/>
                    <a:pt x="957604" y="498090"/>
                    <a:pt x="955209" y="489467"/>
                  </a:cubicBezTo>
                  <a:cubicBezTo>
                    <a:pt x="953504" y="483317"/>
                    <a:pt x="956021" y="478136"/>
                    <a:pt x="956508" y="472421"/>
                  </a:cubicBezTo>
                  <a:cubicBezTo>
                    <a:pt x="956914" y="468410"/>
                    <a:pt x="956183" y="464399"/>
                    <a:pt x="954356" y="460656"/>
                  </a:cubicBezTo>
                  <a:cubicBezTo>
                    <a:pt x="952083" y="456344"/>
                    <a:pt x="947375" y="456177"/>
                    <a:pt x="944697" y="452801"/>
                  </a:cubicBezTo>
                  <a:cubicBezTo>
                    <a:pt x="942910" y="450529"/>
                    <a:pt x="945224" y="448055"/>
                    <a:pt x="945549" y="446116"/>
                  </a:cubicBezTo>
                  <a:cubicBezTo>
                    <a:pt x="946198" y="442173"/>
                    <a:pt x="938405" y="441337"/>
                    <a:pt x="937958" y="436992"/>
                  </a:cubicBezTo>
                  <a:cubicBezTo>
                    <a:pt x="937390" y="431644"/>
                    <a:pt x="951678" y="422185"/>
                    <a:pt x="948959" y="418542"/>
                  </a:cubicBezTo>
                  <a:cubicBezTo>
                    <a:pt x="944778" y="414464"/>
                    <a:pt x="939866" y="410921"/>
                    <a:pt x="934387" y="408013"/>
                  </a:cubicBezTo>
                  <a:cubicBezTo>
                    <a:pt x="922210" y="405373"/>
                    <a:pt x="923062" y="398187"/>
                    <a:pt x="930693" y="393842"/>
                  </a:cubicBezTo>
                  <a:cubicBezTo>
                    <a:pt x="941205" y="387892"/>
                    <a:pt x="923955" y="374891"/>
                    <a:pt x="929191" y="367103"/>
                  </a:cubicBezTo>
                  <a:cubicBezTo>
                    <a:pt x="935279" y="358012"/>
                    <a:pt x="920302" y="343907"/>
                    <a:pt x="911981" y="334281"/>
                  </a:cubicBezTo>
                  <a:cubicBezTo>
                    <a:pt x="907232" y="328499"/>
                    <a:pt x="901996" y="322984"/>
                    <a:pt x="896313" y="317803"/>
                  </a:cubicBezTo>
                  <a:cubicBezTo>
                    <a:pt x="886369" y="309113"/>
                    <a:pt x="900372" y="310450"/>
                    <a:pt x="896882" y="303632"/>
                  </a:cubicBezTo>
                  <a:cubicBezTo>
                    <a:pt x="892052" y="294373"/>
                    <a:pt x="905364" y="287689"/>
                    <a:pt x="906460" y="280035"/>
                  </a:cubicBezTo>
                  <a:cubicBezTo>
                    <a:pt x="907314" y="274152"/>
                    <a:pt x="898545" y="265796"/>
                    <a:pt x="903051" y="260883"/>
                  </a:cubicBezTo>
                  <a:cubicBezTo>
                    <a:pt x="907556" y="255970"/>
                    <a:pt x="914376" y="245140"/>
                    <a:pt x="915228" y="239057"/>
                  </a:cubicBezTo>
                  <a:cubicBezTo>
                    <a:pt x="913523" y="232272"/>
                    <a:pt x="910641" y="225721"/>
                    <a:pt x="906704" y="219605"/>
                  </a:cubicBezTo>
                  <a:cubicBezTo>
                    <a:pt x="899804" y="213956"/>
                    <a:pt x="880930" y="214591"/>
                    <a:pt x="884908" y="204832"/>
                  </a:cubicBezTo>
                  <a:cubicBezTo>
                    <a:pt x="887911" y="197245"/>
                    <a:pt x="896070" y="192231"/>
                    <a:pt x="899114" y="184543"/>
                  </a:cubicBezTo>
                  <a:cubicBezTo>
                    <a:pt x="902159" y="176856"/>
                    <a:pt x="900007" y="171174"/>
                    <a:pt x="898424" y="162985"/>
                  </a:cubicBezTo>
                  <a:cubicBezTo>
                    <a:pt x="897125" y="156301"/>
                    <a:pt x="905162" y="148680"/>
                    <a:pt x="901549" y="142329"/>
                  </a:cubicBezTo>
                  <a:cubicBezTo>
                    <a:pt x="898586" y="137282"/>
                    <a:pt x="882594" y="141928"/>
                    <a:pt x="880239" y="143265"/>
                  </a:cubicBezTo>
                  <a:cubicBezTo>
                    <a:pt x="876790" y="145237"/>
                    <a:pt x="875816" y="148780"/>
                    <a:pt x="872487" y="150919"/>
                  </a:cubicBezTo>
                  <a:cubicBezTo>
                    <a:pt x="869159" y="153059"/>
                    <a:pt x="864044" y="152423"/>
                    <a:pt x="861203" y="154262"/>
                  </a:cubicBezTo>
                  <a:cubicBezTo>
                    <a:pt x="856333" y="157604"/>
                    <a:pt x="857144" y="167631"/>
                    <a:pt x="848377" y="167865"/>
                  </a:cubicBezTo>
                  <a:cubicBezTo>
                    <a:pt x="838676" y="168199"/>
                    <a:pt x="834942" y="181469"/>
                    <a:pt x="831654" y="186482"/>
                  </a:cubicBezTo>
                  <a:cubicBezTo>
                    <a:pt x="821912" y="201289"/>
                    <a:pt x="806529" y="210814"/>
                    <a:pt x="786071" y="217299"/>
                  </a:cubicBezTo>
                  <a:cubicBezTo>
                    <a:pt x="775518" y="220641"/>
                    <a:pt x="763139" y="217299"/>
                    <a:pt x="754167" y="209177"/>
                  </a:cubicBezTo>
                  <a:cubicBezTo>
                    <a:pt x="745197" y="201055"/>
                    <a:pt x="751651" y="194871"/>
                    <a:pt x="743655" y="187518"/>
                  </a:cubicBezTo>
                  <a:cubicBezTo>
                    <a:pt x="736552" y="180833"/>
                    <a:pt x="727419" y="179396"/>
                    <a:pt x="723847" y="171341"/>
                  </a:cubicBezTo>
                  <a:cubicBezTo>
                    <a:pt x="719788" y="161949"/>
                    <a:pt x="716744" y="153059"/>
                    <a:pt x="703269" y="147343"/>
                  </a:cubicBezTo>
                  <a:cubicBezTo>
                    <a:pt x="692268" y="142664"/>
                    <a:pt x="698357" y="135645"/>
                    <a:pt x="694055" y="128693"/>
                  </a:cubicBezTo>
                  <a:cubicBezTo>
                    <a:pt x="691011" y="124916"/>
                    <a:pt x="688209" y="121005"/>
                    <a:pt x="685693" y="116961"/>
                  </a:cubicBezTo>
                  <a:cubicBezTo>
                    <a:pt x="683989" y="113084"/>
                    <a:pt x="699210" y="115223"/>
                    <a:pt x="701929" y="114253"/>
                  </a:cubicBezTo>
                  <a:cubicBezTo>
                    <a:pt x="710655" y="111212"/>
                    <a:pt x="700752" y="98344"/>
                    <a:pt x="713700" y="101553"/>
                  </a:cubicBezTo>
                  <a:cubicBezTo>
                    <a:pt x="719301" y="102956"/>
                    <a:pt x="727460" y="105597"/>
                    <a:pt x="732534" y="104093"/>
                  </a:cubicBezTo>
                  <a:cubicBezTo>
                    <a:pt x="736105" y="103023"/>
                    <a:pt x="734928" y="99681"/>
                    <a:pt x="737892" y="98411"/>
                  </a:cubicBezTo>
                  <a:cubicBezTo>
                    <a:pt x="740855" y="97141"/>
                    <a:pt x="748648" y="100851"/>
                    <a:pt x="748160" y="96172"/>
                  </a:cubicBezTo>
                  <a:cubicBezTo>
                    <a:pt x="746781" y="91826"/>
                    <a:pt x="742803" y="88350"/>
                    <a:pt x="737648" y="86913"/>
                  </a:cubicBezTo>
                  <a:cubicBezTo>
                    <a:pt x="730910" y="85843"/>
                    <a:pt x="726567" y="94968"/>
                    <a:pt x="726445" y="84039"/>
                  </a:cubicBezTo>
                  <a:cubicBezTo>
                    <a:pt x="726445" y="76217"/>
                    <a:pt x="723239" y="78156"/>
                    <a:pt x="714268" y="78022"/>
                  </a:cubicBezTo>
                  <a:cubicBezTo>
                    <a:pt x="703999" y="77856"/>
                    <a:pt x="703228" y="71338"/>
                    <a:pt x="697221" y="66157"/>
                  </a:cubicBezTo>
                  <a:cubicBezTo>
                    <a:pt x="688940" y="59238"/>
                    <a:pt x="680011" y="52854"/>
                    <a:pt x="670553" y="47072"/>
                  </a:cubicBezTo>
                  <a:cubicBezTo>
                    <a:pt x="659350" y="39986"/>
                    <a:pt x="657524" y="35675"/>
                    <a:pt x="651436" y="26784"/>
                  </a:cubicBezTo>
                  <a:cubicBezTo>
                    <a:pt x="645347" y="17893"/>
                    <a:pt x="643318" y="27352"/>
                    <a:pt x="646159" y="32466"/>
                  </a:cubicBezTo>
                  <a:cubicBezTo>
                    <a:pt x="649893" y="39151"/>
                    <a:pt x="649974" y="42092"/>
                    <a:pt x="639421" y="39886"/>
                  </a:cubicBezTo>
                  <a:cubicBezTo>
                    <a:pt x="630126" y="37847"/>
                    <a:pt x="621236" y="34739"/>
                    <a:pt x="612997" y="30661"/>
                  </a:cubicBezTo>
                  <a:cubicBezTo>
                    <a:pt x="610114" y="28723"/>
                    <a:pt x="607111" y="26951"/>
                    <a:pt x="603946" y="25313"/>
                  </a:cubicBezTo>
                  <a:cubicBezTo>
                    <a:pt x="601104" y="24378"/>
                    <a:pt x="602728" y="29157"/>
                    <a:pt x="600292" y="29291"/>
                  </a:cubicBezTo>
                  <a:cubicBezTo>
                    <a:pt x="596233" y="29291"/>
                    <a:pt x="593798" y="26417"/>
                    <a:pt x="589008" y="27586"/>
                  </a:cubicBezTo>
                  <a:cubicBezTo>
                    <a:pt x="584503" y="29124"/>
                    <a:pt x="580119" y="30862"/>
                    <a:pt x="575857" y="32800"/>
                  </a:cubicBezTo>
                  <a:cubicBezTo>
                    <a:pt x="567334" y="36243"/>
                    <a:pt x="558362" y="38884"/>
                    <a:pt x="549150" y="40722"/>
                  </a:cubicBezTo>
                  <a:cubicBezTo>
                    <a:pt x="536973" y="42794"/>
                    <a:pt x="553533" y="57433"/>
                    <a:pt x="546348" y="59138"/>
                  </a:cubicBezTo>
                  <a:cubicBezTo>
                    <a:pt x="537012" y="61545"/>
                    <a:pt x="531655" y="42092"/>
                    <a:pt x="523050" y="40588"/>
                  </a:cubicBezTo>
                  <a:cubicBezTo>
                    <a:pt x="520412" y="40154"/>
                    <a:pt x="507950" y="50983"/>
                    <a:pt x="509695" y="39919"/>
                  </a:cubicBezTo>
                  <a:cubicBezTo>
                    <a:pt x="511157" y="30461"/>
                    <a:pt x="511765" y="34405"/>
                    <a:pt x="503810" y="25681"/>
                  </a:cubicBezTo>
                  <a:cubicBezTo>
                    <a:pt x="498412" y="19798"/>
                    <a:pt x="500603" y="13281"/>
                    <a:pt x="492121" y="7131"/>
                  </a:cubicBezTo>
                  <a:cubicBezTo>
                    <a:pt x="488995" y="4825"/>
                    <a:pt x="466508" y="1683"/>
                    <a:pt x="463423" y="2752"/>
                  </a:cubicBezTo>
                  <a:cubicBezTo>
                    <a:pt x="452343" y="6663"/>
                    <a:pt x="461150" y="11543"/>
                    <a:pt x="445321" y="2251"/>
                  </a:cubicBezTo>
                  <a:cubicBezTo>
                    <a:pt x="432413" y="-5369"/>
                    <a:pt x="436959" y="6429"/>
                    <a:pt x="431723" y="4658"/>
                  </a:cubicBezTo>
                  <a:cubicBezTo>
                    <a:pt x="424782" y="3989"/>
                    <a:pt x="417719" y="4290"/>
                    <a:pt x="410901" y="5527"/>
                  </a:cubicBezTo>
                  <a:cubicBezTo>
                    <a:pt x="406313" y="8668"/>
                    <a:pt x="405136" y="23241"/>
                    <a:pt x="396653" y="15855"/>
                  </a:cubicBezTo>
                  <a:cubicBezTo>
                    <a:pt x="391214" y="11108"/>
                    <a:pt x="380418" y="4357"/>
                    <a:pt x="382163" y="14016"/>
                  </a:cubicBezTo>
                  <a:cubicBezTo>
                    <a:pt x="383908" y="23676"/>
                    <a:pt x="381473" y="24812"/>
                    <a:pt x="370230" y="26450"/>
                  </a:cubicBezTo>
                  <a:cubicBezTo>
                    <a:pt x="363329" y="27453"/>
                    <a:pt x="366860" y="12345"/>
                    <a:pt x="367753" y="10908"/>
                  </a:cubicBezTo>
                  <a:cubicBezTo>
                    <a:pt x="371082" y="5560"/>
                    <a:pt x="341167" y="8134"/>
                    <a:pt x="337839" y="13548"/>
                  </a:cubicBezTo>
                  <a:cubicBezTo>
                    <a:pt x="335363" y="17526"/>
                    <a:pt x="338447" y="26082"/>
                    <a:pt x="330898" y="26517"/>
                  </a:cubicBezTo>
                  <a:cubicBezTo>
                    <a:pt x="321075" y="27252"/>
                    <a:pt x="311334" y="28522"/>
                    <a:pt x="301713" y="30327"/>
                  </a:cubicBezTo>
                  <a:cubicBezTo>
                    <a:pt x="291283" y="32098"/>
                    <a:pt x="281419" y="35808"/>
                    <a:pt x="269648" y="32901"/>
                  </a:cubicBezTo>
                  <a:cubicBezTo>
                    <a:pt x="260475" y="30661"/>
                    <a:pt x="247283" y="22573"/>
                    <a:pt x="238028" y="23575"/>
                  </a:cubicBezTo>
                  <a:cubicBezTo>
                    <a:pt x="228774" y="24578"/>
                    <a:pt x="221225" y="18361"/>
                    <a:pt x="212254" y="19030"/>
                  </a:cubicBezTo>
                  <a:cubicBezTo>
                    <a:pt x="205719" y="19765"/>
                    <a:pt x="199143" y="19999"/>
                    <a:pt x="192568" y="19765"/>
                  </a:cubicBezTo>
                  <a:cubicBezTo>
                    <a:pt x="184044" y="19164"/>
                    <a:pt x="181690" y="10774"/>
                    <a:pt x="169229" y="9237"/>
                  </a:cubicBezTo>
                  <a:cubicBezTo>
                    <a:pt x="152993" y="7231"/>
                    <a:pt x="139964" y="12980"/>
                    <a:pt x="123240" y="9671"/>
                  </a:cubicBezTo>
                  <a:cubicBezTo>
                    <a:pt x="116015" y="8267"/>
                    <a:pt x="112322" y="6697"/>
                    <a:pt x="107005" y="10106"/>
                  </a:cubicBezTo>
                  <a:cubicBezTo>
                    <a:pt x="106437" y="10440"/>
                    <a:pt x="98887" y="16456"/>
                    <a:pt x="97426" y="14284"/>
                  </a:cubicBezTo>
                  <a:cubicBezTo>
                    <a:pt x="96249" y="12746"/>
                    <a:pt x="101850" y="3354"/>
                    <a:pt x="101119" y="3287"/>
                  </a:cubicBezTo>
                  <a:cubicBezTo>
                    <a:pt x="83544" y="1883"/>
                    <a:pt x="82083" y="15219"/>
                    <a:pt x="80297" y="23341"/>
                  </a:cubicBezTo>
                  <a:cubicBezTo>
                    <a:pt x="77902" y="34204"/>
                    <a:pt x="53345" y="31965"/>
                    <a:pt x="54766" y="46404"/>
                  </a:cubicBezTo>
                  <a:cubicBezTo>
                    <a:pt x="55578" y="54592"/>
                    <a:pt x="69215" y="71806"/>
                    <a:pt x="58256" y="77621"/>
                  </a:cubicBezTo>
                  <a:cubicBezTo>
                    <a:pt x="52086" y="80964"/>
                    <a:pt x="51681" y="63684"/>
                    <a:pt x="48474" y="64252"/>
                  </a:cubicBezTo>
                  <a:cubicBezTo>
                    <a:pt x="43928" y="65188"/>
                    <a:pt x="54522" y="75816"/>
                    <a:pt x="49164" y="77856"/>
                  </a:cubicBezTo>
                  <a:cubicBezTo>
                    <a:pt x="45674" y="79192"/>
                    <a:pt x="41656" y="67628"/>
                    <a:pt x="41046" y="66291"/>
                  </a:cubicBezTo>
                  <a:cubicBezTo>
                    <a:pt x="38246" y="61010"/>
                    <a:pt x="36054" y="63750"/>
                    <a:pt x="36419" y="67394"/>
                  </a:cubicBezTo>
                  <a:cubicBezTo>
                    <a:pt x="37190" y="74947"/>
                    <a:pt x="39585" y="82601"/>
                    <a:pt x="41006" y="90189"/>
                  </a:cubicBezTo>
                  <a:cubicBezTo>
                    <a:pt x="43563" y="103558"/>
                    <a:pt x="41858" y="114922"/>
                    <a:pt x="45836" y="128592"/>
                  </a:cubicBezTo>
                  <a:cubicBezTo>
                    <a:pt x="48393" y="137483"/>
                    <a:pt x="43928" y="142697"/>
                    <a:pt x="41980" y="150618"/>
                  </a:cubicBezTo>
                  <a:cubicBezTo>
                    <a:pt x="40275" y="159743"/>
                    <a:pt x="40600" y="169035"/>
                    <a:pt x="42873" y="178093"/>
                  </a:cubicBezTo>
                  <a:cubicBezTo>
                    <a:pt x="43726" y="182505"/>
                    <a:pt x="46931" y="187886"/>
                    <a:pt x="42873" y="191195"/>
                  </a:cubicBezTo>
                  <a:cubicBezTo>
                    <a:pt x="36135" y="196777"/>
                    <a:pt x="30453" y="203194"/>
                    <a:pt x="26069" y="210179"/>
                  </a:cubicBezTo>
                  <a:cubicBezTo>
                    <a:pt x="20265" y="218602"/>
                    <a:pt x="13648" y="212151"/>
                    <a:pt x="4434" y="212820"/>
                  </a:cubicBezTo>
                  <a:cubicBezTo>
                    <a:pt x="-8270" y="213756"/>
                    <a:pt x="9792" y="226657"/>
                    <a:pt x="11781" y="228596"/>
                  </a:cubicBezTo>
                  <a:cubicBezTo>
                    <a:pt x="18154" y="234813"/>
                    <a:pt x="15840" y="241798"/>
                    <a:pt x="25501" y="247748"/>
                  </a:cubicBezTo>
                  <a:cubicBezTo>
                    <a:pt x="34593" y="252895"/>
                    <a:pt x="44375" y="257173"/>
                    <a:pt x="54604" y="260582"/>
                  </a:cubicBezTo>
                  <a:cubicBezTo>
                    <a:pt x="61219" y="263691"/>
                    <a:pt x="69135" y="264359"/>
                    <a:pt x="76400" y="262454"/>
                  </a:cubicBezTo>
                  <a:cubicBezTo>
                    <a:pt x="87075" y="260415"/>
                    <a:pt x="96249" y="267601"/>
                    <a:pt x="106152" y="263791"/>
                  </a:cubicBezTo>
                  <a:cubicBezTo>
                    <a:pt x="123362" y="257106"/>
                    <a:pt x="154860" y="276859"/>
                    <a:pt x="170325" y="284213"/>
                  </a:cubicBezTo>
                  <a:cubicBezTo>
                    <a:pt x="180513" y="288959"/>
                    <a:pt x="192243" y="293671"/>
                    <a:pt x="203771" y="294240"/>
                  </a:cubicBezTo>
                  <a:cubicBezTo>
                    <a:pt x="213634" y="294641"/>
                    <a:pt x="218383" y="288792"/>
                    <a:pt x="227435" y="288892"/>
                  </a:cubicBezTo>
                  <a:cubicBezTo>
                    <a:pt x="237217" y="288892"/>
                    <a:pt x="247730" y="293371"/>
                    <a:pt x="257390" y="292234"/>
                  </a:cubicBezTo>
                  <a:cubicBezTo>
                    <a:pt x="265914" y="291499"/>
                    <a:pt x="274478" y="293137"/>
                    <a:pt x="281744" y="296913"/>
                  </a:cubicBezTo>
                  <a:cubicBezTo>
                    <a:pt x="294854" y="302629"/>
                    <a:pt x="306098" y="308244"/>
                    <a:pt x="320629" y="311052"/>
                  </a:cubicBezTo>
                  <a:cubicBezTo>
                    <a:pt x="334104" y="313692"/>
                    <a:pt x="348108" y="313893"/>
                    <a:pt x="361219" y="318238"/>
                  </a:cubicBezTo>
                  <a:cubicBezTo>
                    <a:pt x="378632" y="323953"/>
                    <a:pt x="405339" y="330905"/>
                    <a:pt x="411712" y="344977"/>
                  </a:cubicBezTo>
                  <a:cubicBezTo>
                    <a:pt x="417882" y="358346"/>
                    <a:pt x="444184" y="363894"/>
                    <a:pt x="453479" y="377063"/>
                  </a:cubicBezTo>
                  <a:cubicBezTo>
                    <a:pt x="461597" y="388929"/>
                    <a:pt x="456076" y="382311"/>
                    <a:pt x="449907" y="390967"/>
                  </a:cubicBezTo>
                  <a:cubicBezTo>
                    <a:pt x="447918" y="393775"/>
                    <a:pt x="459364" y="404137"/>
                    <a:pt x="460906" y="407245"/>
                  </a:cubicBezTo>
                  <a:cubicBezTo>
                    <a:pt x="465575" y="416537"/>
                    <a:pt x="445239" y="442941"/>
                    <a:pt x="471257" y="436891"/>
                  </a:cubicBezTo>
                  <a:cubicBezTo>
                    <a:pt x="478848" y="435120"/>
                    <a:pt x="485221" y="433148"/>
                    <a:pt x="493988" y="435554"/>
                  </a:cubicBezTo>
                  <a:cubicBezTo>
                    <a:pt x="499589" y="437126"/>
                    <a:pt x="503932" y="438596"/>
                    <a:pt x="507545" y="434987"/>
                  </a:cubicBezTo>
                  <a:cubicBezTo>
                    <a:pt x="511157" y="431376"/>
                    <a:pt x="534577" y="420715"/>
                    <a:pt x="536282" y="433081"/>
                  </a:cubicBezTo>
                  <a:cubicBezTo>
                    <a:pt x="536891" y="437527"/>
                    <a:pt x="519234" y="441638"/>
                    <a:pt x="515663" y="444011"/>
                  </a:cubicBezTo>
                  <a:cubicBezTo>
                    <a:pt x="507545" y="449392"/>
                    <a:pt x="504379" y="455174"/>
                    <a:pt x="492121" y="451464"/>
                  </a:cubicBezTo>
                  <a:cubicBezTo>
                    <a:pt x="484003" y="448991"/>
                    <a:pt x="495327" y="460556"/>
                    <a:pt x="499386" y="462060"/>
                  </a:cubicBezTo>
                  <a:cubicBezTo>
                    <a:pt x="510183" y="466003"/>
                    <a:pt x="515622" y="451063"/>
                    <a:pt x="521872" y="455375"/>
                  </a:cubicBezTo>
                  <a:cubicBezTo>
                    <a:pt x="536526" y="465602"/>
                    <a:pt x="518342" y="471485"/>
                    <a:pt x="512253" y="475763"/>
                  </a:cubicBezTo>
                  <a:cubicBezTo>
                    <a:pt x="507504" y="479105"/>
                    <a:pt x="529422" y="484788"/>
                    <a:pt x="532142" y="489667"/>
                  </a:cubicBezTo>
                  <a:cubicBezTo>
                    <a:pt x="537500" y="499227"/>
                    <a:pt x="536201" y="509487"/>
                    <a:pt x="528489" y="516039"/>
                  </a:cubicBezTo>
                  <a:cubicBezTo>
                    <a:pt x="517976" y="524963"/>
                    <a:pt x="524430" y="532516"/>
                    <a:pt x="532792" y="543412"/>
                  </a:cubicBezTo>
                  <a:cubicBezTo>
                    <a:pt x="544969" y="559389"/>
                    <a:pt x="567820" y="569115"/>
                    <a:pt x="579753" y="586429"/>
                  </a:cubicBezTo>
                  <a:cubicBezTo>
                    <a:pt x="586370" y="596055"/>
                    <a:pt x="601347" y="597692"/>
                    <a:pt x="612225" y="594183"/>
                  </a:cubicBezTo>
                  <a:cubicBezTo>
                    <a:pt x="615919" y="592980"/>
                    <a:pt x="621074" y="588334"/>
                    <a:pt x="625701" y="592946"/>
                  </a:cubicBezTo>
                  <a:cubicBezTo>
                    <a:pt x="628096" y="595353"/>
                    <a:pt x="628502" y="599898"/>
                    <a:pt x="623469" y="599330"/>
                  </a:cubicBezTo>
                  <a:cubicBezTo>
                    <a:pt x="618436" y="598762"/>
                    <a:pt x="617502" y="602672"/>
                    <a:pt x="620141" y="605647"/>
                  </a:cubicBezTo>
                  <a:cubicBezTo>
                    <a:pt x="622779" y="608622"/>
                    <a:pt x="627000" y="602506"/>
                    <a:pt x="629638" y="602305"/>
                  </a:cubicBezTo>
                  <a:cubicBezTo>
                    <a:pt x="631627" y="602038"/>
                    <a:pt x="638771" y="628442"/>
                    <a:pt x="641126" y="630280"/>
                  </a:cubicBezTo>
                  <a:cubicBezTo>
                    <a:pt x="638447" y="628242"/>
                    <a:pt x="656793" y="626136"/>
                    <a:pt x="658985" y="626671"/>
                  </a:cubicBezTo>
                  <a:cubicBezTo>
                    <a:pt x="668442" y="628943"/>
                    <a:pt x="677819" y="627907"/>
                    <a:pt x="686992" y="627874"/>
                  </a:cubicBezTo>
                  <a:cubicBezTo>
                    <a:pt x="700265" y="627874"/>
                    <a:pt x="718124" y="637901"/>
                    <a:pt x="729652" y="643884"/>
                  </a:cubicBezTo>
                  <a:cubicBezTo>
                    <a:pt x="741179" y="649866"/>
                    <a:pt x="744833" y="641611"/>
                    <a:pt x="751204" y="635762"/>
                  </a:cubicBezTo>
                  <a:cubicBezTo>
                    <a:pt x="756117" y="631283"/>
                    <a:pt x="760865" y="626671"/>
                    <a:pt x="765898" y="622392"/>
                  </a:cubicBezTo>
                  <a:cubicBezTo>
                    <a:pt x="772393" y="616711"/>
                    <a:pt x="782662" y="617312"/>
                    <a:pt x="791470" y="614471"/>
                  </a:cubicBezTo>
                  <a:cubicBezTo>
                    <a:pt x="806285" y="609692"/>
                    <a:pt x="816554" y="599531"/>
                    <a:pt x="832506" y="594985"/>
                  </a:cubicBezTo>
                  <a:cubicBezTo>
                    <a:pt x="835997" y="594016"/>
                    <a:pt x="843222" y="591141"/>
                    <a:pt x="847727" y="592478"/>
                  </a:cubicBezTo>
                  <a:cubicBezTo>
                    <a:pt x="859904" y="596155"/>
                    <a:pt x="863963" y="591743"/>
                    <a:pt x="872081" y="587732"/>
                  </a:cubicBezTo>
                  <a:cubicBezTo>
                    <a:pt x="880199" y="583721"/>
                    <a:pt x="891239" y="583387"/>
                    <a:pt x="896435" y="577170"/>
                  </a:cubicBezTo>
                  <a:cubicBezTo>
                    <a:pt x="900819" y="571990"/>
                    <a:pt x="914741" y="568547"/>
                    <a:pt x="916730" y="562531"/>
                  </a:cubicBezTo>
                  <a:cubicBezTo>
                    <a:pt x="918718" y="556515"/>
                    <a:pt x="921803" y="550599"/>
                    <a:pt x="931017" y="549930"/>
                  </a:cubicBezTo>
                  <a:cubicBezTo>
                    <a:pt x="939135" y="549362"/>
                    <a:pt x="937268" y="537430"/>
                    <a:pt x="942748" y="537798"/>
                  </a:cubicBezTo>
                  <a:close/>
                  <a:moveTo>
                    <a:pt x="623387" y="21904"/>
                  </a:moveTo>
                  <a:cubicBezTo>
                    <a:pt x="625052" y="17392"/>
                    <a:pt x="583690" y="4390"/>
                    <a:pt x="589130" y="12145"/>
                  </a:cubicBezTo>
                  <a:cubicBezTo>
                    <a:pt x="592580" y="17259"/>
                    <a:pt x="621724" y="26350"/>
                    <a:pt x="623265" y="21904"/>
                  </a:cubicBezTo>
                  <a:close/>
                  <a:moveTo>
                    <a:pt x="466427" y="464499"/>
                  </a:moveTo>
                  <a:cubicBezTo>
                    <a:pt x="469431" y="470349"/>
                    <a:pt x="488062" y="478170"/>
                    <a:pt x="494272" y="475061"/>
                  </a:cubicBezTo>
                  <a:cubicBezTo>
                    <a:pt x="500481" y="471953"/>
                    <a:pt x="463423" y="459185"/>
                    <a:pt x="466305" y="464499"/>
                  </a:cubicBezTo>
                  <a:close/>
                  <a:moveTo>
                    <a:pt x="613727" y="664005"/>
                  </a:moveTo>
                  <a:cubicBezTo>
                    <a:pt x="608857" y="661866"/>
                    <a:pt x="583975" y="637266"/>
                    <a:pt x="582352" y="637934"/>
                  </a:cubicBezTo>
                  <a:cubicBezTo>
                    <a:pt x="576466" y="640876"/>
                    <a:pt x="578698" y="657320"/>
                    <a:pt x="577359" y="662467"/>
                  </a:cubicBezTo>
                  <a:cubicBezTo>
                    <a:pt x="575127" y="670957"/>
                    <a:pt x="565182" y="672494"/>
                    <a:pt x="566887" y="682087"/>
                  </a:cubicBezTo>
                  <a:cubicBezTo>
                    <a:pt x="567820" y="687301"/>
                    <a:pt x="575330" y="712770"/>
                    <a:pt x="587182" y="710564"/>
                  </a:cubicBezTo>
                  <a:cubicBezTo>
                    <a:pt x="588805" y="710096"/>
                    <a:pt x="590388" y="709494"/>
                    <a:pt x="591849" y="708792"/>
                  </a:cubicBezTo>
                  <a:cubicBezTo>
                    <a:pt x="595462" y="707456"/>
                    <a:pt x="596842" y="710631"/>
                    <a:pt x="600333" y="710363"/>
                  </a:cubicBezTo>
                  <a:cubicBezTo>
                    <a:pt x="603824" y="710096"/>
                    <a:pt x="607030" y="700604"/>
                    <a:pt x="610561" y="705918"/>
                  </a:cubicBezTo>
                  <a:cubicBezTo>
                    <a:pt x="621967" y="723098"/>
                    <a:pt x="623794" y="700035"/>
                    <a:pt x="633982" y="699768"/>
                  </a:cubicBezTo>
                  <a:cubicBezTo>
                    <a:pt x="646808" y="699467"/>
                    <a:pt x="649000" y="689975"/>
                    <a:pt x="652166" y="680516"/>
                  </a:cubicBezTo>
                  <a:cubicBezTo>
                    <a:pt x="655698" y="669954"/>
                    <a:pt x="622657" y="667949"/>
                    <a:pt x="613606" y="664005"/>
                  </a:cubicBezTo>
                  <a:cubicBezTo>
                    <a:pt x="600292" y="658222"/>
                    <a:pt x="626919" y="669854"/>
                    <a:pt x="613606" y="66400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02C026ED-8F7D-41B3-8314-8E1869158C49}"/>
                </a:ext>
              </a:extLst>
            </p:cNvPr>
            <p:cNvSpPr/>
            <p:nvPr/>
          </p:nvSpPr>
          <p:spPr>
            <a:xfrm>
              <a:off x="9561963" y="6602797"/>
              <a:ext cx="367600" cy="141023"/>
            </a:xfrm>
            <a:custGeom>
              <a:avLst/>
              <a:gdLst>
                <a:gd name="connsiteX0" fmla="*/ 226265 w 367600"/>
                <a:gd name="connsiteY0" fmla="*/ 106307 h 141023"/>
                <a:gd name="connsiteX1" fmla="*/ 202317 w 367600"/>
                <a:gd name="connsiteY1" fmla="*/ 90364 h 141023"/>
                <a:gd name="connsiteX2" fmla="*/ 183524 w 367600"/>
                <a:gd name="connsiteY2" fmla="*/ 82309 h 141023"/>
                <a:gd name="connsiteX3" fmla="*/ 156451 w 367600"/>
                <a:gd name="connsiteY3" fmla="*/ 86988 h 141023"/>
                <a:gd name="connsiteX4" fmla="*/ 115333 w 367600"/>
                <a:gd name="connsiteY4" fmla="*/ 91066 h 141023"/>
                <a:gd name="connsiteX5" fmla="*/ 76123 w 367600"/>
                <a:gd name="connsiteY5" fmla="*/ 81841 h 141023"/>
                <a:gd name="connsiteX6" fmla="*/ 45640 w 367600"/>
                <a:gd name="connsiteY6" fmla="*/ 79969 h 141023"/>
                <a:gd name="connsiteX7" fmla="*/ 13858 w 367600"/>
                <a:gd name="connsiteY7" fmla="*/ 81908 h 141023"/>
                <a:gd name="connsiteX8" fmla="*/ 11302 w 367600"/>
                <a:gd name="connsiteY8" fmla="*/ 103833 h 141023"/>
                <a:gd name="connsiteX9" fmla="*/ 27538 w 367600"/>
                <a:gd name="connsiteY9" fmla="*/ 126595 h 141023"/>
                <a:gd name="connsiteX10" fmla="*/ 70968 w 367600"/>
                <a:gd name="connsiteY10" fmla="*/ 138761 h 141023"/>
                <a:gd name="connsiteX11" fmla="*/ 128282 w 367600"/>
                <a:gd name="connsiteY11" fmla="*/ 123419 h 141023"/>
                <a:gd name="connsiteX12" fmla="*/ 157425 w 367600"/>
                <a:gd name="connsiteY12" fmla="*/ 135853 h 141023"/>
                <a:gd name="connsiteX13" fmla="*/ 175487 w 367600"/>
                <a:gd name="connsiteY13" fmla="*/ 127664 h 141023"/>
                <a:gd name="connsiteX14" fmla="*/ 188030 w 367600"/>
                <a:gd name="connsiteY14" fmla="*/ 123654 h 141023"/>
                <a:gd name="connsiteX15" fmla="*/ 205889 w 367600"/>
                <a:gd name="connsiteY15" fmla="*/ 122551 h 141023"/>
                <a:gd name="connsiteX16" fmla="*/ 226184 w 367600"/>
                <a:gd name="connsiteY16" fmla="*/ 106307 h 141023"/>
                <a:gd name="connsiteX17" fmla="*/ 1073 w 367600"/>
                <a:gd name="connsiteY17" fmla="*/ 122417 h 141023"/>
                <a:gd name="connsiteX18" fmla="*/ 14102 w 367600"/>
                <a:gd name="connsiteY18" fmla="*/ 121347 h 141023"/>
                <a:gd name="connsiteX19" fmla="*/ 1073 w 367600"/>
                <a:gd name="connsiteY19" fmla="*/ 122417 h 141023"/>
                <a:gd name="connsiteX20" fmla="*/ 345193 w 367600"/>
                <a:gd name="connsiteY20" fmla="*/ 110451 h 141023"/>
                <a:gd name="connsiteX21" fmla="*/ 321570 w 367600"/>
                <a:gd name="connsiteY21" fmla="*/ 82208 h 141023"/>
                <a:gd name="connsiteX22" fmla="*/ 329403 w 367600"/>
                <a:gd name="connsiteY22" fmla="*/ 69474 h 141023"/>
                <a:gd name="connsiteX23" fmla="*/ 320595 w 367600"/>
                <a:gd name="connsiteY23" fmla="*/ 65764 h 141023"/>
                <a:gd name="connsiteX24" fmla="*/ 310123 w 367600"/>
                <a:gd name="connsiteY24" fmla="*/ 54132 h 141023"/>
                <a:gd name="connsiteX25" fmla="*/ 320839 w 367600"/>
                <a:gd name="connsiteY25" fmla="*/ 27394 h 141023"/>
                <a:gd name="connsiteX26" fmla="*/ 301234 w 367600"/>
                <a:gd name="connsiteY26" fmla="*/ 421 h 141023"/>
                <a:gd name="connsiteX27" fmla="*/ 302696 w 367600"/>
                <a:gd name="connsiteY27" fmla="*/ 32407 h 141023"/>
                <a:gd name="connsiteX28" fmla="*/ 300585 w 367600"/>
                <a:gd name="connsiteY28" fmla="*/ 42902 h 141023"/>
                <a:gd name="connsiteX29" fmla="*/ 304278 w 367600"/>
                <a:gd name="connsiteY29" fmla="*/ 58644 h 141023"/>
                <a:gd name="connsiteX30" fmla="*/ 273511 w 367600"/>
                <a:gd name="connsiteY30" fmla="*/ 77462 h 141023"/>
                <a:gd name="connsiteX31" fmla="*/ 249157 w 367600"/>
                <a:gd name="connsiteY31" fmla="*/ 81874 h 141023"/>
                <a:gd name="connsiteX32" fmla="*/ 261903 w 367600"/>
                <a:gd name="connsiteY32" fmla="*/ 113359 h 141023"/>
                <a:gd name="connsiteX33" fmla="*/ 236006 w 367600"/>
                <a:gd name="connsiteY33" fmla="*/ 123954 h 141023"/>
                <a:gd name="connsiteX34" fmla="*/ 262187 w 367600"/>
                <a:gd name="connsiteY34" fmla="*/ 140666 h 141023"/>
                <a:gd name="connsiteX35" fmla="*/ 299408 w 367600"/>
                <a:gd name="connsiteY35" fmla="*/ 134216 h 141023"/>
                <a:gd name="connsiteX36" fmla="*/ 313939 w 367600"/>
                <a:gd name="connsiteY36" fmla="*/ 125692 h 141023"/>
                <a:gd name="connsiteX37" fmla="*/ 334883 w 367600"/>
                <a:gd name="connsiteY37" fmla="*/ 132377 h 141023"/>
                <a:gd name="connsiteX38" fmla="*/ 346289 w 367600"/>
                <a:gd name="connsiteY38" fmla="*/ 130539 h 141023"/>
                <a:gd name="connsiteX39" fmla="*/ 364919 w 367600"/>
                <a:gd name="connsiteY39" fmla="*/ 123854 h 141023"/>
                <a:gd name="connsiteX40" fmla="*/ 345274 w 367600"/>
                <a:gd name="connsiteY40" fmla="*/ 110484 h 14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67600" h="141023">
                  <a:moveTo>
                    <a:pt x="226265" y="106307"/>
                  </a:moveTo>
                  <a:cubicBezTo>
                    <a:pt x="221557" y="95477"/>
                    <a:pt x="204711" y="103833"/>
                    <a:pt x="202317" y="90364"/>
                  </a:cubicBezTo>
                  <a:cubicBezTo>
                    <a:pt x="200815" y="81841"/>
                    <a:pt x="191967" y="76292"/>
                    <a:pt x="183524" y="82309"/>
                  </a:cubicBezTo>
                  <a:cubicBezTo>
                    <a:pt x="177110" y="86854"/>
                    <a:pt x="164650" y="83946"/>
                    <a:pt x="156451" y="86988"/>
                  </a:cubicBezTo>
                  <a:cubicBezTo>
                    <a:pt x="143705" y="92135"/>
                    <a:pt x="129215" y="93572"/>
                    <a:pt x="115333" y="91066"/>
                  </a:cubicBezTo>
                  <a:cubicBezTo>
                    <a:pt x="102141" y="88759"/>
                    <a:pt x="89193" y="84815"/>
                    <a:pt x="76123" y="81841"/>
                  </a:cubicBezTo>
                  <a:cubicBezTo>
                    <a:pt x="65083" y="79300"/>
                    <a:pt x="56437" y="81072"/>
                    <a:pt x="45640" y="79969"/>
                  </a:cubicBezTo>
                  <a:cubicBezTo>
                    <a:pt x="35006" y="78799"/>
                    <a:pt x="24168" y="79468"/>
                    <a:pt x="13858" y="81908"/>
                  </a:cubicBezTo>
                  <a:cubicBezTo>
                    <a:pt x="-5056" y="85250"/>
                    <a:pt x="2128" y="92770"/>
                    <a:pt x="11302" y="103833"/>
                  </a:cubicBezTo>
                  <a:cubicBezTo>
                    <a:pt x="16984" y="110719"/>
                    <a:pt x="20231" y="120545"/>
                    <a:pt x="27538" y="126595"/>
                  </a:cubicBezTo>
                  <a:cubicBezTo>
                    <a:pt x="39389" y="135352"/>
                    <a:pt x="55098" y="139764"/>
                    <a:pt x="70968" y="138761"/>
                  </a:cubicBezTo>
                  <a:cubicBezTo>
                    <a:pt x="91019" y="137524"/>
                    <a:pt x="106769" y="121849"/>
                    <a:pt x="128282" y="123419"/>
                  </a:cubicBezTo>
                  <a:cubicBezTo>
                    <a:pt x="133923" y="123820"/>
                    <a:pt x="156126" y="137591"/>
                    <a:pt x="157425" y="135853"/>
                  </a:cubicBezTo>
                  <a:cubicBezTo>
                    <a:pt x="163269" y="127832"/>
                    <a:pt x="160794" y="126495"/>
                    <a:pt x="175487" y="127664"/>
                  </a:cubicBezTo>
                  <a:cubicBezTo>
                    <a:pt x="181901" y="128166"/>
                    <a:pt x="183199" y="125425"/>
                    <a:pt x="188030" y="123654"/>
                  </a:cubicBezTo>
                  <a:cubicBezTo>
                    <a:pt x="192860" y="121882"/>
                    <a:pt x="200207" y="122517"/>
                    <a:pt x="205889" y="122551"/>
                  </a:cubicBezTo>
                  <a:cubicBezTo>
                    <a:pt x="213763" y="122551"/>
                    <a:pt x="229431" y="113727"/>
                    <a:pt x="226184" y="106307"/>
                  </a:cubicBezTo>
                  <a:close/>
                  <a:moveTo>
                    <a:pt x="1073" y="122417"/>
                  </a:moveTo>
                  <a:cubicBezTo>
                    <a:pt x="3509" y="124991"/>
                    <a:pt x="15076" y="129737"/>
                    <a:pt x="14102" y="121347"/>
                  </a:cubicBezTo>
                  <a:cubicBezTo>
                    <a:pt x="13128" y="112958"/>
                    <a:pt x="-4650" y="116334"/>
                    <a:pt x="1073" y="122417"/>
                  </a:cubicBezTo>
                  <a:close/>
                  <a:moveTo>
                    <a:pt x="345193" y="110451"/>
                  </a:moveTo>
                  <a:cubicBezTo>
                    <a:pt x="336506" y="111922"/>
                    <a:pt x="318810" y="88225"/>
                    <a:pt x="321570" y="82208"/>
                  </a:cubicBezTo>
                  <a:cubicBezTo>
                    <a:pt x="323680" y="77596"/>
                    <a:pt x="328998" y="75022"/>
                    <a:pt x="329403" y="69474"/>
                  </a:cubicBezTo>
                  <a:cubicBezTo>
                    <a:pt x="329809" y="63926"/>
                    <a:pt x="321854" y="58745"/>
                    <a:pt x="320595" y="65764"/>
                  </a:cubicBezTo>
                  <a:cubicBezTo>
                    <a:pt x="318566" y="76927"/>
                    <a:pt x="309149" y="58277"/>
                    <a:pt x="310123" y="54132"/>
                  </a:cubicBezTo>
                  <a:cubicBezTo>
                    <a:pt x="312274" y="44907"/>
                    <a:pt x="317957" y="36418"/>
                    <a:pt x="320839" y="27394"/>
                  </a:cubicBezTo>
                  <a:cubicBezTo>
                    <a:pt x="322381" y="22648"/>
                    <a:pt x="308987" y="-5261"/>
                    <a:pt x="301234" y="421"/>
                  </a:cubicBezTo>
                  <a:cubicBezTo>
                    <a:pt x="292589" y="6771"/>
                    <a:pt x="299935" y="23583"/>
                    <a:pt x="302696" y="32407"/>
                  </a:cubicBezTo>
                  <a:cubicBezTo>
                    <a:pt x="304197" y="37120"/>
                    <a:pt x="301112" y="38758"/>
                    <a:pt x="300585" y="42902"/>
                  </a:cubicBezTo>
                  <a:cubicBezTo>
                    <a:pt x="299976" y="47715"/>
                    <a:pt x="305171" y="54801"/>
                    <a:pt x="304278" y="58644"/>
                  </a:cubicBezTo>
                  <a:cubicBezTo>
                    <a:pt x="303060" y="63592"/>
                    <a:pt x="279478" y="76861"/>
                    <a:pt x="273511" y="77462"/>
                  </a:cubicBezTo>
                  <a:cubicBezTo>
                    <a:pt x="265028" y="78231"/>
                    <a:pt x="244408" y="68204"/>
                    <a:pt x="249157" y="81874"/>
                  </a:cubicBezTo>
                  <a:cubicBezTo>
                    <a:pt x="251958" y="90130"/>
                    <a:pt x="266814" y="106106"/>
                    <a:pt x="261903" y="113359"/>
                  </a:cubicBezTo>
                  <a:cubicBezTo>
                    <a:pt x="256992" y="120612"/>
                    <a:pt x="242745" y="118607"/>
                    <a:pt x="236006" y="123954"/>
                  </a:cubicBezTo>
                  <a:cubicBezTo>
                    <a:pt x="228416" y="130038"/>
                    <a:pt x="255246" y="141201"/>
                    <a:pt x="262187" y="140666"/>
                  </a:cubicBezTo>
                  <a:cubicBezTo>
                    <a:pt x="274810" y="139530"/>
                    <a:pt x="287271" y="137357"/>
                    <a:pt x="299408" y="134216"/>
                  </a:cubicBezTo>
                  <a:cubicBezTo>
                    <a:pt x="305171" y="132511"/>
                    <a:pt x="307526" y="126294"/>
                    <a:pt x="313939" y="125692"/>
                  </a:cubicBezTo>
                  <a:cubicBezTo>
                    <a:pt x="322057" y="124890"/>
                    <a:pt x="328673" y="134917"/>
                    <a:pt x="334883" y="132377"/>
                  </a:cubicBezTo>
                  <a:cubicBezTo>
                    <a:pt x="337765" y="131140"/>
                    <a:pt x="342068" y="127464"/>
                    <a:pt x="346289" y="130539"/>
                  </a:cubicBezTo>
                  <a:cubicBezTo>
                    <a:pt x="352256" y="134884"/>
                    <a:pt x="360820" y="125358"/>
                    <a:pt x="364919" y="123854"/>
                  </a:cubicBezTo>
                  <a:cubicBezTo>
                    <a:pt x="375392" y="120211"/>
                    <a:pt x="351525" y="109482"/>
                    <a:pt x="345274" y="11048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49D12596-1AD1-48F2-9F0C-6F9008D3BEE9}"/>
                </a:ext>
              </a:extLst>
            </p:cNvPr>
            <p:cNvSpPr/>
            <p:nvPr/>
          </p:nvSpPr>
          <p:spPr>
            <a:xfrm>
              <a:off x="10202655" y="6430661"/>
              <a:ext cx="75333" cy="19436"/>
            </a:xfrm>
            <a:custGeom>
              <a:avLst/>
              <a:gdLst>
                <a:gd name="connsiteX0" fmla="*/ 76 w 75333"/>
                <a:gd name="connsiteY0" fmla="*/ 2565 h 19436"/>
                <a:gd name="connsiteX1" fmla="*/ 28489 w 75333"/>
                <a:gd name="connsiteY1" fmla="*/ 16235 h 19436"/>
                <a:gd name="connsiteX2" fmla="*/ 76 w 75333"/>
                <a:gd name="connsiteY2" fmla="*/ 2565 h 19436"/>
                <a:gd name="connsiteX3" fmla="*/ 45171 w 75333"/>
                <a:gd name="connsiteY3" fmla="*/ 8615 h 19436"/>
                <a:gd name="connsiteX4" fmla="*/ 74802 w 75333"/>
                <a:gd name="connsiteY4" fmla="*/ 17739 h 19436"/>
                <a:gd name="connsiteX5" fmla="*/ 45293 w 75333"/>
                <a:gd name="connsiteY5" fmla="*/ 8615 h 1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33" h="19436">
                  <a:moveTo>
                    <a:pt x="76" y="2565"/>
                  </a:moveTo>
                  <a:cubicBezTo>
                    <a:pt x="3201" y="12860"/>
                    <a:pt x="19316" y="24123"/>
                    <a:pt x="28489" y="16235"/>
                  </a:cubicBezTo>
                  <a:cubicBezTo>
                    <a:pt x="37662" y="8348"/>
                    <a:pt x="-2685" y="-6660"/>
                    <a:pt x="76" y="2565"/>
                  </a:cubicBezTo>
                  <a:close/>
                  <a:moveTo>
                    <a:pt x="45171" y="8615"/>
                  </a:moveTo>
                  <a:cubicBezTo>
                    <a:pt x="49230" y="13528"/>
                    <a:pt x="69525" y="22519"/>
                    <a:pt x="74802" y="17739"/>
                  </a:cubicBezTo>
                  <a:cubicBezTo>
                    <a:pt x="80079" y="12960"/>
                    <a:pt x="39245" y="1195"/>
                    <a:pt x="45293" y="861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D878C52D-E477-4A25-858C-9DCA4D782400}"/>
                </a:ext>
              </a:extLst>
            </p:cNvPr>
            <p:cNvSpPr/>
            <p:nvPr/>
          </p:nvSpPr>
          <p:spPr>
            <a:xfrm>
              <a:off x="7434858" y="4175183"/>
              <a:ext cx="427445" cy="189730"/>
            </a:xfrm>
            <a:custGeom>
              <a:avLst/>
              <a:gdLst>
                <a:gd name="connsiteX0" fmla="*/ 427386 w 427445"/>
                <a:gd name="connsiteY0" fmla="*/ 158908 h 189730"/>
                <a:gd name="connsiteX1" fmla="*/ 401367 w 427445"/>
                <a:gd name="connsiteY1" fmla="*/ 148646 h 189730"/>
                <a:gd name="connsiteX2" fmla="*/ 372549 w 427445"/>
                <a:gd name="connsiteY2" fmla="*/ 131166 h 189730"/>
                <a:gd name="connsiteX3" fmla="*/ 340077 w 427445"/>
                <a:gd name="connsiteY3" fmla="*/ 113117 h 189730"/>
                <a:gd name="connsiteX4" fmla="*/ 312111 w 427445"/>
                <a:gd name="connsiteY4" fmla="*/ 95035 h 189730"/>
                <a:gd name="connsiteX5" fmla="*/ 297336 w 427445"/>
                <a:gd name="connsiteY5" fmla="*/ 70636 h 189730"/>
                <a:gd name="connsiteX6" fmla="*/ 269370 w 427445"/>
                <a:gd name="connsiteY6" fmla="*/ 61043 h 189730"/>
                <a:gd name="connsiteX7" fmla="*/ 246274 w 427445"/>
                <a:gd name="connsiteY7" fmla="*/ 54359 h 189730"/>
                <a:gd name="connsiteX8" fmla="*/ 242215 w 427445"/>
                <a:gd name="connsiteY8" fmla="*/ 36076 h 189730"/>
                <a:gd name="connsiteX9" fmla="*/ 212991 w 427445"/>
                <a:gd name="connsiteY9" fmla="*/ 23910 h 189730"/>
                <a:gd name="connsiteX10" fmla="*/ 180925 w 427445"/>
                <a:gd name="connsiteY10" fmla="*/ 20567 h 189730"/>
                <a:gd name="connsiteX11" fmla="*/ 175810 w 427445"/>
                <a:gd name="connsiteY11" fmla="*/ 24277 h 189730"/>
                <a:gd name="connsiteX12" fmla="*/ 162132 w 427445"/>
                <a:gd name="connsiteY12" fmla="*/ 24578 h 189730"/>
                <a:gd name="connsiteX13" fmla="*/ 137534 w 427445"/>
                <a:gd name="connsiteY13" fmla="*/ 37078 h 189730"/>
                <a:gd name="connsiteX14" fmla="*/ 103155 w 427445"/>
                <a:gd name="connsiteY14" fmla="*/ 30728 h 189730"/>
                <a:gd name="connsiteX15" fmla="*/ 67679 w 427445"/>
                <a:gd name="connsiteY15" fmla="*/ 8301 h 189730"/>
                <a:gd name="connsiteX16" fmla="*/ 17957 w 427445"/>
                <a:gd name="connsiteY16" fmla="*/ 6396 h 189730"/>
                <a:gd name="connsiteX17" fmla="*/ 49292 w 427445"/>
                <a:gd name="connsiteY17" fmla="*/ 21737 h 189730"/>
                <a:gd name="connsiteX18" fmla="*/ 67720 w 427445"/>
                <a:gd name="connsiteY18" fmla="*/ 31062 h 189730"/>
                <a:gd name="connsiteX19" fmla="*/ 53757 w 427445"/>
                <a:gd name="connsiteY19" fmla="*/ 36410 h 189730"/>
                <a:gd name="connsiteX20" fmla="*/ 990 w 427445"/>
                <a:gd name="connsiteY20" fmla="*/ 37513 h 189730"/>
                <a:gd name="connsiteX21" fmla="*/ 16008 w 427445"/>
                <a:gd name="connsiteY21" fmla="*/ 47540 h 189730"/>
                <a:gd name="connsiteX22" fmla="*/ 6511 w 427445"/>
                <a:gd name="connsiteY22" fmla="*/ 58804 h 189730"/>
                <a:gd name="connsiteX23" fmla="*/ 26805 w 427445"/>
                <a:gd name="connsiteY23" fmla="*/ 66224 h 189730"/>
                <a:gd name="connsiteX24" fmla="*/ 25344 w 427445"/>
                <a:gd name="connsiteY24" fmla="*/ 90456 h 189730"/>
                <a:gd name="connsiteX25" fmla="*/ 31960 w 427445"/>
                <a:gd name="connsiteY25" fmla="*/ 101319 h 189730"/>
                <a:gd name="connsiteX26" fmla="*/ 54000 w 427445"/>
                <a:gd name="connsiteY26" fmla="*/ 100049 h 189730"/>
                <a:gd name="connsiteX27" fmla="*/ 96538 w 427445"/>
                <a:gd name="connsiteY27" fmla="*/ 98411 h 189730"/>
                <a:gd name="connsiteX28" fmla="*/ 132258 w 427445"/>
                <a:gd name="connsiteY28" fmla="*/ 100784 h 189730"/>
                <a:gd name="connsiteX29" fmla="*/ 160386 w 427445"/>
                <a:gd name="connsiteY29" fmla="*/ 112950 h 189730"/>
                <a:gd name="connsiteX30" fmla="*/ 168504 w 427445"/>
                <a:gd name="connsiteY30" fmla="*/ 117997 h 189730"/>
                <a:gd name="connsiteX31" fmla="*/ 193548 w 427445"/>
                <a:gd name="connsiteY31" fmla="*/ 124180 h 189730"/>
                <a:gd name="connsiteX32" fmla="*/ 200733 w 427445"/>
                <a:gd name="connsiteY32" fmla="*/ 131500 h 189730"/>
                <a:gd name="connsiteX33" fmla="*/ 218226 w 427445"/>
                <a:gd name="connsiteY33" fmla="*/ 140357 h 189730"/>
                <a:gd name="connsiteX34" fmla="*/ 246639 w 427445"/>
                <a:gd name="connsiteY34" fmla="*/ 152557 h 189730"/>
                <a:gd name="connsiteX35" fmla="*/ 250983 w 427445"/>
                <a:gd name="connsiteY35" fmla="*/ 172812 h 189730"/>
                <a:gd name="connsiteX36" fmla="*/ 279395 w 427445"/>
                <a:gd name="connsiteY36" fmla="*/ 184911 h 189730"/>
                <a:gd name="connsiteX37" fmla="*/ 306103 w 427445"/>
                <a:gd name="connsiteY37" fmla="*/ 186916 h 189730"/>
                <a:gd name="connsiteX38" fmla="*/ 357531 w 427445"/>
                <a:gd name="connsiteY38" fmla="*/ 176187 h 189730"/>
                <a:gd name="connsiteX39" fmla="*/ 382494 w 427445"/>
                <a:gd name="connsiteY39" fmla="*/ 166996 h 189730"/>
                <a:gd name="connsiteX40" fmla="*/ 400272 w 427445"/>
                <a:gd name="connsiteY40" fmla="*/ 162617 h 189730"/>
                <a:gd name="connsiteX41" fmla="*/ 426574 w 427445"/>
                <a:gd name="connsiteY41" fmla="*/ 170372 h 189730"/>
                <a:gd name="connsiteX42" fmla="*/ 427386 w 427445"/>
                <a:gd name="connsiteY42" fmla="*/ 158908 h 18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27445" h="189730">
                  <a:moveTo>
                    <a:pt x="427386" y="158908"/>
                  </a:moveTo>
                  <a:cubicBezTo>
                    <a:pt x="420364" y="155565"/>
                    <a:pt x="410338" y="149749"/>
                    <a:pt x="401367" y="148646"/>
                  </a:cubicBezTo>
                  <a:cubicBezTo>
                    <a:pt x="390895" y="147310"/>
                    <a:pt x="381722" y="134876"/>
                    <a:pt x="372549" y="131166"/>
                  </a:cubicBezTo>
                  <a:cubicBezTo>
                    <a:pt x="361387" y="126654"/>
                    <a:pt x="345597" y="120370"/>
                    <a:pt x="340077" y="113117"/>
                  </a:cubicBezTo>
                  <a:cubicBezTo>
                    <a:pt x="334557" y="105864"/>
                    <a:pt x="315317" y="101954"/>
                    <a:pt x="312111" y="95035"/>
                  </a:cubicBezTo>
                  <a:cubicBezTo>
                    <a:pt x="308052" y="86746"/>
                    <a:pt x="300989" y="78891"/>
                    <a:pt x="297336" y="70636"/>
                  </a:cubicBezTo>
                  <a:cubicBezTo>
                    <a:pt x="294292" y="63784"/>
                    <a:pt x="279477" y="63082"/>
                    <a:pt x="269370" y="61043"/>
                  </a:cubicBezTo>
                  <a:cubicBezTo>
                    <a:pt x="266691" y="60475"/>
                    <a:pt x="245625" y="56966"/>
                    <a:pt x="246274" y="54359"/>
                  </a:cubicBezTo>
                  <a:cubicBezTo>
                    <a:pt x="247573" y="49378"/>
                    <a:pt x="248304" y="40989"/>
                    <a:pt x="242215" y="36076"/>
                  </a:cubicBezTo>
                  <a:cubicBezTo>
                    <a:pt x="237385" y="32065"/>
                    <a:pt x="220337" y="27720"/>
                    <a:pt x="212991" y="23910"/>
                  </a:cubicBezTo>
                  <a:cubicBezTo>
                    <a:pt x="197932" y="16089"/>
                    <a:pt x="195456" y="23041"/>
                    <a:pt x="180925" y="20567"/>
                  </a:cubicBezTo>
                  <a:cubicBezTo>
                    <a:pt x="179058" y="20267"/>
                    <a:pt x="176501" y="23910"/>
                    <a:pt x="175810" y="24277"/>
                  </a:cubicBezTo>
                  <a:cubicBezTo>
                    <a:pt x="172157" y="26584"/>
                    <a:pt x="167165" y="24545"/>
                    <a:pt x="162132" y="24578"/>
                  </a:cubicBezTo>
                  <a:cubicBezTo>
                    <a:pt x="143054" y="24578"/>
                    <a:pt x="149305" y="35808"/>
                    <a:pt x="137534" y="37078"/>
                  </a:cubicBezTo>
                  <a:cubicBezTo>
                    <a:pt x="126372" y="38315"/>
                    <a:pt x="114033" y="31062"/>
                    <a:pt x="103155" y="30728"/>
                  </a:cubicBezTo>
                  <a:cubicBezTo>
                    <a:pt x="88420" y="30260"/>
                    <a:pt x="77258" y="14016"/>
                    <a:pt x="67679" y="8301"/>
                  </a:cubicBezTo>
                  <a:cubicBezTo>
                    <a:pt x="59196" y="3220"/>
                    <a:pt x="10853" y="-7241"/>
                    <a:pt x="17957" y="6396"/>
                  </a:cubicBezTo>
                  <a:cubicBezTo>
                    <a:pt x="35289" y="-4868"/>
                    <a:pt x="46045" y="16623"/>
                    <a:pt x="49292" y="21737"/>
                  </a:cubicBezTo>
                  <a:cubicBezTo>
                    <a:pt x="51606" y="25414"/>
                    <a:pt x="63214" y="27386"/>
                    <a:pt x="67720" y="31062"/>
                  </a:cubicBezTo>
                  <a:cubicBezTo>
                    <a:pt x="77705" y="39318"/>
                    <a:pt x="62524" y="35742"/>
                    <a:pt x="53757" y="36410"/>
                  </a:cubicBezTo>
                  <a:cubicBezTo>
                    <a:pt x="29768" y="38182"/>
                    <a:pt x="10732" y="20233"/>
                    <a:pt x="990" y="37513"/>
                  </a:cubicBezTo>
                  <a:cubicBezTo>
                    <a:pt x="-3394" y="45167"/>
                    <a:pt x="6795" y="44031"/>
                    <a:pt x="16008" y="47540"/>
                  </a:cubicBezTo>
                  <a:cubicBezTo>
                    <a:pt x="27293" y="51685"/>
                    <a:pt x="4400" y="57968"/>
                    <a:pt x="6511" y="58804"/>
                  </a:cubicBezTo>
                  <a:cubicBezTo>
                    <a:pt x="16942" y="63015"/>
                    <a:pt x="21163" y="58202"/>
                    <a:pt x="26805" y="66224"/>
                  </a:cubicBezTo>
                  <a:cubicBezTo>
                    <a:pt x="32975" y="75248"/>
                    <a:pt x="26805" y="81599"/>
                    <a:pt x="25344" y="90456"/>
                  </a:cubicBezTo>
                  <a:cubicBezTo>
                    <a:pt x="24573" y="96171"/>
                    <a:pt x="19296" y="99815"/>
                    <a:pt x="31960" y="101319"/>
                  </a:cubicBezTo>
                  <a:cubicBezTo>
                    <a:pt x="41336" y="102455"/>
                    <a:pt x="46897" y="102689"/>
                    <a:pt x="54000" y="100049"/>
                  </a:cubicBezTo>
                  <a:cubicBezTo>
                    <a:pt x="70236" y="93932"/>
                    <a:pt x="77623" y="97241"/>
                    <a:pt x="96538" y="98411"/>
                  </a:cubicBezTo>
                  <a:cubicBezTo>
                    <a:pt x="110217" y="99280"/>
                    <a:pt x="116833" y="95904"/>
                    <a:pt x="132258" y="100784"/>
                  </a:cubicBezTo>
                  <a:cubicBezTo>
                    <a:pt x="142567" y="104126"/>
                    <a:pt x="148168" y="110811"/>
                    <a:pt x="160386" y="112950"/>
                  </a:cubicBezTo>
                  <a:cubicBezTo>
                    <a:pt x="163552" y="113485"/>
                    <a:pt x="165866" y="116894"/>
                    <a:pt x="168504" y="117997"/>
                  </a:cubicBezTo>
                  <a:cubicBezTo>
                    <a:pt x="175648" y="121005"/>
                    <a:pt x="185836" y="121339"/>
                    <a:pt x="193548" y="124180"/>
                  </a:cubicBezTo>
                  <a:cubicBezTo>
                    <a:pt x="201260" y="127021"/>
                    <a:pt x="197282" y="127723"/>
                    <a:pt x="200733" y="131500"/>
                  </a:cubicBezTo>
                  <a:cubicBezTo>
                    <a:pt x="204791" y="135946"/>
                    <a:pt x="213680" y="136046"/>
                    <a:pt x="218226" y="140357"/>
                  </a:cubicBezTo>
                  <a:cubicBezTo>
                    <a:pt x="227968" y="149683"/>
                    <a:pt x="230688" y="148045"/>
                    <a:pt x="246639" y="152557"/>
                  </a:cubicBezTo>
                  <a:cubicBezTo>
                    <a:pt x="256503" y="155365"/>
                    <a:pt x="250333" y="168132"/>
                    <a:pt x="250983" y="172812"/>
                  </a:cubicBezTo>
                  <a:cubicBezTo>
                    <a:pt x="252200" y="181736"/>
                    <a:pt x="277488" y="176488"/>
                    <a:pt x="279395" y="184911"/>
                  </a:cubicBezTo>
                  <a:cubicBezTo>
                    <a:pt x="280857" y="191161"/>
                    <a:pt x="302410" y="189925"/>
                    <a:pt x="306103" y="186916"/>
                  </a:cubicBezTo>
                  <a:cubicBezTo>
                    <a:pt x="318280" y="176889"/>
                    <a:pt x="347789" y="186916"/>
                    <a:pt x="357531" y="176187"/>
                  </a:cubicBezTo>
                  <a:cubicBezTo>
                    <a:pt x="365080" y="167865"/>
                    <a:pt x="367191" y="166762"/>
                    <a:pt x="382494" y="166996"/>
                  </a:cubicBezTo>
                  <a:cubicBezTo>
                    <a:pt x="389718" y="166996"/>
                    <a:pt x="393696" y="163286"/>
                    <a:pt x="400272" y="162617"/>
                  </a:cubicBezTo>
                  <a:cubicBezTo>
                    <a:pt x="408633" y="161748"/>
                    <a:pt x="417563" y="169503"/>
                    <a:pt x="426574" y="170372"/>
                  </a:cubicBezTo>
                  <a:cubicBezTo>
                    <a:pt x="426777" y="166495"/>
                    <a:pt x="427102" y="162684"/>
                    <a:pt x="427386" y="15890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D1CBB7EC-43EC-4650-B23F-4F91BF009206}"/>
                </a:ext>
              </a:extLst>
            </p:cNvPr>
            <p:cNvSpPr/>
            <p:nvPr/>
          </p:nvSpPr>
          <p:spPr>
            <a:xfrm>
              <a:off x="7156176" y="4185911"/>
              <a:ext cx="545797" cy="358017"/>
            </a:xfrm>
            <a:custGeom>
              <a:avLst/>
              <a:gdLst>
                <a:gd name="connsiteX0" fmla="*/ 536890 w 545797"/>
                <a:gd name="connsiteY0" fmla="*/ 326161 h 358017"/>
                <a:gd name="connsiteX1" fmla="*/ 533765 w 545797"/>
                <a:gd name="connsiteY1" fmla="*/ 310552 h 358017"/>
                <a:gd name="connsiteX2" fmla="*/ 503119 w 545797"/>
                <a:gd name="connsiteY2" fmla="*/ 289161 h 358017"/>
                <a:gd name="connsiteX3" fmla="*/ 484488 w 545797"/>
                <a:gd name="connsiteY3" fmla="*/ 269274 h 358017"/>
                <a:gd name="connsiteX4" fmla="*/ 504783 w 545797"/>
                <a:gd name="connsiteY4" fmla="*/ 259581 h 358017"/>
                <a:gd name="connsiteX5" fmla="*/ 498492 w 545797"/>
                <a:gd name="connsiteY5" fmla="*/ 237287 h 358017"/>
                <a:gd name="connsiteX6" fmla="*/ 497761 w 545797"/>
                <a:gd name="connsiteY6" fmla="*/ 194204 h 358017"/>
                <a:gd name="connsiteX7" fmla="*/ 512170 w 545797"/>
                <a:gd name="connsiteY7" fmla="*/ 180434 h 358017"/>
                <a:gd name="connsiteX8" fmla="*/ 530436 w 545797"/>
                <a:gd name="connsiteY8" fmla="*/ 166028 h 358017"/>
                <a:gd name="connsiteX9" fmla="*/ 530436 w 545797"/>
                <a:gd name="connsiteY9" fmla="*/ 144670 h 358017"/>
                <a:gd name="connsiteX10" fmla="*/ 502551 w 545797"/>
                <a:gd name="connsiteY10" fmla="*/ 135379 h 358017"/>
                <a:gd name="connsiteX11" fmla="*/ 493824 w 545797"/>
                <a:gd name="connsiteY11" fmla="*/ 127157 h 358017"/>
                <a:gd name="connsiteX12" fmla="*/ 479374 w 545797"/>
                <a:gd name="connsiteY12" fmla="*/ 120706 h 358017"/>
                <a:gd name="connsiteX13" fmla="*/ 452706 w 545797"/>
                <a:gd name="connsiteY13" fmla="*/ 108573 h 358017"/>
                <a:gd name="connsiteX14" fmla="*/ 430869 w 545797"/>
                <a:gd name="connsiteY14" fmla="*/ 99716 h 358017"/>
                <a:gd name="connsiteX15" fmla="*/ 400021 w 545797"/>
                <a:gd name="connsiteY15" fmla="*/ 87349 h 358017"/>
                <a:gd name="connsiteX16" fmla="*/ 367549 w 545797"/>
                <a:gd name="connsiteY16" fmla="*/ 86346 h 358017"/>
                <a:gd name="connsiteX17" fmla="*/ 332764 w 545797"/>
                <a:gd name="connsiteY17" fmla="*/ 89254 h 358017"/>
                <a:gd name="connsiteX18" fmla="*/ 302281 w 545797"/>
                <a:gd name="connsiteY18" fmla="*/ 93432 h 358017"/>
                <a:gd name="connsiteX19" fmla="*/ 273503 w 545797"/>
                <a:gd name="connsiteY19" fmla="*/ 99582 h 358017"/>
                <a:gd name="connsiteX20" fmla="*/ 202024 w 545797"/>
                <a:gd name="connsiteY20" fmla="*/ 80497 h 358017"/>
                <a:gd name="connsiteX21" fmla="*/ 144062 w 545797"/>
                <a:gd name="connsiteY21" fmla="*/ 44968 h 358017"/>
                <a:gd name="connsiteX22" fmla="*/ 125594 w 545797"/>
                <a:gd name="connsiteY22" fmla="*/ 30562 h 358017"/>
                <a:gd name="connsiteX23" fmla="*/ 126649 w 545797"/>
                <a:gd name="connsiteY23" fmla="*/ 17895 h 358017"/>
                <a:gd name="connsiteX24" fmla="*/ 97708 w 545797"/>
                <a:gd name="connsiteY24" fmla="*/ 22039 h 358017"/>
                <a:gd name="connsiteX25" fmla="*/ 45916 w 545797"/>
                <a:gd name="connsiteY25" fmla="*/ 22273 h 358017"/>
                <a:gd name="connsiteX26" fmla="*/ 22577 w 545797"/>
                <a:gd name="connsiteY26" fmla="*/ 1718 h 358017"/>
                <a:gd name="connsiteX27" fmla="*/ 2607 w 545797"/>
                <a:gd name="connsiteY27" fmla="*/ 19332 h 358017"/>
                <a:gd name="connsiteX28" fmla="*/ 3419 w 545797"/>
                <a:gd name="connsiteY28" fmla="*/ 40857 h 358017"/>
                <a:gd name="connsiteX29" fmla="*/ 21968 w 545797"/>
                <a:gd name="connsiteY29" fmla="*/ 69133 h 358017"/>
                <a:gd name="connsiteX30" fmla="*/ 46647 w 545797"/>
                <a:gd name="connsiteY30" fmla="*/ 97643 h 358017"/>
                <a:gd name="connsiteX31" fmla="*/ 39949 w 545797"/>
                <a:gd name="connsiteY31" fmla="*/ 98713 h 358017"/>
                <a:gd name="connsiteX32" fmla="*/ 33577 w 545797"/>
                <a:gd name="connsiteY32" fmla="*/ 106233 h 358017"/>
                <a:gd name="connsiteX33" fmla="*/ 24728 w 545797"/>
                <a:gd name="connsiteY33" fmla="*/ 116260 h 358017"/>
                <a:gd name="connsiteX34" fmla="*/ 33739 w 545797"/>
                <a:gd name="connsiteY34" fmla="*/ 127825 h 358017"/>
                <a:gd name="connsiteX35" fmla="*/ 44617 w 545797"/>
                <a:gd name="connsiteY35" fmla="*/ 140760 h 358017"/>
                <a:gd name="connsiteX36" fmla="*/ 84192 w 545797"/>
                <a:gd name="connsiteY36" fmla="*/ 162719 h 358017"/>
                <a:gd name="connsiteX37" fmla="*/ 82244 w 545797"/>
                <a:gd name="connsiteY37" fmla="*/ 176690 h 358017"/>
                <a:gd name="connsiteX38" fmla="*/ 87683 w 545797"/>
                <a:gd name="connsiteY38" fmla="*/ 182406 h 358017"/>
                <a:gd name="connsiteX39" fmla="*/ 91742 w 545797"/>
                <a:gd name="connsiteY39" fmla="*/ 192433 h 358017"/>
                <a:gd name="connsiteX40" fmla="*/ 118125 w 545797"/>
                <a:gd name="connsiteY40" fmla="*/ 205134 h 358017"/>
                <a:gd name="connsiteX41" fmla="*/ 141830 w 545797"/>
                <a:gd name="connsiteY41" fmla="*/ 207407 h 358017"/>
                <a:gd name="connsiteX42" fmla="*/ 172597 w 545797"/>
                <a:gd name="connsiteY42" fmla="*/ 234847 h 358017"/>
                <a:gd name="connsiteX43" fmla="*/ 204784 w 545797"/>
                <a:gd name="connsiteY43" fmla="*/ 261586 h 358017"/>
                <a:gd name="connsiteX44" fmla="*/ 261164 w 545797"/>
                <a:gd name="connsiteY44" fmla="*/ 288826 h 358017"/>
                <a:gd name="connsiteX45" fmla="*/ 318273 w 545797"/>
                <a:gd name="connsiteY45" fmla="*/ 294742 h 358017"/>
                <a:gd name="connsiteX46" fmla="*/ 353668 w 545797"/>
                <a:gd name="connsiteY46" fmla="*/ 314796 h 358017"/>
                <a:gd name="connsiteX47" fmla="*/ 379198 w 545797"/>
                <a:gd name="connsiteY47" fmla="*/ 330305 h 358017"/>
                <a:gd name="connsiteX48" fmla="*/ 488791 w 545797"/>
                <a:gd name="connsiteY48" fmla="*/ 357679 h 358017"/>
                <a:gd name="connsiteX49" fmla="*/ 522277 w 545797"/>
                <a:gd name="connsiteY49" fmla="*/ 339129 h 358017"/>
                <a:gd name="connsiteX50" fmla="*/ 545738 w 545797"/>
                <a:gd name="connsiteY50" fmla="*/ 337525 h 358017"/>
                <a:gd name="connsiteX51" fmla="*/ 537255 w 545797"/>
                <a:gd name="connsiteY51" fmla="*/ 326261 h 358017"/>
                <a:gd name="connsiteX52" fmla="*/ 536890 w 545797"/>
                <a:gd name="connsiteY52" fmla="*/ 326161 h 35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45797" h="358017">
                  <a:moveTo>
                    <a:pt x="536890" y="326161"/>
                  </a:moveTo>
                  <a:cubicBezTo>
                    <a:pt x="531126" y="323921"/>
                    <a:pt x="535307" y="313794"/>
                    <a:pt x="533765" y="310552"/>
                  </a:cubicBezTo>
                  <a:cubicBezTo>
                    <a:pt x="530030" y="302497"/>
                    <a:pt x="509938" y="297182"/>
                    <a:pt x="503119" y="289161"/>
                  </a:cubicBezTo>
                  <a:cubicBezTo>
                    <a:pt x="497883" y="282810"/>
                    <a:pt x="488344" y="275591"/>
                    <a:pt x="484488" y="269274"/>
                  </a:cubicBezTo>
                  <a:cubicBezTo>
                    <a:pt x="481444" y="264260"/>
                    <a:pt x="499710" y="261185"/>
                    <a:pt x="504783" y="259581"/>
                  </a:cubicBezTo>
                  <a:cubicBezTo>
                    <a:pt x="527514" y="252194"/>
                    <a:pt x="522805" y="245376"/>
                    <a:pt x="498492" y="237287"/>
                  </a:cubicBezTo>
                  <a:cubicBezTo>
                    <a:pt x="485057" y="232875"/>
                    <a:pt x="496909" y="201591"/>
                    <a:pt x="497761" y="194204"/>
                  </a:cubicBezTo>
                  <a:cubicBezTo>
                    <a:pt x="498410" y="188790"/>
                    <a:pt x="504986" y="183342"/>
                    <a:pt x="512170" y="180434"/>
                  </a:cubicBezTo>
                  <a:cubicBezTo>
                    <a:pt x="520938" y="177091"/>
                    <a:pt x="519355" y="167064"/>
                    <a:pt x="530436" y="166028"/>
                  </a:cubicBezTo>
                  <a:cubicBezTo>
                    <a:pt x="528406" y="159009"/>
                    <a:pt x="528406" y="151689"/>
                    <a:pt x="530436" y="144670"/>
                  </a:cubicBezTo>
                  <a:cubicBezTo>
                    <a:pt x="531329" y="141328"/>
                    <a:pt x="506407" y="138955"/>
                    <a:pt x="502551" y="135379"/>
                  </a:cubicBezTo>
                  <a:cubicBezTo>
                    <a:pt x="499994" y="132391"/>
                    <a:pt x="497071" y="129633"/>
                    <a:pt x="493824" y="127157"/>
                  </a:cubicBezTo>
                  <a:cubicBezTo>
                    <a:pt x="489197" y="124282"/>
                    <a:pt x="482987" y="124616"/>
                    <a:pt x="479374" y="120706"/>
                  </a:cubicBezTo>
                  <a:cubicBezTo>
                    <a:pt x="473042" y="113787"/>
                    <a:pt x="468334" y="110344"/>
                    <a:pt x="452706" y="108573"/>
                  </a:cubicBezTo>
                  <a:cubicBezTo>
                    <a:pt x="446497" y="107871"/>
                    <a:pt x="436958" y="101888"/>
                    <a:pt x="430869" y="99716"/>
                  </a:cubicBezTo>
                  <a:cubicBezTo>
                    <a:pt x="419058" y="95404"/>
                    <a:pt x="413740" y="89923"/>
                    <a:pt x="400021" y="87349"/>
                  </a:cubicBezTo>
                  <a:cubicBezTo>
                    <a:pt x="387844" y="85076"/>
                    <a:pt x="378671" y="88820"/>
                    <a:pt x="367549" y="86346"/>
                  </a:cubicBezTo>
                  <a:cubicBezTo>
                    <a:pt x="355941" y="83636"/>
                    <a:pt x="343480" y="84675"/>
                    <a:pt x="332764" y="89254"/>
                  </a:cubicBezTo>
                  <a:cubicBezTo>
                    <a:pt x="322089" y="93232"/>
                    <a:pt x="303742" y="86647"/>
                    <a:pt x="302281" y="93432"/>
                  </a:cubicBezTo>
                  <a:cubicBezTo>
                    <a:pt x="300535" y="101420"/>
                    <a:pt x="286045" y="100117"/>
                    <a:pt x="273503" y="99582"/>
                  </a:cubicBezTo>
                  <a:cubicBezTo>
                    <a:pt x="240747" y="98479"/>
                    <a:pt x="221467" y="96841"/>
                    <a:pt x="202024" y="80497"/>
                  </a:cubicBezTo>
                  <a:cubicBezTo>
                    <a:pt x="184652" y="65925"/>
                    <a:pt x="142276" y="66927"/>
                    <a:pt x="144062" y="44968"/>
                  </a:cubicBezTo>
                  <a:cubicBezTo>
                    <a:pt x="133103" y="41124"/>
                    <a:pt x="121251" y="37147"/>
                    <a:pt x="125594" y="30562"/>
                  </a:cubicBezTo>
                  <a:cubicBezTo>
                    <a:pt x="127461" y="27721"/>
                    <a:pt x="132088" y="20936"/>
                    <a:pt x="126649" y="17895"/>
                  </a:cubicBezTo>
                  <a:cubicBezTo>
                    <a:pt x="121210" y="14853"/>
                    <a:pt x="102742" y="20903"/>
                    <a:pt x="97708" y="22039"/>
                  </a:cubicBezTo>
                  <a:cubicBezTo>
                    <a:pt x="80823" y="26217"/>
                    <a:pt x="62842" y="26297"/>
                    <a:pt x="45916" y="22273"/>
                  </a:cubicBezTo>
                  <a:cubicBezTo>
                    <a:pt x="31872" y="18931"/>
                    <a:pt x="31791" y="7199"/>
                    <a:pt x="22577" y="1718"/>
                  </a:cubicBezTo>
                  <a:cubicBezTo>
                    <a:pt x="7843" y="-7039"/>
                    <a:pt x="577" y="14720"/>
                    <a:pt x="2607" y="19332"/>
                  </a:cubicBezTo>
                  <a:cubicBezTo>
                    <a:pt x="5976" y="26886"/>
                    <a:pt x="-5511" y="34339"/>
                    <a:pt x="3419" y="40857"/>
                  </a:cubicBezTo>
                  <a:cubicBezTo>
                    <a:pt x="10157" y="45703"/>
                    <a:pt x="22942" y="63585"/>
                    <a:pt x="21968" y="69133"/>
                  </a:cubicBezTo>
                  <a:cubicBezTo>
                    <a:pt x="19695" y="82068"/>
                    <a:pt x="63085" y="82502"/>
                    <a:pt x="46647" y="97643"/>
                  </a:cubicBezTo>
                  <a:lnTo>
                    <a:pt x="39949" y="98713"/>
                  </a:lnTo>
                  <a:cubicBezTo>
                    <a:pt x="36337" y="100418"/>
                    <a:pt x="35281" y="103860"/>
                    <a:pt x="33577" y="106233"/>
                  </a:cubicBezTo>
                  <a:cubicBezTo>
                    <a:pt x="30533" y="110378"/>
                    <a:pt x="24647" y="111046"/>
                    <a:pt x="24728" y="116260"/>
                  </a:cubicBezTo>
                  <a:cubicBezTo>
                    <a:pt x="24809" y="121474"/>
                    <a:pt x="26676" y="124382"/>
                    <a:pt x="33739" y="127825"/>
                  </a:cubicBezTo>
                  <a:cubicBezTo>
                    <a:pt x="42912" y="132304"/>
                    <a:pt x="38975" y="136148"/>
                    <a:pt x="44617" y="140760"/>
                  </a:cubicBezTo>
                  <a:cubicBezTo>
                    <a:pt x="56388" y="150319"/>
                    <a:pt x="77089" y="151723"/>
                    <a:pt x="84192" y="162719"/>
                  </a:cubicBezTo>
                  <a:cubicBezTo>
                    <a:pt x="88738" y="169671"/>
                    <a:pt x="81229" y="170440"/>
                    <a:pt x="82244" y="176690"/>
                  </a:cubicBezTo>
                  <a:cubicBezTo>
                    <a:pt x="83461" y="178926"/>
                    <a:pt x="85329" y="180885"/>
                    <a:pt x="87683" y="182406"/>
                  </a:cubicBezTo>
                  <a:cubicBezTo>
                    <a:pt x="91742" y="186116"/>
                    <a:pt x="89307" y="188656"/>
                    <a:pt x="91742" y="192433"/>
                  </a:cubicBezTo>
                  <a:cubicBezTo>
                    <a:pt x="95801" y="198750"/>
                    <a:pt x="104812" y="207841"/>
                    <a:pt x="118125" y="205134"/>
                  </a:cubicBezTo>
                  <a:cubicBezTo>
                    <a:pt x="127745" y="203195"/>
                    <a:pt x="130749" y="207774"/>
                    <a:pt x="141830" y="207407"/>
                  </a:cubicBezTo>
                  <a:cubicBezTo>
                    <a:pt x="160217" y="206872"/>
                    <a:pt x="167726" y="227026"/>
                    <a:pt x="172597" y="234847"/>
                  </a:cubicBezTo>
                  <a:cubicBezTo>
                    <a:pt x="180715" y="247883"/>
                    <a:pt x="182217" y="254300"/>
                    <a:pt x="204784" y="261586"/>
                  </a:cubicBezTo>
                  <a:cubicBezTo>
                    <a:pt x="225769" y="268271"/>
                    <a:pt x="238961" y="281640"/>
                    <a:pt x="261164" y="288826"/>
                  </a:cubicBezTo>
                  <a:cubicBezTo>
                    <a:pt x="283366" y="296012"/>
                    <a:pt x="295218" y="296581"/>
                    <a:pt x="318273" y="294742"/>
                  </a:cubicBezTo>
                  <a:cubicBezTo>
                    <a:pt x="342993" y="292804"/>
                    <a:pt x="351963" y="302597"/>
                    <a:pt x="353668" y="314796"/>
                  </a:cubicBezTo>
                  <a:cubicBezTo>
                    <a:pt x="355007" y="324155"/>
                    <a:pt x="365033" y="326361"/>
                    <a:pt x="379198" y="330305"/>
                  </a:cubicBezTo>
                  <a:cubicBezTo>
                    <a:pt x="414309" y="340031"/>
                    <a:pt x="452260" y="350627"/>
                    <a:pt x="488791" y="357679"/>
                  </a:cubicBezTo>
                  <a:cubicBezTo>
                    <a:pt x="489522" y="345479"/>
                    <a:pt x="501455" y="339563"/>
                    <a:pt x="522277" y="339129"/>
                  </a:cubicBezTo>
                  <a:cubicBezTo>
                    <a:pt x="528122" y="339129"/>
                    <a:pt x="545170" y="342471"/>
                    <a:pt x="545738" y="337525"/>
                  </a:cubicBezTo>
                  <a:cubicBezTo>
                    <a:pt x="545616" y="332778"/>
                    <a:pt x="542370" y="328463"/>
                    <a:pt x="537255" y="326261"/>
                  </a:cubicBezTo>
                  <a:cubicBezTo>
                    <a:pt x="530152" y="323520"/>
                    <a:pt x="543628" y="328768"/>
                    <a:pt x="536890" y="32616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2313E293-FABE-4CA5-B1B5-E11E8F2664A7}"/>
                </a:ext>
              </a:extLst>
            </p:cNvPr>
            <p:cNvSpPr/>
            <p:nvPr/>
          </p:nvSpPr>
          <p:spPr>
            <a:xfrm>
              <a:off x="7270264" y="3965643"/>
              <a:ext cx="1306181" cy="380318"/>
            </a:xfrm>
            <a:custGeom>
              <a:avLst/>
              <a:gdLst>
                <a:gd name="connsiteX0" fmla="*/ 1302626 w 1306181"/>
                <a:gd name="connsiteY0" fmla="*/ 281447 h 380318"/>
                <a:gd name="connsiteX1" fmla="*/ 1252944 w 1306181"/>
                <a:gd name="connsiteY1" fmla="*/ 259454 h 380318"/>
                <a:gd name="connsiteX2" fmla="*/ 1233866 w 1306181"/>
                <a:gd name="connsiteY2" fmla="*/ 245449 h 380318"/>
                <a:gd name="connsiteX3" fmla="*/ 1210690 w 1306181"/>
                <a:gd name="connsiteY3" fmla="*/ 225395 h 380318"/>
                <a:gd name="connsiteX4" fmla="*/ 1174159 w 1306181"/>
                <a:gd name="connsiteY4" fmla="*/ 221886 h 380318"/>
                <a:gd name="connsiteX5" fmla="*/ 1140389 w 1306181"/>
                <a:gd name="connsiteY5" fmla="*/ 204238 h 380318"/>
                <a:gd name="connsiteX6" fmla="*/ 1099799 w 1306181"/>
                <a:gd name="connsiteY6" fmla="*/ 194746 h 380318"/>
                <a:gd name="connsiteX7" fmla="*/ 1070656 w 1306181"/>
                <a:gd name="connsiteY7" fmla="*/ 145747 h 380318"/>
                <a:gd name="connsiteX8" fmla="*/ 1047276 w 1306181"/>
                <a:gd name="connsiteY8" fmla="*/ 121247 h 380318"/>
                <a:gd name="connsiteX9" fmla="*/ 1027793 w 1306181"/>
                <a:gd name="connsiteY9" fmla="*/ 103266 h 380318"/>
                <a:gd name="connsiteX10" fmla="*/ 1018660 w 1306181"/>
                <a:gd name="connsiteY10" fmla="*/ 95411 h 380318"/>
                <a:gd name="connsiteX11" fmla="*/ 974011 w 1306181"/>
                <a:gd name="connsiteY11" fmla="*/ 96447 h 380318"/>
                <a:gd name="connsiteX12" fmla="*/ 937156 w 1306181"/>
                <a:gd name="connsiteY12" fmla="*/ 94575 h 380318"/>
                <a:gd name="connsiteX13" fmla="*/ 917064 w 1306181"/>
                <a:gd name="connsiteY13" fmla="*/ 89328 h 380318"/>
                <a:gd name="connsiteX14" fmla="*/ 927130 w 1306181"/>
                <a:gd name="connsiteY14" fmla="*/ 82643 h 380318"/>
                <a:gd name="connsiteX15" fmla="*/ 902411 w 1306181"/>
                <a:gd name="connsiteY15" fmla="*/ 74555 h 380318"/>
                <a:gd name="connsiteX16" fmla="*/ 892791 w 1306181"/>
                <a:gd name="connsiteY16" fmla="*/ 75190 h 380318"/>
                <a:gd name="connsiteX17" fmla="*/ 886215 w 1306181"/>
                <a:gd name="connsiteY17" fmla="*/ 66065 h 380318"/>
                <a:gd name="connsiteX18" fmla="*/ 849685 w 1306181"/>
                <a:gd name="connsiteY18" fmla="*/ 61920 h 380318"/>
                <a:gd name="connsiteX19" fmla="*/ 855530 w 1306181"/>
                <a:gd name="connsiteY19" fmla="*/ 55737 h 380318"/>
                <a:gd name="connsiteX20" fmla="*/ 853460 w 1306181"/>
                <a:gd name="connsiteY20" fmla="*/ 42802 h 380318"/>
                <a:gd name="connsiteX21" fmla="*/ 826386 w 1306181"/>
                <a:gd name="connsiteY21" fmla="*/ 30569 h 380318"/>
                <a:gd name="connsiteX22" fmla="*/ 790059 w 1306181"/>
                <a:gd name="connsiteY22" fmla="*/ 20375 h 380318"/>
                <a:gd name="connsiteX23" fmla="*/ 763026 w 1306181"/>
                <a:gd name="connsiteY23" fmla="*/ 21879 h 380318"/>
                <a:gd name="connsiteX24" fmla="*/ 701695 w 1306181"/>
                <a:gd name="connsiteY24" fmla="*/ 17968 h 380318"/>
                <a:gd name="connsiteX25" fmla="*/ 661714 w 1306181"/>
                <a:gd name="connsiteY25" fmla="*/ 13991 h 380318"/>
                <a:gd name="connsiteX26" fmla="*/ 605294 w 1306181"/>
                <a:gd name="connsiteY26" fmla="*/ 8810 h 380318"/>
                <a:gd name="connsiteX27" fmla="*/ 562756 w 1306181"/>
                <a:gd name="connsiteY27" fmla="*/ 7340 h 380318"/>
                <a:gd name="connsiteX28" fmla="*/ 521517 w 1306181"/>
                <a:gd name="connsiteY28" fmla="*/ 87 h 380318"/>
                <a:gd name="connsiteX29" fmla="*/ 514170 w 1306181"/>
                <a:gd name="connsiteY29" fmla="*/ 14024 h 380318"/>
                <a:gd name="connsiteX30" fmla="*/ 541162 w 1306181"/>
                <a:gd name="connsiteY30" fmla="*/ 26625 h 380318"/>
                <a:gd name="connsiteX31" fmla="*/ 496879 w 1306181"/>
                <a:gd name="connsiteY31" fmla="*/ 25388 h 380318"/>
                <a:gd name="connsiteX32" fmla="*/ 492251 w 1306181"/>
                <a:gd name="connsiteY32" fmla="*/ 37856 h 380318"/>
                <a:gd name="connsiteX33" fmla="*/ 470049 w 1306181"/>
                <a:gd name="connsiteY33" fmla="*/ 42669 h 380318"/>
                <a:gd name="connsiteX34" fmla="*/ 508812 w 1306181"/>
                <a:gd name="connsiteY34" fmla="*/ 64761 h 380318"/>
                <a:gd name="connsiteX35" fmla="*/ 494524 w 1306181"/>
                <a:gd name="connsiteY35" fmla="*/ 74454 h 380318"/>
                <a:gd name="connsiteX36" fmla="*/ 463392 w 1306181"/>
                <a:gd name="connsiteY36" fmla="*/ 63859 h 380318"/>
                <a:gd name="connsiteX37" fmla="*/ 452879 w 1306181"/>
                <a:gd name="connsiteY37" fmla="*/ 69006 h 380318"/>
                <a:gd name="connsiteX38" fmla="*/ 435304 w 1306181"/>
                <a:gd name="connsiteY38" fmla="*/ 62121 h 380318"/>
                <a:gd name="connsiteX39" fmla="*/ 383511 w 1306181"/>
                <a:gd name="connsiteY39" fmla="*/ 47248 h 380318"/>
                <a:gd name="connsiteX40" fmla="*/ 331963 w 1306181"/>
                <a:gd name="connsiteY40" fmla="*/ 43471 h 380318"/>
                <a:gd name="connsiteX41" fmla="*/ 301317 w 1306181"/>
                <a:gd name="connsiteY41" fmla="*/ 40128 h 380318"/>
                <a:gd name="connsiteX42" fmla="*/ 288369 w 1306181"/>
                <a:gd name="connsiteY42" fmla="*/ 34647 h 380318"/>
                <a:gd name="connsiteX43" fmla="*/ 280698 w 1306181"/>
                <a:gd name="connsiteY43" fmla="*/ 39259 h 380318"/>
                <a:gd name="connsiteX44" fmla="*/ 234831 w 1306181"/>
                <a:gd name="connsiteY44" fmla="*/ 12888 h 380318"/>
                <a:gd name="connsiteX45" fmla="*/ 211654 w 1306181"/>
                <a:gd name="connsiteY45" fmla="*/ 4398 h 380318"/>
                <a:gd name="connsiteX46" fmla="*/ 181374 w 1306181"/>
                <a:gd name="connsiteY46" fmla="*/ 4064 h 380318"/>
                <a:gd name="connsiteX47" fmla="*/ 147239 w 1306181"/>
                <a:gd name="connsiteY47" fmla="*/ 521 h 380318"/>
                <a:gd name="connsiteX48" fmla="*/ 110708 w 1306181"/>
                <a:gd name="connsiteY48" fmla="*/ 3864 h 380318"/>
                <a:gd name="connsiteX49" fmla="*/ 101250 w 1306181"/>
                <a:gd name="connsiteY49" fmla="*/ 7406 h 380318"/>
                <a:gd name="connsiteX50" fmla="*/ 84324 w 1306181"/>
                <a:gd name="connsiteY50" fmla="*/ 10448 h 380318"/>
                <a:gd name="connsiteX51" fmla="*/ 76206 w 1306181"/>
                <a:gd name="connsiteY51" fmla="*/ 27628 h 380318"/>
                <a:gd name="connsiteX52" fmla="*/ 52340 w 1306181"/>
                <a:gd name="connsiteY52" fmla="*/ 13055 h 380318"/>
                <a:gd name="connsiteX53" fmla="*/ 24901 w 1306181"/>
                <a:gd name="connsiteY53" fmla="*/ 21043 h 380318"/>
                <a:gd name="connsiteX54" fmla="*/ 20314 w 1306181"/>
                <a:gd name="connsiteY54" fmla="*/ 33009 h 380318"/>
                <a:gd name="connsiteX55" fmla="*/ 1318 w 1306181"/>
                <a:gd name="connsiteY55" fmla="*/ 43404 h 380318"/>
                <a:gd name="connsiteX56" fmla="*/ 14591 w 1306181"/>
                <a:gd name="connsiteY56" fmla="*/ 52829 h 380318"/>
                <a:gd name="connsiteX57" fmla="*/ 21572 w 1306181"/>
                <a:gd name="connsiteY57" fmla="*/ 66533 h 380318"/>
                <a:gd name="connsiteX58" fmla="*/ 56723 w 1306181"/>
                <a:gd name="connsiteY58" fmla="*/ 78031 h 380318"/>
                <a:gd name="connsiteX59" fmla="*/ 70726 w 1306181"/>
                <a:gd name="connsiteY59" fmla="*/ 91400 h 380318"/>
                <a:gd name="connsiteX60" fmla="*/ 59037 w 1306181"/>
                <a:gd name="connsiteY60" fmla="*/ 96748 h 380318"/>
                <a:gd name="connsiteX61" fmla="*/ 75272 w 1306181"/>
                <a:gd name="connsiteY61" fmla="*/ 104769 h 380318"/>
                <a:gd name="connsiteX62" fmla="*/ 92726 w 1306181"/>
                <a:gd name="connsiteY62" fmla="*/ 104134 h 380318"/>
                <a:gd name="connsiteX63" fmla="*/ 140866 w 1306181"/>
                <a:gd name="connsiteY63" fmla="*/ 100792 h 380318"/>
                <a:gd name="connsiteX64" fmla="*/ 188884 w 1306181"/>
                <a:gd name="connsiteY64" fmla="*/ 109348 h 380318"/>
                <a:gd name="connsiteX65" fmla="*/ 205120 w 1306181"/>
                <a:gd name="connsiteY65" fmla="*/ 131408 h 380318"/>
                <a:gd name="connsiteX66" fmla="*/ 193267 w 1306181"/>
                <a:gd name="connsiteY66" fmla="*/ 144243 h 380318"/>
                <a:gd name="connsiteX67" fmla="*/ 150972 w 1306181"/>
                <a:gd name="connsiteY67" fmla="*/ 138895 h 380318"/>
                <a:gd name="connsiteX68" fmla="*/ 130921 w 1306181"/>
                <a:gd name="connsiteY68" fmla="*/ 144945 h 380318"/>
                <a:gd name="connsiteX69" fmla="*/ 122803 w 1306181"/>
                <a:gd name="connsiteY69" fmla="*/ 151629 h 380318"/>
                <a:gd name="connsiteX70" fmla="*/ 101453 w 1306181"/>
                <a:gd name="connsiteY70" fmla="*/ 152599 h 380318"/>
                <a:gd name="connsiteX71" fmla="*/ 126944 w 1306181"/>
                <a:gd name="connsiteY71" fmla="*/ 165968 h 380318"/>
                <a:gd name="connsiteX72" fmla="*/ 131530 w 1306181"/>
                <a:gd name="connsiteY72" fmla="*/ 182680 h 380318"/>
                <a:gd name="connsiteX73" fmla="*/ 142367 w 1306181"/>
                <a:gd name="connsiteY73" fmla="*/ 185621 h 380318"/>
                <a:gd name="connsiteX74" fmla="*/ 156574 w 1306181"/>
                <a:gd name="connsiteY74" fmla="*/ 193542 h 380318"/>
                <a:gd name="connsiteX75" fmla="*/ 166965 w 1306181"/>
                <a:gd name="connsiteY75" fmla="*/ 206076 h 380318"/>
                <a:gd name="connsiteX76" fmla="*/ 170131 w 1306181"/>
                <a:gd name="connsiteY76" fmla="*/ 223757 h 380318"/>
                <a:gd name="connsiteX77" fmla="*/ 182064 w 1306181"/>
                <a:gd name="connsiteY77" fmla="*/ 215235 h 380318"/>
                <a:gd name="connsiteX78" fmla="*/ 204307 w 1306181"/>
                <a:gd name="connsiteY78" fmla="*/ 209352 h 380318"/>
                <a:gd name="connsiteX79" fmla="*/ 231787 w 1306181"/>
                <a:gd name="connsiteY79" fmla="*/ 217139 h 380318"/>
                <a:gd name="connsiteX80" fmla="*/ 263488 w 1306181"/>
                <a:gd name="connsiteY80" fmla="*/ 239132 h 380318"/>
                <a:gd name="connsiteX81" fmla="*/ 277328 w 1306181"/>
                <a:gd name="connsiteY81" fmla="*/ 225763 h 380318"/>
                <a:gd name="connsiteX82" fmla="*/ 294498 w 1306181"/>
                <a:gd name="connsiteY82" fmla="*/ 166135 h 380318"/>
                <a:gd name="connsiteX83" fmla="*/ 381401 w 1306181"/>
                <a:gd name="connsiteY83" fmla="*/ 165032 h 380318"/>
                <a:gd name="connsiteX84" fmla="*/ 410504 w 1306181"/>
                <a:gd name="connsiteY84" fmla="*/ 170480 h 380318"/>
                <a:gd name="connsiteX85" fmla="*/ 425725 w 1306181"/>
                <a:gd name="connsiteY85" fmla="*/ 164865 h 380318"/>
                <a:gd name="connsiteX86" fmla="*/ 430758 w 1306181"/>
                <a:gd name="connsiteY86" fmla="*/ 176029 h 380318"/>
                <a:gd name="connsiteX87" fmla="*/ 443868 w 1306181"/>
                <a:gd name="connsiteY87" fmla="*/ 197353 h 380318"/>
                <a:gd name="connsiteX88" fmla="*/ 477679 w 1306181"/>
                <a:gd name="connsiteY88" fmla="*/ 230776 h 380318"/>
                <a:gd name="connsiteX89" fmla="*/ 508447 w 1306181"/>
                <a:gd name="connsiteY89" fmla="*/ 233684 h 380318"/>
                <a:gd name="connsiteX90" fmla="*/ 535885 w 1306181"/>
                <a:gd name="connsiteY90" fmla="*/ 239834 h 380318"/>
                <a:gd name="connsiteX91" fmla="*/ 571482 w 1306181"/>
                <a:gd name="connsiteY91" fmla="*/ 246920 h 380318"/>
                <a:gd name="connsiteX92" fmla="*/ 594862 w 1306181"/>
                <a:gd name="connsiteY92" fmla="*/ 260289 h 380318"/>
                <a:gd name="connsiteX93" fmla="*/ 602980 w 1306181"/>
                <a:gd name="connsiteY93" fmla="*/ 280076 h 380318"/>
                <a:gd name="connsiteX94" fmla="*/ 621570 w 1306181"/>
                <a:gd name="connsiteY94" fmla="*/ 305244 h 380318"/>
                <a:gd name="connsiteX95" fmla="*/ 659197 w 1306181"/>
                <a:gd name="connsiteY95" fmla="*/ 317344 h 380318"/>
                <a:gd name="connsiteX96" fmla="*/ 677463 w 1306181"/>
                <a:gd name="connsiteY96" fmla="*/ 325933 h 380318"/>
                <a:gd name="connsiteX97" fmla="*/ 706728 w 1306181"/>
                <a:gd name="connsiteY97" fmla="*/ 317878 h 380318"/>
                <a:gd name="connsiteX98" fmla="*/ 729823 w 1306181"/>
                <a:gd name="connsiteY98" fmla="*/ 319015 h 380318"/>
                <a:gd name="connsiteX99" fmla="*/ 746627 w 1306181"/>
                <a:gd name="connsiteY99" fmla="*/ 313333 h 380318"/>
                <a:gd name="connsiteX100" fmla="*/ 771509 w 1306181"/>
                <a:gd name="connsiteY100" fmla="*/ 304977 h 380318"/>
                <a:gd name="connsiteX101" fmla="*/ 806091 w 1306181"/>
                <a:gd name="connsiteY101" fmla="*/ 312196 h 380318"/>
                <a:gd name="connsiteX102" fmla="*/ 838563 w 1306181"/>
                <a:gd name="connsiteY102" fmla="*/ 321388 h 380318"/>
                <a:gd name="connsiteX103" fmla="*/ 867504 w 1306181"/>
                <a:gd name="connsiteY103" fmla="*/ 316775 h 380318"/>
                <a:gd name="connsiteX104" fmla="*/ 909027 w 1306181"/>
                <a:gd name="connsiteY104" fmla="*/ 334456 h 380318"/>
                <a:gd name="connsiteX105" fmla="*/ 957045 w 1306181"/>
                <a:gd name="connsiteY105" fmla="*/ 344918 h 380318"/>
                <a:gd name="connsiteX106" fmla="*/ 1004616 w 1306181"/>
                <a:gd name="connsiteY106" fmla="*/ 359758 h 380318"/>
                <a:gd name="connsiteX107" fmla="*/ 1021420 w 1306181"/>
                <a:gd name="connsiteY107" fmla="*/ 368214 h 380318"/>
                <a:gd name="connsiteX108" fmla="*/ 1045408 w 1306181"/>
                <a:gd name="connsiteY108" fmla="*/ 379979 h 380318"/>
                <a:gd name="connsiteX109" fmla="*/ 1059453 w 1306181"/>
                <a:gd name="connsiteY109" fmla="*/ 367780 h 380318"/>
                <a:gd name="connsiteX110" fmla="*/ 1067205 w 1306181"/>
                <a:gd name="connsiteY110" fmla="*/ 356549 h 380318"/>
                <a:gd name="connsiteX111" fmla="*/ 1062213 w 1306181"/>
                <a:gd name="connsiteY111" fmla="*/ 325599 h 380318"/>
                <a:gd name="connsiteX112" fmla="*/ 1087825 w 1306181"/>
                <a:gd name="connsiteY112" fmla="*/ 327270 h 380318"/>
                <a:gd name="connsiteX113" fmla="*/ 1108119 w 1306181"/>
                <a:gd name="connsiteY113" fmla="*/ 328975 h 380318"/>
                <a:gd name="connsiteX114" fmla="*/ 1124355 w 1306181"/>
                <a:gd name="connsiteY114" fmla="*/ 336729 h 380318"/>
                <a:gd name="connsiteX115" fmla="*/ 1135964 w 1306181"/>
                <a:gd name="connsiteY115" fmla="*/ 331582 h 380318"/>
                <a:gd name="connsiteX116" fmla="*/ 1145990 w 1306181"/>
                <a:gd name="connsiteY116" fmla="*/ 320719 h 380318"/>
                <a:gd name="connsiteX117" fmla="*/ 1178462 w 1306181"/>
                <a:gd name="connsiteY117" fmla="*/ 305578 h 380318"/>
                <a:gd name="connsiteX118" fmla="*/ 1244461 w 1306181"/>
                <a:gd name="connsiteY118" fmla="*/ 322992 h 380318"/>
                <a:gd name="connsiteX119" fmla="*/ 1269423 w 1306181"/>
                <a:gd name="connsiteY119" fmla="*/ 300231 h 380318"/>
                <a:gd name="connsiteX120" fmla="*/ 1291707 w 1306181"/>
                <a:gd name="connsiteY120" fmla="*/ 296019 h 380318"/>
                <a:gd name="connsiteX121" fmla="*/ 1302869 w 1306181"/>
                <a:gd name="connsiteY121" fmla="*/ 290872 h 380318"/>
                <a:gd name="connsiteX122" fmla="*/ 1302869 w 1306181"/>
                <a:gd name="connsiteY122" fmla="*/ 280845 h 380318"/>
                <a:gd name="connsiteX123" fmla="*/ 476299 w 1306181"/>
                <a:gd name="connsiteY123" fmla="*/ 171149 h 380318"/>
                <a:gd name="connsiteX124" fmla="*/ 433721 w 1306181"/>
                <a:gd name="connsiteY124" fmla="*/ 157044 h 380318"/>
                <a:gd name="connsiteX125" fmla="*/ 476299 w 1306181"/>
                <a:gd name="connsiteY125" fmla="*/ 171082 h 380318"/>
                <a:gd name="connsiteX126" fmla="*/ 1008431 w 1306181"/>
                <a:gd name="connsiteY126" fmla="*/ 281045 h 380318"/>
                <a:gd name="connsiteX127" fmla="*/ 899245 w 1306181"/>
                <a:gd name="connsiteY127" fmla="*/ 262161 h 380318"/>
                <a:gd name="connsiteX128" fmla="*/ 881385 w 1306181"/>
                <a:gd name="connsiteY128" fmla="*/ 272957 h 380318"/>
                <a:gd name="connsiteX129" fmla="*/ 875459 w 1306181"/>
                <a:gd name="connsiteY129" fmla="*/ 279241 h 380318"/>
                <a:gd name="connsiteX130" fmla="*/ 871847 w 1306181"/>
                <a:gd name="connsiteY130" fmla="*/ 257415 h 380318"/>
                <a:gd name="connsiteX131" fmla="*/ 984159 w 1306181"/>
                <a:gd name="connsiteY131" fmla="*/ 270016 h 380318"/>
                <a:gd name="connsiteX132" fmla="*/ 1041593 w 1306181"/>
                <a:gd name="connsiteY132" fmla="*/ 280611 h 380318"/>
                <a:gd name="connsiteX133" fmla="*/ 1042121 w 1306181"/>
                <a:gd name="connsiteY133" fmla="*/ 283953 h 380318"/>
                <a:gd name="connsiteX134" fmla="*/ 1008431 w 1306181"/>
                <a:gd name="connsiteY134" fmla="*/ 280979 h 38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306181" h="380318">
                  <a:moveTo>
                    <a:pt x="1302626" y="281447"/>
                  </a:moveTo>
                  <a:cubicBezTo>
                    <a:pt x="1303031" y="278104"/>
                    <a:pt x="1253350" y="276433"/>
                    <a:pt x="1252944" y="259454"/>
                  </a:cubicBezTo>
                  <a:cubicBezTo>
                    <a:pt x="1252944" y="254674"/>
                    <a:pt x="1237683" y="250864"/>
                    <a:pt x="1233866" y="245449"/>
                  </a:cubicBezTo>
                  <a:cubicBezTo>
                    <a:pt x="1229077" y="238598"/>
                    <a:pt x="1225748" y="229206"/>
                    <a:pt x="1210690" y="225395"/>
                  </a:cubicBezTo>
                  <a:cubicBezTo>
                    <a:pt x="1198513" y="222454"/>
                    <a:pt x="1186336" y="225395"/>
                    <a:pt x="1174159" y="221886"/>
                  </a:cubicBezTo>
                  <a:cubicBezTo>
                    <a:pt x="1160115" y="217741"/>
                    <a:pt x="1147613" y="212126"/>
                    <a:pt x="1140389" y="204238"/>
                  </a:cubicBezTo>
                  <a:cubicBezTo>
                    <a:pt x="1123787" y="186189"/>
                    <a:pt x="1110961" y="215435"/>
                    <a:pt x="1099799" y="194746"/>
                  </a:cubicBezTo>
                  <a:cubicBezTo>
                    <a:pt x="1091519" y="177860"/>
                    <a:pt x="1081777" y="161486"/>
                    <a:pt x="1070656" y="145747"/>
                  </a:cubicBezTo>
                  <a:cubicBezTo>
                    <a:pt x="1064405" y="136659"/>
                    <a:pt x="1056530" y="128400"/>
                    <a:pt x="1047276" y="121247"/>
                  </a:cubicBezTo>
                  <a:cubicBezTo>
                    <a:pt x="1040700" y="116401"/>
                    <a:pt x="1018863" y="108747"/>
                    <a:pt x="1027793" y="103266"/>
                  </a:cubicBezTo>
                  <a:cubicBezTo>
                    <a:pt x="1034693" y="99154"/>
                    <a:pt x="1034490" y="97283"/>
                    <a:pt x="1018660" y="95411"/>
                  </a:cubicBezTo>
                  <a:cubicBezTo>
                    <a:pt x="1005266" y="93840"/>
                    <a:pt x="987122" y="96079"/>
                    <a:pt x="974011" y="96447"/>
                  </a:cubicBezTo>
                  <a:cubicBezTo>
                    <a:pt x="961672" y="96781"/>
                    <a:pt x="949333" y="96153"/>
                    <a:pt x="937156" y="94575"/>
                  </a:cubicBezTo>
                  <a:cubicBezTo>
                    <a:pt x="936750" y="94575"/>
                    <a:pt x="902533" y="94575"/>
                    <a:pt x="917064" y="89328"/>
                  </a:cubicBezTo>
                  <a:cubicBezTo>
                    <a:pt x="918606" y="88760"/>
                    <a:pt x="941215" y="84715"/>
                    <a:pt x="927130" y="82643"/>
                  </a:cubicBezTo>
                  <a:cubicBezTo>
                    <a:pt x="918038" y="81406"/>
                    <a:pt x="909473" y="74722"/>
                    <a:pt x="902411" y="74555"/>
                  </a:cubicBezTo>
                  <a:cubicBezTo>
                    <a:pt x="897987" y="74555"/>
                    <a:pt x="899164" y="79568"/>
                    <a:pt x="892791" y="75190"/>
                  </a:cubicBezTo>
                  <a:cubicBezTo>
                    <a:pt x="888407" y="72181"/>
                    <a:pt x="893075" y="68906"/>
                    <a:pt x="886215" y="66065"/>
                  </a:cubicBezTo>
                  <a:cubicBezTo>
                    <a:pt x="878097" y="62723"/>
                    <a:pt x="858290" y="70444"/>
                    <a:pt x="849685" y="61920"/>
                  </a:cubicBezTo>
                  <a:cubicBezTo>
                    <a:pt x="846397" y="58578"/>
                    <a:pt x="854271" y="57943"/>
                    <a:pt x="855530" y="55737"/>
                  </a:cubicBezTo>
                  <a:cubicBezTo>
                    <a:pt x="857762" y="51760"/>
                    <a:pt x="850537" y="46780"/>
                    <a:pt x="853460" y="42802"/>
                  </a:cubicBezTo>
                  <a:cubicBezTo>
                    <a:pt x="859020" y="35282"/>
                    <a:pt x="833165" y="32207"/>
                    <a:pt x="826386" y="30569"/>
                  </a:cubicBezTo>
                  <a:cubicBezTo>
                    <a:pt x="812504" y="27227"/>
                    <a:pt x="804995" y="22113"/>
                    <a:pt x="790059" y="20375"/>
                  </a:cubicBezTo>
                  <a:cubicBezTo>
                    <a:pt x="777435" y="18904"/>
                    <a:pt x="773051" y="21344"/>
                    <a:pt x="763026" y="21879"/>
                  </a:cubicBezTo>
                  <a:cubicBezTo>
                    <a:pt x="744963" y="22815"/>
                    <a:pt x="720812" y="19874"/>
                    <a:pt x="701695" y="17968"/>
                  </a:cubicBezTo>
                  <a:cubicBezTo>
                    <a:pt x="688787" y="16665"/>
                    <a:pt x="674337" y="13924"/>
                    <a:pt x="661714" y="13991"/>
                  </a:cubicBezTo>
                  <a:cubicBezTo>
                    <a:pt x="641825" y="13991"/>
                    <a:pt x="625183" y="10649"/>
                    <a:pt x="605294" y="8810"/>
                  </a:cubicBezTo>
                  <a:cubicBezTo>
                    <a:pt x="590113" y="7507"/>
                    <a:pt x="578180" y="10582"/>
                    <a:pt x="562756" y="7340"/>
                  </a:cubicBezTo>
                  <a:cubicBezTo>
                    <a:pt x="549118" y="4465"/>
                    <a:pt x="535317" y="2393"/>
                    <a:pt x="521517" y="87"/>
                  </a:cubicBezTo>
                  <a:cubicBezTo>
                    <a:pt x="508812" y="-2052"/>
                    <a:pt x="511045" y="9913"/>
                    <a:pt x="514170" y="14024"/>
                  </a:cubicBezTo>
                  <a:cubicBezTo>
                    <a:pt x="518229" y="19305"/>
                    <a:pt x="539538" y="21879"/>
                    <a:pt x="541162" y="26625"/>
                  </a:cubicBezTo>
                  <a:cubicBezTo>
                    <a:pt x="541811" y="28497"/>
                    <a:pt x="500572" y="21177"/>
                    <a:pt x="496879" y="25388"/>
                  </a:cubicBezTo>
                  <a:cubicBezTo>
                    <a:pt x="493185" y="29600"/>
                    <a:pt x="500938" y="35683"/>
                    <a:pt x="492251" y="37856"/>
                  </a:cubicBezTo>
                  <a:cubicBezTo>
                    <a:pt x="486609" y="39259"/>
                    <a:pt x="468547" y="37856"/>
                    <a:pt x="470049" y="42669"/>
                  </a:cubicBezTo>
                  <a:cubicBezTo>
                    <a:pt x="473377" y="53598"/>
                    <a:pt x="507797" y="52963"/>
                    <a:pt x="508812" y="64761"/>
                  </a:cubicBezTo>
                  <a:cubicBezTo>
                    <a:pt x="509299" y="70678"/>
                    <a:pt x="507675" y="75658"/>
                    <a:pt x="494524" y="74454"/>
                  </a:cubicBezTo>
                  <a:cubicBezTo>
                    <a:pt x="479668" y="73117"/>
                    <a:pt x="475609" y="67368"/>
                    <a:pt x="463392" y="63859"/>
                  </a:cubicBezTo>
                  <a:cubicBezTo>
                    <a:pt x="457506" y="62188"/>
                    <a:pt x="455274" y="67569"/>
                    <a:pt x="452879" y="69006"/>
                  </a:cubicBezTo>
                  <a:cubicBezTo>
                    <a:pt x="446344" y="73017"/>
                    <a:pt x="441758" y="63224"/>
                    <a:pt x="435304" y="62121"/>
                  </a:cubicBezTo>
                  <a:cubicBezTo>
                    <a:pt x="416551" y="58779"/>
                    <a:pt x="405633" y="40362"/>
                    <a:pt x="383511" y="47248"/>
                  </a:cubicBezTo>
                  <a:cubicBezTo>
                    <a:pt x="370279" y="51325"/>
                    <a:pt x="345722" y="31572"/>
                    <a:pt x="331963" y="43471"/>
                  </a:cubicBezTo>
                  <a:cubicBezTo>
                    <a:pt x="326321" y="48350"/>
                    <a:pt x="308015" y="43471"/>
                    <a:pt x="301317" y="40128"/>
                  </a:cubicBezTo>
                  <a:cubicBezTo>
                    <a:pt x="297299" y="37835"/>
                    <a:pt x="292955" y="35990"/>
                    <a:pt x="288369" y="34647"/>
                  </a:cubicBezTo>
                  <a:cubicBezTo>
                    <a:pt x="280778" y="33009"/>
                    <a:pt x="284878" y="38591"/>
                    <a:pt x="280698" y="39259"/>
                  </a:cubicBezTo>
                  <a:cubicBezTo>
                    <a:pt x="285568" y="38457"/>
                    <a:pt x="243477" y="15027"/>
                    <a:pt x="234831" y="12888"/>
                  </a:cubicBezTo>
                  <a:cubicBezTo>
                    <a:pt x="224278" y="10281"/>
                    <a:pt x="218798" y="8877"/>
                    <a:pt x="211654" y="4398"/>
                  </a:cubicBezTo>
                  <a:cubicBezTo>
                    <a:pt x="198097" y="-4124"/>
                    <a:pt x="190994" y="7005"/>
                    <a:pt x="181374" y="4064"/>
                  </a:cubicBezTo>
                  <a:cubicBezTo>
                    <a:pt x="166924" y="-314"/>
                    <a:pt x="163353" y="-1284"/>
                    <a:pt x="147239" y="521"/>
                  </a:cubicBezTo>
                  <a:cubicBezTo>
                    <a:pt x="135954" y="1791"/>
                    <a:pt x="123372" y="5669"/>
                    <a:pt x="110708" y="3864"/>
                  </a:cubicBezTo>
                  <a:cubicBezTo>
                    <a:pt x="104903" y="3095"/>
                    <a:pt x="103645" y="5535"/>
                    <a:pt x="101250" y="7406"/>
                  </a:cubicBezTo>
                  <a:cubicBezTo>
                    <a:pt x="97191" y="10749"/>
                    <a:pt x="90128" y="8777"/>
                    <a:pt x="84324" y="10448"/>
                  </a:cubicBezTo>
                  <a:cubicBezTo>
                    <a:pt x="72147" y="13790"/>
                    <a:pt x="93985" y="26592"/>
                    <a:pt x="76206" y="27628"/>
                  </a:cubicBezTo>
                  <a:cubicBezTo>
                    <a:pt x="64030" y="28397"/>
                    <a:pt x="59321" y="16765"/>
                    <a:pt x="52340" y="13055"/>
                  </a:cubicBezTo>
                  <a:cubicBezTo>
                    <a:pt x="36104" y="4465"/>
                    <a:pt x="34074" y="19005"/>
                    <a:pt x="24901" y="21043"/>
                  </a:cubicBezTo>
                  <a:cubicBezTo>
                    <a:pt x="10532" y="24386"/>
                    <a:pt x="9193" y="26826"/>
                    <a:pt x="20314" y="33009"/>
                  </a:cubicBezTo>
                  <a:cubicBezTo>
                    <a:pt x="23642" y="34847"/>
                    <a:pt x="3835" y="40563"/>
                    <a:pt x="1318" y="43404"/>
                  </a:cubicBezTo>
                  <a:cubicBezTo>
                    <a:pt x="-3999" y="49386"/>
                    <a:pt x="7285" y="49453"/>
                    <a:pt x="14591" y="52829"/>
                  </a:cubicBezTo>
                  <a:cubicBezTo>
                    <a:pt x="21897" y="56205"/>
                    <a:pt x="8949" y="67101"/>
                    <a:pt x="21572" y="66533"/>
                  </a:cubicBezTo>
                  <a:cubicBezTo>
                    <a:pt x="39960" y="65697"/>
                    <a:pt x="48281" y="69508"/>
                    <a:pt x="56723" y="78031"/>
                  </a:cubicBezTo>
                  <a:cubicBezTo>
                    <a:pt x="60782" y="82175"/>
                    <a:pt x="68900" y="86888"/>
                    <a:pt x="70726" y="91400"/>
                  </a:cubicBezTo>
                  <a:cubicBezTo>
                    <a:pt x="72553" y="95912"/>
                    <a:pt x="55790" y="92603"/>
                    <a:pt x="59037" y="96748"/>
                  </a:cubicBezTo>
                  <a:cubicBezTo>
                    <a:pt x="61797" y="100090"/>
                    <a:pt x="70159" y="102330"/>
                    <a:pt x="75272" y="104769"/>
                  </a:cubicBezTo>
                  <a:cubicBezTo>
                    <a:pt x="83390" y="108647"/>
                    <a:pt x="84690" y="105973"/>
                    <a:pt x="92726" y="104134"/>
                  </a:cubicBezTo>
                  <a:cubicBezTo>
                    <a:pt x="108353" y="100471"/>
                    <a:pt x="124711" y="99335"/>
                    <a:pt x="140866" y="100792"/>
                  </a:cubicBezTo>
                  <a:cubicBezTo>
                    <a:pt x="156412" y="102330"/>
                    <a:pt x="173337" y="106708"/>
                    <a:pt x="188884" y="109348"/>
                  </a:cubicBezTo>
                  <a:cubicBezTo>
                    <a:pt x="209544" y="112891"/>
                    <a:pt x="208407" y="122985"/>
                    <a:pt x="205120" y="131408"/>
                  </a:cubicBezTo>
                  <a:cubicBezTo>
                    <a:pt x="202887" y="136856"/>
                    <a:pt x="207068" y="144778"/>
                    <a:pt x="193267" y="144243"/>
                  </a:cubicBezTo>
                  <a:cubicBezTo>
                    <a:pt x="179467" y="143708"/>
                    <a:pt x="165463" y="139329"/>
                    <a:pt x="150972" y="138895"/>
                  </a:cubicBezTo>
                  <a:cubicBezTo>
                    <a:pt x="141880" y="138628"/>
                    <a:pt x="126984" y="138226"/>
                    <a:pt x="130921" y="144945"/>
                  </a:cubicBezTo>
                  <a:cubicBezTo>
                    <a:pt x="133884" y="149992"/>
                    <a:pt x="137212" y="158080"/>
                    <a:pt x="122803" y="151629"/>
                  </a:cubicBezTo>
                  <a:cubicBezTo>
                    <a:pt x="117567" y="149223"/>
                    <a:pt x="99708" y="145981"/>
                    <a:pt x="101453" y="152599"/>
                  </a:cubicBezTo>
                  <a:cubicBezTo>
                    <a:pt x="102346" y="155941"/>
                    <a:pt x="123128" y="160620"/>
                    <a:pt x="126944" y="165968"/>
                  </a:cubicBezTo>
                  <a:cubicBezTo>
                    <a:pt x="130231" y="170681"/>
                    <a:pt x="122519" y="178769"/>
                    <a:pt x="131530" y="182680"/>
                  </a:cubicBezTo>
                  <a:cubicBezTo>
                    <a:pt x="135589" y="184418"/>
                    <a:pt x="138958" y="182847"/>
                    <a:pt x="142367" y="185621"/>
                  </a:cubicBezTo>
                  <a:cubicBezTo>
                    <a:pt x="146426" y="188963"/>
                    <a:pt x="148537" y="192707"/>
                    <a:pt x="156574" y="193542"/>
                  </a:cubicBezTo>
                  <a:cubicBezTo>
                    <a:pt x="177559" y="195782"/>
                    <a:pt x="173135" y="199425"/>
                    <a:pt x="166965" y="206076"/>
                  </a:cubicBezTo>
                  <a:cubicBezTo>
                    <a:pt x="162540" y="210856"/>
                    <a:pt x="165423" y="218543"/>
                    <a:pt x="170131" y="223757"/>
                  </a:cubicBezTo>
                  <a:cubicBezTo>
                    <a:pt x="177194" y="231545"/>
                    <a:pt x="179304" y="217073"/>
                    <a:pt x="182064" y="215235"/>
                  </a:cubicBezTo>
                  <a:cubicBezTo>
                    <a:pt x="178005" y="207647"/>
                    <a:pt x="195337" y="208550"/>
                    <a:pt x="204307" y="209352"/>
                  </a:cubicBezTo>
                  <a:cubicBezTo>
                    <a:pt x="214171" y="209823"/>
                    <a:pt x="223669" y="212517"/>
                    <a:pt x="231787" y="217139"/>
                  </a:cubicBezTo>
                  <a:cubicBezTo>
                    <a:pt x="241203" y="222688"/>
                    <a:pt x="250702" y="236659"/>
                    <a:pt x="263488" y="239132"/>
                  </a:cubicBezTo>
                  <a:cubicBezTo>
                    <a:pt x="278424" y="242007"/>
                    <a:pt x="275665" y="230877"/>
                    <a:pt x="277328" y="225763"/>
                  </a:cubicBezTo>
                  <a:lnTo>
                    <a:pt x="294498" y="166135"/>
                  </a:lnTo>
                  <a:cubicBezTo>
                    <a:pt x="295959" y="161021"/>
                    <a:pt x="370929" y="170280"/>
                    <a:pt x="381401" y="165032"/>
                  </a:cubicBezTo>
                  <a:cubicBezTo>
                    <a:pt x="391873" y="159785"/>
                    <a:pt x="402101" y="165333"/>
                    <a:pt x="410504" y="170480"/>
                  </a:cubicBezTo>
                  <a:cubicBezTo>
                    <a:pt x="411031" y="170814"/>
                    <a:pt x="419474" y="163495"/>
                    <a:pt x="425725" y="164865"/>
                  </a:cubicBezTo>
                  <a:cubicBezTo>
                    <a:pt x="436603" y="167272"/>
                    <a:pt x="422315" y="174591"/>
                    <a:pt x="430758" y="176029"/>
                  </a:cubicBezTo>
                  <a:cubicBezTo>
                    <a:pt x="442610" y="178101"/>
                    <a:pt x="445046" y="193108"/>
                    <a:pt x="443868" y="197353"/>
                  </a:cubicBezTo>
                  <a:cubicBezTo>
                    <a:pt x="442691" y="201598"/>
                    <a:pt x="467898" y="228671"/>
                    <a:pt x="477679" y="230776"/>
                  </a:cubicBezTo>
                  <a:cubicBezTo>
                    <a:pt x="487462" y="232882"/>
                    <a:pt x="498421" y="232648"/>
                    <a:pt x="508447" y="233684"/>
                  </a:cubicBezTo>
                  <a:cubicBezTo>
                    <a:pt x="517336" y="234620"/>
                    <a:pt x="527118" y="238029"/>
                    <a:pt x="535885" y="239834"/>
                  </a:cubicBezTo>
                  <a:cubicBezTo>
                    <a:pt x="547737" y="242308"/>
                    <a:pt x="559590" y="244614"/>
                    <a:pt x="571482" y="246920"/>
                  </a:cubicBezTo>
                  <a:cubicBezTo>
                    <a:pt x="584715" y="249460"/>
                    <a:pt x="586338" y="254340"/>
                    <a:pt x="594862" y="260289"/>
                  </a:cubicBezTo>
                  <a:cubicBezTo>
                    <a:pt x="607283" y="268812"/>
                    <a:pt x="603630" y="270317"/>
                    <a:pt x="602980" y="280076"/>
                  </a:cubicBezTo>
                  <a:cubicBezTo>
                    <a:pt x="602655" y="284388"/>
                    <a:pt x="614061" y="303038"/>
                    <a:pt x="621570" y="305244"/>
                  </a:cubicBezTo>
                  <a:cubicBezTo>
                    <a:pt x="634843" y="309121"/>
                    <a:pt x="647994" y="310659"/>
                    <a:pt x="659197" y="317344"/>
                  </a:cubicBezTo>
                  <a:cubicBezTo>
                    <a:pt x="665610" y="321187"/>
                    <a:pt x="665123" y="331348"/>
                    <a:pt x="677463" y="325933"/>
                  </a:cubicBezTo>
                  <a:cubicBezTo>
                    <a:pt x="687326" y="321588"/>
                    <a:pt x="691831" y="318614"/>
                    <a:pt x="706728" y="317878"/>
                  </a:cubicBezTo>
                  <a:cubicBezTo>
                    <a:pt x="714440" y="317166"/>
                    <a:pt x="722273" y="317551"/>
                    <a:pt x="729823" y="319015"/>
                  </a:cubicBezTo>
                  <a:cubicBezTo>
                    <a:pt x="741229" y="321856"/>
                    <a:pt x="736602" y="313466"/>
                    <a:pt x="746627" y="313333"/>
                  </a:cubicBezTo>
                  <a:cubicBezTo>
                    <a:pt x="760468" y="313166"/>
                    <a:pt x="762092" y="307818"/>
                    <a:pt x="771509" y="304977"/>
                  </a:cubicBezTo>
                  <a:cubicBezTo>
                    <a:pt x="780276" y="302336"/>
                    <a:pt x="798055" y="308754"/>
                    <a:pt x="806091" y="312196"/>
                  </a:cubicBezTo>
                  <a:cubicBezTo>
                    <a:pt x="813154" y="315171"/>
                    <a:pt x="830730" y="326702"/>
                    <a:pt x="838563" y="321388"/>
                  </a:cubicBezTo>
                  <a:cubicBezTo>
                    <a:pt x="846397" y="316073"/>
                    <a:pt x="850984" y="313099"/>
                    <a:pt x="867504" y="316775"/>
                  </a:cubicBezTo>
                  <a:cubicBezTo>
                    <a:pt x="883090" y="320118"/>
                    <a:pt x="892750" y="330780"/>
                    <a:pt x="909027" y="334456"/>
                  </a:cubicBezTo>
                  <a:cubicBezTo>
                    <a:pt x="925303" y="338133"/>
                    <a:pt x="940768" y="340239"/>
                    <a:pt x="957045" y="344918"/>
                  </a:cubicBezTo>
                  <a:cubicBezTo>
                    <a:pt x="972225" y="349263"/>
                    <a:pt x="989030" y="356850"/>
                    <a:pt x="1004616" y="359758"/>
                  </a:cubicBezTo>
                  <a:cubicBezTo>
                    <a:pt x="1011394" y="360584"/>
                    <a:pt x="1017442" y="363635"/>
                    <a:pt x="1021420" y="368214"/>
                  </a:cubicBezTo>
                  <a:cubicBezTo>
                    <a:pt x="1027305" y="374899"/>
                    <a:pt x="1038265" y="374264"/>
                    <a:pt x="1045408" y="379979"/>
                  </a:cubicBezTo>
                  <a:cubicBezTo>
                    <a:pt x="1047682" y="373295"/>
                    <a:pt x="1048128" y="370353"/>
                    <a:pt x="1059453" y="367780"/>
                  </a:cubicBezTo>
                  <a:cubicBezTo>
                    <a:pt x="1069235" y="365540"/>
                    <a:pt x="1070128" y="363201"/>
                    <a:pt x="1067205" y="356549"/>
                  </a:cubicBezTo>
                  <a:cubicBezTo>
                    <a:pt x="1065095" y="351669"/>
                    <a:pt x="1057992" y="326468"/>
                    <a:pt x="1062213" y="325599"/>
                  </a:cubicBezTo>
                  <a:cubicBezTo>
                    <a:pt x="1070736" y="324095"/>
                    <a:pt x="1078692" y="326234"/>
                    <a:pt x="1087825" y="327270"/>
                  </a:cubicBezTo>
                  <a:cubicBezTo>
                    <a:pt x="1094604" y="327521"/>
                    <a:pt x="1101382" y="328089"/>
                    <a:pt x="1108119" y="328975"/>
                  </a:cubicBezTo>
                  <a:cubicBezTo>
                    <a:pt x="1113559" y="330178"/>
                    <a:pt x="1118551" y="334857"/>
                    <a:pt x="1124355" y="336729"/>
                  </a:cubicBezTo>
                  <a:cubicBezTo>
                    <a:pt x="1135639" y="340473"/>
                    <a:pt x="1145178" y="339637"/>
                    <a:pt x="1135964" y="331582"/>
                  </a:cubicBezTo>
                  <a:cubicBezTo>
                    <a:pt x="1132473" y="328574"/>
                    <a:pt x="1143839" y="322223"/>
                    <a:pt x="1145990" y="320719"/>
                  </a:cubicBezTo>
                  <a:cubicBezTo>
                    <a:pt x="1151145" y="317009"/>
                    <a:pt x="1168192" y="299328"/>
                    <a:pt x="1178462" y="305578"/>
                  </a:cubicBezTo>
                  <a:cubicBezTo>
                    <a:pt x="1192871" y="314436"/>
                    <a:pt x="1226439" y="325198"/>
                    <a:pt x="1244461" y="322992"/>
                  </a:cubicBezTo>
                  <a:cubicBezTo>
                    <a:pt x="1260453" y="321054"/>
                    <a:pt x="1237601" y="296253"/>
                    <a:pt x="1269423" y="300231"/>
                  </a:cubicBezTo>
                  <a:cubicBezTo>
                    <a:pt x="1281113" y="301735"/>
                    <a:pt x="1288825" y="303172"/>
                    <a:pt x="1291707" y="296019"/>
                  </a:cubicBezTo>
                  <a:cubicBezTo>
                    <a:pt x="1292925" y="293111"/>
                    <a:pt x="1299135" y="292343"/>
                    <a:pt x="1302869" y="290872"/>
                  </a:cubicBezTo>
                  <a:cubicBezTo>
                    <a:pt x="1310541" y="287864"/>
                    <a:pt x="1302139" y="285558"/>
                    <a:pt x="1302869" y="280845"/>
                  </a:cubicBezTo>
                  <a:close/>
                  <a:moveTo>
                    <a:pt x="476299" y="171149"/>
                  </a:moveTo>
                  <a:cubicBezTo>
                    <a:pt x="471794" y="173154"/>
                    <a:pt x="435710" y="161556"/>
                    <a:pt x="433721" y="157044"/>
                  </a:cubicBezTo>
                  <a:cubicBezTo>
                    <a:pt x="431732" y="152532"/>
                    <a:pt x="486000" y="166703"/>
                    <a:pt x="476299" y="171082"/>
                  </a:cubicBezTo>
                  <a:close/>
                  <a:moveTo>
                    <a:pt x="1008431" y="281045"/>
                  </a:moveTo>
                  <a:cubicBezTo>
                    <a:pt x="976284" y="273224"/>
                    <a:pt x="929606" y="253638"/>
                    <a:pt x="899245" y="262161"/>
                  </a:cubicBezTo>
                  <a:cubicBezTo>
                    <a:pt x="891127" y="264434"/>
                    <a:pt x="883861" y="267776"/>
                    <a:pt x="881385" y="272957"/>
                  </a:cubicBezTo>
                  <a:cubicBezTo>
                    <a:pt x="880411" y="275029"/>
                    <a:pt x="881629" y="280043"/>
                    <a:pt x="875459" y="279241"/>
                  </a:cubicBezTo>
                  <a:cubicBezTo>
                    <a:pt x="862105" y="277569"/>
                    <a:pt x="869533" y="260323"/>
                    <a:pt x="871847" y="257415"/>
                  </a:cubicBezTo>
                  <a:cubicBezTo>
                    <a:pt x="888082" y="236559"/>
                    <a:pt x="955502" y="263231"/>
                    <a:pt x="984159" y="270016"/>
                  </a:cubicBezTo>
                  <a:cubicBezTo>
                    <a:pt x="1003155" y="274428"/>
                    <a:pt x="1022759" y="276065"/>
                    <a:pt x="1041593" y="280611"/>
                  </a:cubicBezTo>
                  <a:cubicBezTo>
                    <a:pt x="1045977" y="281680"/>
                    <a:pt x="1045652" y="283251"/>
                    <a:pt x="1042121" y="283953"/>
                  </a:cubicBezTo>
                  <a:cubicBezTo>
                    <a:pt x="1032704" y="285858"/>
                    <a:pt x="1018863" y="283485"/>
                    <a:pt x="1008431" y="28097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8D319793-CDE8-4B82-AC81-4C59ABD252D3}"/>
                </a:ext>
              </a:extLst>
            </p:cNvPr>
            <p:cNvSpPr/>
            <p:nvPr/>
          </p:nvSpPr>
          <p:spPr>
            <a:xfrm>
              <a:off x="6402260" y="3092638"/>
              <a:ext cx="5495992" cy="2374809"/>
            </a:xfrm>
            <a:custGeom>
              <a:avLst/>
              <a:gdLst>
                <a:gd name="connsiteX0" fmla="*/ 86305 w 5495992"/>
                <a:gd name="connsiteY0" fmla="*/ 704436 h 2374809"/>
                <a:gd name="connsiteX1" fmla="*/ 70434 w 5495992"/>
                <a:gd name="connsiteY1" fmla="*/ 701930 h 2374809"/>
                <a:gd name="connsiteX2" fmla="*/ 46080 w 5495992"/>
                <a:gd name="connsiteY2" fmla="*/ 698253 h 2374809"/>
                <a:gd name="connsiteX3" fmla="*/ 40722 w 5495992"/>
                <a:gd name="connsiteY3" fmla="*/ 706342 h 2374809"/>
                <a:gd name="connsiteX4" fmla="*/ 32199 w 5495992"/>
                <a:gd name="connsiteY4" fmla="*/ 713327 h 2374809"/>
                <a:gd name="connsiteX5" fmla="*/ 14826 w 5495992"/>
                <a:gd name="connsiteY5" fmla="*/ 706308 h 2374809"/>
                <a:gd name="connsiteX6" fmla="*/ 8697 w 5495992"/>
                <a:gd name="connsiteY6" fmla="*/ 715567 h 2374809"/>
                <a:gd name="connsiteX7" fmla="*/ 78025 w 5495992"/>
                <a:gd name="connsiteY7" fmla="*/ 721883 h 2374809"/>
                <a:gd name="connsiteX8" fmla="*/ 103068 w 5495992"/>
                <a:gd name="connsiteY8" fmla="*/ 716536 h 2374809"/>
                <a:gd name="connsiteX9" fmla="*/ 86224 w 5495992"/>
                <a:gd name="connsiteY9" fmla="*/ 704436 h 2374809"/>
                <a:gd name="connsiteX10" fmla="*/ 1722803 w 5495992"/>
                <a:gd name="connsiteY10" fmla="*/ 109497 h 2374809"/>
                <a:gd name="connsiteX11" fmla="*/ 1754504 w 5495992"/>
                <a:gd name="connsiteY11" fmla="*/ 102478 h 2374809"/>
                <a:gd name="connsiteX12" fmla="*/ 1707866 w 5495992"/>
                <a:gd name="connsiteY12" fmla="*/ 97330 h 2374809"/>
                <a:gd name="connsiteX13" fmla="*/ 1661512 w 5495992"/>
                <a:gd name="connsiteY13" fmla="*/ 95058 h 2374809"/>
                <a:gd name="connsiteX14" fmla="*/ 1722803 w 5495992"/>
                <a:gd name="connsiteY14" fmla="*/ 109497 h 2374809"/>
                <a:gd name="connsiteX15" fmla="*/ 1722843 w 5495992"/>
                <a:gd name="connsiteY15" fmla="*/ 109563 h 2374809"/>
                <a:gd name="connsiteX16" fmla="*/ 1846642 w 5495992"/>
                <a:gd name="connsiteY16" fmla="*/ 423177 h 2374809"/>
                <a:gd name="connsiteX17" fmla="*/ 1895350 w 5495992"/>
                <a:gd name="connsiteY17" fmla="*/ 422141 h 2374809"/>
                <a:gd name="connsiteX18" fmla="*/ 1847981 w 5495992"/>
                <a:gd name="connsiteY18" fmla="*/ 412882 h 2374809"/>
                <a:gd name="connsiteX19" fmla="*/ 1846520 w 5495992"/>
                <a:gd name="connsiteY19" fmla="*/ 423177 h 2374809"/>
                <a:gd name="connsiteX20" fmla="*/ 2713233 w 5495992"/>
                <a:gd name="connsiteY20" fmla="*/ 374412 h 2374809"/>
                <a:gd name="connsiteX21" fmla="*/ 2702071 w 5495992"/>
                <a:gd name="connsiteY21" fmla="*/ 378055 h 2374809"/>
                <a:gd name="connsiteX22" fmla="*/ 2674348 w 5495992"/>
                <a:gd name="connsiteY22" fmla="*/ 376317 h 2374809"/>
                <a:gd name="connsiteX23" fmla="*/ 2701746 w 5495992"/>
                <a:gd name="connsiteY23" fmla="*/ 395101 h 2374809"/>
                <a:gd name="connsiteX24" fmla="*/ 2748790 w 5495992"/>
                <a:gd name="connsiteY24" fmla="*/ 396338 h 2374809"/>
                <a:gd name="connsiteX25" fmla="*/ 2818279 w 5495992"/>
                <a:gd name="connsiteY25" fmla="*/ 405964 h 2374809"/>
                <a:gd name="connsiteX26" fmla="*/ 2852457 w 5495992"/>
                <a:gd name="connsiteY26" fmla="*/ 413183 h 2374809"/>
                <a:gd name="connsiteX27" fmla="*/ 2858423 w 5495992"/>
                <a:gd name="connsiteY27" fmla="*/ 403156 h 2374809"/>
                <a:gd name="connsiteX28" fmla="*/ 2882047 w 5495992"/>
                <a:gd name="connsiteY28" fmla="*/ 404727 h 2374809"/>
                <a:gd name="connsiteX29" fmla="*/ 2844176 w 5495992"/>
                <a:gd name="connsiteY29" fmla="*/ 384071 h 2374809"/>
                <a:gd name="connsiteX30" fmla="*/ 2816494 w 5495992"/>
                <a:gd name="connsiteY30" fmla="*/ 362480 h 2374809"/>
                <a:gd name="connsiteX31" fmla="*/ 2737628 w 5495992"/>
                <a:gd name="connsiteY31" fmla="*/ 356965 h 2374809"/>
                <a:gd name="connsiteX32" fmla="*/ 2716967 w 5495992"/>
                <a:gd name="connsiteY32" fmla="*/ 363148 h 2374809"/>
                <a:gd name="connsiteX33" fmla="*/ 2713233 w 5495992"/>
                <a:gd name="connsiteY33" fmla="*/ 374378 h 2374809"/>
                <a:gd name="connsiteX34" fmla="*/ 2763078 w 5495992"/>
                <a:gd name="connsiteY34" fmla="*/ 404493 h 2374809"/>
                <a:gd name="connsiteX35" fmla="*/ 2736451 w 5495992"/>
                <a:gd name="connsiteY35" fmla="*/ 407835 h 2374809"/>
                <a:gd name="connsiteX36" fmla="*/ 2757314 w 5495992"/>
                <a:gd name="connsiteY36" fmla="*/ 422709 h 2374809"/>
                <a:gd name="connsiteX37" fmla="*/ 2775377 w 5495992"/>
                <a:gd name="connsiteY37" fmla="*/ 439722 h 2374809"/>
                <a:gd name="connsiteX38" fmla="*/ 2809147 w 5495992"/>
                <a:gd name="connsiteY38" fmla="*/ 452255 h 2374809"/>
                <a:gd name="connsiteX39" fmla="*/ 2897917 w 5495992"/>
                <a:gd name="connsiteY39" fmla="*/ 488553 h 2374809"/>
                <a:gd name="connsiteX40" fmla="*/ 2915208 w 5495992"/>
                <a:gd name="connsiteY40" fmla="*/ 483573 h 2374809"/>
                <a:gd name="connsiteX41" fmla="*/ 2909201 w 5495992"/>
                <a:gd name="connsiteY41" fmla="*/ 479362 h 2374809"/>
                <a:gd name="connsiteX42" fmla="*/ 2920079 w 5495992"/>
                <a:gd name="connsiteY42" fmla="*/ 472376 h 2374809"/>
                <a:gd name="connsiteX43" fmla="*/ 2917360 w 5495992"/>
                <a:gd name="connsiteY43" fmla="*/ 447008 h 2374809"/>
                <a:gd name="connsiteX44" fmla="*/ 2892153 w 5495992"/>
                <a:gd name="connsiteY44" fmla="*/ 439521 h 2374809"/>
                <a:gd name="connsiteX45" fmla="*/ 2873807 w 5495992"/>
                <a:gd name="connsiteY45" fmla="*/ 435878 h 2374809"/>
                <a:gd name="connsiteX46" fmla="*/ 2827412 w 5495992"/>
                <a:gd name="connsiteY46" fmla="*/ 413217 h 2374809"/>
                <a:gd name="connsiteX47" fmla="*/ 2763240 w 5495992"/>
                <a:gd name="connsiteY47" fmla="*/ 404460 h 2374809"/>
                <a:gd name="connsiteX48" fmla="*/ 2146113 w 5495992"/>
                <a:gd name="connsiteY48" fmla="*/ 499784 h 2374809"/>
                <a:gd name="connsiteX49" fmla="*/ 2174851 w 5495992"/>
                <a:gd name="connsiteY49" fmla="*/ 501087 h 2374809"/>
                <a:gd name="connsiteX50" fmla="*/ 2146439 w 5495992"/>
                <a:gd name="connsiteY50" fmla="*/ 499884 h 2374809"/>
                <a:gd name="connsiteX51" fmla="*/ 2700367 w 5495992"/>
                <a:gd name="connsiteY51" fmla="*/ 332666 h 2374809"/>
                <a:gd name="connsiteX52" fmla="*/ 2651375 w 5495992"/>
                <a:gd name="connsiteY52" fmla="*/ 321569 h 2374809"/>
                <a:gd name="connsiteX53" fmla="*/ 2700691 w 5495992"/>
                <a:gd name="connsiteY53" fmla="*/ 332766 h 2374809"/>
                <a:gd name="connsiteX54" fmla="*/ 5296001 w 5495992"/>
                <a:gd name="connsiteY54" fmla="*/ 2021426 h 2374809"/>
                <a:gd name="connsiteX55" fmla="*/ 5328473 w 5495992"/>
                <a:gd name="connsiteY55" fmla="*/ 2042550 h 2374809"/>
                <a:gd name="connsiteX56" fmla="*/ 5355789 w 5495992"/>
                <a:gd name="connsiteY56" fmla="*/ 2067216 h 2374809"/>
                <a:gd name="connsiteX57" fmla="*/ 5408961 w 5495992"/>
                <a:gd name="connsiteY57" fmla="*/ 2093354 h 2374809"/>
                <a:gd name="connsiteX58" fmla="*/ 5352380 w 5495992"/>
                <a:gd name="connsiteY58" fmla="*/ 2038272 h 2374809"/>
                <a:gd name="connsiteX59" fmla="*/ 5296123 w 5495992"/>
                <a:gd name="connsiteY59" fmla="*/ 2021560 h 2374809"/>
                <a:gd name="connsiteX60" fmla="*/ 2893858 w 5495992"/>
                <a:gd name="connsiteY60" fmla="*/ 521476 h 2374809"/>
                <a:gd name="connsiteX61" fmla="*/ 2934001 w 5495992"/>
                <a:gd name="connsiteY61" fmla="*/ 533508 h 2374809"/>
                <a:gd name="connsiteX62" fmla="*/ 2992207 w 5495992"/>
                <a:gd name="connsiteY62" fmla="*/ 548883 h 2374809"/>
                <a:gd name="connsiteX63" fmla="*/ 3082925 w 5495992"/>
                <a:gd name="connsiteY63" fmla="*/ 568937 h 2374809"/>
                <a:gd name="connsiteX64" fmla="*/ 3104357 w 5495992"/>
                <a:gd name="connsiteY64" fmla="*/ 557573 h 2374809"/>
                <a:gd name="connsiteX65" fmla="*/ 3067623 w 5495992"/>
                <a:gd name="connsiteY65" fmla="*/ 534177 h 2374809"/>
                <a:gd name="connsiteX66" fmla="*/ 3021878 w 5495992"/>
                <a:gd name="connsiteY66" fmla="*/ 529497 h 2374809"/>
                <a:gd name="connsiteX67" fmla="*/ 3034055 w 5495992"/>
                <a:gd name="connsiteY67" fmla="*/ 521743 h 2374809"/>
                <a:gd name="connsiteX68" fmla="*/ 3030930 w 5495992"/>
                <a:gd name="connsiteY68" fmla="*/ 506803 h 2374809"/>
                <a:gd name="connsiteX69" fmla="*/ 3013030 w 5495992"/>
                <a:gd name="connsiteY69" fmla="*/ 505366 h 2374809"/>
                <a:gd name="connsiteX70" fmla="*/ 2979786 w 5495992"/>
                <a:gd name="connsiteY70" fmla="*/ 497244 h 2374809"/>
                <a:gd name="connsiteX71" fmla="*/ 2959491 w 5495992"/>
                <a:gd name="connsiteY71" fmla="*/ 506736 h 2374809"/>
                <a:gd name="connsiteX72" fmla="*/ 2935625 w 5495992"/>
                <a:gd name="connsiteY72" fmla="*/ 503159 h 2374809"/>
                <a:gd name="connsiteX73" fmla="*/ 2908998 w 5495992"/>
                <a:gd name="connsiteY73" fmla="*/ 514724 h 2374809"/>
                <a:gd name="connsiteX74" fmla="*/ 2893695 w 5495992"/>
                <a:gd name="connsiteY74" fmla="*/ 521643 h 2374809"/>
                <a:gd name="connsiteX75" fmla="*/ 4121901 w 5495992"/>
                <a:gd name="connsiteY75" fmla="*/ 1134598 h 2374809"/>
                <a:gd name="connsiteX76" fmla="*/ 4162815 w 5495992"/>
                <a:gd name="connsiteY76" fmla="*/ 1168255 h 2374809"/>
                <a:gd name="connsiteX77" fmla="*/ 4201457 w 5495992"/>
                <a:gd name="connsiteY77" fmla="*/ 1186271 h 2374809"/>
                <a:gd name="connsiteX78" fmla="*/ 4252803 w 5495992"/>
                <a:gd name="connsiteY78" fmla="*/ 1208163 h 2374809"/>
                <a:gd name="connsiteX79" fmla="*/ 4288604 w 5495992"/>
                <a:gd name="connsiteY79" fmla="*/ 1218658 h 2374809"/>
                <a:gd name="connsiteX80" fmla="*/ 4298953 w 5495992"/>
                <a:gd name="connsiteY80" fmla="*/ 1206258 h 2374809"/>
                <a:gd name="connsiteX81" fmla="*/ 4300131 w 5495992"/>
                <a:gd name="connsiteY81" fmla="*/ 1223338 h 2374809"/>
                <a:gd name="connsiteX82" fmla="*/ 4347337 w 5495992"/>
                <a:gd name="connsiteY82" fmla="*/ 1255458 h 2374809"/>
                <a:gd name="connsiteX83" fmla="*/ 4366048 w 5495992"/>
                <a:gd name="connsiteY83" fmla="*/ 1249876 h 2374809"/>
                <a:gd name="connsiteX84" fmla="*/ 4361015 w 5495992"/>
                <a:gd name="connsiteY84" fmla="*/ 1227449 h 2374809"/>
                <a:gd name="connsiteX85" fmla="*/ 4302770 w 5495992"/>
                <a:gd name="connsiteY85" fmla="*/ 1190683 h 2374809"/>
                <a:gd name="connsiteX86" fmla="*/ 4256619 w 5495992"/>
                <a:gd name="connsiteY86" fmla="*/ 1170094 h 2374809"/>
                <a:gd name="connsiteX87" fmla="*/ 4234984 w 5495992"/>
                <a:gd name="connsiteY87" fmla="*/ 1162172 h 2374809"/>
                <a:gd name="connsiteX88" fmla="*/ 4171948 w 5495992"/>
                <a:gd name="connsiteY88" fmla="*/ 1118722 h 2374809"/>
                <a:gd name="connsiteX89" fmla="*/ 4121901 w 5495992"/>
                <a:gd name="connsiteY89" fmla="*/ 1134398 h 2374809"/>
                <a:gd name="connsiteX90" fmla="*/ 4277806 w 5495992"/>
                <a:gd name="connsiteY90" fmla="*/ 1290084 h 2374809"/>
                <a:gd name="connsiteX91" fmla="*/ 4263235 w 5495992"/>
                <a:gd name="connsiteY91" fmla="*/ 1260003 h 2374809"/>
                <a:gd name="connsiteX92" fmla="*/ 4192405 w 5495992"/>
                <a:gd name="connsiteY92" fmla="*/ 1232997 h 2374809"/>
                <a:gd name="connsiteX93" fmla="*/ 4277644 w 5495992"/>
                <a:gd name="connsiteY93" fmla="*/ 1289817 h 2374809"/>
                <a:gd name="connsiteX94" fmla="*/ 4224391 w 5495992"/>
                <a:gd name="connsiteY94" fmla="*/ 1222937 h 2374809"/>
                <a:gd name="connsiteX95" fmla="*/ 4190052 w 5495992"/>
                <a:gd name="connsiteY95" fmla="*/ 1212909 h 2374809"/>
                <a:gd name="connsiteX96" fmla="*/ 4224391 w 5495992"/>
                <a:gd name="connsiteY96" fmla="*/ 1222937 h 2374809"/>
                <a:gd name="connsiteX97" fmla="*/ 4408505 w 5495992"/>
                <a:gd name="connsiteY97" fmla="*/ 1282263 h 2374809"/>
                <a:gd name="connsiteX98" fmla="*/ 4436594 w 5495992"/>
                <a:gd name="connsiteY98" fmla="*/ 1306663 h 2374809"/>
                <a:gd name="connsiteX99" fmla="*/ 4495612 w 5495992"/>
                <a:gd name="connsiteY99" fmla="*/ 1347372 h 2374809"/>
                <a:gd name="connsiteX100" fmla="*/ 4540706 w 5495992"/>
                <a:gd name="connsiteY100" fmla="*/ 1353222 h 2374809"/>
                <a:gd name="connsiteX101" fmla="*/ 4505231 w 5495992"/>
                <a:gd name="connsiteY101" fmla="*/ 1333435 h 2374809"/>
                <a:gd name="connsiteX102" fmla="*/ 4488670 w 5495992"/>
                <a:gd name="connsiteY102" fmla="*/ 1318728 h 2374809"/>
                <a:gd name="connsiteX103" fmla="*/ 4462733 w 5495992"/>
                <a:gd name="connsiteY103" fmla="*/ 1305560 h 2374809"/>
                <a:gd name="connsiteX104" fmla="*/ 4439962 w 5495992"/>
                <a:gd name="connsiteY104" fmla="*/ 1288614 h 2374809"/>
                <a:gd name="connsiteX105" fmla="*/ 4429450 w 5495992"/>
                <a:gd name="connsiteY105" fmla="*/ 1278587 h 2374809"/>
                <a:gd name="connsiteX106" fmla="*/ 4408505 w 5495992"/>
                <a:gd name="connsiteY106" fmla="*/ 1282330 h 2374809"/>
                <a:gd name="connsiteX107" fmla="*/ 4408505 w 5495992"/>
                <a:gd name="connsiteY107" fmla="*/ 1282263 h 2374809"/>
                <a:gd name="connsiteX108" fmla="*/ 1056440 w 5495992"/>
                <a:gd name="connsiteY108" fmla="*/ 10797 h 2374809"/>
                <a:gd name="connsiteX109" fmla="*/ 1100359 w 5495992"/>
                <a:gd name="connsiteY109" fmla="*/ 11699 h 2374809"/>
                <a:gd name="connsiteX110" fmla="*/ 1120329 w 5495992"/>
                <a:gd name="connsiteY110" fmla="*/ 12200 h 2374809"/>
                <a:gd name="connsiteX111" fmla="*/ 1060053 w 5495992"/>
                <a:gd name="connsiteY111" fmla="*/ 2574 h 2374809"/>
                <a:gd name="connsiteX112" fmla="*/ 998113 w 5495992"/>
                <a:gd name="connsiteY112" fmla="*/ 302 h 2374809"/>
                <a:gd name="connsiteX113" fmla="*/ 1006962 w 5495992"/>
                <a:gd name="connsiteY113" fmla="*/ 7889 h 2374809"/>
                <a:gd name="connsiteX114" fmla="*/ 1056440 w 5495992"/>
                <a:gd name="connsiteY114" fmla="*/ 10797 h 2374809"/>
                <a:gd name="connsiteX115" fmla="*/ 3890662 w 5495992"/>
                <a:gd name="connsiteY115" fmla="*/ 1777668 h 2374809"/>
                <a:gd name="connsiteX116" fmla="*/ 3910956 w 5495992"/>
                <a:gd name="connsiteY116" fmla="*/ 1745247 h 2374809"/>
                <a:gd name="connsiteX117" fmla="*/ 3907872 w 5495992"/>
                <a:gd name="connsiteY117" fmla="*/ 1725193 h 2374809"/>
                <a:gd name="connsiteX118" fmla="*/ 3901580 w 5495992"/>
                <a:gd name="connsiteY118" fmla="*/ 1718241 h 2374809"/>
                <a:gd name="connsiteX119" fmla="*/ 3888388 w 5495992"/>
                <a:gd name="connsiteY119" fmla="*/ 1727165 h 2374809"/>
                <a:gd name="connsiteX120" fmla="*/ 3870326 w 5495992"/>
                <a:gd name="connsiteY120" fmla="*/ 1726463 h 2374809"/>
                <a:gd name="connsiteX121" fmla="*/ 3849259 w 5495992"/>
                <a:gd name="connsiteY121" fmla="*/ 1762995 h 2374809"/>
                <a:gd name="connsiteX122" fmla="*/ 3810943 w 5495992"/>
                <a:gd name="connsiteY122" fmla="*/ 1815069 h 2374809"/>
                <a:gd name="connsiteX123" fmla="*/ 3800592 w 5495992"/>
                <a:gd name="connsiteY123" fmla="*/ 1834053 h 2374809"/>
                <a:gd name="connsiteX124" fmla="*/ 3771449 w 5495992"/>
                <a:gd name="connsiteY124" fmla="*/ 1858452 h 2374809"/>
                <a:gd name="connsiteX125" fmla="*/ 3779567 w 5495992"/>
                <a:gd name="connsiteY125" fmla="*/ 1864803 h 2374809"/>
                <a:gd name="connsiteX126" fmla="*/ 3806681 w 5495992"/>
                <a:gd name="connsiteY126" fmla="*/ 1882217 h 2374809"/>
                <a:gd name="connsiteX127" fmla="*/ 3818655 w 5495992"/>
                <a:gd name="connsiteY127" fmla="*/ 1876134 h 2374809"/>
                <a:gd name="connsiteX128" fmla="*/ 3808386 w 5495992"/>
                <a:gd name="connsiteY128" fmla="*/ 1863132 h 2374809"/>
                <a:gd name="connsiteX129" fmla="*/ 3810131 w 5495992"/>
                <a:gd name="connsiteY129" fmla="*/ 1841874 h 2374809"/>
                <a:gd name="connsiteX130" fmla="*/ 3852303 w 5495992"/>
                <a:gd name="connsiteY130" fmla="*/ 1826232 h 2374809"/>
                <a:gd name="connsiteX131" fmla="*/ 3881610 w 5495992"/>
                <a:gd name="connsiteY131" fmla="*/ 1844749 h 2374809"/>
                <a:gd name="connsiteX132" fmla="*/ 3890621 w 5495992"/>
                <a:gd name="connsiteY132" fmla="*/ 1777601 h 2374809"/>
                <a:gd name="connsiteX133" fmla="*/ 3890662 w 5495992"/>
                <a:gd name="connsiteY133" fmla="*/ 1777668 h 2374809"/>
                <a:gd name="connsiteX134" fmla="*/ 1160594 w 5495992"/>
                <a:gd name="connsiteY134" fmla="*/ 19788 h 2374809"/>
                <a:gd name="connsiteX135" fmla="*/ 1137092 w 5495992"/>
                <a:gd name="connsiteY135" fmla="*/ 21358 h 2374809"/>
                <a:gd name="connsiteX136" fmla="*/ 1093865 w 5495992"/>
                <a:gd name="connsiteY136" fmla="*/ 22963 h 2374809"/>
                <a:gd name="connsiteX137" fmla="*/ 1128772 w 5495992"/>
                <a:gd name="connsiteY137" fmla="*/ 36901 h 2374809"/>
                <a:gd name="connsiteX138" fmla="*/ 1138797 w 5495992"/>
                <a:gd name="connsiteY138" fmla="*/ 33825 h 2374809"/>
                <a:gd name="connsiteX139" fmla="*/ 1161000 w 5495992"/>
                <a:gd name="connsiteY139" fmla="*/ 35630 h 2374809"/>
                <a:gd name="connsiteX140" fmla="*/ 1170539 w 5495992"/>
                <a:gd name="connsiteY140" fmla="*/ 30316 h 2374809"/>
                <a:gd name="connsiteX141" fmla="*/ 1209261 w 5495992"/>
                <a:gd name="connsiteY141" fmla="*/ 30082 h 2374809"/>
                <a:gd name="connsiteX142" fmla="*/ 1205202 w 5495992"/>
                <a:gd name="connsiteY142" fmla="*/ 15877 h 2374809"/>
                <a:gd name="connsiteX143" fmla="*/ 1160553 w 5495992"/>
                <a:gd name="connsiteY143" fmla="*/ 19788 h 2374809"/>
                <a:gd name="connsiteX144" fmla="*/ 1035131 w 5495992"/>
                <a:gd name="connsiteY144" fmla="*/ 415824 h 2374809"/>
                <a:gd name="connsiteX145" fmla="*/ 1082134 w 5495992"/>
                <a:gd name="connsiteY145" fmla="*/ 421138 h 2374809"/>
                <a:gd name="connsiteX146" fmla="*/ 1103159 w 5495992"/>
                <a:gd name="connsiteY146" fmla="*/ 414453 h 2374809"/>
                <a:gd name="connsiteX147" fmla="*/ 1051205 w 5495992"/>
                <a:gd name="connsiteY147" fmla="*/ 400750 h 2374809"/>
                <a:gd name="connsiteX148" fmla="*/ 1034969 w 5495992"/>
                <a:gd name="connsiteY148" fmla="*/ 415824 h 2374809"/>
                <a:gd name="connsiteX149" fmla="*/ 1035131 w 5495992"/>
                <a:gd name="connsiteY149" fmla="*/ 415824 h 2374809"/>
                <a:gd name="connsiteX150" fmla="*/ 5491440 w 5495992"/>
                <a:gd name="connsiteY150" fmla="*/ 2368263 h 2374809"/>
                <a:gd name="connsiteX151" fmla="*/ 5465707 w 5495992"/>
                <a:gd name="connsiteY151" fmla="*/ 2320066 h 2374809"/>
                <a:gd name="connsiteX152" fmla="*/ 5446466 w 5495992"/>
                <a:gd name="connsiteY152" fmla="*/ 2297839 h 2374809"/>
                <a:gd name="connsiteX153" fmla="*/ 5428729 w 5495992"/>
                <a:gd name="connsiteY153" fmla="*/ 2285640 h 2374809"/>
                <a:gd name="connsiteX154" fmla="*/ 5419515 w 5495992"/>
                <a:gd name="connsiteY154" fmla="*/ 2269462 h 2374809"/>
                <a:gd name="connsiteX155" fmla="*/ 5394309 w 5495992"/>
                <a:gd name="connsiteY155" fmla="*/ 2250010 h 2374809"/>
                <a:gd name="connsiteX156" fmla="*/ 5395973 w 5495992"/>
                <a:gd name="connsiteY156" fmla="*/ 2264215 h 2374809"/>
                <a:gd name="connsiteX157" fmla="*/ 5381604 w 5495992"/>
                <a:gd name="connsiteY157" fmla="*/ 2269864 h 2374809"/>
                <a:gd name="connsiteX158" fmla="*/ 5368981 w 5495992"/>
                <a:gd name="connsiteY158" fmla="*/ 2249007 h 2374809"/>
                <a:gd name="connsiteX159" fmla="*/ 5384446 w 5495992"/>
                <a:gd name="connsiteY159" fmla="*/ 2236273 h 2374809"/>
                <a:gd name="connsiteX160" fmla="*/ 5379169 w 5495992"/>
                <a:gd name="connsiteY160" fmla="*/ 2219327 h 2374809"/>
                <a:gd name="connsiteX161" fmla="*/ 5356967 w 5495992"/>
                <a:gd name="connsiteY161" fmla="*/ 2186338 h 2374809"/>
                <a:gd name="connsiteX162" fmla="*/ 5310451 w 5495992"/>
                <a:gd name="connsiteY162" fmla="*/ 2124772 h 2374809"/>
                <a:gd name="connsiteX163" fmla="*/ 5283864 w 5495992"/>
                <a:gd name="connsiteY163" fmla="*/ 2095292 h 2374809"/>
                <a:gd name="connsiteX164" fmla="*/ 5264666 w 5495992"/>
                <a:gd name="connsiteY164" fmla="*/ 2066080 h 2374809"/>
                <a:gd name="connsiteX165" fmla="*/ 5207637 w 5495992"/>
                <a:gd name="connsiteY165" fmla="*/ 2007288 h 2374809"/>
                <a:gd name="connsiteX166" fmla="*/ 5193674 w 5495992"/>
                <a:gd name="connsiteY166" fmla="*/ 1989373 h 2374809"/>
                <a:gd name="connsiteX167" fmla="*/ 5158158 w 5495992"/>
                <a:gd name="connsiteY167" fmla="*/ 1964071 h 2374809"/>
                <a:gd name="connsiteX168" fmla="*/ 5127635 w 5495992"/>
                <a:gd name="connsiteY168" fmla="*/ 1940675 h 2374809"/>
                <a:gd name="connsiteX169" fmla="*/ 5097394 w 5495992"/>
                <a:gd name="connsiteY169" fmla="*/ 1922158 h 2374809"/>
                <a:gd name="connsiteX170" fmla="*/ 5044628 w 5495992"/>
                <a:gd name="connsiteY170" fmla="*/ 1873493 h 2374809"/>
                <a:gd name="connsiteX171" fmla="*/ 5021979 w 5495992"/>
                <a:gd name="connsiteY171" fmla="*/ 1873226 h 2374809"/>
                <a:gd name="connsiteX172" fmla="*/ 5025551 w 5495992"/>
                <a:gd name="connsiteY172" fmla="*/ 1893280 h 2374809"/>
                <a:gd name="connsiteX173" fmla="*/ 4972460 w 5495992"/>
                <a:gd name="connsiteY173" fmla="*/ 1867443 h 2374809"/>
                <a:gd name="connsiteX174" fmla="*/ 4952977 w 5495992"/>
                <a:gd name="connsiteY174" fmla="*/ 1843846 h 2374809"/>
                <a:gd name="connsiteX175" fmla="*/ 4969659 w 5495992"/>
                <a:gd name="connsiteY175" fmla="*/ 1845718 h 2374809"/>
                <a:gd name="connsiteX176" fmla="*/ 4995718 w 5495992"/>
                <a:gd name="connsiteY176" fmla="*/ 1854442 h 2374809"/>
                <a:gd name="connsiteX177" fmla="*/ 4964950 w 5495992"/>
                <a:gd name="connsiteY177" fmla="*/ 1825029 h 2374809"/>
                <a:gd name="connsiteX178" fmla="*/ 4925619 w 5495992"/>
                <a:gd name="connsiteY178" fmla="*/ 1816439 h 2374809"/>
                <a:gd name="connsiteX179" fmla="*/ 4895258 w 5495992"/>
                <a:gd name="connsiteY179" fmla="*/ 1801298 h 2374809"/>
                <a:gd name="connsiteX180" fmla="*/ 4845982 w 5495992"/>
                <a:gd name="connsiteY180" fmla="*/ 1760455 h 2374809"/>
                <a:gd name="connsiteX181" fmla="*/ 4788385 w 5495992"/>
                <a:gd name="connsiteY181" fmla="*/ 1724591 h 2374809"/>
                <a:gd name="connsiteX182" fmla="*/ 4743249 w 5495992"/>
                <a:gd name="connsiteY182" fmla="*/ 1716135 h 2374809"/>
                <a:gd name="connsiteX183" fmla="*/ 4739474 w 5495992"/>
                <a:gd name="connsiteY183" fmla="*/ 1717606 h 2374809"/>
                <a:gd name="connsiteX184" fmla="*/ 4741422 w 5495992"/>
                <a:gd name="connsiteY184" fmla="*/ 1703133 h 2374809"/>
                <a:gd name="connsiteX185" fmla="*/ 4731641 w 5495992"/>
                <a:gd name="connsiteY185" fmla="*/ 1686421 h 2374809"/>
                <a:gd name="connsiteX186" fmla="*/ 4710858 w 5495992"/>
                <a:gd name="connsiteY186" fmla="*/ 1668874 h 2374809"/>
                <a:gd name="connsiteX187" fmla="*/ 4717353 w 5495992"/>
                <a:gd name="connsiteY187" fmla="*/ 1663092 h 2374809"/>
                <a:gd name="connsiteX188" fmla="*/ 4728312 w 5495992"/>
                <a:gd name="connsiteY188" fmla="*/ 1659549 h 2374809"/>
                <a:gd name="connsiteX189" fmla="*/ 4586004 w 5495992"/>
                <a:gd name="connsiteY189" fmla="*/ 1549251 h 2374809"/>
                <a:gd name="connsiteX190" fmla="*/ 4505353 w 5495992"/>
                <a:gd name="connsiteY190" fmla="*/ 1506369 h 2374809"/>
                <a:gd name="connsiteX191" fmla="*/ 4502958 w 5495992"/>
                <a:gd name="connsiteY191" fmla="*/ 1494871 h 2374809"/>
                <a:gd name="connsiteX192" fmla="*/ 4475559 w 5495992"/>
                <a:gd name="connsiteY192" fmla="*/ 1470071 h 2374809"/>
                <a:gd name="connsiteX193" fmla="*/ 4462774 w 5495992"/>
                <a:gd name="connsiteY193" fmla="*/ 1466294 h 2374809"/>
                <a:gd name="connsiteX194" fmla="*/ 4458390 w 5495992"/>
                <a:gd name="connsiteY194" fmla="*/ 1457169 h 2374809"/>
                <a:gd name="connsiteX195" fmla="*/ 4429977 w 5495992"/>
                <a:gd name="connsiteY195" fmla="*/ 1433772 h 2374809"/>
                <a:gd name="connsiteX196" fmla="*/ 4425594 w 5495992"/>
                <a:gd name="connsiteY196" fmla="*/ 1424848 h 2374809"/>
                <a:gd name="connsiteX197" fmla="*/ 4455630 w 5495992"/>
                <a:gd name="connsiteY197" fmla="*/ 1436847 h 2374809"/>
                <a:gd name="connsiteX198" fmla="*/ 4412930 w 5495992"/>
                <a:gd name="connsiteY198" fmla="*/ 1400382 h 2374809"/>
                <a:gd name="connsiteX199" fmla="*/ 4358134 w 5495992"/>
                <a:gd name="connsiteY199" fmla="*/ 1370100 h 2374809"/>
                <a:gd name="connsiteX200" fmla="*/ 4331791 w 5495992"/>
                <a:gd name="connsiteY200" fmla="*/ 1374646 h 2374809"/>
                <a:gd name="connsiteX201" fmla="*/ 4298426 w 5495992"/>
                <a:gd name="connsiteY201" fmla="*/ 1357299 h 2374809"/>
                <a:gd name="connsiteX202" fmla="*/ 4313200 w 5495992"/>
                <a:gd name="connsiteY202" fmla="*/ 1348944 h 2374809"/>
                <a:gd name="connsiteX203" fmla="*/ 4304027 w 5495992"/>
                <a:gd name="connsiteY203" fmla="*/ 1335908 h 2374809"/>
                <a:gd name="connsiteX204" fmla="*/ 4343116 w 5495992"/>
                <a:gd name="connsiteY204" fmla="*/ 1358569 h 2374809"/>
                <a:gd name="connsiteX205" fmla="*/ 4338813 w 5495992"/>
                <a:gd name="connsiteY205" fmla="*/ 1350080 h 2374809"/>
                <a:gd name="connsiteX206" fmla="*/ 4295260 w 5495992"/>
                <a:gd name="connsiteY206" fmla="*/ 1321202 h 2374809"/>
                <a:gd name="connsiteX207" fmla="*/ 4211158 w 5495992"/>
                <a:gd name="connsiteY207" fmla="*/ 1270398 h 2374809"/>
                <a:gd name="connsiteX208" fmla="*/ 4182745 w 5495992"/>
                <a:gd name="connsiteY208" fmla="*/ 1258232 h 2374809"/>
                <a:gd name="connsiteX209" fmla="*/ 4152708 w 5495992"/>
                <a:gd name="connsiteY209" fmla="*/ 1252650 h 2374809"/>
                <a:gd name="connsiteX210" fmla="*/ 4116543 w 5495992"/>
                <a:gd name="connsiteY210" fmla="*/ 1243793 h 2374809"/>
                <a:gd name="connsiteX211" fmla="*/ 4142805 w 5495992"/>
                <a:gd name="connsiteY211" fmla="*/ 1261407 h 2374809"/>
                <a:gd name="connsiteX212" fmla="*/ 4126001 w 5495992"/>
                <a:gd name="connsiteY212" fmla="*/ 1261207 h 2374809"/>
                <a:gd name="connsiteX213" fmla="*/ 4128152 w 5495992"/>
                <a:gd name="connsiteY213" fmla="*/ 1278854 h 2374809"/>
                <a:gd name="connsiteX214" fmla="*/ 4101200 w 5495992"/>
                <a:gd name="connsiteY214" fmla="*/ 1261507 h 2374809"/>
                <a:gd name="connsiteX215" fmla="*/ 4058337 w 5495992"/>
                <a:gd name="connsiteY215" fmla="*/ 1244160 h 2374809"/>
                <a:gd name="connsiteX216" fmla="*/ 4074168 w 5495992"/>
                <a:gd name="connsiteY216" fmla="*/ 1257296 h 2374809"/>
                <a:gd name="connsiteX217" fmla="*/ 4049408 w 5495992"/>
                <a:gd name="connsiteY217" fmla="*/ 1247269 h 2374809"/>
                <a:gd name="connsiteX218" fmla="*/ 4039544 w 5495992"/>
                <a:gd name="connsiteY218" fmla="*/ 1234568 h 2374809"/>
                <a:gd name="connsiteX219" fmla="*/ 4006342 w 5495992"/>
                <a:gd name="connsiteY219" fmla="*/ 1214180 h 2374809"/>
                <a:gd name="connsiteX220" fmla="*/ 3944930 w 5495992"/>
                <a:gd name="connsiteY220" fmla="*/ 1190783 h 2374809"/>
                <a:gd name="connsiteX221" fmla="*/ 3913148 w 5495992"/>
                <a:gd name="connsiteY221" fmla="*/ 1166818 h 2374809"/>
                <a:gd name="connsiteX222" fmla="*/ 3892854 w 5495992"/>
                <a:gd name="connsiteY222" fmla="*/ 1153917 h 2374809"/>
                <a:gd name="connsiteX223" fmla="*/ 3873330 w 5495992"/>
                <a:gd name="connsiteY223" fmla="*/ 1160902 h 2374809"/>
                <a:gd name="connsiteX224" fmla="*/ 3851005 w 5495992"/>
                <a:gd name="connsiteY224" fmla="*/ 1161404 h 2374809"/>
                <a:gd name="connsiteX225" fmla="*/ 3812648 w 5495992"/>
                <a:gd name="connsiteY225" fmla="*/ 1147032 h 2374809"/>
                <a:gd name="connsiteX226" fmla="*/ 3784235 w 5495992"/>
                <a:gd name="connsiteY226" fmla="*/ 1110533 h 2374809"/>
                <a:gd name="connsiteX227" fmla="*/ 3763940 w 5495992"/>
                <a:gd name="connsiteY227" fmla="*/ 1078413 h 2374809"/>
                <a:gd name="connsiteX228" fmla="*/ 3803880 w 5495992"/>
                <a:gd name="connsiteY228" fmla="*/ 1097932 h 2374809"/>
                <a:gd name="connsiteX229" fmla="*/ 3795762 w 5495992"/>
                <a:gd name="connsiteY229" fmla="*/ 1078146 h 2374809"/>
                <a:gd name="connsiteX230" fmla="*/ 3801486 w 5495992"/>
                <a:gd name="connsiteY230" fmla="*/ 1068553 h 2374809"/>
                <a:gd name="connsiteX231" fmla="*/ 3807858 w 5495992"/>
                <a:gd name="connsiteY231" fmla="*/ 1065545 h 2374809"/>
                <a:gd name="connsiteX232" fmla="*/ 3793530 w 5495992"/>
                <a:gd name="connsiteY232" fmla="*/ 1052175 h 2374809"/>
                <a:gd name="connsiteX233" fmla="*/ 3772545 w 5495992"/>
                <a:gd name="connsiteY233" fmla="*/ 1032556 h 2374809"/>
                <a:gd name="connsiteX234" fmla="*/ 3739667 w 5495992"/>
                <a:gd name="connsiteY234" fmla="*/ 1020523 h 2374809"/>
                <a:gd name="connsiteX235" fmla="*/ 3725258 w 5495992"/>
                <a:gd name="connsiteY235" fmla="*/ 1011165 h 2374809"/>
                <a:gd name="connsiteX236" fmla="*/ 3676551 w 5495992"/>
                <a:gd name="connsiteY236" fmla="*/ 977741 h 2374809"/>
                <a:gd name="connsiteX237" fmla="*/ 3660315 w 5495992"/>
                <a:gd name="connsiteY237" fmla="*/ 973195 h 2374809"/>
                <a:gd name="connsiteX238" fmla="*/ 3629222 w 5495992"/>
                <a:gd name="connsiteY238" fmla="*/ 972460 h 2374809"/>
                <a:gd name="connsiteX239" fmla="*/ 3612459 w 5495992"/>
                <a:gd name="connsiteY239" fmla="*/ 983189 h 2374809"/>
                <a:gd name="connsiteX240" fmla="*/ 3576172 w 5495992"/>
                <a:gd name="connsiteY240" fmla="*/ 968516 h 2374809"/>
                <a:gd name="connsiteX241" fmla="*/ 3526368 w 5495992"/>
                <a:gd name="connsiteY241" fmla="*/ 944652 h 2374809"/>
                <a:gd name="connsiteX242" fmla="*/ 3503516 w 5495992"/>
                <a:gd name="connsiteY242" fmla="*/ 932118 h 2374809"/>
                <a:gd name="connsiteX243" fmla="*/ 3468406 w 5495992"/>
                <a:gd name="connsiteY243" fmla="*/ 917144 h 2374809"/>
                <a:gd name="connsiteX244" fmla="*/ 3480583 w 5495992"/>
                <a:gd name="connsiteY244" fmla="*/ 908186 h 2374809"/>
                <a:gd name="connsiteX245" fmla="*/ 3424813 w 5495992"/>
                <a:gd name="connsiteY245" fmla="*/ 881047 h 2374809"/>
                <a:gd name="connsiteX246" fmla="*/ 3357230 w 5495992"/>
                <a:gd name="connsiteY246" fmla="*/ 853171 h 2374809"/>
                <a:gd name="connsiteX247" fmla="*/ 3304464 w 5495992"/>
                <a:gd name="connsiteY247" fmla="*/ 836961 h 2374809"/>
                <a:gd name="connsiteX248" fmla="*/ 3299959 w 5495992"/>
                <a:gd name="connsiteY248" fmla="*/ 844214 h 2374809"/>
                <a:gd name="connsiteX249" fmla="*/ 3293220 w 5495992"/>
                <a:gd name="connsiteY249" fmla="*/ 834187 h 2374809"/>
                <a:gd name="connsiteX250" fmla="*/ 3283723 w 5495992"/>
                <a:gd name="connsiteY250" fmla="*/ 816506 h 2374809"/>
                <a:gd name="connsiteX251" fmla="*/ 3246623 w 5495992"/>
                <a:gd name="connsiteY251" fmla="*/ 807147 h 2374809"/>
                <a:gd name="connsiteX252" fmla="*/ 3190123 w 5495992"/>
                <a:gd name="connsiteY252" fmla="*/ 776865 h 2374809"/>
                <a:gd name="connsiteX253" fmla="*/ 3169462 w 5495992"/>
                <a:gd name="connsiteY253" fmla="*/ 778102 h 2374809"/>
                <a:gd name="connsiteX254" fmla="*/ 3188540 w 5495992"/>
                <a:gd name="connsiteY254" fmla="*/ 789700 h 2374809"/>
                <a:gd name="connsiteX255" fmla="*/ 3152943 w 5495992"/>
                <a:gd name="connsiteY255" fmla="*/ 781177 h 2374809"/>
                <a:gd name="connsiteX256" fmla="*/ 3120471 w 5495992"/>
                <a:gd name="connsiteY256" fmla="*/ 777634 h 2374809"/>
                <a:gd name="connsiteX257" fmla="*/ 3062346 w 5495992"/>
                <a:gd name="connsiteY257" fmla="*/ 762527 h 2374809"/>
                <a:gd name="connsiteX258" fmla="*/ 3021472 w 5495992"/>
                <a:gd name="connsiteY258" fmla="*/ 757613 h 2374809"/>
                <a:gd name="connsiteX259" fmla="*/ 3059505 w 5495992"/>
                <a:gd name="connsiteY259" fmla="*/ 751630 h 2374809"/>
                <a:gd name="connsiteX260" fmla="*/ 3083574 w 5495992"/>
                <a:gd name="connsiteY260" fmla="*/ 753435 h 2374809"/>
                <a:gd name="connsiteX261" fmla="*/ 3118523 w 5495992"/>
                <a:gd name="connsiteY261" fmla="*/ 761758 h 2374809"/>
                <a:gd name="connsiteX262" fmla="*/ 3171289 w 5495992"/>
                <a:gd name="connsiteY262" fmla="*/ 766103 h 2374809"/>
                <a:gd name="connsiteX263" fmla="*/ 3220971 w 5495992"/>
                <a:gd name="connsiteY263" fmla="*/ 768910 h 2374809"/>
                <a:gd name="connsiteX264" fmla="*/ 3265620 w 5495992"/>
                <a:gd name="connsiteY264" fmla="*/ 776130 h 2374809"/>
                <a:gd name="connsiteX265" fmla="*/ 3313718 w 5495992"/>
                <a:gd name="connsiteY265" fmla="*/ 781611 h 2374809"/>
                <a:gd name="connsiteX266" fmla="*/ 3337626 w 5495992"/>
                <a:gd name="connsiteY266" fmla="*/ 781043 h 2374809"/>
                <a:gd name="connsiteX267" fmla="*/ 3328209 w 5495992"/>
                <a:gd name="connsiteY267" fmla="*/ 768075 h 2374809"/>
                <a:gd name="connsiteX268" fmla="*/ 3351589 w 5495992"/>
                <a:gd name="connsiteY268" fmla="*/ 771818 h 2374809"/>
                <a:gd name="connsiteX269" fmla="*/ 3339412 w 5495992"/>
                <a:gd name="connsiteY269" fmla="*/ 760454 h 2374809"/>
                <a:gd name="connsiteX270" fmla="*/ 3339980 w 5495992"/>
                <a:gd name="connsiteY270" fmla="*/ 749892 h 2374809"/>
                <a:gd name="connsiteX271" fmla="*/ 3322486 w 5495992"/>
                <a:gd name="connsiteY271" fmla="*/ 742539 h 2374809"/>
                <a:gd name="connsiteX272" fmla="*/ 3319442 w 5495992"/>
                <a:gd name="connsiteY272" fmla="*/ 725360 h 2374809"/>
                <a:gd name="connsiteX273" fmla="*/ 3288837 w 5495992"/>
                <a:gd name="connsiteY273" fmla="*/ 713661 h 2374809"/>
                <a:gd name="connsiteX274" fmla="*/ 3239642 w 5495992"/>
                <a:gd name="connsiteY274" fmla="*/ 690465 h 2374809"/>
                <a:gd name="connsiteX275" fmla="*/ 3183060 w 5495992"/>
                <a:gd name="connsiteY275" fmla="*/ 669375 h 2374809"/>
                <a:gd name="connsiteX276" fmla="*/ 3155702 w 5495992"/>
                <a:gd name="connsiteY276" fmla="*/ 667871 h 2374809"/>
                <a:gd name="connsiteX277" fmla="*/ 3121445 w 5495992"/>
                <a:gd name="connsiteY277" fmla="*/ 657075 h 2374809"/>
                <a:gd name="connsiteX278" fmla="*/ 3144825 w 5495992"/>
                <a:gd name="connsiteY278" fmla="*/ 648519 h 2374809"/>
                <a:gd name="connsiteX279" fmla="*/ 3099080 w 5495992"/>
                <a:gd name="connsiteY279" fmla="*/ 630236 h 2374809"/>
                <a:gd name="connsiteX280" fmla="*/ 3084142 w 5495992"/>
                <a:gd name="connsiteY280" fmla="*/ 622047 h 2374809"/>
                <a:gd name="connsiteX281" fmla="*/ 3046516 w 5495992"/>
                <a:gd name="connsiteY281" fmla="*/ 607508 h 2374809"/>
                <a:gd name="connsiteX282" fmla="*/ 3104235 w 5495992"/>
                <a:gd name="connsiteY282" fmla="*/ 617836 h 2374809"/>
                <a:gd name="connsiteX283" fmla="*/ 3068638 w 5495992"/>
                <a:gd name="connsiteY283" fmla="*/ 594038 h 2374809"/>
                <a:gd name="connsiteX284" fmla="*/ 3006698 w 5495992"/>
                <a:gd name="connsiteY284" fmla="*/ 573483 h 2374809"/>
                <a:gd name="connsiteX285" fmla="*/ 2954986 w 5495992"/>
                <a:gd name="connsiteY285" fmla="*/ 571277 h 2374809"/>
                <a:gd name="connsiteX286" fmla="*/ 2917846 w 5495992"/>
                <a:gd name="connsiteY286" fmla="*/ 575589 h 2374809"/>
                <a:gd name="connsiteX287" fmla="*/ 2925112 w 5495992"/>
                <a:gd name="connsiteY287" fmla="*/ 580602 h 2374809"/>
                <a:gd name="connsiteX288" fmla="*/ 2923245 w 5495992"/>
                <a:gd name="connsiteY288" fmla="*/ 586117 h 2374809"/>
                <a:gd name="connsiteX289" fmla="*/ 2902463 w 5495992"/>
                <a:gd name="connsiteY289" fmla="*/ 582540 h 2374809"/>
                <a:gd name="connsiteX290" fmla="*/ 2856800 w 5495992"/>
                <a:gd name="connsiteY290" fmla="*/ 568703 h 2374809"/>
                <a:gd name="connsiteX291" fmla="*/ 2866866 w 5495992"/>
                <a:gd name="connsiteY291" fmla="*/ 583978 h 2374809"/>
                <a:gd name="connsiteX292" fmla="*/ 2814870 w 5495992"/>
                <a:gd name="connsiteY292" fmla="*/ 565795 h 2374809"/>
                <a:gd name="connsiteX293" fmla="*/ 2791328 w 5495992"/>
                <a:gd name="connsiteY293" fmla="*/ 563890 h 2374809"/>
                <a:gd name="connsiteX294" fmla="*/ 2762509 w 5495992"/>
                <a:gd name="connsiteY294" fmla="*/ 554130 h 2374809"/>
                <a:gd name="connsiteX295" fmla="*/ 2769572 w 5495992"/>
                <a:gd name="connsiteY295" fmla="*/ 545674 h 2374809"/>
                <a:gd name="connsiteX296" fmla="*/ 2728089 w 5495992"/>
                <a:gd name="connsiteY296" fmla="*/ 537653 h 2374809"/>
                <a:gd name="connsiteX297" fmla="*/ 2705805 w 5495992"/>
                <a:gd name="connsiteY297" fmla="*/ 533675 h 2374809"/>
                <a:gd name="connsiteX298" fmla="*/ 2672562 w 5495992"/>
                <a:gd name="connsiteY298" fmla="*/ 525720 h 2374809"/>
                <a:gd name="connsiteX299" fmla="*/ 2679584 w 5495992"/>
                <a:gd name="connsiteY299" fmla="*/ 537084 h 2374809"/>
                <a:gd name="connsiteX300" fmla="*/ 2575106 w 5495992"/>
                <a:gd name="connsiteY300" fmla="*/ 513989 h 2374809"/>
                <a:gd name="connsiteX301" fmla="*/ 2550996 w 5495992"/>
                <a:gd name="connsiteY301" fmla="*/ 512652 h 2374809"/>
                <a:gd name="connsiteX302" fmla="*/ 2514466 w 5495992"/>
                <a:gd name="connsiteY302" fmla="*/ 507538 h 2374809"/>
                <a:gd name="connsiteX303" fmla="*/ 2486053 w 5495992"/>
                <a:gd name="connsiteY303" fmla="*/ 507538 h 2374809"/>
                <a:gd name="connsiteX304" fmla="*/ 2459344 w 5495992"/>
                <a:gd name="connsiteY304" fmla="*/ 499316 h 2374809"/>
                <a:gd name="connsiteX305" fmla="*/ 2459588 w 5495992"/>
                <a:gd name="connsiteY305" fmla="*/ 504329 h 2374809"/>
                <a:gd name="connsiteX306" fmla="*/ 2437832 w 5495992"/>
                <a:gd name="connsiteY306" fmla="*/ 502591 h 2374809"/>
                <a:gd name="connsiteX307" fmla="*/ 2447411 w 5495992"/>
                <a:gd name="connsiteY307" fmla="*/ 511983 h 2374809"/>
                <a:gd name="connsiteX308" fmla="*/ 2427116 w 5495992"/>
                <a:gd name="connsiteY308" fmla="*/ 505299 h 2374809"/>
                <a:gd name="connsiteX309" fmla="*/ 2420662 w 5495992"/>
                <a:gd name="connsiteY309" fmla="*/ 507839 h 2374809"/>
                <a:gd name="connsiteX310" fmla="*/ 2447005 w 5495992"/>
                <a:gd name="connsiteY310" fmla="*/ 519571 h 2374809"/>
                <a:gd name="connsiteX311" fmla="*/ 2420013 w 5495992"/>
                <a:gd name="connsiteY311" fmla="*/ 518601 h 2374809"/>
                <a:gd name="connsiteX312" fmla="*/ 2439780 w 5495992"/>
                <a:gd name="connsiteY312" fmla="*/ 538655 h 2374809"/>
                <a:gd name="connsiteX313" fmla="*/ 2416603 w 5495992"/>
                <a:gd name="connsiteY313" fmla="*/ 533776 h 2374809"/>
                <a:gd name="connsiteX314" fmla="*/ 2394157 w 5495992"/>
                <a:gd name="connsiteY314" fmla="*/ 529598 h 2374809"/>
                <a:gd name="connsiteX315" fmla="*/ 2373376 w 5495992"/>
                <a:gd name="connsiteY315" fmla="*/ 525954 h 2374809"/>
                <a:gd name="connsiteX316" fmla="*/ 2311395 w 5495992"/>
                <a:gd name="connsiteY316" fmla="*/ 511983 h 2374809"/>
                <a:gd name="connsiteX317" fmla="*/ 2242108 w 5495992"/>
                <a:gd name="connsiteY317" fmla="*/ 496742 h 2374809"/>
                <a:gd name="connsiteX318" fmla="*/ 2215360 w 5495992"/>
                <a:gd name="connsiteY318" fmla="*/ 508608 h 2374809"/>
                <a:gd name="connsiteX319" fmla="*/ 2223478 w 5495992"/>
                <a:gd name="connsiteY319" fmla="*/ 530099 h 2374809"/>
                <a:gd name="connsiteX320" fmla="*/ 2270197 w 5495992"/>
                <a:gd name="connsiteY320" fmla="*/ 553495 h 2374809"/>
                <a:gd name="connsiteX321" fmla="*/ 2245599 w 5495992"/>
                <a:gd name="connsiteY321" fmla="*/ 560481 h 2374809"/>
                <a:gd name="connsiteX322" fmla="*/ 2195836 w 5495992"/>
                <a:gd name="connsiteY322" fmla="*/ 531837 h 2374809"/>
                <a:gd name="connsiteX323" fmla="*/ 2141040 w 5495992"/>
                <a:gd name="connsiteY323" fmla="*/ 512685 h 2374809"/>
                <a:gd name="connsiteX324" fmla="*/ 2105564 w 5495992"/>
                <a:gd name="connsiteY324" fmla="*/ 498079 h 2374809"/>
                <a:gd name="connsiteX325" fmla="*/ 2084539 w 5495992"/>
                <a:gd name="connsiteY325" fmla="*/ 499683 h 2374809"/>
                <a:gd name="connsiteX326" fmla="*/ 2105077 w 5495992"/>
                <a:gd name="connsiteY326" fmla="*/ 507237 h 2374809"/>
                <a:gd name="connsiteX327" fmla="*/ 2099517 w 5495992"/>
                <a:gd name="connsiteY327" fmla="*/ 509376 h 2374809"/>
                <a:gd name="connsiteX328" fmla="*/ 2119202 w 5495992"/>
                <a:gd name="connsiteY328" fmla="*/ 518167 h 2374809"/>
                <a:gd name="connsiteX329" fmla="*/ 2108934 w 5495992"/>
                <a:gd name="connsiteY329" fmla="*/ 520807 h 2374809"/>
                <a:gd name="connsiteX330" fmla="*/ 2071550 w 5495992"/>
                <a:gd name="connsiteY330" fmla="*/ 507137 h 2374809"/>
                <a:gd name="connsiteX331" fmla="*/ 2050362 w 5495992"/>
                <a:gd name="connsiteY331" fmla="*/ 512017 h 2374809"/>
                <a:gd name="connsiteX332" fmla="*/ 2109623 w 5495992"/>
                <a:gd name="connsiteY332" fmla="*/ 544471 h 2374809"/>
                <a:gd name="connsiteX333" fmla="*/ 2124438 w 5495992"/>
                <a:gd name="connsiteY333" fmla="*/ 555167 h 2374809"/>
                <a:gd name="connsiteX334" fmla="*/ 2101830 w 5495992"/>
                <a:gd name="connsiteY334" fmla="*/ 551356 h 2374809"/>
                <a:gd name="connsiteX335" fmla="*/ 2037414 w 5495992"/>
                <a:gd name="connsiteY335" fmla="*/ 526289 h 2374809"/>
                <a:gd name="connsiteX336" fmla="*/ 2016307 w 5495992"/>
                <a:gd name="connsiteY336" fmla="*/ 516529 h 2374809"/>
                <a:gd name="connsiteX337" fmla="*/ 2020934 w 5495992"/>
                <a:gd name="connsiteY337" fmla="*/ 511749 h 2374809"/>
                <a:gd name="connsiteX338" fmla="*/ 2018337 w 5495992"/>
                <a:gd name="connsiteY338" fmla="*/ 503159 h 2374809"/>
                <a:gd name="connsiteX339" fmla="*/ 2025400 w 5495992"/>
                <a:gd name="connsiteY339" fmla="*/ 470672 h 2374809"/>
                <a:gd name="connsiteX340" fmla="*/ 1999179 w 5495992"/>
                <a:gd name="connsiteY340" fmla="*/ 490291 h 2374809"/>
                <a:gd name="connsiteX341" fmla="*/ 1951810 w 5495992"/>
                <a:gd name="connsiteY341" fmla="*/ 492598 h 2374809"/>
                <a:gd name="connsiteX342" fmla="*/ 1936670 w 5495992"/>
                <a:gd name="connsiteY342" fmla="*/ 498046 h 2374809"/>
                <a:gd name="connsiteX343" fmla="*/ 1952216 w 5495992"/>
                <a:gd name="connsiteY343" fmla="*/ 511649 h 2374809"/>
                <a:gd name="connsiteX344" fmla="*/ 1960334 w 5495992"/>
                <a:gd name="connsiteY344" fmla="*/ 536550 h 2374809"/>
                <a:gd name="connsiteX345" fmla="*/ 1933788 w 5495992"/>
                <a:gd name="connsiteY345" fmla="*/ 566631 h 2374809"/>
                <a:gd name="connsiteX346" fmla="*/ 2002142 w 5495992"/>
                <a:gd name="connsiteY346" fmla="*/ 582942 h 2374809"/>
                <a:gd name="connsiteX347" fmla="*/ 2064324 w 5495992"/>
                <a:gd name="connsiteY347" fmla="*/ 609246 h 2374809"/>
                <a:gd name="connsiteX348" fmla="*/ 2073052 w 5495992"/>
                <a:gd name="connsiteY348" fmla="*/ 626994 h 2374809"/>
                <a:gd name="connsiteX349" fmla="*/ 2054827 w 5495992"/>
                <a:gd name="connsiteY349" fmla="*/ 630838 h 2374809"/>
                <a:gd name="connsiteX350" fmla="*/ 2087299 w 5495992"/>
                <a:gd name="connsiteY350" fmla="*/ 655337 h 2374809"/>
                <a:gd name="connsiteX351" fmla="*/ 2059982 w 5495992"/>
                <a:gd name="connsiteY351" fmla="*/ 648652 h 2374809"/>
                <a:gd name="connsiteX352" fmla="*/ 2039078 w 5495992"/>
                <a:gd name="connsiteY352" fmla="*/ 632442 h 2374809"/>
                <a:gd name="connsiteX353" fmla="*/ 2050402 w 5495992"/>
                <a:gd name="connsiteY353" fmla="*/ 617936 h 2374809"/>
                <a:gd name="connsiteX354" fmla="*/ 2024060 w 5495992"/>
                <a:gd name="connsiteY354" fmla="*/ 596010 h 2374809"/>
                <a:gd name="connsiteX355" fmla="*/ 1956518 w 5495992"/>
                <a:gd name="connsiteY355" fmla="*/ 593203 h 2374809"/>
                <a:gd name="connsiteX356" fmla="*/ 1961592 w 5495992"/>
                <a:gd name="connsiteY356" fmla="*/ 615195 h 2374809"/>
                <a:gd name="connsiteX357" fmla="*/ 1930988 w 5495992"/>
                <a:gd name="connsiteY357" fmla="*/ 623518 h 2374809"/>
                <a:gd name="connsiteX358" fmla="*/ 1906634 w 5495992"/>
                <a:gd name="connsiteY358" fmla="*/ 631038 h 2374809"/>
                <a:gd name="connsiteX359" fmla="*/ 1863771 w 5495992"/>
                <a:gd name="connsiteY359" fmla="*/ 634782 h 2374809"/>
                <a:gd name="connsiteX360" fmla="*/ 1836535 w 5495992"/>
                <a:gd name="connsiteY360" fmla="*/ 633445 h 2374809"/>
                <a:gd name="connsiteX361" fmla="*/ 1783769 w 5495992"/>
                <a:gd name="connsiteY361" fmla="*/ 621345 h 2374809"/>
                <a:gd name="connsiteX362" fmla="*/ 1771267 w 5495992"/>
                <a:gd name="connsiteY362" fmla="*/ 614661 h 2374809"/>
                <a:gd name="connsiteX363" fmla="*/ 1751216 w 5495992"/>
                <a:gd name="connsiteY363" fmla="*/ 609814 h 2374809"/>
                <a:gd name="connsiteX364" fmla="*/ 1768101 w 5495992"/>
                <a:gd name="connsiteY364" fmla="*/ 609279 h 2374809"/>
                <a:gd name="connsiteX365" fmla="*/ 1797001 w 5495992"/>
                <a:gd name="connsiteY365" fmla="*/ 615964 h 2374809"/>
                <a:gd name="connsiteX366" fmla="*/ 1825414 w 5495992"/>
                <a:gd name="connsiteY366" fmla="*/ 621178 h 2374809"/>
                <a:gd name="connsiteX367" fmla="*/ 1845709 w 5495992"/>
                <a:gd name="connsiteY367" fmla="*/ 616165 h 2374809"/>
                <a:gd name="connsiteX368" fmla="*/ 1869819 w 5495992"/>
                <a:gd name="connsiteY368" fmla="*/ 608544 h 2374809"/>
                <a:gd name="connsiteX369" fmla="*/ 1894741 w 5495992"/>
                <a:gd name="connsiteY369" fmla="*/ 604834 h 2374809"/>
                <a:gd name="connsiteX370" fmla="*/ 1910977 w 5495992"/>
                <a:gd name="connsiteY370" fmla="*/ 590195 h 2374809"/>
                <a:gd name="connsiteX371" fmla="*/ 1912073 w 5495992"/>
                <a:gd name="connsiteY371" fmla="*/ 578864 h 2374809"/>
                <a:gd name="connsiteX372" fmla="*/ 1898313 w 5495992"/>
                <a:gd name="connsiteY372" fmla="*/ 560381 h 2374809"/>
                <a:gd name="connsiteX373" fmla="*/ 1905335 w 5495992"/>
                <a:gd name="connsiteY373" fmla="*/ 539257 h 2374809"/>
                <a:gd name="connsiteX374" fmla="*/ 1920637 w 5495992"/>
                <a:gd name="connsiteY374" fmla="*/ 515493 h 2374809"/>
                <a:gd name="connsiteX375" fmla="*/ 1913899 w 5495992"/>
                <a:gd name="connsiteY375" fmla="*/ 480532 h 2374809"/>
                <a:gd name="connsiteX376" fmla="*/ 1928309 w 5495992"/>
                <a:gd name="connsiteY376" fmla="*/ 449414 h 2374809"/>
                <a:gd name="connsiteX377" fmla="*/ 1851878 w 5495992"/>
                <a:gd name="connsiteY377" fmla="*/ 429360 h 2374809"/>
                <a:gd name="connsiteX378" fmla="*/ 1817458 w 5495992"/>
                <a:gd name="connsiteY378" fmla="*/ 423645 h 2374809"/>
                <a:gd name="connsiteX379" fmla="*/ 1786366 w 5495992"/>
                <a:gd name="connsiteY379" fmla="*/ 440357 h 2374809"/>
                <a:gd name="connsiteX380" fmla="*/ 1755680 w 5495992"/>
                <a:gd name="connsiteY380" fmla="*/ 454628 h 2374809"/>
                <a:gd name="connsiteX381" fmla="*/ 1717932 w 5495992"/>
                <a:gd name="connsiteY381" fmla="*/ 455665 h 2374809"/>
                <a:gd name="connsiteX382" fmla="*/ 1719312 w 5495992"/>
                <a:gd name="connsiteY382" fmla="*/ 471039 h 2374809"/>
                <a:gd name="connsiteX383" fmla="*/ 1717486 w 5495992"/>
                <a:gd name="connsiteY383" fmla="*/ 485044 h 2374809"/>
                <a:gd name="connsiteX384" fmla="*/ 1717242 w 5495992"/>
                <a:gd name="connsiteY384" fmla="*/ 491027 h 2374809"/>
                <a:gd name="connsiteX385" fmla="*/ 1700316 w 5495992"/>
                <a:gd name="connsiteY385" fmla="*/ 495806 h 2374809"/>
                <a:gd name="connsiteX386" fmla="*/ 1718662 w 5495992"/>
                <a:gd name="connsiteY386" fmla="*/ 509945 h 2374809"/>
                <a:gd name="connsiteX387" fmla="*/ 1744437 w 5495992"/>
                <a:gd name="connsiteY387" fmla="*/ 528796 h 2374809"/>
                <a:gd name="connsiteX388" fmla="*/ 1765016 w 5495992"/>
                <a:gd name="connsiteY388" fmla="*/ 546677 h 2374809"/>
                <a:gd name="connsiteX389" fmla="*/ 1717648 w 5495992"/>
                <a:gd name="connsiteY389" fmla="*/ 540828 h 2374809"/>
                <a:gd name="connsiteX390" fmla="*/ 1643693 w 5495992"/>
                <a:gd name="connsiteY390" fmla="*/ 504764 h 2374809"/>
                <a:gd name="connsiteX391" fmla="*/ 1564137 w 5495992"/>
                <a:gd name="connsiteY391" fmla="*/ 473546 h 2374809"/>
                <a:gd name="connsiteX392" fmla="*/ 1473379 w 5495992"/>
                <a:gd name="connsiteY392" fmla="*/ 451086 h 2374809"/>
                <a:gd name="connsiteX393" fmla="*/ 1410749 w 5495992"/>
                <a:gd name="connsiteY393" fmla="*/ 433171 h 2374809"/>
                <a:gd name="connsiteX394" fmla="*/ 1469685 w 5495992"/>
                <a:gd name="connsiteY394" fmla="*/ 461480 h 2374809"/>
                <a:gd name="connsiteX395" fmla="*/ 1472323 w 5495992"/>
                <a:gd name="connsiteY395" fmla="*/ 472778 h 2374809"/>
                <a:gd name="connsiteX396" fmla="*/ 1484297 w 5495992"/>
                <a:gd name="connsiteY396" fmla="*/ 483841 h 2374809"/>
                <a:gd name="connsiteX397" fmla="*/ 1452272 w 5495992"/>
                <a:gd name="connsiteY397" fmla="*/ 486047 h 2374809"/>
                <a:gd name="connsiteX398" fmla="*/ 1438350 w 5495992"/>
                <a:gd name="connsiteY398" fmla="*/ 493734 h 2374809"/>
                <a:gd name="connsiteX399" fmla="*/ 1427066 w 5495992"/>
                <a:gd name="connsiteY399" fmla="*/ 480365 h 2374809"/>
                <a:gd name="connsiteX400" fmla="*/ 1404904 w 5495992"/>
                <a:gd name="connsiteY400" fmla="*/ 468499 h 2374809"/>
                <a:gd name="connsiteX401" fmla="*/ 1370605 w 5495992"/>
                <a:gd name="connsiteY401" fmla="*/ 470906 h 2374809"/>
                <a:gd name="connsiteX402" fmla="*/ 1339514 w 5495992"/>
                <a:gd name="connsiteY402" fmla="*/ 471441 h 2374809"/>
                <a:gd name="connsiteX403" fmla="*/ 1277493 w 5495992"/>
                <a:gd name="connsiteY403" fmla="*/ 464488 h 2374809"/>
                <a:gd name="connsiteX404" fmla="*/ 1257198 w 5495992"/>
                <a:gd name="connsiteY404" fmla="*/ 469870 h 2374809"/>
                <a:gd name="connsiteX405" fmla="*/ 1215837 w 5495992"/>
                <a:gd name="connsiteY405" fmla="*/ 462784 h 2374809"/>
                <a:gd name="connsiteX406" fmla="*/ 1227202 w 5495992"/>
                <a:gd name="connsiteY406" fmla="*/ 458706 h 2374809"/>
                <a:gd name="connsiteX407" fmla="*/ 1229800 w 5495992"/>
                <a:gd name="connsiteY407" fmla="*/ 454161 h 2374809"/>
                <a:gd name="connsiteX408" fmla="*/ 1238527 w 5495992"/>
                <a:gd name="connsiteY408" fmla="*/ 445537 h 2374809"/>
                <a:gd name="connsiteX409" fmla="*/ 1191117 w 5495992"/>
                <a:gd name="connsiteY409" fmla="*/ 443498 h 2374809"/>
                <a:gd name="connsiteX410" fmla="*/ 1172365 w 5495992"/>
                <a:gd name="connsiteY410" fmla="*/ 447509 h 2374809"/>
                <a:gd name="connsiteX411" fmla="*/ 1139000 w 5495992"/>
                <a:gd name="connsiteY411" fmla="*/ 442730 h 2374809"/>
                <a:gd name="connsiteX412" fmla="*/ 1098005 w 5495992"/>
                <a:gd name="connsiteY412" fmla="*/ 443298 h 2374809"/>
                <a:gd name="connsiteX413" fmla="*/ 1066304 w 5495992"/>
                <a:gd name="connsiteY413" fmla="*/ 448378 h 2374809"/>
                <a:gd name="connsiteX414" fmla="*/ 1043696 w 5495992"/>
                <a:gd name="connsiteY414" fmla="*/ 452255 h 2374809"/>
                <a:gd name="connsiteX415" fmla="*/ 1003755 w 5495992"/>
                <a:gd name="connsiteY415" fmla="*/ 455330 h 2374809"/>
                <a:gd name="connsiteX416" fmla="*/ 993405 w 5495992"/>
                <a:gd name="connsiteY416" fmla="*/ 469602 h 2374809"/>
                <a:gd name="connsiteX417" fmla="*/ 955250 w 5495992"/>
                <a:gd name="connsiteY417" fmla="*/ 466460 h 2374809"/>
                <a:gd name="connsiteX418" fmla="*/ 927284 w 5495992"/>
                <a:gd name="connsiteY418" fmla="*/ 458238 h 2374809"/>
                <a:gd name="connsiteX419" fmla="*/ 910074 w 5495992"/>
                <a:gd name="connsiteY419" fmla="*/ 441961 h 2374809"/>
                <a:gd name="connsiteX420" fmla="*/ 939948 w 5495992"/>
                <a:gd name="connsiteY420" fmla="*/ 436012 h 2374809"/>
                <a:gd name="connsiteX421" fmla="*/ 971892 w 5495992"/>
                <a:gd name="connsiteY421" fmla="*/ 437716 h 2374809"/>
                <a:gd name="connsiteX422" fmla="*/ 952896 w 5495992"/>
                <a:gd name="connsiteY422" fmla="*/ 420269 h 2374809"/>
                <a:gd name="connsiteX423" fmla="*/ 915757 w 5495992"/>
                <a:gd name="connsiteY423" fmla="*/ 409072 h 2374809"/>
                <a:gd name="connsiteX424" fmla="*/ 866156 w 5495992"/>
                <a:gd name="connsiteY424" fmla="*/ 401585 h 2374809"/>
                <a:gd name="connsiteX425" fmla="*/ 871270 w 5495992"/>
                <a:gd name="connsiteY425" fmla="*/ 408771 h 2374809"/>
                <a:gd name="connsiteX426" fmla="*/ 860676 w 5495992"/>
                <a:gd name="connsiteY426" fmla="*/ 444601 h 2374809"/>
                <a:gd name="connsiteX427" fmla="*/ 884584 w 5495992"/>
                <a:gd name="connsiteY427" fmla="*/ 455832 h 2374809"/>
                <a:gd name="connsiteX428" fmla="*/ 872163 w 5495992"/>
                <a:gd name="connsiteY428" fmla="*/ 471975 h 2374809"/>
                <a:gd name="connsiteX429" fmla="*/ 855927 w 5495992"/>
                <a:gd name="connsiteY429" fmla="*/ 472410 h 2374809"/>
                <a:gd name="connsiteX430" fmla="*/ 846510 w 5495992"/>
                <a:gd name="connsiteY430" fmla="*/ 466260 h 2374809"/>
                <a:gd name="connsiteX431" fmla="*/ 825850 w 5495992"/>
                <a:gd name="connsiteY431" fmla="*/ 461280 h 2374809"/>
                <a:gd name="connsiteX432" fmla="*/ 789076 w 5495992"/>
                <a:gd name="connsiteY432" fmla="*/ 461982 h 2374809"/>
                <a:gd name="connsiteX433" fmla="*/ 751855 w 5495992"/>
                <a:gd name="connsiteY433" fmla="*/ 465525 h 2374809"/>
                <a:gd name="connsiteX434" fmla="*/ 717110 w 5495992"/>
                <a:gd name="connsiteY434" fmla="*/ 475217 h 2374809"/>
                <a:gd name="connsiteX435" fmla="*/ 733914 w 5495992"/>
                <a:gd name="connsiteY435" fmla="*/ 498814 h 2374809"/>
                <a:gd name="connsiteX436" fmla="*/ 689266 w 5495992"/>
                <a:gd name="connsiteY436" fmla="*/ 495873 h 2374809"/>
                <a:gd name="connsiteX437" fmla="*/ 654440 w 5495992"/>
                <a:gd name="connsiteY437" fmla="*/ 489790 h 2374809"/>
                <a:gd name="connsiteX438" fmla="*/ 619979 w 5495992"/>
                <a:gd name="connsiteY438" fmla="*/ 475217 h 2374809"/>
                <a:gd name="connsiteX439" fmla="*/ 600496 w 5495992"/>
                <a:gd name="connsiteY439" fmla="*/ 480799 h 2374809"/>
                <a:gd name="connsiteX440" fmla="*/ 606625 w 5495992"/>
                <a:gd name="connsiteY440" fmla="*/ 493533 h 2374809"/>
                <a:gd name="connsiteX441" fmla="*/ 644982 w 5495992"/>
                <a:gd name="connsiteY441" fmla="*/ 508307 h 2374809"/>
                <a:gd name="connsiteX442" fmla="*/ 606016 w 5495992"/>
                <a:gd name="connsiteY442" fmla="*/ 510145 h 2374809"/>
                <a:gd name="connsiteX443" fmla="*/ 588400 w 5495992"/>
                <a:gd name="connsiteY443" fmla="*/ 506134 h 2374809"/>
                <a:gd name="connsiteX444" fmla="*/ 557836 w 5495992"/>
                <a:gd name="connsiteY444" fmla="*/ 494636 h 2374809"/>
                <a:gd name="connsiteX445" fmla="*/ 540626 w 5495992"/>
                <a:gd name="connsiteY445" fmla="*/ 486782 h 2374809"/>
                <a:gd name="connsiteX446" fmla="*/ 534375 w 5495992"/>
                <a:gd name="connsiteY446" fmla="*/ 470404 h 2374809"/>
                <a:gd name="connsiteX447" fmla="*/ 536770 w 5495992"/>
                <a:gd name="connsiteY447" fmla="*/ 459441 h 2374809"/>
                <a:gd name="connsiteX448" fmla="*/ 535755 w 5495992"/>
                <a:gd name="connsiteY448" fmla="*/ 443432 h 2374809"/>
                <a:gd name="connsiteX449" fmla="*/ 508926 w 5495992"/>
                <a:gd name="connsiteY449" fmla="*/ 436012 h 2374809"/>
                <a:gd name="connsiteX450" fmla="*/ 489605 w 5495992"/>
                <a:gd name="connsiteY450" fmla="*/ 426619 h 2374809"/>
                <a:gd name="connsiteX451" fmla="*/ 463709 w 5495992"/>
                <a:gd name="connsiteY451" fmla="*/ 413618 h 2374809"/>
                <a:gd name="connsiteX452" fmla="*/ 449136 w 5495992"/>
                <a:gd name="connsiteY452" fmla="*/ 405763 h 2374809"/>
                <a:gd name="connsiteX453" fmla="*/ 462856 w 5495992"/>
                <a:gd name="connsiteY453" fmla="*/ 406432 h 2374809"/>
                <a:gd name="connsiteX454" fmla="*/ 486723 w 5495992"/>
                <a:gd name="connsiteY454" fmla="*/ 416659 h 2374809"/>
                <a:gd name="connsiteX455" fmla="*/ 550449 w 5495992"/>
                <a:gd name="connsiteY455" fmla="*/ 431733 h 2374809"/>
                <a:gd name="connsiteX456" fmla="*/ 680336 w 5495992"/>
                <a:gd name="connsiteY456" fmla="*/ 455832 h 2374809"/>
                <a:gd name="connsiteX457" fmla="*/ 773246 w 5495992"/>
                <a:gd name="connsiteY457" fmla="*/ 440657 h 2374809"/>
                <a:gd name="connsiteX458" fmla="*/ 763788 w 5495992"/>
                <a:gd name="connsiteY458" fmla="*/ 418364 h 2374809"/>
                <a:gd name="connsiteX459" fmla="*/ 722793 w 5495992"/>
                <a:gd name="connsiteY459" fmla="*/ 401652 h 2374809"/>
                <a:gd name="connsiteX460" fmla="*/ 690930 w 5495992"/>
                <a:gd name="connsiteY460" fmla="*/ 390723 h 2374809"/>
                <a:gd name="connsiteX461" fmla="*/ 645023 w 5495992"/>
                <a:gd name="connsiteY461" fmla="*/ 373677 h 2374809"/>
                <a:gd name="connsiteX462" fmla="*/ 582393 w 5495992"/>
                <a:gd name="connsiteY462" fmla="*/ 353455 h 2374809"/>
                <a:gd name="connsiteX463" fmla="*/ 564574 w 5495992"/>
                <a:gd name="connsiteY463" fmla="*/ 350915 h 2374809"/>
                <a:gd name="connsiteX464" fmla="*/ 541641 w 5495992"/>
                <a:gd name="connsiteY464" fmla="*/ 345935 h 2374809"/>
                <a:gd name="connsiteX465" fmla="*/ 515622 w 5495992"/>
                <a:gd name="connsiteY465" fmla="*/ 346603 h 2374809"/>
                <a:gd name="connsiteX466" fmla="*/ 488468 w 5495992"/>
                <a:gd name="connsiteY466" fmla="*/ 342593 h 2374809"/>
                <a:gd name="connsiteX467" fmla="*/ 484409 w 5495992"/>
                <a:gd name="connsiteY467" fmla="*/ 335273 h 2374809"/>
                <a:gd name="connsiteX468" fmla="*/ 463505 w 5495992"/>
                <a:gd name="connsiteY468" fmla="*/ 324477 h 2374809"/>
                <a:gd name="connsiteX469" fmla="*/ 423565 w 5495992"/>
                <a:gd name="connsiteY469" fmla="*/ 324678 h 2374809"/>
                <a:gd name="connsiteX470" fmla="*/ 387318 w 5495992"/>
                <a:gd name="connsiteY470" fmla="*/ 332332 h 2374809"/>
                <a:gd name="connsiteX471" fmla="*/ 359433 w 5495992"/>
                <a:gd name="connsiteY471" fmla="*/ 336510 h 2374809"/>
                <a:gd name="connsiteX472" fmla="*/ 342021 w 5495992"/>
                <a:gd name="connsiteY472" fmla="*/ 345300 h 2374809"/>
                <a:gd name="connsiteX473" fmla="*/ 334186 w 5495992"/>
                <a:gd name="connsiteY473" fmla="*/ 365354 h 2374809"/>
                <a:gd name="connsiteX474" fmla="*/ 371651 w 5495992"/>
                <a:gd name="connsiteY474" fmla="*/ 380629 h 2374809"/>
                <a:gd name="connsiteX475" fmla="*/ 349935 w 5495992"/>
                <a:gd name="connsiteY475" fmla="*/ 411679 h 2374809"/>
                <a:gd name="connsiteX476" fmla="*/ 378632 w 5495992"/>
                <a:gd name="connsiteY476" fmla="*/ 438919 h 2374809"/>
                <a:gd name="connsiteX477" fmla="*/ 361747 w 5495992"/>
                <a:gd name="connsiteY477" fmla="*/ 451587 h 2374809"/>
                <a:gd name="connsiteX478" fmla="*/ 366496 w 5495992"/>
                <a:gd name="connsiteY478" fmla="*/ 459609 h 2374809"/>
                <a:gd name="connsiteX479" fmla="*/ 361381 w 5495992"/>
                <a:gd name="connsiteY479" fmla="*/ 464254 h 2374809"/>
                <a:gd name="connsiteX480" fmla="*/ 374208 w 5495992"/>
                <a:gd name="connsiteY480" fmla="*/ 470638 h 2374809"/>
                <a:gd name="connsiteX481" fmla="*/ 374208 w 5495992"/>
                <a:gd name="connsiteY481" fmla="*/ 480030 h 2374809"/>
                <a:gd name="connsiteX482" fmla="*/ 373396 w 5495992"/>
                <a:gd name="connsiteY482" fmla="*/ 492397 h 2374809"/>
                <a:gd name="connsiteX483" fmla="*/ 388252 w 5495992"/>
                <a:gd name="connsiteY483" fmla="*/ 506402 h 2374809"/>
                <a:gd name="connsiteX484" fmla="*/ 416421 w 5495992"/>
                <a:gd name="connsiteY484" fmla="*/ 527325 h 2374809"/>
                <a:gd name="connsiteX485" fmla="*/ 375588 w 5495992"/>
                <a:gd name="connsiteY485" fmla="*/ 543335 h 2374809"/>
                <a:gd name="connsiteX486" fmla="*/ 339829 w 5495992"/>
                <a:gd name="connsiteY486" fmla="*/ 559010 h 2374809"/>
                <a:gd name="connsiteX487" fmla="*/ 289619 w 5495992"/>
                <a:gd name="connsiteY487" fmla="*/ 577326 h 2374809"/>
                <a:gd name="connsiteX488" fmla="*/ 321157 w 5495992"/>
                <a:gd name="connsiteY488" fmla="*/ 585682 h 2374809"/>
                <a:gd name="connsiteX489" fmla="*/ 355537 w 5495992"/>
                <a:gd name="connsiteY489" fmla="*/ 595008 h 2374809"/>
                <a:gd name="connsiteX490" fmla="*/ 321035 w 5495992"/>
                <a:gd name="connsiteY490" fmla="*/ 595342 h 2374809"/>
                <a:gd name="connsiteX491" fmla="*/ 287386 w 5495992"/>
                <a:gd name="connsiteY491" fmla="*/ 603464 h 2374809"/>
                <a:gd name="connsiteX492" fmla="*/ 269933 w 5495992"/>
                <a:gd name="connsiteY492" fmla="*/ 619908 h 2374809"/>
                <a:gd name="connsiteX493" fmla="*/ 275656 w 5495992"/>
                <a:gd name="connsiteY493" fmla="*/ 641700 h 2374809"/>
                <a:gd name="connsiteX494" fmla="*/ 265346 w 5495992"/>
                <a:gd name="connsiteY494" fmla="*/ 652630 h 2374809"/>
                <a:gd name="connsiteX495" fmla="*/ 274479 w 5495992"/>
                <a:gd name="connsiteY495" fmla="*/ 662924 h 2374809"/>
                <a:gd name="connsiteX496" fmla="*/ 277239 w 5495992"/>
                <a:gd name="connsiteY496" fmla="*/ 672951 h 2374809"/>
                <a:gd name="connsiteX497" fmla="*/ 295058 w 5495992"/>
                <a:gd name="connsiteY497" fmla="*/ 690666 h 2374809"/>
                <a:gd name="connsiteX498" fmla="*/ 315353 w 5495992"/>
                <a:gd name="connsiteY498" fmla="*/ 692571 h 2374809"/>
                <a:gd name="connsiteX499" fmla="*/ 335079 w 5495992"/>
                <a:gd name="connsiteY499" fmla="*/ 699790 h 2374809"/>
                <a:gd name="connsiteX500" fmla="*/ 374654 w 5495992"/>
                <a:gd name="connsiteY500" fmla="*/ 720379 h 2374809"/>
                <a:gd name="connsiteX501" fmla="*/ 415244 w 5495992"/>
                <a:gd name="connsiteY501" fmla="*/ 753435 h 2374809"/>
                <a:gd name="connsiteX502" fmla="*/ 415691 w 5495992"/>
                <a:gd name="connsiteY502" fmla="*/ 767574 h 2374809"/>
                <a:gd name="connsiteX503" fmla="*/ 386547 w 5495992"/>
                <a:gd name="connsiteY503" fmla="*/ 765000 h 2374809"/>
                <a:gd name="connsiteX504" fmla="*/ 391743 w 5495992"/>
                <a:gd name="connsiteY504" fmla="*/ 785455 h 2374809"/>
                <a:gd name="connsiteX505" fmla="*/ 418897 w 5495992"/>
                <a:gd name="connsiteY505" fmla="*/ 788196 h 2374809"/>
                <a:gd name="connsiteX506" fmla="*/ 451734 w 5495992"/>
                <a:gd name="connsiteY506" fmla="*/ 789466 h 2374809"/>
                <a:gd name="connsiteX507" fmla="*/ 472029 w 5495992"/>
                <a:gd name="connsiteY507" fmla="*/ 803604 h 2374809"/>
                <a:gd name="connsiteX508" fmla="*/ 513715 w 5495992"/>
                <a:gd name="connsiteY508" fmla="*/ 832850 h 2374809"/>
                <a:gd name="connsiteX509" fmla="*/ 535715 w 5495992"/>
                <a:gd name="connsiteY509" fmla="*/ 842609 h 2374809"/>
                <a:gd name="connsiteX510" fmla="*/ 557877 w 5495992"/>
                <a:gd name="connsiteY510" fmla="*/ 845952 h 2374809"/>
                <a:gd name="connsiteX511" fmla="*/ 576142 w 5495992"/>
                <a:gd name="connsiteY511" fmla="*/ 846821 h 2374809"/>
                <a:gd name="connsiteX512" fmla="*/ 651639 w 5495992"/>
                <a:gd name="connsiteY512" fmla="*/ 871320 h 2374809"/>
                <a:gd name="connsiteX513" fmla="*/ 652370 w 5495992"/>
                <a:gd name="connsiteY513" fmla="*/ 884088 h 2374809"/>
                <a:gd name="connsiteX514" fmla="*/ 646159 w 5495992"/>
                <a:gd name="connsiteY514" fmla="*/ 893280 h 2374809"/>
                <a:gd name="connsiteX515" fmla="*/ 644576 w 5495992"/>
                <a:gd name="connsiteY515" fmla="*/ 907785 h 2374809"/>
                <a:gd name="connsiteX516" fmla="*/ 614621 w 5495992"/>
                <a:gd name="connsiteY516" fmla="*/ 905112 h 2374809"/>
                <a:gd name="connsiteX517" fmla="*/ 588847 w 5495992"/>
                <a:gd name="connsiteY517" fmla="*/ 912632 h 2374809"/>
                <a:gd name="connsiteX518" fmla="*/ 620304 w 5495992"/>
                <a:gd name="connsiteY518" fmla="*/ 921088 h 2374809"/>
                <a:gd name="connsiteX519" fmla="*/ 579308 w 5495992"/>
                <a:gd name="connsiteY519" fmla="*/ 931416 h 2374809"/>
                <a:gd name="connsiteX520" fmla="*/ 583367 w 5495992"/>
                <a:gd name="connsiteY520" fmla="*/ 943716 h 2374809"/>
                <a:gd name="connsiteX521" fmla="*/ 559338 w 5495992"/>
                <a:gd name="connsiteY521" fmla="*/ 955314 h 2374809"/>
                <a:gd name="connsiteX522" fmla="*/ 597533 w 5495992"/>
                <a:gd name="connsiteY522" fmla="*/ 982821 h 2374809"/>
                <a:gd name="connsiteX523" fmla="*/ 624281 w 5495992"/>
                <a:gd name="connsiteY523" fmla="*/ 999533 h 2374809"/>
                <a:gd name="connsiteX524" fmla="*/ 644576 w 5495992"/>
                <a:gd name="connsiteY524" fmla="*/ 1002073 h 2374809"/>
                <a:gd name="connsiteX525" fmla="*/ 690321 w 5495992"/>
                <a:gd name="connsiteY525" fmla="*/ 1014306 h 2374809"/>
                <a:gd name="connsiteX526" fmla="*/ 731195 w 5495992"/>
                <a:gd name="connsiteY526" fmla="*/ 1019621 h 2374809"/>
                <a:gd name="connsiteX527" fmla="*/ 772921 w 5495992"/>
                <a:gd name="connsiteY527" fmla="*/ 1035564 h 2374809"/>
                <a:gd name="connsiteX528" fmla="*/ 814769 w 5495992"/>
                <a:gd name="connsiteY528" fmla="*/ 1042249 h 2374809"/>
                <a:gd name="connsiteX529" fmla="*/ 818828 w 5495992"/>
                <a:gd name="connsiteY529" fmla="*/ 1052075 h 2374809"/>
                <a:gd name="connsiteX530" fmla="*/ 832629 w 5495992"/>
                <a:gd name="connsiteY530" fmla="*/ 1057523 h 2374809"/>
                <a:gd name="connsiteX531" fmla="*/ 868429 w 5495992"/>
                <a:gd name="connsiteY531" fmla="*/ 1075204 h 2374809"/>
                <a:gd name="connsiteX532" fmla="*/ 906908 w 5495992"/>
                <a:gd name="connsiteY532" fmla="*/ 1072363 h 2374809"/>
                <a:gd name="connsiteX533" fmla="*/ 876263 w 5495992"/>
                <a:gd name="connsiteY533" fmla="*/ 1040277 h 2374809"/>
                <a:gd name="connsiteX534" fmla="*/ 868145 w 5495992"/>
                <a:gd name="connsiteY534" fmla="*/ 1013805 h 2374809"/>
                <a:gd name="connsiteX535" fmla="*/ 949324 w 5495992"/>
                <a:gd name="connsiteY535" fmla="*/ 980682 h 2374809"/>
                <a:gd name="connsiteX536" fmla="*/ 933819 w 5495992"/>
                <a:gd name="connsiteY536" fmla="*/ 967647 h 2374809"/>
                <a:gd name="connsiteX537" fmla="*/ 917583 w 5495992"/>
                <a:gd name="connsiteY537" fmla="*/ 943616 h 2374809"/>
                <a:gd name="connsiteX538" fmla="*/ 884259 w 5495992"/>
                <a:gd name="connsiteY538" fmla="*/ 936931 h 2374809"/>
                <a:gd name="connsiteX539" fmla="*/ 871311 w 5495992"/>
                <a:gd name="connsiteY539" fmla="*/ 922191 h 2374809"/>
                <a:gd name="connsiteX540" fmla="*/ 878130 w 5495992"/>
                <a:gd name="connsiteY540" fmla="*/ 911395 h 2374809"/>
                <a:gd name="connsiteX541" fmla="*/ 880403 w 5495992"/>
                <a:gd name="connsiteY541" fmla="*/ 900633 h 2374809"/>
                <a:gd name="connsiteX542" fmla="*/ 893879 w 5495992"/>
                <a:gd name="connsiteY542" fmla="*/ 894249 h 2374809"/>
                <a:gd name="connsiteX543" fmla="*/ 903539 w 5495992"/>
                <a:gd name="connsiteY543" fmla="*/ 886361 h 2374809"/>
                <a:gd name="connsiteX544" fmla="*/ 935727 w 5495992"/>
                <a:gd name="connsiteY544" fmla="*/ 898494 h 2374809"/>
                <a:gd name="connsiteX545" fmla="*/ 950095 w 5495992"/>
                <a:gd name="connsiteY545" fmla="*/ 890773 h 2374809"/>
                <a:gd name="connsiteX546" fmla="*/ 972298 w 5495992"/>
                <a:gd name="connsiteY546" fmla="*/ 878640 h 2374809"/>
                <a:gd name="connsiteX547" fmla="*/ 1006110 w 5495992"/>
                <a:gd name="connsiteY547" fmla="*/ 875298 h 2374809"/>
                <a:gd name="connsiteX548" fmla="*/ 1045725 w 5495992"/>
                <a:gd name="connsiteY548" fmla="*/ 875532 h 2374809"/>
                <a:gd name="connsiteX549" fmla="*/ 1072230 w 5495992"/>
                <a:gd name="connsiteY549" fmla="*/ 874730 h 2374809"/>
                <a:gd name="connsiteX550" fmla="*/ 1097517 w 5495992"/>
                <a:gd name="connsiteY550" fmla="*/ 884757 h 2374809"/>
                <a:gd name="connsiteX551" fmla="*/ 1128569 w 5495992"/>
                <a:gd name="connsiteY551" fmla="*/ 896355 h 2374809"/>
                <a:gd name="connsiteX552" fmla="*/ 1149513 w 5495992"/>
                <a:gd name="connsiteY552" fmla="*/ 912598 h 2374809"/>
                <a:gd name="connsiteX553" fmla="*/ 1162827 w 5495992"/>
                <a:gd name="connsiteY553" fmla="*/ 909958 h 2374809"/>
                <a:gd name="connsiteX554" fmla="*/ 1197165 w 5495992"/>
                <a:gd name="connsiteY554" fmla="*/ 918180 h 2374809"/>
                <a:gd name="connsiteX555" fmla="*/ 1223143 w 5495992"/>
                <a:gd name="connsiteY555" fmla="*/ 914136 h 2374809"/>
                <a:gd name="connsiteX556" fmla="*/ 1246198 w 5495992"/>
                <a:gd name="connsiteY556" fmla="*/ 921756 h 2374809"/>
                <a:gd name="connsiteX557" fmla="*/ 1271038 w 5495992"/>
                <a:gd name="connsiteY557" fmla="*/ 920520 h 2374809"/>
                <a:gd name="connsiteX558" fmla="*/ 1291333 w 5495992"/>
                <a:gd name="connsiteY558" fmla="*/ 932251 h 2374809"/>
                <a:gd name="connsiteX559" fmla="*/ 1314916 w 5495992"/>
                <a:gd name="connsiteY559" fmla="*/ 942479 h 2374809"/>
                <a:gd name="connsiteX560" fmla="*/ 1328636 w 5495992"/>
                <a:gd name="connsiteY560" fmla="*/ 936964 h 2374809"/>
                <a:gd name="connsiteX561" fmla="*/ 1376897 w 5495992"/>
                <a:gd name="connsiteY561" fmla="*/ 944284 h 2374809"/>
                <a:gd name="connsiteX562" fmla="*/ 1340731 w 5495992"/>
                <a:gd name="connsiteY562" fmla="*/ 918815 h 2374809"/>
                <a:gd name="connsiteX563" fmla="*/ 1355343 w 5495992"/>
                <a:gd name="connsiteY563" fmla="*/ 912131 h 2374809"/>
                <a:gd name="connsiteX564" fmla="*/ 1364436 w 5495992"/>
                <a:gd name="connsiteY564" fmla="*/ 901468 h 2374809"/>
                <a:gd name="connsiteX565" fmla="*/ 1409937 w 5495992"/>
                <a:gd name="connsiteY565" fmla="*/ 899931 h 2374809"/>
                <a:gd name="connsiteX566" fmla="*/ 1385583 w 5495992"/>
                <a:gd name="connsiteY566" fmla="*/ 889302 h 2374809"/>
                <a:gd name="connsiteX567" fmla="*/ 1385299 w 5495992"/>
                <a:gd name="connsiteY567" fmla="*/ 873025 h 2374809"/>
                <a:gd name="connsiteX568" fmla="*/ 1424630 w 5495992"/>
                <a:gd name="connsiteY568" fmla="*/ 879108 h 2374809"/>
                <a:gd name="connsiteX569" fmla="*/ 1474190 w 5495992"/>
                <a:gd name="connsiteY569" fmla="*/ 882116 h 2374809"/>
                <a:gd name="connsiteX570" fmla="*/ 1522127 w 5495992"/>
                <a:gd name="connsiteY570" fmla="*/ 887497 h 2374809"/>
                <a:gd name="connsiteX571" fmla="*/ 1563447 w 5495992"/>
                <a:gd name="connsiteY571" fmla="*/ 890539 h 2374809"/>
                <a:gd name="connsiteX572" fmla="*/ 1631882 w 5495992"/>
                <a:gd name="connsiteY572" fmla="*/ 895185 h 2374809"/>
                <a:gd name="connsiteX573" fmla="*/ 1686678 w 5495992"/>
                <a:gd name="connsiteY573" fmla="*/ 901201 h 2374809"/>
                <a:gd name="connsiteX574" fmla="*/ 1722194 w 5495992"/>
                <a:gd name="connsiteY574" fmla="*/ 913534 h 2374809"/>
                <a:gd name="connsiteX575" fmla="*/ 1724061 w 5495992"/>
                <a:gd name="connsiteY575" fmla="*/ 925132 h 2374809"/>
                <a:gd name="connsiteX576" fmla="*/ 1718541 w 5495992"/>
                <a:gd name="connsiteY576" fmla="*/ 935159 h 2374809"/>
                <a:gd name="connsiteX577" fmla="*/ 1748943 w 5495992"/>
                <a:gd name="connsiteY577" fmla="*/ 939037 h 2374809"/>
                <a:gd name="connsiteX578" fmla="*/ 1768872 w 5495992"/>
                <a:gd name="connsiteY578" fmla="*/ 949064 h 2374809"/>
                <a:gd name="connsiteX579" fmla="*/ 1791156 w 5495992"/>
                <a:gd name="connsiteY579" fmla="*/ 955514 h 2374809"/>
                <a:gd name="connsiteX580" fmla="*/ 1785879 w 5495992"/>
                <a:gd name="connsiteY580" fmla="*/ 962567 h 2374809"/>
                <a:gd name="connsiteX581" fmla="*/ 1801384 w 5495992"/>
                <a:gd name="connsiteY581" fmla="*/ 967814 h 2374809"/>
                <a:gd name="connsiteX582" fmla="*/ 1816444 w 5495992"/>
                <a:gd name="connsiteY582" fmla="*/ 970522 h 2374809"/>
                <a:gd name="connsiteX583" fmla="*/ 1836373 w 5495992"/>
                <a:gd name="connsiteY583" fmla="*/ 970054 h 2374809"/>
                <a:gd name="connsiteX584" fmla="*/ 1881021 w 5495992"/>
                <a:gd name="connsiteY584" fmla="*/ 968349 h 2374809"/>
                <a:gd name="connsiteX585" fmla="*/ 1900383 w 5495992"/>
                <a:gd name="connsiteY585" fmla="*/ 971691 h 2374809"/>
                <a:gd name="connsiteX586" fmla="*/ 1896689 w 5495992"/>
                <a:gd name="connsiteY586" fmla="*/ 976638 h 2374809"/>
                <a:gd name="connsiteX587" fmla="*/ 1911708 w 5495992"/>
                <a:gd name="connsiteY587" fmla="*/ 991645 h 2374809"/>
                <a:gd name="connsiteX588" fmla="*/ 1936061 w 5495992"/>
                <a:gd name="connsiteY588" fmla="*/ 1014641 h 2374809"/>
                <a:gd name="connsiteX589" fmla="*/ 1968533 w 5495992"/>
                <a:gd name="connsiteY589" fmla="*/ 1068118 h 2374809"/>
                <a:gd name="connsiteX590" fmla="*/ 2005916 w 5495992"/>
                <a:gd name="connsiteY590" fmla="*/ 1074536 h 2374809"/>
                <a:gd name="connsiteX591" fmla="*/ 2035019 w 5495992"/>
                <a:gd name="connsiteY591" fmla="*/ 1092518 h 2374809"/>
                <a:gd name="connsiteX592" fmla="*/ 2079262 w 5495992"/>
                <a:gd name="connsiteY592" fmla="*/ 1098768 h 2374809"/>
                <a:gd name="connsiteX593" fmla="*/ 2100125 w 5495992"/>
                <a:gd name="connsiteY593" fmla="*/ 1114243 h 2374809"/>
                <a:gd name="connsiteX594" fmla="*/ 2120420 w 5495992"/>
                <a:gd name="connsiteY594" fmla="*/ 1129852 h 2374809"/>
                <a:gd name="connsiteX595" fmla="*/ 2134099 w 5495992"/>
                <a:gd name="connsiteY595" fmla="*/ 1146564 h 2374809"/>
                <a:gd name="connsiteX596" fmla="*/ 2171198 w 5495992"/>
                <a:gd name="connsiteY596" fmla="*/ 1154552 h 2374809"/>
                <a:gd name="connsiteX597" fmla="*/ 2287690 w 5495992"/>
                <a:gd name="connsiteY597" fmla="*/ 1174606 h 2374809"/>
                <a:gd name="connsiteX598" fmla="*/ 2352188 w 5495992"/>
                <a:gd name="connsiteY598" fmla="*/ 1180121 h 2374809"/>
                <a:gd name="connsiteX599" fmla="*/ 2382427 w 5495992"/>
                <a:gd name="connsiteY599" fmla="*/ 1192822 h 2374809"/>
                <a:gd name="connsiteX600" fmla="*/ 2398378 w 5495992"/>
                <a:gd name="connsiteY600" fmla="*/ 1207194 h 2374809"/>
                <a:gd name="connsiteX601" fmla="*/ 2454961 w 5495992"/>
                <a:gd name="connsiteY601" fmla="*/ 1233231 h 2374809"/>
                <a:gd name="connsiteX602" fmla="*/ 2484713 w 5495992"/>
                <a:gd name="connsiteY602" fmla="*/ 1239448 h 2374809"/>
                <a:gd name="connsiteX603" fmla="*/ 2503871 w 5495992"/>
                <a:gd name="connsiteY603" fmla="*/ 1231526 h 2374809"/>
                <a:gd name="connsiteX604" fmla="*/ 2530498 w 5495992"/>
                <a:gd name="connsiteY604" fmla="*/ 1210570 h 2374809"/>
                <a:gd name="connsiteX605" fmla="*/ 2560413 w 5495992"/>
                <a:gd name="connsiteY605" fmla="*/ 1215316 h 2374809"/>
                <a:gd name="connsiteX606" fmla="*/ 2598405 w 5495992"/>
                <a:gd name="connsiteY606" fmla="*/ 1235370 h 2374809"/>
                <a:gd name="connsiteX607" fmla="*/ 2629497 w 5495992"/>
                <a:gd name="connsiteY607" fmla="*/ 1252082 h 2374809"/>
                <a:gd name="connsiteX608" fmla="*/ 2632825 w 5495992"/>
                <a:gd name="connsiteY608" fmla="*/ 1268794 h 2374809"/>
                <a:gd name="connsiteX609" fmla="*/ 2680315 w 5495992"/>
                <a:gd name="connsiteY609" fmla="*/ 1299744 h 2374809"/>
                <a:gd name="connsiteX610" fmla="*/ 2795793 w 5495992"/>
                <a:gd name="connsiteY610" fmla="*/ 1344832 h 2374809"/>
                <a:gd name="connsiteX611" fmla="*/ 2810893 w 5495992"/>
                <a:gd name="connsiteY611" fmla="*/ 1363215 h 2374809"/>
                <a:gd name="connsiteX612" fmla="*/ 2836748 w 5495992"/>
                <a:gd name="connsiteY612" fmla="*/ 1375615 h 2374809"/>
                <a:gd name="connsiteX613" fmla="*/ 2888378 w 5495992"/>
                <a:gd name="connsiteY613" fmla="*/ 1396004 h 2374809"/>
                <a:gd name="connsiteX614" fmla="*/ 2949263 w 5495992"/>
                <a:gd name="connsiteY614" fmla="*/ 1410008 h 2374809"/>
                <a:gd name="connsiteX615" fmla="*/ 2980517 w 5495992"/>
                <a:gd name="connsiteY615" fmla="*/ 1411044 h 2374809"/>
                <a:gd name="connsiteX616" fmla="*/ 3019280 w 5495992"/>
                <a:gd name="connsiteY616" fmla="*/ 1422876 h 2374809"/>
                <a:gd name="connsiteX617" fmla="*/ 3042700 w 5495992"/>
                <a:gd name="connsiteY617" fmla="*/ 1438318 h 2374809"/>
                <a:gd name="connsiteX618" fmla="*/ 3073102 w 5495992"/>
                <a:gd name="connsiteY618" fmla="*/ 1452323 h 2374809"/>
                <a:gd name="connsiteX619" fmla="*/ 3130659 w 5495992"/>
                <a:gd name="connsiteY619" fmla="*/ 1473580 h 2374809"/>
                <a:gd name="connsiteX620" fmla="*/ 3156514 w 5495992"/>
                <a:gd name="connsiteY620" fmla="*/ 1469970 h 2374809"/>
                <a:gd name="connsiteX621" fmla="*/ 3178757 w 5495992"/>
                <a:gd name="connsiteY621" fmla="*/ 1461882 h 2374809"/>
                <a:gd name="connsiteX622" fmla="*/ 3222919 w 5495992"/>
                <a:gd name="connsiteY622" fmla="*/ 1445170 h 2374809"/>
                <a:gd name="connsiteX623" fmla="*/ 3212122 w 5495992"/>
                <a:gd name="connsiteY623" fmla="*/ 1434174 h 2374809"/>
                <a:gd name="connsiteX624" fmla="*/ 3248410 w 5495992"/>
                <a:gd name="connsiteY624" fmla="*/ 1433839 h 2374809"/>
                <a:gd name="connsiteX625" fmla="*/ 3310269 w 5495992"/>
                <a:gd name="connsiteY625" fmla="*/ 1457704 h 2374809"/>
                <a:gd name="connsiteX626" fmla="*/ 3377972 w 5495992"/>
                <a:gd name="connsiteY626" fmla="*/ 1499116 h 2374809"/>
                <a:gd name="connsiteX627" fmla="*/ 3386739 w 5495992"/>
                <a:gd name="connsiteY627" fmla="*/ 1517398 h 2374809"/>
                <a:gd name="connsiteX628" fmla="*/ 3393396 w 5495992"/>
                <a:gd name="connsiteY628" fmla="*/ 1535915 h 2374809"/>
                <a:gd name="connsiteX629" fmla="*/ 3403381 w 5495992"/>
                <a:gd name="connsiteY629" fmla="*/ 1581605 h 2374809"/>
                <a:gd name="connsiteX630" fmla="*/ 3401717 w 5495992"/>
                <a:gd name="connsiteY630" fmla="*/ 1595977 h 2374809"/>
                <a:gd name="connsiteX631" fmla="*/ 3433620 w 5495992"/>
                <a:gd name="connsiteY631" fmla="*/ 1618271 h 2374809"/>
                <a:gd name="connsiteX632" fmla="*/ 3458827 w 5495992"/>
                <a:gd name="connsiteY632" fmla="*/ 1638325 h 2374809"/>
                <a:gd name="connsiteX633" fmla="*/ 3473277 w 5495992"/>
                <a:gd name="connsiteY633" fmla="*/ 1658780 h 2374809"/>
                <a:gd name="connsiteX634" fmla="*/ 3478554 w 5495992"/>
                <a:gd name="connsiteY634" fmla="*/ 1679570 h 2374809"/>
                <a:gd name="connsiteX635" fmla="*/ 3519874 w 5495992"/>
                <a:gd name="connsiteY635" fmla="*/ 1699189 h 2374809"/>
                <a:gd name="connsiteX636" fmla="*/ 3552671 w 5495992"/>
                <a:gd name="connsiteY636" fmla="*/ 1705874 h 2374809"/>
                <a:gd name="connsiteX637" fmla="*/ 3578120 w 5495992"/>
                <a:gd name="connsiteY637" fmla="*/ 1715166 h 2374809"/>
                <a:gd name="connsiteX638" fmla="*/ 3575603 w 5495992"/>
                <a:gd name="connsiteY638" fmla="*/ 1732780 h 2374809"/>
                <a:gd name="connsiteX639" fmla="*/ 3565822 w 5495992"/>
                <a:gd name="connsiteY639" fmla="*/ 1733682 h 2374809"/>
                <a:gd name="connsiteX640" fmla="*/ 3548205 w 5495992"/>
                <a:gd name="connsiteY640" fmla="*/ 1741002 h 2374809"/>
                <a:gd name="connsiteX641" fmla="*/ 3520767 w 5495992"/>
                <a:gd name="connsiteY641" fmla="*/ 1746584 h 2374809"/>
                <a:gd name="connsiteX642" fmla="*/ 3496413 w 5495992"/>
                <a:gd name="connsiteY642" fmla="*/ 1751430 h 2374809"/>
                <a:gd name="connsiteX643" fmla="*/ 3470760 w 5495992"/>
                <a:gd name="connsiteY643" fmla="*/ 1739364 h 2374809"/>
                <a:gd name="connsiteX644" fmla="*/ 3439100 w 5495992"/>
                <a:gd name="connsiteY644" fmla="*/ 1733214 h 2374809"/>
                <a:gd name="connsiteX645" fmla="*/ 3417019 w 5495992"/>
                <a:gd name="connsiteY645" fmla="*/ 1770716 h 2374809"/>
                <a:gd name="connsiteX646" fmla="*/ 3460044 w 5495992"/>
                <a:gd name="connsiteY646" fmla="*/ 1789566 h 2374809"/>
                <a:gd name="connsiteX647" fmla="*/ 3495764 w 5495992"/>
                <a:gd name="connsiteY647" fmla="*/ 1805877 h 2374809"/>
                <a:gd name="connsiteX648" fmla="*/ 3570245 w 5495992"/>
                <a:gd name="connsiteY648" fmla="*/ 1808351 h 2374809"/>
                <a:gd name="connsiteX649" fmla="*/ 3681746 w 5495992"/>
                <a:gd name="connsiteY649" fmla="*/ 1799092 h 2374809"/>
                <a:gd name="connsiteX650" fmla="*/ 3762926 w 5495992"/>
                <a:gd name="connsiteY650" fmla="*/ 1785155 h 2374809"/>
                <a:gd name="connsiteX651" fmla="*/ 3809887 w 5495992"/>
                <a:gd name="connsiteY651" fmla="*/ 1750027 h 2374809"/>
                <a:gd name="connsiteX652" fmla="*/ 3828356 w 5495992"/>
                <a:gd name="connsiteY652" fmla="*/ 1745247 h 2374809"/>
                <a:gd name="connsiteX653" fmla="*/ 3841507 w 5495992"/>
                <a:gd name="connsiteY653" fmla="*/ 1734986 h 2374809"/>
                <a:gd name="connsiteX654" fmla="*/ 3847636 w 5495992"/>
                <a:gd name="connsiteY654" fmla="*/ 1723421 h 2374809"/>
                <a:gd name="connsiteX655" fmla="*/ 3848164 w 5495992"/>
                <a:gd name="connsiteY655" fmla="*/ 1711155 h 2374809"/>
                <a:gd name="connsiteX656" fmla="*/ 3835987 w 5495992"/>
                <a:gd name="connsiteY656" fmla="*/ 1694777 h 2374809"/>
                <a:gd name="connsiteX657" fmla="*/ 3819386 w 5495992"/>
                <a:gd name="connsiteY657" fmla="*/ 1674489 h 2374809"/>
                <a:gd name="connsiteX658" fmla="*/ 3798279 w 5495992"/>
                <a:gd name="connsiteY658" fmla="*/ 1662590 h 2374809"/>
                <a:gd name="connsiteX659" fmla="*/ 3784519 w 5495992"/>
                <a:gd name="connsiteY659" fmla="*/ 1664328 h 2374809"/>
                <a:gd name="connsiteX660" fmla="*/ 3747379 w 5495992"/>
                <a:gd name="connsiteY660" fmla="*/ 1656407 h 2374809"/>
                <a:gd name="connsiteX661" fmla="*/ 3755497 w 5495992"/>
                <a:gd name="connsiteY661" fmla="*/ 1651627 h 2374809"/>
                <a:gd name="connsiteX662" fmla="*/ 3764549 w 5495992"/>
                <a:gd name="connsiteY662" fmla="*/ 1641901 h 2374809"/>
                <a:gd name="connsiteX663" fmla="*/ 3730575 w 5495992"/>
                <a:gd name="connsiteY663" fmla="*/ 1635684 h 2374809"/>
                <a:gd name="connsiteX664" fmla="*/ 3740682 w 5495992"/>
                <a:gd name="connsiteY664" fmla="*/ 1625122 h 2374809"/>
                <a:gd name="connsiteX665" fmla="*/ 3716328 w 5495992"/>
                <a:gd name="connsiteY665" fmla="*/ 1612622 h 2374809"/>
                <a:gd name="connsiteX666" fmla="*/ 3725096 w 5495992"/>
                <a:gd name="connsiteY666" fmla="*/ 1599253 h 2374809"/>
                <a:gd name="connsiteX667" fmla="*/ 3747258 w 5495992"/>
                <a:gd name="connsiteY667" fmla="*/ 1599620 h 2374809"/>
                <a:gd name="connsiteX668" fmla="*/ 3782570 w 5495992"/>
                <a:gd name="connsiteY668" fmla="*/ 1605369 h 2374809"/>
                <a:gd name="connsiteX669" fmla="*/ 3833023 w 5495992"/>
                <a:gd name="connsiteY669" fmla="*/ 1605369 h 2374809"/>
                <a:gd name="connsiteX670" fmla="*/ 3908521 w 5495992"/>
                <a:gd name="connsiteY670" fmla="*/ 1610917 h 2374809"/>
                <a:gd name="connsiteX671" fmla="*/ 3955361 w 5495992"/>
                <a:gd name="connsiteY671" fmla="*/ 1613625 h 2374809"/>
                <a:gd name="connsiteX672" fmla="*/ 4015150 w 5495992"/>
                <a:gd name="connsiteY672" fmla="*/ 1626092 h 2374809"/>
                <a:gd name="connsiteX673" fmla="*/ 4074452 w 5495992"/>
                <a:gd name="connsiteY673" fmla="*/ 1658546 h 2374809"/>
                <a:gd name="connsiteX674" fmla="*/ 4093367 w 5495992"/>
                <a:gd name="connsiteY674" fmla="*/ 1674289 h 2374809"/>
                <a:gd name="connsiteX675" fmla="*/ 4118857 w 5495992"/>
                <a:gd name="connsiteY675" fmla="*/ 1684650 h 2374809"/>
                <a:gd name="connsiteX676" fmla="*/ 4146214 w 5495992"/>
                <a:gd name="connsiteY676" fmla="*/ 1698019 h 2374809"/>
                <a:gd name="connsiteX677" fmla="*/ 4171867 w 5495992"/>
                <a:gd name="connsiteY677" fmla="*/ 1712793 h 2374809"/>
                <a:gd name="connsiteX678" fmla="*/ 4198412 w 5495992"/>
                <a:gd name="connsiteY678" fmla="*/ 1716402 h 2374809"/>
                <a:gd name="connsiteX679" fmla="*/ 4224269 w 5495992"/>
                <a:gd name="connsiteY679" fmla="*/ 1731744 h 2374809"/>
                <a:gd name="connsiteX680" fmla="*/ 4238881 w 5495992"/>
                <a:gd name="connsiteY680" fmla="*/ 1746116 h 2374809"/>
                <a:gd name="connsiteX681" fmla="*/ 4257633 w 5495992"/>
                <a:gd name="connsiteY681" fmla="*/ 1758650 h 2374809"/>
                <a:gd name="connsiteX682" fmla="*/ 4260393 w 5495992"/>
                <a:gd name="connsiteY682" fmla="*/ 1769479 h 2374809"/>
                <a:gd name="connsiteX683" fmla="*/ 4240748 w 5495992"/>
                <a:gd name="connsiteY683" fmla="*/ 1766137 h 2374809"/>
                <a:gd name="connsiteX684" fmla="*/ 4271758 w 5495992"/>
                <a:gd name="connsiteY684" fmla="*/ 1780743 h 2374809"/>
                <a:gd name="connsiteX685" fmla="*/ 4310847 w 5495992"/>
                <a:gd name="connsiteY685" fmla="*/ 1798056 h 2374809"/>
                <a:gd name="connsiteX686" fmla="*/ 4331425 w 5495992"/>
                <a:gd name="connsiteY686" fmla="*/ 1809019 h 2374809"/>
                <a:gd name="connsiteX687" fmla="*/ 4361381 w 5495992"/>
                <a:gd name="connsiteY687" fmla="*/ 1823024 h 2374809"/>
                <a:gd name="connsiteX688" fmla="*/ 4343683 w 5495992"/>
                <a:gd name="connsiteY688" fmla="*/ 1801298 h 2374809"/>
                <a:gd name="connsiteX689" fmla="*/ 4395192 w 5495992"/>
                <a:gd name="connsiteY689" fmla="*/ 1800730 h 2374809"/>
                <a:gd name="connsiteX690" fmla="*/ 4443047 w 5495992"/>
                <a:gd name="connsiteY690" fmla="*/ 1811426 h 2374809"/>
                <a:gd name="connsiteX691" fmla="*/ 4473814 w 5495992"/>
                <a:gd name="connsiteY691" fmla="*/ 1810590 h 2374809"/>
                <a:gd name="connsiteX692" fmla="*/ 4526134 w 5495992"/>
                <a:gd name="connsiteY692" fmla="*/ 1837329 h 2374809"/>
                <a:gd name="connsiteX693" fmla="*/ 4549920 w 5495992"/>
                <a:gd name="connsiteY693" fmla="*/ 1854876 h 2374809"/>
                <a:gd name="connsiteX694" fmla="*/ 4538150 w 5495992"/>
                <a:gd name="connsiteY694" fmla="*/ 1862463 h 2374809"/>
                <a:gd name="connsiteX695" fmla="*/ 4545821 w 5495992"/>
                <a:gd name="connsiteY695" fmla="*/ 1880880 h 2374809"/>
                <a:gd name="connsiteX696" fmla="*/ 4532954 w 5495992"/>
                <a:gd name="connsiteY696" fmla="*/ 1880880 h 2374809"/>
                <a:gd name="connsiteX697" fmla="*/ 4555846 w 5495992"/>
                <a:gd name="connsiteY697" fmla="*/ 1890907 h 2374809"/>
                <a:gd name="connsiteX698" fmla="*/ 4630856 w 5495992"/>
                <a:gd name="connsiteY698" fmla="*/ 1913167 h 2374809"/>
                <a:gd name="connsiteX699" fmla="*/ 4660202 w 5495992"/>
                <a:gd name="connsiteY699" fmla="*/ 1902705 h 2374809"/>
                <a:gd name="connsiteX700" fmla="*/ 4711468 w 5495992"/>
                <a:gd name="connsiteY700" fmla="*/ 1935494 h 2374809"/>
                <a:gd name="connsiteX701" fmla="*/ 4679767 w 5495992"/>
                <a:gd name="connsiteY701" fmla="*/ 1922125 h 2374809"/>
                <a:gd name="connsiteX702" fmla="*/ 4657117 w 5495992"/>
                <a:gd name="connsiteY702" fmla="*/ 1931483 h 2374809"/>
                <a:gd name="connsiteX703" fmla="*/ 4655738 w 5495992"/>
                <a:gd name="connsiteY703" fmla="*/ 1937031 h 2374809"/>
                <a:gd name="connsiteX704" fmla="*/ 4644616 w 5495992"/>
                <a:gd name="connsiteY704" fmla="*/ 1934993 h 2374809"/>
                <a:gd name="connsiteX705" fmla="*/ 4634712 w 5495992"/>
                <a:gd name="connsiteY705" fmla="*/ 1938335 h 2374809"/>
                <a:gd name="connsiteX706" fmla="*/ 4612916 w 5495992"/>
                <a:gd name="connsiteY706" fmla="*/ 1929110 h 2374809"/>
                <a:gd name="connsiteX707" fmla="*/ 4582717 w 5495992"/>
                <a:gd name="connsiteY707" fmla="*/ 1920219 h 2374809"/>
                <a:gd name="connsiteX708" fmla="*/ 4548216 w 5495992"/>
                <a:gd name="connsiteY708" fmla="*/ 1917913 h 2374809"/>
                <a:gd name="connsiteX709" fmla="*/ 4517570 w 5495992"/>
                <a:gd name="connsiteY709" fmla="*/ 1913234 h 2374809"/>
                <a:gd name="connsiteX710" fmla="*/ 4466955 w 5495992"/>
                <a:gd name="connsiteY710" fmla="*/ 1908588 h 2374809"/>
                <a:gd name="connsiteX711" fmla="*/ 4411266 w 5495992"/>
                <a:gd name="connsiteY711" fmla="*/ 1895486 h 2374809"/>
                <a:gd name="connsiteX712" fmla="*/ 4382325 w 5495992"/>
                <a:gd name="connsiteY712" fmla="*/ 1881548 h 2374809"/>
                <a:gd name="connsiteX713" fmla="*/ 4377454 w 5495992"/>
                <a:gd name="connsiteY713" fmla="*/ 1887999 h 2374809"/>
                <a:gd name="connsiteX714" fmla="*/ 4352533 w 5495992"/>
                <a:gd name="connsiteY714" fmla="*/ 1892779 h 2374809"/>
                <a:gd name="connsiteX715" fmla="*/ 4278375 w 5495992"/>
                <a:gd name="connsiteY715" fmla="*/ 1961029 h 2374809"/>
                <a:gd name="connsiteX716" fmla="*/ 4276061 w 5495992"/>
                <a:gd name="connsiteY716" fmla="*/ 1976471 h 2374809"/>
                <a:gd name="connsiteX717" fmla="*/ 4264940 w 5495992"/>
                <a:gd name="connsiteY717" fmla="*/ 1995857 h 2374809"/>
                <a:gd name="connsiteX718" fmla="*/ 4265670 w 5495992"/>
                <a:gd name="connsiteY718" fmla="*/ 2013973 h 2374809"/>
                <a:gd name="connsiteX719" fmla="*/ 4304230 w 5495992"/>
                <a:gd name="connsiteY719" fmla="*/ 2017850 h 2374809"/>
                <a:gd name="connsiteX720" fmla="*/ 4333253 w 5495992"/>
                <a:gd name="connsiteY720" fmla="*/ 2016914 h 2374809"/>
                <a:gd name="connsiteX721" fmla="*/ 4352694 w 5495992"/>
                <a:gd name="connsiteY721" fmla="*/ 2009561 h 2374809"/>
                <a:gd name="connsiteX722" fmla="*/ 4385775 w 5495992"/>
                <a:gd name="connsiteY722" fmla="*/ 2021392 h 2374809"/>
                <a:gd name="connsiteX723" fmla="*/ 4401037 w 5495992"/>
                <a:gd name="connsiteY723" fmla="*/ 2009561 h 2374809"/>
                <a:gd name="connsiteX724" fmla="*/ 4437568 w 5495992"/>
                <a:gd name="connsiteY724" fmla="*/ 2015243 h 2374809"/>
                <a:gd name="connsiteX725" fmla="*/ 4473611 w 5495992"/>
                <a:gd name="connsiteY725" fmla="*/ 2033325 h 2374809"/>
                <a:gd name="connsiteX726" fmla="*/ 4481080 w 5495992"/>
                <a:gd name="connsiteY726" fmla="*/ 2016613 h 2374809"/>
                <a:gd name="connsiteX727" fmla="*/ 4507585 w 5495992"/>
                <a:gd name="connsiteY727" fmla="*/ 2010831 h 2374809"/>
                <a:gd name="connsiteX728" fmla="*/ 4538270 w 5495992"/>
                <a:gd name="connsiteY728" fmla="*/ 2025704 h 2374809"/>
                <a:gd name="connsiteX729" fmla="*/ 4533400 w 5495992"/>
                <a:gd name="connsiteY729" fmla="*/ 2008290 h 2374809"/>
                <a:gd name="connsiteX730" fmla="*/ 4541518 w 5495992"/>
                <a:gd name="connsiteY730" fmla="*/ 1996559 h 2374809"/>
                <a:gd name="connsiteX731" fmla="*/ 4562787 w 5495992"/>
                <a:gd name="connsiteY731" fmla="*/ 1992314 h 2374809"/>
                <a:gd name="connsiteX732" fmla="*/ 4536079 w 5495992"/>
                <a:gd name="connsiteY732" fmla="*/ 1972260 h 2374809"/>
                <a:gd name="connsiteX733" fmla="*/ 4565385 w 5495992"/>
                <a:gd name="connsiteY733" fmla="*/ 1963804 h 2374809"/>
                <a:gd name="connsiteX734" fmla="*/ 4632521 w 5495992"/>
                <a:gd name="connsiteY734" fmla="*/ 1966043 h 2374809"/>
                <a:gd name="connsiteX735" fmla="*/ 4651029 w 5495992"/>
                <a:gd name="connsiteY735" fmla="*/ 1983423 h 2374809"/>
                <a:gd name="connsiteX736" fmla="*/ 4680254 w 5495992"/>
                <a:gd name="connsiteY736" fmla="*/ 1987735 h 2374809"/>
                <a:gd name="connsiteX737" fmla="*/ 4701239 w 5495992"/>
                <a:gd name="connsiteY737" fmla="*/ 2012970 h 2374809"/>
                <a:gd name="connsiteX738" fmla="*/ 4781688 w 5495992"/>
                <a:gd name="connsiteY738" fmla="*/ 2048232 h 2374809"/>
                <a:gd name="connsiteX739" fmla="*/ 4803079 w 5495992"/>
                <a:gd name="connsiteY739" fmla="*/ 2071628 h 2374809"/>
                <a:gd name="connsiteX740" fmla="*/ 4820572 w 5495992"/>
                <a:gd name="connsiteY740" fmla="*/ 2083527 h 2374809"/>
                <a:gd name="connsiteX741" fmla="*/ 4861528 w 5495992"/>
                <a:gd name="connsiteY741" fmla="*/ 2095961 h 2374809"/>
                <a:gd name="connsiteX742" fmla="*/ 4897003 w 5495992"/>
                <a:gd name="connsiteY742" fmla="*/ 2106924 h 2374809"/>
                <a:gd name="connsiteX743" fmla="*/ 4970512 w 5495992"/>
                <a:gd name="connsiteY743" fmla="*/ 2131690 h 2374809"/>
                <a:gd name="connsiteX744" fmla="*/ 5050148 w 5495992"/>
                <a:gd name="connsiteY744" fmla="*/ 2165114 h 2374809"/>
                <a:gd name="connsiteX745" fmla="*/ 5063989 w 5495992"/>
                <a:gd name="connsiteY745" fmla="*/ 2173771 h 2374809"/>
                <a:gd name="connsiteX746" fmla="*/ 5098937 w 5495992"/>
                <a:gd name="connsiteY746" fmla="*/ 2205556 h 2374809"/>
                <a:gd name="connsiteX747" fmla="*/ 5123088 w 5495992"/>
                <a:gd name="connsiteY747" fmla="*/ 2187642 h 2374809"/>
                <a:gd name="connsiteX748" fmla="*/ 5113630 w 5495992"/>
                <a:gd name="connsiteY748" fmla="*/ 2150441 h 2374809"/>
                <a:gd name="connsiteX749" fmla="*/ 5109571 w 5495992"/>
                <a:gd name="connsiteY749" fmla="*/ 2130654 h 2374809"/>
                <a:gd name="connsiteX750" fmla="*/ 5082254 w 5495992"/>
                <a:gd name="connsiteY750" fmla="*/ 2109698 h 2374809"/>
                <a:gd name="connsiteX751" fmla="*/ 5107218 w 5495992"/>
                <a:gd name="connsiteY751" fmla="*/ 2116850 h 2374809"/>
                <a:gd name="connsiteX752" fmla="*/ 5129014 w 5495992"/>
                <a:gd name="connsiteY752" fmla="*/ 2146932 h 2374809"/>
                <a:gd name="connsiteX753" fmla="*/ 5199641 w 5495992"/>
                <a:gd name="connsiteY753" fmla="*/ 2180121 h 2374809"/>
                <a:gd name="connsiteX754" fmla="*/ 5222006 w 5495992"/>
                <a:gd name="connsiteY754" fmla="*/ 2177949 h 2374809"/>
                <a:gd name="connsiteX755" fmla="*/ 5216119 w 5495992"/>
                <a:gd name="connsiteY755" fmla="*/ 2163844 h 2374809"/>
                <a:gd name="connsiteX756" fmla="*/ 5231422 w 5495992"/>
                <a:gd name="connsiteY756" fmla="*/ 2165950 h 2374809"/>
                <a:gd name="connsiteX757" fmla="*/ 5260566 w 5495992"/>
                <a:gd name="connsiteY757" fmla="*/ 2179954 h 2374809"/>
                <a:gd name="connsiteX758" fmla="*/ 5242463 w 5495992"/>
                <a:gd name="connsiteY758" fmla="*/ 2186639 h 2374809"/>
                <a:gd name="connsiteX759" fmla="*/ 5260809 w 5495992"/>
                <a:gd name="connsiteY759" fmla="*/ 2212241 h 2374809"/>
                <a:gd name="connsiteX760" fmla="*/ 5308421 w 5495992"/>
                <a:gd name="connsiteY760" fmla="*/ 2262143 h 2374809"/>
                <a:gd name="connsiteX761" fmla="*/ 5328473 w 5495992"/>
                <a:gd name="connsiteY761" fmla="*/ 2297538 h 2374809"/>
                <a:gd name="connsiteX762" fmla="*/ 5338254 w 5495992"/>
                <a:gd name="connsiteY762" fmla="*/ 2309671 h 2374809"/>
                <a:gd name="connsiteX763" fmla="*/ 5353313 w 5495992"/>
                <a:gd name="connsiteY763" fmla="*/ 2328355 h 2374809"/>
                <a:gd name="connsiteX764" fmla="*/ 5380468 w 5495992"/>
                <a:gd name="connsiteY764" fmla="*/ 2348242 h 2374809"/>
                <a:gd name="connsiteX765" fmla="*/ 5376409 w 5495992"/>
                <a:gd name="connsiteY765" fmla="*/ 2332065 h 2374809"/>
                <a:gd name="connsiteX766" fmla="*/ 5392645 w 5495992"/>
                <a:gd name="connsiteY766" fmla="*/ 2343730 h 2374809"/>
                <a:gd name="connsiteX767" fmla="*/ 5406283 w 5495992"/>
                <a:gd name="connsiteY767" fmla="*/ 2335307 h 2374809"/>
                <a:gd name="connsiteX768" fmla="*/ 5413670 w 5495992"/>
                <a:gd name="connsiteY768" fmla="*/ 2324210 h 2374809"/>
                <a:gd name="connsiteX769" fmla="*/ 5448699 w 5495992"/>
                <a:gd name="connsiteY769" fmla="*/ 2358703 h 2374809"/>
                <a:gd name="connsiteX770" fmla="*/ 5440865 w 5495992"/>
                <a:gd name="connsiteY770" fmla="*/ 2345869 h 2374809"/>
                <a:gd name="connsiteX771" fmla="*/ 5463717 w 5495992"/>
                <a:gd name="connsiteY771" fmla="*/ 2364920 h 2374809"/>
                <a:gd name="connsiteX772" fmla="*/ 5480481 w 5495992"/>
                <a:gd name="connsiteY772" fmla="*/ 2366224 h 2374809"/>
                <a:gd name="connsiteX773" fmla="*/ 5492658 w 5495992"/>
                <a:gd name="connsiteY773" fmla="*/ 2368864 h 2374809"/>
                <a:gd name="connsiteX774" fmla="*/ 2856475 w 5495992"/>
                <a:gd name="connsiteY774" fmla="*/ 1286441 h 2374809"/>
                <a:gd name="connsiteX775" fmla="*/ 2777162 w 5495992"/>
                <a:gd name="connsiteY775" fmla="*/ 1279757 h 2374809"/>
                <a:gd name="connsiteX776" fmla="*/ 2761576 w 5495992"/>
                <a:gd name="connsiteY776" fmla="*/ 1285305 h 2374809"/>
                <a:gd name="connsiteX777" fmla="*/ 2727643 w 5495992"/>
                <a:gd name="connsiteY777" fmla="*/ 1282230 h 2374809"/>
                <a:gd name="connsiteX778" fmla="*/ 2697931 w 5495992"/>
                <a:gd name="connsiteY778" fmla="*/ 1269061 h 2374809"/>
                <a:gd name="connsiteX779" fmla="*/ 2764052 w 5495992"/>
                <a:gd name="connsiteY779" fmla="*/ 1269696 h 2374809"/>
                <a:gd name="connsiteX780" fmla="*/ 2843324 w 5495992"/>
                <a:gd name="connsiteY780" fmla="*/ 1264883 h 2374809"/>
                <a:gd name="connsiteX781" fmla="*/ 2914964 w 5495992"/>
                <a:gd name="connsiteY781" fmla="*/ 1242790 h 2374809"/>
                <a:gd name="connsiteX782" fmla="*/ 2907253 w 5495992"/>
                <a:gd name="connsiteY782" fmla="*/ 1263646 h 2374809"/>
                <a:gd name="connsiteX783" fmla="*/ 2856475 w 5495992"/>
                <a:gd name="connsiteY783" fmla="*/ 1286575 h 2374809"/>
                <a:gd name="connsiteX784" fmla="*/ 3272236 w 5495992"/>
                <a:gd name="connsiteY784" fmla="*/ 790669 h 2374809"/>
                <a:gd name="connsiteX785" fmla="*/ 3250521 w 5495992"/>
                <a:gd name="connsiteY785" fmla="*/ 792875 h 2374809"/>
                <a:gd name="connsiteX786" fmla="*/ 3296224 w 5495992"/>
                <a:gd name="connsiteY786" fmla="*/ 809587 h 2374809"/>
                <a:gd name="connsiteX787" fmla="*/ 3272236 w 5495992"/>
                <a:gd name="connsiteY787" fmla="*/ 790536 h 2374809"/>
                <a:gd name="connsiteX788" fmla="*/ 1454951 w 5495992"/>
                <a:gd name="connsiteY788" fmla="*/ 46493 h 2374809"/>
                <a:gd name="connsiteX789" fmla="*/ 1482227 w 5495992"/>
                <a:gd name="connsiteY789" fmla="*/ 45189 h 2374809"/>
                <a:gd name="connsiteX790" fmla="*/ 1518393 w 5495992"/>
                <a:gd name="connsiteY790" fmla="*/ 50404 h 2374809"/>
                <a:gd name="connsiteX791" fmla="*/ 1519813 w 5495992"/>
                <a:gd name="connsiteY791" fmla="*/ 44321 h 2374809"/>
                <a:gd name="connsiteX792" fmla="*/ 1484419 w 5495992"/>
                <a:gd name="connsiteY792" fmla="*/ 37168 h 2374809"/>
                <a:gd name="connsiteX793" fmla="*/ 1460715 w 5495992"/>
                <a:gd name="connsiteY793" fmla="*/ 35630 h 2374809"/>
                <a:gd name="connsiteX794" fmla="*/ 1455600 w 5495992"/>
                <a:gd name="connsiteY794" fmla="*/ 38271 h 2374809"/>
                <a:gd name="connsiteX795" fmla="*/ 1408110 w 5495992"/>
                <a:gd name="connsiteY795" fmla="*/ 32756 h 2374809"/>
                <a:gd name="connsiteX796" fmla="*/ 1454951 w 5495992"/>
                <a:gd name="connsiteY796" fmla="*/ 46493 h 2374809"/>
                <a:gd name="connsiteX797" fmla="*/ 1311507 w 5495992"/>
                <a:gd name="connsiteY797" fmla="*/ 58325 h 2374809"/>
                <a:gd name="connsiteX798" fmla="*/ 1265072 w 5495992"/>
                <a:gd name="connsiteY798" fmla="*/ 53980 h 2374809"/>
                <a:gd name="connsiteX799" fmla="*/ 1311547 w 5495992"/>
                <a:gd name="connsiteY799" fmla="*/ 58325 h 2374809"/>
                <a:gd name="connsiteX800" fmla="*/ 1453896 w 5495992"/>
                <a:gd name="connsiteY800" fmla="*/ 74101 h 2374809"/>
                <a:gd name="connsiteX801" fmla="*/ 1401373 w 5495992"/>
                <a:gd name="connsiteY801" fmla="*/ 80451 h 2374809"/>
                <a:gd name="connsiteX802" fmla="*/ 1479589 w 5495992"/>
                <a:gd name="connsiteY802" fmla="*/ 91448 h 2374809"/>
                <a:gd name="connsiteX803" fmla="*/ 1512669 w 5495992"/>
                <a:gd name="connsiteY803" fmla="*/ 84329 h 2374809"/>
                <a:gd name="connsiteX804" fmla="*/ 1453896 w 5495992"/>
                <a:gd name="connsiteY804" fmla="*/ 74101 h 2374809"/>
                <a:gd name="connsiteX805" fmla="*/ 1453936 w 5495992"/>
                <a:gd name="connsiteY805" fmla="*/ 74101 h 2374809"/>
                <a:gd name="connsiteX806" fmla="*/ 1642679 w 5495992"/>
                <a:gd name="connsiteY806" fmla="*/ 97130 h 2374809"/>
                <a:gd name="connsiteX807" fmla="*/ 1604118 w 5495992"/>
                <a:gd name="connsiteY807" fmla="*/ 77076 h 2374809"/>
                <a:gd name="connsiteX808" fmla="*/ 1571646 w 5495992"/>
                <a:gd name="connsiteY808" fmla="*/ 72697 h 2374809"/>
                <a:gd name="connsiteX809" fmla="*/ 1556994 w 5495992"/>
                <a:gd name="connsiteY809" fmla="*/ 77744 h 2374809"/>
                <a:gd name="connsiteX810" fmla="*/ 1534669 w 5495992"/>
                <a:gd name="connsiteY810" fmla="*/ 82657 h 2374809"/>
                <a:gd name="connsiteX811" fmla="*/ 1567669 w 5495992"/>
                <a:gd name="connsiteY811" fmla="*/ 93687 h 2374809"/>
                <a:gd name="connsiteX812" fmla="*/ 1642841 w 5495992"/>
                <a:gd name="connsiteY812" fmla="*/ 97030 h 2374809"/>
                <a:gd name="connsiteX813" fmla="*/ 1471187 w 5495992"/>
                <a:gd name="connsiteY813" fmla="*/ 58960 h 2374809"/>
                <a:gd name="connsiteX814" fmla="*/ 1444641 w 5495992"/>
                <a:gd name="connsiteY814" fmla="*/ 48933 h 2374809"/>
                <a:gd name="connsiteX815" fmla="*/ 1384487 w 5495992"/>
                <a:gd name="connsiteY815" fmla="*/ 33525 h 2374809"/>
                <a:gd name="connsiteX816" fmla="*/ 1382052 w 5495992"/>
                <a:gd name="connsiteY816" fmla="*/ 41045 h 2374809"/>
                <a:gd name="connsiteX817" fmla="*/ 1348078 w 5495992"/>
                <a:gd name="connsiteY817" fmla="*/ 41246 h 2374809"/>
                <a:gd name="connsiteX818" fmla="*/ 1396014 w 5495992"/>
                <a:gd name="connsiteY818" fmla="*/ 57690 h 2374809"/>
                <a:gd name="connsiteX819" fmla="*/ 1471187 w 5495992"/>
                <a:gd name="connsiteY819" fmla="*/ 58960 h 2374809"/>
                <a:gd name="connsiteX820" fmla="*/ 1246888 w 5495992"/>
                <a:gd name="connsiteY820" fmla="*/ 308501 h 2374809"/>
                <a:gd name="connsiteX821" fmla="*/ 1212549 w 5495992"/>
                <a:gd name="connsiteY821" fmla="*/ 313180 h 2374809"/>
                <a:gd name="connsiteX822" fmla="*/ 1228785 w 5495992"/>
                <a:gd name="connsiteY822" fmla="*/ 326282 h 2374809"/>
                <a:gd name="connsiteX823" fmla="*/ 1207840 w 5495992"/>
                <a:gd name="connsiteY823" fmla="*/ 330460 h 2374809"/>
                <a:gd name="connsiteX824" fmla="*/ 1186937 w 5495992"/>
                <a:gd name="connsiteY824" fmla="*/ 335006 h 2374809"/>
                <a:gd name="connsiteX825" fmla="*/ 1157753 w 5495992"/>
                <a:gd name="connsiteY825" fmla="*/ 341155 h 2374809"/>
                <a:gd name="connsiteX826" fmla="*/ 1186166 w 5495992"/>
                <a:gd name="connsiteY826" fmla="*/ 351684 h 2374809"/>
                <a:gd name="connsiteX827" fmla="*/ 1193391 w 5495992"/>
                <a:gd name="connsiteY827" fmla="*/ 361210 h 2374809"/>
                <a:gd name="connsiteX828" fmla="*/ 1212711 w 5495992"/>
                <a:gd name="connsiteY828" fmla="*/ 369198 h 2374809"/>
                <a:gd name="connsiteX829" fmla="*/ 1220017 w 5495992"/>
                <a:gd name="connsiteY829" fmla="*/ 361276 h 2374809"/>
                <a:gd name="connsiteX830" fmla="*/ 1240312 w 5495992"/>
                <a:gd name="connsiteY830" fmla="*/ 371972 h 2374809"/>
                <a:gd name="connsiteX831" fmla="*/ 1234427 w 5495992"/>
                <a:gd name="connsiteY831" fmla="*/ 380863 h 2374809"/>
                <a:gd name="connsiteX832" fmla="*/ 1306595 w 5495992"/>
                <a:gd name="connsiteY832" fmla="*/ 400917 h 2374809"/>
                <a:gd name="connsiteX833" fmla="*/ 1371011 w 5495992"/>
                <a:gd name="connsiteY833" fmla="*/ 409607 h 2374809"/>
                <a:gd name="connsiteX834" fmla="*/ 1348240 w 5495992"/>
                <a:gd name="connsiteY834" fmla="*/ 394132 h 2374809"/>
                <a:gd name="connsiteX835" fmla="*/ 1311426 w 5495992"/>
                <a:gd name="connsiteY835" fmla="*/ 364619 h 2374809"/>
                <a:gd name="connsiteX836" fmla="*/ 1341583 w 5495992"/>
                <a:gd name="connsiteY836" fmla="*/ 334337 h 2374809"/>
                <a:gd name="connsiteX837" fmla="*/ 1374542 w 5495992"/>
                <a:gd name="connsiteY837" fmla="*/ 322238 h 2374809"/>
                <a:gd name="connsiteX838" fmla="*/ 1381889 w 5495992"/>
                <a:gd name="connsiteY838" fmla="*/ 316723 h 2374809"/>
                <a:gd name="connsiteX839" fmla="*/ 1402509 w 5495992"/>
                <a:gd name="connsiteY839" fmla="*/ 315586 h 2374809"/>
                <a:gd name="connsiteX840" fmla="*/ 1421789 w 5495992"/>
                <a:gd name="connsiteY840" fmla="*/ 308467 h 2374809"/>
                <a:gd name="connsiteX841" fmla="*/ 1441028 w 5495992"/>
                <a:gd name="connsiteY841" fmla="*/ 297571 h 2374809"/>
                <a:gd name="connsiteX842" fmla="*/ 1462744 w 5495992"/>
                <a:gd name="connsiteY842" fmla="*/ 296836 h 2374809"/>
                <a:gd name="connsiteX843" fmla="*/ 1481334 w 5495992"/>
                <a:gd name="connsiteY843" fmla="*/ 295064 h 2374809"/>
                <a:gd name="connsiteX844" fmla="*/ 1508976 w 5495992"/>
                <a:gd name="connsiteY844" fmla="*/ 296568 h 2374809"/>
                <a:gd name="connsiteX845" fmla="*/ 1562392 w 5495992"/>
                <a:gd name="connsiteY845" fmla="*/ 290118 h 2374809"/>
                <a:gd name="connsiteX846" fmla="*/ 1669265 w 5495992"/>
                <a:gd name="connsiteY846" fmla="*/ 291989 h 2374809"/>
                <a:gd name="connsiteX847" fmla="*/ 1838727 w 5495992"/>
                <a:gd name="connsiteY847" fmla="*/ 287811 h 2374809"/>
                <a:gd name="connsiteX848" fmla="*/ 1750363 w 5495992"/>
                <a:gd name="connsiteY848" fmla="*/ 271801 h 2374809"/>
                <a:gd name="connsiteX849" fmla="*/ 1714116 w 5495992"/>
                <a:gd name="connsiteY849" fmla="*/ 273773 h 2374809"/>
                <a:gd name="connsiteX850" fmla="*/ 1655464 w 5495992"/>
                <a:gd name="connsiteY850" fmla="*/ 268492 h 2374809"/>
                <a:gd name="connsiteX851" fmla="*/ 1603834 w 5495992"/>
                <a:gd name="connsiteY851" fmla="*/ 262911 h 2374809"/>
                <a:gd name="connsiteX852" fmla="*/ 1554355 w 5495992"/>
                <a:gd name="connsiteY852" fmla="*/ 254455 h 2374809"/>
                <a:gd name="connsiteX853" fmla="*/ 1452881 w 5495992"/>
                <a:gd name="connsiteY853" fmla="*/ 251112 h 2374809"/>
                <a:gd name="connsiteX854" fmla="*/ 1427309 w 5495992"/>
                <a:gd name="connsiteY854" fmla="*/ 255190 h 2374809"/>
                <a:gd name="connsiteX855" fmla="*/ 1397394 w 5495992"/>
                <a:gd name="connsiteY855" fmla="*/ 261373 h 2374809"/>
                <a:gd name="connsiteX856" fmla="*/ 1361878 w 5495992"/>
                <a:gd name="connsiteY856" fmla="*/ 259301 h 2374809"/>
                <a:gd name="connsiteX857" fmla="*/ 1360417 w 5495992"/>
                <a:gd name="connsiteY857" fmla="*/ 272336 h 2374809"/>
                <a:gd name="connsiteX858" fmla="*/ 1331355 w 5495992"/>
                <a:gd name="connsiteY858" fmla="*/ 286174 h 2374809"/>
                <a:gd name="connsiteX859" fmla="*/ 1286707 w 5495992"/>
                <a:gd name="connsiteY859" fmla="*/ 287912 h 2374809"/>
                <a:gd name="connsiteX860" fmla="*/ 1298275 w 5495992"/>
                <a:gd name="connsiteY860" fmla="*/ 299510 h 2374809"/>
                <a:gd name="connsiteX861" fmla="*/ 1279076 w 5495992"/>
                <a:gd name="connsiteY861" fmla="*/ 307899 h 2374809"/>
                <a:gd name="connsiteX862" fmla="*/ 1246604 w 5495992"/>
                <a:gd name="connsiteY862" fmla="*/ 308567 h 2374809"/>
                <a:gd name="connsiteX863" fmla="*/ 1246969 w 5495992"/>
                <a:gd name="connsiteY863" fmla="*/ 308501 h 237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</a:cxnLst>
              <a:rect l="l" t="t" r="r" b="b"/>
              <a:pathLst>
                <a:path w="5495992" h="2374809">
                  <a:moveTo>
                    <a:pt x="86305" y="704436"/>
                  </a:moveTo>
                  <a:cubicBezTo>
                    <a:pt x="80825" y="704841"/>
                    <a:pt x="75345" y="703975"/>
                    <a:pt x="70434" y="701930"/>
                  </a:cubicBezTo>
                  <a:cubicBezTo>
                    <a:pt x="61220" y="698587"/>
                    <a:pt x="58014" y="698086"/>
                    <a:pt x="46080" y="698253"/>
                  </a:cubicBezTo>
                  <a:cubicBezTo>
                    <a:pt x="58257" y="702531"/>
                    <a:pt x="46608" y="703968"/>
                    <a:pt x="40722" y="706342"/>
                  </a:cubicBezTo>
                  <a:cubicBezTo>
                    <a:pt x="34837" y="708715"/>
                    <a:pt x="46892" y="714798"/>
                    <a:pt x="32199" y="713327"/>
                  </a:cubicBezTo>
                  <a:cubicBezTo>
                    <a:pt x="21889" y="712324"/>
                    <a:pt x="26110" y="706475"/>
                    <a:pt x="14826" y="706308"/>
                  </a:cubicBezTo>
                  <a:cubicBezTo>
                    <a:pt x="1269" y="706108"/>
                    <a:pt x="-7498" y="712057"/>
                    <a:pt x="8697" y="715567"/>
                  </a:cubicBezTo>
                  <a:cubicBezTo>
                    <a:pt x="30047" y="720179"/>
                    <a:pt x="55375" y="720948"/>
                    <a:pt x="78025" y="721883"/>
                  </a:cubicBezTo>
                  <a:cubicBezTo>
                    <a:pt x="93692" y="722518"/>
                    <a:pt x="100917" y="724424"/>
                    <a:pt x="103068" y="716536"/>
                  </a:cubicBezTo>
                  <a:cubicBezTo>
                    <a:pt x="104164" y="712425"/>
                    <a:pt x="101201" y="701228"/>
                    <a:pt x="86224" y="704436"/>
                  </a:cubicBezTo>
                  <a:close/>
                  <a:moveTo>
                    <a:pt x="1722803" y="109497"/>
                  </a:moveTo>
                  <a:cubicBezTo>
                    <a:pt x="1731976" y="110767"/>
                    <a:pt x="1773256" y="113307"/>
                    <a:pt x="1754504" y="102478"/>
                  </a:cubicBezTo>
                  <a:cubicBezTo>
                    <a:pt x="1735751" y="91648"/>
                    <a:pt x="1724386" y="101274"/>
                    <a:pt x="1707866" y="97330"/>
                  </a:cubicBezTo>
                  <a:cubicBezTo>
                    <a:pt x="1700032" y="95425"/>
                    <a:pt x="1663704" y="90111"/>
                    <a:pt x="1661512" y="95058"/>
                  </a:cubicBezTo>
                  <a:cubicBezTo>
                    <a:pt x="1658265" y="102310"/>
                    <a:pt x="1715172" y="108427"/>
                    <a:pt x="1722803" y="109497"/>
                  </a:cubicBezTo>
                  <a:cubicBezTo>
                    <a:pt x="1764570" y="115513"/>
                    <a:pt x="1701858" y="106555"/>
                    <a:pt x="1722843" y="109563"/>
                  </a:cubicBezTo>
                  <a:close/>
                  <a:moveTo>
                    <a:pt x="1846642" y="423177"/>
                  </a:moveTo>
                  <a:cubicBezTo>
                    <a:pt x="1857317" y="426218"/>
                    <a:pt x="1923763" y="434675"/>
                    <a:pt x="1895350" y="422141"/>
                  </a:cubicBezTo>
                  <a:cubicBezTo>
                    <a:pt x="1883173" y="416793"/>
                    <a:pt x="1860645" y="409574"/>
                    <a:pt x="1847981" y="412882"/>
                  </a:cubicBezTo>
                  <a:cubicBezTo>
                    <a:pt x="1842664" y="414253"/>
                    <a:pt x="1836373" y="420236"/>
                    <a:pt x="1846520" y="423177"/>
                  </a:cubicBezTo>
                  <a:close/>
                  <a:moveTo>
                    <a:pt x="2713233" y="374412"/>
                  </a:moveTo>
                  <a:cubicBezTo>
                    <a:pt x="2732514" y="384673"/>
                    <a:pt x="2716237" y="382266"/>
                    <a:pt x="2702071" y="378055"/>
                  </a:cubicBezTo>
                  <a:cubicBezTo>
                    <a:pt x="2698743" y="377052"/>
                    <a:pt x="2658072" y="368028"/>
                    <a:pt x="2674348" y="376317"/>
                  </a:cubicBezTo>
                  <a:cubicBezTo>
                    <a:pt x="2685917" y="382266"/>
                    <a:pt x="2687621" y="389118"/>
                    <a:pt x="2701746" y="395101"/>
                  </a:cubicBezTo>
                  <a:cubicBezTo>
                    <a:pt x="2714816" y="400649"/>
                    <a:pt x="2748100" y="406097"/>
                    <a:pt x="2748790" y="396338"/>
                  </a:cubicBezTo>
                  <a:cubicBezTo>
                    <a:pt x="2749237" y="389820"/>
                    <a:pt x="2810122" y="404192"/>
                    <a:pt x="2818279" y="405964"/>
                  </a:cubicBezTo>
                  <a:cubicBezTo>
                    <a:pt x="2829645" y="408370"/>
                    <a:pt x="2841091" y="411011"/>
                    <a:pt x="2852457" y="413183"/>
                  </a:cubicBezTo>
                  <a:cubicBezTo>
                    <a:pt x="2867190" y="415991"/>
                    <a:pt x="2857774" y="407134"/>
                    <a:pt x="2858423" y="403156"/>
                  </a:cubicBezTo>
                  <a:cubicBezTo>
                    <a:pt x="2859316" y="397842"/>
                    <a:pt x="2879367" y="408370"/>
                    <a:pt x="2882047" y="404727"/>
                  </a:cubicBezTo>
                  <a:cubicBezTo>
                    <a:pt x="2885213" y="400415"/>
                    <a:pt x="2849169" y="388015"/>
                    <a:pt x="2844176" y="384071"/>
                  </a:cubicBezTo>
                  <a:cubicBezTo>
                    <a:pt x="2829563" y="372039"/>
                    <a:pt x="2851401" y="363716"/>
                    <a:pt x="2816494" y="362480"/>
                  </a:cubicBezTo>
                  <a:cubicBezTo>
                    <a:pt x="2807442" y="362045"/>
                    <a:pt x="2719971" y="346637"/>
                    <a:pt x="2737628" y="356965"/>
                  </a:cubicBezTo>
                  <a:cubicBezTo>
                    <a:pt x="2753174" y="366023"/>
                    <a:pt x="2727846" y="366758"/>
                    <a:pt x="2716967" y="363148"/>
                  </a:cubicBezTo>
                  <a:cubicBezTo>
                    <a:pt x="2696673" y="356463"/>
                    <a:pt x="2702153" y="368496"/>
                    <a:pt x="2713233" y="374378"/>
                  </a:cubicBezTo>
                  <a:close/>
                  <a:moveTo>
                    <a:pt x="2763078" y="404493"/>
                  </a:moveTo>
                  <a:cubicBezTo>
                    <a:pt x="2761130" y="408805"/>
                    <a:pt x="2743473" y="407000"/>
                    <a:pt x="2736451" y="407835"/>
                  </a:cubicBezTo>
                  <a:cubicBezTo>
                    <a:pt x="2719849" y="409607"/>
                    <a:pt x="2750901" y="420035"/>
                    <a:pt x="2757314" y="422709"/>
                  </a:cubicBezTo>
                  <a:cubicBezTo>
                    <a:pt x="2766812" y="426619"/>
                    <a:pt x="2767786" y="434875"/>
                    <a:pt x="2775377" y="439722"/>
                  </a:cubicBezTo>
                  <a:cubicBezTo>
                    <a:pt x="2782966" y="444568"/>
                    <a:pt x="2799731" y="448011"/>
                    <a:pt x="2809147" y="452255"/>
                  </a:cubicBezTo>
                  <a:cubicBezTo>
                    <a:pt x="2834718" y="463586"/>
                    <a:pt x="2867881" y="484710"/>
                    <a:pt x="2897917" y="488553"/>
                  </a:cubicBezTo>
                  <a:cubicBezTo>
                    <a:pt x="2905547" y="489556"/>
                    <a:pt x="2917156" y="488754"/>
                    <a:pt x="2915208" y="483573"/>
                  </a:cubicBezTo>
                  <a:cubicBezTo>
                    <a:pt x="2914397" y="481434"/>
                    <a:pt x="2910946" y="481167"/>
                    <a:pt x="2909201" y="479362"/>
                  </a:cubicBezTo>
                  <a:cubicBezTo>
                    <a:pt x="2905913" y="476020"/>
                    <a:pt x="2917319" y="473245"/>
                    <a:pt x="2920079" y="472376"/>
                  </a:cubicBezTo>
                  <a:cubicBezTo>
                    <a:pt x="2939887" y="466293"/>
                    <a:pt x="2948776" y="461480"/>
                    <a:pt x="2917360" y="447008"/>
                  </a:cubicBezTo>
                  <a:cubicBezTo>
                    <a:pt x="2910662" y="443933"/>
                    <a:pt x="2899581" y="439187"/>
                    <a:pt x="2892153" y="439521"/>
                  </a:cubicBezTo>
                  <a:cubicBezTo>
                    <a:pt x="2882614" y="439956"/>
                    <a:pt x="2884725" y="447175"/>
                    <a:pt x="2873807" y="435878"/>
                  </a:cubicBezTo>
                  <a:cubicBezTo>
                    <a:pt x="2860046" y="421706"/>
                    <a:pt x="2856353" y="419768"/>
                    <a:pt x="2827412" y="413217"/>
                  </a:cubicBezTo>
                  <a:cubicBezTo>
                    <a:pt x="2818767" y="411044"/>
                    <a:pt x="2766000" y="398577"/>
                    <a:pt x="2763240" y="404460"/>
                  </a:cubicBezTo>
                  <a:close/>
                  <a:moveTo>
                    <a:pt x="2146113" y="499784"/>
                  </a:moveTo>
                  <a:cubicBezTo>
                    <a:pt x="2161213" y="507705"/>
                    <a:pt x="2174079" y="509343"/>
                    <a:pt x="2174851" y="501087"/>
                  </a:cubicBezTo>
                  <a:cubicBezTo>
                    <a:pt x="2175622" y="492832"/>
                    <a:pt x="2134423" y="493467"/>
                    <a:pt x="2146439" y="499884"/>
                  </a:cubicBezTo>
                  <a:close/>
                  <a:moveTo>
                    <a:pt x="2700367" y="332666"/>
                  </a:moveTo>
                  <a:cubicBezTo>
                    <a:pt x="2707713" y="326716"/>
                    <a:pt x="2635869" y="309269"/>
                    <a:pt x="2651375" y="321569"/>
                  </a:cubicBezTo>
                  <a:cubicBezTo>
                    <a:pt x="2657098" y="325714"/>
                    <a:pt x="2693345" y="338448"/>
                    <a:pt x="2700691" y="332766"/>
                  </a:cubicBezTo>
                  <a:close/>
                  <a:moveTo>
                    <a:pt x="5296001" y="2021426"/>
                  </a:moveTo>
                  <a:cubicBezTo>
                    <a:pt x="5304646" y="2032422"/>
                    <a:pt x="5316782" y="2034795"/>
                    <a:pt x="5328473" y="2042550"/>
                  </a:cubicBezTo>
                  <a:cubicBezTo>
                    <a:pt x="5339025" y="2049602"/>
                    <a:pt x="5343816" y="2059261"/>
                    <a:pt x="5355789" y="2067216"/>
                  </a:cubicBezTo>
                  <a:cubicBezTo>
                    <a:pt x="5362486" y="2071495"/>
                    <a:pt x="5407745" y="2101041"/>
                    <a:pt x="5408961" y="2093354"/>
                  </a:cubicBezTo>
                  <a:cubicBezTo>
                    <a:pt x="5411316" y="2078915"/>
                    <a:pt x="5369671" y="2048599"/>
                    <a:pt x="5352380" y="2038272"/>
                  </a:cubicBezTo>
                  <a:cubicBezTo>
                    <a:pt x="5346819" y="2034929"/>
                    <a:pt x="5281388" y="2002709"/>
                    <a:pt x="5296123" y="2021560"/>
                  </a:cubicBezTo>
                  <a:close/>
                  <a:moveTo>
                    <a:pt x="2893858" y="521476"/>
                  </a:moveTo>
                  <a:cubicBezTo>
                    <a:pt x="2903234" y="527692"/>
                    <a:pt x="2922515" y="530901"/>
                    <a:pt x="2934001" y="533508"/>
                  </a:cubicBezTo>
                  <a:cubicBezTo>
                    <a:pt x="2953687" y="537830"/>
                    <a:pt x="2973130" y="542960"/>
                    <a:pt x="2992207" y="548883"/>
                  </a:cubicBezTo>
                  <a:cubicBezTo>
                    <a:pt x="3021634" y="557800"/>
                    <a:pt x="3051995" y="564515"/>
                    <a:pt x="3082925" y="568937"/>
                  </a:cubicBezTo>
                  <a:cubicBezTo>
                    <a:pt x="3103220" y="572012"/>
                    <a:pt x="3134393" y="574318"/>
                    <a:pt x="3104357" y="557573"/>
                  </a:cubicBezTo>
                  <a:cubicBezTo>
                    <a:pt x="3092180" y="550888"/>
                    <a:pt x="3080286" y="539424"/>
                    <a:pt x="3067623" y="534177"/>
                  </a:cubicBezTo>
                  <a:cubicBezTo>
                    <a:pt x="3048707" y="526289"/>
                    <a:pt x="3037018" y="528862"/>
                    <a:pt x="3021878" y="529497"/>
                  </a:cubicBezTo>
                  <a:cubicBezTo>
                    <a:pt x="3010838" y="529932"/>
                    <a:pt x="3031295" y="522010"/>
                    <a:pt x="3034055" y="521743"/>
                  </a:cubicBezTo>
                  <a:cubicBezTo>
                    <a:pt x="3046759" y="520573"/>
                    <a:pt x="3042619" y="512685"/>
                    <a:pt x="3030930" y="506803"/>
                  </a:cubicBezTo>
                  <a:cubicBezTo>
                    <a:pt x="3019239" y="500920"/>
                    <a:pt x="3021634" y="506535"/>
                    <a:pt x="3013030" y="505366"/>
                  </a:cubicBezTo>
                  <a:cubicBezTo>
                    <a:pt x="3003694" y="504129"/>
                    <a:pt x="2987863" y="496040"/>
                    <a:pt x="2979786" y="497244"/>
                  </a:cubicBezTo>
                  <a:cubicBezTo>
                    <a:pt x="2975200" y="497945"/>
                    <a:pt x="2960304" y="503928"/>
                    <a:pt x="2959491" y="506736"/>
                  </a:cubicBezTo>
                  <a:cubicBezTo>
                    <a:pt x="2958558" y="510078"/>
                    <a:pt x="2941024" y="502458"/>
                    <a:pt x="2935625" y="503159"/>
                  </a:cubicBezTo>
                  <a:cubicBezTo>
                    <a:pt x="2924463" y="504563"/>
                    <a:pt x="2922230" y="513187"/>
                    <a:pt x="2908998" y="514724"/>
                  </a:cubicBezTo>
                  <a:cubicBezTo>
                    <a:pt x="2904005" y="515359"/>
                    <a:pt x="2884644" y="515627"/>
                    <a:pt x="2893695" y="521643"/>
                  </a:cubicBezTo>
                  <a:close/>
                  <a:moveTo>
                    <a:pt x="4121901" y="1134598"/>
                  </a:moveTo>
                  <a:cubicBezTo>
                    <a:pt x="4138381" y="1148870"/>
                    <a:pt x="4136716" y="1158897"/>
                    <a:pt x="4162815" y="1168255"/>
                  </a:cubicBezTo>
                  <a:cubicBezTo>
                    <a:pt x="4178524" y="1173871"/>
                    <a:pt x="4192568" y="1175174"/>
                    <a:pt x="4201457" y="1186271"/>
                  </a:cubicBezTo>
                  <a:cubicBezTo>
                    <a:pt x="4209251" y="1196064"/>
                    <a:pt x="4238759" y="1200576"/>
                    <a:pt x="4252803" y="1208163"/>
                  </a:cubicBezTo>
                  <a:cubicBezTo>
                    <a:pt x="4264655" y="1214547"/>
                    <a:pt x="4290511" y="1232830"/>
                    <a:pt x="4288604" y="1218658"/>
                  </a:cubicBezTo>
                  <a:cubicBezTo>
                    <a:pt x="4288035" y="1214380"/>
                    <a:pt x="4281540" y="1195262"/>
                    <a:pt x="4298953" y="1206258"/>
                  </a:cubicBezTo>
                  <a:cubicBezTo>
                    <a:pt x="4313119" y="1215182"/>
                    <a:pt x="4295626" y="1215048"/>
                    <a:pt x="4300131" y="1223338"/>
                  </a:cubicBezTo>
                  <a:cubicBezTo>
                    <a:pt x="4306219" y="1234568"/>
                    <a:pt x="4329477" y="1251547"/>
                    <a:pt x="4347337" y="1255458"/>
                  </a:cubicBezTo>
                  <a:cubicBezTo>
                    <a:pt x="4358864" y="1257998"/>
                    <a:pt x="4353182" y="1246133"/>
                    <a:pt x="4366048" y="1249876"/>
                  </a:cubicBezTo>
                  <a:cubicBezTo>
                    <a:pt x="4391905" y="1257396"/>
                    <a:pt x="4371772" y="1236206"/>
                    <a:pt x="4361015" y="1227449"/>
                  </a:cubicBezTo>
                  <a:cubicBezTo>
                    <a:pt x="4344008" y="1213611"/>
                    <a:pt x="4319086" y="1204721"/>
                    <a:pt x="4302770" y="1190683"/>
                  </a:cubicBezTo>
                  <a:cubicBezTo>
                    <a:pt x="4292500" y="1181892"/>
                    <a:pt x="4268917" y="1165348"/>
                    <a:pt x="4256619" y="1170094"/>
                  </a:cubicBezTo>
                  <a:cubicBezTo>
                    <a:pt x="4247323" y="1173670"/>
                    <a:pt x="4245456" y="1173436"/>
                    <a:pt x="4234984" y="1162172"/>
                  </a:cubicBezTo>
                  <a:cubicBezTo>
                    <a:pt x="4216516" y="1142686"/>
                    <a:pt x="4206896" y="1123568"/>
                    <a:pt x="4171948" y="1118722"/>
                  </a:cubicBezTo>
                  <a:cubicBezTo>
                    <a:pt x="4156443" y="1116549"/>
                    <a:pt x="4098318" y="1114009"/>
                    <a:pt x="4121901" y="1134398"/>
                  </a:cubicBezTo>
                  <a:close/>
                  <a:moveTo>
                    <a:pt x="4277806" y="1290084"/>
                  </a:moveTo>
                  <a:cubicBezTo>
                    <a:pt x="4299238" y="1298541"/>
                    <a:pt x="4267294" y="1263346"/>
                    <a:pt x="4263235" y="1260003"/>
                  </a:cubicBezTo>
                  <a:cubicBezTo>
                    <a:pt x="4245538" y="1245029"/>
                    <a:pt x="4213188" y="1231025"/>
                    <a:pt x="4192405" y="1232997"/>
                  </a:cubicBezTo>
                  <a:cubicBezTo>
                    <a:pt x="4177265" y="1234367"/>
                    <a:pt x="4265062" y="1284770"/>
                    <a:pt x="4277644" y="1289817"/>
                  </a:cubicBezTo>
                  <a:close/>
                  <a:moveTo>
                    <a:pt x="4224391" y="1222937"/>
                  </a:moveTo>
                  <a:cubicBezTo>
                    <a:pt x="4229261" y="1216452"/>
                    <a:pt x="4171217" y="1199039"/>
                    <a:pt x="4190052" y="1212909"/>
                  </a:cubicBezTo>
                  <a:cubicBezTo>
                    <a:pt x="4200037" y="1220563"/>
                    <a:pt x="4219520" y="1229354"/>
                    <a:pt x="4224391" y="1222937"/>
                  </a:cubicBezTo>
                  <a:close/>
                  <a:moveTo>
                    <a:pt x="4408505" y="1282263"/>
                  </a:moveTo>
                  <a:cubicBezTo>
                    <a:pt x="4420439" y="1289416"/>
                    <a:pt x="4427988" y="1298407"/>
                    <a:pt x="4436594" y="1306663"/>
                  </a:cubicBezTo>
                  <a:cubicBezTo>
                    <a:pt x="4453885" y="1322422"/>
                    <a:pt x="4473733" y="1336122"/>
                    <a:pt x="4495612" y="1347372"/>
                  </a:cubicBezTo>
                  <a:cubicBezTo>
                    <a:pt x="4515500" y="1358168"/>
                    <a:pt x="4584625" y="1388851"/>
                    <a:pt x="4540706" y="1353222"/>
                  </a:cubicBezTo>
                  <a:cubicBezTo>
                    <a:pt x="4528123" y="1343195"/>
                    <a:pt x="4518990" y="1340487"/>
                    <a:pt x="4505231" y="1333435"/>
                  </a:cubicBezTo>
                  <a:cubicBezTo>
                    <a:pt x="4497843" y="1329625"/>
                    <a:pt x="4494028" y="1323408"/>
                    <a:pt x="4488670" y="1318728"/>
                  </a:cubicBezTo>
                  <a:cubicBezTo>
                    <a:pt x="4481485" y="1312579"/>
                    <a:pt x="4471419" y="1310038"/>
                    <a:pt x="4462733" y="1305560"/>
                  </a:cubicBezTo>
                  <a:cubicBezTo>
                    <a:pt x="4454047" y="1301081"/>
                    <a:pt x="4444509" y="1294998"/>
                    <a:pt x="4439962" y="1288614"/>
                  </a:cubicBezTo>
                  <a:cubicBezTo>
                    <a:pt x="4436918" y="1284369"/>
                    <a:pt x="4437851" y="1280793"/>
                    <a:pt x="4429450" y="1278587"/>
                  </a:cubicBezTo>
                  <a:cubicBezTo>
                    <a:pt x="4425391" y="1277517"/>
                    <a:pt x="4398480" y="1276381"/>
                    <a:pt x="4408505" y="1282330"/>
                  </a:cubicBezTo>
                  <a:cubicBezTo>
                    <a:pt x="4430180" y="1295365"/>
                    <a:pt x="4397709" y="1275779"/>
                    <a:pt x="4408505" y="1282263"/>
                  </a:cubicBezTo>
                  <a:close/>
                  <a:moveTo>
                    <a:pt x="1056440" y="10797"/>
                  </a:moveTo>
                  <a:cubicBezTo>
                    <a:pt x="1069511" y="7287"/>
                    <a:pt x="1085097" y="8791"/>
                    <a:pt x="1100359" y="11699"/>
                  </a:cubicBezTo>
                  <a:cubicBezTo>
                    <a:pt x="1102510" y="12100"/>
                    <a:pt x="1123535" y="16746"/>
                    <a:pt x="1120329" y="12200"/>
                  </a:cubicBezTo>
                  <a:cubicBezTo>
                    <a:pt x="1115174" y="4780"/>
                    <a:pt x="1071134" y="2173"/>
                    <a:pt x="1060053" y="2574"/>
                  </a:cubicBezTo>
                  <a:cubicBezTo>
                    <a:pt x="1042153" y="2942"/>
                    <a:pt x="1013659" y="-2071"/>
                    <a:pt x="998113" y="302"/>
                  </a:cubicBezTo>
                  <a:cubicBezTo>
                    <a:pt x="989995" y="1505"/>
                    <a:pt x="1004283" y="6986"/>
                    <a:pt x="1006962" y="7889"/>
                  </a:cubicBezTo>
                  <a:cubicBezTo>
                    <a:pt x="1022589" y="13437"/>
                    <a:pt x="1040042" y="14463"/>
                    <a:pt x="1056440" y="10797"/>
                  </a:cubicBezTo>
                  <a:close/>
                  <a:moveTo>
                    <a:pt x="3890662" y="1777668"/>
                  </a:moveTo>
                  <a:cubicBezTo>
                    <a:pt x="3890662" y="1765368"/>
                    <a:pt x="3922808" y="1760221"/>
                    <a:pt x="3910956" y="1745247"/>
                  </a:cubicBezTo>
                  <a:cubicBezTo>
                    <a:pt x="3906125" y="1739341"/>
                    <a:pt x="3904990" y="1731901"/>
                    <a:pt x="3907872" y="1725193"/>
                  </a:cubicBezTo>
                  <a:cubicBezTo>
                    <a:pt x="3908643" y="1722786"/>
                    <a:pt x="3909454" y="1716436"/>
                    <a:pt x="3901580" y="1718241"/>
                  </a:cubicBezTo>
                  <a:cubicBezTo>
                    <a:pt x="3895166" y="1719711"/>
                    <a:pt x="3894639" y="1725527"/>
                    <a:pt x="3888388" y="1727165"/>
                  </a:cubicBezTo>
                  <a:cubicBezTo>
                    <a:pt x="3882137" y="1728802"/>
                    <a:pt x="3873167" y="1721215"/>
                    <a:pt x="3870326" y="1726463"/>
                  </a:cubicBezTo>
                  <a:cubicBezTo>
                    <a:pt x="3863426" y="1739297"/>
                    <a:pt x="3850031" y="1747252"/>
                    <a:pt x="3849259" y="1762995"/>
                  </a:cubicBezTo>
                  <a:cubicBezTo>
                    <a:pt x="3847799" y="1786057"/>
                    <a:pt x="3826083" y="1798156"/>
                    <a:pt x="3810943" y="1815069"/>
                  </a:cubicBezTo>
                  <a:cubicBezTo>
                    <a:pt x="3805747" y="1820851"/>
                    <a:pt x="3805706" y="1828438"/>
                    <a:pt x="3800592" y="1834053"/>
                  </a:cubicBezTo>
                  <a:cubicBezTo>
                    <a:pt x="3792474" y="1843078"/>
                    <a:pt x="3780297" y="1849662"/>
                    <a:pt x="3771449" y="1858452"/>
                  </a:cubicBezTo>
                  <a:cubicBezTo>
                    <a:pt x="3765442" y="1864502"/>
                    <a:pt x="3770150" y="1869549"/>
                    <a:pt x="3779567" y="1864803"/>
                  </a:cubicBezTo>
                  <a:cubicBezTo>
                    <a:pt x="3794585" y="1857350"/>
                    <a:pt x="3803921" y="1872891"/>
                    <a:pt x="3806681" y="1882217"/>
                  </a:cubicBezTo>
                  <a:cubicBezTo>
                    <a:pt x="3810740" y="1896321"/>
                    <a:pt x="3821821" y="1883453"/>
                    <a:pt x="3818655" y="1876134"/>
                  </a:cubicBezTo>
                  <a:cubicBezTo>
                    <a:pt x="3816504" y="1871154"/>
                    <a:pt x="3809563" y="1869449"/>
                    <a:pt x="3808386" y="1863132"/>
                  </a:cubicBezTo>
                  <a:cubicBezTo>
                    <a:pt x="3807087" y="1856447"/>
                    <a:pt x="3806235" y="1846921"/>
                    <a:pt x="3810131" y="1841874"/>
                  </a:cubicBezTo>
                  <a:cubicBezTo>
                    <a:pt x="3814839" y="1835724"/>
                    <a:pt x="3837407" y="1818879"/>
                    <a:pt x="3852303" y="1826232"/>
                  </a:cubicBezTo>
                  <a:cubicBezTo>
                    <a:pt x="3861234" y="1830577"/>
                    <a:pt x="3885141" y="1862998"/>
                    <a:pt x="3881610" y="1844749"/>
                  </a:cubicBezTo>
                  <a:cubicBezTo>
                    <a:pt x="3876982" y="1820985"/>
                    <a:pt x="3890418" y="1800229"/>
                    <a:pt x="3890621" y="1777601"/>
                  </a:cubicBezTo>
                  <a:cubicBezTo>
                    <a:pt x="3890783" y="1760421"/>
                    <a:pt x="3890336" y="1794948"/>
                    <a:pt x="3890662" y="1777668"/>
                  </a:cubicBezTo>
                  <a:close/>
                  <a:moveTo>
                    <a:pt x="1160594" y="19788"/>
                  </a:moveTo>
                  <a:cubicBezTo>
                    <a:pt x="1170052" y="24433"/>
                    <a:pt x="1140299" y="21559"/>
                    <a:pt x="1137092" y="21358"/>
                  </a:cubicBezTo>
                  <a:cubicBezTo>
                    <a:pt x="1119842" y="20189"/>
                    <a:pt x="1109573" y="23163"/>
                    <a:pt x="1093865" y="22963"/>
                  </a:cubicBezTo>
                  <a:cubicBezTo>
                    <a:pt x="1042031" y="22328"/>
                    <a:pt x="1106042" y="38973"/>
                    <a:pt x="1128772" y="36901"/>
                  </a:cubicBezTo>
                  <a:cubicBezTo>
                    <a:pt x="1134129" y="36399"/>
                    <a:pt x="1132181" y="33558"/>
                    <a:pt x="1138797" y="33825"/>
                  </a:cubicBezTo>
                  <a:cubicBezTo>
                    <a:pt x="1145413" y="34093"/>
                    <a:pt x="1154668" y="36566"/>
                    <a:pt x="1161000" y="35630"/>
                  </a:cubicBezTo>
                  <a:cubicBezTo>
                    <a:pt x="1165059" y="34995"/>
                    <a:pt x="1166236" y="31386"/>
                    <a:pt x="1170539" y="30316"/>
                  </a:cubicBezTo>
                  <a:cubicBezTo>
                    <a:pt x="1181254" y="27676"/>
                    <a:pt x="1196516" y="28712"/>
                    <a:pt x="1209261" y="30082"/>
                  </a:cubicBezTo>
                  <a:cubicBezTo>
                    <a:pt x="1245792" y="34059"/>
                    <a:pt x="1230327" y="22094"/>
                    <a:pt x="1205202" y="15877"/>
                  </a:cubicBezTo>
                  <a:cubicBezTo>
                    <a:pt x="1197652" y="13972"/>
                    <a:pt x="1141801" y="10663"/>
                    <a:pt x="1160553" y="19788"/>
                  </a:cubicBezTo>
                  <a:close/>
                  <a:moveTo>
                    <a:pt x="1035131" y="415824"/>
                  </a:moveTo>
                  <a:cubicBezTo>
                    <a:pt x="1049013" y="424581"/>
                    <a:pt x="1066020" y="424347"/>
                    <a:pt x="1082134" y="421138"/>
                  </a:cubicBezTo>
                  <a:cubicBezTo>
                    <a:pt x="1088669" y="419834"/>
                    <a:pt x="1110953" y="419133"/>
                    <a:pt x="1103159" y="414453"/>
                  </a:cubicBezTo>
                  <a:cubicBezTo>
                    <a:pt x="1090982" y="407033"/>
                    <a:pt x="1069186" y="400014"/>
                    <a:pt x="1051205" y="400750"/>
                  </a:cubicBezTo>
                  <a:cubicBezTo>
                    <a:pt x="1035740" y="401385"/>
                    <a:pt x="1021858" y="407434"/>
                    <a:pt x="1034969" y="415824"/>
                  </a:cubicBezTo>
                  <a:cubicBezTo>
                    <a:pt x="1060703" y="431967"/>
                    <a:pt x="1015811" y="403657"/>
                    <a:pt x="1035131" y="415824"/>
                  </a:cubicBezTo>
                  <a:close/>
                  <a:moveTo>
                    <a:pt x="5491440" y="2368263"/>
                  </a:moveTo>
                  <a:cubicBezTo>
                    <a:pt x="5477396" y="2351551"/>
                    <a:pt x="5473946" y="2336143"/>
                    <a:pt x="5465707" y="2320066"/>
                  </a:cubicBezTo>
                  <a:cubicBezTo>
                    <a:pt x="5460713" y="2311877"/>
                    <a:pt x="5454220" y="2304390"/>
                    <a:pt x="5446466" y="2297839"/>
                  </a:cubicBezTo>
                  <a:cubicBezTo>
                    <a:pt x="5441433" y="2293260"/>
                    <a:pt x="5431084" y="2289115"/>
                    <a:pt x="5428729" y="2285640"/>
                  </a:cubicBezTo>
                  <a:cubicBezTo>
                    <a:pt x="5424264" y="2278955"/>
                    <a:pt x="5426293" y="2276047"/>
                    <a:pt x="5419515" y="2269462"/>
                  </a:cubicBezTo>
                  <a:cubicBezTo>
                    <a:pt x="5412209" y="2262076"/>
                    <a:pt x="5403726" y="2255558"/>
                    <a:pt x="5394309" y="2250010"/>
                  </a:cubicBezTo>
                  <a:cubicBezTo>
                    <a:pt x="5382944" y="2243894"/>
                    <a:pt x="5395364" y="2261474"/>
                    <a:pt x="5395973" y="2264215"/>
                  </a:cubicBezTo>
                  <a:cubicBezTo>
                    <a:pt x="5396379" y="2266120"/>
                    <a:pt x="5383106" y="2270331"/>
                    <a:pt x="5381604" y="2269864"/>
                  </a:cubicBezTo>
                  <a:cubicBezTo>
                    <a:pt x="5376855" y="2268359"/>
                    <a:pt x="5368615" y="2251447"/>
                    <a:pt x="5368981" y="2249007"/>
                  </a:cubicBezTo>
                  <a:cubicBezTo>
                    <a:pt x="5370118" y="2242322"/>
                    <a:pt x="5384324" y="2242757"/>
                    <a:pt x="5384446" y="2236273"/>
                  </a:cubicBezTo>
                  <a:cubicBezTo>
                    <a:pt x="5383391" y="2230491"/>
                    <a:pt x="5381604" y="2224808"/>
                    <a:pt x="5379169" y="2219327"/>
                  </a:cubicBezTo>
                  <a:cubicBezTo>
                    <a:pt x="5374785" y="2208866"/>
                    <a:pt x="5365125" y="2196900"/>
                    <a:pt x="5356967" y="2186338"/>
                  </a:cubicBezTo>
                  <a:cubicBezTo>
                    <a:pt x="5340731" y="2165114"/>
                    <a:pt x="5323358" y="2145695"/>
                    <a:pt x="5310451" y="2124772"/>
                  </a:cubicBezTo>
                  <a:cubicBezTo>
                    <a:pt x="5304322" y="2114745"/>
                    <a:pt x="5291820" y="2104985"/>
                    <a:pt x="5283864" y="2095292"/>
                  </a:cubicBezTo>
                  <a:cubicBezTo>
                    <a:pt x="5275909" y="2085599"/>
                    <a:pt x="5272255" y="2075840"/>
                    <a:pt x="5264666" y="2066080"/>
                  </a:cubicBezTo>
                  <a:cubicBezTo>
                    <a:pt x="5248105" y="2044722"/>
                    <a:pt x="5228378" y="2027108"/>
                    <a:pt x="5207637" y="2007288"/>
                  </a:cubicBezTo>
                  <a:cubicBezTo>
                    <a:pt x="5201670" y="2001539"/>
                    <a:pt x="5201426" y="1993918"/>
                    <a:pt x="5193674" y="1989373"/>
                  </a:cubicBezTo>
                  <a:cubicBezTo>
                    <a:pt x="5181294" y="1981475"/>
                    <a:pt x="5169441" y="1973029"/>
                    <a:pt x="5158158" y="1964071"/>
                  </a:cubicBezTo>
                  <a:cubicBezTo>
                    <a:pt x="5147848" y="1956384"/>
                    <a:pt x="5137335" y="1948629"/>
                    <a:pt x="5127635" y="1940675"/>
                  </a:cubicBezTo>
                  <a:cubicBezTo>
                    <a:pt x="5117933" y="1932720"/>
                    <a:pt x="5106284" y="1931517"/>
                    <a:pt x="5097394" y="1922158"/>
                  </a:cubicBezTo>
                  <a:cubicBezTo>
                    <a:pt x="5082742" y="1906783"/>
                    <a:pt x="5064720" y="1886161"/>
                    <a:pt x="5044628" y="1873493"/>
                  </a:cubicBezTo>
                  <a:cubicBezTo>
                    <a:pt x="5033426" y="1866441"/>
                    <a:pt x="5031680" y="1877972"/>
                    <a:pt x="5021979" y="1873226"/>
                  </a:cubicBezTo>
                  <a:cubicBezTo>
                    <a:pt x="5011588" y="1868179"/>
                    <a:pt x="5024617" y="1891609"/>
                    <a:pt x="5025551" y="1893280"/>
                  </a:cubicBezTo>
                  <a:cubicBezTo>
                    <a:pt x="5040731" y="1921757"/>
                    <a:pt x="4977898" y="1891575"/>
                    <a:pt x="4972460" y="1867443"/>
                  </a:cubicBezTo>
                  <a:cubicBezTo>
                    <a:pt x="4970673" y="1859489"/>
                    <a:pt x="4956224" y="1851868"/>
                    <a:pt x="4952977" y="1843846"/>
                  </a:cubicBezTo>
                  <a:cubicBezTo>
                    <a:pt x="4948430" y="1832950"/>
                    <a:pt x="4962718" y="1833819"/>
                    <a:pt x="4969659" y="1845718"/>
                  </a:cubicBezTo>
                  <a:cubicBezTo>
                    <a:pt x="4974286" y="1853606"/>
                    <a:pt x="4996611" y="1863700"/>
                    <a:pt x="4995718" y="1854442"/>
                  </a:cubicBezTo>
                  <a:cubicBezTo>
                    <a:pt x="4994905" y="1846186"/>
                    <a:pt x="4975423" y="1831379"/>
                    <a:pt x="4964950" y="1825029"/>
                  </a:cubicBezTo>
                  <a:cubicBezTo>
                    <a:pt x="4951962" y="1817007"/>
                    <a:pt x="4937552" y="1818846"/>
                    <a:pt x="4925619" y="1816439"/>
                  </a:cubicBezTo>
                  <a:cubicBezTo>
                    <a:pt x="4914579" y="1814200"/>
                    <a:pt x="4905324" y="1808150"/>
                    <a:pt x="4895258" y="1801298"/>
                  </a:cubicBezTo>
                  <a:cubicBezTo>
                    <a:pt x="4876141" y="1788096"/>
                    <a:pt x="4862786" y="1773958"/>
                    <a:pt x="4845982" y="1760455"/>
                  </a:cubicBezTo>
                  <a:cubicBezTo>
                    <a:pt x="4829178" y="1746951"/>
                    <a:pt x="4807299" y="1735253"/>
                    <a:pt x="4788385" y="1724591"/>
                  </a:cubicBezTo>
                  <a:cubicBezTo>
                    <a:pt x="4764031" y="1710887"/>
                    <a:pt x="4754858" y="1705005"/>
                    <a:pt x="4743249" y="1716135"/>
                  </a:cubicBezTo>
                  <a:cubicBezTo>
                    <a:pt x="4742600" y="1717315"/>
                    <a:pt x="4741017" y="1717937"/>
                    <a:pt x="4739474" y="1717606"/>
                  </a:cubicBezTo>
                  <a:cubicBezTo>
                    <a:pt x="4734929" y="1716001"/>
                    <a:pt x="4740855" y="1704236"/>
                    <a:pt x="4741422" y="1703133"/>
                  </a:cubicBezTo>
                  <a:cubicBezTo>
                    <a:pt x="4744304" y="1697418"/>
                    <a:pt x="4742681" y="1694276"/>
                    <a:pt x="4731641" y="1686421"/>
                  </a:cubicBezTo>
                  <a:cubicBezTo>
                    <a:pt x="4729042" y="1684550"/>
                    <a:pt x="4699534" y="1667570"/>
                    <a:pt x="4710858" y="1668874"/>
                  </a:cubicBezTo>
                  <a:cubicBezTo>
                    <a:pt x="4716826" y="1669542"/>
                    <a:pt x="4713862" y="1664328"/>
                    <a:pt x="4717353" y="1663092"/>
                  </a:cubicBezTo>
                  <a:cubicBezTo>
                    <a:pt x="4722386" y="1661354"/>
                    <a:pt x="4729774" y="1666200"/>
                    <a:pt x="4728312" y="1659549"/>
                  </a:cubicBezTo>
                  <a:cubicBezTo>
                    <a:pt x="4719504" y="1619641"/>
                    <a:pt x="4636823" y="1572648"/>
                    <a:pt x="4586004" y="1549251"/>
                  </a:cubicBezTo>
                  <a:cubicBezTo>
                    <a:pt x="4557591" y="1536182"/>
                    <a:pt x="4532507" y="1521509"/>
                    <a:pt x="4505353" y="1506369"/>
                  </a:cubicBezTo>
                  <a:cubicBezTo>
                    <a:pt x="4489603" y="1497645"/>
                    <a:pt x="4504784" y="1501455"/>
                    <a:pt x="4502958" y="1494871"/>
                  </a:cubicBezTo>
                  <a:cubicBezTo>
                    <a:pt x="4500969" y="1487718"/>
                    <a:pt x="4485302" y="1475485"/>
                    <a:pt x="4475559" y="1470071"/>
                  </a:cubicBezTo>
                  <a:cubicBezTo>
                    <a:pt x="4471785" y="1467998"/>
                    <a:pt x="4465534" y="1468065"/>
                    <a:pt x="4462774" y="1466294"/>
                  </a:cubicBezTo>
                  <a:cubicBezTo>
                    <a:pt x="4456401" y="1462249"/>
                    <a:pt x="4460623" y="1460679"/>
                    <a:pt x="4458390" y="1457169"/>
                  </a:cubicBezTo>
                  <a:cubicBezTo>
                    <a:pt x="4453601" y="1449615"/>
                    <a:pt x="4439760" y="1439555"/>
                    <a:pt x="4429977" y="1433772"/>
                  </a:cubicBezTo>
                  <a:cubicBezTo>
                    <a:pt x="4421859" y="1429127"/>
                    <a:pt x="4408911" y="1415590"/>
                    <a:pt x="4425594" y="1424848"/>
                  </a:cubicBezTo>
                  <a:cubicBezTo>
                    <a:pt x="4430627" y="1427656"/>
                    <a:pt x="4454007" y="1442931"/>
                    <a:pt x="4455630" y="1436847"/>
                  </a:cubicBezTo>
                  <a:cubicBezTo>
                    <a:pt x="4458146" y="1427355"/>
                    <a:pt x="4424822" y="1407936"/>
                    <a:pt x="4412930" y="1400382"/>
                  </a:cubicBezTo>
                  <a:cubicBezTo>
                    <a:pt x="4403431" y="1394266"/>
                    <a:pt x="4369540" y="1370301"/>
                    <a:pt x="4358134" y="1370100"/>
                  </a:cubicBezTo>
                  <a:cubicBezTo>
                    <a:pt x="4347946" y="1370100"/>
                    <a:pt x="4344130" y="1375615"/>
                    <a:pt x="4331791" y="1374646"/>
                  </a:cubicBezTo>
                  <a:cubicBezTo>
                    <a:pt x="4322130" y="1373877"/>
                    <a:pt x="4298223" y="1366725"/>
                    <a:pt x="4298426" y="1357299"/>
                  </a:cubicBezTo>
                  <a:cubicBezTo>
                    <a:pt x="4298426" y="1349645"/>
                    <a:pt x="4355779" y="1374412"/>
                    <a:pt x="4313200" y="1348944"/>
                  </a:cubicBezTo>
                  <a:cubicBezTo>
                    <a:pt x="4309792" y="1346905"/>
                    <a:pt x="4286534" y="1330995"/>
                    <a:pt x="4304027" y="1335908"/>
                  </a:cubicBezTo>
                  <a:cubicBezTo>
                    <a:pt x="4317544" y="1339685"/>
                    <a:pt x="4330086" y="1352419"/>
                    <a:pt x="4343116" y="1358569"/>
                  </a:cubicBezTo>
                  <a:cubicBezTo>
                    <a:pt x="4358905" y="1366090"/>
                    <a:pt x="4343116" y="1352854"/>
                    <a:pt x="4338813" y="1350080"/>
                  </a:cubicBezTo>
                  <a:cubicBezTo>
                    <a:pt x="4324281" y="1340420"/>
                    <a:pt x="4309832" y="1330794"/>
                    <a:pt x="4295260" y="1321202"/>
                  </a:cubicBezTo>
                  <a:cubicBezTo>
                    <a:pt x="4269161" y="1303955"/>
                    <a:pt x="4233969" y="1288614"/>
                    <a:pt x="4211158" y="1270398"/>
                  </a:cubicBezTo>
                  <a:cubicBezTo>
                    <a:pt x="4206571" y="1266688"/>
                    <a:pt x="4182420" y="1248205"/>
                    <a:pt x="4182745" y="1258232"/>
                  </a:cubicBezTo>
                  <a:cubicBezTo>
                    <a:pt x="4183070" y="1269061"/>
                    <a:pt x="4168417" y="1262243"/>
                    <a:pt x="4152708" y="1252650"/>
                  </a:cubicBezTo>
                  <a:cubicBezTo>
                    <a:pt x="4144590" y="1247770"/>
                    <a:pt x="4120034" y="1237476"/>
                    <a:pt x="4116543" y="1243793"/>
                  </a:cubicBezTo>
                  <a:cubicBezTo>
                    <a:pt x="4111754" y="1252349"/>
                    <a:pt x="4144956" y="1258833"/>
                    <a:pt x="4142805" y="1261407"/>
                  </a:cubicBezTo>
                  <a:cubicBezTo>
                    <a:pt x="4140653" y="1263981"/>
                    <a:pt x="4125189" y="1257329"/>
                    <a:pt x="4126001" y="1261207"/>
                  </a:cubicBezTo>
                  <a:cubicBezTo>
                    <a:pt x="4126650" y="1264549"/>
                    <a:pt x="4141587" y="1280024"/>
                    <a:pt x="4128152" y="1278854"/>
                  </a:cubicBezTo>
                  <a:cubicBezTo>
                    <a:pt x="4114717" y="1277684"/>
                    <a:pt x="4108994" y="1267523"/>
                    <a:pt x="4101200" y="1261507"/>
                  </a:cubicBezTo>
                  <a:cubicBezTo>
                    <a:pt x="4095355" y="1256962"/>
                    <a:pt x="4057932" y="1243525"/>
                    <a:pt x="4058337" y="1244160"/>
                  </a:cubicBezTo>
                  <a:cubicBezTo>
                    <a:pt x="4061098" y="1248038"/>
                    <a:pt x="4075101" y="1252984"/>
                    <a:pt x="4074168" y="1257296"/>
                  </a:cubicBezTo>
                  <a:cubicBezTo>
                    <a:pt x="4073234" y="1261608"/>
                    <a:pt x="4052208" y="1250611"/>
                    <a:pt x="4049408" y="1247269"/>
                  </a:cubicBezTo>
                  <a:cubicBezTo>
                    <a:pt x="4045917" y="1243191"/>
                    <a:pt x="4047825" y="1237643"/>
                    <a:pt x="4039544" y="1234568"/>
                  </a:cubicBezTo>
                  <a:cubicBezTo>
                    <a:pt x="4027368" y="1230122"/>
                    <a:pt x="4016246" y="1220597"/>
                    <a:pt x="4006342" y="1214180"/>
                  </a:cubicBezTo>
                  <a:cubicBezTo>
                    <a:pt x="3986047" y="1200810"/>
                    <a:pt x="3966077" y="1202214"/>
                    <a:pt x="3944930" y="1190783"/>
                  </a:cubicBezTo>
                  <a:cubicBezTo>
                    <a:pt x="3932712" y="1184399"/>
                    <a:pt x="3921956" y="1176287"/>
                    <a:pt x="3913148" y="1166818"/>
                  </a:cubicBezTo>
                  <a:cubicBezTo>
                    <a:pt x="3906654" y="1159198"/>
                    <a:pt x="3907668" y="1152680"/>
                    <a:pt x="3892854" y="1153917"/>
                  </a:cubicBezTo>
                  <a:cubicBezTo>
                    <a:pt x="3884370" y="1154652"/>
                    <a:pt x="3879945" y="1158696"/>
                    <a:pt x="3873330" y="1160902"/>
                  </a:cubicBezTo>
                  <a:cubicBezTo>
                    <a:pt x="3867444" y="1162841"/>
                    <a:pt x="3857905" y="1159766"/>
                    <a:pt x="3851005" y="1161404"/>
                  </a:cubicBezTo>
                  <a:cubicBezTo>
                    <a:pt x="3835418" y="1165147"/>
                    <a:pt x="3826408" y="1158329"/>
                    <a:pt x="3812648" y="1147032"/>
                  </a:cubicBezTo>
                  <a:cubicBezTo>
                    <a:pt x="3800024" y="1136670"/>
                    <a:pt x="3787198" y="1121028"/>
                    <a:pt x="3784235" y="1110533"/>
                  </a:cubicBezTo>
                  <a:cubicBezTo>
                    <a:pt x="3783382" y="1107425"/>
                    <a:pt x="3765482" y="1078112"/>
                    <a:pt x="3763940" y="1078413"/>
                  </a:cubicBezTo>
                  <a:cubicBezTo>
                    <a:pt x="3772382" y="1076708"/>
                    <a:pt x="3788294" y="1101442"/>
                    <a:pt x="3803880" y="1097932"/>
                  </a:cubicBezTo>
                  <a:cubicBezTo>
                    <a:pt x="3820116" y="1094256"/>
                    <a:pt x="3788578" y="1080719"/>
                    <a:pt x="3795762" y="1078146"/>
                  </a:cubicBezTo>
                  <a:cubicBezTo>
                    <a:pt x="3804449" y="1075104"/>
                    <a:pt x="3805464" y="1078814"/>
                    <a:pt x="3801486" y="1068553"/>
                  </a:cubicBezTo>
                  <a:cubicBezTo>
                    <a:pt x="3799253" y="1062871"/>
                    <a:pt x="3803150" y="1066614"/>
                    <a:pt x="3807858" y="1065545"/>
                  </a:cubicBezTo>
                  <a:cubicBezTo>
                    <a:pt x="3814678" y="1063941"/>
                    <a:pt x="3796006" y="1054081"/>
                    <a:pt x="3793530" y="1052175"/>
                  </a:cubicBezTo>
                  <a:cubicBezTo>
                    <a:pt x="3782814" y="1044154"/>
                    <a:pt x="3785777" y="1039441"/>
                    <a:pt x="3772545" y="1032556"/>
                  </a:cubicBezTo>
                  <a:cubicBezTo>
                    <a:pt x="3769501" y="1030951"/>
                    <a:pt x="3740073" y="1016446"/>
                    <a:pt x="3739667" y="1020523"/>
                  </a:cubicBezTo>
                  <a:cubicBezTo>
                    <a:pt x="3738936" y="1028879"/>
                    <a:pt x="3724081" y="1010496"/>
                    <a:pt x="3725258" y="1011165"/>
                  </a:cubicBezTo>
                  <a:cubicBezTo>
                    <a:pt x="3707195" y="1000001"/>
                    <a:pt x="3684668" y="991979"/>
                    <a:pt x="3676551" y="977741"/>
                  </a:cubicBezTo>
                  <a:cubicBezTo>
                    <a:pt x="3671599" y="969151"/>
                    <a:pt x="3667418" y="970254"/>
                    <a:pt x="3660315" y="973195"/>
                  </a:cubicBezTo>
                  <a:cubicBezTo>
                    <a:pt x="3653211" y="976137"/>
                    <a:pt x="3625123" y="956784"/>
                    <a:pt x="3629222" y="972460"/>
                  </a:cubicBezTo>
                  <a:cubicBezTo>
                    <a:pt x="3630278" y="976538"/>
                    <a:pt x="3623499" y="989807"/>
                    <a:pt x="3612459" y="983189"/>
                  </a:cubicBezTo>
                  <a:cubicBezTo>
                    <a:pt x="3596223" y="973396"/>
                    <a:pt x="3593260" y="974766"/>
                    <a:pt x="3576172" y="968516"/>
                  </a:cubicBezTo>
                  <a:cubicBezTo>
                    <a:pt x="3559936" y="962567"/>
                    <a:pt x="3542198" y="951804"/>
                    <a:pt x="3526368" y="944652"/>
                  </a:cubicBezTo>
                  <a:cubicBezTo>
                    <a:pt x="3511229" y="937633"/>
                    <a:pt x="3520848" y="933355"/>
                    <a:pt x="3503516" y="932118"/>
                  </a:cubicBezTo>
                  <a:cubicBezTo>
                    <a:pt x="3493409" y="931382"/>
                    <a:pt x="3476362" y="922091"/>
                    <a:pt x="3468406" y="917144"/>
                  </a:cubicBezTo>
                  <a:cubicBezTo>
                    <a:pt x="3444823" y="902471"/>
                    <a:pt x="3478757" y="910861"/>
                    <a:pt x="3480583" y="908186"/>
                  </a:cubicBezTo>
                  <a:cubicBezTo>
                    <a:pt x="3482409" y="905513"/>
                    <a:pt x="3430739" y="884389"/>
                    <a:pt x="3424813" y="881047"/>
                  </a:cubicBezTo>
                  <a:cubicBezTo>
                    <a:pt x="3403097" y="868446"/>
                    <a:pt x="3381990" y="861393"/>
                    <a:pt x="3357230" y="853171"/>
                  </a:cubicBezTo>
                  <a:cubicBezTo>
                    <a:pt x="3341441" y="847924"/>
                    <a:pt x="3320699" y="839367"/>
                    <a:pt x="3304464" y="836961"/>
                  </a:cubicBezTo>
                  <a:cubicBezTo>
                    <a:pt x="3297279" y="835891"/>
                    <a:pt x="3303733" y="843144"/>
                    <a:pt x="3299959" y="844214"/>
                  </a:cubicBezTo>
                  <a:cubicBezTo>
                    <a:pt x="3289933" y="846955"/>
                    <a:pt x="3292327" y="835423"/>
                    <a:pt x="3293220" y="834187"/>
                  </a:cubicBezTo>
                  <a:cubicBezTo>
                    <a:pt x="3294560" y="832482"/>
                    <a:pt x="3299106" y="812495"/>
                    <a:pt x="3283723" y="816506"/>
                  </a:cubicBezTo>
                  <a:cubicBezTo>
                    <a:pt x="3275605" y="818645"/>
                    <a:pt x="3256771" y="817308"/>
                    <a:pt x="3246623" y="807147"/>
                  </a:cubicBezTo>
                  <a:cubicBezTo>
                    <a:pt x="3234446" y="794948"/>
                    <a:pt x="3213177" y="779840"/>
                    <a:pt x="3190123" y="776865"/>
                  </a:cubicBezTo>
                  <a:cubicBezTo>
                    <a:pt x="3183628" y="776030"/>
                    <a:pt x="3172345" y="775161"/>
                    <a:pt x="3169462" y="778102"/>
                  </a:cubicBezTo>
                  <a:cubicBezTo>
                    <a:pt x="3165403" y="782447"/>
                    <a:pt x="3189270" y="786792"/>
                    <a:pt x="3188540" y="789700"/>
                  </a:cubicBezTo>
                  <a:cubicBezTo>
                    <a:pt x="3187687" y="793042"/>
                    <a:pt x="3157407" y="782347"/>
                    <a:pt x="3152943" y="781177"/>
                  </a:cubicBezTo>
                  <a:cubicBezTo>
                    <a:pt x="3142673" y="778436"/>
                    <a:pt x="3132120" y="780007"/>
                    <a:pt x="3120471" y="777634"/>
                  </a:cubicBezTo>
                  <a:cubicBezTo>
                    <a:pt x="3100744" y="773590"/>
                    <a:pt x="3081951" y="767607"/>
                    <a:pt x="3062346" y="762527"/>
                  </a:cubicBezTo>
                  <a:cubicBezTo>
                    <a:pt x="3057313" y="761190"/>
                    <a:pt x="3021228" y="757413"/>
                    <a:pt x="3021472" y="757613"/>
                  </a:cubicBezTo>
                  <a:cubicBezTo>
                    <a:pt x="3013923" y="751163"/>
                    <a:pt x="3054553" y="750594"/>
                    <a:pt x="3059505" y="751630"/>
                  </a:cubicBezTo>
                  <a:cubicBezTo>
                    <a:pt x="3067379" y="753195"/>
                    <a:pt x="3075497" y="753803"/>
                    <a:pt x="3083574" y="753435"/>
                  </a:cubicBezTo>
                  <a:cubicBezTo>
                    <a:pt x="3094006" y="753435"/>
                    <a:pt x="3107928" y="758783"/>
                    <a:pt x="3118523" y="761758"/>
                  </a:cubicBezTo>
                  <a:cubicBezTo>
                    <a:pt x="3133825" y="765936"/>
                    <a:pt x="3155946" y="764432"/>
                    <a:pt x="3171289" y="766103"/>
                  </a:cubicBezTo>
                  <a:cubicBezTo>
                    <a:pt x="3189514" y="768075"/>
                    <a:pt x="3201082" y="765334"/>
                    <a:pt x="3220971" y="768910"/>
                  </a:cubicBezTo>
                  <a:cubicBezTo>
                    <a:pt x="3234324" y="771317"/>
                    <a:pt x="3256203" y="779573"/>
                    <a:pt x="3265620" y="776130"/>
                  </a:cubicBezTo>
                  <a:cubicBezTo>
                    <a:pt x="3276213" y="772219"/>
                    <a:pt x="3298092" y="779138"/>
                    <a:pt x="3313718" y="781611"/>
                  </a:cubicBezTo>
                  <a:cubicBezTo>
                    <a:pt x="3323176" y="783115"/>
                    <a:pt x="3331821" y="783918"/>
                    <a:pt x="3337626" y="781043"/>
                  </a:cubicBezTo>
                  <a:cubicBezTo>
                    <a:pt x="3346393" y="776631"/>
                    <a:pt x="3328168" y="773322"/>
                    <a:pt x="3328209" y="768075"/>
                  </a:cubicBezTo>
                  <a:cubicBezTo>
                    <a:pt x="3328209" y="764732"/>
                    <a:pt x="3347245" y="773623"/>
                    <a:pt x="3351589" y="771818"/>
                  </a:cubicBezTo>
                  <a:cubicBezTo>
                    <a:pt x="3360193" y="768209"/>
                    <a:pt x="3340954" y="762627"/>
                    <a:pt x="3339412" y="760454"/>
                  </a:cubicBezTo>
                  <a:cubicBezTo>
                    <a:pt x="3336935" y="757112"/>
                    <a:pt x="3352157" y="756477"/>
                    <a:pt x="3339980" y="749892"/>
                  </a:cubicBezTo>
                  <a:cubicBezTo>
                    <a:pt x="3336368" y="747954"/>
                    <a:pt x="3320375" y="745547"/>
                    <a:pt x="3322486" y="742539"/>
                  </a:cubicBezTo>
                  <a:cubicBezTo>
                    <a:pt x="3324597" y="739531"/>
                    <a:pt x="3329913" y="729170"/>
                    <a:pt x="3319442" y="725360"/>
                  </a:cubicBezTo>
                  <a:cubicBezTo>
                    <a:pt x="3305276" y="720179"/>
                    <a:pt x="3301582" y="722652"/>
                    <a:pt x="3288837" y="713661"/>
                  </a:cubicBezTo>
                  <a:cubicBezTo>
                    <a:pt x="3273657" y="702932"/>
                    <a:pt x="3254051" y="698353"/>
                    <a:pt x="3239642" y="690465"/>
                  </a:cubicBezTo>
                  <a:cubicBezTo>
                    <a:pt x="3222919" y="681341"/>
                    <a:pt x="3201285" y="678901"/>
                    <a:pt x="3183060" y="669375"/>
                  </a:cubicBezTo>
                  <a:cubicBezTo>
                    <a:pt x="3168245" y="661688"/>
                    <a:pt x="3165403" y="667604"/>
                    <a:pt x="3155702" y="667871"/>
                  </a:cubicBezTo>
                  <a:cubicBezTo>
                    <a:pt x="3146002" y="668138"/>
                    <a:pt x="3130131" y="660651"/>
                    <a:pt x="3121445" y="657075"/>
                  </a:cubicBezTo>
                  <a:cubicBezTo>
                    <a:pt x="3100906" y="648652"/>
                    <a:pt x="3137031" y="650391"/>
                    <a:pt x="3144825" y="648519"/>
                  </a:cubicBezTo>
                  <a:cubicBezTo>
                    <a:pt x="3148884" y="647549"/>
                    <a:pt x="3104478" y="632275"/>
                    <a:pt x="3099080" y="630236"/>
                  </a:cubicBezTo>
                  <a:cubicBezTo>
                    <a:pt x="3092260" y="627629"/>
                    <a:pt x="3090191" y="624988"/>
                    <a:pt x="3084142" y="622047"/>
                  </a:cubicBezTo>
                  <a:cubicBezTo>
                    <a:pt x="3075213" y="617702"/>
                    <a:pt x="3052807" y="612254"/>
                    <a:pt x="3046516" y="607508"/>
                  </a:cubicBezTo>
                  <a:cubicBezTo>
                    <a:pt x="3051590" y="611318"/>
                    <a:pt x="3097010" y="617301"/>
                    <a:pt x="3104235" y="617836"/>
                  </a:cubicBezTo>
                  <a:cubicBezTo>
                    <a:pt x="3123109" y="619206"/>
                    <a:pt x="3070220" y="594807"/>
                    <a:pt x="3068638" y="594038"/>
                  </a:cubicBezTo>
                  <a:cubicBezTo>
                    <a:pt x="3046273" y="582306"/>
                    <a:pt x="3031822" y="578964"/>
                    <a:pt x="3006698" y="573483"/>
                  </a:cubicBezTo>
                  <a:cubicBezTo>
                    <a:pt x="2981573" y="568001"/>
                    <a:pt x="2975281" y="570542"/>
                    <a:pt x="2954986" y="571277"/>
                  </a:cubicBezTo>
                  <a:cubicBezTo>
                    <a:pt x="2947599" y="571544"/>
                    <a:pt x="2915168" y="568503"/>
                    <a:pt x="2917846" y="575589"/>
                  </a:cubicBezTo>
                  <a:cubicBezTo>
                    <a:pt x="2920119" y="577387"/>
                    <a:pt x="2922555" y="579061"/>
                    <a:pt x="2925112" y="580602"/>
                  </a:cubicBezTo>
                  <a:cubicBezTo>
                    <a:pt x="2924827" y="582510"/>
                    <a:pt x="2924219" y="584372"/>
                    <a:pt x="2923245" y="586117"/>
                  </a:cubicBezTo>
                  <a:cubicBezTo>
                    <a:pt x="2923245" y="591164"/>
                    <a:pt x="2906238" y="584145"/>
                    <a:pt x="2902463" y="582540"/>
                  </a:cubicBezTo>
                  <a:cubicBezTo>
                    <a:pt x="2887932" y="576478"/>
                    <a:pt x="2872630" y="571835"/>
                    <a:pt x="2856800" y="568703"/>
                  </a:cubicBezTo>
                  <a:cubicBezTo>
                    <a:pt x="2831471" y="563990"/>
                    <a:pt x="2869545" y="582306"/>
                    <a:pt x="2866866" y="583978"/>
                  </a:cubicBezTo>
                  <a:cubicBezTo>
                    <a:pt x="2864187" y="585649"/>
                    <a:pt x="2825870" y="565628"/>
                    <a:pt x="2814870" y="565795"/>
                  </a:cubicBezTo>
                  <a:cubicBezTo>
                    <a:pt x="2805250" y="565795"/>
                    <a:pt x="2803424" y="568803"/>
                    <a:pt x="2791328" y="563890"/>
                  </a:cubicBezTo>
                  <a:cubicBezTo>
                    <a:pt x="2787269" y="562286"/>
                    <a:pt x="2761982" y="555401"/>
                    <a:pt x="2762509" y="554130"/>
                  </a:cubicBezTo>
                  <a:cubicBezTo>
                    <a:pt x="2763646" y="551189"/>
                    <a:pt x="2791613" y="552560"/>
                    <a:pt x="2769572" y="545674"/>
                  </a:cubicBezTo>
                  <a:cubicBezTo>
                    <a:pt x="2749764" y="539524"/>
                    <a:pt x="2744082" y="547178"/>
                    <a:pt x="2728089" y="537653"/>
                  </a:cubicBezTo>
                  <a:cubicBezTo>
                    <a:pt x="2720702" y="533241"/>
                    <a:pt x="2714086" y="534310"/>
                    <a:pt x="2705805" y="533675"/>
                  </a:cubicBezTo>
                  <a:cubicBezTo>
                    <a:pt x="2692411" y="532706"/>
                    <a:pt x="2685510" y="530132"/>
                    <a:pt x="2672562" y="525720"/>
                  </a:cubicBezTo>
                  <a:cubicBezTo>
                    <a:pt x="2642445" y="515426"/>
                    <a:pt x="2679584" y="537285"/>
                    <a:pt x="2679584" y="537084"/>
                  </a:cubicBezTo>
                  <a:cubicBezTo>
                    <a:pt x="2679584" y="536884"/>
                    <a:pt x="2580870" y="515426"/>
                    <a:pt x="2575106" y="513989"/>
                  </a:cubicBezTo>
                  <a:cubicBezTo>
                    <a:pt x="2563539" y="510646"/>
                    <a:pt x="2560048" y="511816"/>
                    <a:pt x="2550996" y="512652"/>
                  </a:cubicBezTo>
                  <a:cubicBezTo>
                    <a:pt x="2540280" y="513655"/>
                    <a:pt x="2526033" y="508340"/>
                    <a:pt x="2514466" y="507538"/>
                  </a:cubicBezTo>
                  <a:cubicBezTo>
                    <a:pt x="2503547" y="506836"/>
                    <a:pt x="2498716" y="511515"/>
                    <a:pt x="2486053" y="507538"/>
                  </a:cubicBezTo>
                  <a:cubicBezTo>
                    <a:pt x="2483414" y="506736"/>
                    <a:pt x="2460969" y="493099"/>
                    <a:pt x="2459344" y="499316"/>
                  </a:cubicBezTo>
                  <a:cubicBezTo>
                    <a:pt x="2458980" y="500753"/>
                    <a:pt x="2472292" y="505399"/>
                    <a:pt x="2459588" y="504329"/>
                  </a:cubicBezTo>
                  <a:cubicBezTo>
                    <a:pt x="2455895" y="503995"/>
                    <a:pt x="2438238" y="498580"/>
                    <a:pt x="2437832" y="502591"/>
                  </a:cubicBezTo>
                  <a:cubicBezTo>
                    <a:pt x="2437832" y="504129"/>
                    <a:pt x="2459629" y="509276"/>
                    <a:pt x="2447411" y="511983"/>
                  </a:cubicBezTo>
                  <a:cubicBezTo>
                    <a:pt x="2442622" y="513120"/>
                    <a:pt x="2431175" y="506903"/>
                    <a:pt x="2427116" y="505299"/>
                  </a:cubicBezTo>
                  <a:cubicBezTo>
                    <a:pt x="2420216" y="502591"/>
                    <a:pt x="2411529" y="502658"/>
                    <a:pt x="2420662" y="507839"/>
                  </a:cubicBezTo>
                  <a:cubicBezTo>
                    <a:pt x="2428456" y="512284"/>
                    <a:pt x="2442703" y="513788"/>
                    <a:pt x="2447005" y="519571"/>
                  </a:cubicBezTo>
                  <a:cubicBezTo>
                    <a:pt x="2455895" y="531536"/>
                    <a:pt x="2413884" y="510814"/>
                    <a:pt x="2420013" y="518601"/>
                  </a:cubicBezTo>
                  <a:cubicBezTo>
                    <a:pt x="2423706" y="523214"/>
                    <a:pt x="2457274" y="534043"/>
                    <a:pt x="2439780" y="538655"/>
                  </a:cubicBezTo>
                  <a:cubicBezTo>
                    <a:pt x="2423544" y="542900"/>
                    <a:pt x="2434869" y="540026"/>
                    <a:pt x="2416603" y="533776"/>
                  </a:cubicBezTo>
                  <a:cubicBezTo>
                    <a:pt x="2410718" y="531804"/>
                    <a:pt x="2399678" y="528361"/>
                    <a:pt x="2394157" y="529598"/>
                  </a:cubicBezTo>
                  <a:cubicBezTo>
                    <a:pt x="2383279" y="532104"/>
                    <a:pt x="2383767" y="530199"/>
                    <a:pt x="2373376" y="525954"/>
                  </a:cubicBezTo>
                  <a:cubicBezTo>
                    <a:pt x="2356611" y="519069"/>
                    <a:pt x="2329823" y="516429"/>
                    <a:pt x="2311395" y="511983"/>
                  </a:cubicBezTo>
                  <a:cubicBezTo>
                    <a:pt x="2288503" y="506502"/>
                    <a:pt x="2265244" y="500720"/>
                    <a:pt x="2242108" y="496742"/>
                  </a:cubicBezTo>
                  <a:cubicBezTo>
                    <a:pt x="2226278" y="494001"/>
                    <a:pt x="2202492" y="497377"/>
                    <a:pt x="2215360" y="508608"/>
                  </a:cubicBezTo>
                  <a:cubicBezTo>
                    <a:pt x="2228227" y="519838"/>
                    <a:pt x="2202452" y="517899"/>
                    <a:pt x="2223478" y="530099"/>
                  </a:cubicBezTo>
                  <a:cubicBezTo>
                    <a:pt x="2236953" y="537954"/>
                    <a:pt x="2261754" y="544304"/>
                    <a:pt x="2270197" y="553495"/>
                  </a:cubicBezTo>
                  <a:cubicBezTo>
                    <a:pt x="2281115" y="565428"/>
                    <a:pt x="2263134" y="568202"/>
                    <a:pt x="2245599" y="560481"/>
                  </a:cubicBezTo>
                  <a:cubicBezTo>
                    <a:pt x="2226278" y="552025"/>
                    <a:pt x="2214588" y="540427"/>
                    <a:pt x="2195836" y="531837"/>
                  </a:cubicBezTo>
                  <a:cubicBezTo>
                    <a:pt x="2178423" y="523892"/>
                    <a:pt x="2160076" y="517472"/>
                    <a:pt x="2141040" y="512685"/>
                  </a:cubicBezTo>
                  <a:cubicBezTo>
                    <a:pt x="2124519" y="508574"/>
                    <a:pt x="2125129" y="500352"/>
                    <a:pt x="2105564" y="498079"/>
                  </a:cubicBezTo>
                  <a:cubicBezTo>
                    <a:pt x="2099476" y="497377"/>
                    <a:pt x="2087258" y="496709"/>
                    <a:pt x="2084539" y="499683"/>
                  </a:cubicBezTo>
                  <a:cubicBezTo>
                    <a:pt x="2081819" y="502658"/>
                    <a:pt x="2105768" y="504597"/>
                    <a:pt x="2105077" y="507237"/>
                  </a:cubicBezTo>
                  <a:cubicBezTo>
                    <a:pt x="2103169" y="507815"/>
                    <a:pt x="2101302" y="508531"/>
                    <a:pt x="2099517" y="509376"/>
                  </a:cubicBezTo>
                  <a:cubicBezTo>
                    <a:pt x="2100003" y="511114"/>
                    <a:pt x="2117701" y="517431"/>
                    <a:pt x="2119202" y="518167"/>
                  </a:cubicBezTo>
                  <a:cubicBezTo>
                    <a:pt x="2130121" y="523448"/>
                    <a:pt x="2113764" y="521843"/>
                    <a:pt x="2108934" y="520807"/>
                  </a:cubicBezTo>
                  <a:cubicBezTo>
                    <a:pt x="2094443" y="517766"/>
                    <a:pt x="2086040" y="509410"/>
                    <a:pt x="2071550" y="507137"/>
                  </a:cubicBezTo>
                  <a:cubicBezTo>
                    <a:pt x="2062945" y="505767"/>
                    <a:pt x="2046912" y="505834"/>
                    <a:pt x="2050362" y="512017"/>
                  </a:cubicBezTo>
                  <a:cubicBezTo>
                    <a:pt x="2059535" y="528528"/>
                    <a:pt x="2094118" y="531804"/>
                    <a:pt x="2109623" y="544471"/>
                  </a:cubicBezTo>
                  <a:cubicBezTo>
                    <a:pt x="2113114" y="547312"/>
                    <a:pt x="2122409" y="552693"/>
                    <a:pt x="2124438" y="555167"/>
                  </a:cubicBezTo>
                  <a:cubicBezTo>
                    <a:pt x="2128944" y="560648"/>
                    <a:pt x="2104143" y="552493"/>
                    <a:pt x="2101830" y="551356"/>
                  </a:cubicBezTo>
                  <a:cubicBezTo>
                    <a:pt x="2077477" y="538555"/>
                    <a:pt x="2067816" y="532907"/>
                    <a:pt x="2037414" y="526289"/>
                  </a:cubicBezTo>
                  <a:cubicBezTo>
                    <a:pt x="2030473" y="524751"/>
                    <a:pt x="2014481" y="521810"/>
                    <a:pt x="2016307" y="516529"/>
                  </a:cubicBezTo>
                  <a:cubicBezTo>
                    <a:pt x="2017728" y="514868"/>
                    <a:pt x="2019270" y="513273"/>
                    <a:pt x="2020934" y="511749"/>
                  </a:cubicBezTo>
                  <a:cubicBezTo>
                    <a:pt x="2022193" y="508808"/>
                    <a:pt x="2015861" y="506435"/>
                    <a:pt x="2018337" y="503159"/>
                  </a:cubicBezTo>
                  <a:cubicBezTo>
                    <a:pt x="2024507" y="494971"/>
                    <a:pt x="2059495" y="484208"/>
                    <a:pt x="2025400" y="470672"/>
                  </a:cubicBezTo>
                  <a:cubicBezTo>
                    <a:pt x="2012370" y="465525"/>
                    <a:pt x="2009691" y="487150"/>
                    <a:pt x="1999179" y="490291"/>
                  </a:cubicBezTo>
                  <a:cubicBezTo>
                    <a:pt x="1985094" y="494469"/>
                    <a:pt x="1964880" y="487785"/>
                    <a:pt x="1951810" y="492598"/>
                  </a:cubicBezTo>
                  <a:cubicBezTo>
                    <a:pt x="1948928" y="493667"/>
                    <a:pt x="1931515" y="494336"/>
                    <a:pt x="1936670" y="498046"/>
                  </a:cubicBezTo>
                  <a:cubicBezTo>
                    <a:pt x="1942231" y="502277"/>
                    <a:pt x="1947426" y="506823"/>
                    <a:pt x="1952216" y="511649"/>
                  </a:cubicBezTo>
                  <a:cubicBezTo>
                    <a:pt x="1963134" y="521977"/>
                    <a:pt x="1974337" y="529664"/>
                    <a:pt x="1960334" y="536550"/>
                  </a:cubicBezTo>
                  <a:cubicBezTo>
                    <a:pt x="1944098" y="544705"/>
                    <a:pt x="1935047" y="553261"/>
                    <a:pt x="1933788" y="566631"/>
                  </a:cubicBezTo>
                  <a:cubicBezTo>
                    <a:pt x="1932692" y="578262"/>
                    <a:pt x="1990614" y="581270"/>
                    <a:pt x="2002142" y="582942"/>
                  </a:cubicBezTo>
                  <a:cubicBezTo>
                    <a:pt x="2024993" y="586284"/>
                    <a:pt x="2046790" y="600355"/>
                    <a:pt x="2064324" y="609246"/>
                  </a:cubicBezTo>
                  <a:cubicBezTo>
                    <a:pt x="2071022" y="612588"/>
                    <a:pt x="2074878" y="623451"/>
                    <a:pt x="2073052" y="626994"/>
                  </a:cubicBezTo>
                  <a:cubicBezTo>
                    <a:pt x="2071509" y="630002"/>
                    <a:pt x="2058724" y="628698"/>
                    <a:pt x="2054827" y="630838"/>
                  </a:cubicBezTo>
                  <a:cubicBezTo>
                    <a:pt x="2039281" y="639327"/>
                    <a:pt x="2085391" y="648485"/>
                    <a:pt x="2087299" y="655337"/>
                  </a:cubicBezTo>
                  <a:cubicBezTo>
                    <a:pt x="2087948" y="657510"/>
                    <a:pt x="2061687" y="649120"/>
                    <a:pt x="2059982" y="648652"/>
                  </a:cubicBezTo>
                  <a:cubicBezTo>
                    <a:pt x="2046140" y="643839"/>
                    <a:pt x="2042610" y="639996"/>
                    <a:pt x="2039078" y="632442"/>
                  </a:cubicBezTo>
                  <a:cubicBezTo>
                    <a:pt x="2035547" y="624888"/>
                    <a:pt x="2054056" y="625055"/>
                    <a:pt x="2050402" y="617936"/>
                  </a:cubicBezTo>
                  <a:cubicBezTo>
                    <a:pt x="2047927" y="613090"/>
                    <a:pt x="2031934" y="599319"/>
                    <a:pt x="2024060" y="596010"/>
                  </a:cubicBezTo>
                  <a:cubicBezTo>
                    <a:pt x="2009691" y="589894"/>
                    <a:pt x="1959644" y="583811"/>
                    <a:pt x="1956518" y="593203"/>
                  </a:cubicBezTo>
                  <a:cubicBezTo>
                    <a:pt x="1954367" y="599620"/>
                    <a:pt x="1965205" y="609714"/>
                    <a:pt x="1961592" y="615195"/>
                  </a:cubicBezTo>
                  <a:cubicBezTo>
                    <a:pt x="1957980" y="620677"/>
                    <a:pt x="1939674" y="620911"/>
                    <a:pt x="1930988" y="623518"/>
                  </a:cubicBezTo>
                  <a:cubicBezTo>
                    <a:pt x="1920718" y="626660"/>
                    <a:pt x="1922870" y="630637"/>
                    <a:pt x="1906634" y="631038"/>
                  </a:cubicBezTo>
                  <a:cubicBezTo>
                    <a:pt x="1894051" y="631339"/>
                    <a:pt x="1871483" y="629634"/>
                    <a:pt x="1863771" y="634782"/>
                  </a:cubicBezTo>
                  <a:cubicBezTo>
                    <a:pt x="1856059" y="639929"/>
                    <a:pt x="1852325" y="640798"/>
                    <a:pt x="1836535" y="633445"/>
                  </a:cubicBezTo>
                  <a:cubicBezTo>
                    <a:pt x="1819244" y="625423"/>
                    <a:pt x="1800410" y="628565"/>
                    <a:pt x="1783769" y="621345"/>
                  </a:cubicBezTo>
                  <a:cubicBezTo>
                    <a:pt x="1779263" y="619373"/>
                    <a:pt x="1776462" y="616064"/>
                    <a:pt x="1771267" y="614661"/>
                  </a:cubicBezTo>
                  <a:cubicBezTo>
                    <a:pt x="1764123" y="612655"/>
                    <a:pt x="1756817" y="614360"/>
                    <a:pt x="1751216" y="609814"/>
                  </a:cubicBezTo>
                  <a:cubicBezTo>
                    <a:pt x="1739444" y="600255"/>
                    <a:pt x="1768020" y="600790"/>
                    <a:pt x="1768101" y="609279"/>
                  </a:cubicBezTo>
                  <a:cubicBezTo>
                    <a:pt x="1768101" y="614594"/>
                    <a:pt x="1791034" y="610015"/>
                    <a:pt x="1797001" y="615964"/>
                  </a:cubicBezTo>
                  <a:cubicBezTo>
                    <a:pt x="1805849" y="624821"/>
                    <a:pt x="1815753" y="618638"/>
                    <a:pt x="1825414" y="621178"/>
                  </a:cubicBezTo>
                  <a:cubicBezTo>
                    <a:pt x="1840513" y="625189"/>
                    <a:pt x="1830690" y="616064"/>
                    <a:pt x="1845709" y="616165"/>
                  </a:cubicBezTo>
                  <a:cubicBezTo>
                    <a:pt x="1854557" y="615901"/>
                    <a:pt x="1863041" y="613220"/>
                    <a:pt x="1869819" y="608544"/>
                  </a:cubicBezTo>
                  <a:cubicBezTo>
                    <a:pt x="1872133" y="606706"/>
                    <a:pt x="1889099" y="603564"/>
                    <a:pt x="1894741" y="604834"/>
                  </a:cubicBezTo>
                  <a:cubicBezTo>
                    <a:pt x="1906593" y="607475"/>
                    <a:pt x="1903346" y="592434"/>
                    <a:pt x="1910977" y="590195"/>
                  </a:cubicBezTo>
                  <a:cubicBezTo>
                    <a:pt x="1922748" y="586852"/>
                    <a:pt x="1924655" y="587387"/>
                    <a:pt x="1912073" y="578864"/>
                  </a:cubicBezTo>
                  <a:cubicBezTo>
                    <a:pt x="1901682" y="571812"/>
                    <a:pt x="1896852" y="567634"/>
                    <a:pt x="1898313" y="560381"/>
                  </a:cubicBezTo>
                  <a:cubicBezTo>
                    <a:pt x="1899774" y="553128"/>
                    <a:pt x="1903955" y="546477"/>
                    <a:pt x="1905335" y="539257"/>
                  </a:cubicBezTo>
                  <a:cubicBezTo>
                    <a:pt x="1907283" y="529230"/>
                    <a:pt x="1913778" y="524216"/>
                    <a:pt x="1920637" y="515493"/>
                  </a:cubicBezTo>
                  <a:cubicBezTo>
                    <a:pt x="1933260" y="499316"/>
                    <a:pt x="1868804" y="487350"/>
                    <a:pt x="1913899" y="480532"/>
                  </a:cubicBezTo>
                  <a:cubicBezTo>
                    <a:pt x="1930541" y="478058"/>
                    <a:pt x="1949131" y="458472"/>
                    <a:pt x="1928309" y="449414"/>
                  </a:cubicBezTo>
                  <a:cubicBezTo>
                    <a:pt x="1905660" y="439588"/>
                    <a:pt x="1877084" y="435443"/>
                    <a:pt x="1851878" y="429360"/>
                  </a:cubicBezTo>
                  <a:cubicBezTo>
                    <a:pt x="1842177" y="426987"/>
                    <a:pt x="1825738" y="420737"/>
                    <a:pt x="1817458" y="423645"/>
                  </a:cubicBezTo>
                  <a:cubicBezTo>
                    <a:pt x="1806255" y="428070"/>
                    <a:pt x="1795783" y="433689"/>
                    <a:pt x="1786366" y="440357"/>
                  </a:cubicBezTo>
                  <a:cubicBezTo>
                    <a:pt x="1776990" y="446440"/>
                    <a:pt x="1772728" y="453024"/>
                    <a:pt x="1755680" y="454628"/>
                  </a:cubicBezTo>
                  <a:cubicBezTo>
                    <a:pt x="1743909" y="455731"/>
                    <a:pt x="1728688" y="453559"/>
                    <a:pt x="1717932" y="455665"/>
                  </a:cubicBezTo>
                  <a:cubicBezTo>
                    <a:pt x="1705755" y="458105"/>
                    <a:pt x="1698327" y="467864"/>
                    <a:pt x="1719312" y="471039"/>
                  </a:cubicBezTo>
                  <a:cubicBezTo>
                    <a:pt x="1733802" y="473245"/>
                    <a:pt x="1724995" y="483707"/>
                    <a:pt x="1717486" y="485044"/>
                  </a:cubicBezTo>
                  <a:cubicBezTo>
                    <a:pt x="1714482" y="485612"/>
                    <a:pt x="1718257" y="489757"/>
                    <a:pt x="1717242" y="491027"/>
                  </a:cubicBezTo>
                  <a:cubicBezTo>
                    <a:pt x="1715172" y="493634"/>
                    <a:pt x="1704213" y="493801"/>
                    <a:pt x="1700316" y="495806"/>
                  </a:cubicBezTo>
                  <a:cubicBezTo>
                    <a:pt x="1689722" y="501254"/>
                    <a:pt x="1709043" y="506569"/>
                    <a:pt x="1718662" y="509945"/>
                  </a:cubicBezTo>
                  <a:cubicBezTo>
                    <a:pt x="1736035" y="515994"/>
                    <a:pt x="1740784" y="519103"/>
                    <a:pt x="1744437" y="528796"/>
                  </a:cubicBezTo>
                  <a:cubicBezTo>
                    <a:pt x="1747238" y="536182"/>
                    <a:pt x="1772119" y="541262"/>
                    <a:pt x="1765016" y="546677"/>
                  </a:cubicBezTo>
                  <a:cubicBezTo>
                    <a:pt x="1748253" y="559445"/>
                    <a:pt x="1735751" y="554197"/>
                    <a:pt x="1717648" y="540828"/>
                  </a:cubicBezTo>
                  <a:cubicBezTo>
                    <a:pt x="1697881" y="526222"/>
                    <a:pt x="1671051" y="515627"/>
                    <a:pt x="1643693" y="504764"/>
                  </a:cubicBezTo>
                  <a:cubicBezTo>
                    <a:pt x="1617878" y="494503"/>
                    <a:pt x="1593403" y="480264"/>
                    <a:pt x="1564137" y="473546"/>
                  </a:cubicBezTo>
                  <a:cubicBezTo>
                    <a:pt x="1545588" y="469201"/>
                    <a:pt x="1483323" y="461547"/>
                    <a:pt x="1473379" y="451086"/>
                  </a:cubicBezTo>
                  <a:cubicBezTo>
                    <a:pt x="1467574" y="444802"/>
                    <a:pt x="1410667" y="416659"/>
                    <a:pt x="1410749" y="433171"/>
                  </a:cubicBezTo>
                  <a:cubicBezTo>
                    <a:pt x="1410749" y="448311"/>
                    <a:pt x="1467574" y="450450"/>
                    <a:pt x="1469685" y="461480"/>
                  </a:cubicBezTo>
                  <a:cubicBezTo>
                    <a:pt x="1470497" y="465658"/>
                    <a:pt x="1468548" y="468366"/>
                    <a:pt x="1472323" y="472778"/>
                  </a:cubicBezTo>
                  <a:cubicBezTo>
                    <a:pt x="1475327" y="476354"/>
                    <a:pt x="1482836" y="480197"/>
                    <a:pt x="1484297" y="483841"/>
                  </a:cubicBezTo>
                  <a:cubicBezTo>
                    <a:pt x="1487950" y="492932"/>
                    <a:pt x="1460634" y="486581"/>
                    <a:pt x="1452272" y="486047"/>
                  </a:cubicBezTo>
                  <a:cubicBezTo>
                    <a:pt x="1435427" y="484910"/>
                    <a:pt x="1451379" y="495305"/>
                    <a:pt x="1438350" y="493734"/>
                  </a:cubicBezTo>
                  <a:cubicBezTo>
                    <a:pt x="1420287" y="491562"/>
                    <a:pt x="1412494" y="484242"/>
                    <a:pt x="1427066" y="480365"/>
                  </a:cubicBezTo>
                  <a:cubicBezTo>
                    <a:pt x="1434291" y="478393"/>
                    <a:pt x="1409409" y="468967"/>
                    <a:pt x="1404904" y="468499"/>
                  </a:cubicBezTo>
                  <a:cubicBezTo>
                    <a:pt x="1393335" y="467296"/>
                    <a:pt x="1380793" y="469669"/>
                    <a:pt x="1370605" y="470906"/>
                  </a:cubicBezTo>
                  <a:cubicBezTo>
                    <a:pt x="1360417" y="472142"/>
                    <a:pt x="1351447" y="473981"/>
                    <a:pt x="1339514" y="471441"/>
                  </a:cubicBezTo>
                  <a:cubicBezTo>
                    <a:pt x="1319787" y="467296"/>
                    <a:pt x="1296448" y="460778"/>
                    <a:pt x="1277493" y="464488"/>
                  </a:cubicBezTo>
                  <a:cubicBezTo>
                    <a:pt x="1272460" y="465491"/>
                    <a:pt x="1264057" y="471674"/>
                    <a:pt x="1257198" y="469870"/>
                  </a:cubicBezTo>
                  <a:cubicBezTo>
                    <a:pt x="1243965" y="466360"/>
                    <a:pt x="1229150" y="466527"/>
                    <a:pt x="1215837" y="462784"/>
                  </a:cubicBezTo>
                  <a:cubicBezTo>
                    <a:pt x="1192092" y="456333"/>
                    <a:pt x="1220221" y="458372"/>
                    <a:pt x="1227202" y="458706"/>
                  </a:cubicBezTo>
                  <a:cubicBezTo>
                    <a:pt x="1234183" y="459040"/>
                    <a:pt x="1232641" y="456467"/>
                    <a:pt x="1229800" y="454161"/>
                  </a:cubicBezTo>
                  <a:cubicBezTo>
                    <a:pt x="1225132" y="450350"/>
                    <a:pt x="1235198" y="447476"/>
                    <a:pt x="1238527" y="445537"/>
                  </a:cubicBezTo>
                  <a:cubicBezTo>
                    <a:pt x="1244655" y="441894"/>
                    <a:pt x="1197937" y="441827"/>
                    <a:pt x="1191117" y="443498"/>
                  </a:cubicBezTo>
                  <a:cubicBezTo>
                    <a:pt x="1181620" y="445771"/>
                    <a:pt x="1186734" y="457703"/>
                    <a:pt x="1172365" y="447509"/>
                  </a:cubicBezTo>
                  <a:cubicBezTo>
                    <a:pt x="1165384" y="442529"/>
                    <a:pt x="1148254" y="443030"/>
                    <a:pt x="1139000" y="442730"/>
                  </a:cubicBezTo>
                  <a:cubicBezTo>
                    <a:pt x="1125322" y="442128"/>
                    <a:pt x="1111643" y="442319"/>
                    <a:pt x="1098005" y="443298"/>
                  </a:cubicBezTo>
                  <a:cubicBezTo>
                    <a:pt x="1086477" y="444234"/>
                    <a:pt x="1078237" y="447710"/>
                    <a:pt x="1066304" y="448378"/>
                  </a:cubicBezTo>
                  <a:cubicBezTo>
                    <a:pt x="1057415" y="448846"/>
                    <a:pt x="1051164" y="452088"/>
                    <a:pt x="1043696" y="452255"/>
                  </a:cubicBezTo>
                  <a:cubicBezTo>
                    <a:pt x="1031519" y="452523"/>
                    <a:pt x="1007773" y="447910"/>
                    <a:pt x="1003755" y="455330"/>
                  </a:cubicBezTo>
                  <a:cubicBezTo>
                    <a:pt x="1001360" y="459709"/>
                    <a:pt x="1005419" y="468967"/>
                    <a:pt x="993405" y="469602"/>
                  </a:cubicBezTo>
                  <a:cubicBezTo>
                    <a:pt x="981390" y="470237"/>
                    <a:pt x="967387" y="468031"/>
                    <a:pt x="955250" y="466460"/>
                  </a:cubicBezTo>
                  <a:cubicBezTo>
                    <a:pt x="943114" y="464890"/>
                    <a:pt x="933860" y="464622"/>
                    <a:pt x="927284" y="458238"/>
                  </a:cubicBezTo>
                  <a:cubicBezTo>
                    <a:pt x="922170" y="453258"/>
                    <a:pt x="906543" y="446607"/>
                    <a:pt x="910074" y="441961"/>
                  </a:cubicBezTo>
                  <a:cubicBezTo>
                    <a:pt x="915959" y="434207"/>
                    <a:pt x="926310" y="438418"/>
                    <a:pt x="939948" y="436012"/>
                  </a:cubicBezTo>
                  <a:cubicBezTo>
                    <a:pt x="945022" y="435109"/>
                    <a:pt x="973110" y="440891"/>
                    <a:pt x="971892" y="437716"/>
                  </a:cubicBezTo>
                  <a:cubicBezTo>
                    <a:pt x="969579" y="431466"/>
                    <a:pt x="953302" y="426954"/>
                    <a:pt x="952896" y="420269"/>
                  </a:cubicBezTo>
                  <a:cubicBezTo>
                    <a:pt x="952409" y="412983"/>
                    <a:pt x="926107" y="409674"/>
                    <a:pt x="915757" y="409072"/>
                  </a:cubicBezTo>
                  <a:cubicBezTo>
                    <a:pt x="897775" y="408003"/>
                    <a:pt x="882513" y="407434"/>
                    <a:pt x="866156" y="401585"/>
                  </a:cubicBezTo>
                  <a:cubicBezTo>
                    <a:pt x="854385" y="397407"/>
                    <a:pt x="862340" y="406599"/>
                    <a:pt x="871270" y="408771"/>
                  </a:cubicBezTo>
                  <a:cubicBezTo>
                    <a:pt x="901753" y="416225"/>
                    <a:pt x="855318" y="443298"/>
                    <a:pt x="860676" y="444601"/>
                  </a:cubicBezTo>
                  <a:cubicBezTo>
                    <a:pt x="874477" y="447944"/>
                    <a:pt x="884705" y="446273"/>
                    <a:pt x="884584" y="455832"/>
                  </a:cubicBezTo>
                  <a:cubicBezTo>
                    <a:pt x="884584" y="463653"/>
                    <a:pt x="879145" y="466126"/>
                    <a:pt x="872163" y="471975"/>
                  </a:cubicBezTo>
                  <a:cubicBezTo>
                    <a:pt x="863558" y="479195"/>
                    <a:pt x="863518" y="469301"/>
                    <a:pt x="855927" y="472410"/>
                  </a:cubicBezTo>
                  <a:cubicBezTo>
                    <a:pt x="850082" y="474783"/>
                    <a:pt x="846795" y="467095"/>
                    <a:pt x="846510" y="466260"/>
                  </a:cubicBezTo>
                  <a:cubicBezTo>
                    <a:pt x="845293" y="462650"/>
                    <a:pt x="830640" y="461848"/>
                    <a:pt x="825850" y="461280"/>
                  </a:cubicBezTo>
                  <a:cubicBezTo>
                    <a:pt x="810142" y="459408"/>
                    <a:pt x="800197" y="455564"/>
                    <a:pt x="789076" y="461982"/>
                  </a:cubicBezTo>
                  <a:cubicBezTo>
                    <a:pt x="779902" y="467229"/>
                    <a:pt x="763829" y="463853"/>
                    <a:pt x="751855" y="465525"/>
                  </a:cubicBezTo>
                  <a:cubicBezTo>
                    <a:pt x="739719" y="467259"/>
                    <a:pt x="728029" y="470528"/>
                    <a:pt x="717110" y="475217"/>
                  </a:cubicBezTo>
                  <a:cubicBezTo>
                    <a:pt x="704162" y="481902"/>
                    <a:pt x="730180" y="491662"/>
                    <a:pt x="733914" y="498814"/>
                  </a:cubicBezTo>
                  <a:cubicBezTo>
                    <a:pt x="740774" y="511816"/>
                    <a:pt x="697384" y="498814"/>
                    <a:pt x="689266" y="495873"/>
                  </a:cubicBezTo>
                  <a:cubicBezTo>
                    <a:pt x="678225" y="491695"/>
                    <a:pt x="664912" y="492898"/>
                    <a:pt x="654440" y="489790"/>
                  </a:cubicBezTo>
                  <a:cubicBezTo>
                    <a:pt x="642263" y="486247"/>
                    <a:pt x="633860" y="476788"/>
                    <a:pt x="619979" y="475217"/>
                  </a:cubicBezTo>
                  <a:cubicBezTo>
                    <a:pt x="612795" y="474609"/>
                    <a:pt x="605651" y="476655"/>
                    <a:pt x="600496" y="480799"/>
                  </a:cubicBezTo>
                  <a:cubicBezTo>
                    <a:pt x="593068" y="485946"/>
                    <a:pt x="602566" y="488019"/>
                    <a:pt x="606625" y="493533"/>
                  </a:cubicBezTo>
                  <a:cubicBezTo>
                    <a:pt x="613160" y="502424"/>
                    <a:pt x="648960" y="498982"/>
                    <a:pt x="644982" y="508307"/>
                  </a:cubicBezTo>
                  <a:cubicBezTo>
                    <a:pt x="639665" y="520673"/>
                    <a:pt x="620628" y="512017"/>
                    <a:pt x="606016" y="510145"/>
                  </a:cubicBezTo>
                  <a:cubicBezTo>
                    <a:pt x="602322" y="509644"/>
                    <a:pt x="588400" y="509309"/>
                    <a:pt x="588400" y="506134"/>
                  </a:cubicBezTo>
                  <a:cubicBezTo>
                    <a:pt x="588400" y="499617"/>
                    <a:pt x="568349" y="494703"/>
                    <a:pt x="557836" y="494636"/>
                  </a:cubicBezTo>
                  <a:cubicBezTo>
                    <a:pt x="547323" y="494570"/>
                    <a:pt x="540910" y="491896"/>
                    <a:pt x="540626" y="486782"/>
                  </a:cubicBezTo>
                  <a:cubicBezTo>
                    <a:pt x="540342" y="481668"/>
                    <a:pt x="533158" y="474415"/>
                    <a:pt x="534375" y="470404"/>
                  </a:cubicBezTo>
                  <a:cubicBezTo>
                    <a:pt x="535593" y="466394"/>
                    <a:pt x="527962" y="461581"/>
                    <a:pt x="536770" y="459441"/>
                  </a:cubicBezTo>
                  <a:cubicBezTo>
                    <a:pt x="545578" y="457302"/>
                    <a:pt x="541803" y="446941"/>
                    <a:pt x="535755" y="443432"/>
                  </a:cubicBezTo>
                  <a:cubicBezTo>
                    <a:pt x="527637" y="438652"/>
                    <a:pt x="518018" y="439187"/>
                    <a:pt x="508926" y="436012"/>
                  </a:cubicBezTo>
                  <a:cubicBezTo>
                    <a:pt x="501375" y="433338"/>
                    <a:pt x="498169" y="429327"/>
                    <a:pt x="489605" y="426619"/>
                  </a:cubicBezTo>
                  <a:cubicBezTo>
                    <a:pt x="479985" y="423768"/>
                    <a:pt x="471177" y="419343"/>
                    <a:pt x="463709" y="413618"/>
                  </a:cubicBezTo>
                  <a:cubicBezTo>
                    <a:pt x="459650" y="410041"/>
                    <a:pt x="452912" y="408704"/>
                    <a:pt x="449136" y="405763"/>
                  </a:cubicBezTo>
                  <a:cubicBezTo>
                    <a:pt x="446255" y="403524"/>
                    <a:pt x="464926" y="406900"/>
                    <a:pt x="462856" y="406432"/>
                  </a:cubicBezTo>
                  <a:cubicBezTo>
                    <a:pt x="472719" y="408838"/>
                    <a:pt x="478443" y="413283"/>
                    <a:pt x="486723" y="416659"/>
                  </a:cubicBezTo>
                  <a:cubicBezTo>
                    <a:pt x="505759" y="424414"/>
                    <a:pt x="529829" y="425650"/>
                    <a:pt x="550449" y="431733"/>
                  </a:cubicBezTo>
                  <a:cubicBezTo>
                    <a:pt x="585193" y="441928"/>
                    <a:pt x="641491" y="454094"/>
                    <a:pt x="680336" y="455832"/>
                  </a:cubicBezTo>
                  <a:cubicBezTo>
                    <a:pt x="703878" y="456801"/>
                    <a:pt x="762571" y="452255"/>
                    <a:pt x="773246" y="440657"/>
                  </a:cubicBezTo>
                  <a:cubicBezTo>
                    <a:pt x="777305" y="436312"/>
                    <a:pt x="773246" y="421773"/>
                    <a:pt x="763788" y="418364"/>
                  </a:cubicBezTo>
                  <a:cubicBezTo>
                    <a:pt x="749136" y="413083"/>
                    <a:pt x="741789" y="403390"/>
                    <a:pt x="722793" y="401652"/>
                  </a:cubicBezTo>
                  <a:cubicBezTo>
                    <a:pt x="709033" y="400315"/>
                    <a:pt x="705136" y="392494"/>
                    <a:pt x="690930" y="390723"/>
                  </a:cubicBezTo>
                  <a:cubicBezTo>
                    <a:pt x="674004" y="388584"/>
                    <a:pt x="657768" y="379158"/>
                    <a:pt x="645023" y="373677"/>
                  </a:cubicBezTo>
                  <a:cubicBezTo>
                    <a:pt x="625093" y="365117"/>
                    <a:pt x="604068" y="358338"/>
                    <a:pt x="582393" y="353455"/>
                  </a:cubicBezTo>
                  <a:cubicBezTo>
                    <a:pt x="577847" y="352419"/>
                    <a:pt x="569607" y="350113"/>
                    <a:pt x="564574" y="350915"/>
                  </a:cubicBezTo>
                  <a:cubicBezTo>
                    <a:pt x="550368" y="352887"/>
                    <a:pt x="552397" y="349277"/>
                    <a:pt x="541641" y="345935"/>
                  </a:cubicBezTo>
                  <a:cubicBezTo>
                    <a:pt x="530884" y="342593"/>
                    <a:pt x="525161" y="347172"/>
                    <a:pt x="515622" y="346603"/>
                  </a:cubicBezTo>
                  <a:cubicBezTo>
                    <a:pt x="506084" y="346035"/>
                    <a:pt x="499062" y="342225"/>
                    <a:pt x="488468" y="342593"/>
                  </a:cubicBezTo>
                  <a:cubicBezTo>
                    <a:pt x="469756" y="343294"/>
                    <a:pt x="459731" y="334437"/>
                    <a:pt x="484409" y="335273"/>
                  </a:cubicBezTo>
                  <a:cubicBezTo>
                    <a:pt x="513309" y="336276"/>
                    <a:pt x="471096" y="325814"/>
                    <a:pt x="463505" y="324477"/>
                  </a:cubicBezTo>
                  <a:cubicBezTo>
                    <a:pt x="443210" y="320834"/>
                    <a:pt x="448000" y="333969"/>
                    <a:pt x="423565" y="324678"/>
                  </a:cubicBezTo>
                  <a:cubicBezTo>
                    <a:pt x="419506" y="332632"/>
                    <a:pt x="399698" y="328889"/>
                    <a:pt x="387318" y="332332"/>
                  </a:cubicBezTo>
                  <a:cubicBezTo>
                    <a:pt x="378348" y="334805"/>
                    <a:pt x="367876" y="333468"/>
                    <a:pt x="359433" y="336510"/>
                  </a:cubicBezTo>
                  <a:cubicBezTo>
                    <a:pt x="352695" y="338916"/>
                    <a:pt x="351315" y="344932"/>
                    <a:pt x="342021" y="345300"/>
                  </a:cubicBezTo>
                  <a:cubicBezTo>
                    <a:pt x="325785" y="345902"/>
                    <a:pt x="329519" y="360307"/>
                    <a:pt x="334186" y="365354"/>
                  </a:cubicBezTo>
                  <a:cubicBezTo>
                    <a:pt x="338854" y="370401"/>
                    <a:pt x="362599" y="375381"/>
                    <a:pt x="371651" y="380629"/>
                  </a:cubicBezTo>
                  <a:cubicBezTo>
                    <a:pt x="396776" y="395235"/>
                    <a:pt x="331061" y="395770"/>
                    <a:pt x="349935" y="411679"/>
                  </a:cubicBezTo>
                  <a:cubicBezTo>
                    <a:pt x="359880" y="420135"/>
                    <a:pt x="373315" y="429594"/>
                    <a:pt x="378632" y="438919"/>
                  </a:cubicBezTo>
                  <a:cubicBezTo>
                    <a:pt x="382326" y="445437"/>
                    <a:pt x="354278" y="441025"/>
                    <a:pt x="361747" y="451587"/>
                  </a:cubicBezTo>
                  <a:cubicBezTo>
                    <a:pt x="362721" y="452991"/>
                    <a:pt x="369865" y="458105"/>
                    <a:pt x="366496" y="459609"/>
                  </a:cubicBezTo>
                  <a:cubicBezTo>
                    <a:pt x="363127" y="461113"/>
                    <a:pt x="353345" y="461280"/>
                    <a:pt x="361381" y="464254"/>
                  </a:cubicBezTo>
                  <a:cubicBezTo>
                    <a:pt x="364710" y="465525"/>
                    <a:pt x="379078" y="467764"/>
                    <a:pt x="374208" y="470638"/>
                  </a:cubicBezTo>
                  <a:cubicBezTo>
                    <a:pt x="369337" y="473513"/>
                    <a:pt x="365481" y="476387"/>
                    <a:pt x="374208" y="480030"/>
                  </a:cubicBezTo>
                  <a:cubicBezTo>
                    <a:pt x="388009" y="485846"/>
                    <a:pt x="391093" y="489623"/>
                    <a:pt x="373396" y="492397"/>
                  </a:cubicBezTo>
                  <a:cubicBezTo>
                    <a:pt x="352736" y="495740"/>
                    <a:pt x="379444" y="503026"/>
                    <a:pt x="388252" y="506402"/>
                  </a:cubicBezTo>
                  <a:cubicBezTo>
                    <a:pt x="399130" y="510580"/>
                    <a:pt x="421171" y="519771"/>
                    <a:pt x="416421" y="527325"/>
                  </a:cubicBezTo>
                  <a:cubicBezTo>
                    <a:pt x="411144" y="535814"/>
                    <a:pt x="389145" y="538889"/>
                    <a:pt x="375588" y="543335"/>
                  </a:cubicBezTo>
                  <a:cubicBezTo>
                    <a:pt x="362031" y="547780"/>
                    <a:pt x="355293" y="555066"/>
                    <a:pt x="339829" y="559010"/>
                  </a:cubicBezTo>
                  <a:cubicBezTo>
                    <a:pt x="319777" y="564191"/>
                    <a:pt x="303663" y="568235"/>
                    <a:pt x="289619" y="577326"/>
                  </a:cubicBezTo>
                  <a:cubicBezTo>
                    <a:pt x="311213" y="575889"/>
                    <a:pt x="308818" y="576090"/>
                    <a:pt x="321157" y="585682"/>
                  </a:cubicBezTo>
                  <a:cubicBezTo>
                    <a:pt x="325216" y="588724"/>
                    <a:pt x="357688" y="592367"/>
                    <a:pt x="355537" y="595008"/>
                  </a:cubicBezTo>
                  <a:cubicBezTo>
                    <a:pt x="353872" y="596779"/>
                    <a:pt x="327367" y="594038"/>
                    <a:pt x="321035" y="595342"/>
                  </a:cubicBezTo>
                  <a:cubicBezTo>
                    <a:pt x="309549" y="597227"/>
                    <a:pt x="298305" y="599948"/>
                    <a:pt x="287386" y="603464"/>
                  </a:cubicBezTo>
                  <a:cubicBezTo>
                    <a:pt x="294611" y="609547"/>
                    <a:pt x="276955" y="616064"/>
                    <a:pt x="269933" y="619908"/>
                  </a:cubicBezTo>
                  <a:cubicBezTo>
                    <a:pt x="261531" y="624487"/>
                    <a:pt x="269933" y="636887"/>
                    <a:pt x="275656" y="641700"/>
                  </a:cubicBezTo>
                  <a:cubicBezTo>
                    <a:pt x="281379" y="646513"/>
                    <a:pt x="258649" y="645043"/>
                    <a:pt x="265346" y="652630"/>
                  </a:cubicBezTo>
                  <a:cubicBezTo>
                    <a:pt x="268634" y="656306"/>
                    <a:pt x="275291" y="658579"/>
                    <a:pt x="274479" y="662924"/>
                  </a:cubicBezTo>
                  <a:cubicBezTo>
                    <a:pt x="273667" y="667269"/>
                    <a:pt x="271313" y="668372"/>
                    <a:pt x="277239" y="672951"/>
                  </a:cubicBezTo>
                  <a:cubicBezTo>
                    <a:pt x="284301" y="678232"/>
                    <a:pt x="284992" y="686989"/>
                    <a:pt x="295058" y="690666"/>
                  </a:cubicBezTo>
                  <a:cubicBezTo>
                    <a:pt x="302039" y="693239"/>
                    <a:pt x="308046" y="691301"/>
                    <a:pt x="315353" y="692571"/>
                  </a:cubicBezTo>
                  <a:cubicBezTo>
                    <a:pt x="324526" y="694209"/>
                    <a:pt x="323998" y="700927"/>
                    <a:pt x="335079" y="699790"/>
                  </a:cubicBezTo>
                  <a:cubicBezTo>
                    <a:pt x="364710" y="696749"/>
                    <a:pt x="379444" y="706141"/>
                    <a:pt x="374654" y="720379"/>
                  </a:cubicBezTo>
                  <a:cubicBezTo>
                    <a:pt x="370961" y="731543"/>
                    <a:pt x="398359" y="746684"/>
                    <a:pt x="415244" y="753435"/>
                  </a:cubicBezTo>
                  <a:cubicBezTo>
                    <a:pt x="428598" y="758716"/>
                    <a:pt x="431480" y="764498"/>
                    <a:pt x="415691" y="767574"/>
                  </a:cubicBezTo>
                  <a:cubicBezTo>
                    <a:pt x="407573" y="769144"/>
                    <a:pt x="390728" y="762894"/>
                    <a:pt x="386547" y="765000"/>
                  </a:cubicBezTo>
                  <a:cubicBezTo>
                    <a:pt x="380134" y="768342"/>
                    <a:pt x="389754" y="781712"/>
                    <a:pt x="391743" y="785455"/>
                  </a:cubicBezTo>
                  <a:cubicBezTo>
                    <a:pt x="396248" y="794112"/>
                    <a:pt x="408547" y="790402"/>
                    <a:pt x="418897" y="788196"/>
                  </a:cubicBezTo>
                  <a:cubicBezTo>
                    <a:pt x="424864" y="786926"/>
                    <a:pt x="444428" y="788965"/>
                    <a:pt x="451734" y="789466"/>
                  </a:cubicBezTo>
                  <a:cubicBezTo>
                    <a:pt x="467240" y="790502"/>
                    <a:pt x="473166" y="795750"/>
                    <a:pt x="472029" y="803604"/>
                  </a:cubicBezTo>
                  <a:cubicBezTo>
                    <a:pt x="469553" y="823291"/>
                    <a:pt x="507464" y="815302"/>
                    <a:pt x="513715" y="832850"/>
                  </a:cubicBezTo>
                  <a:cubicBezTo>
                    <a:pt x="517327" y="842877"/>
                    <a:pt x="523051" y="836426"/>
                    <a:pt x="535715" y="842609"/>
                  </a:cubicBezTo>
                  <a:cubicBezTo>
                    <a:pt x="542980" y="846152"/>
                    <a:pt x="548622" y="847957"/>
                    <a:pt x="557877" y="845952"/>
                  </a:cubicBezTo>
                  <a:cubicBezTo>
                    <a:pt x="561936" y="845049"/>
                    <a:pt x="573016" y="843278"/>
                    <a:pt x="576142" y="846821"/>
                  </a:cubicBezTo>
                  <a:cubicBezTo>
                    <a:pt x="589618" y="862095"/>
                    <a:pt x="625905" y="863232"/>
                    <a:pt x="651639" y="871320"/>
                  </a:cubicBezTo>
                  <a:cubicBezTo>
                    <a:pt x="673030" y="878005"/>
                    <a:pt x="644617" y="879977"/>
                    <a:pt x="652370" y="884088"/>
                  </a:cubicBezTo>
                  <a:cubicBezTo>
                    <a:pt x="667104" y="891976"/>
                    <a:pt x="640680" y="887598"/>
                    <a:pt x="646159" y="893280"/>
                  </a:cubicBezTo>
                  <a:cubicBezTo>
                    <a:pt x="653993" y="901402"/>
                    <a:pt x="645713" y="899964"/>
                    <a:pt x="644576" y="907785"/>
                  </a:cubicBezTo>
                  <a:cubicBezTo>
                    <a:pt x="644333" y="909590"/>
                    <a:pt x="618437" y="904443"/>
                    <a:pt x="614621" y="905112"/>
                  </a:cubicBezTo>
                  <a:cubicBezTo>
                    <a:pt x="610806" y="905780"/>
                    <a:pt x="590024" y="910326"/>
                    <a:pt x="588847" y="912632"/>
                  </a:cubicBezTo>
                  <a:cubicBezTo>
                    <a:pt x="583367" y="923394"/>
                    <a:pt x="608005" y="918247"/>
                    <a:pt x="620304" y="921088"/>
                  </a:cubicBezTo>
                  <a:cubicBezTo>
                    <a:pt x="631669" y="923695"/>
                    <a:pt x="579267" y="931115"/>
                    <a:pt x="579308" y="931416"/>
                  </a:cubicBezTo>
                  <a:cubicBezTo>
                    <a:pt x="580404" y="937298"/>
                    <a:pt x="602525" y="940808"/>
                    <a:pt x="583367" y="943716"/>
                  </a:cubicBezTo>
                  <a:cubicBezTo>
                    <a:pt x="568714" y="945922"/>
                    <a:pt x="575249" y="955715"/>
                    <a:pt x="559338" y="955314"/>
                  </a:cubicBezTo>
                  <a:cubicBezTo>
                    <a:pt x="514121" y="954278"/>
                    <a:pt x="587061" y="977173"/>
                    <a:pt x="597533" y="982821"/>
                  </a:cubicBezTo>
                  <a:cubicBezTo>
                    <a:pt x="606949" y="987805"/>
                    <a:pt x="615920" y="993393"/>
                    <a:pt x="624281" y="999533"/>
                  </a:cubicBezTo>
                  <a:cubicBezTo>
                    <a:pt x="632399" y="1005583"/>
                    <a:pt x="633860" y="1001839"/>
                    <a:pt x="644576" y="1002073"/>
                  </a:cubicBezTo>
                  <a:cubicBezTo>
                    <a:pt x="663085" y="1002541"/>
                    <a:pt x="674044" y="1011566"/>
                    <a:pt x="690321" y="1014306"/>
                  </a:cubicBezTo>
                  <a:cubicBezTo>
                    <a:pt x="698439" y="1015643"/>
                    <a:pt x="726487" y="1015276"/>
                    <a:pt x="731195" y="1019621"/>
                  </a:cubicBezTo>
                  <a:cubicBezTo>
                    <a:pt x="737608" y="1025537"/>
                    <a:pt x="761475" y="1036032"/>
                    <a:pt x="772921" y="1035564"/>
                  </a:cubicBezTo>
                  <a:cubicBezTo>
                    <a:pt x="782298" y="1035196"/>
                    <a:pt x="808803" y="1036199"/>
                    <a:pt x="814769" y="1042249"/>
                  </a:cubicBezTo>
                  <a:cubicBezTo>
                    <a:pt x="817814" y="1045390"/>
                    <a:pt x="816068" y="1048933"/>
                    <a:pt x="818828" y="1052075"/>
                  </a:cubicBezTo>
                  <a:cubicBezTo>
                    <a:pt x="823293" y="1054134"/>
                    <a:pt x="827880" y="1055952"/>
                    <a:pt x="832629" y="1057523"/>
                  </a:cubicBezTo>
                  <a:cubicBezTo>
                    <a:pt x="844806" y="1063473"/>
                    <a:pt x="856414" y="1069255"/>
                    <a:pt x="868429" y="1075204"/>
                  </a:cubicBezTo>
                  <a:cubicBezTo>
                    <a:pt x="877278" y="1079583"/>
                    <a:pt x="902037" y="1077744"/>
                    <a:pt x="906908" y="1072363"/>
                  </a:cubicBezTo>
                  <a:cubicBezTo>
                    <a:pt x="896273" y="1062837"/>
                    <a:pt x="879835" y="1051106"/>
                    <a:pt x="876263" y="1040277"/>
                  </a:cubicBezTo>
                  <a:cubicBezTo>
                    <a:pt x="872691" y="1029447"/>
                    <a:pt x="886045" y="1025136"/>
                    <a:pt x="868145" y="1013805"/>
                  </a:cubicBezTo>
                  <a:cubicBezTo>
                    <a:pt x="836322" y="993751"/>
                    <a:pt x="931221" y="984158"/>
                    <a:pt x="949324" y="980682"/>
                  </a:cubicBezTo>
                  <a:cubicBezTo>
                    <a:pt x="945265" y="978409"/>
                    <a:pt x="916853" y="967915"/>
                    <a:pt x="933819" y="967647"/>
                  </a:cubicBezTo>
                  <a:cubicBezTo>
                    <a:pt x="948999" y="967380"/>
                    <a:pt x="923347" y="947326"/>
                    <a:pt x="917583" y="943616"/>
                  </a:cubicBezTo>
                  <a:cubicBezTo>
                    <a:pt x="910804" y="939103"/>
                    <a:pt x="884827" y="942345"/>
                    <a:pt x="884259" y="936931"/>
                  </a:cubicBezTo>
                  <a:cubicBezTo>
                    <a:pt x="883122" y="926904"/>
                    <a:pt x="888561" y="928408"/>
                    <a:pt x="871311" y="922191"/>
                  </a:cubicBezTo>
                  <a:cubicBezTo>
                    <a:pt x="864451" y="919718"/>
                    <a:pt x="872772" y="912164"/>
                    <a:pt x="878130" y="911395"/>
                  </a:cubicBezTo>
                  <a:cubicBezTo>
                    <a:pt x="900657" y="908454"/>
                    <a:pt x="881580" y="906950"/>
                    <a:pt x="880403" y="900633"/>
                  </a:cubicBezTo>
                  <a:cubicBezTo>
                    <a:pt x="879713" y="896956"/>
                    <a:pt x="889170" y="895285"/>
                    <a:pt x="893879" y="894249"/>
                  </a:cubicBezTo>
                  <a:cubicBezTo>
                    <a:pt x="901672" y="892511"/>
                    <a:pt x="899561" y="889670"/>
                    <a:pt x="903539" y="886361"/>
                  </a:cubicBezTo>
                  <a:cubicBezTo>
                    <a:pt x="915716" y="876334"/>
                    <a:pt x="929395" y="894416"/>
                    <a:pt x="935727" y="898494"/>
                  </a:cubicBezTo>
                  <a:cubicBezTo>
                    <a:pt x="949324" y="907251"/>
                    <a:pt x="951232" y="895151"/>
                    <a:pt x="950095" y="890773"/>
                  </a:cubicBezTo>
                  <a:cubicBezTo>
                    <a:pt x="947457" y="881013"/>
                    <a:pt x="964870" y="884890"/>
                    <a:pt x="972298" y="878640"/>
                  </a:cubicBezTo>
                  <a:cubicBezTo>
                    <a:pt x="976073" y="875465"/>
                    <a:pt x="998600" y="876267"/>
                    <a:pt x="1006110" y="875298"/>
                  </a:cubicBezTo>
                  <a:cubicBezTo>
                    <a:pt x="1018286" y="873426"/>
                    <a:pt x="1033670" y="869749"/>
                    <a:pt x="1045725" y="875532"/>
                  </a:cubicBezTo>
                  <a:cubicBezTo>
                    <a:pt x="1057780" y="881314"/>
                    <a:pt x="1059566" y="872189"/>
                    <a:pt x="1072230" y="874730"/>
                  </a:cubicBezTo>
                  <a:cubicBezTo>
                    <a:pt x="1081769" y="876668"/>
                    <a:pt x="1086964" y="882116"/>
                    <a:pt x="1097517" y="884757"/>
                  </a:cubicBezTo>
                  <a:cubicBezTo>
                    <a:pt x="1108558" y="887183"/>
                    <a:pt x="1119071" y="891104"/>
                    <a:pt x="1128569" y="896355"/>
                  </a:cubicBezTo>
                  <a:cubicBezTo>
                    <a:pt x="1131166" y="897758"/>
                    <a:pt x="1149675" y="912565"/>
                    <a:pt x="1149513" y="912598"/>
                  </a:cubicBezTo>
                  <a:cubicBezTo>
                    <a:pt x="1156616" y="911462"/>
                    <a:pt x="1149838" y="904343"/>
                    <a:pt x="1162827" y="909958"/>
                  </a:cubicBezTo>
                  <a:cubicBezTo>
                    <a:pt x="1172852" y="914270"/>
                    <a:pt x="1184379" y="920654"/>
                    <a:pt x="1197165" y="918180"/>
                  </a:cubicBezTo>
                  <a:cubicBezTo>
                    <a:pt x="1206785" y="916375"/>
                    <a:pt x="1210438" y="913133"/>
                    <a:pt x="1223143" y="914136"/>
                  </a:cubicBezTo>
                  <a:cubicBezTo>
                    <a:pt x="1232600" y="914871"/>
                    <a:pt x="1238201" y="922258"/>
                    <a:pt x="1246198" y="921756"/>
                  </a:cubicBezTo>
                  <a:cubicBezTo>
                    <a:pt x="1255737" y="921155"/>
                    <a:pt x="1259876" y="918414"/>
                    <a:pt x="1271038" y="920520"/>
                  </a:cubicBezTo>
                  <a:cubicBezTo>
                    <a:pt x="1283946" y="923060"/>
                    <a:pt x="1281470" y="928542"/>
                    <a:pt x="1291333" y="932251"/>
                  </a:cubicBezTo>
                  <a:cubicBezTo>
                    <a:pt x="1302617" y="936463"/>
                    <a:pt x="1305946" y="936897"/>
                    <a:pt x="1314916" y="942479"/>
                  </a:cubicBezTo>
                  <a:cubicBezTo>
                    <a:pt x="1320842" y="946156"/>
                    <a:pt x="1325591" y="937733"/>
                    <a:pt x="1328636" y="936964"/>
                  </a:cubicBezTo>
                  <a:cubicBezTo>
                    <a:pt x="1334927" y="935393"/>
                    <a:pt x="1373041" y="958890"/>
                    <a:pt x="1376897" y="944284"/>
                  </a:cubicBezTo>
                  <a:cubicBezTo>
                    <a:pt x="1381484" y="926971"/>
                    <a:pt x="1353639" y="931483"/>
                    <a:pt x="1340731" y="918815"/>
                  </a:cubicBezTo>
                  <a:cubicBezTo>
                    <a:pt x="1333385" y="911596"/>
                    <a:pt x="1347551" y="912999"/>
                    <a:pt x="1355343" y="912131"/>
                  </a:cubicBezTo>
                  <a:cubicBezTo>
                    <a:pt x="1368251" y="910627"/>
                    <a:pt x="1363461" y="907251"/>
                    <a:pt x="1364436" y="901468"/>
                  </a:cubicBezTo>
                  <a:cubicBezTo>
                    <a:pt x="1365775" y="892110"/>
                    <a:pt x="1410667" y="901970"/>
                    <a:pt x="1409937" y="899931"/>
                  </a:cubicBezTo>
                  <a:cubicBezTo>
                    <a:pt x="1408760" y="896589"/>
                    <a:pt x="1390048" y="892010"/>
                    <a:pt x="1385583" y="889302"/>
                  </a:cubicBezTo>
                  <a:cubicBezTo>
                    <a:pt x="1380225" y="886194"/>
                    <a:pt x="1377465" y="874228"/>
                    <a:pt x="1385299" y="873025"/>
                  </a:cubicBezTo>
                  <a:cubicBezTo>
                    <a:pt x="1392321" y="871989"/>
                    <a:pt x="1416431" y="877270"/>
                    <a:pt x="1424630" y="879108"/>
                  </a:cubicBezTo>
                  <a:cubicBezTo>
                    <a:pt x="1443748" y="883319"/>
                    <a:pt x="1455682" y="880512"/>
                    <a:pt x="1474190" y="882116"/>
                  </a:cubicBezTo>
                  <a:cubicBezTo>
                    <a:pt x="1490426" y="883520"/>
                    <a:pt x="1506297" y="887899"/>
                    <a:pt x="1522127" y="887497"/>
                  </a:cubicBezTo>
                  <a:cubicBezTo>
                    <a:pt x="1535968" y="887594"/>
                    <a:pt x="1549809" y="888610"/>
                    <a:pt x="1563447" y="890539"/>
                  </a:cubicBezTo>
                  <a:cubicBezTo>
                    <a:pt x="1584514" y="892778"/>
                    <a:pt x="1612155" y="896221"/>
                    <a:pt x="1631882" y="895185"/>
                  </a:cubicBezTo>
                  <a:cubicBezTo>
                    <a:pt x="1652988" y="894048"/>
                    <a:pt x="1663826" y="892611"/>
                    <a:pt x="1686678" y="901201"/>
                  </a:cubicBezTo>
                  <a:cubicBezTo>
                    <a:pt x="1698084" y="905479"/>
                    <a:pt x="1716552" y="904543"/>
                    <a:pt x="1722194" y="913534"/>
                  </a:cubicBezTo>
                  <a:cubicBezTo>
                    <a:pt x="1724345" y="916877"/>
                    <a:pt x="1722600" y="921489"/>
                    <a:pt x="1724061" y="925132"/>
                  </a:cubicBezTo>
                  <a:cubicBezTo>
                    <a:pt x="1725766" y="929377"/>
                    <a:pt x="1715294" y="931817"/>
                    <a:pt x="1718541" y="935159"/>
                  </a:cubicBezTo>
                  <a:cubicBezTo>
                    <a:pt x="1723330" y="939939"/>
                    <a:pt x="1743179" y="940708"/>
                    <a:pt x="1748943" y="939037"/>
                  </a:cubicBezTo>
                  <a:cubicBezTo>
                    <a:pt x="1756574" y="936764"/>
                    <a:pt x="1767046" y="954411"/>
                    <a:pt x="1768872" y="949064"/>
                  </a:cubicBezTo>
                  <a:cubicBezTo>
                    <a:pt x="1770171" y="945053"/>
                    <a:pt x="1786610" y="955013"/>
                    <a:pt x="1791156" y="955514"/>
                  </a:cubicBezTo>
                  <a:cubicBezTo>
                    <a:pt x="1811207" y="957620"/>
                    <a:pt x="1791156" y="960662"/>
                    <a:pt x="1785879" y="962567"/>
                  </a:cubicBezTo>
                  <a:cubicBezTo>
                    <a:pt x="1774677" y="966745"/>
                    <a:pt x="1797325" y="968182"/>
                    <a:pt x="1801384" y="967814"/>
                  </a:cubicBezTo>
                  <a:cubicBezTo>
                    <a:pt x="1807351" y="967280"/>
                    <a:pt x="1810558" y="969719"/>
                    <a:pt x="1816444" y="970522"/>
                  </a:cubicBezTo>
                  <a:cubicBezTo>
                    <a:pt x="1823100" y="971110"/>
                    <a:pt x="1829797" y="970953"/>
                    <a:pt x="1836373" y="970054"/>
                  </a:cubicBezTo>
                  <a:cubicBezTo>
                    <a:pt x="1850620" y="968917"/>
                    <a:pt x="1866166" y="969151"/>
                    <a:pt x="1881021" y="968349"/>
                  </a:cubicBezTo>
                  <a:cubicBezTo>
                    <a:pt x="1887678" y="968279"/>
                    <a:pt x="1894294" y="969418"/>
                    <a:pt x="1900383" y="971691"/>
                  </a:cubicBezTo>
                  <a:cubicBezTo>
                    <a:pt x="1907649" y="974399"/>
                    <a:pt x="1898962" y="975268"/>
                    <a:pt x="1896689" y="976638"/>
                  </a:cubicBezTo>
                  <a:cubicBezTo>
                    <a:pt x="1888571" y="981518"/>
                    <a:pt x="1905051" y="987668"/>
                    <a:pt x="1911708" y="991645"/>
                  </a:cubicBezTo>
                  <a:cubicBezTo>
                    <a:pt x="1921489" y="998002"/>
                    <a:pt x="1929729" y="1005800"/>
                    <a:pt x="1936061" y="1014641"/>
                  </a:cubicBezTo>
                  <a:cubicBezTo>
                    <a:pt x="1950268" y="1032556"/>
                    <a:pt x="1958954" y="1050036"/>
                    <a:pt x="1968533" y="1068118"/>
                  </a:cubicBezTo>
                  <a:cubicBezTo>
                    <a:pt x="1979614" y="1088908"/>
                    <a:pt x="1990817" y="1061166"/>
                    <a:pt x="2005916" y="1074536"/>
                  </a:cubicBezTo>
                  <a:cubicBezTo>
                    <a:pt x="2013750" y="1082357"/>
                    <a:pt x="2023695" y="1088520"/>
                    <a:pt x="2035019" y="1092518"/>
                  </a:cubicBezTo>
                  <a:cubicBezTo>
                    <a:pt x="2050971" y="1098868"/>
                    <a:pt x="2063432" y="1094924"/>
                    <a:pt x="2079262" y="1098768"/>
                  </a:cubicBezTo>
                  <a:cubicBezTo>
                    <a:pt x="2088598" y="1101228"/>
                    <a:pt x="2096188" y="1106863"/>
                    <a:pt x="2100125" y="1114243"/>
                  </a:cubicBezTo>
                  <a:cubicBezTo>
                    <a:pt x="2103332" y="1123334"/>
                    <a:pt x="2114656" y="1123468"/>
                    <a:pt x="2120420" y="1129852"/>
                  </a:cubicBezTo>
                  <a:cubicBezTo>
                    <a:pt x="2125615" y="1135601"/>
                    <a:pt x="2117823" y="1142285"/>
                    <a:pt x="2134099" y="1146564"/>
                  </a:cubicBezTo>
                  <a:cubicBezTo>
                    <a:pt x="2140430" y="1148235"/>
                    <a:pt x="2171645" y="1150875"/>
                    <a:pt x="2171198" y="1154552"/>
                  </a:cubicBezTo>
                  <a:cubicBezTo>
                    <a:pt x="2168153" y="1180455"/>
                    <a:pt x="2268613" y="1174606"/>
                    <a:pt x="2287690" y="1174606"/>
                  </a:cubicBezTo>
                  <a:cubicBezTo>
                    <a:pt x="2305347" y="1174405"/>
                    <a:pt x="2334044" y="1171565"/>
                    <a:pt x="2352188" y="1180121"/>
                  </a:cubicBezTo>
                  <a:cubicBezTo>
                    <a:pt x="2361807" y="1184700"/>
                    <a:pt x="2372280" y="1188811"/>
                    <a:pt x="2382427" y="1192822"/>
                  </a:cubicBezTo>
                  <a:cubicBezTo>
                    <a:pt x="2397567" y="1198805"/>
                    <a:pt x="2393955" y="1197969"/>
                    <a:pt x="2398378" y="1207194"/>
                  </a:cubicBezTo>
                  <a:cubicBezTo>
                    <a:pt x="2405279" y="1221600"/>
                    <a:pt x="2440795" y="1222803"/>
                    <a:pt x="2454961" y="1233231"/>
                  </a:cubicBezTo>
                  <a:cubicBezTo>
                    <a:pt x="2466285" y="1241554"/>
                    <a:pt x="2471197" y="1237743"/>
                    <a:pt x="2484713" y="1239448"/>
                  </a:cubicBezTo>
                  <a:cubicBezTo>
                    <a:pt x="2492385" y="1240417"/>
                    <a:pt x="2514059" y="1240651"/>
                    <a:pt x="2503871" y="1231526"/>
                  </a:cubicBezTo>
                  <a:cubicBezTo>
                    <a:pt x="2485687" y="1215282"/>
                    <a:pt x="2509432" y="1208798"/>
                    <a:pt x="2530498" y="1210570"/>
                  </a:cubicBezTo>
                  <a:cubicBezTo>
                    <a:pt x="2546734" y="1211907"/>
                    <a:pt x="2542675" y="1205222"/>
                    <a:pt x="2560413" y="1215316"/>
                  </a:cubicBezTo>
                  <a:cubicBezTo>
                    <a:pt x="2572590" y="1222201"/>
                    <a:pt x="2587040" y="1228117"/>
                    <a:pt x="2598405" y="1235370"/>
                  </a:cubicBezTo>
                  <a:cubicBezTo>
                    <a:pt x="2608390" y="1241426"/>
                    <a:pt x="2618740" y="1247005"/>
                    <a:pt x="2629497" y="1252082"/>
                  </a:cubicBezTo>
                  <a:cubicBezTo>
                    <a:pt x="2642486" y="1258466"/>
                    <a:pt x="2633556" y="1262610"/>
                    <a:pt x="2632825" y="1268794"/>
                  </a:cubicBezTo>
                  <a:cubicBezTo>
                    <a:pt x="2631891" y="1277350"/>
                    <a:pt x="2666068" y="1298875"/>
                    <a:pt x="2680315" y="1299744"/>
                  </a:cubicBezTo>
                  <a:cubicBezTo>
                    <a:pt x="2724680" y="1301983"/>
                    <a:pt x="2762144" y="1323943"/>
                    <a:pt x="2795793" y="1344832"/>
                  </a:cubicBezTo>
                  <a:cubicBezTo>
                    <a:pt x="2802043" y="1350224"/>
                    <a:pt x="2807158" y="1356437"/>
                    <a:pt x="2810893" y="1363215"/>
                  </a:cubicBezTo>
                  <a:cubicBezTo>
                    <a:pt x="2812435" y="1367928"/>
                    <a:pt x="2830863" y="1373242"/>
                    <a:pt x="2836748" y="1375615"/>
                  </a:cubicBezTo>
                  <a:cubicBezTo>
                    <a:pt x="2844339" y="1378590"/>
                    <a:pt x="2882493" y="1400650"/>
                    <a:pt x="2888378" y="1396004"/>
                  </a:cubicBezTo>
                  <a:cubicBezTo>
                    <a:pt x="2890570" y="1394166"/>
                    <a:pt x="2942038" y="1408170"/>
                    <a:pt x="2949263" y="1410008"/>
                  </a:cubicBezTo>
                  <a:cubicBezTo>
                    <a:pt x="2957827" y="1412147"/>
                    <a:pt x="2971019" y="1410008"/>
                    <a:pt x="2980517" y="1411044"/>
                  </a:cubicBezTo>
                  <a:cubicBezTo>
                    <a:pt x="2994480" y="1412167"/>
                    <a:pt x="3007834" y="1416245"/>
                    <a:pt x="3019280" y="1422876"/>
                  </a:cubicBezTo>
                  <a:cubicBezTo>
                    <a:pt x="3028819" y="1428425"/>
                    <a:pt x="3028738" y="1433605"/>
                    <a:pt x="3042700" y="1438318"/>
                  </a:cubicBezTo>
                  <a:cubicBezTo>
                    <a:pt x="3053822" y="1442095"/>
                    <a:pt x="3065350" y="1444769"/>
                    <a:pt x="3073102" y="1452323"/>
                  </a:cubicBezTo>
                  <a:cubicBezTo>
                    <a:pt x="3091896" y="1470672"/>
                    <a:pt x="3102895" y="1469268"/>
                    <a:pt x="3130659" y="1473580"/>
                  </a:cubicBezTo>
                  <a:cubicBezTo>
                    <a:pt x="3147666" y="1476220"/>
                    <a:pt x="3146448" y="1474215"/>
                    <a:pt x="3156514" y="1469970"/>
                  </a:cubicBezTo>
                  <a:cubicBezTo>
                    <a:pt x="3163617" y="1466995"/>
                    <a:pt x="3171735" y="1464923"/>
                    <a:pt x="3178757" y="1461882"/>
                  </a:cubicBezTo>
                  <a:cubicBezTo>
                    <a:pt x="3194993" y="1454829"/>
                    <a:pt x="3225071" y="1461882"/>
                    <a:pt x="3222919" y="1445170"/>
                  </a:cubicBezTo>
                  <a:cubicBezTo>
                    <a:pt x="3222391" y="1441025"/>
                    <a:pt x="3210011" y="1436680"/>
                    <a:pt x="3212122" y="1434174"/>
                  </a:cubicBezTo>
                  <a:cubicBezTo>
                    <a:pt x="3217277" y="1427923"/>
                    <a:pt x="3236111" y="1429695"/>
                    <a:pt x="3248410" y="1433839"/>
                  </a:cubicBezTo>
                  <a:cubicBezTo>
                    <a:pt x="3266269" y="1439822"/>
                    <a:pt x="3295615" y="1448512"/>
                    <a:pt x="3310269" y="1457704"/>
                  </a:cubicBezTo>
                  <a:cubicBezTo>
                    <a:pt x="3331862" y="1471073"/>
                    <a:pt x="3362670" y="1482404"/>
                    <a:pt x="3377972" y="1499116"/>
                  </a:cubicBezTo>
                  <a:cubicBezTo>
                    <a:pt x="3385806" y="1507672"/>
                    <a:pt x="3389621" y="1510279"/>
                    <a:pt x="3386739" y="1517398"/>
                  </a:cubicBezTo>
                  <a:cubicBezTo>
                    <a:pt x="3385075" y="1521509"/>
                    <a:pt x="3394857" y="1530333"/>
                    <a:pt x="3393396" y="1535915"/>
                  </a:cubicBezTo>
                  <a:cubicBezTo>
                    <a:pt x="3390433" y="1548783"/>
                    <a:pt x="3401514" y="1567300"/>
                    <a:pt x="3403381" y="1581605"/>
                  </a:cubicBezTo>
                  <a:cubicBezTo>
                    <a:pt x="3404071" y="1586752"/>
                    <a:pt x="3393761" y="1589760"/>
                    <a:pt x="3401717" y="1595977"/>
                  </a:cubicBezTo>
                  <a:cubicBezTo>
                    <a:pt x="3404477" y="1598150"/>
                    <a:pt x="3431064" y="1617803"/>
                    <a:pt x="3433620" y="1618271"/>
                  </a:cubicBezTo>
                  <a:cubicBezTo>
                    <a:pt x="3442713" y="1619808"/>
                    <a:pt x="3455620" y="1633679"/>
                    <a:pt x="3458827" y="1638325"/>
                  </a:cubicBezTo>
                  <a:cubicBezTo>
                    <a:pt x="3466701" y="1649822"/>
                    <a:pt x="3474535" y="1647717"/>
                    <a:pt x="3473277" y="1658780"/>
                  </a:cubicBezTo>
                  <a:cubicBezTo>
                    <a:pt x="3472546" y="1665164"/>
                    <a:pt x="3469218" y="1672584"/>
                    <a:pt x="3478554" y="1679570"/>
                  </a:cubicBezTo>
                  <a:cubicBezTo>
                    <a:pt x="3485941" y="1685018"/>
                    <a:pt x="3510173" y="1698387"/>
                    <a:pt x="3519874" y="1699189"/>
                  </a:cubicBezTo>
                  <a:cubicBezTo>
                    <a:pt x="3531239" y="1699640"/>
                    <a:pt x="3542361" y="1701910"/>
                    <a:pt x="3552671" y="1705874"/>
                  </a:cubicBezTo>
                  <a:cubicBezTo>
                    <a:pt x="3560788" y="1708581"/>
                    <a:pt x="3572194" y="1708347"/>
                    <a:pt x="3578120" y="1715166"/>
                  </a:cubicBezTo>
                  <a:cubicBezTo>
                    <a:pt x="3581246" y="1718742"/>
                    <a:pt x="3576984" y="1729504"/>
                    <a:pt x="3575603" y="1732780"/>
                  </a:cubicBezTo>
                  <a:cubicBezTo>
                    <a:pt x="3574710" y="1734952"/>
                    <a:pt x="3568663" y="1733348"/>
                    <a:pt x="3565822" y="1733682"/>
                  </a:cubicBezTo>
                  <a:cubicBezTo>
                    <a:pt x="3559286" y="1734795"/>
                    <a:pt x="3553198" y="1737322"/>
                    <a:pt x="3548205" y="1741002"/>
                  </a:cubicBezTo>
                  <a:cubicBezTo>
                    <a:pt x="3539723" y="1746250"/>
                    <a:pt x="3531969" y="1744545"/>
                    <a:pt x="3520767" y="1746584"/>
                  </a:cubicBezTo>
                  <a:cubicBezTo>
                    <a:pt x="3516708" y="1747352"/>
                    <a:pt x="3497793" y="1749258"/>
                    <a:pt x="3496413" y="1751430"/>
                  </a:cubicBezTo>
                  <a:cubicBezTo>
                    <a:pt x="3492638" y="1756878"/>
                    <a:pt x="3473724" y="1742573"/>
                    <a:pt x="3470760" y="1739364"/>
                  </a:cubicBezTo>
                  <a:cubicBezTo>
                    <a:pt x="3466701" y="1735086"/>
                    <a:pt x="3444012" y="1732680"/>
                    <a:pt x="3439100" y="1733214"/>
                  </a:cubicBezTo>
                  <a:cubicBezTo>
                    <a:pt x="3425421" y="1734718"/>
                    <a:pt x="3420591" y="1762961"/>
                    <a:pt x="3417019" y="1770716"/>
                  </a:cubicBezTo>
                  <a:cubicBezTo>
                    <a:pt x="3439587" y="1772353"/>
                    <a:pt x="3447908" y="1774058"/>
                    <a:pt x="3460044" y="1789566"/>
                  </a:cubicBezTo>
                  <a:cubicBezTo>
                    <a:pt x="3469299" y="1801332"/>
                    <a:pt x="3479609" y="1803304"/>
                    <a:pt x="3495764" y="1805877"/>
                  </a:cubicBezTo>
                  <a:cubicBezTo>
                    <a:pt x="3525516" y="1810657"/>
                    <a:pt x="3544836" y="1809721"/>
                    <a:pt x="3570245" y="1808351"/>
                  </a:cubicBezTo>
                  <a:cubicBezTo>
                    <a:pt x="3607223" y="1806379"/>
                    <a:pt x="3652156" y="1809855"/>
                    <a:pt x="3681746" y="1799092"/>
                  </a:cubicBezTo>
                  <a:cubicBezTo>
                    <a:pt x="3705085" y="1790469"/>
                    <a:pt x="3742225" y="1796953"/>
                    <a:pt x="3762926" y="1785155"/>
                  </a:cubicBezTo>
                  <a:cubicBezTo>
                    <a:pt x="3778147" y="1776531"/>
                    <a:pt x="3786589" y="1752165"/>
                    <a:pt x="3809887" y="1750027"/>
                  </a:cubicBezTo>
                  <a:cubicBezTo>
                    <a:pt x="3817437" y="1749358"/>
                    <a:pt x="3819142" y="1744612"/>
                    <a:pt x="3828356" y="1745247"/>
                  </a:cubicBezTo>
                  <a:cubicBezTo>
                    <a:pt x="3841222" y="1746149"/>
                    <a:pt x="3838138" y="1740334"/>
                    <a:pt x="3841507" y="1734986"/>
                  </a:cubicBezTo>
                  <a:cubicBezTo>
                    <a:pt x="3842806" y="1732947"/>
                    <a:pt x="3845161" y="1724424"/>
                    <a:pt x="3847636" y="1723421"/>
                  </a:cubicBezTo>
                  <a:cubicBezTo>
                    <a:pt x="3854780" y="1720513"/>
                    <a:pt x="3860300" y="1722118"/>
                    <a:pt x="3848164" y="1711155"/>
                  </a:cubicBezTo>
                  <a:cubicBezTo>
                    <a:pt x="3842806" y="1706308"/>
                    <a:pt x="3833592" y="1699557"/>
                    <a:pt x="3835987" y="1694777"/>
                  </a:cubicBezTo>
                  <a:cubicBezTo>
                    <a:pt x="3838381" y="1689998"/>
                    <a:pt x="3828843" y="1678701"/>
                    <a:pt x="3819386" y="1674489"/>
                  </a:cubicBezTo>
                  <a:cubicBezTo>
                    <a:pt x="3811795" y="1671147"/>
                    <a:pt x="3805586" y="1666200"/>
                    <a:pt x="3798279" y="1662590"/>
                  </a:cubicBezTo>
                  <a:cubicBezTo>
                    <a:pt x="3790973" y="1658981"/>
                    <a:pt x="3794220" y="1671047"/>
                    <a:pt x="3784519" y="1664328"/>
                  </a:cubicBezTo>
                  <a:cubicBezTo>
                    <a:pt x="3787239" y="1666234"/>
                    <a:pt x="3740844" y="1659816"/>
                    <a:pt x="3747379" y="1656407"/>
                  </a:cubicBezTo>
                  <a:cubicBezTo>
                    <a:pt x="3751438" y="1654335"/>
                    <a:pt x="3758257" y="1657477"/>
                    <a:pt x="3755497" y="1651627"/>
                  </a:cubicBezTo>
                  <a:cubicBezTo>
                    <a:pt x="3753834" y="1648285"/>
                    <a:pt x="3763819" y="1641400"/>
                    <a:pt x="3764549" y="1641901"/>
                  </a:cubicBezTo>
                  <a:cubicBezTo>
                    <a:pt x="3757243" y="1637055"/>
                    <a:pt x="3725826" y="1647951"/>
                    <a:pt x="3730575" y="1635684"/>
                  </a:cubicBezTo>
                  <a:cubicBezTo>
                    <a:pt x="3732280" y="1631279"/>
                    <a:pt x="3735892" y="1627529"/>
                    <a:pt x="3740682" y="1625122"/>
                  </a:cubicBezTo>
                  <a:cubicBezTo>
                    <a:pt x="3744417" y="1623351"/>
                    <a:pt x="3718318" y="1613525"/>
                    <a:pt x="3716328" y="1612622"/>
                  </a:cubicBezTo>
                  <a:cubicBezTo>
                    <a:pt x="3681259" y="1596712"/>
                    <a:pt x="3707236" y="1598116"/>
                    <a:pt x="3725096" y="1599253"/>
                  </a:cubicBezTo>
                  <a:cubicBezTo>
                    <a:pt x="3733700" y="1599721"/>
                    <a:pt x="3737881" y="1597815"/>
                    <a:pt x="3747258" y="1599620"/>
                  </a:cubicBezTo>
                  <a:cubicBezTo>
                    <a:pt x="3759150" y="1601926"/>
                    <a:pt x="3770800" y="1603464"/>
                    <a:pt x="3782570" y="1605369"/>
                  </a:cubicBezTo>
                  <a:cubicBezTo>
                    <a:pt x="3803312" y="1608712"/>
                    <a:pt x="3812689" y="1602027"/>
                    <a:pt x="3833023" y="1605369"/>
                  </a:cubicBezTo>
                  <a:cubicBezTo>
                    <a:pt x="3857865" y="1609046"/>
                    <a:pt x="3887699" y="1614260"/>
                    <a:pt x="3908521" y="1610917"/>
                  </a:cubicBezTo>
                  <a:cubicBezTo>
                    <a:pt x="3918182" y="1609347"/>
                    <a:pt x="3951059" y="1618104"/>
                    <a:pt x="3955361" y="1613625"/>
                  </a:cubicBezTo>
                  <a:cubicBezTo>
                    <a:pt x="3961125" y="1607508"/>
                    <a:pt x="4004435" y="1622248"/>
                    <a:pt x="4015150" y="1626092"/>
                  </a:cubicBezTo>
                  <a:cubicBezTo>
                    <a:pt x="4036866" y="1634250"/>
                    <a:pt x="4056917" y="1645207"/>
                    <a:pt x="4074452" y="1658546"/>
                  </a:cubicBezTo>
                  <a:cubicBezTo>
                    <a:pt x="4080012" y="1662724"/>
                    <a:pt x="4086304" y="1672584"/>
                    <a:pt x="4093367" y="1674289"/>
                  </a:cubicBezTo>
                  <a:cubicBezTo>
                    <a:pt x="4104975" y="1677096"/>
                    <a:pt x="4107492" y="1677363"/>
                    <a:pt x="4118857" y="1684650"/>
                  </a:cubicBezTo>
                  <a:cubicBezTo>
                    <a:pt x="4127056" y="1690272"/>
                    <a:pt x="4136311" y="1694784"/>
                    <a:pt x="4146214" y="1698019"/>
                  </a:cubicBezTo>
                  <a:cubicBezTo>
                    <a:pt x="4156443" y="1701362"/>
                    <a:pt x="4161761" y="1709517"/>
                    <a:pt x="4171867" y="1712793"/>
                  </a:cubicBezTo>
                  <a:cubicBezTo>
                    <a:pt x="4181974" y="1716068"/>
                    <a:pt x="4186967" y="1711690"/>
                    <a:pt x="4198412" y="1716402"/>
                  </a:cubicBezTo>
                  <a:cubicBezTo>
                    <a:pt x="4207992" y="1720316"/>
                    <a:pt x="4216719" y="1725500"/>
                    <a:pt x="4224269" y="1731744"/>
                  </a:cubicBezTo>
                  <a:cubicBezTo>
                    <a:pt x="4229749" y="1736523"/>
                    <a:pt x="4230642" y="1742272"/>
                    <a:pt x="4238881" y="1746116"/>
                  </a:cubicBezTo>
                  <a:cubicBezTo>
                    <a:pt x="4251058" y="1751898"/>
                    <a:pt x="4253412" y="1748823"/>
                    <a:pt x="4257633" y="1758650"/>
                  </a:cubicBezTo>
                  <a:cubicBezTo>
                    <a:pt x="4259095" y="1761992"/>
                    <a:pt x="4274275" y="1773791"/>
                    <a:pt x="4260393" y="1769479"/>
                  </a:cubicBezTo>
                  <a:cubicBezTo>
                    <a:pt x="4257390" y="1768510"/>
                    <a:pt x="4229424" y="1753603"/>
                    <a:pt x="4240748" y="1766137"/>
                  </a:cubicBezTo>
                  <a:cubicBezTo>
                    <a:pt x="4248866" y="1774860"/>
                    <a:pt x="4262099" y="1774392"/>
                    <a:pt x="4271758" y="1780743"/>
                  </a:cubicBezTo>
                  <a:cubicBezTo>
                    <a:pt x="4285519" y="1789767"/>
                    <a:pt x="4297452" y="1791071"/>
                    <a:pt x="4310847" y="1798056"/>
                  </a:cubicBezTo>
                  <a:cubicBezTo>
                    <a:pt x="4321481" y="1803671"/>
                    <a:pt x="4318599" y="1805075"/>
                    <a:pt x="4331425" y="1809019"/>
                  </a:cubicBezTo>
                  <a:cubicBezTo>
                    <a:pt x="4338042" y="1811025"/>
                    <a:pt x="4356753" y="1822923"/>
                    <a:pt x="4361381" y="1823024"/>
                  </a:cubicBezTo>
                  <a:cubicBezTo>
                    <a:pt x="4368444" y="1823024"/>
                    <a:pt x="4338691" y="1804975"/>
                    <a:pt x="4343683" y="1801298"/>
                  </a:cubicBezTo>
                  <a:cubicBezTo>
                    <a:pt x="4353587" y="1793945"/>
                    <a:pt x="4377211" y="1797221"/>
                    <a:pt x="4395192" y="1800730"/>
                  </a:cubicBezTo>
                  <a:cubicBezTo>
                    <a:pt x="4402174" y="1802034"/>
                    <a:pt x="4441464" y="1813230"/>
                    <a:pt x="4443047" y="1811426"/>
                  </a:cubicBezTo>
                  <a:cubicBezTo>
                    <a:pt x="4447878" y="1805978"/>
                    <a:pt x="4460988" y="1802535"/>
                    <a:pt x="4473814" y="1810590"/>
                  </a:cubicBezTo>
                  <a:cubicBezTo>
                    <a:pt x="4492324" y="1822221"/>
                    <a:pt x="4507220" y="1828037"/>
                    <a:pt x="4526134" y="1837329"/>
                  </a:cubicBezTo>
                  <a:cubicBezTo>
                    <a:pt x="4541680" y="1845083"/>
                    <a:pt x="4525729" y="1849595"/>
                    <a:pt x="4549920" y="1854876"/>
                  </a:cubicBezTo>
                  <a:cubicBezTo>
                    <a:pt x="4575208" y="1860491"/>
                    <a:pt x="4540869" y="1862163"/>
                    <a:pt x="4538150" y="1862463"/>
                  </a:cubicBezTo>
                  <a:cubicBezTo>
                    <a:pt x="4516637" y="1864836"/>
                    <a:pt x="4550976" y="1877571"/>
                    <a:pt x="4545821" y="1880880"/>
                  </a:cubicBezTo>
                  <a:cubicBezTo>
                    <a:pt x="4544319" y="1881816"/>
                    <a:pt x="4529057" y="1876735"/>
                    <a:pt x="4532954" y="1880880"/>
                  </a:cubicBezTo>
                  <a:cubicBezTo>
                    <a:pt x="4537784" y="1886127"/>
                    <a:pt x="4549676" y="1889369"/>
                    <a:pt x="4555846" y="1890907"/>
                  </a:cubicBezTo>
                  <a:cubicBezTo>
                    <a:pt x="4580688" y="1897090"/>
                    <a:pt x="4605853" y="1895252"/>
                    <a:pt x="4630856" y="1913167"/>
                  </a:cubicBezTo>
                  <a:cubicBezTo>
                    <a:pt x="4643480" y="1922292"/>
                    <a:pt x="4646077" y="1899798"/>
                    <a:pt x="4660202" y="1902705"/>
                  </a:cubicBezTo>
                  <a:cubicBezTo>
                    <a:pt x="4667184" y="1904076"/>
                    <a:pt x="4720763" y="1928843"/>
                    <a:pt x="4711468" y="1935494"/>
                  </a:cubicBezTo>
                  <a:cubicBezTo>
                    <a:pt x="4712604" y="1934658"/>
                    <a:pt x="4686262" y="1921256"/>
                    <a:pt x="4679767" y="1922125"/>
                  </a:cubicBezTo>
                  <a:cubicBezTo>
                    <a:pt x="4671040" y="1923194"/>
                    <a:pt x="4664952" y="1929110"/>
                    <a:pt x="4657117" y="1931483"/>
                  </a:cubicBezTo>
                  <a:cubicBezTo>
                    <a:pt x="4653830" y="1932452"/>
                    <a:pt x="4657889" y="1935895"/>
                    <a:pt x="4655738" y="1937031"/>
                  </a:cubicBezTo>
                  <a:cubicBezTo>
                    <a:pt x="4653587" y="1938168"/>
                    <a:pt x="4647620" y="1935327"/>
                    <a:pt x="4644616" y="1934993"/>
                  </a:cubicBezTo>
                  <a:cubicBezTo>
                    <a:pt x="4639461" y="1934424"/>
                    <a:pt x="4640070" y="1938937"/>
                    <a:pt x="4634712" y="1938335"/>
                  </a:cubicBezTo>
                  <a:cubicBezTo>
                    <a:pt x="4628502" y="1937767"/>
                    <a:pt x="4619045" y="1932051"/>
                    <a:pt x="4612916" y="1929110"/>
                  </a:cubicBezTo>
                  <a:cubicBezTo>
                    <a:pt x="4605487" y="1925534"/>
                    <a:pt x="4587506" y="1916209"/>
                    <a:pt x="4582717" y="1920219"/>
                  </a:cubicBezTo>
                  <a:cubicBezTo>
                    <a:pt x="4576831" y="1925032"/>
                    <a:pt x="4557511" y="1916509"/>
                    <a:pt x="4548216" y="1917913"/>
                  </a:cubicBezTo>
                  <a:cubicBezTo>
                    <a:pt x="4540098" y="1919150"/>
                    <a:pt x="4527474" y="1915406"/>
                    <a:pt x="4517570" y="1913234"/>
                  </a:cubicBezTo>
                  <a:cubicBezTo>
                    <a:pt x="4498615" y="1909156"/>
                    <a:pt x="4484084" y="1909223"/>
                    <a:pt x="4466955" y="1908588"/>
                  </a:cubicBezTo>
                  <a:cubicBezTo>
                    <a:pt x="4449826" y="1907953"/>
                    <a:pt x="4428678" y="1899864"/>
                    <a:pt x="4411266" y="1895486"/>
                  </a:cubicBezTo>
                  <a:cubicBezTo>
                    <a:pt x="4405177" y="1893982"/>
                    <a:pt x="4386099" y="1880479"/>
                    <a:pt x="4382325" y="1881548"/>
                  </a:cubicBezTo>
                  <a:cubicBezTo>
                    <a:pt x="4379484" y="1882317"/>
                    <a:pt x="4378916" y="1886361"/>
                    <a:pt x="4377454" y="1887999"/>
                  </a:cubicBezTo>
                  <a:cubicBezTo>
                    <a:pt x="4372503" y="1893514"/>
                    <a:pt x="4362760" y="1892678"/>
                    <a:pt x="4352533" y="1892779"/>
                  </a:cubicBezTo>
                  <a:cubicBezTo>
                    <a:pt x="4302323" y="1893447"/>
                    <a:pt x="4287589" y="1931316"/>
                    <a:pt x="4278375" y="1961029"/>
                  </a:cubicBezTo>
                  <a:cubicBezTo>
                    <a:pt x="4276913" y="1965943"/>
                    <a:pt x="4278050" y="1971825"/>
                    <a:pt x="4276061" y="1976471"/>
                  </a:cubicBezTo>
                  <a:cubicBezTo>
                    <a:pt x="4273220" y="1983156"/>
                    <a:pt x="4265792" y="1988270"/>
                    <a:pt x="4264940" y="1995857"/>
                  </a:cubicBezTo>
                  <a:cubicBezTo>
                    <a:pt x="4264696" y="1997996"/>
                    <a:pt x="4262991" y="2012869"/>
                    <a:pt x="4265670" y="2013973"/>
                  </a:cubicBezTo>
                  <a:cubicBezTo>
                    <a:pt x="4277401" y="2018852"/>
                    <a:pt x="4293190" y="2016312"/>
                    <a:pt x="4304230" y="2017850"/>
                  </a:cubicBezTo>
                  <a:cubicBezTo>
                    <a:pt x="4312348" y="2018953"/>
                    <a:pt x="4328584" y="2019822"/>
                    <a:pt x="4333253" y="2016914"/>
                  </a:cubicBezTo>
                  <a:cubicBezTo>
                    <a:pt x="4339381" y="2013237"/>
                    <a:pt x="4340071" y="2005851"/>
                    <a:pt x="4352694" y="2009561"/>
                  </a:cubicBezTo>
                  <a:cubicBezTo>
                    <a:pt x="4365318" y="2013271"/>
                    <a:pt x="4373395" y="2014106"/>
                    <a:pt x="4385775" y="2021392"/>
                  </a:cubicBezTo>
                  <a:cubicBezTo>
                    <a:pt x="4402782" y="2031420"/>
                    <a:pt x="4394177" y="2011633"/>
                    <a:pt x="4401037" y="2009561"/>
                  </a:cubicBezTo>
                  <a:cubicBezTo>
                    <a:pt x="4409398" y="2007087"/>
                    <a:pt x="4426609" y="2012903"/>
                    <a:pt x="4437568" y="2015243"/>
                  </a:cubicBezTo>
                  <a:cubicBezTo>
                    <a:pt x="4451124" y="2018084"/>
                    <a:pt x="4459202" y="2031520"/>
                    <a:pt x="4473611" y="2033325"/>
                  </a:cubicBezTo>
                  <a:cubicBezTo>
                    <a:pt x="4488021" y="2035130"/>
                    <a:pt x="4483677" y="2024534"/>
                    <a:pt x="4481080" y="2016613"/>
                  </a:cubicBezTo>
                  <a:cubicBezTo>
                    <a:pt x="4478807" y="2009928"/>
                    <a:pt x="4501375" y="2010263"/>
                    <a:pt x="4507585" y="2010831"/>
                  </a:cubicBezTo>
                  <a:cubicBezTo>
                    <a:pt x="4520940" y="2011967"/>
                    <a:pt x="4526013" y="2023966"/>
                    <a:pt x="4538270" y="2025704"/>
                  </a:cubicBezTo>
                  <a:cubicBezTo>
                    <a:pt x="4549068" y="2027242"/>
                    <a:pt x="4541396" y="2012535"/>
                    <a:pt x="4533400" y="2008290"/>
                  </a:cubicBezTo>
                  <a:cubicBezTo>
                    <a:pt x="4524795" y="2003711"/>
                    <a:pt x="4539246" y="1997060"/>
                    <a:pt x="4541518" y="1996559"/>
                  </a:cubicBezTo>
                  <a:cubicBezTo>
                    <a:pt x="4547201" y="1995422"/>
                    <a:pt x="4573990" y="2002876"/>
                    <a:pt x="4562787" y="1992314"/>
                  </a:cubicBezTo>
                  <a:cubicBezTo>
                    <a:pt x="4555765" y="1985629"/>
                    <a:pt x="4537540" y="1979245"/>
                    <a:pt x="4536079" y="1972260"/>
                  </a:cubicBezTo>
                  <a:cubicBezTo>
                    <a:pt x="4533725" y="1960996"/>
                    <a:pt x="4551990" y="1960929"/>
                    <a:pt x="4565385" y="1963804"/>
                  </a:cubicBezTo>
                  <a:cubicBezTo>
                    <a:pt x="4584178" y="1967815"/>
                    <a:pt x="4613483" y="1953008"/>
                    <a:pt x="4632521" y="1966043"/>
                  </a:cubicBezTo>
                  <a:cubicBezTo>
                    <a:pt x="4641532" y="1972226"/>
                    <a:pt x="4649203" y="1976638"/>
                    <a:pt x="4651029" y="1983423"/>
                  </a:cubicBezTo>
                  <a:cubicBezTo>
                    <a:pt x="4652369" y="1988403"/>
                    <a:pt x="4677088" y="1987468"/>
                    <a:pt x="4680254" y="1987735"/>
                  </a:cubicBezTo>
                  <a:cubicBezTo>
                    <a:pt x="4721899" y="1991077"/>
                    <a:pt x="4676601" y="2008926"/>
                    <a:pt x="4701239" y="2012970"/>
                  </a:cubicBezTo>
                  <a:cubicBezTo>
                    <a:pt x="4730707" y="2017850"/>
                    <a:pt x="4754817" y="2028278"/>
                    <a:pt x="4781688" y="2048232"/>
                  </a:cubicBezTo>
                  <a:cubicBezTo>
                    <a:pt x="4791632" y="2055618"/>
                    <a:pt x="4800115" y="2062938"/>
                    <a:pt x="4803079" y="2071628"/>
                  </a:cubicBezTo>
                  <a:cubicBezTo>
                    <a:pt x="4806042" y="2080318"/>
                    <a:pt x="4810262" y="2089276"/>
                    <a:pt x="4820572" y="2083527"/>
                  </a:cubicBezTo>
                  <a:cubicBezTo>
                    <a:pt x="4826093" y="2080452"/>
                    <a:pt x="4852639" y="2093253"/>
                    <a:pt x="4861528" y="2095961"/>
                  </a:cubicBezTo>
                  <a:cubicBezTo>
                    <a:pt x="4872041" y="2099303"/>
                    <a:pt x="4887059" y="2105252"/>
                    <a:pt x="4897003" y="2106924"/>
                  </a:cubicBezTo>
                  <a:cubicBezTo>
                    <a:pt x="4923102" y="2111486"/>
                    <a:pt x="4948025" y="2119858"/>
                    <a:pt x="4970512" y="2131690"/>
                  </a:cubicBezTo>
                  <a:cubicBezTo>
                    <a:pt x="4990197" y="2141717"/>
                    <a:pt x="5031599" y="2166351"/>
                    <a:pt x="5050148" y="2165114"/>
                  </a:cubicBezTo>
                  <a:cubicBezTo>
                    <a:pt x="5059849" y="2164512"/>
                    <a:pt x="5058794" y="2166016"/>
                    <a:pt x="5063989" y="2173771"/>
                  </a:cubicBezTo>
                  <a:cubicBezTo>
                    <a:pt x="5069185" y="2181525"/>
                    <a:pt x="5089886" y="2198270"/>
                    <a:pt x="5098937" y="2205556"/>
                  </a:cubicBezTo>
                  <a:cubicBezTo>
                    <a:pt x="5127716" y="2228719"/>
                    <a:pt x="5127959" y="2199707"/>
                    <a:pt x="5123088" y="2187642"/>
                  </a:cubicBezTo>
                  <a:cubicBezTo>
                    <a:pt x="5117040" y="2172768"/>
                    <a:pt x="5137173" y="2167587"/>
                    <a:pt x="5113630" y="2150441"/>
                  </a:cubicBezTo>
                  <a:cubicBezTo>
                    <a:pt x="5100074" y="2140414"/>
                    <a:pt x="5110018" y="2137072"/>
                    <a:pt x="5109571" y="2130654"/>
                  </a:cubicBezTo>
                  <a:cubicBezTo>
                    <a:pt x="5109329" y="2126944"/>
                    <a:pt x="5086395" y="2117753"/>
                    <a:pt x="5082254" y="2109698"/>
                  </a:cubicBezTo>
                  <a:cubicBezTo>
                    <a:pt x="5075517" y="2096529"/>
                    <a:pt x="5101900" y="2112372"/>
                    <a:pt x="5107218" y="2116850"/>
                  </a:cubicBezTo>
                  <a:cubicBezTo>
                    <a:pt x="5120613" y="2128081"/>
                    <a:pt x="5115336" y="2136503"/>
                    <a:pt x="5129014" y="2146932"/>
                  </a:cubicBezTo>
                  <a:cubicBezTo>
                    <a:pt x="5143302" y="2157794"/>
                    <a:pt x="5185069" y="2180355"/>
                    <a:pt x="5199641" y="2180121"/>
                  </a:cubicBezTo>
                  <a:cubicBezTo>
                    <a:pt x="5204024" y="2180121"/>
                    <a:pt x="5221843" y="2180121"/>
                    <a:pt x="5222006" y="2177949"/>
                  </a:cubicBezTo>
                  <a:cubicBezTo>
                    <a:pt x="5222370" y="2173503"/>
                    <a:pt x="5216080" y="2168122"/>
                    <a:pt x="5216119" y="2163844"/>
                  </a:cubicBezTo>
                  <a:cubicBezTo>
                    <a:pt x="5216119" y="2156290"/>
                    <a:pt x="5225780" y="2164613"/>
                    <a:pt x="5231422" y="2165950"/>
                  </a:cubicBezTo>
                  <a:cubicBezTo>
                    <a:pt x="5238606" y="2167654"/>
                    <a:pt x="5253503" y="2171799"/>
                    <a:pt x="5260566" y="2179954"/>
                  </a:cubicBezTo>
                  <a:cubicBezTo>
                    <a:pt x="5261012" y="2180489"/>
                    <a:pt x="5241408" y="2181592"/>
                    <a:pt x="5242463" y="2186639"/>
                  </a:cubicBezTo>
                  <a:cubicBezTo>
                    <a:pt x="5244614" y="2196432"/>
                    <a:pt x="5247456" y="2203150"/>
                    <a:pt x="5260809" y="2212241"/>
                  </a:cubicBezTo>
                  <a:cubicBezTo>
                    <a:pt x="5281429" y="2226346"/>
                    <a:pt x="5311425" y="2243592"/>
                    <a:pt x="5308421" y="2262143"/>
                  </a:cubicBezTo>
                  <a:cubicBezTo>
                    <a:pt x="5306757" y="2272470"/>
                    <a:pt x="5316133" y="2285740"/>
                    <a:pt x="5328473" y="2297538"/>
                  </a:cubicBezTo>
                  <a:cubicBezTo>
                    <a:pt x="5331720" y="2300647"/>
                    <a:pt x="5338823" y="2306329"/>
                    <a:pt x="5338254" y="2309671"/>
                  </a:cubicBezTo>
                  <a:cubicBezTo>
                    <a:pt x="5336874" y="2317726"/>
                    <a:pt x="5346616" y="2320935"/>
                    <a:pt x="5353313" y="2328355"/>
                  </a:cubicBezTo>
                  <a:cubicBezTo>
                    <a:pt x="5358590" y="2334171"/>
                    <a:pt x="5372188" y="2346036"/>
                    <a:pt x="5380468" y="2348242"/>
                  </a:cubicBezTo>
                  <a:cubicBezTo>
                    <a:pt x="5390940" y="2351016"/>
                    <a:pt x="5370564" y="2331998"/>
                    <a:pt x="5376409" y="2332065"/>
                  </a:cubicBezTo>
                  <a:cubicBezTo>
                    <a:pt x="5382254" y="2332131"/>
                    <a:pt x="5387977" y="2350080"/>
                    <a:pt x="5392645" y="2343730"/>
                  </a:cubicBezTo>
                  <a:cubicBezTo>
                    <a:pt x="5395973" y="2339117"/>
                    <a:pt x="5402832" y="2340387"/>
                    <a:pt x="5406283" y="2335307"/>
                  </a:cubicBezTo>
                  <a:cubicBezTo>
                    <a:pt x="5407987" y="2332733"/>
                    <a:pt x="5405958" y="2317459"/>
                    <a:pt x="5413670" y="2324210"/>
                  </a:cubicBezTo>
                  <a:cubicBezTo>
                    <a:pt x="5414563" y="2324912"/>
                    <a:pt x="5446142" y="2363583"/>
                    <a:pt x="5448699" y="2358703"/>
                  </a:cubicBezTo>
                  <a:cubicBezTo>
                    <a:pt x="5450525" y="2355361"/>
                    <a:pt x="5439688" y="2348142"/>
                    <a:pt x="5440865" y="2345869"/>
                  </a:cubicBezTo>
                  <a:cubicBezTo>
                    <a:pt x="5443098" y="2341591"/>
                    <a:pt x="5457710" y="2367594"/>
                    <a:pt x="5463717" y="2364920"/>
                  </a:cubicBezTo>
                  <a:cubicBezTo>
                    <a:pt x="5469238" y="2363082"/>
                    <a:pt x="5475489" y="2363583"/>
                    <a:pt x="5480481" y="2366224"/>
                  </a:cubicBezTo>
                  <a:cubicBezTo>
                    <a:pt x="5483688" y="2367761"/>
                    <a:pt x="5503658" y="2382200"/>
                    <a:pt x="5492658" y="2368864"/>
                  </a:cubicBezTo>
                  <a:close/>
                  <a:moveTo>
                    <a:pt x="2856475" y="1286441"/>
                  </a:moveTo>
                  <a:cubicBezTo>
                    <a:pt x="2831552" y="1288246"/>
                    <a:pt x="2802856" y="1279757"/>
                    <a:pt x="2777162" y="1279757"/>
                  </a:cubicBezTo>
                  <a:cubicBezTo>
                    <a:pt x="2767542" y="1279757"/>
                    <a:pt x="2768314" y="1283634"/>
                    <a:pt x="2761576" y="1285305"/>
                  </a:cubicBezTo>
                  <a:cubicBezTo>
                    <a:pt x="2752768" y="1287477"/>
                    <a:pt x="2738277" y="1284536"/>
                    <a:pt x="2727643" y="1282230"/>
                  </a:cubicBezTo>
                  <a:cubicBezTo>
                    <a:pt x="2722041" y="1280960"/>
                    <a:pt x="2676987" y="1266253"/>
                    <a:pt x="2697931" y="1269061"/>
                  </a:cubicBezTo>
                  <a:cubicBezTo>
                    <a:pt x="2724843" y="1272637"/>
                    <a:pt x="2743432" y="1276247"/>
                    <a:pt x="2764052" y="1269696"/>
                  </a:cubicBezTo>
                  <a:cubicBezTo>
                    <a:pt x="2785280" y="1263011"/>
                    <a:pt x="2818442" y="1267557"/>
                    <a:pt x="2843324" y="1264883"/>
                  </a:cubicBezTo>
                  <a:cubicBezTo>
                    <a:pt x="2872061" y="1261808"/>
                    <a:pt x="2886389" y="1244829"/>
                    <a:pt x="2914964" y="1242790"/>
                  </a:cubicBezTo>
                  <a:cubicBezTo>
                    <a:pt x="2931200" y="1241687"/>
                    <a:pt x="2908998" y="1262243"/>
                    <a:pt x="2907253" y="1263646"/>
                  </a:cubicBezTo>
                  <a:cubicBezTo>
                    <a:pt x="2895360" y="1273172"/>
                    <a:pt x="2879205" y="1284904"/>
                    <a:pt x="2856475" y="1286575"/>
                  </a:cubicBezTo>
                  <a:close/>
                  <a:moveTo>
                    <a:pt x="3272236" y="790669"/>
                  </a:moveTo>
                  <a:cubicBezTo>
                    <a:pt x="3267771" y="792273"/>
                    <a:pt x="3239764" y="784285"/>
                    <a:pt x="3250521" y="792875"/>
                  </a:cubicBezTo>
                  <a:cubicBezTo>
                    <a:pt x="3261276" y="801465"/>
                    <a:pt x="3282342" y="807348"/>
                    <a:pt x="3296224" y="809587"/>
                  </a:cubicBezTo>
                  <a:cubicBezTo>
                    <a:pt x="3335597" y="816272"/>
                    <a:pt x="3286604" y="785355"/>
                    <a:pt x="3272236" y="790536"/>
                  </a:cubicBezTo>
                  <a:close/>
                  <a:moveTo>
                    <a:pt x="1454951" y="46493"/>
                  </a:moveTo>
                  <a:cubicBezTo>
                    <a:pt x="1468386" y="48699"/>
                    <a:pt x="1471918" y="46493"/>
                    <a:pt x="1482227" y="45189"/>
                  </a:cubicBezTo>
                  <a:cubicBezTo>
                    <a:pt x="1491725" y="43853"/>
                    <a:pt x="1507758" y="49568"/>
                    <a:pt x="1518393" y="50404"/>
                  </a:cubicBezTo>
                  <a:cubicBezTo>
                    <a:pt x="1529027" y="51239"/>
                    <a:pt x="1528094" y="47061"/>
                    <a:pt x="1519813" y="44321"/>
                  </a:cubicBezTo>
                  <a:cubicBezTo>
                    <a:pt x="1508367" y="40908"/>
                    <a:pt x="1496474" y="38512"/>
                    <a:pt x="1484419" y="37168"/>
                  </a:cubicBezTo>
                  <a:cubicBezTo>
                    <a:pt x="1477397" y="36232"/>
                    <a:pt x="1467087" y="34628"/>
                    <a:pt x="1460715" y="35630"/>
                  </a:cubicBezTo>
                  <a:cubicBezTo>
                    <a:pt x="1456656" y="36265"/>
                    <a:pt x="1462501" y="38505"/>
                    <a:pt x="1455600" y="38271"/>
                  </a:cubicBezTo>
                  <a:cubicBezTo>
                    <a:pt x="1451542" y="38104"/>
                    <a:pt x="1408191" y="32923"/>
                    <a:pt x="1408110" y="32756"/>
                  </a:cubicBezTo>
                  <a:cubicBezTo>
                    <a:pt x="1411276" y="39508"/>
                    <a:pt x="1444803" y="44822"/>
                    <a:pt x="1454951" y="46493"/>
                  </a:cubicBezTo>
                  <a:close/>
                  <a:moveTo>
                    <a:pt x="1311507" y="58325"/>
                  </a:moveTo>
                  <a:cubicBezTo>
                    <a:pt x="1313293" y="50303"/>
                    <a:pt x="1254397" y="50671"/>
                    <a:pt x="1265072" y="53980"/>
                  </a:cubicBezTo>
                  <a:cubicBezTo>
                    <a:pt x="1274610" y="56888"/>
                    <a:pt x="1309761" y="66213"/>
                    <a:pt x="1311547" y="58325"/>
                  </a:cubicBezTo>
                  <a:close/>
                  <a:moveTo>
                    <a:pt x="1453896" y="74101"/>
                  </a:moveTo>
                  <a:cubicBezTo>
                    <a:pt x="1457589" y="81220"/>
                    <a:pt x="1376775" y="65778"/>
                    <a:pt x="1401373" y="80451"/>
                  </a:cubicBezTo>
                  <a:cubicBezTo>
                    <a:pt x="1416147" y="89175"/>
                    <a:pt x="1462257" y="93988"/>
                    <a:pt x="1479589" y="91448"/>
                  </a:cubicBezTo>
                  <a:cubicBezTo>
                    <a:pt x="1488721" y="90011"/>
                    <a:pt x="1544939" y="94389"/>
                    <a:pt x="1512669" y="84329"/>
                  </a:cubicBezTo>
                  <a:cubicBezTo>
                    <a:pt x="1508002" y="82824"/>
                    <a:pt x="1452029" y="70424"/>
                    <a:pt x="1453896" y="74101"/>
                  </a:cubicBezTo>
                  <a:cubicBezTo>
                    <a:pt x="1456250" y="78747"/>
                    <a:pt x="1451623" y="69589"/>
                    <a:pt x="1453936" y="74101"/>
                  </a:cubicBezTo>
                  <a:close/>
                  <a:moveTo>
                    <a:pt x="1642679" y="97130"/>
                  </a:moveTo>
                  <a:cubicBezTo>
                    <a:pt x="1653232" y="93487"/>
                    <a:pt x="1612114" y="78747"/>
                    <a:pt x="1604118" y="77076"/>
                  </a:cubicBezTo>
                  <a:cubicBezTo>
                    <a:pt x="1594620" y="75037"/>
                    <a:pt x="1580860" y="71962"/>
                    <a:pt x="1571646" y="72697"/>
                  </a:cubicBezTo>
                  <a:cubicBezTo>
                    <a:pt x="1566695" y="73098"/>
                    <a:pt x="1564178" y="77009"/>
                    <a:pt x="1556994" y="77744"/>
                  </a:cubicBezTo>
                  <a:cubicBezTo>
                    <a:pt x="1552123" y="78245"/>
                    <a:pt x="1532640" y="78647"/>
                    <a:pt x="1534669" y="82657"/>
                  </a:cubicBezTo>
                  <a:cubicBezTo>
                    <a:pt x="1537226" y="88072"/>
                    <a:pt x="1559023" y="92217"/>
                    <a:pt x="1567669" y="93687"/>
                  </a:cubicBezTo>
                  <a:cubicBezTo>
                    <a:pt x="1586746" y="97030"/>
                    <a:pt x="1627741" y="102277"/>
                    <a:pt x="1642841" y="97030"/>
                  </a:cubicBezTo>
                  <a:close/>
                  <a:moveTo>
                    <a:pt x="1471187" y="58960"/>
                  </a:moveTo>
                  <a:cubicBezTo>
                    <a:pt x="1475246" y="52275"/>
                    <a:pt x="1454139" y="50303"/>
                    <a:pt x="1444641" y="48933"/>
                  </a:cubicBezTo>
                  <a:cubicBezTo>
                    <a:pt x="1421789" y="45591"/>
                    <a:pt x="1405999" y="38104"/>
                    <a:pt x="1384487" y="33525"/>
                  </a:cubicBezTo>
                  <a:cubicBezTo>
                    <a:pt x="1364720" y="29313"/>
                    <a:pt x="1387004" y="39975"/>
                    <a:pt x="1382052" y="41045"/>
                  </a:cubicBezTo>
                  <a:cubicBezTo>
                    <a:pt x="1373122" y="42917"/>
                    <a:pt x="1358306" y="41045"/>
                    <a:pt x="1348078" y="41246"/>
                  </a:cubicBezTo>
                  <a:cubicBezTo>
                    <a:pt x="1320599" y="41981"/>
                    <a:pt x="1388668" y="56587"/>
                    <a:pt x="1396014" y="57690"/>
                  </a:cubicBezTo>
                  <a:cubicBezTo>
                    <a:pt x="1410789" y="59796"/>
                    <a:pt x="1465707" y="68185"/>
                    <a:pt x="1471187" y="58960"/>
                  </a:cubicBezTo>
                  <a:close/>
                  <a:moveTo>
                    <a:pt x="1246888" y="308501"/>
                  </a:moveTo>
                  <a:cubicBezTo>
                    <a:pt x="1246888" y="318528"/>
                    <a:pt x="1213239" y="310472"/>
                    <a:pt x="1212549" y="313180"/>
                  </a:cubicBezTo>
                  <a:cubicBezTo>
                    <a:pt x="1211656" y="316856"/>
                    <a:pt x="1228095" y="321837"/>
                    <a:pt x="1228785" y="326282"/>
                  </a:cubicBezTo>
                  <a:cubicBezTo>
                    <a:pt x="1229475" y="330727"/>
                    <a:pt x="1212224" y="327753"/>
                    <a:pt x="1207840" y="330460"/>
                  </a:cubicBezTo>
                  <a:cubicBezTo>
                    <a:pt x="1200494" y="334939"/>
                    <a:pt x="1202361" y="336777"/>
                    <a:pt x="1186937" y="335006"/>
                  </a:cubicBezTo>
                  <a:cubicBezTo>
                    <a:pt x="1173258" y="333435"/>
                    <a:pt x="1157955" y="332666"/>
                    <a:pt x="1157753" y="341155"/>
                  </a:cubicBezTo>
                  <a:cubicBezTo>
                    <a:pt x="1157753" y="347840"/>
                    <a:pt x="1176261" y="350113"/>
                    <a:pt x="1186166" y="351684"/>
                  </a:cubicBezTo>
                  <a:cubicBezTo>
                    <a:pt x="1203254" y="354391"/>
                    <a:pt x="1196435" y="355628"/>
                    <a:pt x="1193391" y="361210"/>
                  </a:cubicBezTo>
                  <a:cubicBezTo>
                    <a:pt x="1191280" y="365154"/>
                    <a:pt x="1209342" y="373710"/>
                    <a:pt x="1212711" y="369198"/>
                  </a:cubicBezTo>
                  <a:cubicBezTo>
                    <a:pt x="1215228" y="365855"/>
                    <a:pt x="1204228" y="356597"/>
                    <a:pt x="1220017" y="361276"/>
                  </a:cubicBezTo>
                  <a:cubicBezTo>
                    <a:pt x="1227770" y="363583"/>
                    <a:pt x="1237268" y="367694"/>
                    <a:pt x="1240312" y="371972"/>
                  </a:cubicBezTo>
                  <a:cubicBezTo>
                    <a:pt x="1243356" y="376250"/>
                    <a:pt x="1229069" y="376350"/>
                    <a:pt x="1234427" y="380863"/>
                  </a:cubicBezTo>
                  <a:cubicBezTo>
                    <a:pt x="1247010" y="391391"/>
                    <a:pt x="1286260" y="396271"/>
                    <a:pt x="1306595" y="400917"/>
                  </a:cubicBezTo>
                  <a:cubicBezTo>
                    <a:pt x="1315241" y="402822"/>
                    <a:pt x="1367480" y="416826"/>
                    <a:pt x="1371011" y="409607"/>
                  </a:cubicBezTo>
                  <a:cubicBezTo>
                    <a:pt x="1373162" y="405095"/>
                    <a:pt x="1353882" y="397240"/>
                    <a:pt x="1348240" y="394132"/>
                  </a:cubicBezTo>
                  <a:cubicBezTo>
                    <a:pt x="1332004" y="385308"/>
                    <a:pt x="1318164" y="375548"/>
                    <a:pt x="1311426" y="364619"/>
                  </a:cubicBezTo>
                  <a:cubicBezTo>
                    <a:pt x="1299249" y="344765"/>
                    <a:pt x="1330990" y="347272"/>
                    <a:pt x="1341583" y="334337"/>
                  </a:cubicBezTo>
                  <a:cubicBezTo>
                    <a:pt x="1347064" y="327652"/>
                    <a:pt x="1366952" y="328354"/>
                    <a:pt x="1374542" y="322238"/>
                  </a:cubicBezTo>
                  <a:cubicBezTo>
                    <a:pt x="1376775" y="320433"/>
                    <a:pt x="1378114" y="317893"/>
                    <a:pt x="1381889" y="316723"/>
                  </a:cubicBezTo>
                  <a:cubicBezTo>
                    <a:pt x="1387450" y="314985"/>
                    <a:pt x="1399140" y="318695"/>
                    <a:pt x="1402509" y="315586"/>
                  </a:cubicBezTo>
                  <a:cubicBezTo>
                    <a:pt x="1409693" y="308902"/>
                    <a:pt x="1402834" y="309236"/>
                    <a:pt x="1421789" y="308467"/>
                  </a:cubicBezTo>
                  <a:cubicBezTo>
                    <a:pt x="1433073" y="307999"/>
                    <a:pt x="1440826" y="303153"/>
                    <a:pt x="1441028" y="297571"/>
                  </a:cubicBezTo>
                  <a:cubicBezTo>
                    <a:pt x="1441232" y="291989"/>
                    <a:pt x="1452840" y="296134"/>
                    <a:pt x="1462744" y="296836"/>
                  </a:cubicBezTo>
                  <a:cubicBezTo>
                    <a:pt x="1470618" y="297437"/>
                    <a:pt x="1474434" y="295566"/>
                    <a:pt x="1481334" y="295064"/>
                  </a:cubicBezTo>
                  <a:cubicBezTo>
                    <a:pt x="1490061" y="294396"/>
                    <a:pt x="1499884" y="296134"/>
                    <a:pt x="1508976" y="296568"/>
                  </a:cubicBezTo>
                  <a:cubicBezTo>
                    <a:pt x="1525212" y="297337"/>
                    <a:pt x="1544695" y="290586"/>
                    <a:pt x="1562392" y="290118"/>
                  </a:cubicBezTo>
                  <a:cubicBezTo>
                    <a:pt x="1597218" y="289182"/>
                    <a:pt x="1633302" y="290118"/>
                    <a:pt x="1669265" y="291989"/>
                  </a:cubicBezTo>
                  <a:cubicBezTo>
                    <a:pt x="1689884" y="292491"/>
                    <a:pt x="1862310" y="309436"/>
                    <a:pt x="1838727" y="287811"/>
                  </a:cubicBezTo>
                  <a:cubicBezTo>
                    <a:pt x="1823181" y="273372"/>
                    <a:pt x="1772972" y="271935"/>
                    <a:pt x="1750363" y="271801"/>
                  </a:cubicBezTo>
                  <a:cubicBezTo>
                    <a:pt x="1737699" y="271801"/>
                    <a:pt x="1726496" y="273740"/>
                    <a:pt x="1714116" y="273773"/>
                  </a:cubicBezTo>
                  <a:cubicBezTo>
                    <a:pt x="1694836" y="273773"/>
                    <a:pt x="1675232" y="268259"/>
                    <a:pt x="1655464" y="268492"/>
                  </a:cubicBezTo>
                  <a:cubicBezTo>
                    <a:pt x="1638011" y="268820"/>
                    <a:pt x="1620598" y="266938"/>
                    <a:pt x="1603834" y="262911"/>
                  </a:cubicBezTo>
                  <a:cubicBezTo>
                    <a:pt x="1582443" y="257362"/>
                    <a:pt x="1577572" y="252884"/>
                    <a:pt x="1554355" y="254455"/>
                  </a:cubicBezTo>
                  <a:cubicBezTo>
                    <a:pt x="1522452" y="256761"/>
                    <a:pt x="1484784" y="248505"/>
                    <a:pt x="1452881" y="251112"/>
                  </a:cubicBezTo>
                  <a:cubicBezTo>
                    <a:pt x="1442449" y="251914"/>
                    <a:pt x="1438674" y="255591"/>
                    <a:pt x="1427309" y="255190"/>
                  </a:cubicBezTo>
                  <a:cubicBezTo>
                    <a:pt x="1410546" y="254622"/>
                    <a:pt x="1411966" y="261106"/>
                    <a:pt x="1397394" y="261373"/>
                  </a:cubicBezTo>
                  <a:cubicBezTo>
                    <a:pt x="1385217" y="261607"/>
                    <a:pt x="1364923" y="249007"/>
                    <a:pt x="1361878" y="259301"/>
                  </a:cubicBezTo>
                  <a:cubicBezTo>
                    <a:pt x="1360296" y="265150"/>
                    <a:pt x="1378764" y="271701"/>
                    <a:pt x="1360417" y="272336"/>
                  </a:cubicBezTo>
                  <a:cubicBezTo>
                    <a:pt x="1340975" y="273038"/>
                    <a:pt x="1338824" y="278720"/>
                    <a:pt x="1331355" y="286174"/>
                  </a:cubicBezTo>
                  <a:cubicBezTo>
                    <a:pt x="1325916" y="291588"/>
                    <a:pt x="1296854" y="284837"/>
                    <a:pt x="1286707" y="287912"/>
                  </a:cubicBezTo>
                  <a:cubicBezTo>
                    <a:pt x="1267710" y="293660"/>
                    <a:pt x="1295677" y="296000"/>
                    <a:pt x="1298275" y="299510"/>
                  </a:cubicBezTo>
                  <a:cubicBezTo>
                    <a:pt x="1295677" y="296167"/>
                    <a:pt x="1279076" y="307865"/>
                    <a:pt x="1279076" y="307899"/>
                  </a:cubicBezTo>
                  <a:cubicBezTo>
                    <a:pt x="1274083" y="311241"/>
                    <a:pt x="1246604" y="304055"/>
                    <a:pt x="1246604" y="308567"/>
                  </a:cubicBezTo>
                  <a:cubicBezTo>
                    <a:pt x="1246888" y="313614"/>
                    <a:pt x="1247010" y="303387"/>
                    <a:pt x="1246969" y="30850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D5B06A75-5B00-4EA8-BE40-D89A827A4647}"/>
                </a:ext>
              </a:extLst>
            </p:cNvPr>
            <p:cNvSpPr/>
            <p:nvPr/>
          </p:nvSpPr>
          <p:spPr>
            <a:xfrm>
              <a:off x="6153312" y="4766402"/>
              <a:ext cx="517470" cy="329058"/>
            </a:xfrm>
            <a:custGeom>
              <a:avLst/>
              <a:gdLst>
                <a:gd name="connsiteX0" fmla="*/ 459498 w 517470"/>
                <a:gd name="connsiteY0" fmla="*/ 218146 h 329058"/>
                <a:gd name="connsiteX1" fmla="*/ 448823 w 517470"/>
                <a:gd name="connsiteY1" fmla="*/ 184722 h 329058"/>
                <a:gd name="connsiteX2" fmla="*/ 449310 w 517470"/>
                <a:gd name="connsiteY2" fmla="*/ 164133 h 329058"/>
                <a:gd name="connsiteX3" fmla="*/ 455439 w 517470"/>
                <a:gd name="connsiteY3" fmla="*/ 156212 h 329058"/>
                <a:gd name="connsiteX4" fmla="*/ 450040 w 517470"/>
                <a:gd name="connsiteY4" fmla="*/ 141037 h 329058"/>
                <a:gd name="connsiteX5" fmla="*/ 461528 w 517470"/>
                <a:gd name="connsiteY5" fmla="*/ 122354 h 329058"/>
                <a:gd name="connsiteX6" fmla="*/ 470863 w 517470"/>
                <a:gd name="connsiteY6" fmla="*/ 108984 h 329058"/>
                <a:gd name="connsiteX7" fmla="*/ 480523 w 517470"/>
                <a:gd name="connsiteY7" fmla="*/ 88061 h 329058"/>
                <a:gd name="connsiteX8" fmla="*/ 511615 w 517470"/>
                <a:gd name="connsiteY8" fmla="*/ 67773 h 329058"/>
                <a:gd name="connsiteX9" fmla="*/ 513685 w 517470"/>
                <a:gd name="connsiteY9" fmla="*/ 57746 h 329058"/>
                <a:gd name="connsiteX10" fmla="*/ 511575 w 517470"/>
                <a:gd name="connsiteY10" fmla="*/ 44176 h 329058"/>
                <a:gd name="connsiteX11" fmla="*/ 485272 w 517470"/>
                <a:gd name="connsiteY11" fmla="*/ 21114 h 329058"/>
                <a:gd name="connsiteX12" fmla="*/ 469929 w 517470"/>
                <a:gd name="connsiteY12" fmla="*/ 20412 h 329058"/>
                <a:gd name="connsiteX13" fmla="*/ 452719 w 517470"/>
                <a:gd name="connsiteY13" fmla="*/ 18941 h 329058"/>
                <a:gd name="connsiteX14" fmla="*/ 416554 w 517470"/>
                <a:gd name="connsiteY14" fmla="*/ 3967 h 329058"/>
                <a:gd name="connsiteX15" fmla="*/ 394838 w 517470"/>
                <a:gd name="connsiteY15" fmla="*/ 5338 h 329058"/>
                <a:gd name="connsiteX16" fmla="*/ 360905 w 517470"/>
                <a:gd name="connsiteY16" fmla="*/ 4435 h 329058"/>
                <a:gd name="connsiteX17" fmla="*/ 341301 w 517470"/>
                <a:gd name="connsiteY17" fmla="*/ 2998 h 329058"/>
                <a:gd name="connsiteX18" fmla="*/ 305298 w 517470"/>
                <a:gd name="connsiteY18" fmla="*/ 7276 h 329058"/>
                <a:gd name="connsiteX19" fmla="*/ 285287 w 517470"/>
                <a:gd name="connsiteY19" fmla="*/ 7911 h 329058"/>
                <a:gd name="connsiteX20" fmla="*/ 278346 w 517470"/>
                <a:gd name="connsiteY20" fmla="*/ 17136 h 329058"/>
                <a:gd name="connsiteX21" fmla="*/ 221845 w 517470"/>
                <a:gd name="connsiteY21" fmla="*/ 6507 h 329058"/>
                <a:gd name="connsiteX22" fmla="*/ 180727 w 517470"/>
                <a:gd name="connsiteY22" fmla="*/ 6307 h 329058"/>
                <a:gd name="connsiteX23" fmla="*/ 171757 w 517470"/>
                <a:gd name="connsiteY23" fmla="*/ 22350 h 329058"/>
                <a:gd name="connsiteX24" fmla="*/ 157591 w 517470"/>
                <a:gd name="connsiteY24" fmla="*/ 50326 h 329058"/>
                <a:gd name="connsiteX25" fmla="*/ 140381 w 517470"/>
                <a:gd name="connsiteY25" fmla="*/ 82112 h 329058"/>
                <a:gd name="connsiteX26" fmla="*/ 119315 w 517470"/>
                <a:gd name="connsiteY26" fmla="*/ 105207 h 329058"/>
                <a:gd name="connsiteX27" fmla="*/ 106854 w 517470"/>
                <a:gd name="connsiteY27" fmla="*/ 134988 h 329058"/>
                <a:gd name="connsiteX28" fmla="*/ 102389 w 517470"/>
                <a:gd name="connsiteY28" fmla="*/ 147221 h 329058"/>
                <a:gd name="connsiteX29" fmla="*/ 95246 w 517470"/>
                <a:gd name="connsiteY29" fmla="*/ 157248 h 329058"/>
                <a:gd name="connsiteX30" fmla="*/ 83069 w 517470"/>
                <a:gd name="connsiteY30" fmla="*/ 160590 h 329058"/>
                <a:gd name="connsiteX31" fmla="*/ 66833 w 517470"/>
                <a:gd name="connsiteY31" fmla="*/ 163264 h 329058"/>
                <a:gd name="connsiteX32" fmla="*/ 50921 w 517470"/>
                <a:gd name="connsiteY32" fmla="*/ 159588 h 329058"/>
                <a:gd name="connsiteX33" fmla="*/ 25877 w 517470"/>
                <a:gd name="connsiteY33" fmla="*/ 160724 h 329058"/>
                <a:gd name="connsiteX34" fmla="*/ -60 w 517470"/>
                <a:gd name="connsiteY34" fmla="*/ 169080 h 329058"/>
                <a:gd name="connsiteX35" fmla="*/ 10291 w 517470"/>
                <a:gd name="connsiteY35" fmla="*/ 189669 h 329058"/>
                <a:gd name="connsiteX36" fmla="*/ 109452 w 517470"/>
                <a:gd name="connsiteY36" fmla="*/ 185491 h 329058"/>
                <a:gd name="connsiteX37" fmla="*/ 123049 w 517470"/>
                <a:gd name="connsiteY37" fmla="*/ 206514 h 329058"/>
                <a:gd name="connsiteX38" fmla="*/ 142695 w 517470"/>
                <a:gd name="connsiteY38" fmla="*/ 224296 h 329058"/>
                <a:gd name="connsiteX39" fmla="*/ 184381 w 517470"/>
                <a:gd name="connsiteY39" fmla="*/ 222023 h 329058"/>
                <a:gd name="connsiteX40" fmla="*/ 193189 w 517470"/>
                <a:gd name="connsiteY40" fmla="*/ 208653 h 329058"/>
                <a:gd name="connsiteX41" fmla="*/ 217786 w 517470"/>
                <a:gd name="connsiteY41" fmla="*/ 207784 h 329058"/>
                <a:gd name="connsiteX42" fmla="*/ 237553 w 517470"/>
                <a:gd name="connsiteY42" fmla="*/ 211962 h 329058"/>
                <a:gd name="connsiteX43" fmla="*/ 251029 w 517470"/>
                <a:gd name="connsiteY43" fmla="*/ 226267 h 329058"/>
                <a:gd name="connsiteX44" fmla="*/ 251963 w 517470"/>
                <a:gd name="connsiteY44" fmla="*/ 255079 h 329058"/>
                <a:gd name="connsiteX45" fmla="*/ 258538 w 517470"/>
                <a:gd name="connsiteY45" fmla="*/ 272960 h 329058"/>
                <a:gd name="connsiteX46" fmla="*/ 274774 w 517470"/>
                <a:gd name="connsiteY46" fmla="*/ 276303 h 329058"/>
                <a:gd name="connsiteX47" fmla="*/ 311305 w 517470"/>
                <a:gd name="connsiteY47" fmla="*/ 279144 h 329058"/>
                <a:gd name="connsiteX48" fmla="*/ 328515 w 517470"/>
                <a:gd name="connsiteY48" fmla="*/ 283622 h 329058"/>
                <a:gd name="connsiteX49" fmla="*/ 341179 w 517470"/>
                <a:gd name="connsiteY49" fmla="*/ 293349 h 329058"/>
                <a:gd name="connsiteX50" fmla="*/ 372798 w 517470"/>
                <a:gd name="connsiteY50" fmla="*/ 299632 h 329058"/>
                <a:gd name="connsiteX51" fmla="*/ 391185 w 517470"/>
                <a:gd name="connsiteY51" fmla="*/ 298195 h 329058"/>
                <a:gd name="connsiteX52" fmla="*/ 417325 w 517470"/>
                <a:gd name="connsiteY52" fmla="*/ 307387 h 329058"/>
                <a:gd name="connsiteX53" fmla="*/ 452314 w 517470"/>
                <a:gd name="connsiteY53" fmla="*/ 325469 h 329058"/>
                <a:gd name="connsiteX54" fmla="*/ 454018 w 517470"/>
                <a:gd name="connsiteY54" fmla="*/ 306651 h 329058"/>
                <a:gd name="connsiteX55" fmla="*/ 428569 w 517470"/>
                <a:gd name="connsiteY55" fmla="*/ 305013 h 329058"/>
                <a:gd name="connsiteX56" fmla="*/ 419355 w 517470"/>
                <a:gd name="connsiteY56" fmla="*/ 290909 h 329058"/>
                <a:gd name="connsiteX57" fmla="*/ 429177 w 517470"/>
                <a:gd name="connsiteY57" fmla="*/ 270454 h 329058"/>
                <a:gd name="connsiteX58" fmla="*/ 428690 w 517470"/>
                <a:gd name="connsiteY58" fmla="*/ 254644 h 329058"/>
                <a:gd name="connsiteX59" fmla="*/ 436524 w 517470"/>
                <a:gd name="connsiteY59" fmla="*/ 246422 h 329058"/>
                <a:gd name="connsiteX60" fmla="*/ 441922 w 517470"/>
                <a:gd name="connsiteY60" fmla="*/ 240673 h 329058"/>
                <a:gd name="connsiteX61" fmla="*/ 475003 w 517470"/>
                <a:gd name="connsiteY61" fmla="*/ 239704 h 329058"/>
                <a:gd name="connsiteX62" fmla="*/ 459863 w 517470"/>
                <a:gd name="connsiteY62" fmla="*/ 217878 h 329058"/>
                <a:gd name="connsiteX63" fmla="*/ 459498 w 517470"/>
                <a:gd name="connsiteY63" fmla="*/ 218146 h 32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17470" h="329058">
                  <a:moveTo>
                    <a:pt x="459498" y="218146"/>
                  </a:moveTo>
                  <a:cubicBezTo>
                    <a:pt x="447321" y="213165"/>
                    <a:pt x="449269" y="192008"/>
                    <a:pt x="448823" y="184722"/>
                  </a:cubicBezTo>
                  <a:cubicBezTo>
                    <a:pt x="448336" y="177860"/>
                    <a:pt x="448498" y="170975"/>
                    <a:pt x="449310" y="164133"/>
                  </a:cubicBezTo>
                  <a:cubicBezTo>
                    <a:pt x="449310" y="163197"/>
                    <a:pt x="451948" y="150363"/>
                    <a:pt x="455439" y="156212"/>
                  </a:cubicBezTo>
                  <a:cubicBezTo>
                    <a:pt x="455439" y="148892"/>
                    <a:pt x="456291" y="146185"/>
                    <a:pt x="450040" y="141037"/>
                  </a:cubicBezTo>
                  <a:cubicBezTo>
                    <a:pt x="447970" y="139366"/>
                    <a:pt x="457022" y="123056"/>
                    <a:pt x="461528" y="122354"/>
                  </a:cubicBezTo>
                  <a:cubicBezTo>
                    <a:pt x="469645" y="121184"/>
                    <a:pt x="470498" y="112828"/>
                    <a:pt x="470863" y="108984"/>
                  </a:cubicBezTo>
                  <a:cubicBezTo>
                    <a:pt x="471553" y="101430"/>
                    <a:pt x="477560" y="95180"/>
                    <a:pt x="480523" y="88061"/>
                  </a:cubicBezTo>
                  <a:cubicBezTo>
                    <a:pt x="484826" y="77733"/>
                    <a:pt x="501224" y="74424"/>
                    <a:pt x="511615" y="67773"/>
                  </a:cubicBezTo>
                  <a:cubicBezTo>
                    <a:pt x="516973" y="64430"/>
                    <a:pt x="520423" y="61723"/>
                    <a:pt x="513685" y="57746"/>
                  </a:cubicBezTo>
                  <a:cubicBezTo>
                    <a:pt x="506947" y="53768"/>
                    <a:pt x="510154" y="48855"/>
                    <a:pt x="511575" y="44176"/>
                  </a:cubicBezTo>
                  <a:cubicBezTo>
                    <a:pt x="514700" y="33881"/>
                    <a:pt x="498302" y="28266"/>
                    <a:pt x="485272" y="21114"/>
                  </a:cubicBezTo>
                  <a:cubicBezTo>
                    <a:pt x="480686" y="18600"/>
                    <a:pt x="474800" y="18333"/>
                    <a:pt x="469929" y="20412"/>
                  </a:cubicBezTo>
                  <a:cubicBezTo>
                    <a:pt x="465180" y="21982"/>
                    <a:pt x="460391" y="15031"/>
                    <a:pt x="452719" y="18941"/>
                  </a:cubicBezTo>
                  <a:cubicBezTo>
                    <a:pt x="436483" y="27230"/>
                    <a:pt x="425037" y="7142"/>
                    <a:pt x="416554" y="3967"/>
                  </a:cubicBezTo>
                  <a:cubicBezTo>
                    <a:pt x="414524" y="4870"/>
                    <a:pt x="399182" y="6909"/>
                    <a:pt x="394838" y="5338"/>
                  </a:cubicBezTo>
                  <a:cubicBezTo>
                    <a:pt x="380023" y="-10"/>
                    <a:pt x="373407" y="-846"/>
                    <a:pt x="360905" y="4435"/>
                  </a:cubicBezTo>
                  <a:cubicBezTo>
                    <a:pt x="355994" y="6507"/>
                    <a:pt x="346577" y="3232"/>
                    <a:pt x="341301" y="2998"/>
                  </a:cubicBezTo>
                  <a:cubicBezTo>
                    <a:pt x="328596" y="2430"/>
                    <a:pt x="316947" y="8145"/>
                    <a:pt x="305298" y="7276"/>
                  </a:cubicBezTo>
                  <a:cubicBezTo>
                    <a:pt x="298397" y="6775"/>
                    <a:pt x="290238" y="3533"/>
                    <a:pt x="285287" y="7911"/>
                  </a:cubicBezTo>
                  <a:cubicBezTo>
                    <a:pt x="284231" y="8847"/>
                    <a:pt x="278914" y="17236"/>
                    <a:pt x="278346" y="17136"/>
                  </a:cubicBezTo>
                  <a:cubicBezTo>
                    <a:pt x="263003" y="14763"/>
                    <a:pt x="231870" y="13994"/>
                    <a:pt x="221845" y="6507"/>
                  </a:cubicBezTo>
                  <a:cubicBezTo>
                    <a:pt x="208329" y="-3520"/>
                    <a:pt x="194609" y="-1615"/>
                    <a:pt x="180727" y="6307"/>
                  </a:cubicBezTo>
                  <a:cubicBezTo>
                    <a:pt x="171026" y="11855"/>
                    <a:pt x="172041" y="14295"/>
                    <a:pt x="171757" y="22350"/>
                  </a:cubicBezTo>
                  <a:cubicBezTo>
                    <a:pt x="171270" y="34784"/>
                    <a:pt x="163071" y="39530"/>
                    <a:pt x="157591" y="50326"/>
                  </a:cubicBezTo>
                  <a:cubicBezTo>
                    <a:pt x="151827" y="61656"/>
                    <a:pt x="149473" y="71115"/>
                    <a:pt x="140381" y="82112"/>
                  </a:cubicBezTo>
                  <a:cubicBezTo>
                    <a:pt x="132953" y="91336"/>
                    <a:pt x="133481" y="98589"/>
                    <a:pt x="119315" y="105207"/>
                  </a:cubicBezTo>
                  <a:cubicBezTo>
                    <a:pt x="104175" y="112327"/>
                    <a:pt x="107625" y="123958"/>
                    <a:pt x="106854" y="134988"/>
                  </a:cubicBezTo>
                  <a:cubicBezTo>
                    <a:pt x="106854" y="137595"/>
                    <a:pt x="108681" y="145984"/>
                    <a:pt x="102389" y="147221"/>
                  </a:cubicBezTo>
                  <a:cubicBezTo>
                    <a:pt x="94271" y="148858"/>
                    <a:pt x="97396" y="152736"/>
                    <a:pt x="95246" y="157248"/>
                  </a:cubicBezTo>
                  <a:cubicBezTo>
                    <a:pt x="93500" y="160824"/>
                    <a:pt x="87371" y="159688"/>
                    <a:pt x="83069" y="160590"/>
                  </a:cubicBezTo>
                  <a:cubicBezTo>
                    <a:pt x="78766" y="161493"/>
                    <a:pt x="66833" y="171352"/>
                    <a:pt x="66833" y="163264"/>
                  </a:cubicBezTo>
                  <a:cubicBezTo>
                    <a:pt x="66833" y="157916"/>
                    <a:pt x="56360" y="158184"/>
                    <a:pt x="50921" y="159588"/>
                  </a:cubicBezTo>
                  <a:cubicBezTo>
                    <a:pt x="36715" y="163297"/>
                    <a:pt x="39313" y="163632"/>
                    <a:pt x="25877" y="160724"/>
                  </a:cubicBezTo>
                  <a:cubicBezTo>
                    <a:pt x="19383" y="159387"/>
                    <a:pt x="4568" y="167141"/>
                    <a:pt x="-60" y="169080"/>
                  </a:cubicBezTo>
                  <a:cubicBezTo>
                    <a:pt x="4284" y="175607"/>
                    <a:pt x="7774" y="182513"/>
                    <a:pt x="10291" y="189669"/>
                  </a:cubicBezTo>
                  <a:cubicBezTo>
                    <a:pt x="35903" y="178539"/>
                    <a:pt x="79618" y="184688"/>
                    <a:pt x="109452" y="185491"/>
                  </a:cubicBezTo>
                  <a:cubicBezTo>
                    <a:pt x="126459" y="185925"/>
                    <a:pt x="113917" y="201267"/>
                    <a:pt x="123049" y="206514"/>
                  </a:cubicBezTo>
                  <a:cubicBezTo>
                    <a:pt x="131167" y="211260"/>
                    <a:pt x="131167" y="221722"/>
                    <a:pt x="142695" y="224296"/>
                  </a:cubicBezTo>
                  <a:cubicBezTo>
                    <a:pt x="155562" y="227237"/>
                    <a:pt x="170702" y="219483"/>
                    <a:pt x="184381" y="222023"/>
                  </a:cubicBezTo>
                  <a:cubicBezTo>
                    <a:pt x="187831" y="222658"/>
                    <a:pt x="191443" y="210291"/>
                    <a:pt x="193189" y="208653"/>
                  </a:cubicBezTo>
                  <a:cubicBezTo>
                    <a:pt x="197856" y="204442"/>
                    <a:pt x="211251" y="206514"/>
                    <a:pt x="217786" y="207784"/>
                  </a:cubicBezTo>
                  <a:cubicBezTo>
                    <a:pt x="224321" y="209054"/>
                    <a:pt x="227324" y="212397"/>
                    <a:pt x="237553" y="211962"/>
                  </a:cubicBezTo>
                  <a:cubicBezTo>
                    <a:pt x="254926" y="211227"/>
                    <a:pt x="246321" y="218146"/>
                    <a:pt x="251029" y="226267"/>
                  </a:cubicBezTo>
                  <a:cubicBezTo>
                    <a:pt x="256752" y="236294"/>
                    <a:pt x="239907" y="246322"/>
                    <a:pt x="251963" y="255079"/>
                  </a:cubicBezTo>
                  <a:cubicBezTo>
                    <a:pt x="260852" y="261429"/>
                    <a:pt x="260811" y="265373"/>
                    <a:pt x="258538" y="272960"/>
                  </a:cubicBezTo>
                  <a:cubicBezTo>
                    <a:pt x="254722" y="285795"/>
                    <a:pt x="265641" y="276069"/>
                    <a:pt x="274774" y="276303"/>
                  </a:cubicBezTo>
                  <a:cubicBezTo>
                    <a:pt x="285814" y="276737"/>
                    <a:pt x="303430" y="272693"/>
                    <a:pt x="311305" y="279144"/>
                  </a:cubicBezTo>
                  <a:cubicBezTo>
                    <a:pt x="318124" y="284826"/>
                    <a:pt x="316744" y="284792"/>
                    <a:pt x="328515" y="283622"/>
                  </a:cubicBezTo>
                  <a:cubicBezTo>
                    <a:pt x="342194" y="282285"/>
                    <a:pt x="332574" y="289238"/>
                    <a:pt x="341179" y="293349"/>
                  </a:cubicBezTo>
                  <a:cubicBezTo>
                    <a:pt x="351245" y="296771"/>
                    <a:pt x="361920" y="298890"/>
                    <a:pt x="372798" y="299632"/>
                  </a:cubicBezTo>
                  <a:cubicBezTo>
                    <a:pt x="381971" y="299632"/>
                    <a:pt x="383757" y="289070"/>
                    <a:pt x="391185" y="298195"/>
                  </a:cubicBezTo>
                  <a:cubicBezTo>
                    <a:pt x="398045" y="306718"/>
                    <a:pt x="404986" y="304880"/>
                    <a:pt x="417325" y="307387"/>
                  </a:cubicBezTo>
                  <a:cubicBezTo>
                    <a:pt x="425443" y="308958"/>
                    <a:pt x="432384" y="338337"/>
                    <a:pt x="452314" y="325469"/>
                  </a:cubicBezTo>
                  <a:cubicBezTo>
                    <a:pt x="455195" y="323630"/>
                    <a:pt x="461324" y="307119"/>
                    <a:pt x="454018" y="306651"/>
                  </a:cubicBezTo>
                  <a:cubicBezTo>
                    <a:pt x="443424" y="305983"/>
                    <a:pt x="437782" y="313804"/>
                    <a:pt x="428569" y="305013"/>
                  </a:cubicBezTo>
                  <a:cubicBezTo>
                    <a:pt x="424875" y="301671"/>
                    <a:pt x="416919" y="294986"/>
                    <a:pt x="419355" y="290909"/>
                  </a:cubicBezTo>
                  <a:cubicBezTo>
                    <a:pt x="423332" y="284338"/>
                    <a:pt x="426620" y="277493"/>
                    <a:pt x="429177" y="270454"/>
                  </a:cubicBezTo>
                  <a:cubicBezTo>
                    <a:pt x="430760" y="266008"/>
                    <a:pt x="425768" y="257452"/>
                    <a:pt x="428690" y="254644"/>
                  </a:cubicBezTo>
                  <a:cubicBezTo>
                    <a:pt x="432506" y="251034"/>
                    <a:pt x="436443" y="251135"/>
                    <a:pt x="436524" y="246422"/>
                  </a:cubicBezTo>
                  <a:cubicBezTo>
                    <a:pt x="436524" y="243949"/>
                    <a:pt x="436037" y="240339"/>
                    <a:pt x="441922" y="240673"/>
                  </a:cubicBezTo>
                  <a:cubicBezTo>
                    <a:pt x="450852" y="241208"/>
                    <a:pt x="467778" y="244015"/>
                    <a:pt x="475003" y="239704"/>
                  </a:cubicBezTo>
                  <a:cubicBezTo>
                    <a:pt x="482228" y="235392"/>
                    <a:pt x="467332" y="220987"/>
                    <a:pt x="459863" y="217878"/>
                  </a:cubicBezTo>
                  <a:cubicBezTo>
                    <a:pt x="446550" y="212798"/>
                    <a:pt x="466763" y="221187"/>
                    <a:pt x="459498" y="21814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8149C9CE-4ABF-4078-AAA6-BE114F9DBCFC}"/>
                </a:ext>
              </a:extLst>
            </p:cNvPr>
            <p:cNvSpPr/>
            <p:nvPr/>
          </p:nvSpPr>
          <p:spPr>
            <a:xfrm>
              <a:off x="6606822" y="4905474"/>
              <a:ext cx="42381" cy="35527"/>
            </a:xfrm>
            <a:custGeom>
              <a:avLst/>
              <a:gdLst>
                <a:gd name="connsiteX0" fmla="*/ 1929 w 42381"/>
                <a:gd name="connsiteY0" fmla="*/ 17106 h 35527"/>
                <a:gd name="connsiteX1" fmla="*/ 7206 w 42381"/>
                <a:gd name="connsiteY1" fmla="*/ 35188 h 35527"/>
                <a:gd name="connsiteX2" fmla="*/ 38906 w 42381"/>
                <a:gd name="connsiteY2" fmla="*/ 10823 h 35527"/>
                <a:gd name="connsiteX3" fmla="*/ 23767 w 42381"/>
                <a:gd name="connsiteY3" fmla="*/ 395 h 35527"/>
                <a:gd name="connsiteX4" fmla="*/ 19708 w 42381"/>
                <a:gd name="connsiteY4" fmla="*/ 4806 h 35527"/>
                <a:gd name="connsiteX5" fmla="*/ -60 w 42381"/>
                <a:gd name="connsiteY5" fmla="*/ 3636 h 35527"/>
                <a:gd name="connsiteX6" fmla="*/ 1929 w 42381"/>
                <a:gd name="connsiteY6" fmla="*/ 17106 h 3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381" h="35527">
                  <a:moveTo>
                    <a:pt x="1929" y="17106"/>
                  </a:moveTo>
                  <a:cubicBezTo>
                    <a:pt x="4689" y="22902"/>
                    <a:pt x="6475" y="28988"/>
                    <a:pt x="7206" y="35188"/>
                  </a:cubicBezTo>
                  <a:cubicBezTo>
                    <a:pt x="16501" y="32147"/>
                    <a:pt x="53641" y="17474"/>
                    <a:pt x="38906" y="10823"/>
                  </a:cubicBezTo>
                  <a:cubicBezTo>
                    <a:pt x="32452" y="7915"/>
                    <a:pt x="42032" y="-3282"/>
                    <a:pt x="23767" y="395"/>
                  </a:cubicBezTo>
                  <a:cubicBezTo>
                    <a:pt x="23360" y="395"/>
                    <a:pt x="21818" y="4205"/>
                    <a:pt x="19708" y="4806"/>
                  </a:cubicBezTo>
                  <a:cubicBezTo>
                    <a:pt x="14066" y="6478"/>
                    <a:pt x="5907" y="4138"/>
                    <a:pt x="-60" y="3636"/>
                  </a:cubicBezTo>
                  <a:cubicBezTo>
                    <a:pt x="4283" y="5074"/>
                    <a:pt x="1889" y="13964"/>
                    <a:pt x="1929" y="1710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BD4E6461-B1DD-4242-909D-7DC0AA5B8BB9}"/>
                </a:ext>
              </a:extLst>
            </p:cNvPr>
            <p:cNvSpPr/>
            <p:nvPr/>
          </p:nvSpPr>
          <p:spPr>
            <a:xfrm>
              <a:off x="6615616" y="5069414"/>
              <a:ext cx="282558" cy="272805"/>
            </a:xfrm>
            <a:custGeom>
              <a:avLst/>
              <a:gdLst>
                <a:gd name="connsiteX0" fmla="*/ 280551 w 282558"/>
                <a:gd name="connsiteY0" fmla="*/ 74797 h 272805"/>
                <a:gd name="connsiteX1" fmla="*/ 282499 w 282558"/>
                <a:gd name="connsiteY1" fmla="*/ -339 h 272805"/>
                <a:gd name="connsiteX2" fmla="*/ 238500 w 282558"/>
                <a:gd name="connsiteY2" fmla="*/ 6647 h 272805"/>
                <a:gd name="connsiteX3" fmla="*/ 217150 w 282558"/>
                <a:gd name="connsiteY3" fmla="*/ 5677 h 272805"/>
                <a:gd name="connsiteX4" fmla="*/ 204973 w 282558"/>
                <a:gd name="connsiteY4" fmla="*/ 12696 h 272805"/>
                <a:gd name="connsiteX5" fmla="*/ 188047 w 282558"/>
                <a:gd name="connsiteY5" fmla="*/ 10691 h 272805"/>
                <a:gd name="connsiteX6" fmla="*/ 168077 w 282558"/>
                <a:gd name="connsiteY6" fmla="*/ 10958 h 272805"/>
                <a:gd name="connsiteX7" fmla="*/ 153586 w 282558"/>
                <a:gd name="connsiteY7" fmla="*/ 4541 h 272805"/>
                <a:gd name="connsiteX8" fmla="*/ 128665 w 282558"/>
                <a:gd name="connsiteY8" fmla="*/ 3639 h 272805"/>
                <a:gd name="connsiteX9" fmla="*/ 128665 w 282558"/>
                <a:gd name="connsiteY9" fmla="*/ 29743 h 272805"/>
                <a:gd name="connsiteX10" fmla="*/ 133495 w 282558"/>
                <a:gd name="connsiteY10" fmla="*/ 43881 h 272805"/>
                <a:gd name="connsiteX11" fmla="*/ 150705 w 282558"/>
                <a:gd name="connsiteY11" fmla="*/ 59890 h 272805"/>
                <a:gd name="connsiteX12" fmla="*/ 143033 w 282558"/>
                <a:gd name="connsiteY12" fmla="*/ 82619 h 272805"/>
                <a:gd name="connsiteX13" fmla="*/ 131100 w 282558"/>
                <a:gd name="connsiteY13" fmla="*/ 84557 h 272805"/>
                <a:gd name="connsiteX14" fmla="*/ 127041 w 282558"/>
                <a:gd name="connsiteY14" fmla="*/ 99932 h 272805"/>
                <a:gd name="connsiteX15" fmla="*/ 108897 w 282558"/>
                <a:gd name="connsiteY15" fmla="*/ 82585 h 272805"/>
                <a:gd name="connsiteX16" fmla="*/ 113322 w 282558"/>
                <a:gd name="connsiteY16" fmla="*/ 55846 h 272805"/>
                <a:gd name="connsiteX17" fmla="*/ 99480 w 282558"/>
                <a:gd name="connsiteY17" fmla="*/ 51468 h 272805"/>
                <a:gd name="connsiteX18" fmla="*/ 82717 w 282558"/>
                <a:gd name="connsiteY18" fmla="*/ 47591 h 272805"/>
                <a:gd name="connsiteX19" fmla="*/ 58363 w 282558"/>
                <a:gd name="connsiteY19" fmla="*/ 45084 h 272805"/>
                <a:gd name="connsiteX20" fmla="*/ -5 w 282558"/>
                <a:gd name="connsiteY20" fmla="*/ 57284 h 272805"/>
                <a:gd name="connsiteX21" fmla="*/ 6286 w 282558"/>
                <a:gd name="connsiteY21" fmla="*/ 73460 h 272805"/>
                <a:gd name="connsiteX22" fmla="*/ 56293 w 282558"/>
                <a:gd name="connsiteY22" fmla="*/ 86830 h 272805"/>
                <a:gd name="connsiteX23" fmla="*/ 68023 w 282558"/>
                <a:gd name="connsiteY23" fmla="*/ 106282 h 272805"/>
                <a:gd name="connsiteX24" fmla="*/ 64208 w 282558"/>
                <a:gd name="connsiteY24" fmla="*/ 122125 h 272805"/>
                <a:gd name="connsiteX25" fmla="*/ 58282 w 282558"/>
                <a:gd name="connsiteY25" fmla="*/ 131016 h 272805"/>
                <a:gd name="connsiteX26" fmla="*/ 56171 w 282558"/>
                <a:gd name="connsiteY26" fmla="*/ 153243 h 272805"/>
                <a:gd name="connsiteX27" fmla="*/ 28692 w 282558"/>
                <a:gd name="connsiteY27" fmla="*/ 179347 h 272805"/>
                <a:gd name="connsiteX28" fmla="*/ 13795 w 282558"/>
                <a:gd name="connsiteY28" fmla="*/ 188204 h 272805"/>
                <a:gd name="connsiteX29" fmla="*/ 17164 w 282558"/>
                <a:gd name="connsiteY29" fmla="*/ 199401 h 272805"/>
                <a:gd name="connsiteX30" fmla="*/ 28813 w 282558"/>
                <a:gd name="connsiteY30" fmla="*/ 223867 h 272805"/>
                <a:gd name="connsiteX31" fmla="*/ 26459 w 282558"/>
                <a:gd name="connsiteY31" fmla="*/ 271829 h 272805"/>
                <a:gd name="connsiteX32" fmla="*/ 46754 w 282558"/>
                <a:gd name="connsiteY32" fmla="*/ 267551 h 272805"/>
                <a:gd name="connsiteX33" fmla="*/ 38109 w 282558"/>
                <a:gd name="connsiteY33" fmla="*/ 256588 h 272805"/>
                <a:gd name="connsiteX34" fmla="*/ 100211 w 282558"/>
                <a:gd name="connsiteY34" fmla="*/ 236534 h 272805"/>
                <a:gd name="connsiteX35" fmla="*/ 118720 w 282558"/>
                <a:gd name="connsiteY35" fmla="*/ 207890 h 272805"/>
                <a:gd name="connsiteX36" fmla="*/ 112509 w 282558"/>
                <a:gd name="connsiteY36" fmla="*/ 168751 h 272805"/>
                <a:gd name="connsiteX37" fmla="*/ 107517 w 282558"/>
                <a:gd name="connsiteY37" fmla="*/ 151772 h 272805"/>
                <a:gd name="connsiteX38" fmla="*/ 117664 w 282558"/>
                <a:gd name="connsiteY38" fmla="*/ 148095 h 272805"/>
                <a:gd name="connsiteX39" fmla="*/ 126838 w 282558"/>
                <a:gd name="connsiteY39" fmla="*/ 140308 h 272805"/>
                <a:gd name="connsiteX40" fmla="*/ 154276 w 282558"/>
                <a:gd name="connsiteY40" fmla="*/ 131250 h 272805"/>
                <a:gd name="connsiteX41" fmla="*/ 180173 w 282558"/>
                <a:gd name="connsiteY41" fmla="*/ 116009 h 272805"/>
                <a:gd name="connsiteX42" fmla="*/ 245116 w 282558"/>
                <a:gd name="connsiteY42" fmla="*/ 101904 h 272805"/>
                <a:gd name="connsiteX43" fmla="*/ 280470 w 282558"/>
                <a:gd name="connsiteY43" fmla="*/ 75165 h 272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2558" h="272805">
                  <a:moveTo>
                    <a:pt x="280551" y="74797"/>
                  </a:moveTo>
                  <a:cubicBezTo>
                    <a:pt x="270566" y="51601"/>
                    <a:pt x="280836" y="22824"/>
                    <a:pt x="282499" y="-339"/>
                  </a:cubicBezTo>
                  <a:cubicBezTo>
                    <a:pt x="266548" y="2469"/>
                    <a:pt x="254493" y="6346"/>
                    <a:pt x="238500" y="6647"/>
                  </a:cubicBezTo>
                  <a:cubicBezTo>
                    <a:pt x="227784" y="6647"/>
                    <a:pt x="227866" y="8685"/>
                    <a:pt x="217150" y="5677"/>
                  </a:cubicBezTo>
                  <a:cubicBezTo>
                    <a:pt x="208382" y="3271"/>
                    <a:pt x="210574" y="11961"/>
                    <a:pt x="204973" y="12696"/>
                  </a:cubicBezTo>
                  <a:cubicBezTo>
                    <a:pt x="199372" y="13432"/>
                    <a:pt x="193730" y="10791"/>
                    <a:pt x="188047" y="10691"/>
                  </a:cubicBezTo>
                  <a:cubicBezTo>
                    <a:pt x="181431" y="10691"/>
                    <a:pt x="174734" y="11527"/>
                    <a:pt x="168077" y="10958"/>
                  </a:cubicBezTo>
                  <a:cubicBezTo>
                    <a:pt x="161420" y="10390"/>
                    <a:pt x="164343" y="3772"/>
                    <a:pt x="153586" y="4541"/>
                  </a:cubicBezTo>
                  <a:cubicBezTo>
                    <a:pt x="145266" y="5403"/>
                    <a:pt x="136863" y="5099"/>
                    <a:pt x="128665" y="3639"/>
                  </a:cubicBezTo>
                  <a:cubicBezTo>
                    <a:pt x="127082" y="13365"/>
                    <a:pt x="124606" y="19515"/>
                    <a:pt x="128665" y="29743"/>
                  </a:cubicBezTo>
                  <a:cubicBezTo>
                    <a:pt x="130694" y="34352"/>
                    <a:pt x="132317" y="39078"/>
                    <a:pt x="133495" y="43881"/>
                  </a:cubicBezTo>
                  <a:cubicBezTo>
                    <a:pt x="134712" y="50164"/>
                    <a:pt x="146686" y="53908"/>
                    <a:pt x="150705" y="59890"/>
                  </a:cubicBezTo>
                  <a:cubicBezTo>
                    <a:pt x="153140" y="63634"/>
                    <a:pt x="147538" y="81181"/>
                    <a:pt x="143033" y="82619"/>
                  </a:cubicBezTo>
                  <a:cubicBezTo>
                    <a:pt x="139218" y="83855"/>
                    <a:pt x="134915" y="82886"/>
                    <a:pt x="131100" y="84557"/>
                  </a:cubicBezTo>
                  <a:cubicBezTo>
                    <a:pt x="122697" y="88401"/>
                    <a:pt x="130532" y="95253"/>
                    <a:pt x="127041" y="99932"/>
                  </a:cubicBezTo>
                  <a:cubicBezTo>
                    <a:pt x="126351" y="100768"/>
                    <a:pt x="110155" y="84156"/>
                    <a:pt x="108897" y="82585"/>
                  </a:cubicBezTo>
                  <a:cubicBezTo>
                    <a:pt x="100779" y="72558"/>
                    <a:pt x="115473" y="65873"/>
                    <a:pt x="113322" y="55846"/>
                  </a:cubicBezTo>
                  <a:cubicBezTo>
                    <a:pt x="112307" y="51167"/>
                    <a:pt x="105204" y="50966"/>
                    <a:pt x="99480" y="51468"/>
                  </a:cubicBezTo>
                  <a:cubicBezTo>
                    <a:pt x="91362" y="52203"/>
                    <a:pt x="88886" y="51835"/>
                    <a:pt x="82717" y="47591"/>
                  </a:cubicBezTo>
                  <a:cubicBezTo>
                    <a:pt x="73584" y="41340"/>
                    <a:pt x="70540" y="43246"/>
                    <a:pt x="58363" y="45084"/>
                  </a:cubicBezTo>
                  <a:cubicBezTo>
                    <a:pt x="49108" y="46454"/>
                    <a:pt x="-1954" y="51468"/>
                    <a:pt x="-5" y="57284"/>
                  </a:cubicBezTo>
                  <a:cubicBezTo>
                    <a:pt x="969" y="60191"/>
                    <a:pt x="2268" y="72993"/>
                    <a:pt x="6286" y="73460"/>
                  </a:cubicBezTo>
                  <a:cubicBezTo>
                    <a:pt x="25404" y="75566"/>
                    <a:pt x="38758" y="82552"/>
                    <a:pt x="56293" y="86830"/>
                  </a:cubicBezTo>
                  <a:cubicBezTo>
                    <a:pt x="73828" y="91108"/>
                    <a:pt x="69890" y="95086"/>
                    <a:pt x="68023" y="106282"/>
                  </a:cubicBezTo>
                  <a:cubicBezTo>
                    <a:pt x="67212" y="111162"/>
                    <a:pt x="68713" y="118014"/>
                    <a:pt x="64208" y="122125"/>
                  </a:cubicBezTo>
                  <a:cubicBezTo>
                    <a:pt x="61488" y="124599"/>
                    <a:pt x="53654" y="127406"/>
                    <a:pt x="58282" y="131016"/>
                  </a:cubicBezTo>
                  <a:cubicBezTo>
                    <a:pt x="68186" y="138670"/>
                    <a:pt x="65994" y="147728"/>
                    <a:pt x="56171" y="153243"/>
                  </a:cubicBezTo>
                  <a:cubicBezTo>
                    <a:pt x="42655" y="160763"/>
                    <a:pt x="43994" y="171358"/>
                    <a:pt x="28692" y="179347"/>
                  </a:cubicBezTo>
                  <a:cubicBezTo>
                    <a:pt x="25769" y="180884"/>
                    <a:pt x="12456" y="186399"/>
                    <a:pt x="13795" y="188204"/>
                  </a:cubicBezTo>
                  <a:cubicBezTo>
                    <a:pt x="15622" y="191780"/>
                    <a:pt x="16758" y="195557"/>
                    <a:pt x="17164" y="199401"/>
                  </a:cubicBezTo>
                  <a:cubicBezTo>
                    <a:pt x="19437" y="208091"/>
                    <a:pt x="26216" y="215912"/>
                    <a:pt x="28813" y="223867"/>
                  </a:cubicBezTo>
                  <a:cubicBezTo>
                    <a:pt x="33603" y="238606"/>
                    <a:pt x="25120" y="256521"/>
                    <a:pt x="26459" y="271829"/>
                  </a:cubicBezTo>
                  <a:cubicBezTo>
                    <a:pt x="36323" y="271596"/>
                    <a:pt x="45009" y="275172"/>
                    <a:pt x="46754" y="267551"/>
                  </a:cubicBezTo>
                  <a:cubicBezTo>
                    <a:pt x="49393" y="256989"/>
                    <a:pt x="40666" y="262939"/>
                    <a:pt x="38109" y="256588"/>
                  </a:cubicBezTo>
                  <a:cubicBezTo>
                    <a:pt x="33400" y="245124"/>
                    <a:pt x="90631" y="238573"/>
                    <a:pt x="100211" y="236534"/>
                  </a:cubicBezTo>
                  <a:cubicBezTo>
                    <a:pt x="120506" y="231688"/>
                    <a:pt x="114661" y="219822"/>
                    <a:pt x="118720" y="207890"/>
                  </a:cubicBezTo>
                  <a:cubicBezTo>
                    <a:pt x="122738" y="194654"/>
                    <a:pt x="120506" y="180683"/>
                    <a:pt x="112509" y="168751"/>
                  </a:cubicBezTo>
                  <a:cubicBezTo>
                    <a:pt x="108816" y="163537"/>
                    <a:pt x="105244" y="157454"/>
                    <a:pt x="107517" y="151772"/>
                  </a:cubicBezTo>
                  <a:cubicBezTo>
                    <a:pt x="109181" y="147627"/>
                    <a:pt x="113078" y="149198"/>
                    <a:pt x="117664" y="148095"/>
                  </a:cubicBezTo>
                  <a:cubicBezTo>
                    <a:pt x="122251" y="146992"/>
                    <a:pt x="124727" y="142413"/>
                    <a:pt x="126838" y="140308"/>
                  </a:cubicBezTo>
                  <a:cubicBezTo>
                    <a:pt x="132764" y="134291"/>
                    <a:pt x="146037" y="135628"/>
                    <a:pt x="154276" y="131250"/>
                  </a:cubicBezTo>
                  <a:cubicBezTo>
                    <a:pt x="163531" y="126337"/>
                    <a:pt x="169498" y="120053"/>
                    <a:pt x="180173" y="116009"/>
                  </a:cubicBezTo>
                  <a:cubicBezTo>
                    <a:pt x="200468" y="108288"/>
                    <a:pt x="226039" y="111162"/>
                    <a:pt x="245116" y="101904"/>
                  </a:cubicBezTo>
                  <a:cubicBezTo>
                    <a:pt x="252950" y="98094"/>
                    <a:pt x="283961" y="83454"/>
                    <a:pt x="280470" y="7516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20F61D58-C869-4F8E-9036-C182C1D47C83}"/>
                </a:ext>
              </a:extLst>
            </p:cNvPr>
            <p:cNvSpPr/>
            <p:nvPr/>
          </p:nvSpPr>
          <p:spPr>
            <a:xfrm>
              <a:off x="6613803" y="4883833"/>
              <a:ext cx="283067" cy="198493"/>
            </a:xfrm>
            <a:custGeom>
              <a:avLst/>
              <a:gdLst>
                <a:gd name="connsiteX0" fmla="*/ 267508 w 283067"/>
                <a:gd name="connsiteY0" fmla="*/ 167962 h 198493"/>
                <a:gd name="connsiteX1" fmla="*/ 261460 w 283067"/>
                <a:gd name="connsiteY1" fmla="*/ 155261 h 198493"/>
                <a:gd name="connsiteX2" fmla="*/ 261135 w 283067"/>
                <a:gd name="connsiteY2" fmla="*/ 137146 h 198493"/>
                <a:gd name="connsiteX3" fmla="*/ 265803 w 283067"/>
                <a:gd name="connsiteY3" fmla="*/ 123108 h 198493"/>
                <a:gd name="connsiteX4" fmla="*/ 257685 w 283067"/>
                <a:gd name="connsiteY4" fmla="*/ 113081 h 198493"/>
                <a:gd name="connsiteX5" fmla="*/ 256143 w 283067"/>
                <a:gd name="connsiteY5" fmla="*/ 99912 h 198493"/>
                <a:gd name="connsiteX6" fmla="*/ 261785 w 283067"/>
                <a:gd name="connsiteY6" fmla="*/ 78955 h 198493"/>
                <a:gd name="connsiteX7" fmla="*/ 226228 w 283067"/>
                <a:gd name="connsiteY7" fmla="*/ 55559 h 198493"/>
                <a:gd name="connsiteX8" fmla="*/ 220911 w 283067"/>
                <a:gd name="connsiteY8" fmla="*/ 44730 h 198493"/>
                <a:gd name="connsiteX9" fmla="*/ 186491 w 283067"/>
                <a:gd name="connsiteY9" fmla="*/ 29923 h 198493"/>
                <a:gd name="connsiteX10" fmla="*/ 127636 w 283067"/>
                <a:gd name="connsiteY10" fmla="*/ 5089 h 198493"/>
                <a:gd name="connsiteX11" fmla="*/ 120654 w 283067"/>
                <a:gd name="connsiteY11" fmla="*/ 16353 h 198493"/>
                <a:gd name="connsiteX12" fmla="*/ 110344 w 283067"/>
                <a:gd name="connsiteY12" fmla="*/ 21133 h 198493"/>
                <a:gd name="connsiteX13" fmla="*/ 108437 w 283067"/>
                <a:gd name="connsiteY13" fmla="*/ 30458 h 198493"/>
                <a:gd name="connsiteX14" fmla="*/ 89360 w 283067"/>
                <a:gd name="connsiteY14" fmla="*/ 26815 h 198493"/>
                <a:gd name="connsiteX15" fmla="*/ 65006 w 283067"/>
                <a:gd name="connsiteY15" fmla="*/ 25879 h 198493"/>
                <a:gd name="connsiteX16" fmla="*/ 70769 w 283067"/>
                <a:gd name="connsiteY16" fmla="*/ -91 h 198493"/>
                <a:gd name="connsiteX17" fmla="*/ 34036 w 283067"/>
                <a:gd name="connsiteY17" fmla="*/ 711 h 198493"/>
                <a:gd name="connsiteX18" fmla="*/ 40165 w 283067"/>
                <a:gd name="connsiteY18" fmla="*/ 12643 h 198493"/>
                <a:gd name="connsiteX19" fmla="*/ 37040 w 283067"/>
                <a:gd name="connsiteY19" fmla="*/ 22002 h 198493"/>
                <a:gd name="connsiteX20" fmla="*/ 29855 w 283067"/>
                <a:gd name="connsiteY20" fmla="*/ 31561 h 198493"/>
                <a:gd name="connsiteX21" fmla="*/ 33386 w 283067"/>
                <a:gd name="connsiteY21" fmla="*/ 37811 h 198493"/>
                <a:gd name="connsiteX22" fmla="*/ 14349 w 283067"/>
                <a:gd name="connsiteY22" fmla="*/ 52450 h 198493"/>
                <a:gd name="connsiteX23" fmla="*/ -60 w 283067"/>
                <a:gd name="connsiteY23" fmla="*/ 56729 h 198493"/>
                <a:gd name="connsiteX24" fmla="*/ 3715 w 283067"/>
                <a:gd name="connsiteY24" fmla="*/ 71803 h 198493"/>
                <a:gd name="connsiteX25" fmla="*/ 21534 w 283067"/>
                <a:gd name="connsiteY25" fmla="*/ 97706 h 198493"/>
                <a:gd name="connsiteX26" fmla="*/ 28475 w 283067"/>
                <a:gd name="connsiteY26" fmla="*/ 116791 h 198493"/>
                <a:gd name="connsiteX27" fmla="*/ 16988 w 283067"/>
                <a:gd name="connsiteY27" fmla="*/ 119264 h 198493"/>
                <a:gd name="connsiteX28" fmla="*/ 47755 w 283067"/>
                <a:gd name="connsiteY28" fmla="*/ 135308 h 198493"/>
                <a:gd name="connsiteX29" fmla="*/ 89360 w 283067"/>
                <a:gd name="connsiteY29" fmla="*/ 149513 h 198493"/>
                <a:gd name="connsiteX30" fmla="*/ 123414 w 283067"/>
                <a:gd name="connsiteY30" fmla="*/ 160008 h 198493"/>
                <a:gd name="connsiteX31" fmla="*/ 129990 w 283067"/>
                <a:gd name="connsiteY31" fmla="*/ 178290 h 198493"/>
                <a:gd name="connsiteX32" fmla="*/ 141599 w 283067"/>
                <a:gd name="connsiteY32" fmla="*/ 190891 h 198493"/>
                <a:gd name="connsiteX33" fmla="*/ 161569 w 283067"/>
                <a:gd name="connsiteY33" fmla="*/ 190691 h 198493"/>
                <a:gd name="connsiteX34" fmla="*/ 179509 w 283067"/>
                <a:gd name="connsiteY34" fmla="*/ 196439 h 198493"/>
                <a:gd name="connsiteX35" fmla="*/ 202036 w 283067"/>
                <a:gd name="connsiteY35" fmla="*/ 198077 h 198493"/>
                <a:gd name="connsiteX36" fmla="*/ 218679 w 283067"/>
                <a:gd name="connsiteY36" fmla="*/ 191158 h 198493"/>
                <a:gd name="connsiteX37" fmla="*/ 267955 w 283067"/>
                <a:gd name="connsiteY37" fmla="*/ 188184 h 198493"/>
                <a:gd name="connsiteX38" fmla="*/ 267224 w 283067"/>
                <a:gd name="connsiteY38" fmla="*/ 167862 h 198493"/>
                <a:gd name="connsiteX39" fmla="*/ 267508 w 283067"/>
                <a:gd name="connsiteY39" fmla="*/ 167962 h 19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3067" h="198493">
                  <a:moveTo>
                    <a:pt x="267508" y="167962"/>
                  </a:moveTo>
                  <a:cubicBezTo>
                    <a:pt x="267833" y="162916"/>
                    <a:pt x="264829" y="159673"/>
                    <a:pt x="261460" y="155261"/>
                  </a:cubicBezTo>
                  <a:cubicBezTo>
                    <a:pt x="256914" y="149312"/>
                    <a:pt x="263774" y="143196"/>
                    <a:pt x="261135" y="137146"/>
                  </a:cubicBezTo>
                  <a:cubicBezTo>
                    <a:pt x="258497" y="131096"/>
                    <a:pt x="257726" y="129091"/>
                    <a:pt x="265803" y="123108"/>
                  </a:cubicBezTo>
                  <a:cubicBezTo>
                    <a:pt x="271161" y="119198"/>
                    <a:pt x="261744" y="115721"/>
                    <a:pt x="257685" y="113081"/>
                  </a:cubicBezTo>
                  <a:cubicBezTo>
                    <a:pt x="251394" y="108602"/>
                    <a:pt x="253221" y="104658"/>
                    <a:pt x="256143" y="99912"/>
                  </a:cubicBezTo>
                  <a:cubicBezTo>
                    <a:pt x="260932" y="92124"/>
                    <a:pt x="273394" y="85473"/>
                    <a:pt x="261785" y="78955"/>
                  </a:cubicBezTo>
                  <a:cubicBezTo>
                    <a:pt x="253667" y="74443"/>
                    <a:pt x="224321" y="62778"/>
                    <a:pt x="226228" y="55559"/>
                  </a:cubicBezTo>
                  <a:cubicBezTo>
                    <a:pt x="228136" y="48339"/>
                    <a:pt x="229922" y="48640"/>
                    <a:pt x="220911" y="44730"/>
                  </a:cubicBezTo>
                  <a:cubicBezTo>
                    <a:pt x="209465" y="39740"/>
                    <a:pt x="197978" y="34803"/>
                    <a:pt x="186491" y="29923"/>
                  </a:cubicBezTo>
                  <a:cubicBezTo>
                    <a:pt x="166967" y="21567"/>
                    <a:pt x="147322" y="13288"/>
                    <a:pt x="127636" y="5089"/>
                  </a:cubicBezTo>
                  <a:cubicBezTo>
                    <a:pt x="126905" y="9381"/>
                    <a:pt x="124429" y="13345"/>
                    <a:pt x="120654" y="16353"/>
                  </a:cubicBezTo>
                  <a:cubicBezTo>
                    <a:pt x="118584" y="17924"/>
                    <a:pt x="111278" y="19361"/>
                    <a:pt x="110344" y="21133"/>
                  </a:cubicBezTo>
                  <a:cubicBezTo>
                    <a:pt x="108477" y="24475"/>
                    <a:pt x="123820" y="32463"/>
                    <a:pt x="108437" y="30458"/>
                  </a:cubicBezTo>
                  <a:cubicBezTo>
                    <a:pt x="101943" y="29622"/>
                    <a:pt x="95732" y="27951"/>
                    <a:pt x="89360" y="26815"/>
                  </a:cubicBezTo>
                  <a:cubicBezTo>
                    <a:pt x="82987" y="25678"/>
                    <a:pt x="70445" y="27483"/>
                    <a:pt x="65006" y="25879"/>
                  </a:cubicBezTo>
                  <a:cubicBezTo>
                    <a:pt x="54615" y="22737"/>
                    <a:pt x="68172" y="3485"/>
                    <a:pt x="70769" y="-91"/>
                  </a:cubicBezTo>
                  <a:cubicBezTo>
                    <a:pt x="58511" y="-596"/>
                    <a:pt x="46253" y="-329"/>
                    <a:pt x="34036" y="711"/>
                  </a:cubicBezTo>
                  <a:cubicBezTo>
                    <a:pt x="36025" y="4688"/>
                    <a:pt x="38419" y="8666"/>
                    <a:pt x="40165" y="12643"/>
                  </a:cubicBezTo>
                  <a:cubicBezTo>
                    <a:pt x="41464" y="15718"/>
                    <a:pt x="43736" y="20765"/>
                    <a:pt x="37040" y="22002"/>
                  </a:cubicBezTo>
                  <a:cubicBezTo>
                    <a:pt x="28150" y="23639"/>
                    <a:pt x="28313" y="25344"/>
                    <a:pt x="29855" y="31561"/>
                  </a:cubicBezTo>
                  <a:cubicBezTo>
                    <a:pt x="31072" y="36508"/>
                    <a:pt x="39759" y="31895"/>
                    <a:pt x="33386" y="37811"/>
                  </a:cubicBezTo>
                  <a:cubicBezTo>
                    <a:pt x="28028" y="42824"/>
                    <a:pt x="22346" y="48908"/>
                    <a:pt x="14349" y="52450"/>
                  </a:cubicBezTo>
                  <a:cubicBezTo>
                    <a:pt x="9641" y="54085"/>
                    <a:pt x="4852" y="55512"/>
                    <a:pt x="-60" y="56729"/>
                  </a:cubicBezTo>
                  <a:cubicBezTo>
                    <a:pt x="1077" y="61776"/>
                    <a:pt x="2254" y="66756"/>
                    <a:pt x="3715" y="71803"/>
                  </a:cubicBezTo>
                  <a:cubicBezTo>
                    <a:pt x="6922" y="82599"/>
                    <a:pt x="15324" y="88114"/>
                    <a:pt x="21534" y="97706"/>
                  </a:cubicBezTo>
                  <a:cubicBezTo>
                    <a:pt x="25593" y="103923"/>
                    <a:pt x="23361" y="110808"/>
                    <a:pt x="28475" y="116791"/>
                  </a:cubicBezTo>
                  <a:cubicBezTo>
                    <a:pt x="38623" y="128590"/>
                    <a:pt x="26283" y="130461"/>
                    <a:pt x="16988" y="119264"/>
                  </a:cubicBezTo>
                  <a:cubicBezTo>
                    <a:pt x="11265" y="127587"/>
                    <a:pt x="37567" y="131263"/>
                    <a:pt x="47755" y="135308"/>
                  </a:cubicBezTo>
                  <a:cubicBezTo>
                    <a:pt x="61068" y="140622"/>
                    <a:pt x="77061" y="142928"/>
                    <a:pt x="89360" y="149513"/>
                  </a:cubicBezTo>
                  <a:cubicBezTo>
                    <a:pt x="100968" y="155796"/>
                    <a:pt x="116555" y="149312"/>
                    <a:pt x="123414" y="160008"/>
                  </a:cubicBezTo>
                  <a:cubicBezTo>
                    <a:pt x="126865" y="165743"/>
                    <a:pt x="129097" y="171930"/>
                    <a:pt x="129990" y="178290"/>
                  </a:cubicBezTo>
                  <a:cubicBezTo>
                    <a:pt x="131370" y="186780"/>
                    <a:pt x="127027" y="188819"/>
                    <a:pt x="141599" y="190891"/>
                  </a:cubicBezTo>
                  <a:cubicBezTo>
                    <a:pt x="148539" y="191860"/>
                    <a:pt x="154790" y="188652"/>
                    <a:pt x="161569" y="190691"/>
                  </a:cubicBezTo>
                  <a:cubicBezTo>
                    <a:pt x="170904" y="193532"/>
                    <a:pt x="166074" y="196941"/>
                    <a:pt x="179509" y="196439"/>
                  </a:cubicBezTo>
                  <a:cubicBezTo>
                    <a:pt x="187059" y="196379"/>
                    <a:pt x="194609" y="196927"/>
                    <a:pt x="202036" y="198077"/>
                  </a:cubicBezTo>
                  <a:cubicBezTo>
                    <a:pt x="211778" y="199147"/>
                    <a:pt x="209789" y="188719"/>
                    <a:pt x="218679" y="191158"/>
                  </a:cubicBezTo>
                  <a:cubicBezTo>
                    <a:pt x="236132" y="196072"/>
                    <a:pt x="251151" y="191626"/>
                    <a:pt x="267955" y="188184"/>
                  </a:cubicBezTo>
                  <a:cubicBezTo>
                    <a:pt x="302659" y="181065"/>
                    <a:pt x="266372" y="180597"/>
                    <a:pt x="267224" y="167862"/>
                  </a:cubicBezTo>
                  <a:cubicBezTo>
                    <a:pt x="268198" y="157635"/>
                    <a:pt x="266818" y="178090"/>
                    <a:pt x="267508" y="16796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0290EACE-F058-48AB-8EE6-BB3882E7D002}"/>
                </a:ext>
              </a:extLst>
            </p:cNvPr>
            <p:cNvSpPr/>
            <p:nvPr/>
          </p:nvSpPr>
          <p:spPr>
            <a:xfrm>
              <a:off x="6685081" y="5036760"/>
              <a:ext cx="81238" cy="132825"/>
            </a:xfrm>
            <a:custGeom>
              <a:avLst/>
              <a:gdLst>
                <a:gd name="connsiteX0" fmla="*/ 79251 w 81238"/>
                <a:gd name="connsiteY0" fmla="*/ 90139 h 132825"/>
                <a:gd name="connsiteX1" fmla="*/ 64313 w 81238"/>
                <a:gd name="connsiteY1" fmla="*/ 78909 h 132825"/>
                <a:gd name="connsiteX2" fmla="*/ 50391 w 81238"/>
                <a:gd name="connsiteY2" fmla="*/ 77371 h 132825"/>
                <a:gd name="connsiteX3" fmla="*/ 37159 w 81238"/>
                <a:gd name="connsiteY3" fmla="*/ 53406 h 132825"/>
                <a:gd name="connsiteX4" fmla="*/ 45277 w 81238"/>
                <a:gd name="connsiteY4" fmla="*/ 27804 h 132825"/>
                <a:gd name="connsiteX5" fmla="*/ 39757 w 81238"/>
                <a:gd name="connsiteY5" fmla="*/ 1065 h 132825"/>
                <a:gd name="connsiteX6" fmla="*/ 21532 w 81238"/>
                <a:gd name="connsiteY6" fmla="*/ -339 h 132825"/>
                <a:gd name="connsiteX7" fmla="*/ 30380 w 81238"/>
                <a:gd name="connsiteY7" fmla="*/ 17075 h 132825"/>
                <a:gd name="connsiteX8" fmla="*/ 19299 w 81238"/>
                <a:gd name="connsiteY8" fmla="*/ 21487 h 132825"/>
                <a:gd name="connsiteX9" fmla="*/ 16053 w 81238"/>
                <a:gd name="connsiteY9" fmla="*/ 37396 h 132825"/>
                <a:gd name="connsiteX10" fmla="*/ 19503 w 81238"/>
                <a:gd name="connsiteY10" fmla="*/ 49061 h 132825"/>
                <a:gd name="connsiteX11" fmla="*/ 7082 w 81238"/>
                <a:gd name="connsiteY11" fmla="*/ 51234 h 132825"/>
                <a:gd name="connsiteX12" fmla="*/ 1197 w 81238"/>
                <a:gd name="connsiteY12" fmla="*/ 67444 h 132825"/>
                <a:gd name="connsiteX13" fmla="*/ 9802 w 81238"/>
                <a:gd name="connsiteY13" fmla="*/ 77772 h 132825"/>
                <a:gd name="connsiteX14" fmla="*/ 29812 w 81238"/>
                <a:gd name="connsiteY14" fmla="*/ 83922 h 132825"/>
                <a:gd name="connsiteX15" fmla="*/ 35535 w 81238"/>
                <a:gd name="connsiteY15" fmla="*/ 109959 h 132825"/>
                <a:gd name="connsiteX16" fmla="*/ 57373 w 81238"/>
                <a:gd name="connsiteY16" fmla="*/ 132487 h 132825"/>
                <a:gd name="connsiteX17" fmla="*/ 58428 w 81238"/>
                <a:gd name="connsiteY17" fmla="*/ 119786 h 132825"/>
                <a:gd name="connsiteX18" fmla="*/ 73527 w 81238"/>
                <a:gd name="connsiteY18" fmla="*/ 115173 h 132825"/>
                <a:gd name="connsiteX19" fmla="*/ 79210 w 81238"/>
                <a:gd name="connsiteY19" fmla="*/ 90206 h 1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238" h="132825">
                  <a:moveTo>
                    <a:pt x="79251" y="90139"/>
                  </a:moveTo>
                  <a:cubicBezTo>
                    <a:pt x="74664" y="86058"/>
                    <a:pt x="69671" y="82301"/>
                    <a:pt x="64313" y="78909"/>
                  </a:cubicBezTo>
                  <a:cubicBezTo>
                    <a:pt x="64313" y="86630"/>
                    <a:pt x="53354" y="80179"/>
                    <a:pt x="50391" y="77371"/>
                  </a:cubicBezTo>
                  <a:cubicBezTo>
                    <a:pt x="43044" y="70713"/>
                    <a:pt x="38417" y="62334"/>
                    <a:pt x="37159" y="53406"/>
                  </a:cubicBezTo>
                  <a:cubicBezTo>
                    <a:pt x="36469" y="44282"/>
                    <a:pt x="47185" y="36895"/>
                    <a:pt x="45277" y="27804"/>
                  </a:cubicBezTo>
                  <a:cubicBezTo>
                    <a:pt x="44140" y="22055"/>
                    <a:pt x="29609" y="5711"/>
                    <a:pt x="39757" y="1065"/>
                  </a:cubicBezTo>
                  <a:cubicBezTo>
                    <a:pt x="33709" y="280"/>
                    <a:pt x="27621" y="-192"/>
                    <a:pt x="21532" y="-339"/>
                  </a:cubicBezTo>
                  <a:cubicBezTo>
                    <a:pt x="25347" y="4474"/>
                    <a:pt x="30989" y="11660"/>
                    <a:pt x="30380" y="17075"/>
                  </a:cubicBezTo>
                  <a:cubicBezTo>
                    <a:pt x="30096" y="19247"/>
                    <a:pt x="21126" y="17576"/>
                    <a:pt x="19299" y="21487"/>
                  </a:cubicBezTo>
                  <a:cubicBezTo>
                    <a:pt x="17148" y="26604"/>
                    <a:pt x="16053" y="31982"/>
                    <a:pt x="16053" y="37396"/>
                  </a:cubicBezTo>
                  <a:cubicBezTo>
                    <a:pt x="16053" y="39669"/>
                    <a:pt x="20112" y="47691"/>
                    <a:pt x="19503" y="49061"/>
                  </a:cubicBezTo>
                  <a:cubicBezTo>
                    <a:pt x="18285" y="51334"/>
                    <a:pt x="7326" y="47658"/>
                    <a:pt x="7082" y="51234"/>
                  </a:cubicBezTo>
                  <a:cubicBezTo>
                    <a:pt x="6757" y="54209"/>
                    <a:pt x="6270" y="66241"/>
                    <a:pt x="1197" y="67444"/>
                  </a:cubicBezTo>
                  <a:cubicBezTo>
                    <a:pt x="-3877" y="68648"/>
                    <a:pt x="7935" y="76502"/>
                    <a:pt x="9802" y="77772"/>
                  </a:cubicBezTo>
                  <a:cubicBezTo>
                    <a:pt x="16986" y="82786"/>
                    <a:pt x="19624" y="84825"/>
                    <a:pt x="29812" y="83922"/>
                  </a:cubicBezTo>
                  <a:cubicBezTo>
                    <a:pt x="58225" y="81449"/>
                    <a:pt x="32856" y="103040"/>
                    <a:pt x="35535" y="109959"/>
                  </a:cubicBezTo>
                  <a:cubicBezTo>
                    <a:pt x="36875" y="113301"/>
                    <a:pt x="57251" y="132620"/>
                    <a:pt x="57373" y="132487"/>
                  </a:cubicBezTo>
                  <a:cubicBezTo>
                    <a:pt x="60133" y="128944"/>
                    <a:pt x="56074" y="123730"/>
                    <a:pt x="58428" y="119786"/>
                  </a:cubicBezTo>
                  <a:cubicBezTo>
                    <a:pt x="61432" y="114872"/>
                    <a:pt x="67926" y="116978"/>
                    <a:pt x="73527" y="115173"/>
                  </a:cubicBezTo>
                  <a:cubicBezTo>
                    <a:pt x="79738" y="113201"/>
                    <a:pt x="83797" y="94584"/>
                    <a:pt x="79210" y="90206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AF46409A-E1E6-4D05-9AAC-05294ABCD61C}"/>
                </a:ext>
              </a:extLst>
            </p:cNvPr>
            <p:cNvSpPr/>
            <p:nvPr/>
          </p:nvSpPr>
          <p:spPr>
            <a:xfrm>
              <a:off x="9883775" y="6269561"/>
              <a:ext cx="38768" cy="67843"/>
            </a:xfrm>
            <a:custGeom>
              <a:avLst/>
              <a:gdLst>
                <a:gd name="connsiteX0" fmla="*/ 163 w 38768"/>
                <a:gd name="connsiteY0" fmla="*/ -11 h 67843"/>
                <a:gd name="connsiteX1" fmla="*/ 36978 w 38768"/>
                <a:gd name="connsiteY1" fmla="*/ 67472 h 67843"/>
                <a:gd name="connsiteX2" fmla="*/ 163 w 38768"/>
                <a:gd name="connsiteY2" fmla="*/ -11 h 6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768" h="67843">
                  <a:moveTo>
                    <a:pt x="163" y="-11"/>
                  </a:moveTo>
                  <a:cubicBezTo>
                    <a:pt x="3735" y="-5893"/>
                    <a:pt x="47897" y="69310"/>
                    <a:pt x="36978" y="67472"/>
                  </a:cubicBezTo>
                  <a:cubicBezTo>
                    <a:pt x="26059" y="65633"/>
                    <a:pt x="-2881" y="5605"/>
                    <a:pt x="163" y="-11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45B82365-671C-4A4E-9E0B-91A8031A0C65}"/>
                </a:ext>
              </a:extLst>
            </p:cNvPr>
            <p:cNvSpPr/>
            <p:nvPr/>
          </p:nvSpPr>
          <p:spPr>
            <a:xfrm>
              <a:off x="7898997" y="4300594"/>
              <a:ext cx="226718" cy="109865"/>
            </a:xfrm>
            <a:custGeom>
              <a:avLst/>
              <a:gdLst>
                <a:gd name="connsiteX0" fmla="*/ 183487 w 226718"/>
                <a:gd name="connsiteY0" fmla="*/ 91955 h 109865"/>
                <a:gd name="connsiteX1" fmla="*/ 204147 w 226718"/>
                <a:gd name="connsiteY1" fmla="*/ 102283 h 109865"/>
                <a:gd name="connsiteX2" fmla="*/ 224442 w 226718"/>
                <a:gd name="connsiteY2" fmla="*/ 108432 h 109865"/>
                <a:gd name="connsiteX3" fmla="*/ 219166 w 226718"/>
                <a:gd name="connsiteY3" fmla="*/ 78686 h 109865"/>
                <a:gd name="connsiteX4" fmla="*/ 198871 w 226718"/>
                <a:gd name="connsiteY4" fmla="*/ 60637 h 109865"/>
                <a:gd name="connsiteX5" fmla="*/ 169484 w 226718"/>
                <a:gd name="connsiteY5" fmla="*/ 48069 h 109865"/>
                <a:gd name="connsiteX6" fmla="*/ 148336 w 226718"/>
                <a:gd name="connsiteY6" fmla="*/ 42922 h 109865"/>
                <a:gd name="connsiteX7" fmla="*/ 124429 w 226718"/>
                <a:gd name="connsiteY7" fmla="*/ 33965 h 109865"/>
                <a:gd name="connsiteX8" fmla="*/ 96016 w 226718"/>
                <a:gd name="connsiteY8" fmla="*/ 26812 h 109865"/>
                <a:gd name="connsiteX9" fmla="*/ 63260 w 226718"/>
                <a:gd name="connsiteY9" fmla="*/ 20127 h 109865"/>
                <a:gd name="connsiteX10" fmla="*/ 76817 w 226718"/>
                <a:gd name="connsiteY10" fmla="*/ 13443 h 109865"/>
                <a:gd name="connsiteX11" fmla="*/ 104621 w 226718"/>
                <a:gd name="connsiteY11" fmla="*/ 11771 h 109865"/>
                <a:gd name="connsiteX12" fmla="*/ 103241 w 226718"/>
                <a:gd name="connsiteY12" fmla="*/ 2246 h 109865"/>
                <a:gd name="connsiteX13" fmla="*/ 84570 w 226718"/>
                <a:gd name="connsiteY13" fmla="*/ 2814 h 109865"/>
                <a:gd name="connsiteX14" fmla="*/ 68334 w 226718"/>
                <a:gd name="connsiteY14" fmla="*/ -328 h 109865"/>
                <a:gd name="connsiteX15" fmla="*/ 47593 w 226718"/>
                <a:gd name="connsiteY15" fmla="*/ 6557 h 109865"/>
                <a:gd name="connsiteX16" fmla="*/ 34644 w 226718"/>
                <a:gd name="connsiteY16" fmla="*/ 13744 h 109865"/>
                <a:gd name="connsiteX17" fmla="*/ 6232 w 226718"/>
                <a:gd name="connsiteY17" fmla="*/ 12273 h 109865"/>
                <a:gd name="connsiteX18" fmla="*/ 16745 w 226718"/>
                <a:gd name="connsiteY18" fmla="*/ 25642 h 109865"/>
                <a:gd name="connsiteX19" fmla="*/ 21331 w 226718"/>
                <a:gd name="connsiteY19" fmla="*/ 41117 h 109865"/>
                <a:gd name="connsiteX20" fmla="*/ 3999 w 226718"/>
                <a:gd name="connsiteY20" fmla="*/ 52749 h 109865"/>
                <a:gd name="connsiteX21" fmla="*/ -60 w 226718"/>
                <a:gd name="connsiteY21" fmla="*/ 60537 h 109865"/>
                <a:gd name="connsiteX22" fmla="*/ 14106 w 226718"/>
                <a:gd name="connsiteY22" fmla="*/ 64280 h 109865"/>
                <a:gd name="connsiteX23" fmla="*/ 42235 w 226718"/>
                <a:gd name="connsiteY23" fmla="*/ 67288 h 109865"/>
                <a:gd name="connsiteX24" fmla="*/ 55548 w 226718"/>
                <a:gd name="connsiteY24" fmla="*/ 64781 h 109865"/>
                <a:gd name="connsiteX25" fmla="*/ 77223 w 226718"/>
                <a:gd name="connsiteY25" fmla="*/ 65684 h 109865"/>
                <a:gd name="connsiteX26" fmla="*/ 94271 w 226718"/>
                <a:gd name="connsiteY26" fmla="*/ 56793 h 109865"/>
                <a:gd name="connsiteX27" fmla="*/ 114809 w 226718"/>
                <a:gd name="connsiteY27" fmla="*/ 61940 h 109865"/>
                <a:gd name="connsiteX28" fmla="*/ 121953 w 226718"/>
                <a:gd name="connsiteY28" fmla="*/ 74875 h 109865"/>
                <a:gd name="connsiteX29" fmla="*/ 112861 w 226718"/>
                <a:gd name="connsiteY29" fmla="*/ 89949 h 109865"/>
                <a:gd name="connsiteX30" fmla="*/ 182756 w 226718"/>
                <a:gd name="connsiteY30" fmla="*/ 92122 h 109865"/>
                <a:gd name="connsiteX31" fmla="*/ 183487 w 226718"/>
                <a:gd name="connsiteY31" fmla="*/ 91955 h 10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6718" h="109865">
                  <a:moveTo>
                    <a:pt x="183487" y="91955"/>
                  </a:moveTo>
                  <a:cubicBezTo>
                    <a:pt x="189779" y="96153"/>
                    <a:pt x="196719" y="99625"/>
                    <a:pt x="204147" y="102283"/>
                  </a:cubicBezTo>
                  <a:cubicBezTo>
                    <a:pt x="206217" y="103118"/>
                    <a:pt x="224199" y="112711"/>
                    <a:pt x="224442" y="108432"/>
                  </a:cubicBezTo>
                  <a:cubicBezTo>
                    <a:pt x="224889" y="99843"/>
                    <a:pt x="231627" y="86741"/>
                    <a:pt x="219166" y="78686"/>
                  </a:cubicBezTo>
                  <a:cubicBezTo>
                    <a:pt x="205608" y="69929"/>
                    <a:pt x="198871" y="71098"/>
                    <a:pt x="198871" y="60637"/>
                  </a:cubicBezTo>
                  <a:cubicBezTo>
                    <a:pt x="198871" y="49005"/>
                    <a:pt x="189007" y="51880"/>
                    <a:pt x="169484" y="48069"/>
                  </a:cubicBezTo>
                  <a:cubicBezTo>
                    <a:pt x="162178" y="46666"/>
                    <a:pt x="155643" y="44226"/>
                    <a:pt x="148336" y="42922"/>
                  </a:cubicBezTo>
                  <a:cubicBezTo>
                    <a:pt x="138351" y="41151"/>
                    <a:pt x="133359" y="34433"/>
                    <a:pt x="124429" y="33965"/>
                  </a:cubicBezTo>
                  <a:cubicBezTo>
                    <a:pt x="111765" y="33296"/>
                    <a:pt x="107544" y="29720"/>
                    <a:pt x="96016" y="26812"/>
                  </a:cubicBezTo>
                  <a:cubicBezTo>
                    <a:pt x="86396" y="24339"/>
                    <a:pt x="71662" y="24105"/>
                    <a:pt x="63260" y="20127"/>
                  </a:cubicBezTo>
                  <a:cubicBezTo>
                    <a:pt x="56482" y="17052"/>
                    <a:pt x="74544" y="13443"/>
                    <a:pt x="76817" y="13443"/>
                  </a:cubicBezTo>
                  <a:cubicBezTo>
                    <a:pt x="90577" y="12072"/>
                    <a:pt x="93946" y="18155"/>
                    <a:pt x="104621" y="11771"/>
                  </a:cubicBezTo>
                  <a:cubicBezTo>
                    <a:pt x="109167" y="9031"/>
                    <a:pt x="117773" y="3315"/>
                    <a:pt x="103241" y="2246"/>
                  </a:cubicBezTo>
                  <a:cubicBezTo>
                    <a:pt x="96706" y="1778"/>
                    <a:pt x="91064" y="3716"/>
                    <a:pt x="84570" y="2814"/>
                  </a:cubicBezTo>
                  <a:cubicBezTo>
                    <a:pt x="79415" y="2112"/>
                    <a:pt x="73651" y="-528"/>
                    <a:pt x="68334" y="-328"/>
                  </a:cubicBezTo>
                  <a:cubicBezTo>
                    <a:pt x="59161" y="-94"/>
                    <a:pt x="60784" y="9265"/>
                    <a:pt x="47593" y="6557"/>
                  </a:cubicBezTo>
                  <a:cubicBezTo>
                    <a:pt x="39475" y="4920"/>
                    <a:pt x="42073" y="13543"/>
                    <a:pt x="34644" y="13744"/>
                  </a:cubicBezTo>
                  <a:cubicBezTo>
                    <a:pt x="25715" y="14011"/>
                    <a:pt x="14634" y="10401"/>
                    <a:pt x="6232" y="12273"/>
                  </a:cubicBezTo>
                  <a:cubicBezTo>
                    <a:pt x="-3672" y="14312"/>
                    <a:pt x="13579" y="22768"/>
                    <a:pt x="16745" y="25642"/>
                  </a:cubicBezTo>
                  <a:cubicBezTo>
                    <a:pt x="21088" y="29352"/>
                    <a:pt x="19951" y="36873"/>
                    <a:pt x="21331" y="41117"/>
                  </a:cubicBezTo>
                  <a:cubicBezTo>
                    <a:pt x="23117" y="46566"/>
                    <a:pt x="7815" y="48437"/>
                    <a:pt x="3999" y="52749"/>
                  </a:cubicBezTo>
                  <a:cubicBezTo>
                    <a:pt x="1970" y="55062"/>
                    <a:pt x="549" y="57722"/>
                    <a:pt x="-60" y="60537"/>
                  </a:cubicBezTo>
                  <a:cubicBezTo>
                    <a:pt x="3107" y="62475"/>
                    <a:pt x="9844" y="67221"/>
                    <a:pt x="14106" y="64280"/>
                  </a:cubicBezTo>
                  <a:cubicBezTo>
                    <a:pt x="19626" y="60670"/>
                    <a:pt x="34888" y="66419"/>
                    <a:pt x="42235" y="67288"/>
                  </a:cubicBezTo>
                  <a:cubicBezTo>
                    <a:pt x="47593" y="67890"/>
                    <a:pt x="49054" y="64414"/>
                    <a:pt x="55548" y="64781"/>
                  </a:cubicBezTo>
                  <a:cubicBezTo>
                    <a:pt x="62042" y="65149"/>
                    <a:pt x="71784" y="67355"/>
                    <a:pt x="77223" y="65684"/>
                  </a:cubicBezTo>
                  <a:cubicBezTo>
                    <a:pt x="83718" y="63578"/>
                    <a:pt x="86031" y="58698"/>
                    <a:pt x="94271" y="56793"/>
                  </a:cubicBezTo>
                  <a:cubicBezTo>
                    <a:pt x="101861" y="55022"/>
                    <a:pt x="117123" y="54320"/>
                    <a:pt x="114809" y="61940"/>
                  </a:cubicBezTo>
                  <a:cubicBezTo>
                    <a:pt x="112820" y="68458"/>
                    <a:pt x="117894" y="68993"/>
                    <a:pt x="121953" y="74875"/>
                  </a:cubicBezTo>
                  <a:cubicBezTo>
                    <a:pt x="126012" y="80758"/>
                    <a:pt x="113186" y="84702"/>
                    <a:pt x="112861" y="89949"/>
                  </a:cubicBezTo>
                  <a:cubicBezTo>
                    <a:pt x="111806" y="104756"/>
                    <a:pt x="176425" y="88211"/>
                    <a:pt x="182756" y="92122"/>
                  </a:cubicBezTo>
                  <a:cubicBezTo>
                    <a:pt x="189089" y="96032"/>
                    <a:pt x="178657" y="89013"/>
                    <a:pt x="183487" y="9195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65A58D7E-AA8A-4A67-8C2F-1FC535C7FAD9}"/>
                </a:ext>
              </a:extLst>
            </p:cNvPr>
            <p:cNvSpPr/>
            <p:nvPr/>
          </p:nvSpPr>
          <p:spPr>
            <a:xfrm>
              <a:off x="3446904" y="4834800"/>
              <a:ext cx="31155" cy="19424"/>
            </a:xfrm>
            <a:custGeom>
              <a:avLst/>
              <a:gdLst>
                <a:gd name="connsiteX0" fmla="*/ 30672 w 31155"/>
                <a:gd name="connsiteY0" fmla="*/ 18493 h 19424"/>
                <a:gd name="connsiteX1" fmla="*/ -54 w 31155"/>
                <a:gd name="connsiteY1" fmla="*/ 4088 h 19424"/>
                <a:gd name="connsiteX2" fmla="*/ 16182 w 31155"/>
                <a:gd name="connsiteY2" fmla="*/ 6360 h 19424"/>
                <a:gd name="connsiteX3" fmla="*/ 30713 w 31155"/>
                <a:gd name="connsiteY3" fmla="*/ 18493 h 19424"/>
                <a:gd name="connsiteX4" fmla="*/ 30672 w 31155"/>
                <a:gd name="connsiteY4" fmla="*/ 18493 h 1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5" h="19424">
                  <a:moveTo>
                    <a:pt x="30672" y="18493"/>
                  </a:moveTo>
                  <a:cubicBezTo>
                    <a:pt x="29941" y="21000"/>
                    <a:pt x="189" y="9870"/>
                    <a:pt x="-54" y="4088"/>
                  </a:cubicBezTo>
                  <a:cubicBezTo>
                    <a:pt x="-379" y="-5438"/>
                    <a:pt x="14680" y="2851"/>
                    <a:pt x="16182" y="6360"/>
                  </a:cubicBezTo>
                  <a:cubicBezTo>
                    <a:pt x="18049" y="10872"/>
                    <a:pt x="31930" y="14382"/>
                    <a:pt x="30713" y="18493"/>
                  </a:cubicBezTo>
                  <a:cubicBezTo>
                    <a:pt x="29779" y="21133"/>
                    <a:pt x="31971" y="13814"/>
                    <a:pt x="30672" y="1849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DA30E067-0ECD-489C-81CA-969944CBDC25}"/>
                </a:ext>
              </a:extLst>
            </p:cNvPr>
            <p:cNvSpPr/>
            <p:nvPr/>
          </p:nvSpPr>
          <p:spPr>
            <a:xfrm>
              <a:off x="3444797" y="4833596"/>
              <a:ext cx="34813" cy="22308"/>
            </a:xfrm>
            <a:custGeom>
              <a:avLst/>
              <a:gdLst>
                <a:gd name="connsiteX0" fmla="*/ 32170 w 34813"/>
                <a:gd name="connsiteY0" fmla="*/ 21969 h 22308"/>
                <a:gd name="connsiteX1" fmla="*/ 30993 w 34813"/>
                <a:gd name="connsiteY1" fmla="*/ 21268 h 22308"/>
                <a:gd name="connsiteX2" fmla="*/ 30993 w 34813"/>
                <a:gd name="connsiteY2" fmla="*/ 21268 h 22308"/>
                <a:gd name="connsiteX3" fmla="*/ 25960 w 34813"/>
                <a:gd name="connsiteY3" fmla="*/ 20298 h 22308"/>
                <a:gd name="connsiteX4" fmla="*/ 23 w 34813"/>
                <a:gd name="connsiteY4" fmla="*/ 5659 h 22308"/>
                <a:gd name="connsiteX5" fmla="*/ 3717 w 34813"/>
                <a:gd name="connsiteY5" fmla="*/ 77 h 22308"/>
                <a:gd name="connsiteX6" fmla="*/ 8425 w 34813"/>
                <a:gd name="connsiteY6" fmla="*/ -123 h 22308"/>
                <a:gd name="connsiteX7" fmla="*/ 19993 w 34813"/>
                <a:gd name="connsiteY7" fmla="*/ 6996 h 22308"/>
                <a:gd name="connsiteX8" fmla="*/ 27177 w 34813"/>
                <a:gd name="connsiteY8" fmla="*/ 12343 h 22308"/>
                <a:gd name="connsiteX9" fmla="*/ 33753 w 34813"/>
                <a:gd name="connsiteY9" fmla="*/ 16755 h 22308"/>
                <a:gd name="connsiteX10" fmla="*/ 33753 w 34813"/>
                <a:gd name="connsiteY10" fmla="*/ 16755 h 22308"/>
                <a:gd name="connsiteX11" fmla="*/ 34483 w 34813"/>
                <a:gd name="connsiteY11" fmla="*/ 17223 h 22308"/>
                <a:gd name="connsiteX12" fmla="*/ 34727 w 34813"/>
                <a:gd name="connsiteY12" fmla="*/ 18092 h 22308"/>
                <a:gd name="connsiteX13" fmla="*/ 34727 w 34813"/>
                <a:gd name="connsiteY13" fmla="*/ 18092 h 22308"/>
                <a:gd name="connsiteX14" fmla="*/ 34727 w 34813"/>
                <a:gd name="connsiteY14" fmla="*/ 18694 h 22308"/>
                <a:gd name="connsiteX15" fmla="*/ 34402 w 34813"/>
                <a:gd name="connsiteY15" fmla="*/ 19763 h 22308"/>
                <a:gd name="connsiteX16" fmla="*/ 34402 w 34813"/>
                <a:gd name="connsiteY16" fmla="*/ 20298 h 22308"/>
                <a:gd name="connsiteX17" fmla="*/ 34402 w 34813"/>
                <a:gd name="connsiteY17" fmla="*/ 20298 h 22308"/>
                <a:gd name="connsiteX18" fmla="*/ 33793 w 34813"/>
                <a:gd name="connsiteY18" fmla="*/ 21134 h 22308"/>
                <a:gd name="connsiteX19" fmla="*/ 4731 w 34813"/>
                <a:gd name="connsiteY19" fmla="*/ 2283 h 22308"/>
                <a:gd name="connsiteX20" fmla="*/ 3879 w 34813"/>
                <a:gd name="connsiteY20" fmla="*/ 5091 h 22308"/>
                <a:gd name="connsiteX21" fmla="*/ 30546 w 34813"/>
                <a:gd name="connsiteY21" fmla="*/ 18861 h 22308"/>
                <a:gd name="connsiteX22" fmla="*/ 24255 w 34813"/>
                <a:gd name="connsiteY22" fmla="*/ 14483 h 22308"/>
                <a:gd name="connsiteX23" fmla="*/ 16137 w 34813"/>
                <a:gd name="connsiteY23" fmla="*/ 8299 h 22308"/>
                <a:gd name="connsiteX24" fmla="*/ 6314 w 34813"/>
                <a:gd name="connsiteY24" fmla="*/ 2350 h 22308"/>
                <a:gd name="connsiteX25" fmla="*/ 4731 w 34813"/>
                <a:gd name="connsiteY25" fmla="*/ 2283 h 2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13" h="22308">
                  <a:moveTo>
                    <a:pt x="32170" y="21969"/>
                  </a:moveTo>
                  <a:lnTo>
                    <a:pt x="30993" y="21268"/>
                  </a:lnTo>
                  <a:lnTo>
                    <a:pt x="30993" y="21268"/>
                  </a:lnTo>
                  <a:cubicBezTo>
                    <a:pt x="29268" y="21144"/>
                    <a:pt x="27571" y="20816"/>
                    <a:pt x="25960" y="20298"/>
                  </a:cubicBezTo>
                  <a:cubicBezTo>
                    <a:pt x="18694" y="18260"/>
                    <a:pt x="226" y="10906"/>
                    <a:pt x="23" y="5659"/>
                  </a:cubicBezTo>
                  <a:cubicBezTo>
                    <a:pt x="-440" y="3322"/>
                    <a:pt x="1082" y="1023"/>
                    <a:pt x="3717" y="77"/>
                  </a:cubicBezTo>
                  <a:cubicBezTo>
                    <a:pt x="5222" y="-398"/>
                    <a:pt x="6870" y="-468"/>
                    <a:pt x="8425" y="-123"/>
                  </a:cubicBezTo>
                  <a:cubicBezTo>
                    <a:pt x="13251" y="933"/>
                    <a:pt x="17395" y="3483"/>
                    <a:pt x="19993" y="6996"/>
                  </a:cubicBezTo>
                  <a:cubicBezTo>
                    <a:pt x="20724" y="8801"/>
                    <a:pt x="24052" y="10605"/>
                    <a:pt x="27177" y="12343"/>
                  </a:cubicBezTo>
                  <a:cubicBezTo>
                    <a:pt x="29661" y="13490"/>
                    <a:pt x="31886" y="14984"/>
                    <a:pt x="33753" y="16755"/>
                  </a:cubicBezTo>
                  <a:lnTo>
                    <a:pt x="33753" y="16755"/>
                  </a:lnTo>
                  <a:lnTo>
                    <a:pt x="34483" y="17223"/>
                  </a:lnTo>
                  <a:cubicBezTo>
                    <a:pt x="34715" y="17471"/>
                    <a:pt x="34804" y="17788"/>
                    <a:pt x="34727" y="18092"/>
                  </a:cubicBezTo>
                  <a:lnTo>
                    <a:pt x="34727" y="18092"/>
                  </a:lnTo>
                  <a:cubicBezTo>
                    <a:pt x="34747" y="18293"/>
                    <a:pt x="34747" y="18493"/>
                    <a:pt x="34727" y="18694"/>
                  </a:cubicBezTo>
                  <a:cubicBezTo>
                    <a:pt x="34658" y="19058"/>
                    <a:pt x="34548" y="19416"/>
                    <a:pt x="34402" y="19763"/>
                  </a:cubicBezTo>
                  <a:cubicBezTo>
                    <a:pt x="34427" y="19941"/>
                    <a:pt x="34427" y="20121"/>
                    <a:pt x="34402" y="20298"/>
                  </a:cubicBezTo>
                  <a:lnTo>
                    <a:pt x="34402" y="20298"/>
                  </a:lnTo>
                  <a:cubicBezTo>
                    <a:pt x="34277" y="20609"/>
                    <a:pt x="34069" y="20893"/>
                    <a:pt x="33793" y="21134"/>
                  </a:cubicBezTo>
                  <a:close/>
                  <a:moveTo>
                    <a:pt x="4731" y="2283"/>
                  </a:moveTo>
                  <a:cubicBezTo>
                    <a:pt x="4528" y="2283"/>
                    <a:pt x="3798" y="3052"/>
                    <a:pt x="3879" y="5091"/>
                  </a:cubicBezTo>
                  <a:cubicBezTo>
                    <a:pt x="3879" y="9335"/>
                    <a:pt x="23890" y="17457"/>
                    <a:pt x="30546" y="18861"/>
                  </a:cubicBezTo>
                  <a:cubicBezTo>
                    <a:pt x="28821" y="17073"/>
                    <a:pt x="26682" y="15585"/>
                    <a:pt x="24255" y="14483"/>
                  </a:cubicBezTo>
                  <a:cubicBezTo>
                    <a:pt x="20805" y="12577"/>
                    <a:pt x="17233" y="10639"/>
                    <a:pt x="16137" y="8299"/>
                  </a:cubicBezTo>
                  <a:cubicBezTo>
                    <a:pt x="13836" y="5411"/>
                    <a:pt x="10349" y="3299"/>
                    <a:pt x="6314" y="2350"/>
                  </a:cubicBezTo>
                  <a:cubicBezTo>
                    <a:pt x="5803" y="2220"/>
                    <a:pt x="5259" y="2196"/>
                    <a:pt x="4731" y="228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821FC52E-2E87-42B6-90DE-36922CAC5004}"/>
                </a:ext>
              </a:extLst>
            </p:cNvPr>
            <p:cNvSpPr/>
            <p:nvPr/>
          </p:nvSpPr>
          <p:spPr>
            <a:xfrm>
              <a:off x="4022981" y="4932239"/>
              <a:ext cx="26786" cy="17173"/>
            </a:xfrm>
            <a:custGeom>
              <a:avLst/>
              <a:gdLst>
                <a:gd name="connsiteX0" fmla="*/ 5113 w 26786"/>
                <a:gd name="connsiteY0" fmla="*/ 16378 h 17173"/>
                <a:gd name="connsiteX1" fmla="*/ 1379 w 26786"/>
                <a:gd name="connsiteY1" fmla="*/ 8924 h 17173"/>
                <a:gd name="connsiteX2" fmla="*/ 12217 w 26786"/>
                <a:gd name="connsiteY2" fmla="*/ 1237 h 17173"/>
                <a:gd name="connsiteX3" fmla="*/ 5113 w 26786"/>
                <a:gd name="connsiteY3" fmla="*/ 16378 h 1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86" h="17173">
                  <a:moveTo>
                    <a:pt x="5113" y="16378"/>
                  </a:moveTo>
                  <a:cubicBezTo>
                    <a:pt x="161" y="15241"/>
                    <a:pt x="8604" y="8924"/>
                    <a:pt x="1379" y="8924"/>
                  </a:cubicBezTo>
                  <a:cubicBezTo>
                    <a:pt x="-4831" y="8924"/>
                    <a:pt x="10999" y="1605"/>
                    <a:pt x="12217" y="1237"/>
                  </a:cubicBezTo>
                  <a:cubicBezTo>
                    <a:pt x="38884" y="-7119"/>
                    <a:pt x="24150" y="20689"/>
                    <a:pt x="5113" y="16378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7C7A7C72-431B-48B1-B94B-F004DFA9228B}"/>
                </a:ext>
              </a:extLst>
            </p:cNvPr>
            <p:cNvSpPr/>
            <p:nvPr/>
          </p:nvSpPr>
          <p:spPr>
            <a:xfrm>
              <a:off x="4020970" y="4931968"/>
              <a:ext cx="30640" cy="18636"/>
            </a:xfrm>
            <a:custGeom>
              <a:avLst/>
              <a:gdLst>
                <a:gd name="connsiteX0" fmla="*/ 16420 w 30640"/>
                <a:gd name="connsiteY0" fmla="*/ 17552 h 18636"/>
                <a:gd name="connsiteX1" fmla="*/ 7937 w 30640"/>
                <a:gd name="connsiteY1" fmla="*/ 18086 h 18636"/>
                <a:gd name="connsiteX2" fmla="*/ 7328 w 30640"/>
                <a:gd name="connsiteY2" fmla="*/ 18086 h 18636"/>
                <a:gd name="connsiteX3" fmla="*/ 7328 w 30640"/>
                <a:gd name="connsiteY3" fmla="*/ 18086 h 18636"/>
                <a:gd name="connsiteX4" fmla="*/ 6800 w 30640"/>
                <a:gd name="connsiteY4" fmla="*/ 18086 h 18636"/>
                <a:gd name="connsiteX5" fmla="*/ 6232 w 30640"/>
                <a:gd name="connsiteY5" fmla="*/ 18086 h 18636"/>
                <a:gd name="connsiteX6" fmla="*/ 6232 w 30640"/>
                <a:gd name="connsiteY6" fmla="*/ 18086 h 18636"/>
                <a:gd name="connsiteX7" fmla="*/ 5664 w 30640"/>
                <a:gd name="connsiteY7" fmla="*/ 18086 h 18636"/>
                <a:gd name="connsiteX8" fmla="*/ 4933 w 30640"/>
                <a:gd name="connsiteY8" fmla="*/ 18086 h 18636"/>
                <a:gd name="connsiteX9" fmla="*/ 4933 w 30640"/>
                <a:gd name="connsiteY9" fmla="*/ 18086 h 18636"/>
                <a:gd name="connsiteX10" fmla="*/ 3999 w 30640"/>
                <a:gd name="connsiteY10" fmla="*/ 17050 h 18636"/>
                <a:gd name="connsiteX11" fmla="*/ 3999 w 30640"/>
                <a:gd name="connsiteY11" fmla="*/ 13708 h 18636"/>
                <a:gd name="connsiteX12" fmla="*/ 4284 w 30640"/>
                <a:gd name="connsiteY12" fmla="*/ 11435 h 18636"/>
                <a:gd name="connsiteX13" fmla="*/ 2863 w 30640"/>
                <a:gd name="connsiteY13" fmla="*/ 11201 h 18636"/>
                <a:gd name="connsiteX14" fmla="*/ -60 w 30640"/>
                <a:gd name="connsiteY14" fmla="*/ 9831 h 18636"/>
                <a:gd name="connsiteX15" fmla="*/ 13498 w 30640"/>
                <a:gd name="connsiteY15" fmla="*/ 1341 h 18636"/>
                <a:gd name="connsiteX16" fmla="*/ 25674 w 30640"/>
                <a:gd name="connsiteY16" fmla="*/ -163 h 18636"/>
                <a:gd name="connsiteX17" fmla="*/ 30261 w 30640"/>
                <a:gd name="connsiteY17" fmla="*/ 3180 h 18636"/>
                <a:gd name="connsiteX18" fmla="*/ 16420 w 30640"/>
                <a:gd name="connsiteY18" fmla="*/ 17552 h 18636"/>
                <a:gd name="connsiteX19" fmla="*/ 4243 w 30640"/>
                <a:gd name="connsiteY19" fmla="*/ 8093 h 18636"/>
                <a:gd name="connsiteX20" fmla="*/ 7531 w 30640"/>
                <a:gd name="connsiteY20" fmla="*/ 8995 h 18636"/>
                <a:gd name="connsiteX21" fmla="*/ 7531 w 30640"/>
                <a:gd name="connsiteY21" fmla="*/ 12939 h 18636"/>
                <a:gd name="connsiteX22" fmla="*/ 7774 w 30640"/>
                <a:gd name="connsiteY22" fmla="*/ 15546 h 18636"/>
                <a:gd name="connsiteX23" fmla="*/ 15364 w 30640"/>
                <a:gd name="connsiteY23" fmla="*/ 15546 h 18636"/>
                <a:gd name="connsiteX24" fmla="*/ 26405 w 30640"/>
                <a:gd name="connsiteY24" fmla="*/ 3280 h 18636"/>
                <a:gd name="connsiteX25" fmla="*/ 16501 w 30640"/>
                <a:gd name="connsiteY25" fmla="*/ 2110 h 18636"/>
                <a:gd name="connsiteX26" fmla="*/ 14512 w 30640"/>
                <a:gd name="connsiteY26" fmla="*/ 2678 h 18636"/>
                <a:gd name="connsiteX27" fmla="*/ 4284 w 30640"/>
                <a:gd name="connsiteY27" fmla="*/ 8059 h 1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640" h="18636">
                  <a:moveTo>
                    <a:pt x="16420" y="17552"/>
                  </a:moveTo>
                  <a:cubicBezTo>
                    <a:pt x="13692" y="18310"/>
                    <a:pt x="10774" y="18494"/>
                    <a:pt x="7937" y="18086"/>
                  </a:cubicBezTo>
                  <a:lnTo>
                    <a:pt x="7328" y="18086"/>
                  </a:lnTo>
                  <a:lnTo>
                    <a:pt x="7328" y="18086"/>
                  </a:lnTo>
                  <a:lnTo>
                    <a:pt x="6800" y="18086"/>
                  </a:lnTo>
                  <a:lnTo>
                    <a:pt x="6232" y="18086"/>
                  </a:lnTo>
                  <a:lnTo>
                    <a:pt x="6232" y="18086"/>
                  </a:lnTo>
                  <a:lnTo>
                    <a:pt x="5664" y="18086"/>
                  </a:lnTo>
                  <a:lnTo>
                    <a:pt x="4933" y="18086"/>
                  </a:lnTo>
                  <a:lnTo>
                    <a:pt x="4933" y="18086"/>
                  </a:lnTo>
                  <a:cubicBezTo>
                    <a:pt x="4121" y="17853"/>
                    <a:pt x="3878" y="17619"/>
                    <a:pt x="3999" y="17050"/>
                  </a:cubicBezTo>
                  <a:cubicBezTo>
                    <a:pt x="3545" y="15967"/>
                    <a:pt x="3545" y="14791"/>
                    <a:pt x="3999" y="13708"/>
                  </a:cubicBezTo>
                  <a:cubicBezTo>
                    <a:pt x="4324" y="12806"/>
                    <a:pt x="4690" y="11770"/>
                    <a:pt x="4284" y="11435"/>
                  </a:cubicBezTo>
                  <a:cubicBezTo>
                    <a:pt x="3849" y="11238"/>
                    <a:pt x="3354" y="11158"/>
                    <a:pt x="2863" y="11201"/>
                  </a:cubicBezTo>
                  <a:cubicBezTo>
                    <a:pt x="346" y="11201"/>
                    <a:pt x="-19" y="10232"/>
                    <a:pt x="-60" y="9831"/>
                  </a:cubicBezTo>
                  <a:cubicBezTo>
                    <a:pt x="-60" y="7057"/>
                    <a:pt x="13376" y="1375"/>
                    <a:pt x="13498" y="1341"/>
                  </a:cubicBezTo>
                  <a:cubicBezTo>
                    <a:pt x="17293" y="-126"/>
                    <a:pt x="21526" y="-647"/>
                    <a:pt x="25674" y="-163"/>
                  </a:cubicBezTo>
                  <a:cubicBezTo>
                    <a:pt x="27846" y="151"/>
                    <a:pt x="29620" y="1442"/>
                    <a:pt x="30261" y="3180"/>
                  </a:cubicBezTo>
                  <a:cubicBezTo>
                    <a:pt x="32088" y="6856"/>
                    <a:pt x="25918" y="15012"/>
                    <a:pt x="16420" y="17552"/>
                  </a:cubicBezTo>
                  <a:close/>
                  <a:moveTo>
                    <a:pt x="4243" y="8093"/>
                  </a:moveTo>
                  <a:cubicBezTo>
                    <a:pt x="5436" y="8059"/>
                    <a:pt x="6601" y="8380"/>
                    <a:pt x="7531" y="8995"/>
                  </a:cubicBezTo>
                  <a:cubicBezTo>
                    <a:pt x="8749" y="10031"/>
                    <a:pt x="8221" y="11569"/>
                    <a:pt x="7531" y="12939"/>
                  </a:cubicBezTo>
                  <a:cubicBezTo>
                    <a:pt x="6841" y="14310"/>
                    <a:pt x="6841" y="15346"/>
                    <a:pt x="7774" y="15546"/>
                  </a:cubicBezTo>
                  <a:cubicBezTo>
                    <a:pt x="10246" y="16168"/>
                    <a:pt x="12889" y="16168"/>
                    <a:pt x="15364" y="15546"/>
                  </a:cubicBezTo>
                  <a:cubicBezTo>
                    <a:pt x="22630" y="13608"/>
                    <a:pt x="27826" y="6923"/>
                    <a:pt x="26405" y="3280"/>
                  </a:cubicBezTo>
                  <a:cubicBezTo>
                    <a:pt x="25309" y="439"/>
                    <a:pt x="20398" y="1074"/>
                    <a:pt x="16501" y="2110"/>
                  </a:cubicBezTo>
                  <a:cubicBezTo>
                    <a:pt x="15852" y="2110"/>
                    <a:pt x="15202" y="2444"/>
                    <a:pt x="14512" y="2678"/>
                  </a:cubicBezTo>
                  <a:cubicBezTo>
                    <a:pt x="10896" y="4192"/>
                    <a:pt x="7470" y="5994"/>
                    <a:pt x="4284" y="805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8A4FD8E2-B3EB-4419-B88D-1E1CCAAD0E9B}"/>
                </a:ext>
              </a:extLst>
            </p:cNvPr>
            <p:cNvSpPr/>
            <p:nvPr/>
          </p:nvSpPr>
          <p:spPr>
            <a:xfrm>
              <a:off x="7137533" y="4156516"/>
              <a:ext cx="98267" cy="55188"/>
            </a:xfrm>
            <a:custGeom>
              <a:avLst/>
              <a:gdLst>
                <a:gd name="connsiteX0" fmla="*/ 93662 w 98267"/>
                <a:gd name="connsiteY0" fmla="*/ 45184 h 55188"/>
                <a:gd name="connsiteX1" fmla="*/ 77426 w 98267"/>
                <a:gd name="connsiteY1" fmla="*/ 32884 h 55188"/>
                <a:gd name="connsiteX2" fmla="*/ 67603 w 98267"/>
                <a:gd name="connsiteY2" fmla="*/ 18011 h 55188"/>
                <a:gd name="connsiteX3" fmla="*/ 51367 w 98267"/>
                <a:gd name="connsiteY3" fmla="*/ 2603 h 55188"/>
                <a:gd name="connsiteX4" fmla="*/ -60 w 98267"/>
                <a:gd name="connsiteY4" fmla="*/ -339 h 55188"/>
                <a:gd name="connsiteX5" fmla="*/ 11792 w 98267"/>
                <a:gd name="connsiteY5" fmla="*/ 19013 h 55188"/>
                <a:gd name="connsiteX6" fmla="*/ 32818 w 98267"/>
                <a:gd name="connsiteY6" fmla="*/ 29041 h 55188"/>
                <a:gd name="connsiteX7" fmla="*/ 58146 w 98267"/>
                <a:gd name="connsiteY7" fmla="*/ 39803 h 55188"/>
                <a:gd name="connsiteX8" fmla="*/ 77507 w 98267"/>
                <a:gd name="connsiteY8" fmla="*/ 54275 h 55188"/>
                <a:gd name="connsiteX9" fmla="*/ 98208 w 98267"/>
                <a:gd name="connsiteY9" fmla="*/ 54275 h 55188"/>
                <a:gd name="connsiteX10" fmla="*/ 93662 w 98267"/>
                <a:gd name="connsiteY10" fmla="*/ 45184 h 55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267" h="55188">
                  <a:moveTo>
                    <a:pt x="93662" y="45184"/>
                  </a:moveTo>
                  <a:cubicBezTo>
                    <a:pt x="94433" y="41006"/>
                    <a:pt x="80633" y="36561"/>
                    <a:pt x="77426" y="32884"/>
                  </a:cubicBezTo>
                  <a:cubicBezTo>
                    <a:pt x="73570" y="28212"/>
                    <a:pt x="70242" y="23228"/>
                    <a:pt x="67603" y="18011"/>
                  </a:cubicBezTo>
                  <a:cubicBezTo>
                    <a:pt x="64031" y="10858"/>
                    <a:pt x="67603" y="5978"/>
                    <a:pt x="51367" y="2603"/>
                  </a:cubicBezTo>
                  <a:cubicBezTo>
                    <a:pt x="33589" y="-1141"/>
                    <a:pt x="17759" y="196"/>
                    <a:pt x="-60" y="-339"/>
                  </a:cubicBezTo>
                  <a:cubicBezTo>
                    <a:pt x="5461" y="5510"/>
                    <a:pt x="-872" y="15036"/>
                    <a:pt x="11792" y="19013"/>
                  </a:cubicBezTo>
                  <a:cubicBezTo>
                    <a:pt x="24456" y="22991"/>
                    <a:pt x="28556" y="19682"/>
                    <a:pt x="32818" y="29041"/>
                  </a:cubicBezTo>
                  <a:cubicBezTo>
                    <a:pt x="40936" y="29609"/>
                    <a:pt x="50637" y="36995"/>
                    <a:pt x="58146" y="39803"/>
                  </a:cubicBezTo>
                  <a:cubicBezTo>
                    <a:pt x="67968" y="43446"/>
                    <a:pt x="81160" y="45585"/>
                    <a:pt x="77507" y="54275"/>
                  </a:cubicBezTo>
                  <a:cubicBezTo>
                    <a:pt x="84367" y="55041"/>
                    <a:pt x="91348" y="55041"/>
                    <a:pt x="98208" y="54275"/>
                  </a:cubicBezTo>
                  <a:cubicBezTo>
                    <a:pt x="95773" y="51615"/>
                    <a:pt x="94190" y="48486"/>
                    <a:pt x="93662" y="4518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E30DD341-E907-4AB9-9427-DC5F3350AA58}"/>
                </a:ext>
              </a:extLst>
            </p:cNvPr>
            <p:cNvSpPr/>
            <p:nvPr/>
          </p:nvSpPr>
          <p:spPr>
            <a:xfrm>
              <a:off x="7181167" y="4154036"/>
              <a:ext cx="154761" cy="77047"/>
            </a:xfrm>
            <a:custGeom>
              <a:avLst/>
              <a:gdLst>
                <a:gd name="connsiteX0" fmla="*/ 151827 w 154761"/>
                <a:gd name="connsiteY0" fmla="*/ 34227 h 77047"/>
                <a:gd name="connsiteX1" fmla="*/ 127473 w 154761"/>
                <a:gd name="connsiteY1" fmla="*/ 11065 h 77047"/>
                <a:gd name="connsiteX2" fmla="*/ 108599 w 154761"/>
                <a:gd name="connsiteY2" fmla="*/ 15143 h 77047"/>
                <a:gd name="connsiteX3" fmla="*/ 101293 w 154761"/>
                <a:gd name="connsiteY3" fmla="*/ 17382 h 77047"/>
                <a:gd name="connsiteX4" fmla="*/ 91470 w 154761"/>
                <a:gd name="connsiteY4" fmla="*/ 14608 h 77047"/>
                <a:gd name="connsiteX5" fmla="*/ 53803 w 154761"/>
                <a:gd name="connsiteY5" fmla="*/ 2040 h 77047"/>
                <a:gd name="connsiteX6" fmla="*/ 62205 w 154761"/>
                <a:gd name="connsiteY6" fmla="*/ 11566 h 77047"/>
                <a:gd name="connsiteX7" fmla="*/ 40570 w 154761"/>
                <a:gd name="connsiteY7" fmla="*/ 11132 h 77047"/>
                <a:gd name="connsiteX8" fmla="*/ 19708 w 154761"/>
                <a:gd name="connsiteY8" fmla="*/ 10229 h 77047"/>
                <a:gd name="connsiteX9" fmla="*/ 33792 w 154761"/>
                <a:gd name="connsiteY9" fmla="*/ 35364 h 77047"/>
                <a:gd name="connsiteX10" fmla="*/ 48973 w 154761"/>
                <a:gd name="connsiteY10" fmla="*/ 45391 h 77047"/>
                <a:gd name="connsiteX11" fmla="*/ 69836 w 154761"/>
                <a:gd name="connsiteY11" fmla="*/ 54315 h 77047"/>
                <a:gd name="connsiteX12" fmla="*/ 103363 w 154761"/>
                <a:gd name="connsiteY12" fmla="*/ 55351 h 77047"/>
                <a:gd name="connsiteX13" fmla="*/ 118787 w 154761"/>
                <a:gd name="connsiteY13" fmla="*/ 76709 h 77047"/>
                <a:gd name="connsiteX14" fmla="*/ 151868 w 154761"/>
                <a:gd name="connsiteY14" fmla="*/ 34094 h 77047"/>
                <a:gd name="connsiteX15" fmla="*/ 14634 w 154761"/>
                <a:gd name="connsiteY15" fmla="*/ 42216 h 77047"/>
                <a:gd name="connsiteX16" fmla="*/ -60 w 154761"/>
                <a:gd name="connsiteY16" fmla="*/ 36500 h 77047"/>
                <a:gd name="connsiteX17" fmla="*/ 33995 w 154761"/>
                <a:gd name="connsiteY17" fmla="*/ 56554 h 77047"/>
                <a:gd name="connsiteX18" fmla="*/ 14634 w 154761"/>
                <a:gd name="connsiteY18" fmla="*/ 42082 h 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4761" h="77047">
                  <a:moveTo>
                    <a:pt x="151827" y="34227"/>
                  </a:moveTo>
                  <a:cubicBezTo>
                    <a:pt x="145982" y="26206"/>
                    <a:pt x="135591" y="18518"/>
                    <a:pt x="127473" y="11065"/>
                  </a:cubicBezTo>
                  <a:cubicBezTo>
                    <a:pt x="123658" y="15310"/>
                    <a:pt x="115581" y="13939"/>
                    <a:pt x="108599" y="15143"/>
                  </a:cubicBezTo>
                  <a:cubicBezTo>
                    <a:pt x="106367" y="16246"/>
                    <a:pt x="103891" y="17004"/>
                    <a:pt x="101293" y="17382"/>
                  </a:cubicBezTo>
                  <a:cubicBezTo>
                    <a:pt x="98167" y="16149"/>
                    <a:pt x="94879" y="15219"/>
                    <a:pt x="91470" y="14608"/>
                  </a:cubicBezTo>
                  <a:cubicBezTo>
                    <a:pt x="79983" y="15143"/>
                    <a:pt x="68862" y="-7586"/>
                    <a:pt x="53803" y="2040"/>
                  </a:cubicBezTo>
                  <a:cubicBezTo>
                    <a:pt x="48080" y="5717"/>
                    <a:pt x="60175" y="8157"/>
                    <a:pt x="62205" y="11566"/>
                  </a:cubicBezTo>
                  <a:cubicBezTo>
                    <a:pt x="65330" y="16780"/>
                    <a:pt x="43127" y="12034"/>
                    <a:pt x="40570" y="11132"/>
                  </a:cubicBezTo>
                  <a:cubicBezTo>
                    <a:pt x="32128" y="8023"/>
                    <a:pt x="6150" y="-4076"/>
                    <a:pt x="19708" y="10229"/>
                  </a:cubicBezTo>
                  <a:cubicBezTo>
                    <a:pt x="27095" y="18017"/>
                    <a:pt x="26648" y="27376"/>
                    <a:pt x="33792" y="35364"/>
                  </a:cubicBezTo>
                  <a:cubicBezTo>
                    <a:pt x="37323" y="39341"/>
                    <a:pt x="44995" y="41714"/>
                    <a:pt x="48973" y="45391"/>
                  </a:cubicBezTo>
                  <a:cubicBezTo>
                    <a:pt x="57496" y="53647"/>
                    <a:pt x="48648" y="58760"/>
                    <a:pt x="69836" y="54315"/>
                  </a:cubicBezTo>
                  <a:cubicBezTo>
                    <a:pt x="78563" y="52477"/>
                    <a:pt x="105717" y="43018"/>
                    <a:pt x="103363" y="55351"/>
                  </a:cubicBezTo>
                  <a:cubicBezTo>
                    <a:pt x="101171" y="66615"/>
                    <a:pt x="94230" y="68152"/>
                    <a:pt x="118787" y="76709"/>
                  </a:cubicBezTo>
                  <a:cubicBezTo>
                    <a:pt x="119883" y="60933"/>
                    <a:pt x="166480" y="53947"/>
                    <a:pt x="151868" y="34094"/>
                  </a:cubicBezTo>
                  <a:close/>
                  <a:moveTo>
                    <a:pt x="14634" y="42216"/>
                  </a:moveTo>
                  <a:cubicBezTo>
                    <a:pt x="9925" y="40023"/>
                    <a:pt x="5014" y="38115"/>
                    <a:pt x="-60" y="36500"/>
                  </a:cubicBezTo>
                  <a:cubicBezTo>
                    <a:pt x="4648" y="46527"/>
                    <a:pt x="15121" y="54282"/>
                    <a:pt x="33995" y="56554"/>
                  </a:cubicBezTo>
                  <a:cubicBezTo>
                    <a:pt x="37648" y="47864"/>
                    <a:pt x="24456" y="45725"/>
                    <a:pt x="14634" y="42082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511EAA56-470A-4B19-9F83-3835AE286810}"/>
                </a:ext>
              </a:extLst>
            </p:cNvPr>
            <p:cNvSpPr/>
            <p:nvPr/>
          </p:nvSpPr>
          <p:spPr>
            <a:xfrm>
              <a:off x="7639896" y="4338013"/>
              <a:ext cx="467934" cy="148076"/>
            </a:xfrm>
            <a:custGeom>
              <a:avLst/>
              <a:gdLst>
                <a:gd name="connsiteX0" fmla="*/ 452735 w 467934"/>
                <a:gd name="connsiteY0" fmla="*/ 61822 h 148076"/>
                <a:gd name="connsiteX1" fmla="*/ 427245 w 467934"/>
                <a:gd name="connsiteY1" fmla="*/ 54469 h 148076"/>
                <a:gd name="connsiteX2" fmla="*/ 379187 w 467934"/>
                <a:gd name="connsiteY2" fmla="*/ 57209 h 148076"/>
                <a:gd name="connsiteX3" fmla="*/ 380932 w 467934"/>
                <a:gd name="connsiteY3" fmla="*/ 42269 h 148076"/>
                <a:gd name="connsiteX4" fmla="*/ 374600 w 467934"/>
                <a:gd name="connsiteY4" fmla="*/ 24354 h 148076"/>
                <a:gd name="connsiteX5" fmla="*/ 334010 w 467934"/>
                <a:gd name="connsiteY5" fmla="*/ 28498 h 148076"/>
                <a:gd name="connsiteX6" fmla="*/ 308236 w 467934"/>
                <a:gd name="connsiteY6" fmla="*/ 27563 h 148076"/>
                <a:gd name="connsiteX7" fmla="*/ 281568 w 467934"/>
                <a:gd name="connsiteY7" fmla="*/ 25858 h 148076"/>
                <a:gd name="connsiteX8" fmla="*/ 257214 w 467934"/>
                <a:gd name="connsiteY8" fmla="*/ 21479 h 148076"/>
                <a:gd name="connsiteX9" fmla="*/ 230182 w 467934"/>
                <a:gd name="connsiteY9" fmla="*/ 8578 h 148076"/>
                <a:gd name="connsiteX10" fmla="*/ 210455 w 467934"/>
                <a:gd name="connsiteY10" fmla="*/ 4634 h 148076"/>
                <a:gd name="connsiteX11" fmla="*/ 194990 w 467934"/>
                <a:gd name="connsiteY11" fmla="*/ -279 h 148076"/>
                <a:gd name="connsiteX12" fmla="*/ 181758 w 467934"/>
                <a:gd name="connsiteY12" fmla="*/ 3531 h 148076"/>
                <a:gd name="connsiteX13" fmla="*/ 165035 w 467934"/>
                <a:gd name="connsiteY13" fmla="*/ 2996 h 148076"/>
                <a:gd name="connsiteX14" fmla="*/ 147663 w 467934"/>
                <a:gd name="connsiteY14" fmla="*/ 17268 h 148076"/>
                <a:gd name="connsiteX15" fmla="*/ 118722 w 467934"/>
                <a:gd name="connsiteY15" fmla="*/ 18137 h 148076"/>
                <a:gd name="connsiteX16" fmla="*/ 100822 w 467934"/>
                <a:gd name="connsiteY16" fmla="*/ 24020 h 148076"/>
                <a:gd name="connsiteX17" fmla="*/ 74114 w 467934"/>
                <a:gd name="connsiteY17" fmla="*/ 22014 h 148076"/>
                <a:gd name="connsiteX18" fmla="*/ 50288 w 467934"/>
                <a:gd name="connsiteY18" fmla="*/ 13959 h 148076"/>
                <a:gd name="connsiteX19" fmla="*/ 32509 w 467934"/>
                <a:gd name="connsiteY19" fmla="*/ 26426 h 148076"/>
                <a:gd name="connsiteX20" fmla="*/ 15137 w 467934"/>
                <a:gd name="connsiteY20" fmla="*/ 38927 h 148076"/>
                <a:gd name="connsiteX21" fmla="*/ 15137 w 467934"/>
                <a:gd name="connsiteY21" fmla="*/ 48051 h 148076"/>
                <a:gd name="connsiteX22" fmla="*/ 9942 w 467934"/>
                <a:gd name="connsiteY22" fmla="*/ 62958 h 148076"/>
                <a:gd name="connsiteX23" fmla="*/ 11322 w 467934"/>
                <a:gd name="connsiteY23" fmla="*/ 84015 h 148076"/>
                <a:gd name="connsiteX24" fmla="*/ 35676 w 467934"/>
                <a:gd name="connsiteY24" fmla="*/ 94042 h 148076"/>
                <a:gd name="connsiteX25" fmla="*/ 322 w 467934"/>
                <a:gd name="connsiteY25" fmla="*/ 114999 h 148076"/>
                <a:gd name="connsiteX26" fmla="*/ 141737 w 467934"/>
                <a:gd name="connsiteY26" fmla="*/ 145080 h 148076"/>
                <a:gd name="connsiteX27" fmla="*/ 175264 w 467934"/>
                <a:gd name="connsiteY27" fmla="*/ 143676 h 148076"/>
                <a:gd name="connsiteX28" fmla="*/ 178633 w 467934"/>
                <a:gd name="connsiteY28" fmla="*/ 128769 h 148076"/>
                <a:gd name="connsiteX29" fmla="*/ 221698 w 467934"/>
                <a:gd name="connsiteY29" fmla="*/ 130373 h 148076"/>
                <a:gd name="connsiteX30" fmla="*/ 253318 w 467934"/>
                <a:gd name="connsiteY30" fmla="*/ 126630 h 148076"/>
                <a:gd name="connsiteX31" fmla="*/ 262126 w 467934"/>
                <a:gd name="connsiteY31" fmla="*/ 132045 h 148076"/>
                <a:gd name="connsiteX32" fmla="*/ 276332 w 467934"/>
                <a:gd name="connsiteY32" fmla="*/ 120079 h 148076"/>
                <a:gd name="connsiteX33" fmla="*/ 285221 w 467934"/>
                <a:gd name="connsiteY33" fmla="*/ 109016 h 148076"/>
                <a:gd name="connsiteX34" fmla="*/ 310590 w 467934"/>
                <a:gd name="connsiteY34" fmla="*/ 108615 h 148076"/>
                <a:gd name="connsiteX35" fmla="*/ 315704 w 467934"/>
                <a:gd name="connsiteY35" fmla="*/ 96081 h 148076"/>
                <a:gd name="connsiteX36" fmla="*/ 343793 w 467934"/>
                <a:gd name="connsiteY36" fmla="*/ 92739 h 148076"/>
                <a:gd name="connsiteX37" fmla="*/ 362992 w 467934"/>
                <a:gd name="connsiteY37" fmla="*/ 83079 h 148076"/>
                <a:gd name="connsiteX38" fmla="*/ 360637 w 467934"/>
                <a:gd name="connsiteY38" fmla="*/ 66133 h 148076"/>
                <a:gd name="connsiteX39" fmla="*/ 411740 w 467934"/>
                <a:gd name="connsiteY39" fmla="*/ 61621 h 148076"/>
                <a:gd name="connsiteX40" fmla="*/ 467875 w 467934"/>
                <a:gd name="connsiteY40" fmla="*/ 67136 h 148076"/>
                <a:gd name="connsiteX41" fmla="*/ 452614 w 467934"/>
                <a:gd name="connsiteY41" fmla="*/ 61855 h 14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67934" h="148076">
                  <a:moveTo>
                    <a:pt x="452735" y="61822"/>
                  </a:moveTo>
                  <a:cubicBezTo>
                    <a:pt x="439300" y="59883"/>
                    <a:pt x="446119" y="51594"/>
                    <a:pt x="427245" y="54469"/>
                  </a:cubicBezTo>
                  <a:cubicBezTo>
                    <a:pt x="411659" y="56842"/>
                    <a:pt x="397939" y="61153"/>
                    <a:pt x="379187" y="57209"/>
                  </a:cubicBezTo>
                  <a:cubicBezTo>
                    <a:pt x="364777" y="54101"/>
                    <a:pt x="378415" y="45511"/>
                    <a:pt x="380932" y="42269"/>
                  </a:cubicBezTo>
                  <a:cubicBezTo>
                    <a:pt x="385316" y="36620"/>
                    <a:pt x="372489" y="31306"/>
                    <a:pt x="374600" y="24354"/>
                  </a:cubicBezTo>
                  <a:cubicBezTo>
                    <a:pt x="379633" y="7642"/>
                    <a:pt x="335431" y="28398"/>
                    <a:pt x="334010" y="28498"/>
                  </a:cubicBezTo>
                  <a:cubicBezTo>
                    <a:pt x="326461" y="28766"/>
                    <a:pt x="314690" y="25457"/>
                    <a:pt x="308236" y="27563"/>
                  </a:cubicBezTo>
                  <a:cubicBezTo>
                    <a:pt x="298981" y="30571"/>
                    <a:pt x="293867" y="27128"/>
                    <a:pt x="281568" y="25858"/>
                  </a:cubicBezTo>
                  <a:cubicBezTo>
                    <a:pt x="268377" y="24521"/>
                    <a:pt x="270365" y="29368"/>
                    <a:pt x="257214" y="21479"/>
                  </a:cubicBezTo>
                  <a:cubicBezTo>
                    <a:pt x="248772" y="16396"/>
                    <a:pt x="239720" y="12071"/>
                    <a:pt x="230182" y="8578"/>
                  </a:cubicBezTo>
                  <a:cubicBezTo>
                    <a:pt x="223363" y="6539"/>
                    <a:pt x="217274" y="7575"/>
                    <a:pt x="210455" y="4634"/>
                  </a:cubicBezTo>
                  <a:cubicBezTo>
                    <a:pt x="206153" y="2796"/>
                    <a:pt x="200551" y="-848"/>
                    <a:pt x="194990" y="-279"/>
                  </a:cubicBezTo>
                  <a:cubicBezTo>
                    <a:pt x="190444" y="667"/>
                    <a:pt x="186020" y="1943"/>
                    <a:pt x="181758" y="3531"/>
                  </a:cubicBezTo>
                  <a:cubicBezTo>
                    <a:pt x="175751" y="4968"/>
                    <a:pt x="170433" y="1158"/>
                    <a:pt x="165035" y="2996"/>
                  </a:cubicBezTo>
                  <a:cubicBezTo>
                    <a:pt x="156065" y="6138"/>
                    <a:pt x="156106" y="14360"/>
                    <a:pt x="147663" y="17268"/>
                  </a:cubicBezTo>
                  <a:cubicBezTo>
                    <a:pt x="140316" y="19808"/>
                    <a:pt x="127368" y="18204"/>
                    <a:pt x="118722" y="18137"/>
                  </a:cubicBezTo>
                  <a:cubicBezTo>
                    <a:pt x="106545" y="18137"/>
                    <a:pt x="106545" y="19441"/>
                    <a:pt x="100822" y="24020"/>
                  </a:cubicBezTo>
                  <a:cubicBezTo>
                    <a:pt x="97129" y="27028"/>
                    <a:pt x="75575" y="28264"/>
                    <a:pt x="74114" y="22014"/>
                  </a:cubicBezTo>
                  <a:cubicBezTo>
                    <a:pt x="73181" y="18137"/>
                    <a:pt x="55970" y="14695"/>
                    <a:pt x="50288" y="13959"/>
                  </a:cubicBezTo>
                  <a:cubicBezTo>
                    <a:pt x="36447" y="12121"/>
                    <a:pt x="38882" y="22950"/>
                    <a:pt x="32509" y="26426"/>
                  </a:cubicBezTo>
                  <a:cubicBezTo>
                    <a:pt x="25000" y="30504"/>
                    <a:pt x="18953" y="32944"/>
                    <a:pt x="15137" y="38927"/>
                  </a:cubicBezTo>
                  <a:cubicBezTo>
                    <a:pt x="12986" y="42269"/>
                    <a:pt x="16274" y="44776"/>
                    <a:pt x="15137" y="48051"/>
                  </a:cubicBezTo>
                  <a:cubicBezTo>
                    <a:pt x="13595" y="53332"/>
                    <a:pt x="7019" y="56808"/>
                    <a:pt x="9942" y="62958"/>
                  </a:cubicBezTo>
                  <a:cubicBezTo>
                    <a:pt x="12053" y="67236"/>
                    <a:pt x="5517" y="81241"/>
                    <a:pt x="11322" y="84015"/>
                  </a:cubicBezTo>
                  <a:cubicBezTo>
                    <a:pt x="19075" y="87725"/>
                    <a:pt x="29831" y="88627"/>
                    <a:pt x="35676" y="94042"/>
                  </a:cubicBezTo>
                  <a:cubicBezTo>
                    <a:pt x="48705" y="106275"/>
                    <a:pt x="4543" y="107813"/>
                    <a:pt x="322" y="114999"/>
                  </a:cubicBezTo>
                  <a:cubicBezTo>
                    <a:pt x="-8121" y="128669"/>
                    <a:pt x="126150" y="143175"/>
                    <a:pt x="141737" y="145080"/>
                  </a:cubicBezTo>
                  <a:cubicBezTo>
                    <a:pt x="151803" y="146083"/>
                    <a:pt x="174533" y="151263"/>
                    <a:pt x="175264" y="143676"/>
                  </a:cubicBezTo>
                  <a:cubicBezTo>
                    <a:pt x="175670" y="139565"/>
                    <a:pt x="172504" y="131243"/>
                    <a:pt x="178633" y="128769"/>
                  </a:cubicBezTo>
                  <a:cubicBezTo>
                    <a:pt x="193407" y="122753"/>
                    <a:pt x="209156" y="133415"/>
                    <a:pt x="221698" y="130373"/>
                  </a:cubicBezTo>
                  <a:cubicBezTo>
                    <a:pt x="232373" y="127800"/>
                    <a:pt x="236554" y="122753"/>
                    <a:pt x="253318" y="126630"/>
                  </a:cubicBezTo>
                  <a:cubicBezTo>
                    <a:pt x="258513" y="127833"/>
                    <a:pt x="257377" y="131075"/>
                    <a:pt x="262126" y="132045"/>
                  </a:cubicBezTo>
                  <a:cubicBezTo>
                    <a:pt x="272639" y="134217"/>
                    <a:pt x="275115" y="123388"/>
                    <a:pt x="276332" y="120079"/>
                  </a:cubicBezTo>
                  <a:cubicBezTo>
                    <a:pt x="277550" y="116770"/>
                    <a:pt x="278362" y="110052"/>
                    <a:pt x="285221" y="109016"/>
                  </a:cubicBezTo>
                  <a:cubicBezTo>
                    <a:pt x="293339" y="107779"/>
                    <a:pt x="302959" y="111690"/>
                    <a:pt x="310590" y="108615"/>
                  </a:cubicBezTo>
                  <a:cubicBezTo>
                    <a:pt x="318221" y="105540"/>
                    <a:pt x="293137" y="88293"/>
                    <a:pt x="315704" y="96081"/>
                  </a:cubicBezTo>
                  <a:cubicBezTo>
                    <a:pt x="334294" y="102532"/>
                    <a:pt x="340058" y="104871"/>
                    <a:pt x="343793" y="92739"/>
                  </a:cubicBezTo>
                  <a:cubicBezTo>
                    <a:pt x="345619" y="86923"/>
                    <a:pt x="356984" y="86689"/>
                    <a:pt x="362992" y="83079"/>
                  </a:cubicBezTo>
                  <a:cubicBezTo>
                    <a:pt x="371109" y="78132"/>
                    <a:pt x="361895" y="71882"/>
                    <a:pt x="360637" y="66133"/>
                  </a:cubicBezTo>
                  <a:cubicBezTo>
                    <a:pt x="359216" y="59649"/>
                    <a:pt x="402323" y="61320"/>
                    <a:pt x="411740" y="61621"/>
                  </a:cubicBezTo>
                  <a:cubicBezTo>
                    <a:pt x="431182" y="62223"/>
                    <a:pt x="450138" y="72250"/>
                    <a:pt x="467875" y="67136"/>
                  </a:cubicBezTo>
                  <a:cubicBezTo>
                    <a:pt x="463167" y="64686"/>
                    <a:pt x="458012" y="62898"/>
                    <a:pt x="452614" y="61855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186A2CE5-A4C7-40C1-92D2-9675885A6627}"/>
                </a:ext>
              </a:extLst>
            </p:cNvPr>
            <p:cNvSpPr/>
            <p:nvPr/>
          </p:nvSpPr>
          <p:spPr>
            <a:xfrm>
              <a:off x="7644539" y="4399559"/>
              <a:ext cx="532143" cy="213089"/>
            </a:xfrm>
            <a:custGeom>
              <a:avLst/>
              <a:gdLst>
                <a:gd name="connsiteX0" fmla="*/ 512752 w 532143"/>
                <a:gd name="connsiteY0" fmla="*/ 44529 h 213089"/>
                <a:gd name="connsiteX1" fmla="*/ 497936 w 532143"/>
                <a:gd name="connsiteY1" fmla="*/ 24475 h 213089"/>
                <a:gd name="connsiteX2" fmla="*/ 456413 w 532143"/>
                <a:gd name="connsiteY2" fmla="*/ 6760 h 213089"/>
                <a:gd name="connsiteX3" fmla="*/ 407259 w 532143"/>
                <a:gd name="connsiteY3" fmla="*/ 75 h 213089"/>
                <a:gd name="connsiteX4" fmla="*/ 356156 w 532143"/>
                <a:gd name="connsiteY4" fmla="*/ 4588 h 213089"/>
                <a:gd name="connsiteX5" fmla="*/ 360702 w 532143"/>
                <a:gd name="connsiteY5" fmla="*/ 18859 h 213089"/>
                <a:gd name="connsiteX6" fmla="*/ 342518 w 532143"/>
                <a:gd name="connsiteY6" fmla="*/ 27449 h 213089"/>
                <a:gd name="connsiteX7" fmla="*/ 315932 w 532143"/>
                <a:gd name="connsiteY7" fmla="*/ 36206 h 213089"/>
                <a:gd name="connsiteX8" fmla="*/ 307083 w 532143"/>
                <a:gd name="connsiteY8" fmla="*/ 42691 h 213089"/>
                <a:gd name="connsiteX9" fmla="*/ 293567 w 532143"/>
                <a:gd name="connsiteY9" fmla="*/ 48406 h 213089"/>
                <a:gd name="connsiteX10" fmla="*/ 273272 w 532143"/>
                <a:gd name="connsiteY10" fmla="*/ 54456 h 213089"/>
                <a:gd name="connsiteX11" fmla="*/ 253424 w 532143"/>
                <a:gd name="connsiteY11" fmla="*/ 67491 h 213089"/>
                <a:gd name="connsiteX12" fmla="*/ 220952 w 532143"/>
                <a:gd name="connsiteY12" fmla="*/ 65519 h 213089"/>
                <a:gd name="connsiteX13" fmla="*/ 205690 w 532143"/>
                <a:gd name="connsiteY13" fmla="*/ 67524 h 213089"/>
                <a:gd name="connsiteX14" fmla="*/ 178617 w 532143"/>
                <a:gd name="connsiteY14" fmla="*/ 65820 h 213089"/>
                <a:gd name="connsiteX15" fmla="*/ 169443 w 532143"/>
                <a:gd name="connsiteY15" fmla="*/ 85874 h 213089"/>
                <a:gd name="connsiteX16" fmla="*/ 101861 w 532143"/>
                <a:gd name="connsiteY16" fmla="*/ 79690 h 213089"/>
                <a:gd name="connsiteX17" fmla="*/ 387 w 532143"/>
                <a:gd name="connsiteY17" fmla="*/ 60071 h 213089"/>
                <a:gd name="connsiteX18" fmla="*/ 24741 w 532143"/>
                <a:gd name="connsiteY18" fmla="*/ 83868 h 213089"/>
                <a:gd name="connsiteX19" fmla="*/ 46375 w 532143"/>
                <a:gd name="connsiteY19" fmla="*/ 103288 h 213089"/>
                <a:gd name="connsiteX20" fmla="*/ 54493 w 532143"/>
                <a:gd name="connsiteY20" fmla="*/ 117559 h 213089"/>
                <a:gd name="connsiteX21" fmla="*/ 23685 w 532143"/>
                <a:gd name="connsiteY21" fmla="*/ 126016 h 213089"/>
                <a:gd name="connsiteX22" fmla="*/ -60 w 532143"/>
                <a:gd name="connsiteY22" fmla="*/ 143997 h 213089"/>
                <a:gd name="connsiteX23" fmla="*/ 49135 w 532143"/>
                <a:gd name="connsiteY23" fmla="*/ 151852 h 213089"/>
                <a:gd name="connsiteX24" fmla="*/ 79456 w 532143"/>
                <a:gd name="connsiteY24" fmla="*/ 154192 h 213089"/>
                <a:gd name="connsiteX25" fmla="*/ 116798 w 532143"/>
                <a:gd name="connsiteY25" fmla="*/ 163015 h 213089"/>
                <a:gd name="connsiteX26" fmla="*/ 149270 w 532143"/>
                <a:gd name="connsiteY26" fmla="*/ 169165 h 213089"/>
                <a:gd name="connsiteX27" fmla="*/ 162624 w 532143"/>
                <a:gd name="connsiteY27" fmla="*/ 191693 h 213089"/>
                <a:gd name="connsiteX28" fmla="*/ 187344 w 532143"/>
                <a:gd name="connsiteY28" fmla="*/ 207569 h 213089"/>
                <a:gd name="connsiteX29" fmla="*/ 211413 w 532143"/>
                <a:gd name="connsiteY29" fmla="*/ 202288 h 213089"/>
                <a:gd name="connsiteX30" fmla="*/ 275017 w 532143"/>
                <a:gd name="connsiteY30" fmla="*/ 211112 h 213089"/>
                <a:gd name="connsiteX31" fmla="*/ 266372 w 532143"/>
                <a:gd name="connsiteY31" fmla="*/ 190690 h 213089"/>
                <a:gd name="connsiteX32" fmla="*/ 256671 w 532143"/>
                <a:gd name="connsiteY32" fmla="*/ 167026 h 213089"/>
                <a:gd name="connsiteX33" fmla="*/ 252043 w 532143"/>
                <a:gd name="connsiteY33" fmla="*/ 154258 h 213089"/>
                <a:gd name="connsiteX34" fmla="*/ 276641 w 532143"/>
                <a:gd name="connsiteY34" fmla="*/ 147774 h 213089"/>
                <a:gd name="connsiteX35" fmla="*/ 288818 w 532143"/>
                <a:gd name="connsiteY35" fmla="*/ 153156 h 213089"/>
                <a:gd name="connsiteX36" fmla="*/ 300061 w 532143"/>
                <a:gd name="connsiteY36" fmla="*/ 152587 h 213089"/>
                <a:gd name="connsiteX37" fmla="*/ 333548 w 532143"/>
                <a:gd name="connsiteY37" fmla="*/ 151752 h 213089"/>
                <a:gd name="connsiteX38" fmla="*/ 357090 w 532143"/>
                <a:gd name="connsiteY38" fmla="*/ 145635 h 213089"/>
                <a:gd name="connsiteX39" fmla="*/ 374462 w 532143"/>
                <a:gd name="connsiteY39" fmla="*/ 136979 h 213089"/>
                <a:gd name="connsiteX40" fmla="*/ 391916 w 532143"/>
                <a:gd name="connsiteY40" fmla="*/ 130595 h 213089"/>
                <a:gd name="connsiteX41" fmla="*/ 414606 w 532143"/>
                <a:gd name="connsiteY41" fmla="*/ 120568 h 213089"/>
                <a:gd name="connsiteX42" fmla="*/ 431978 w 532143"/>
                <a:gd name="connsiteY42" fmla="*/ 106463 h 213089"/>
                <a:gd name="connsiteX43" fmla="*/ 450690 w 532143"/>
                <a:gd name="connsiteY43" fmla="*/ 96837 h 213089"/>
                <a:gd name="connsiteX44" fmla="*/ 428649 w 532143"/>
                <a:gd name="connsiteY44" fmla="*/ 85239 h 213089"/>
                <a:gd name="connsiteX45" fmla="*/ 424590 w 532143"/>
                <a:gd name="connsiteY45" fmla="*/ 70599 h 213089"/>
                <a:gd name="connsiteX46" fmla="*/ 437092 w 532143"/>
                <a:gd name="connsiteY46" fmla="*/ 48139 h 213089"/>
                <a:gd name="connsiteX47" fmla="*/ 472770 w 532143"/>
                <a:gd name="connsiteY47" fmla="*/ 60606 h 213089"/>
                <a:gd name="connsiteX48" fmla="*/ 515025 w 532143"/>
                <a:gd name="connsiteY48" fmla="*/ 64483 h 213089"/>
                <a:gd name="connsiteX49" fmla="*/ 530814 w 532143"/>
                <a:gd name="connsiteY49" fmla="*/ 59235 h 213089"/>
                <a:gd name="connsiteX50" fmla="*/ 512549 w 532143"/>
                <a:gd name="connsiteY50" fmla="*/ 44663 h 21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32143" h="213089">
                  <a:moveTo>
                    <a:pt x="512752" y="44529"/>
                  </a:moveTo>
                  <a:cubicBezTo>
                    <a:pt x="499600" y="37410"/>
                    <a:pt x="506338" y="31160"/>
                    <a:pt x="497936" y="24475"/>
                  </a:cubicBezTo>
                  <a:cubicBezTo>
                    <a:pt x="486328" y="15183"/>
                    <a:pt x="473096" y="5189"/>
                    <a:pt x="456413" y="6760"/>
                  </a:cubicBezTo>
                  <a:cubicBezTo>
                    <a:pt x="439730" y="8331"/>
                    <a:pt x="424347" y="510"/>
                    <a:pt x="407259" y="75"/>
                  </a:cubicBezTo>
                  <a:cubicBezTo>
                    <a:pt x="397842" y="-225"/>
                    <a:pt x="354736" y="-1896"/>
                    <a:pt x="356156" y="4588"/>
                  </a:cubicBezTo>
                  <a:cubicBezTo>
                    <a:pt x="357333" y="10036"/>
                    <a:pt x="361189" y="13178"/>
                    <a:pt x="360702" y="18859"/>
                  </a:cubicBezTo>
                  <a:cubicBezTo>
                    <a:pt x="360256" y="23672"/>
                    <a:pt x="347470" y="24909"/>
                    <a:pt x="342518" y="27449"/>
                  </a:cubicBezTo>
                  <a:cubicBezTo>
                    <a:pt x="329123" y="34301"/>
                    <a:pt x="342803" y="45699"/>
                    <a:pt x="315932" y="36206"/>
                  </a:cubicBezTo>
                  <a:cubicBezTo>
                    <a:pt x="298032" y="29889"/>
                    <a:pt x="300873" y="33599"/>
                    <a:pt x="307083" y="42691"/>
                  </a:cubicBezTo>
                  <a:cubicBezTo>
                    <a:pt x="310736" y="48038"/>
                    <a:pt x="300305" y="48640"/>
                    <a:pt x="293567" y="48406"/>
                  </a:cubicBezTo>
                  <a:cubicBezTo>
                    <a:pt x="280862" y="47938"/>
                    <a:pt x="276600" y="46802"/>
                    <a:pt x="273272" y="54456"/>
                  </a:cubicBezTo>
                  <a:cubicBezTo>
                    <a:pt x="272704" y="55759"/>
                    <a:pt x="257361" y="79356"/>
                    <a:pt x="253424" y="67491"/>
                  </a:cubicBezTo>
                  <a:cubicBezTo>
                    <a:pt x="251556" y="61842"/>
                    <a:pt x="225011" y="63614"/>
                    <a:pt x="220952" y="65519"/>
                  </a:cubicBezTo>
                  <a:cubicBezTo>
                    <a:pt x="214904" y="68293"/>
                    <a:pt x="216447" y="70098"/>
                    <a:pt x="205690" y="67524"/>
                  </a:cubicBezTo>
                  <a:cubicBezTo>
                    <a:pt x="195624" y="65084"/>
                    <a:pt x="187993" y="63748"/>
                    <a:pt x="178617" y="65820"/>
                  </a:cubicBezTo>
                  <a:cubicBezTo>
                    <a:pt x="163355" y="69162"/>
                    <a:pt x="177805" y="80192"/>
                    <a:pt x="169443" y="85874"/>
                  </a:cubicBezTo>
                  <a:cubicBezTo>
                    <a:pt x="163395" y="90052"/>
                    <a:pt x="111156" y="80727"/>
                    <a:pt x="101861" y="79690"/>
                  </a:cubicBezTo>
                  <a:cubicBezTo>
                    <a:pt x="65330" y="75379"/>
                    <a:pt x="35944" y="67257"/>
                    <a:pt x="387" y="60071"/>
                  </a:cubicBezTo>
                  <a:cubicBezTo>
                    <a:pt x="9601" y="67792"/>
                    <a:pt x="13741" y="76783"/>
                    <a:pt x="24741" y="83868"/>
                  </a:cubicBezTo>
                  <a:cubicBezTo>
                    <a:pt x="35741" y="90954"/>
                    <a:pt x="46862" y="93428"/>
                    <a:pt x="46375" y="103288"/>
                  </a:cubicBezTo>
                  <a:cubicBezTo>
                    <a:pt x="46010" y="110774"/>
                    <a:pt x="49663" y="110908"/>
                    <a:pt x="54493" y="117559"/>
                  </a:cubicBezTo>
                  <a:cubicBezTo>
                    <a:pt x="64478" y="130929"/>
                    <a:pt x="37202" y="124746"/>
                    <a:pt x="23685" y="126016"/>
                  </a:cubicBezTo>
                  <a:cubicBezTo>
                    <a:pt x="7449" y="127486"/>
                    <a:pt x="549" y="134773"/>
                    <a:pt x="-60" y="143997"/>
                  </a:cubicBezTo>
                  <a:cubicBezTo>
                    <a:pt x="16136" y="147410"/>
                    <a:pt x="32575" y="150034"/>
                    <a:pt x="49135" y="151852"/>
                  </a:cubicBezTo>
                  <a:cubicBezTo>
                    <a:pt x="59486" y="152788"/>
                    <a:pt x="69430" y="147975"/>
                    <a:pt x="79456" y="154192"/>
                  </a:cubicBezTo>
                  <a:cubicBezTo>
                    <a:pt x="87899" y="159506"/>
                    <a:pt x="106083" y="162013"/>
                    <a:pt x="116798" y="163015"/>
                  </a:cubicBezTo>
                  <a:cubicBezTo>
                    <a:pt x="127514" y="164018"/>
                    <a:pt x="144359" y="160442"/>
                    <a:pt x="149270" y="169165"/>
                  </a:cubicBezTo>
                  <a:cubicBezTo>
                    <a:pt x="153329" y="176519"/>
                    <a:pt x="163761" y="184373"/>
                    <a:pt x="162624" y="191693"/>
                  </a:cubicBezTo>
                  <a:cubicBezTo>
                    <a:pt x="161366" y="199949"/>
                    <a:pt x="178048" y="202990"/>
                    <a:pt x="187344" y="207569"/>
                  </a:cubicBezTo>
                  <a:cubicBezTo>
                    <a:pt x="197897" y="212750"/>
                    <a:pt x="200008" y="202689"/>
                    <a:pt x="211413" y="202288"/>
                  </a:cubicBezTo>
                  <a:cubicBezTo>
                    <a:pt x="228055" y="201687"/>
                    <a:pt x="261339" y="217830"/>
                    <a:pt x="275017" y="211112"/>
                  </a:cubicBezTo>
                  <a:cubicBezTo>
                    <a:pt x="283704" y="206834"/>
                    <a:pt x="270512" y="195737"/>
                    <a:pt x="266372" y="190690"/>
                  </a:cubicBezTo>
                  <a:cubicBezTo>
                    <a:pt x="260081" y="182936"/>
                    <a:pt x="266737" y="173076"/>
                    <a:pt x="256671" y="167026"/>
                  </a:cubicBezTo>
                  <a:cubicBezTo>
                    <a:pt x="248553" y="162146"/>
                    <a:pt x="242586" y="158637"/>
                    <a:pt x="252043" y="154258"/>
                  </a:cubicBezTo>
                  <a:cubicBezTo>
                    <a:pt x="255778" y="152487"/>
                    <a:pt x="270512" y="145969"/>
                    <a:pt x="276641" y="147774"/>
                  </a:cubicBezTo>
                  <a:cubicBezTo>
                    <a:pt x="281106" y="149111"/>
                    <a:pt x="284759" y="151585"/>
                    <a:pt x="288818" y="153156"/>
                  </a:cubicBezTo>
                  <a:cubicBezTo>
                    <a:pt x="295028" y="155462"/>
                    <a:pt x="294501" y="152420"/>
                    <a:pt x="300061" y="152587"/>
                  </a:cubicBezTo>
                  <a:cubicBezTo>
                    <a:pt x="316297" y="153022"/>
                    <a:pt x="321452" y="162247"/>
                    <a:pt x="333548" y="151752"/>
                  </a:cubicBezTo>
                  <a:cubicBezTo>
                    <a:pt x="340285" y="145936"/>
                    <a:pt x="343290" y="145067"/>
                    <a:pt x="357090" y="145635"/>
                  </a:cubicBezTo>
                  <a:cubicBezTo>
                    <a:pt x="367318" y="146103"/>
                    <a:pt x="370038" y="141290"/>
                    <a:pt x="374462" y="136979"/>
                  </a:cubicBezTo>
                  <a:cubicBezTo>
                    <a:pt x="379860" y="131731"/>
                    <a:pt x="380510" y="130093"/>
                    <a:pt x="391916" y="130595"/>
                  </a:cubicBezTo>
                  <a:cubicBezTo>
                    <a:pt x="405717" y="131263"/>
                    <a:pt x="399790" y="119598"/>
                    <a:pt x="414606" y="120568"/>
                  </a:cubicBezTo>
                  <a:cubicBezTo>
                    <a:pt x="429421" y="121537"/>
                    <a:pt x="425930" y="112145"/>
                    <a:pt x="431978" y="106463"/>
                  </a:cubicBezTo>
                  <a:cubicBezTo>
                    <a:pt x="436362" y="102352"/>
                    <a:pt x="456981" y="102586"/>
                    <a:pt x="450690" y="96837"/>
                  </a:cubicBezTo>
                  <a:cubicBezTo>
                    <a:pt x="444398" y="91088"/>
                    <a:pt x="432952" y="91957"/>
                    <a:pt x="428649" y="85239"/>
                  </a:cubicBezTo>
                  <a:cubicBezTo>
                    <a:pt x="426012" y="81128"/>
                    <a:pt x="422927" y="74543"/>
                    <a:pt x="424590" y="70599"/>
                  </a:cubicBezTo>
                  <a:cubicBezTo>
                    <a:pt x="427797" y="62645"/>
                    <a:pt x="417203" y="47203"/>
                    <a:pt x="437092" y="48139"/>
                  </a:cubicBezTo>
                  <a:cubicBezTo>
                    <a:pt x="449797" y="48707"/>
                    <a:pt x="462095" y="56361"/>
                    <a:pt x="472770" y="60606"/>
                  </a:cubicBezTo>
                  <a:cubicBezTo>
                    <a:pt x="486003" y="65887"/>
                    <a:pt x="501183" y="63714"/>
                    <a:pt x="515025" y="64483"/>
                  </a:cubicBezTo>
                  <a:cubicBezTo>
                    <a:pt x="520991" y="64753"/>
                    <a:pt x="526755" y="62828"/>
                    <a:pt x="530814" y="59235"/>
                  </a:cubicBezTo>
                  <a:cubicBezTo>
                    <a:pt x="536903" y="55124"/>
                    <a:pt x="519489" y="48406"/>
                    <a:pt x="512549" y="4466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EB98DCE3-D777-4BA4-BA72-37784905C939}"/>
                </a:ext>
              </a:extLst>
            </p:cNvPr>
            <p:cNvSpPr/>
            <p:nvPr/>
          </p:nvSpPr>
          <p:spPr>
            <a:xfrm>
              <a:off x="8451968" y="5099938"/>
              <a:ext cx="1108203" cy="697375"/>
            </a:xfrm>
            <a:custGeom>
              <a:avLst/>
              <a:gdLst>
                <a:gd name="connsiteX0" fmla="*/ 37428 w 1108203"/>
                <a:gd name="connsiteY0" fmla="*/ 134216 h 697375"/>
                <a:gd name="connsiteX1" fmla="*/ 45546 w 1108203"/>
                <a:gd name="connsiteY1" fmla="*/ 147151 h 697375"/>
                <a:gd name="connsiteX2" fmla="*/ 37428 w 1108203"/>
                <a:gd name="connsiteY2" fmla="*/ 134216 h 697375"/>
                <a:gd name="connsiteX3" fmla="*/ 276177 w 1108203"/>
                <a:gd name="connsiteY3" fmla="*/ 248258 h 697375"/>
                <a:gd name="connsiteX4" fmla="*/ 260428 w 1108203"/>
                <a:gd name="connsiteY4" fmla="*/ 247021 h 697375"/>
                <a:gd name="connsiteX5" fmla="*/ 270657 w 1108203"/>
                <a:gd name="connsiteY5" fmla="*/ 252035 h 697375"/>
                <a:gd name="connsiteX6" fmla="*/ 276177 w 1108203"/>
                <a:gd name="connsiteY6" fmla="*/ 248258 h 697375"/>
                <a:gd name="connsiteX7" fmla="*/ 17823 w 1108203"/>
                <a:gd name="connsiteY7" fmla="*/ 81608 h 697375"/>
                <a:gd name="connsiteX8" fmla="*/ 28458 w 1108203"/>
                <a:gd name="connsiteY8" fmla="*/ 99523 h 697375"/>
                <a:gd name="connsiteX9" fmla="*/ 17823 w 1108203"/>
                <a:gd name="connsiteY9" fmla="*/ 81608 h 697375"/>
                <a:gd name="connsiteX10" fmla="*/ 557424 w 1108203"/>
                <a:gd name="connsiteY10" fmla="*/ 369351 h 697375"/>
                <a:gd name="connsiteX11" fmla="*/ 558559 w 1108203"/>
                <a:gd name="connsiteY11" fmla="*/ 407554 h 697375"/>
                <a:gd name="connsiteX12" fmla="*/ 569722 w 1108203"/>
                <a:gd name="connsiteY12" fmla="*/ 387500 h 697375"/>
                <a:gd name="connsiteX13" fmla="*/ 592818 w 1108203"/>
                <a:gd name="connsiteY13" fmla="*/ 369986 h 697375"/>
                <a:gd name="connsiteX14" fmla="*/ 595172 w 1108203"/>
                <a:gd name="connsiteY14" fmla="*/ 390776 h 697375"/>
                <a:gd name="connsiteX15" fmla="*/ 615466 w 1108203"/>
                <a:gd name="connsiteY15" fmla="*/ 412902 h 697375"/>
                <a:gd name="connsiteX16" fmla="*/ 632717 w 1108203"/>
                <a:gd name="connsiteY16" fmla="*/ 394319 h 697375"/>
                <a:gd name="connsiteX17" fmla="*/ 631743 w 1108203"/>
                <a:gd name="connsiteY17" fmla="*/ 378576 h 697375"/>
                <a:gd name="connsiteX18" fmla="*/ 635031 w 1108203"/>
                <a:gd name="connsiteY18" fmla="*/ 367145 h 697375"/>
                <a:gd name="connsiteX19" fmla="*/ 667503 w 1108203"/>
                <a:gd name="connsiteY19" fmla="*/ 358221 h 697375"/>
                <a:gd name="connsiteX20" fmla="*/ 628334 w 1108203"/>
                <a:gd name="connsiteY20" fmla="*/ 352807 h 697375"/>
                <a:gd name="connsiteX21" fmla="*/ 601626 w 1108203"/>
                <a:gd name="connsiteY21" fmla="*/ 338936 h 697375"/>
                <a:gd name="connsiteX22" fmla="*/ 669207 w 1108203"/>
                <a:gd name="connsiteY22" fmla="*/ 335961 h 697375"/>
                <a:gd name="connsiteX23" fmla="*/ 705738 w 1108203"/>
                <a:gd name="connsiteY23" fmla="*/ 355681 h 697375"/>
                <a:gd name="connsiteX24" fmla="*/ 752497 w 1108203"/>
                <a:gd name="connsiteY24" fmla="*/ 351002 h 697375"/>
                <a:gd name="connsiteX25" fmla="*/ 718687 w 1108203"/>
                <a:gd name="connsiteY25" fmla="*/ 348027 h 697375"/>
                <a:gd name="connsiteX26" fmla="*/ 681790 w 1108203"/>
                <a:gd name="connsiteY26" fmla="*/ 332953 h 697375"/>
                <a:gd name="connsiteX27" fmla="*/ 646964 w 1108203"/>
                <a:gd name="connsiteY27" fmla="*/ 311963 h 697375"/>
                <a:gd name="connsiteX28" fmla="*/ 630728 w 1108203"/>
                <a:gd name="connsiteY28" fmla="*/ 312699 h 697375"/>
                <a:gd name="connsiteX29" fmla="*/ 613721 w 1108203"/>
                <a:gd name="connsiteY29" fmla="*/ 311027 h 697375"/>
                <a:gd name="connsiteX30" fmla="*/ 595253 w 1108203"/>
                <a:gd name="connsiteY30" fmla="*/ 323795 h 697375"/>
                <a:gd name="connsiteX31" fmla="*/ 576784 w 1108203"/>
                <a:gd name="connsiteY31" fmla="*/ 332652 h 697375"/>
                <a:gd name="connsiteX32" fmla="*/ 557504 w 1108203"/>
                <a:gd name="connsiteY32" fmla="*/ 369418 h 697375"/>
                <a:gd name="connsiteX33" fmla="*/ 204293 w 1108203"/>
                <a:gd name="connsiteY33" fmla="*/ 250297 h 697375"/>
                <a:gd name="connsiteX34" fmla="*/ 223370 w 1108203"/>
                <a:gd name="connsiteY34" fmla="*/ 233217 h 697375"/>
                <a:gd name="connsiteX35" fmla="*/ 236683 w 1108203"/>
                <a:gd name="connsiteY35" fmla="*/ 227869 h 697375"/>
                <a:gd name="connsiteX36" fmla="*/ 229133 w 1108203"/>
                <a:gd name="connsiteY36" fmla="*/ 213497 h 697375"/>
                <a:gd name="connsiteX37" fmla="*/ 208838 w 1108203"/>
                <a:gd name="connsiteY37" fmla="*/ 207848 h 697375"/>
                <a:gd name="connsiteX38" fmla="*/ 219514 w 1108203"/>
                <a:gd name="connsiteY38" fmla="*/ 222689 h 697375"/>
                <a:gd name="connsiteX39" fmla="*/ 200924 w 1108203"/>
                <a:gd name="connsiteY39" fmla="*/ 212461 h 697375"/>
                <a:gd name="connsiteX40" fmla="*/ 198894 w 1108203"/>
                <a:gd name="connsiteY40" fmla="*/ 205309 h 697375"/>
                <a:gd name="connsiteX41" fmla="*/ 189518 w 1108203"/>
                <a:gd name="connsiteY41" fmla="*/ 198624 h 697375"/>
                <a:gd name="connsiteX42" fmla="*/ 180304 w 1108203"/>
                <a:gd name="connsiteY42" fmla="*/ 180341 h 697375"/>
                <a:gd name="connsiteX43" fmla="*/ 172186 w 1108203"/>
                <a:gd name="connsiteY43" fmla="*/ 166771 h 697375"/>
                <a:gd name="connsiteX44" fmla="*/ 174418 w 1108203"/>
                <a:gd name="connsiteY44" fmla="*/ 154571 h 697375"/>
                <a:gd name="connsiteX45" fmla="*/ 165773 w 1108203"/>
                <a:gd name="connsiteY45" fmla="*/ 140366 h 697375"/>
                <a:gd name="connsiteX46" fmla="*/ 160293 w 1108203"/>
                <a:gd name="connsiteY46" fmla="*/ 134851 h 697375"/>
                <a:gd name="connsiteX47" fmla="*/ 150876 w 1108203"/>
                <a:gd name="connsiteY47" fmla="*/ 122451 h 697375"/>
                <a:gd name="connsiteX48" fmla="*/ 140120 w 1108203"/>
                <a:gd name="connsiteY48" fmla="*/ 115432 h 697375"/>
                <a:gd name="connsiteX49" fmla="*/ 128471 w 1108203"/>
                <a:gd name="connsiteY49" fmla="*/ 104169 h 697375"/>
                <a:gd name="connsiteX50" fmla="*/ 105822 w 1108203"/>
                <a:gd name="connsiteY50" fmla="*/ 88794 h 697375"/>
                <a:gd name="connsiteX51" fmla="*/ 94619 w 1108203"/>
                <a:gd name="connsiteY51" fmla="*/ 69408 h 697375"/>
                <a:gd name="connsiteX52" fmla="*/ 71036 w 1108203"/>
                <a:gd name="connsiteY52" fmla="*/ 46012 h 697375"/>
                <a:gd name="connsiteX53" fmla="*/ 59346 w 1108203"/>
                <a:gd name="connsiteY53" fmla="*/ 28063 h 697375"/>
                <a:gd name="connsiteX54" fmla="*/ 23628 w 1108203"/>
                <a:gd name="connsiteY54" fmla="*/ 13156 h 697375"/>
                <a:gd name="connsiteX55" fmla="*/ 6498 w 1108203"/>
                <a:gd name="connsiteY55" fmla="*/ 121 h 697375"/>
                <a:gd name="connsiteX56" fmla="*/ 2196 w 1108203"/>
                <a:gd name="connsiteY56" fmla="*/ 14861 h 697375"/>
                <a:gd name="connsiteX57" fmla="*/ 33816 w 1108203"/>
                <a:gd name="connsiteY57" fmla="*/ 55470 h 697375"/>
                <a:gd name="connsiteX58" fmla="*/ 47048 w 1108203"/>
                <a:gd name="connsiteY58" fmla="*/ 74923 h 697375"/>
                <a:gd name="connsiteX59" fmla="*/ 59225 w 1108203"/>
                <a:gd name="connsiteY59" fmla="*/ 90030 h 697375"/>
                <a:gd name="connsiteX60" fmla="*/ 67343 w 1108203"/>
                <a:gd name="connsiteY60" fmla="*/ 119443 h 697375"/>
                <a:gd name="connsiteX61" fmla="*/ 88368 w 1108203"/>
                <a:gd name="connsiteY61" fmla="*/ 164933 h 697375"/>
                <a:gd name="connsiteX62" fmla="*/ 112722 w 1108203"/>
                <a:gd name="connsiteY62" fmla="*/ 207514 h 697375"/>
                <a:gd name="connsiteX63" fmla="*/ 147223 w 1108203"/>
                <a:gd name="connsiteY63" fmla="*/ 248024 h 697375"/>
                <a:gd name="connsiteX64" fmla="*/ 156234 w 1108203"/>
                <a:gd name="connsiteY64" fmla="*/ 260391 h 697375"/>
                <a:gd name="connsiteX65" fmla="*/ 179289 w 1108203"/>
                <a:gd name="connsiteY65" fmla="*/ 268312 h 697375"/>
                <a:gd name="connsiteX66" fmla="*/ 204536 w 1108203"/>
                <a:gd name="connsiteY66" fmla="*/ 250297 h 697375"/>
                <a:gd name="connsiteX67" fmla="*/ 204373 w 1108203"/>
                <a:gd name="connsiteY67" fmla="*/ 250297 h 697375"/>
                <a:gd name="connsiteX68" fmla="*/ 825316 w 1108203"/>
                <a:gd name="connsiteY68" fmla="*/ 408022 h 697375"/>
                <a:gd name="connsiteX69" fmla="*/ 832500 w 1108203"/>
                <a:gd name="connsiteY69" fmla="*/ 393049 h 697375"/>
                <a:gd name="connsiteX70" fmla="*/ 812205 w 1108203"/>
                <a:gd name="connsiteY70" fmla="*/ 377975 h 697375"/>
                <a:gd name="connsiteX71" fmla="*/ 802667 w 1108203"/>
                <a:gd name="connsiteY71" fmla="*/ 410730 h 697375"/>
                <a:gd name="connsiteX72" fmla="*/ 825154 w 1108203"/>
                <a:gd name="connsiteY72" fmla="*/ 408022 h 697375"/>
                <a:gd name="connsiteX73" fmla="*/ 727901 w 1108203"/>
                <a:gd name="connsiteY73" fmla="*/ 436366 h 697375"/>
                <a:gd name="connsiteX74" fmla="*/ 755136 w 1108203"/>
                <a:gd name="connsiteY74" fmla="*/ 454682 h 697375"/>
                <a:gd name="connsiteX75" fmla="*/ 727941 w 1108203"/>
                <a:gd name="connsiteY75" fmla="*/ 436366 h 697375"/>
                <a:gd name="connsiteX76" fmla="*/ 621433 w 1108203"/>
                <a:gd name="connsiteY76" fmla="*/ 486501 h 697375"/>
                <a:gd name="connsiteX77" fmla="*/ 590463 w 1108203"/>
                <a:gd name="connsiteY77" fmla="*/ 476908 h 697375"/>
                <a:gd name="connsiteX78" fmla="*/ 561807 w 1108203"/>
                <a:gd name="connsiteY78" fmla="*/ 463539 h 697375"/>
                <a:gd name="connsiteX79" fmla="*/ 519228 w 1108203"/>
                <a:gd name="connsiteY79" fmla="*/ 453980 h 697375"/>
                <a:gd name="connsiteX80" fmla="*/ 585390 w 1108203"/>
                <a:gd name="connsiteY80" fmla="*/ 481621 h 697375"/>
                <a:gd name="connsiteX81" fmla="*/ 616359 w 1108203"/>
                <a:gd name="connsiteY81" fmla="*/ 489743 h 697375"/>
                <a:gd name="connsiteX82" fmla="*/ 621433 w 1108203"/>
                <a:gd name="connsiteY82" fmla="*/ 486601 h 697375"/>
                <a:gd name="connsiteX83" fmla="*/ 831932 w 1108203"/>
                <a:gd name="connsiteY83" fmla="*/ 474803 h 697375"/>
                <a:gd name="connsiteX84" fmla="*/ 789719 w 1108203"/>
                <a:gd name="connsiteY84" fmla="*/ 456420 h 697375"/>
                <a:gd name="connsiteX85" fmla="*/ 779612 w 1108203"/>
                <a:gd name="connsiteY85" fmla="*/ 458058 h 697375"/>
                <a:gd name="connsiteX86" fmla="*/ 803763 w 1108203"/>
                <a:gd name="connsiteY86" fmla="*/ 473132 h 697375"/>
                <a:gd name="connsiteX87" fmla="*/ 838710 w 1108203"/>
                <a:gd name="connsiteY87" fmla="*/ 497564 h 697375"/>
                <a:gd name="connsiteX88" fmla="*/ 831932 w 1108203"/>
                <a:gd name="connsiteY88" fmla="*/ 474803 h 697375"/>
                <a:gd name="connsiteX89" fmla="*/ 831973 w 1108203"/>
                <a:gd name="connsiteY89" fmla="*/ 474903 h 697375"/>
                <a:gd name="connsiteX90" fmla="*/ 392792 w 1108203"/>
                <a:gd name="connsiteY90" fmla="*/ 387333 h 697375"/>
                <a:gd name="connsiteX91" fmla="*/ 373390 w 1108203"/>
                <a:gd name="connsiteY91" fmla="*/ 364705 h 697375"/>
                <a:gd name="connsiteX92" fmla="*/ 368478 w 1108203"/>
                <a:gd name="connsiteY92" fmla="*/ 356985 h 697375"/>
                <a:gd name="connsiteX93" fmla="*/ 311084 w 1108203"/>
                <a:gd name="connsiteY93" fmla="*/ 332619 h 697375"/>
                <a:gd name="connsiteX94" fmla="*/ 288841 w 1108203"/>
                <a:gd name="connsiteY94" fmla="*/ 327873 h 697375"/>
                <a:gd name="connsiteX95" fmla="*/ 251498 w 1108203"/>
                <a:gd name="connsiteY95" fmla="*/ 303139 h 697375"/>
                <a:gd name="connsiteX96" fmla="*/ 213466 w 1108203"/>
                <a:gd name="connsiteY96" fmla="*/ 282082 h 697375"/>
                <a:gd name="connsiteX97" fmla="*/ 192521 w 1108203"/>
                <a:gd name="connsiteY97" fmla="*/ 280044 h 697375"/>
                <a:gd name="connsiteX98" fmla="*/ 176285 w 1108203"/>
                <a:gd name="connsiteY98" fmla="*/ 281815 h 697375"/>
                <a:gd name="connsiteX99" fmla="*/ 196987 w 1108203"/>
                <a:gd name="connsiteY99" fmla="*/ 300098 h 697375"/>
                <a:gd name="connsiteX100" fmla="*/ 228566 w 1108203"/>
                <a:gd name="connsiteY100" fmla="*/ 320854 h 697375"/>
                <a:gd name="connsiteX101" fmla="*/ 259373 w 1108203"/>
                <a:gd name="connsiteY101" fmla="*/ 328976 h 697375"/>
                <a:gd name="connsiteX102" fmla="*/ 302682 w 1108203"/>
                <a:gd name="connsiteY102" fmla="*/ 360628 h 697375"/>
                <a:gd name="connsiteX103" fmla="*/ 350091 w 1108203"/>
                <a:gd name="connsiteY103" fmla="*/ 381016 h 697375"/>
                <a:gd name="connsiteX104" fmla="*/ 375663 w 1108203"/>
                <a:gd name="connsiteY104" fmla="*/ 393784 h 697375"/>
                <a:gd name="connsiteX105" fmla="*/ 390965 w 1108203"/>
                <a:gd name="connsiteY105" fmla="*/ 397695 h 697375"/>
                <a:gd name="connsiteX106" fmla="*/ 406307 w 1108203"/>
                <a:gd name="connsiteY106" fmla="*/ 406418 h 697375"/>
                <a:gd name="connsiteX107" fmla="*/ 416536 w 1108203"/>
                <a:gd name="connsiteY107" fmla="*/ 403443 h 697375"/>
                <a:gd name="connsiteX108" fmla="*/ 392832 w 1108203"/>
                <a:gd name="connsiteY108" fmla="*/ 387333 h 697375"/>
                <a:gd name="connsiteX109" fmla="*/ 392832 w 1108203"/>
                <a:gd name="connsiteY109" fmla="*/ 387434 h 697375"/>
                <a:gd name="connsiteX110" fmla="*/ 1036951 w 1108203"/>
                <a:gd name="connsiteY110" fmla="*/ 545594 h 697375"/>
                <a:gd name="connsiteX111" fmla="*/ 1017386 w 1108203"/>
                <a:gd name="connsiteY111" fmla="*/ 546964 h 697375"/>
                <a:gd name="connsiteX112" fmla="*/ 993601 w 1108203"/>
                <a:gd name="connsiteY112" fmla="*/ 544424 h 697375"/>
                <a:gd name="connsiteX113" fmla="*/ 947572 w 1108203"/>
                <a:gd name="connsiteY113" fmla="*/ 533896 h 697375"/>
                <a:gd name="connsiteX114" fmla="*/ 934827 w 1108203"/>
                <a:gd name="connsiteY114" fmla="*/ 474168 h 697375"/>
                <a:gd name="connsiteX115" fmla="*/ 913193 w 1108203"/>
                <a:gd name="connsiteY115" fmla="*/ 462871 h 697375"/>
                <a:gd name="connsiteX116" fmla="*/ 892492 w 1108203"/>
                <a:gd name="connsiteY116" fmla="*/ 463105 h 697375"/>
                <a:gd name="connsiteX117" fmla="*/ 873130 w 1108203"/>
                <a:gd name="connsiteY117" fmla="*/ 461467 h 697375"/>
                <a:gd name="connsiteX118" fmla="*/ 888149 w 1108203"/>
                <a:gd name="connsiteY118" fmla="*/ 474268 h 697375"/>
                <a:gd name="connsiteX119" fmla="*/ 891802 w 1108203"/>
                <a:gd name="connsiteY119" fmla="*/ 490545 h 697375"/>
                <a:gd name="connsiteX120" fmla="*/ 917333 w 1108203"/>
                <a:gd name="connsiteY120" fmla="*/ 503714 h 697375"/>
                <a:gd name="connsiteX121" fmla="*/ 934421 w 1108203"/>
                <a:gd name="connsiteY121" fmla="*/ 514510 h 697375"/>
                <a:gd name="connsiteX122" fmla="*/ 911934 w 1108203"/>
                <a:gd name="connsiteY122" fmla="*/ 506488 h 697375"/>
                <a:gd name="connsiteX123" fmla="*/ 891355 w 1108203"/>
                <a:gd name="connsiteY123" fmla="*/ 497999 h 697375"/>
                <a:gd name="connsiteX124" fmla="*/ 891761 w 1108203"/>
                <a:gd name="connsiteY124" fmla="*/ 508728 h 697375"/>
                <a:gd name="connsiteX125" fmla="*/ 892208 w 1108203"/>
                <a:gd name="connsiteY125" fmla="*/ 524971 h 697375"/>
                <a:gd name="connsiteX126" fmla="*/ 910230 w 1108203"/>
                <a:gd name="connsiteY126" fmla="*/ 525874 h 697375"/>
                <a:gd name="connsiteX127" fmla="*/ 939982 w 1108203"/>
                <a:gd name="connsiteY127" fmla="*/ 555955 h 697375"/>
                <a:gd name="connsiteX128" fmla="*/ 964945 w 1108203"/>
                <a:gd name="connsiteY128" fmla="*/ 572099 h 697375"/>
                <a:gd name="connsiteX129" fmla="*/ 993357 w 1108203"/>
                <a:gd name="connsiteY129" fmla="*/ 595261 h 697375"/>
                <a:gd name="connsiteX130" fmla="*/ 1009106 w 1108203"/>
                <a:gd name="connsiteY130" fmla="*/ 614280 h 697375"/>
                <a:gd name="connsiteX131" fmla="*/ 1007564 w 1108203"/>
                <a:gd name="connsiteY131" fmla="*/ 632896 h 697375"/>
                <a:gd name="connsiteX132" fmla="*/ 969571 w 1108203"/>
                <a:gd name="connsiteY132" fmla="*/ 642121 h 697375"/>
                <a:gd name="connsiteX133" fmla="*/ 998716 w 1108203"/>
                <a:gd name="connsiteY133" fmla="*/ 662175 h 697375"/>
                <a:gd name="connsiteX134" fmla="*/ 1022785 w 1108203"/>
                <a:gd name="connsiteY134" fmla="*/ 671969 h 697375"/>
                <a:gd name="connsiteX135" fmla="*/ 1039305 w 1108203"/>
                <a:gd name="connsiteY135" fmla="*/ 697036 h 697375"/>
                <a:gd name="connsiteX136" fmla="*/ 1089758 w 1108203"/>
                <a:gd name="connsiteY136" fmla="*/ 630189 h 697375"/>
                <a:gd name="connsiteX137" fmla="*/ 1108105 w 1108203"/>
                <a:gd name="connsiteY137" fmla="*/ 605790 h 697375"/>
                <a:gd name="connsiteX138" fmla="*/ 1036951 w 1108203"/>
                <a:gd name="connsiteY138" fmla="*/ 545828 h 697375"/>
                <a:gd name="connsiteX139" fmla="*/ 644692 w 1108203"/>
                <a:gd name="connsiteY139" fmla="*/ 510466 h 697375"/>
                <a:gd name="connsiteX140" fmla="*/ 622651 w 1108203"/>
                <a:gd name="connsiteY140" fmla="*/ 505653 h 697375"/>
                <a:gd name="connsiteX141" fmla="*/ 598014 w 1108203"/>
                <a:gd name="connsiteY141" fmla="*/ 512338 h 697375"/>
                <a:gd name="connsiteX142" fmla="*/ 649278 w 1108203"/>
                <a:gd name="connsiteY142" fmla="*/ 519022 h 697375"/>
                <a:gd name="connsiteX143" fmla="*/ 644692 w 1108203"/>
                <a:gd name="connsiteY143" fmla="*/ 510599 h 697375"/>
                <a:gd name="connsiteX144" fmla="*/ 644611 w 1108203"/>
                <a:gd name="connsiteY144" fmla="*/ 510466 h 697375"/>
                <a:gd name="connsiteX145" fmla="*/ 508432 w 1108203"/>
                <a:gd name="connsiteY145" fmla="*/ 308654 h 697375"/>
                <a:gd name="connsiteX146" fmla="*/ 548210 w 1108203"/>
                <a:gd name="connsiteY146" fmla="*/ 287597 h 697375"/>
                <a:gd name="connsiteX147" fmla="*/ 584741 w 1108203"/>
                <a:gd name="connsiteY147" fmla="*/ 285859 h 697375"/>
                <a:gd name="connsiteX148" fmla="*/ 570980 w 1108203"/>
                <a:gd name="connsiteY148" fmla="*/ 267643 h 697375"/>
                <a:gd name="connsiteX149" fmla="*/ 566921 w 1108203"/>
                <a:gd name="connsiteY149" fmla="*/ 248124 h 697375"/>
                <a:gd name="connsiteX150" fmla="*/ 576257 w 1108203"/>
                <a:gd name="connsiteY150" fmla="*/ 240904 h 697375"/>
                <a:gd name="connsiteX151" fmla="*/ 584659 w 1108203"/>
                <a:gd name="connsiteY151" fmla="*/ 231245 h 697375"/>
                <a:gd name="connsiteX152" fmla="*/ 543541 w 1108203"/>
                <a:gd name="connsiteY152" fmla="*/ 213397 h 697375"/>
                <a:gd name="connsiteX153" fmla="*/ 516550 w 1108203"/>
                <a:gd name="connsiteY153" fmla="*/ 223992 h 697375"/>
                <a:gd name="connsiteX154" fmla="*/ 493454 w 1108203"/>
                <a:gd name="connsiteY154" fmla="*/ 231880 h 697375"/>
                <a:gd name="connsiteX155" fmla="*/ 484524 w 1108203"/>
                <a:gd name="connsiteY155" fmla="*/ 241372 h 697375"/>
                <a:gd name="connsiteX156" fmla="*/ 460170 w 1108203"/>
                <a:gd name="connsiteY156" fmla="*/ 237495 h 697375"/>
                <a:gd name="connsiteX157" fmla="*/ 424776 w 1108203"/>
                <a:gd name="connsiteY157" fmla="*/ 222221 h 697375"/>
                <a:gd name="connsiteX158" fmla="*/ 407282 w 1108203"/>
                <a:gd name="connsiteY158" fmla="*/ 221853 h 697375"/>
                <a:gd name="connsiteX159" fmla="*/ 380818 w 1108203"/>
                <a:gd name="connsiteY159" fmla="*/ 212695 h 697375"/>
                <a:gd name="connsiteX160" fmla="*/ 365597 w 1108203"/>
                <a:gd name="connsiteY160" fmla="*/ 208049 h 697375"/>
                <a:gd name="connsiteX161" fmla="*/ 351958 w 1108203"/>
                <a:gd name="connsiteY161" fmla="*/ 194078 h 697375"/>
                <a:gd name="connsiteX162" fmla="*/ 341161 w 1108203"/>
                <a:gd name="connsiteY162" fmla="*/ 182079 h 697375"/>
                <a:gd name="connsiteX163" fmla="*/ 321313 w 1108203"/>
                <a:gd name="connsiteY163" fmla="*/ 190201 h 697375"/>
                <a:gd name="connsiteX164" fmla="*/ 322652 w 1108203"/>
                <a:gd name="connsiteY164" fmla="*/ 202534 h 697375"/>
                <a:gd name="connsiteX165" fmla="*/ 321841 w 1108203"/>
                <a:gd name="connsiteY165" fmla="*/ 221652 h 697375"/>
                <a:gd name="connsiteX166" fmla="*/ 336250 w 1108203"/>
                <a:gd name="connsiteY166" fmla="*/ 248625 h 697375"/>
                <a:gd name="connsiteX167" fmla="*/ 345951 w 1108203"/>
                <a:gd name="connsiteY167" fmla="*/ 277871 h 697375"/>
                <a:gd name="connsiteX168" fmla="*/ 365758 w 1108203"/>
                <a:gd name="connsiteY168" fmla="*/ 288500 h 697375"/>
                <a:gd name="connsiteX169" fmla="*/ 379437 w 1108203"/>
                <a:gd name="connsiteY169" fmla="*/ 297323 h 697375"/>
                <a:gd name="connsiteX170" fmla="*/ 417023 w 1108203"/>
                <a:gd name="connsiteY170" fmla="*/ 311194 h 697375"/>
                <a:gd name="connsiteX171" fmla="*/ 442433 w 1108203"/>
                <a:gd name="connsiteY171" fmla="*/ 330981 h 697375"/>
                <a:gd name="connsiteX172" fmla="*/ 482413 w 1108203"/>
                <a:gd name="connsiteY172" fmla="*/ 329176 h 697375"/>
                <a:gd name="connsiteX173" fmla="*/ 508188 w 1108203"/>
                <a:gd name="connsiteY173" fmla="*/ 308654 h 697375"/>
                <a:gd name="connsiteX174" fmla="*/ 489477 w 1108203"/>
                <a:gd name="connsiteY174" fmla="*/ 458091 h 697375"/>
                <a:gd name="connsiteX175" fmla="*/ 511881 w 1108203"/>
                <a:gd name="connsiteY175" fmla="*/ 478646 h 697375"/>
                <a:gd name="connsiteX176" fmla="*/ 530147 w 1108203"/>
                <a:gd name="connsiteY176" fmla="*/ 481320 h 697375"/>
                <a:gd name="connsiteX177" fmla="*/ 507214 w 1108203"/>
                <a:gd name="connsiteY177" fmla="*/ 463840 h 697375"/>
                <a:gd name="connsiteX178" fmla="*/ 489477 w 1108203"/>
                <a:gd name="connsiteY178" fmla="*/ 458091 h 697375"/>
                <a:gd name="connsiteX179" fmla="*/ 489395 w 1108203"/>
                <a:gd name="connsiteY179" fmla="*/ 458091 h 697375"/>
                <a:gd name="connsiteX180" fmla="*/ 465650 w 1108203"/>
                <a:gd name="connsiteY180" fmla="*/ 421024 h 697375"/>
                <a:gd name="connsiteX181" fmla="*/ 425060 w 1108203"/>
                <a:gd name="connsiteY181" fmla="*/ 414540 h 697375"/>
                <a:gd name="connsiteX182" fmla="*/ 467842 w 1108203"/>
                <a:gd name="connsiteY182" fmla="*/ 436499 h 697375"/>
                <a:gd name="connsiteX183" fmla="*/ 496458 w 1108203"/>
                <a:gd name="connsiteY183" fmla="*/ 436499 h 697375"/>
                <a:gd name="connsiteX184" fmla="*/ 465772 w 1108203"/>
                <a:gd name="connsiteY184" fmla="*/ 421024 h 69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108203" h="697375">
                  <a:moveTo>
                    <a:pt x="37428" y="134216"/>
                  </a:moveTo>
                  <a:cubicBezTo>
                    <a:pt x="34790" y="136088"/>
                    <a:pt x="38930" y="148221"/>
                    <a:pt x="45546" y="147151"/>
                  </a:cubicBezTo>
                  <a:cubicBezTo>
                    <a:pt x="52162" y="146082"/>
                    <a:pt x="45871" y="128334"/>
                    <a:pt x="37428" y="134216"/>
                  </a:cubicBezTo>
                  <a:close/>
                  <a:moveTo>
                    <a:pt x="276177" y="248258"/>
                  </a:moveTo>
                  <a:cubicBezTo>
                    <a:pt x="278369" y="244080"/>
                    <a:pt x="257546" y="239033"/>
                    <a:pt x="260428" y="247021"/>
                  </a:cubicBezTo>
                  <a:cubicBezTo>
                    <a:pt x="261565" y="250731"/>
                    <a:pt x="266152" y="252970"/>
                    <a:pt x="270657" y="252035"/>
                  </a:cubicBezTo>
                  <a:cubicBezTo>
                    <a:pt x="273092" y="251500"/>
                    <a:pt x="275122" y="250129"/>
                    <a:pt x="276177" y="248258"/>
                  </a:cubicBezTo>
                  <a:close/>
                  <a:moveTo>
                    <a:pt x="17823" y="81608"/>
                  </a:moveTo>
                  <a:cubicBezTo>
                    <a:pt x="14089" y="85819"/>
                    <a:pt x="16403" y="102197"/>
                    <a:pt x="28458" y="99523"/>
                  </a:cubicBezTo>
                  <a:cubicBezTo>
                    <a:pt x="40513" y="96849"/>
                    <a:pt x="21517" y="77463"/>
                    <a:pt x="17823" y="81608"/>
                  </a:cubicBezTo>
                  <a:close/>
                  <a:moveTo>
                    <a:pt x="557424" y="369351"/>
                  </a:moveTo>
                  <a:cubicBezTo>
                    <a:pt x="576013" y="377875"/>
                    <a:pt x="522679" y="413069"/>
                    <a:pt x="558559" y="407554"/>
                  </a:cubicBezTo>
                  <a:cubicBezTo>
                    <a:pt x="574795" y="405114"/>
                    <a:pt x="566353" y="395923"/>
                    <a:pt x="569722" y="387500"/>
                  </a:cubicBezTo>
                  <a:cubicBezTo>
                    <a:pt x="571832" y="382219"/>
                    <a:pt x="578895" y="362667"/>
                    <a:pt x="592818" y="369986"/>
                  </a:cubicBezTo>
                  <a:cubicBezTo>
                    <a:pt x="608810" y="378409"/>
                    <a:pt x="587663" y="381852"/>
                    <a:pt x="595172" y="390776"/>
                  </a:cubicBezTo>
                  <a:cubicBezTo>
                    <a:pt x="605522" y="403109"/>
                    <a:pt x="590220" y="408591"/>
                    <a:pt x="615466" y="412902"/>
                  </a:cubicBezTo>
                  <a:cubicBezTo>
                    <a:pt x="644407" y="417883"/>
                    <a:pt x="622367" y="403443"/>
                    <a:pt x="632717" y="394319"/>
                  </a:cubicBezTo>
                  <a:cubicBezTo>
                    <a:pt x="639171" y="388670"/>
                    <a:pt x="637304" y="386297"/>
                    <a:pt x="631743" y="378576"/>
                  </a:cubicBezTo>
                  <a:cubicBezTo>
                    <a:pt x="629024" y="374766"/>
                    <a:pt x="623382" y="364004"/>
                    <a:pt x="635031" y="367145"/>
                  </a:cubicBezTo>
                  <a:cubicBezTo>
                    <a:pt x="651023" y="371390"/>
                    <a:pt x="708093" y="371323"/>
                    <a:pt x="667503" y="358221"/>
                  </a:cubicBezTo>
                  <a:cubicBezTo>
                    <a:pt x="656300" y="354578"/>
                    <a:pt x="638400" y="349665"/>
                    <a:pt x="628334" y="352807"/>
                  </a:cubicBezTo>
                  <a:cubicBezTo>
                    <a:pt x="616157" y="356583"/>
                    <a:pt x="605807" y="348963"/>
                    <a:pt x="601626" y="338936"/>
                  </a:cubicBezTo>
                  <a:cubicBezTo>
                    <a:pt x="589449" y="309423"/>
                    <a:pt x="649115" y="327472"/>
                    <a:pt x="669207" y="335961"/>
                  </a:cubicBezTo>
                  <a:cubicBezTo>
                    <a:pt x="681750" y="341209"/>
                    <a:pt x="693318" y="351503"/>
                    <a:pt x="705738" y="355681"/>
                  </a:cubicBezTo>
                  <a:cubicBezTo>
                    <a:pt x="712151" y="357820"/>
                    <a:pt x="758992" y="357286"/>
                    <a:pt x="752497" y="351002"/>
                  </a:cubicBezTo>
                  <a:cubicBezTo>
                    <a:pt x="748155" y="346824"/>
                    <a:pt x="724085" y="348227"/>
                    <a:pt x="718687" y="348027"/>
                  </a:cubicBezTo>
                  <a:cubicBezTo>
                    <a:pt x="706307" y="347559"/>
                    <a:pt x="691735" y="338802"/>
                    <a:pt x="681790" y="332953"/>
                  </a:cubicBezTo>
                  <a:cubicBezTo>
                    <a:pt x="671846" y="327104"/>
                    <a:pt x="658411" y="314537"/>
                    <a:pt x="646964" y="311963"/>
                  </a:cubicBezTo>
                  <a:cubicBezTo>
                    <a:pt x="641079" y="310659"/>
                    <a:pt x="636168" y="312464"/>
                    <a:pt x="630728" y="312699"/>
                  </a:cubicBezTo>
                  <a:cubicBezTo>
                    <a:pt x="625290" y="312932"/>
                    <a:pt x="619039" y="310058"/>
                    <a:pt x="613721" y="311027"/>
                  </a:cubicBezTo>
                  <a:cubicBezTo>
                    <a:pt x="604792" y="312699"/>
                    <a:pt x="600652" y="319483"/>
                    <a:pt x="595253" y="323795"/>
                  </a:cubicBezTo>
                  <a:cubicBezTo>
                    <a:pt x="589855" y="328107"/>
                    <a:pt x="582224" y="328541"/>
                    <a:pt x="576784" y="332652"/>
                  </a:cubicBezTo>
                  <a:cubicBezTo>
                    <a:pt x="562943" y="343047"/>
                    <a:pt x="520690" y="352707"/>
                    <a:pt x="557504" y="369418"/>
                  </a:cubicBezTo>
                  <a:close/>
                  <a:moveTo>
                    <a:pt x="204293" y="250297"/>
                  </a:moveTo>
                  <a:cubicBezTo>
                    <a:pt x="205713" y="246553"/>
                    <a:pt x="214968" y="231379"/>
                    <a:pt x="223370" y="233217"/>
                  </a:cubicBezTo>
                  <a:cubicBezTo>
                    <a:pt x="231122" y="234888"/>
                    <a:pt x="240783" y="237161"/>
                    <a:pt x="236683" y="227869"/>
                  </a:cubicBezTo>
                  <a:cubicBezTo>
                    <a:pt x="234776" y="223524"/>
                    <a:pt x="231610" y="217842"/>
                    <a:pt x="229133" y="213497"/>
                  </a:cubicBezTo>
                  <a:cubicBezTo>
                    <a:pt x="226333" y="208383"/>
                    <a:pt x="205794" y="199426"/>
                    <a:pt x="208838" y="207848"/>
                  </a:cubicBezTo>
                  <a:cubicBezTo>
                    <a:pt x="210462" y="212662"/>
                    <a:pt x="228119" y="217408"/>
                    <a:pt x="219514" y="222689"/>
                  </a:cubicBezTo>
                  <a:cubicBezTo>
                    <a:pt x="212979" y="219714"/>
                    <a:pt x="206768" y="216305"/>
                    <a:pt x="200924" y="212461"/>
                  </a:cubicBezTo>
                  <a:cubicBezTo>
                    <a:pt x="198325" y="210289"/>
                    <a:pt x="199584" y="207548"/>
                    <a:pt x="198894" y="205309"/>
                  </a:cubicBezTo>
                  <a:cubicBezTo>
                    <a:pt x="197758" y="201732"/>
                    <a:pt x="192765" y="201064"/>
                    <a:pt x="189518" y="198624"/>
                  </a:cubicBezTo>
                  <a:cubicBezTo>
                    <a:pt x="182577" y="193109"/>
                    <a:pt x="187976" y="185655"/>
                    <a:pt x="180304" y="180341"/>
                  </a:cubicBezTo>
                  <a:cubicBezTo>
                    <a:pt x="174012" y="175929"/>
                    <a:pt x="160496" y="171584"/>
                    <a:pt x="172186" y="166771"/>
                  </a:cubicBezTo>
                  <a:cubicBezTo>
                    <a:pt x="181237" y="163061"/>
                    <a:pt x="181115" y="162493"/>
                    <a:pt x="174418" y="154571"/>
                  </a:cubicBezTo>
                  <a:cubicBezTo>
                    <a:pt x="170075" y="149357"/>
                    <a:pt x="173363" y="144177"/>
                    <a:pt x="165773" y="140366"/>
                  </a:cubicBezTo>
                  <a:cubicBezTo>
                    <a:pt x="163012" y="138963"/>
                    <a:pt x="159116" y="137225"/>
                    <a:pt x="160293" y="134851"/>
                  </a:cubicBezTo>
                  <a:cubicBezTo>
                    <a:pt x="162241" y="130941"/>
                    <a:pt x="153028" y="126395"/>
                    <a:pt x="150876" y="122451"/>
                  </a:cubicBezTo>
                  <a:cubicBezTo>
                    <a:pt x="148157" y="117337"/>
                    <a:pt x="145478" y="118240"/>
                    <a:pt x="140120" y="115432"/>
                  </a:cubicBezTo>
                  <a:cubicBezTo>
                    <a:pt x="134762" y="112625"/>
                    <a:pt x="133261" y="107377"/>
                    <a:pt x="128471" y="104169"/>
                  </a:cubicBezTo>
                  <a:cubicBezTo>
                    <a:pt x="118404" y="97484"/>
                    <a:pt x="111707" y="99222"/>
                    <a:pt x="105822" y="88794"/>
                  </a:cubicBezTo>
                  <a:cubicBezTo>
                    <a:pt x="101763" y="81407"/>
                    <a:pt x="101763" y="76360"/>
                    <a:pt x="94619" y="69408"/>
                  </a:cubicBezTo>
                  <a:cubicBezTo>
                    <a:pt x="86501" y="61754"/>
                    <a:pt x="76962" y="54368"/>
                    <a:pt x="71036" y="46012"/>
                  </a:cubicBezTo>
                  <a:cubicBezTo>
                    <a:pt x="66368" y="39561"/>
                    <a:pt x="68114" y="33946"/>
                    <a:pt x="59346" y="28063"/>
                  </a:cubicBezTo>
                  <a:cubicBezTo>
                    <a:pt x="48834" y="21011"/>
                    <a:pt x="34465" y="19473"/>
                    <a:pt x="23628" y="13156"/>
                  </a:cubicBezTo>
                  <a:cubicBezTo>
                    <a:pt x="18026" y="9814"/>
                    <a:pt x="12952" y="2160"/>
                    <a:pt x="6498" y="121"/>
                  </a:cubicBezTo>
                  <a:cubicBezTo>
                    <a:pt x="-4177" y="-3221"/>
                    <a:pt x="1141" y="12688"/>
                    <a:pt x="2196" y="14861"/>
                  </a:cubicBezTo>
                  <a:cubicBezTo>
                    <a:pt x="9340" y="29433"/>
                    <a:pt x="27077" y="41232"/>
                    <a:pt x="33816" y="55470"/>
                  </a:cubicBezTo>
                  <a:cubicBezTo>
                    <a:pt x="36779" y="61721"/>
                    <a:pt x="39011" y="69742"/>
                    <a:pt x="47048" y="74923"/>
                  </a:cubicBezTo>
                  <a:cubicBezTo>
                    <a:pt x="55085" y="80104"/>
                    <a:pt x="58048" y="82610"/>
                    <a:pt x="59225" y="90030"/>
                  </a:cubicBezTo>
                  <a:cubicBezTo>
                    <a:pt x="60442" y="99656"/>
                    <a:pt x="55815" y="110920"/>
                    <a:pt x="67343" y="119443"/>
                  </a:cubicBezTo>
                  <a:cubicBezTo>
                    <a:pt x="82564" y="130707"/>
                    <a:pt x="88368" y="152299"/>
                    <a:pt x="88368" y="164933"/>
                  </a:cubicBezTo>
                  <a:cubicBezTo>
                    <a:pt x="88368" y="181411"/>
                    <a:pt x="107323" y="191671"/>
                    <a:pt x="112722" y="207514"/>
                  </a:cubicBezTo>
                  <a:cubicBezTo>
                    <a:pt x="117918" y="222388"/>
                    <a:pt x="139917" y="233885"/>
                    <a:pt x="147223" y="248024"/>
                  </a:cubicBezTo>
                  <a:cubicBezTo>
                    <a:pt x="148157" y="249862"/>
                    <a:pt x="150308" y="263265"/>
                    <a:pt x="156234" y="260391"/>
                  </a:cubicBezTo>
                  <a:cubicBezTo>
                    <a:pt x="162160" y="257516"/>
                    <a:pt x="174337" y="265738"/>
                    <a:pt x="179289" y="268312"/>
                  </a:cubicBezTo>
                  <a:cubicBezTo>
                    <a:pt x="193577" y="275799"/>
                    <a:pt x="202142" y="256513"/>
                    <a:pt x="204536" y="250297"/>
                  </a:cubicBezTo>
                  <a:cubicBezTo>
                    <a:pt x="206931" y="243545"/>
                    <a:pt x="201776" y="257048"/>
                    <a:pt x="204373" y="250297"/>
                  </a:cubicBezTo>
                  <a:close/>
                  <a:moveTo>
                    <a:pt x="825316" y="408022"/>
                  </a:moveTo>
                  <a:cubicBezTo>
                    <a:pt x="841552" y="416445"/>
                    <a:pt x="848249" y="399265"/>
                    <a:pt x="832500" y="393049"/>
                  </a:cubicBezTo>
                  <a:cubicBezTo>
                    <a:pt x="825640" y="390341"/>
                    <a:pt x="835057" y="367045"/>
                    <a:pt x="812205" y="377975"/>
                  </a:cubicBezTo>
                  <a:cubicBezTo>
                    <a:pt x="800515" y="383657"/>
                    <a:pt x="797349" y="399566"/>
                    <a:pt x="802667" y="410730"/>
                  </a:cubicBezTo>
                  <a:cubicBezTo>
                    <a:pt x="808958" y="424099"/>
                    <a:pt x="812977" y="401672"/>
                    <a:pt x="825154" y="408022"/>
                  </a:cubicBezTo>
                  <a:close/>
                  <a:moveTo>
                    <a:pt x="727901" y="436366"/>
                  </a:moveTo>
                  <a:cubicBezTo>
                    <a:pt x="726277" y="444788"/>
                    <a:pt x="745151" y="458258"/>
                    <a:pt x="755136" y="454682"/>
                  </a:cubicBezTo>
                  <a:cubicBezTo>
                    <a:pt x="765121" y="451105"/>
                    <a:pt x="729849" y="426573"/>
                    <a:pt x="727941" y="436366"/>
                  </a:cubicBezTo>
                  <a:close/>
                  <a:moveTo>
                    <a:pt x="621433" y="486501"/>
                  </a:moveTo>
                  <a:cubicBezTo>
                    <a:pt x="611854" y="481220"/>
                    <a:pt x="601138" y="479415"/>
                    <a:pt x="590463" y="476908"/>
                  </a:cubicBezTo>
                  <a:cubicBezTo>
                    <a:pt x="578287" y="474067"/>
                    <a:pt x="571630" y="469388"/>
                    <a:pt x="561807" y="463539"/>
                  </a:cubicBezTo>
                  <a:cubicBezTo>
                    <a:pt x="557302" y="460765"/>
                    <a:pt x="510014" y="444120"/>
                    <a:pt x="519228" y="453980"/>
                  </a:cubicBezTo>
                  <a:cubicBezTo>
                    <a:pt x="531690" y="467349"/>
                    <a:pt x="566069" y="477744"/>
                    <a:pt x="585390" y="481621"/>
                  </a:cubicBezTo>
                  <a:cubicBezTo>
                    <a:pt x="595943" y="483626"/>
                    <a:pt x="606334" y="486334"/>
                    <a:pt x="616359" y="489743"/>
                  </a:cubicBezTo>
                  <a:cubicBezTo>
                    <a:pt x="626345" y="493086"/>
                    <a:pt x="635802" y="494489"/>
                    <a:pt x="621433" y="486601"/>
                  </a:cubicBezTo>
                  <a:close/>
                  <a:moveTo>
                    <a:pt x="831932" y="474803"/>
                  </a:moveTo>
                  <a:cubicBezTo>
                    <a:pt x="819796" y="466079"/>
                    <a:pt x="805345" y="459762"/>
                    <a:pt x="789719" y="456420"/>
                  </a:cubicBezTo>
                  <a:cubicBezTo>
                    <a:pt x="786268" y="455751"/>
                    <a:pt x="779855" y="454882"/>
                    <a:pt x="779612" y="458058"/>
                  </a:cubicBezTo>
                  <a:cubicBezTo>
                    <a:pt x="779084" y="464742"/>
                    <a:pt x="796903" y="470290"/>
                    <a:pt x="803763" y="473132"/>
                  </a:cubicBezTo>
                  <a:cubicBezTo>
                    <a:pt x="819592" y="479817"/>
                    <a:pt x="825154" y="491347"/>
                    <a:pt x="838710" y="497564"/>
                  </a:cubicBezTo>
                  <a:cubicBezTo>
                    <a:pt x="852267" y="503781"/>
                    <a:pt x="836032" y="477777"/>
                    <a:pt x="831932" y="474803"/>
                  </a:cubicBezTo>
                  <a:cubicBezTo>
                    <a:pt x="815169" y="462637"/>
                    <a:pt x="848776" y="487236"/>
                    <a:pt x="831973" y="474903"/>
                  </a:cubicBezTo>
                  <a:close/>
                  <a:moveTo>
                    <a:pt x="392792" y="387333"/>
                  </a:moveTo>
                  <a:cubicBezTo>
                    <a:pt x="396039" y="379479"/>
                    <a:pt x="309501" y="356283"/>
                    <a:pt x="373390" y="364705"/>
                  </a:cubicBezTo>
                  <a:cubicBezTo>
                    <a:pt x="394780" y="367580"/>
                    <a:pt x="381792" y="360394"/>
                    <a:pt x="368478" y="356985"/>
                  </a:cubicBezTo>
                  <a:cubicBezTo>
                    <a:pt x="343353" y="350567"/>
                    <a:pt x="331419" y="345855"/>
                    <a:pt x="311084" y="332619"/>
                  </a:cubicBezTo>
                  <a:cubicBezTo>
                    <a:pt x="302966" y="327305"/>
                    <a:pt x="299151" y="332619"/>
                    <a:pt x="288841" y="327873"/>
                  </a:cubicBezTo>
                  <a:cubicBezTo>
                    <a:pt x="274756" y="321456"/>
                    <a:pt x="262133" y="313066"/>
                    <a:pt x="251498" y="303139"/>
                  </a:cubicBezTo>
                  <a:cubicBezTo>
                    <a:pt x="243137" y="294449"/>
                    <a:pt x="226698" y="286427"/>
                    <a:pt x="213466" y="282082"/>
                  </a:cubicBezTo>
                  <a:cubicBezTo>
                    <a:pt x="207012" y="279876"/>
                    <a:pt x="198042" y="277503"/>
                    <a:pt x="192521" y="280044"/>
                  </a:cubicBezTo>
                  <a:cubicBezTo>
                    <a:pt x="189721" y="281314"/>
                    <a:pt x="176854" y="280545"/>
                    <a:pt x="176285" y="281815"/>
                  </a:cubicBezTo>
                  <a:cubicBezTo>
                    <a:pt x="170806" y="293480"/>
                    <a:pt x="195972" y="289670"/>
                    <a:pt x="196987" y="300098"/>
                  </a:cubicBezTo>
                  <a:cubicBezTo>
                    <a:pt x="197798" y="308554"/>
                    <a:pt x="218701" y="316208"/>
                    <a:pt x="228566" y="320854"/>
                  </a:cubicBezTo>
                  <a:cubicBezTo>
                    <a:pt x="240255" y="326335"/>
                    <a:pt x="248657" y="324196"/>
                    <a:pt x="259373" y="328976"/>
                  </a:cubicBezTo>
                  <a:cubicBezTo>
                    <a:pt x="278450" y="337599"/>
                    <a:pt x="286567" y="350567"/>
                    <a:pt x="302682" y="360628"/>
                  </a:cubicBezTo>
                  <a:cubicBezTo>
                    <a:pt x="317010" y="369519"/>
                    <a:pt x="333044" y="376404"/>
                    <a:pt x="350091" y="381016"/>
                  </a:cubicBezTo>
                  <a:cubicBezTo>
                    <a:pt x="360117" y="383623"/>
                    <a:pt x="366693" y="389940"/>
                    <a:pt x="375663" y="393784"/>
                  </a:cubicBezTo>
                  <a:cubicBezTo>
                    <a:pt x="382319" y="396625"/>
                    <a:pt x="385241" y="392681"/>
                    <a:pt x="390965" y="397695"/>
                  </a:cubicBezTo>
                  <a:cubicBezTo>
                    <a:pt x="394821" y="401906"/>
                    <a:pt x="400179" y="404948"/>
                    <a:pt x="406307" y="406418"/>
                  </a:cubicBezTo>
                  <a:cubicBezTo>
                    <a:pt x="408216" y="406752"/>
                    <a:pt x="421326" y="407688"/>
                    <a:pt x="416536" y="403443"/>
                  </a:cubicBezTo>
                  <a:cubicBezTo>
                    <a:pt x="412477" y="399767"/>
                    <a:pt x="390843" y="392180"/>
                    <a:pt x="392832" y="387333"/>
                  </a:cubicBezTo>
                  <a:cubicBezTo>
                    <a:pt x="395186" y="381651"/>
                    <a:pt x="390437" y="393216"/>
                    <a:pt x="392832" y="387434"/>
                  </a:cubicBezTo>
                  <a:close/>
                  <a:moveTo>
                    <a:pt x="1036951" y="545594"/>
                  </a:moveTo>
                  <a:cubicBezTo>
                    <a:pt x="1029604" y="542252"/>
                    <a:pt x="1022948" y="545594"/>
                    <a:pt x="1017386" y="546964"/>
                  </a:cubicBezTo>
                  <a:cubicBezTo>
                    <a:pt x="1009918" y="548802"/>
                    <a:pt x="1002003" y="544558"/>
                    <a:pt x="993601" y="544424"/>
                  </a:cubicBezTo>
                  <a:cubicBezTo>
                    <a:pt x="982033" y="544223"/>
                    <a:pt x="950130" y="548335"/>
                    <a:pt x="947572" y="533896"/>
                  </a:cubicBezTo>
                  <a:cubicBezTo>
                    <a:pt x="943229" y="509530"/>
                    <a:pt x="970627" y="497831"/>
                    <a:pt x="934827" y="474168"/>
                  </a:cubicBezTo>
                  <a:cubicBezTo>
                    <a:pt x="928251" y="469622"/>
                    <a:pt x="920986" y="465812"/>
                    <a:pt x="913193" y="462871"/>
                  </a:cubicBezTo>
                  <a:cubicBezTo>
                    <a:pt x="903208" y="459328"/>
                    <a:pt x="901381" y="464241"/>
                    <a:pt x="892492" y="463105"/>
                  </a:cubicBezTo>
                  <a:cubicBezTo>
                    <a:pt x="886281" y="462302"/>
                    <a:pt x="877270" y="457590"/>
                    <a:pt x="873130" y="461467"/>
                  </a:cubicBezTo>
                  <a:cubicBezTo>
                    <a:pt x="866514" y="467650"/>
                    <a:pt x="882710" y="469522"/>
                    <a:pt x="888149" y="474268"/>
                  </a:cubicBezTo>
                  <a:cubicBezTo>
                    <a:pt x="894319" y="479716"/>
                    <a:pt x="887824" y="485131"/>
                    <a:pt x="891802" y="490545"/>
                  </a:cubicBezTo>
                  <a:cubicBezTo>
                    <a:pt x="896308" y="496695"/>
                    <a:pt x="909418" y="500806"/>
                    <a:pt x="917333" y="503714"/>
                  </a:cubicBezTo>
                  <a:cubicBezTo>
                    <a:pt x="921392" y="505252"/>
                    <a:pt x="938196" y="509697"/>
                    <a:pt x="934421" y="514510"/>
                  </a:cubicBezTo>
                  <a:cubicBezTo>
                    <a:pt x="931702" y="517852"/>
                    <a:pt x="917860" y="506856"/>
                    <a:pt x="911934" y="506488"/>
                  </a:cubicBezTo>
                  <a:cubicBezTo>
                    <a:pt x="903167" y="505920"/>
                    <a:pt x="899311" y="501408"/>
                    <a:pt x="891355" y="497999"/>
                  </a:cubicBezTo>
                  <a:cubicBezTo>
                    <a:pt x="878366" y="492417"/>
                    <a:pt x="890097" y="505285"/>
                    <a:pt x="891761" y="508728"/>
                  </a:cubicBezTo>
                  <a:cubicBezTo>
                    <a:pt x="894521" y="514376"/>
                    <a:pt x="887946" y="520125"/>
                    <a:pt x="892208" y="524971"/>
                  </a:cubicBezTo>
                  <a:cubicBezTo>
                    <a:pt x="899311" y="533094"/>
                    <a:pt x="905075" y="527278"/>
                    <a:pt x="910230" y="525874"/>
                  </a:cubicBezTo>
                  <a:cubicBezTo>
                    <a:pt x="915385" y="524470"/>
                    <a:pt x="936979" y="552245"/>
                    <a:pt x="939982" y="555955"/>
                  </a:cubicBezTo>
                  <a:cubicBezTo>
                    <a:pt x="944487" y="561437"/>
                    <a:pt x="958369" y="567386"/>
                    <a:pt x="964945" y="572099"/>
                  </a:cubicBezTo>
                  <a:cubicBezTo>
                    <a:pt x="975051" y="579285"/>
                    <a:pt x="984550" y="587006"/>
                    <a:pt x="993357" y="595261"/>
                  </a:cubicBezTo>
                  <a:cubicBezTo>
                    <a:pt x="999487" y="601010"/>
                    <a:pt x="1006549" y="607695"/>
                    <a:pt x="1009106" y="614280"/>
                  </a:cubicBezTo>
                  <a:cubicBezTo>
                    <a:pt x="1011948" y="621499"/>
                    <a:pt x="1004195" y="625543"/>
                    <a:pt x="1007564" y="632896"/>
                  </a:cubicBezTo>
                  <a:cubicBezTo>
                    <a:pt x="1019741" y="659301"/>
                    <a:pt x="986010" y="636673"/>
                    <a:pt x="969571" y="642121"/>
                  </a:cubicBezTo>
                  <a:cubicBezTo>
                    <a:pt x="955041" y="646901"/>
                    <a:pt x="993073" y="659836"/>
                    <a:pt x="998716" y="662175"/>
                  </a:cubicBezTo>
                  <a:cubicBezTo>
                    <a:pt x="1006915" y="665117"/>
                    <a:pt x="1014951" y="668359"/>
                    <a:pt x="1022785" y="671969"/>
                  </a:cubicBezTo>
                  <a:cubicBezTo>
                    <a:pt x="1031593" y="676414"/>
                    <a:pt x="1034596" y="690819"/>
                    <a:pt x="1039305" y="697036"/>
                  </a:cubicBezTo>
                  <a:cubicBezTo>
                    <a:pt x="1056109" y="674743"/>
                    <a:pt x="1072914" y="652482"/>
                    <a:pt x="1089758" y="630189"/>
                  </a:cubicBezTo>
                  <a:cubicBezTo>
                    <a:pt x="1095887" y="622067"/>
                    <a:pt x="1102016" y="613945"/>
                    <a:pt x="1108105" y="605790"/>
                  </a:cubicBezTo>
                  <a:cubicBezTo>
                    <a:pt x="1109931" y="603517"/>
                    <a:pt x="1047017" y="550106"/>
                    <a:pt x="1036951" y="545828"/>
                  </a:cubicBezTo>
                  <a:close/>
                  <a:moveTo>
                    <a:pt x="644692" y="510466"/>
                  </a:moveTo>
                  <a:cubicBezTo>
                    <a:pt x="635680" y="510265"/>
                    <a:pt x="626791" y="514042"/>
                    <a:pt x="622651" y="505653"/>
                  </a:cubicBezTo>
                  <a:cubicBezTo>
                    <a:pt x="613396" y="504249"/>
                    <a:pt x="599881" y="505653"/>
                    <a:pt x="598014" y="512338"/>
                  </a:cubicBezTo>
                  <a:cubicBezTo>
                    <a:pt x="593264" y="529049"/>
                    <a:pt x="642459" y="518421"/>
                    <a:pt x="649278" y="519022"/>
                  </a:cubicBezTo>
                  <a:cubicBezTo>
                    <a:pt x="648263" y="516048"/>
                    <a:pt x="646681" y="513207"/>
                    <a:pt x="644692" y="510599"/>
                  </a:cubicBezTo>
                  <a:cubicBezTo>
                    <a:pt x="641768" y="510399"/>
                    <a:pt x="646437" y="512739"/>
                    <a:pt x="644611" y="510466"/>
                  </a:cubicBezTo>
                  <a:close/>
                  <a:moveTo>
                    <a:pt x="508432" y="308654"/>
                  </a:moveTo>
                  <a:cubicBezTo>
                    <a:pt x="533150" y="309289"/>
                    <a:pt x="528442" y="286494"/>
                    <a:pt x="548210" y="287597"/>
                  </a:cubicBezTo>
                  <a:cubicBezTo>
                    <a:pt x="557951" y="288132"/>
                    <a:pt x="594685" y="300967"/>
                    <a:pt x="584741" y="285859"/>
                  </a:cubicBezTo>
                  <a:cubicBezTo>
                    <a:pt x="581209" y="280445"/>
                    <a:pt x="568748" y="272991"/>
                    <a:pt x="570980" y="267643"/>
                  </a:cubicBezTo>
                  <a:cubicBezTo>
                    <a:pt x="574146" y="260190"/>
                    <a:pt x="569601" y="256313"/>
                    <a:pt x="566921" y="248124"/>
                  </a:cubicBezTo>
                  <a:cubicBezTo>
                    <a:pt x="563836" y="238097"/>
                    <a:pt x="575039" y="245183"/>
                    <a:pt x="576257" y="240904"/>
                  </a:cubicBezTo>
                  <a:cubicBezTo>
                    <a:pt x="577719" y="235356"/>
                    <a:pt x="572198" y="230075"/>
                    <a:pt x="584659" y="231245"/>
                  </a:cubicBezTo>
                  <a:cubicBezTo>
                    <a:pt x="573091" y="222455"/>
                    <a:pt x="558885" y="216305"/>
                    <a:pt x="543541" y="213397"/>
                  </a:cubicBezTo>
                  <a:cubicBezTo>
                    <a:pt x="525642" y="210255"/>
                    <a:pt x="531365" y="224895"/>
                    <a:pt x="516550" y="223992"/>
                  </a:cubicBezTo>
                  <a:cubicBezTo>
                    <a:pt x="504373" y="223257"/>
                    <a:pt x="502506" y="227903"/>
                    <a:pt x="493454" y="231880"/>
                  </a:cubicBezTo>
                  <a:cubicBezTo>
                    <a:pt x="488664" y="233986"/>
                    <a:pt x="489841" y="240102"/>
                    <a:pt x="484524" y="241372"/>
                  </a:cubicBezTo>
                  <a:cubicBezTo>
                    <a:pt x="479207" y="242642"/>
                    <a:pt x="466502" y="238030"/>
                    <a:pt x="460170" y="237495"/>
                  </a:cubicBezTo>
                  <a:cubicBezTo>
                    <a:pt x="444989" y="236359"/>
                    <a:pt x="442433" y="224126"/>
                    <a:pt x="424776" y="222221"/>
                  </a:cubicBezTo>
                  <a:cubicBezTo>
                    <a:pt x="418769" y="221586"/>
                    <a:pt x="413410" y="222856"/>
                    <a:pt x="407282" y="221853"/>
                  </a:cubicBezTo>
                  <a:cubicBezTo>
                    <a:pt x="398150" y="220416"/>
                    <a:pt x="389504" y="215536"/>
                    <a:pt x="380818" y="212695"/>
                  </a:cubicBezTo>
                  <a:cubicBezTo>
                    <a:pt x="375338" y="210924"/>
                    <a:pt x="369656" y="211859"/>
                    <a:pt x="365597" y="208049"/>
                  </a:cubicBezTo>
                  <a:cubicBezTo>
                    <a:pt x="362430" y="205074"/>
                    <a:pt x="353054" y="197186"/>
                    <a:pt x="351958" y="194078"/>
                  </a:cubicBezTo>
                  <a:cubicBezTo>
                    <a:pt x="349807" y="187962"/>
                    <a:pt x="355287" y="180709"/>
                    <a:pt x="341161" y="182079"/>
                  </a:cubicBezTo>
                  <a:cubicBezTo>
                    <a:pt x="333571" y="182681"/>
                    <a:pt x="326508" y="185589"/>
                    <a:pt x="321313" y="190201"/>
                  </a:cubicBezTo>
                  <a:cubicBezTo>
                    <a:pt x="317050" y="194479"/>
                    <a:pt x="320623" y="197320"/>
                    <a:pt x="322652" y="202534"/>
                  </a:cubicBezTo>
                  <a:cubicBezTo>
                    <a:pt x="325331" y="209453"/>
                    <a:pt x="321800" y="215168"/>
                    <a:pt x="321841" y="221652"/>
                  </a:cubicBezTo>
                  <a:cubicBezTo>
                    <a:pt x="321841" y="231446"/>
                    <a:pt x="341689" y="238598"/>
                    <a:pt x="336250" y="248625"/>
                  </a:cubicBezTo>
                  <a:cubicBezTo>
                    <a:pt x="333084" y="254475"/>
                    <a:pt x="332191" y="273526"/>
                    <a:pt x="345951" y="277871"/>
                  </a:cubicBezTo>
                  <a:cubicBezTo>
                    <a:pt x="355976" y="281046"/>
                    <a:pt x="362187" y="279242"/>
                    <a:pt x="365758" y="288500"/>
                  </a:cubicBezTo>
                  <a:cubicBezTo>
                    <a:pt x="368031" y="294516"/>
                    <a:pt x="370142" y="295418"/>
                    <a:pt x="379437" y="297323"/>
                  </a:cubicBezTo>
                  <a:cubicBezTo>
                    <a:pt x="395145" y="300666"/>
                    <a:pt x="404116" y="302872"/>
                    <a:pt x="417023" y="311194"/>
                  </a:cubicBezTo>
                  <a:cubicBezTo>
                    <a:pt x="428713" y="318748"/>
                    <a:pt x="427212" y="327906"/>
                    <a:pt x="442433" y="330981"/>
                  </a:cubicBezTo>
                  <a:cubicBezTo>
                    <a:pt x="458669" y="334324"/>
                    <a:pt x="473524" y="337933"/>
                    <a:pt x="482413" y="329176"/>
                  </a:cubicBezTo>
                  <a:cubicBezTo>
                    <a:pt x="488421" y="323260"/>
                    <a:pt x="494388" y="308320"/>
                    <a:pt x="508188" y="308654"/>
                  </a:cubicBezTo>
                  <a:close/>
                  <a:moveTo>
                    <a:pt x="489477" y="458091"/>
                  </a:moveTo>
                  <a:cubicBezTo>
                    <a:pt x="491506" y="464174"/>
                    <a:pt x="505915" y="473098"/>
                    <a:pt x="511881" y="478646"/>
                  </a:cubicBezTo>
                  <a:cubicBezTo>
                    <a:pt x="515940" y="482557"/>
                    <a:pt x="535789" y="492283"/>
                    <a:pt x="530147" y="481320"/>
                  </a:cubicBezTo>
                  <a:cubicBezTo>
                    <a:pt x="526656" y="474636"/>
                    <a:pt x="515251" y="468218"/>
                    <a:pt x="507214" y="463840"/>
                  </a:cubicBezTo>
                  <a:cubicBezTo>
                    <a:pt x="506077" y="463238"/>
                    <a:pt x="488177" y="454314"/>
                    <a:pt x="489477" y="458091"/>
                  </a:cubicBezTo>
                  <a:cubicBezTo>
                    <a:pt x="491344" y="463973"/>
                    <a:pt x="487163" y="451573"/>
                    <a:pt x="489395" y="458091"/>
                  </a:cubicBezTo>
                  <a:close/>
                  <a:moveTo>
                    <a:pt x="465650" y="421024"/>
                  </a:moveTo>
                  <a:cubicBezTo>
                    <a:pt x="453270" y="427709"/>
                    <a:pt x="431352" y="400201"/>
                    <a:pt x="425060" y="414540"/>
                  </a:cubicBezTo>
                  <a:cubicBezTo>
                    <a:pt x="419337" y="427408"/>
                    <a:pt x="458100" y="434594"/>
                    <a:pt x="467842" y="436499"/>
                  </a:cubicBezTo>
                  <a:cubicBezTo>
                    <a:pt x="472875" y="437502"/>
                    <a:pt x="511638" y="451206"/>
                    <a:pt x="496458" y="436499"/>
                  </a:cubicBezTo>
                  <a:cubicBezTo>
                    <a:pt x="492845" y="432957"/>
                    <a:pt x="472104" y="417581"/>
                    <a:pt x="465772" y="42102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65C07C72-309C-4CE2-B407-FD2D7B8C27ED}"/>
                </a:ext>
              </a:extLst>
            </p:cNvPr>
            <p:cNvSpPr/>
            <p:nvPr/>
          </p:nvSpPr>
          <p:spPr>
            <a:xfrm>
              <a:off x="9074597" y="5606097"/>
              <a:ext cx="86612" cy="21730"/>
            </a:xfrm>
            <a:custGeom>
              <a:avLst/>
              <a:gdLst>
                <a:gd name="connsiteX0" fmla="*/ 8668 w 86612"/>
                <a:gd name="connsiteY0" fmla="*/ 1867 h 21730"/>
                <a:gd name="connsiteX1" fmla="*/ -60 w 86612"/>
                <a:gd name="connsiteY1" fmla="*/ -339 h 21730"/>
                <a:gd name="connsiteX2" fmla="*/ 12646 w 86612"/>
                <a:gd name="connsiteY2" fmla="*/ 3004 h 21730"/>
                <a:gd name="connsiteX3" fmla="*/ 8587 w 86612"/>
                <a:gd name="connsiteY3" fmla="*/ 1800 h 21730"/>
                <a:gd name="connsiteX4" fmla="*/ 8668 w 86612"/>
                <a:gd name="connsiteY4" fmla="*/ 1867 h 21730"/>
                <a:gd name="connsiteX5" fmla="*/ 51125 w 86612"/>
                <a:gd name="connsiteY5" fmla="*/ 5510 h 21730"/>
                <a:gd name="connsiteX6" fmla="*/ 21981 w 86612"/>
                <a:gd name="connsiteY6" fmla="*/ 4474 h 21730"/>
                <a:gd name="connsiteX7" fmla="*/ 30992 w 86612"/>
                <a:gd name="connsiteY7" fmla="*/ 13265 h 21730"/>
                <a:gd name="connsiteX8" fmla="*/ 47228 w 86612"/>
                <a:gd name="connsiteY8" fmla="*/ 15604 h 21730"/>
                <a:gd name="connsiteX9" fmla="*/ 80065 w 86612"/>
                <a:gd name="connsiteY9" fmla="*/ 21052 h 21730"/>
                <a:gd name="connsiteX10" fmla="*/ 51003 w 86612"/>
                <a:gd name="connsiteY10" fmla="*/ 5510 h 21730"/>
                <a:gd name="connsiteX11" fmla="*/ 51125 w 86612"/>
                <a:gd name="connsiteY11" fmla="*/ 5210 h 2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12" h="21730">
                  <a:moveTo>
                    <a:pt x="8668" y="1867"/>
                  </a:moveTo>
                  <a:cubicBezTo>
                    <a:pt x="5867" y="864"/>
                    <a:pt x="2944" y="96"/>
                    <a:pt x="-60" y="-339"/>
                  </a:cubicBezTo>
                  <a:cubicBezTo>
                    <a:pt x="3310" y="6346"/>
                    <a:pt x="7125" y="6346"/>
                    <a:pt x="12646" y="3004"/>
                  </a:cubicBezTo>
                  <a:lnTo>
                    <a:pt x="8587" y="1800"/>
                  </a:lnTo>
                  <a:cubicBezTo>
                    <a:pt x="5745" y="631"/>
                    <a:pt x="8830" y="1867"/>
                    <a:pt x="8668" y="1867"/>
                  </a:cubicBezTo>
                  <a:close/>
                  <a:moveTo>
                    <a:pt x="51125" y="5510"/>
                  </a:moveTo>
                  <a:cubicBezTo>
                    <a:pt x="40977" y="631"/>
                    <a:pt x="31560" y="4641"/>
                    <a:pt x="21981" y="4474"/>
                  </a:cubicBezTo>
                  <a:cubicBezTo>
                    <a:pt x="25634" y="9054"/>
                    <a:pt x="23280" y="12429"/>
                    <a:pt x="30992" y="13265"/>
                  </a:cubicBezTo>
                  <a:cubicBezTo>
                    <a:pt x="36431" y="13833"/>
                    <a:pt x="41911" y="14702"/>
                    <a:pt x="47228" y="15604"/>
                  </a:cubicBezTo>
                  <a:cubicBezTo>
                    <a:pt x="58187" y="17409"/>
                    <a:pt x="69187" y="19715"/>
                    <a:pt x="80065" y="21052"/>
                  </a:cubicBezTo>
                  <a:cubicBezTo>
                    <a:pt x="103647" y="23927"/>
                    <a:pt x="55711" y="7683"/>
                    <a:pt x="51003" y="5510"/>
                  </a:cubicBezTo>
                  <a:cubicBezTo>
                    <a:pt x="41464" y="698"/>
                    <a:pt x="65493" y="12162"/>
                    <a:pt x="51125" y="5210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F22935D2-7F80-4B11-BA4A-E3D3AC0953A2}"/>
                </a:ext>
              </a:extLst>
            </p:cNvPr>
            <p:cNvSpPr/>
            <p:nvPr/>
          </p:nvSpPr>
          <p:spPr>
            <a:xfrm>
              <a:off x="5986238" y="3974558"/>
              <a:ext cx="364913" cy="214533"/>
            </a:xfrm>
            <a:custGeom>
              <a:avLst/>
              <a:gdLst>
                <a:gd name="connsiteX0" fmla="*/ 251442 w 364913"/>
                <a:gd name="connsiteY0" fmla="*/ 185530 h 214533"/>
                <a:gd name="connsiteX1" fmla="*/ 218523 w 364913"/>
                <a:gd name="connsiteY1" fmla="*/ 186365 h 214533"/>
                <a:gd name="connsiteX2" fmla="*/ 186701 w 364913"/>
                <a:gd name="connsiteY2" fmla="*/ 189708 h 214533"/>
                <a:gd name="connsiteX3" fmla="*/ 237925 w 364913"/>
                <a:gd name="connsiteY3" fmla="*/ 207055 h 214533"/>
                <a:gd name="connsiteX4" fmla="*/ 254648 w 364913"/>
                <a:gd name="connsiteY4" fmla="*/ 214174 h 214533"/>
                <a:gd name="connsiteX5" fmla="*/ 263415 w 364913"/>
                <a:gd name="connsiteY5" fmla="*/ 199233 h 214533"/>
                <a:gd name="connsiteX6" fmla="*/ 251238 w 364913"/>
                <a:gd name="connsiteY6" fmla="*/ 185630 h 214533"/>
                <a:gd name="connsiteX7" fmla="*/ 69924 w 364913"/>
                <a:gd name="connsiteY7" fmla="*/ 127807 h 214533"/>
                <a:gd name="connsiteX8" fmla="*/ 46869 w 364913"/>
                <a:gd name="connsiteY8" fmla="*/ 131150 h 214533"/>
                <a:gd name="connsiteX9" fmla="*/ 55555 w 364913"/>
                <a:gd name="connsiteY9" fmla="*/ 143015 h 214533"/>
                <a:gd name="connsiteX10" fmla="*/ 72238 w 364913"/>
                <a:gd name="connsiteY10" fmla="*/ 169286 h 214533"/>
                <a:gd name="connsiteX11" fmla="*/ 96023 w 364913"/>
                <a:gd name="connsiteY11" fmla="*/ 159727 h 214533"/>
                <a:gd name="connsiteX12" fmla="*/ 97525 w 364913"/>
                <a:gd name="connsiteY12" fmla="*/ 141010 h 214533"/>
                <a:gd name="connsiteX13" fmla="*/ 94521 w 364913"/>
                <a:gd name="connsiteY13" fmla="*/ 127640 h 214533"/>
                <a:gd name="connsiteX14" fmla="*/ 69924 w 364913"/>
                <a:gd name="connsiteY14" fmla="*/ 128075 h 214533"/>
                <a:gd name="connsiteX15" fmla="*/ 301286 w 364913"/>
                <a:gd name="connsiteY15" fmla="*/ 121122 h 214533"/>
                <a:gd name="connsiteX16" fmla="*/ 292315 w 364913"/>
                <a:gd name="connsiteY16" fmla="*/ 114204 h 214533"/>
                <a:gd name="connsiteX17" fmla="*/ 272020 w 364913"/>
                <a:gd name="connsiteY17" fmla="*/ 110293 h 214533"/>
                <a:gd name="connsiteX18" fmla="*/ 234556 w 364913"/>
                <a:gd name="connsiteY18" fmla="*/ 91409 h 214533"/>
                <a:gd name="connsiteX19" fmla="*/ 208944 w 364913"/>
                <a:gd name="connsiteY19" fmla="*/ 68982 h 214533"/>
                <a:gd name="connsiteX20" fmla="*/ 181546 w 364913"/>
                <a:gd name="connsiteY20" fmla="*/ 54142 h 214533"/>
                <a:gd name="connsiteX21" fmla="*/ 186417 w 364913"/>
                <a:gd name="connsiteY21" fmla="*/ 35224 h 214533"/>
                <a:gd name="connsiteX22" fmla="*/ 198594 w 364913"/>
                <a:gd name="connsiteY22" fmla="*/ 26300 h 214533"/>
                <a:gd name="connsiteX23" fmla="*/ 200704 w 364913"/>
                <a:gd name="connsiteY23" fmla="*/ 8619 h 214533"/>
                <a:gd name="connsiteX24" fmla="*/ 181952 w 364913"/>
                <a:gd name="connsiteY24" fmla="*/ 5276 h 214533"/>
                <a:gd name="connsiteX25" fmla="*/ 175295 w 364913"/>
                <a:gd name="connsiteY25" fmla="*/ -339 h 214533"/>
                <a:gd name="connsiteX26" fmla="*/ 136572 w 364913"/>
                <a:gd name="connsiteY26" fmla="*/ 5410 h 214533"/>
                <a:gd name="connsiteX27" fmla="*/ 119281 w 364913"/>
                <a:gd name="connsiteY27" fmla="*/ 9789 h 214533"/>
                <a:gd name="connsiteX28" fmla="*/ 108363 w 364913"/>
                <a:gd name="connsiteY28" fmla="*/ 10791 h 214533"/>
                <a:gd name="connsiteX29" fmla="*/ 95780 w 364913"/>
                <a:gd name="connsiteY29" fmla="*/ 15337 h 214533"/>
                <a:gd name="connsiteX30" fmla="*/ 75891 w 364913"/>
                <a:gd name="connsiteY30" fmla="*/ 25598 h 214533"/>
                <a:gd name="connsiteX31" fmla="*/ 48939 w 364913"/>
                <a:gd name="connsiteY31" fmla="*/ 16841 h 214533"/>
                <a:gd name="connsiteX32" fmla="*/ 16954 w 364913"/>
                <a:gd name="connsiteY32" fmla="*/ 26367 h 214533"/>
                <a:gd name="connsiteX33" fmla="*/ 6604 w 364913"/>
                <a:gd name="connsiteY33" fmla="*/ 41741 h 214533"/>
                <a:gd name="connsiteX34" fmla="*/ 9729 w 364913"/>
                <a:gd name="connsiteY34" fmla="*/ 54543 h 214533"/>
                <a:gd name="connsiteX35" fmla="*/ 24626 w 364913"/>
                <a:gd name="connsiteY35" fmla="*/ 62865 h 214533"/>
                <a:gd name="connsiteX36" fmla="*/ 28685 w 364913"/>
                <a:gd name="connsiteY36" fmla="*/ 71054 h 214533"/>
                <a:gd name="connsiteX37" fmla="*/ 58721 w 364913"/>
                <a:gd name="connsiteY37" fmla="*/ 60058 h 214533"/>
                <a:gd name="connsiteX38" fmla="*/ 108079 w 364913"/>
                <a:gd name="connsiteY38" fmla="*/ 65740 h 214533"/>
                <a:gd name="connsiteX39" fmla="*/ 152281 w 364913"/>
                <a:gd name="connsiteY39" fmla="*/ 98829 h 214533"/>
                <a:gd name="connsiteX40" fmla="*/ 187148 w 364913"/>
                <a:gd name="connsiteY40" fmla="*/ 115541 h 214533"/>
                <a:gd name="connsiteX41" fmla="*/ 231796 w 364913"/>
                <a:gd name="connsiteY41" fmla="*/ 129412 h 214533"/>
                <a:gd name="connsiteX42" fmla="*/ 266825 w 364913"/>
                <a:gd name="connsiteY42" fmla="*/ 143617 h 214533"/>
                <a:gd name="connsiteX43" fmla="*/ 281356 w 364913"/>
                <a:gd name="connsiteY43" fmla="*/ 148196 h 214533"/>
                <a:gd name="connsiteX44" fmla="*/ 289474 w 364913"/>
                <a:gd name="connsiteY44" fmla="*/ 160195 h 214533"/>
                <a:gd name="connsiteX45" fmla="*/ 283102 w 364913"/>
                <a:gd name="connsiteY45" fmla="*/ 182421 h 214533"/>
                <a:gd name="connsiteX46" fmla="*/ 300636 w 364913"/>
                <a:gd name="connsiteY46" fmla="*/ 181118 h 214533"/>
                <a:gd name="connsiteX47" fmla="*/ 306969 w 364913"/>
                <a:gd name="connsiteY47" fmla="*/ 172394 h 214533"/>
                <a:gd name="connsiteX48" fmla="*/ 323204 w 364913"/>
                <a:gd name="connsiteY48" fmla="*/ 165710 h 214533"/>
                <a:gd name="connsiteX49" fmla="*/ 309119 w 364913"/>
                <a:gd name="connsiteY49" fmla="*/ 148764 h 214533"/>
                <a:gd name="connsiteX50" fmla="*/ 347152 w 364913"/>
                <a:gd name="connsiteY50" fmla="*/ 148129 h 214533"/>
                <a:gd name="connsiteX51" fmla="*/ 361724 w 364913"/>
                <a:gd name="connsiteY51" fmla="*/ 143115 h 214533"/>
                <a:gd name="connsiteX52" fmla="*/ 301367 w 364913"/>
                <a:gd name="connsiteY52" fmla="*/ 121423 h 21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64913" h="214533">
                  <a:moveTo>
                    <a:pt x="251442" y="185530"/>
                  </a:moveTo>
                  <a:cubicBezTo>
                    <a:pt x="240888" y="186633"/>
                    <a:pt x="229198" y="188337"/>
                    <a:pt x="218523" y="186365"/>
                  </a:cubicBezTo>
                  <a:cubicBezTo>
                    <a:pt x="207848" y="184393"/>
                    <a:pt x="192465" y="182455"/>
                    <a:pt x="186701" y="189708"/>
                  </a:cubicBezTo>
                  <a:cubicBezTo>
                    <a:pt x="180206" y="197730"/>
                    <a:pt x="230822" y="203679"/>
                    <a:pt x="237925" y="207055"/>
                  </a:cubicBezTo>
                  <a:cubicBezTo>
                    <a:pt x="242715" y="209294"/>
                    <a:pt x="247707" y="213739"/>
                    <a:pt x="254648" y="214174"/>
                  </a:cubicBezTo>
                  <a:cubicBezTo>
                    <a:pt x="269585" y="214742"/>
                    <a:pt x="261914" y="203445"/>
                    <a:pt x="263415" y="199233"/>
                  </a:cubicBezTo>
                  <a:cubicBezTo>
                    <a:pt x="267150" y="188605"/>
                    <a:pt x="289677" y="181619"/>
                    <a:pt x="251238" y="185630"/>
                  </a:cubicBezTo>
                  <a:close/>
                  <a:moveTo>
                    <a:pt x="69924" y="127807"/>
                  </a:moveTo>
                  <a:cubicBezTo>
                    <a:pt x="63714" y="130715"/>
                    <a:pt x="50400" y="127807"/>
                    <a:pt x="46869" y="131150"/>
                  </a:cubicBezTo>
                  <a:cubicBezTo>
                    <a:pt x="43338" y="134492"/>
                    <a:pt x="52796" y="140174"/>
                    <a:pt x="55555" y="143015"/>
                  </a:cubicBezTo>
                  <a:cubicBezTo>
                    <a:pt x="58316" y="145856"/>
                    <a:pt x="56611" y="177876"/>
                    <a:pt x="72238" y="169286"/>
                  </a:cubicBezTo>
                  <a:cubicBezTo>
                    <a:pt x="78976" y="165576"/>
                    <a:pt x="93182" y="165142"/>
                    <a:pt x="96023" y="159727"/>
                  </a:cubicBezTo>
                  <a:cubicBezTo>
                    <a:pt x="99067" y="153777"/>
                    <a:pt x="97079" y="147093"/>
                    <a:pt x="97525" y="141010"/>
                  </a:cubicBezTo>
                  <a:cubicBezTo>
                    <a:pt x="97850" y="136464"/>
                    <a:pt x="103248" y="130682"/>
                    <a:pt x="94521" y="127640"/>
                  </a:cubicBezTo>
                  <a:cubicBezTo>
                    <a:pt x="86607" y="124986"/>
                    <a:pt x="77717" y="125143"/>
                    <a:pt x="69924" y="128075"/>
                  </a:cubicBezTo>
                  <a:close/>
                  <a:moveTo>
                    <a:pt x="301286" y="121122"/>
                  </a:moveTo>
                  <a:cubicBezTo>
                    <a:pt x="297470" y="119672"/>
                    <a:pt x="294305" y="117245"/>
                    <a:pt x="292315" y="114204"/>
                  </a:cubicBezTo>
                  <a:cubicBezTo>
                    <a:pt x="288256" y="109759"/>
                    <a:pt x="279408" y="111162"/>
                    <a:pt x="272020" y="110293"/>
                  </a:cubicBezTo>
                  <a:cubicBezTo>
                    <a:pt x="257043" y="108231"/>
                    <a:pt x="243608" y="101463"/>
                    <a:pt x="234556" y="91409"/>
                  </a:cubicBezTo>
                  <a:cubicBezTo>
                    <a:pt x="226438" y="82552"/>
                    <a:pt x="225423" y="74931"/>
                    <a:pt x="208944" y="68982"/>
                  </a:cubicBezTo>
                  <a:cubicBezTo>
                    <a:pt x="198269" y="65105"/>
                    <a:pt x="183089" y="61963"/>
                    <a:pt x="181546" y="54142"/>
                  </a:cubicBezTo>
                  <a:cubicBezTo>
                    <a:pt x="180978" y="51267"/>
                    <a:pt x="183778" y="36761"/>
                    <a:pt x="186417" y="35224"/>
                  </a:cubicBezTo>
                  <a:cubicBezTo>
                    <a:pt x="194819" y="30344"/>
                    <a:pt x="198594" y="34054"/>
                    <a:pt x="198594" y="26300"/>
                  </a:cubicBezTo>
                  <a:cubicBezTo>
                    <a:pt x="198634" y="20367"/>
                    <a:pt x="199365" y="14448"/>
                    <a:pt x="200704" y="8619"/>
                  </a:cubicBezTo>
                  <a:cubicBezTo>
                    <a:pt x="195671" y="8318"/>
                    <a:pt x="184468" y="8385"/>
                    <a:pt x="181952" y="5276"/>
                  </a:cubicBezTo>
                  <a:cubicBezTo>
                    <a:pt x="180166" y="3137"/>
                    <a:pt x="180775" y="-339"/>
                    <a:pt x="175295" y="-339"/>
                  </a:cubicBezTo>
                  <a:cubicBezTo>
                    <a:pt x="159668" y="-339"/>
                    <a:pt x="150373" y="4808"/>
                    <a:pt x="136572" y="5410"/>
                  </a:cubicBezTo>
                  <a:cubicBezTo>
                    <a:pt x="123787" y="5978"/>
                    <a:pt x="126750" y="3505"/>
                    <a:pt x="119281" y="9789"/>
                  </a:cubicBezTo>
                  <a:cubicBezTo>
                    <a:pt x="116481" y="12128"/>
                    <a:pt x="112016" y="9789"/>
                    <a:pt x="108363" y="10791"/>
                  </a:cubicBezTo>
                  <a:cubicBezTo>
                    <a:pt x="101868" y="12763"/>
                    <a:pt x="107429" y="16039"/>
                    <a:pt x="95780" y="15337"/>
                  </a:cubicBezTo>
                  <a:cubicBezTo>
                    <a:pt x="73456" y="13966"/>
                    <a:pt x="87905" y="23826"/>
                    <a:pt x="75891" y="25598"/>
                  </a:cubicBezTo>
                  <a:cubicBezTo>
                    <a:pt x="63064" y="27536"/>
                    <a:pt x="58803" y="6012"/>
                    <a:pt x="48939" y="16841"/>
                  </a:cubicBezTo>
                  <a:cubicBezTo>
                    <a:pt x="40821" y="25932"/>
                    <a:pt x="35057" y="25364"/>
                    <a:pt x="16954" y="26367"/>
                  </a:cubicBezTo>
                  <a:cubicBezTo>
                    <a:pt x="-5086" y="27637"/>
                    <a:pt x="24667" y="36728"/>
                    <a:pt x="6604" y="41741"/>
                  </a:cubicBezTo>
                  <a:cubicBezTo>
                    <a:pt x="-13041" y="47256"/>
                    <a:pt x="17807" y="47658"/>
                    <a:pt x="9729" y="54543"/>
                  </a:cubicBezTo>
                  <a:cubicBezTo>
                    <a:pt x="1652" y="61428"/>
                    <a:pt x="15980" y="62765"/>
                    <a:pt x="24626" y="62865"/>
                  </a:cubicBezTo>
                  <a:cubicBezTo>
                    <a:pt x="37209" y="62865"/>
                    <a:pt x="29416" y="67010"/>
                    <a:pt x="28685" y="71054"/>
                  </a:cubicBezTo>
                  <a:cubicBezTo>
                    <a:pt x="45165" y="68313"/>
                    <a:pt x="46057" y="64369"/>
                    <a:pt x="58721" y="60058"/>
                  </a:cubicBezTo>
                  <a:cubicBezTo>
                    <a:pt x="74552" y="54576"/>
                    <a:pt x="96104" y="59423"/>
                    <a:pt x="108079" y="65740"/>
                  </a:cubicBezTo>
                  <a:cubicBezTo>
                    <a:pt x="128130" y="76268"/>
                    <a:pt x="125938" y="89738"/>
                    <a:pt x="152281" y="98829"/>
                  </a:cubicBezTo>
                  <a:cubicBezTo>
                    <a:pt x="165675" y="103441"/>
                    <a:pt x="175620" y="109692"/>
                    <a:pt x="187148" y="115541"/>
                  </a:cubicBezTo>
                  <a:cubicBezTo>
                    <a:pt x="200136" y="122025"/>
                    <a:pt x="218199" y="123061"/>
                    <a:pt x="231796" y="129412"/>
                  </a:cubicBezTo>
                  <a:cubicBezTo>
                    <a:pt x="243973" y="134893"/>
                    <a:pt x="256759" y="136832"/>
                    <a:pt x="266825" y="143617"/>
                  </a:cubicBezTo>
                  <a:cubicBezTo>
                    <a:pt x="270884" y="146224"/>
                    <a:pt x="278028" y="145889"/>
                    <a:pt x="281356" y="148196"/>
                  </a:cubicBezTo>
                  <a:cubicBezTo>
                    <a:pt x="284684" y="150502"/>
                    <a:pt x="287363" y="157287"/>
                    <a:pt x="289474" y="160195"/>
                  </a:cubicBezTo>
                  <a:cubicBezTo>
                    <a:pt x="296334" y="169520"/>
                    <a:pt x="283304" y="173999"/>
                    <a:pt x="283102" y="182421"/>
                  </a:cubicBezTo>
                  <a:cubicBezTo>
                    <a:pt x="282858" y="193752"/>
                    <a:pt x="295684" y="186532"/>
                    <a:pt x="300636" y="181118"/>
                  </a:cubicBezTo>
                  <a:cubicBezTo>
                    <a:pt x="302950" y="178611"/>
                    <a:pt x="303559" y="174433"/>
                    <a:pt x="306969" y="172394"/>
                  </a:cubicBezTo>
                  <a:cubicBezTo>
                    <a:pt x="311595" y="169553"/>
                    <a:pt x="318537" y="168617"/>
                    <a:pt x="323204" y="165710"/>
                  </a:cubicBezTo>
                  <a:cubicBezTo>
                    <a:pt x="331038" y="160429"/>
                    <a:pt x="305548" y="155683"/>
                    <a:pt x="309119" y="148764"/>
                  </a:cubicBezTo>
                  <a:cubicBezTo>
                    <a:pt x="314315" y="138737"/>
                    <a:pt x="337045" y="144285"/>
                    <a:pt x="347152" y="148129"/>
                  </a:cubicBezTo>
                  <a:cubicBezTo>
                    <a:pt x="357259" y="151973"/>
                    <a:pt x="371141" y="151104"/>
                    <a:pt x="361724" y="143115"/>
                  </a:cubicBezTo>
                  <a:cubicBezTo>
                    <a:pt x="348979" y="132320"/>
                    <a:pt x="320404" y="128041"/>
                    <a:pt x="301367" y="12142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C3EC2AD0-8E4C-441E-B175-74A8DB05D146}"/>
                </a:ext>
              </a:extLst>
            </p:cNvPr>
            <p:cNvSpPr/>
            <p:nvPr/>
          </p:nvSpPr>
          <p:spPr>
            <a:xfrm>
              <a:off x="6353731" y="4056078"/>
              <a:ext cx="37680" cy="27741"/>
            </a:xfrm>
            <a:custGeom>
              <a:avLst/>
              <a:gdLst>
                <a:gd name="connsiteX0" fmla="*/ 13065 w 37680"/>
                <a:gd name="connsiteY0" fmla="*/ -339 h 27741"/>
                <a:gd name="connsiteX1" fmla="*/ 76 w 37680"/>
                <a:gd name="connsiteY1" fmla="*/ 14033 h 27741"/>
                <a:gd name="connsiteX2" fmla="*/ 22724 w 37680"/>
                <a:gd name="connsiteY2" fmla="*/ 27403 h 27741"/>
                <a:gd name="connsiteX3" fmla="*/ 37621 w 37680"/>
                <a:gd name="connsiteY3" fmla="*/ 15738 h 27741"/>
                <a:gd name="connsiteX4" fmla="*/ 13267 w 37680"/>
                <a:gd name="connsiteY4" fmla="*/ -272 h 27741"/>
                <a:gd name="connsiteX5" fmla="*/ 13065 w 37680"/>
                <a:gd name="connsiteY5" fmla="*/ -339 h 2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80" h="27741">
                  <a:moveTo>
                    <a:pt x="13065" y="-339"/>
                  </a:moveTo>
                  <a:cubicBezTo>
                    <a:pt x="6164" y="4307"/>
                    <a:pt x="1780" y="8284"/>
                    <a:pt x="76" y="14033"/>
                  </a:cubicBezTo>
                  <a:cubicBezTo>
                    <a:pt x="-1629" y="19782"/>
                    <a:pt x="13186" y="24428"/>
                    <a:pt x="22724" y="27403"/>
                  </a:cubicBezTo>
                  <a:cubicBezTo>
                    <a:pt x="24145" y="23693"/>
                    <a:pt x="29300" y="16540"/>
                    <a:pt x="37621" y="15738"/>
                  </a:cubicBezTo>
                  <a:cubicBezTo>
                    <a:pt x="29828" y="10290"/>
                    <a:pt x="21872" y="4775"/>
                    <a:pt x="13267" y="-272"/>
                  </a:cubicBezTo>
                  <a:cubicBezTo>
                    <a:pt x="6286" y="4374"/>
                    <a:pt x="19883" y="3572"/>
                    <a:pt x="1306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944DEA8C-5432-4350-9400-58A4A526233D}"/>
                </a:ext>
              </a:extLst>
            </p:cNvPr>
            <p:cNvSpPr/>
            <p:nvPr/>
          </p:nvSpPr>
          <p:spPr>
            <a:xfrm>
              <a:off x="6365693" y="3996957"/>
              <a:ext cx="123537" cy="84606"/>
            </a:xfrm>
            <a:custGeom>
              <a:avLst/>
              <a:gdLst>
                <a:gd name="connsiteX0" fmla="*/ 114024 w 123537"/>
                <a:gd name="connsiteY0" fmla="*/ 58348 h 84606"/>
                <a:gd name="connsiteX1" fmla="*/ 110857 w 123537"/>
                <a:gd name="connsiteY1" fmla="*/ 48789 h 84606"/>
                <a:gd name="connsiteX2" fmla="*/ 115931 w 123537"/>
                <a:gd name="connsiteY2" fmla="*/ 37592 h 84606"/>
                <a:gd name="connsiteX3" fmla="*/ 82972 w 123537"/>
                <a:gd name="connsiteY3" fmla="*/ 30907 h 84606"/>
                <a:gd name="connsiteX4" fmla="*/ 76681 w 123537"/>
                <a:gd name="connsiteY4" fmla="*/ 19810 h 84606"/>
                <a:gd name="connsiteX5" fmla="*/ 56102 w 123537"/>
                <a:gd name="connsiteY5" fmla="*/ 2463 h 84606"/>
                <a:gd name="connsiteX6" fmla="*/ 21398 w 123537"/>
                <a:gd name="connsiteY6" fmla="*/ 358 h 84606"/>
                <a:gd name="connsiteX7" fmla="*/ 372 w 123537"/>
                <a:gd name="connsiteY7" fmla="*/ 7845 h 84606"/>
                <a:gd name="connsiteX8" fmla="*/ 14538 w 123537"/>
                <a:gd name="connsiteY8" fmla="*/ 19209 h 84606"/>
                <a:gd name="connsiteX9" fmla="*/ 18191 w 123537"/>
                <a:gd name="connsiteY9" fmla="*/ 43040 h 84606"/>
                <a:gd name="connsiteX10" fmla="*/ 1103 w 123537"/>
                <a:gd name="connsiteY10" fmla="*/ 58715 h 84606"/>
                <a:gd name="connsiteX11" fmla="*/ 33899 w 123537"/>
                <a:gd name="connsiteY11" fmla="*/ 76229 h 84606"/>
                <a:gd name="connsiteX12" fmla="*/ 60323 w 123537"/>
                <a:gd name="connsiteY12" fmla="*/ 84218 h 84606"/>
                <a:gd name="connsiteX13" fmla="*/ 112116 w 123537"/>
                <a:gd name="connsiteY13" fmla="*/ 78369 h 84606"/>
                <a:gd name="connsiteX14" fmla="*/ 114024 w 123537"/>
                <a:gd name="connsiteY14" fmla="*/ 58314 h 8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537" h="84606">
                  <a:moveTo>
                    <a:pt x="114024" y="58348"/>
                  </a:moveTo>
                  <a:cubicBezTo>
                    <a:pt x="109315" y="55841"/>
                    <a:pt x="107773" y="51663"/>
                    <a:pt x="110857" y="48789"/>
                  </a:cubicBezTo>
                  <a:cubicBezTo>
                    <a:pt x="116499" y="43207"/>
                    <a:pt x="115525" y="44176"/>
                    <a:pt x="115931" y="37592"/>
                  </a:cubicBezTo>
                  <a:cubicBezTo>
                    <a:pt x="116175" y="33247"/>
                    <a:pt x="88411" y="31609"/>
                    <a:pt x="82972" y="30907"/>
                  </a:cubicBezTo>
                  <a:cubicBezTo>
                    <a:pt x="73109" y="29704"/>
                    <a:pt x="85733" y="20111"/>
                    <a:pt x="76681" y="19810"/>
                  </a:cubicBezTo>
                  <a:cubicBezTo>
                    <a:pt x="70593" y="19576"/>
                    <a:pt x="53139" y="4034"/>
                    <a:pt x="56102" y="2463"/>
                  </a:cubicBezTo>
                  <a:cubicBezTo>
                    <a:pt x="42099" y="893"/>
                    <a:pt x="35117" y="-1547"/>
                    <a:pt x="21398" y="358"/>
                  </a:cubicBezTo>
                  <a:cubicBezTo>
                    <a:pt x="10642" y="1828"/>
                    <a:pt x="-2631" y="759"/>
                    <a:pt x="372" y="7845"/>
                  </a:cubicBezTo>
                  <a:cubicBezTo>
                    <a:pt x="2686" y="13193"/>
                    <a:pt x="12914" y="14162"/>
                    <a:pt x="14538" y="19209"/>
                  </a:cubicBezTo>
                  <a:cubicBezTo>
                    <a:pt x="17704" y="26866"/>
                    <a:pt x="18962" y="34975"/>
                    <a:pt x="18191" y="43040"/>
                  </a:cubicBezTo>
                  <a:cubicBezTo>
                    <a:pt x="16730" y="52231"/>
                    <a:pt x="10966" y="52064"/>
                    <a:pt x="1103" y="58715"/>
                  </a:cubicBezTo>
                  <a:cubicBezTo>
                    <a:pt x="12712" y="65400"/>
                    <a:pt x="19977" y="72085"/>
                    <a:pt x="33899" y="76229"/>
                  </a:cubicBezTo>
                  <a:cubicBezTo>
                    <a:pt x="42017" y="78703"/>
                    <a:pt x="51028" y="84886"/>
                    <a:pt x="60323" y="84218"/>
                  </a:cubicBezTo>
                  <a:cubicBezTo>
                    <a:pt x="71486" y="83349"/>
                    <a:pt x="110817" y="83716"/>
                    <a:pt x="112116" y="78369"/>
                  </a:cubicBezTo>
                  <a:cubicBezTo>
                    <a:pt x="114673" y="67873"/>
                    <a:pt x="135130" y="69478"/>
                    <a:pt x="114024" y="58314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660EFE3F-A987-4216-8C50-01E192434F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7EE255-D581-44F9-8751-82C594A128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500FBB-31DF-483A-91E9-7B9E0DC819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4" name="Right Triangle 193">
            <a:extLst>
              <a:ext uri="{FF2B5EF4-FFF2-40B4-BE49-F238E27FC236}">
                <a16:creationId xmlns:a16="http://schemas.microsoft.com/office/drawing/2014/main" id="{289C2FFF-4945-4C0B-97D6-0E845B9A315D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1950434" y="6228000"/>
            <a:ext cx="241566" cy="630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5" name="Picture 194" descr="Logo&#10;&#10;Description automatically generated">
            <a:extLst>
              <a:ext uri="{FF2B5EF4-FFF2-40B4-BE49-F238E27FC236}">
                <a16:creationId xmlns:a16="http://schemas.microsoft.com/office/drawing/2014/main" id="{0B019A45-4615-4DAF-92C6-359570EB9A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4256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gradFill rotWithShape="1">
          <a:gsLst>
            <a:gs pos="0">
              <a:srgbClr val="4B4C5D"/>
            </a:gs>
            <a:gs pos="50000">
              <a:srgbClr val="272941"/>
            </a:gs>
            <a:gs pos="100000">
              <a:srgbClr val="070A2A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6">
            <a:extLst>
              <a:ext uri="{FF2B5EF4-FFF2-40B4-BE49-F238E27FC236}">
                <a16:creationId xmlns:a16="http://schemas.microsoft.com/office/drawing/2014/main" id="{FF7D0E41-B312-4914-ABC6-AD884B127A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38"/>
          <a:stretch>
            <a:fillRect/>
          </a:stretch>
        </p:blipFill>
        <p:spPr bwMode="auto">
          <a:xfrm>
            <a:off x="0" y="-663575"/>
            <a:ext cx="7620000" cy="824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Text, logo&#10;&#10;Description automatically generated">
            <a:extLst>
              <a:ext uri="{FF2B5EF4-FFF2-40B4-BE49-F238E27FC236}">
                <a16:creationId xmlns:a16="http://schemas.microsoft.com/office/drawing/2014/main" id="{1DE092B0-21BD-4818-81FF-15DA31D06F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027113"/>
            <a:ext cx="1006475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phic 8">
            <a:extLst>
              <a:ext uri="{FF2B5EF4-FFF2-40B4-BE49-F238E27FC236}">
                <a16:creationId xmlns:a16="http://schemas.microsoft.com/office/drawing/2014/main" id="{89FF22F7-9B6B-4E8E-910E-0A097590AA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865"/>
          <a:stretch>
            <a:fillRect/>
          </a:stretch>
        </p:blipFill>
        <p:spPr bwMode="auto">
          <a:xfrm>
            <a:off x="10728325" y="1414463"/>
            <a:ext cx="1463675" cy="545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725" y="5415844"/>
            <a:ext cx="4151313" cy="799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6725" y="5076497"/>
            <a:ext cx="4150359" cy="343389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305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ales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E137E7B-03D6-4020-A2F8-A628623F29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" y="3232"/>
            <a:ext cx="12185905" cy="6858000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13583B4-5721-4C10-9C8B-14EF3185065F}"/>
              </a:ext>
            </a:extLst>
          </p:cNvPr>
          <p:cNvSpPr/>
          <p:nvPr userDrawn="1"/>
        </p:nvSpPr>
        <p:spPr>
          <a:xfrm>
            <a:off x="10413114" y="2223843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758FD3C0-593F-4B98-873D-8A32D8D40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A261A0-CB89-451F-BF78-20A96D0B534B}"/>
              </a:ext>
            </a:extLst>
          </p:cNvPr>
          <p:cNvSpPr/>
          <p:nvPr userDrawn="1"/>
        </p:nvSpPr>
        <p:spPr>
          <a:xfrm>
            <a:off x="-716909" y="0"/>
            <a:ext cx="8195041" cy="7569727"/>
          </a:xfrm>
          <a:custGeom>
            <a:avLst/>
            <a:gdLst>
              <a:gd name="connsiteX0" fmla="*/ 0 w 8195041"/>
              <a:gd name="connsiteY0" fmla="*/ 7569726 h 7569727"/>
              <a:gd name="connsiteX1" fmla="*/ 44157 w 8195041"/>
              <a:gd name="connsiteY1" fmla="*/ 7569726 h 7569727"/>
              <a:gd name="connsiteX2" fmla="*/ 5253907 w 8195041"/>
              <a:gd name="connsiteY2" fmla="*/ 7569726 h 7569727"/>
              <a:gd name="connsiteX3" fmla="*/ 5298064 w 8195041"/>
              <a:gd name="connsiteY3" fmla="*/ 7569726 h 7569727"/>
              <a:gd name="connsiteX4" fmla="*/ 5298063 w 8195041"/>
              <a:gd name="connsiteY4" fmla="*/ 7569727 h 7569727"/>
              <a:gd name="connsiteX5" fmla="*/ 5253906 w 8195041"/>
              <a:gd name="connsiteY5" fmla="*/ 7569727 h 7569727"/>
              <a:gd name="connsiteX6" fmla="*/ 44157 w 8195041"/>
              <a:gd name="connsiteY6" fmla="*/ 7569727 h 7569727"/>
              <a:gd name="connsiteX7" fmla="*/ 0 w 8195041"/>
              <a:gd name="connsiteY7" fmla="*/ 7569727 h 7569727"/>
              <a:gd name="connsiteX8" fmla="*/ 689862 w 8195041"/>
              <a:gd name="connsiteY8" fmla="*/ 0 h 7569727"/>
              <a:gd name="connsiteX9" fmla="*/ 734019 w 8195041"/>
              <a:gd name="connsiteY9" fmla="*/ 0 h 7569727"/>
              <a:gd name="connsiteX10" fmla="*/ 8150884 w 8195041"/>
              <a:gd name="connsiteY10" fmla="*/ 0 h 7569727"/>
              <a:gd name="connsiteX11" fmla="*/ 8195041 w 8195041"/>
              <a:gd name="connsiteY11" fmla="*/ 0 h 7569727"/>
              <a:gd name="connsiteX12" fmla="*/ 5561884 w 8195041"/>
              <a:gd name="connsiteY12" fmla="*/ 6880370 h 7569727"/>
              <a:gd name="connsiteX13" fmla="*/ 5517727 w 8195041"/>
              <a:gd name="connsiteY13" fmla="*/ 6880370 h 7569727"/>
              <a:gd name="connsiteX14" fmla="*/ 734019 w 8195041"/>
              <a:gd name="connsiteY14" fmla="*/ 6880370 h 7569727"/>
              <a:gd name="connsiteX15" fmla="*/ 689862 w 8195041"/>
              <a:gd name="connsiteY15" fmla="*/ 6880370 h 756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195041" h="7569727">
                <a:moveTo>
                  <a:pt x="0" y="7569726"/>
                </a:moveTo>
                <a:lnTo>
                  <a:pt x="44157" y="7569726"/>
                </a:lnTo>
                <a:lnTo>
                  <a:pt x="5253907" y="7569726"/>
                </a:lnTo>
                <a:lnTo>
                  <a:pt x="5298064" y="7569726"/>
                </a:lnTo>
                <a:lnTo>
                  <a:pt x="5298063" y="7569727"/>
                </a:lnTo>
                <a:lnTo>
                  <a:pt x="5253906" y="7569727"/>
                </a:lnTo>
                <a:lnTo>
                  <a:pt x="44157" y="7569727"/>
                </a:lnTo>
                <a:lnTo>
                  <a:pt x="0" y="7569727"/>
                </a:lnTo>
                <a:close/>
                <a:moveTo>
                  <a:pt x="689862" y="0"/>
                </a:moveTo>
                <a:lnTo>
                  <a:pt x="734019" y="0"/>
                </a:lnTo>
                <a:lnTo>
                  <a:pt x="8150884" y="0"/>
                </a:lnTo>
                <a:lnTo>
                  <a:pt x="8195041" y="0"/>
                </a:lnTo>
                <a:lnTo>
                  <a:pt x="5561884" y="6880370"/>
                </a:lnTo>
                <a:lnTo>
                  <a:pt x="5517727" y="6880370"/>
                </a:lnTo>
                <a:lnTo>
                  <a:pt x="734019" y="6880370"/>
                </a:lnTo>
                <a:lnTo>
                  <a:pt x="689862" y="6880370"/>
                </a:lnTo>
                <a:close/>
              </a:path>
            </a:pathLst>
          </a:custGeom>
          <a:solidFill>
            <a:schemeClr val="tx2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2249A8-3091-40CB-81E7-A2852ECC29EA}"/>
              </a:ext>
            </a:extLst>
          </p:cNvPr>
          <p:cNvCxnSpPr>
            <a:cxnSpLocks/>
          </p:cNvCxnSpPr>
          <p:nvPr userDrawn="1"/>
        </p:nvCxnSpPr>
        <p:spPr>
          <a:xfrm flipV="1">
            <a:off x="4805464" y="-105267"/>
            <a:ext cx="2713788" cy="7021633"/>
          </a:xfrm>
          <a:prstGeom prst="line">
            <a:avLst/>
          </a:prstGeom>
          <a:ln w="222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56ABD857-49D4-43E6-A911-2A76ACEEC2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10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278">
          <p15:clr>
            <a:srgbClr val="FBAE40"/>
          </p15:clr>
        </p15:guide>
        <p15:guide id="4" orient="horz" pos="4042">
          <p15:clr>
            <a:srgbClr val="FBAE40"/>
          </p15:clr>
        </p15:guide>
        <p15:guide id="5" pos="2457">
          <p15:clr>
            <a:srgbClr val="FBAE40"/>
          </p15:clr>
        </p15:guide>
        <p15:guide id="6" pos="49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ales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EDB8BA6-2F92-43F4-BF06-7CE54E3DE5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838" y="-8544"/>
            <a:ext cx="12192000" cy="6857999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1711C8C-B4F7-4C24-9805-F74CA1022356}"/>
              </a:ext>
            </a:extLst>
          </p:cNvPr>
          <p:cNvSpPr/>
          <p:nvPr userDrawn="1"/>
        </p:nvSpPr>
        <p:spPr>
          <a:xfrm>
            <a:off x="-692553" y="0"/>
            <a:ext cx="8150884" cy="7569727"/>
          </a:xfrm>
          <a:custGeom>
            <a:avLst/>
            <a:gdLst>
              <a:gd name="connsiteX0" fmla="*/ 0 w 8090726"/>
              <a:gd name="connsiteY0" fmla="*/ 7569726 h 7569727"/>
              <a:gd name="connsiteX1" fmla="*/ 5215130 w 8090726"/>
              <a:gd name="connsiteY1" fmla="*/ 7569726 h 7569727"/>
              <a:gd name="connsiteX2" fmla="*/ 5215129 w 8090726"/>
              <a:gd name="connsiteY2" fmla="*/ 7569727 h 7569727"/>
              <a:gd name="connsiteX3" fmla="*/ 0 w 8090726"/>
              <a:gd name="connsiteY3" fmla="*/ 7569727 h 7569727"/>
              <a:gd name="connsiteX4" fmla="*/ 684770 w 8090726"/>
              <a:gd name="connsiteY4" fmla="*/ 0 h 7569727"/>
              <a:gd name="connsiteX5" fmla="*/ 8090726 w 8090726"/>
              <a:gd name="connsiteY5" fmla="*/ 0 h 7569727"/>
              <a:gd name="connsiteX6" fmla="*/ 5477003 w 8090726"/>
              <a:gd name="connsiteY6" fmla="*/ 6880370 h 7569727"/>
              <a:gd name="connsiteX7" fmla="*/ 684770 w 8090726"/>
              <a:gd name="connsiteY7" fmla="*/ 6880370 h 7569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90726" h="7569727">
                <a:moveTo>
                  <a:pt x="0" y="7569726"/>
                </a:moveTo>
                <a:lnTo>
                  <a:pt x="5215130" y="7569726"/>
                </a:lnTo>
                <a:lnTo>
                  <a:pt x="5215129" y="7569727"/>
                </a:lnTo>
                <a:lnTo>
                  <a:pt x="0" y="7569727"/>
                </a:lnTo>
                <a:close/>
                <a:moveTo>
                  <a:pt x="684770" y="0"/>
                </a:moveTo>
                <a:lnTo>
                  <a:pt x="8090726" y="0"/>
                </a:lnTo>
                <a:lnTo>
                  <a:pt x="5477003" y="6880370"/>
                </a:lnTo>
                <a:lnTo>
                  <a:pt x="684770" y="6880370"/>
                </a:lnTo>
                <a:close/>
              </a:path>
            </a:pathLst>
          </a:custGeom>
          <a:solidFill>
            <a:schemeClr val="tx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2249A8-3091-40CB-81E7-A2852ECC29EA}"/>
              </a:ext>
            </a:extLst>
          </p:cNvPr>
          <p:cNvCxnSpPr>
            <a:cxnSpLocks/>
          </p:cNvCxnSpPr>
          <p:nvPr userDrawn="1"/>
        </p:nvCxnSpPr>
        <p:spPr>
          <a:xfrm flipV="1">
            <a:off x="4800140" y="-77723"/>
            <a:ext cx="2668022" cy="7071119"/>
          </a:xfrm>
          <a:prstGeom prst="line">
            <a:avLst/>
          </a:prstGeom>
          <a:ln w="222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13583B4-5721-4C10-9C8B-14EF3185065F}"/>
              </a:ext>
            </a:extLst>
          </p:cNvPr>
          <p:cNvSpPr/>
          <p:nvPr userDrawn="1"/>
        </p:nvSpPr>
        <p:spPr>
          <a:xfrm>
            <a:off x="10413114" y="2223843"/>
            <a:ext cx="1778886" cy="4634157"/>
          </a:xfrm>
          <a:custGeom>
            <a:avLst/>
            <a:gdLst>
              <a:gd name="connsiteX0" fmla="*/ 1778886 w 1778886"/>
              <a:gd name="connsiteY0" fmla="*/ 0 h 4634157"/>
              <a:gd name="connsiteX1" fmla="*/ 1778886 w 1778886"/>
              <a:gd name="connsiteY1" fmla="*/ 4634157 h 4634157"/>
              <a:gd name="connsiteX2" fmla="*/ 0 w 1778886"/>
              <a:gd name="connsiteY2" fmla="*/ 4634157 h 4634157"/>
              <a:gd name="connsiteX3" fmla="*/ 1778886 w 1778886"/>
              <a:gd name="connsiteY3" fmla="*/ 0 h 4634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8886" h="4634157">
                <a:moveTo>
                  <a:pt x="1778886" y="0"/>
                </a:moveTo>
                <a:lnTo>
                  <a:pt x="1778886" y="4634157"/>
                </a:lnTo>
                <a:lnTo>
                  <a:pt x="0" y="4634157"/>
                </a:lnTo>
                <a:lnTo>
                  <a:pt x="1778886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758FD3C0-593F-4B98-873D-8A32D8D40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353800" y="6419728"/>
            <a:ext cx="574848" cy="25200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56ABD857-49D4-43E6-A911-2A76ACEEC2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73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401">
          <p15:clr>
            <a:srgbClr val="FBAE40"/>
          </p15:clr>
        </p15:guide>
        <p15:guide id="3" orient="horz" pos="255">
          <p15:clr>
            <a:srgbClr val="FBAE40"/>
          </p15:clr>
        </p15:guide>
        <p15:guide id="4" orient="horz" pos="4042">
          <p15:clr>
            <a:srgbClr val="FBAE40"/>
          </p15:clr>
        </p15:guide>
        <p15:guide id="5" pos="5382">
          <p15:clr>
            <a:srgbClr val="FBAE40"/>
          </p15:clr>
        </p15:guide>
        <p15:guide id="6" pos="622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+ Clean W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57E641-DF65-4B3B-88F7-6127BCD6B66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00" name="Freeform: Shape 199">
            <a:extLst>
              <a:ext uri="{FF2B5EF4-FFF2-40B4-BE49-F238E27FC236}">
                <a16:creationId xmlns:a16="http://schemas.microsoft.com/office/drawing/2014/main" id="{07DC33BF-57AC-4B0A-8DC9-ADB39B5802CF}"/>
              </a:ext>
            </a:extLst>
          </p:cNvPr>
          <p:cNvSpPr/>
          <p:nvPr userDrawn="1"/>
        </p:nvSpPr>
        <p:spPr>
          <a:xfrm>
            <a:off x="0" y="3537013"/>
            <a:ext cx="12192000" cy="3388222"/>
          </a:xfrm>
          <a:custGeom>
            <a:avLst/>
            <a:gdLst>
              <a:gd name="connsiteX0" fmla="*/ 6098241 w 12192000"/>
              <a:gd name="connsiteY0" fmla="*/ 0 h 3321424"/>
              <a:gd name="connsiteX1" fmla="*/ 12180113 w 12192000"/>
              <a:gd name="connsiteY1" fmla="*/ 2278639 h 3321424"/>
              <a:gd name="connsiteX2" fmla="*/ 12192000 w 12192000"/>
              <a:gd name="connsiteY2" fmla="*/ 2297480 h 3321424"/>
              <a:gd name="connsiteX3" fmla="*/ 12192000 w 12192000"/>
              <a:gd name="connsiteY3" fmla="*/ 3321424 h 3321424"/>
              <a:gd name="connsiteX4" fmla="*/ 0 w 12192000"/>
              <a:gd name="connsiteY4" fmla="*/ 3321424 h 3321424"/>
              <a:gd name="connsiteX5" fmla="*/ 0 w 12192000"/>
              <a:gd name="connsiteY5" fmla="*/ 2304585 h 3321424"/>
              <a:gd name="connsiteX6" fmla="*/ 16369 w 12192000"/>
              <a:gd name="connsiteY6" fmla="*/ 2278639 h 3321424"/>
              <a:gd name="connsiteX7" fmla="*/ 6098241 w 12192000"/>
              <a:gd name="connsiteY7" fmla="*/ 0 h 3321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321424">
                <a:moveTo>
                  <a:pt x="6098241" y="0"/>
                </a:moveTo>
                <a:cubicBezTo>
                  <a:pt x="8891921" y="0"/>
                  <a:pt x="11272355" y="948951"/>
                  <a:pt x="12180113" y="2278639"/>
                </a:cubicBezTo>
                <a:lnTo>
                  <a:pt x="12192000" y="2297480"/>
                </a:lnTo>
                <a:lnTo>
                  <a:pt x="12192000" y="3321424"/>
                </a:lnTo>
                <a:lnTo>
                  <a:pt x="0" y="3321424"/>
                </a:lnTo>
                <a:lnTo>
                  <a:pt x="0" y="2304585"/>
                </a:lnTo>
                <a:lnTo>
                  <a:pt x="16369" y="2278639"/>
                </a:lnTo>
                <a:cubicBezTo>
                  <a:pt x="924127" y="948951"/>
                  <a:pt x="3304561" y="0"/>
                  <a:pt x="6098241" y="0"/>
                </a:cubicBezTo>
                <a:close/>
              </a:path>
            </a:pathLst>
          </a:custGeom>
          <a:gradFill>
            <a:gsLst>
              <a:gs pos="0">
                <a:schemeClr val="bg1">
                  <a:alpha val="0"/>
                </a:schemeClr>
              </a:gs>
              <a:gs pos="57000">
                <a:schemeClr val="accent1">
                  <a:lumMod val="97000"/>
                  <a:lumOff val="3000"/>
                  <a:alpha val="5000"/>
                </a:schemeClr>
              </a:gs>
              <a:gs pos="100000">
                <a:schemeClr val="tx2">
                  <a:lumMod val="50000"/>
                  <a:lumOff val="50000"/>
                  <a:alpha val="9000"/>
                </a:schemeClr>
              </a:gs>
            </a:gsLst>
            <a:lin ang="162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741E1E-3ECE-4113-AB7D-4ED3B8DFE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A208995-E800-4EAA-B365-F9352B1126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C1F35E-CC3D-45E3-87DF-0C5FB1D8AB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6" name="Right Triangle 195">
            <a:extLst>
              <a:ext uri="{FF2B5EF4-FFF2-40B4-BE49-F238E27FC236}">
                <a16:creationId xmlns:a16="http://schemas.microsoft.com/office/drawing/2014/main" id="{2E569E1A-8D00-4D37-9321-706FED0706DE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1950434" y="6228000"/>
            <a:ext cx="241566" cy="630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7" name="Picture 196">
            <a:extLst>
              <a:ext uri="{FF2B5EF4-FFF2-40B4-BE49-F238E27FC236}">
                <a16:creationId xmlns:a16="http://schemas.microsoft.com/office/drawing/2014/main" id="{9B750705-527F-42C7-8D64-A31B37B229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2" t="20606" r="6392" b="20606"/>
          <a:stretch/>
        </p:blipFill>
        <p:spPr>
          <a:xfrm>
            <a:off x="344948" y="6312133"/>
            <a:ext cx="705184" cy="474664"/>
          </a:xfrm>
          <a:prstGeom prst="rect">
            <a:avLst/>
          </a:prstGeom>
        </p:spPr>
      </p:pic>
      <p:grpSp>
        <p:nvGrpSpPr>
          <p:cNvPr id="198" name="Group 197">
            <a:extLst>
              <a:ext uri="{FF2B5EF4-FFF2-40B4-BE49-F238E27FC236}">
                <a16:creationId xmlns:a16="http://schemas.microsoft.com/office/drawing/2014/main" id="{DDDFD0EF-04A4-47AC-B6BC-242A0DC43A57}"/>
              </a:ext>
            </a:extLst>
          </p:cNvPr>
          <p:cNvGrpSpPr/>
          <p:nvPr userDrawn="1"/>
        </p:nvGrpSpPr>
        <p:grpSpPr>
          <a:xfrm>
            <a:off x="438475" y="3789040"/>
            <a:ext cx="11306175" cy="2736304"/>
            <a:chOff x="294219" y="2997195"/>
            <a:chExt cx="11604033" cy="3746625"/>
          </a:xfrm>
        </p:grpSpPr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C480C9B8-0A70-438C-98CA-F99704C713D6}"/>
                </a:ext>
              </a:extLst>
            </p:cNvPr>
            <p:cNvSpPr/>
            <p:nvPr/>
          </p:nvSpPr>
          <p:spPr>
            <a:xfrm>
              <a:off x="6142252" y="5144897"/>
              <a:ext cx="335616" cy="217795"/>
            </a:xfrm>
            <a:custGeom>
              <a:avLst/>
              <a:gdLst>
                <a:gd name="connsiteX0" fmla="*/ 118402 w 335616"/>
                <a:gd name="connsiteY0" fmla="*/ 208045 h 217795"/>
                <a:gd name="connsiteX1" fmla="*/ 129401 w 335616"/>
                <a:gd name="connsiteY1" fmla="*/ 201361 h 217795"/>
                <a:gd name="connsiteX2" fmla="*/ 138291 w 335616"/>
                <a:gd name="connsiteY2" fmla="*/ 212624 h 217795"/>
                <a:gd name="connsiteX3" fmla="*/ 176079 w 335616"/>
                <a:gd name="connsiteY3" fmla="*/ 216802 h 217795"/>
                <a:gd name="connsiteX4" fmla="*/ 195887 w 335616"/>
                <a:gd name="connsiteY4" fmla="*/ 191835 h 217795"/>
                <a:gd name="connsiteX5" fmla="*/ 199946 w 335616"/>
                <a:gd name="connsiteY5" fmla="*/ 99854 h 217795"/>
                <a:gd name="connsiteX6" fmla="*/ 201205 w 335616"/>
                <a:gd name="connsiteY6" fmla="*/ 91832 h 217795"/>
                <a:gd name="connsiteX7" fmla="*/ 226735 w 335616"/>
                <a:gd name="connsiteY7" fmla="*/ 87153 h 217795"/>
                <a:gd name="connsiteX8" fmla="*/ 228887 w 335616"/>
                <a:gd name="connsiteY8" fmla="*/ 43334 h 217795"/>
                <a:gd name="connsiteX9" fmla="*/ 229577 w 335616"/>
                <a:gd name="connsiteY9" fmla="*/ 28929 h 217795"/>
                <a:gd name="connsiteX10" fmla="*/ 257990 w 335616"/>
                <a:gd name="connsiteY10" fmla="*/ 26923 h 217795"/>
                <a:gd name="connsiteX11" fmla="*/ 292085 w 335616"/>
                <a:gd name="connsiteY11" fmla="*/ 28427 h 217795"/>
                <a:gd name="connsiteX12" fmla="*/ 306332 w 335616"/>
                <a:gd name="connsiteY12" fmla="*/ 25854 h 217795"/>
                <a:gd name="connsiteX13" fmla="*/ 335557 w 335616"/>
                <a:gd name="connsiteY13" fmla="*/ 22144 h 217795"/>
                <a:gd name="connsiteX14" fmla="*/ 308970 w 335616"/>
                <a:gd name="connsiteY14" fmla="*/ 16027 h 217795"/>
                <a:gd name="connsiteX15" fmla="*/ 274266 w 335616"/>
                <a:gd name="connsiteY15" fmla="*/ 18801 h 217795"/>
                <a:gd name="connsiteX16" fmla="*/ 190732 w 335616"/>
                <a:gd name="connsiteY16" fmla="*/ 16562 h 217795"/>
                <a:gd name="connsiteX17" fmla="*/ 170722 w 335616"/>
                <a:gd name="connsiteY17" fmla="*/ 11181 h 217795"/>
                <a:gd name="connsiteX18" fmla="*/ 150995 w 335616"/>
                <a:gd name="connsiteY18" fmla="*/ 10111 h 217795"/>
                <a:gd name="connsiteX19" fmla="*/ 71967 w 335616"/>
                <a:gd name="connsiteY19" fmla="*/ 8574 h 217795"/>
                <a:gd name="connsiteX20" fmla="*/ 48749 w 335616"/>
                <a:gd name="connsiteY20" fmla="*/ 2324 h 217795"/>
                <a:gd name="connsiteX21" fmla="*/ 23259 w 335616"/>
                <a:gd name="connsiteY21" fmla="*/ 3126 h 217795"/>
                <a:gd name="connsiteX22" fmla="*/ 12259 w 335616"/>
                <a:gd name="connsiteY22" fmla="*/ 853 h 217795"/>
                <a:gd name="connsiteX23" fmla="*/ 82 w 335616"/>
                <a:gd name="connsiteY23" fmla="*/ 5365 h 217795"/>
                <a:gd name="connsiteX24" fmla="*/ 25288 w 335616"/>
                <a:gd name="connsiteY24" fmla="*/ 38789 h 217795"/>
                <a:gd name="connsiteX25" fmla="*/ 52078 w 335616"/>
                <a:gd name="connsiteY25" fmla="*/ 79465 h 217795"/>
                <a:gd name="connsiteX26" fmla="*/ 66284 w 335616"/>
                <a:gd name="connsiteY26" fmla="*/ 116231 h 217795"/>
                <a:gd name="connsiteX27" fmla="*/ 75660 w 335616"/>
                <a:gd name="connsiteY27" fmla="*/ 154000 h 217795"/>
                <a:gd name="connsiteX28" fmla="*/ 84103 w 335616"/>
                <a:gd name="connsiteY28" fmla="*/ 186621 h 217795"/>
                <a:gd name="connsiteX29" fmla="*/ 100055 w 335616"/>
                <a:gd name="connsiteY29" fmla="*/ 201795 h 217795"/>
                <a:gd name="connsiteX30" fmla="*/ 118645 w 335616"/>
                <a:gd name="connsiteY30" fmla="*/ 207879 h 217795"/>
                <a:gd name="connsiteX31" fmla="*/ 118402 w 335616"/>
                <a:gd name="connsiteY31" fmla="*/ 208045 h 21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5616" h="217795">
                  <a:moveTo>
                    <a:pt x="118402" y="208045"/>
                  </a:moveTo>
                  <a:cubicBezTo>
                    <a:pt x="119457" y="203834"/>
                    <a:pt x="124206" y="200926"/>
                    <a:pt x="129401" y="201361"/>
                  </a:cubicBezTo>
                  <a:cubicBezTo>
                    <a:pt x="135774" y="202497"/>
                    <a:pt x="135814" y="209483"/>
                    <a:pt x="138291" y="212624"/>
                  </a:cubicBezTo>
                  <a:cubicBezTo>
                    <a:pt x="142350" y="217505"/>
                    <a:pt x="168854" y="218240"/>
                    <a:pt x="176079" y="216802"/>
                  </a:cubicBezTo>
                  <a:cubicBezTo>
                    <a:pt x="195644" y="212926"/>
                    <a:pt x="195441" y="202865"/>
                    <a:pt x="195887" y="191835"/>
                  </a:cubicBezTo>
                  <a:lnTo>
                    <a:pt x="199946" y="99854"/>
                  </a:lnTo>
                  <a:cubicBezTo>
                    <a:pt x="199946" y="98383"/>
                    <a:pt x="198810" y="92901"/>
                    <a:pt x="201205" y="91832"/>
                  </a:cubicBezTo>
                  <a:cubicBezTo>
                    <a:pt x="206481" y="89526"/>
                    <a:pt x="226452" y="93570"/>
                    <a:pt x="226735" y="87153"/>
                  </a:cubicBezTo>
                  <a:cubicBezTo>
                    <a:pt x="227466" y="72546"/>
                    <a:pt x="228197" y="57950"/>
                    <a:pt x="228887" y="43334"/>
                  </a:cubicBezTo>
                  <a:cubicBezTo>
                    <a:pt x="229130" y="38521"/>
                    <a:pt x="229374" y="33742"/>
                    <a:pt x="229577" y="28929"/>
                  </a:cubicBezTo>
                  <a:cubicBezTo>
                    <a:pt x="229577" y="28728"/>
                    <a:pt x="254580" y="27625"/>
                    <a:pt x="257990" y="26923"/>
                  </a:cubicBezTo>
                  <a:cubicBezTo>
                    <a:pt x="272886" y="23581"/>
                    <a:pt x="280761" y="20005"/>
                    <a:pt x="292085" y="28427"/>
                  </a:cubicBezTo>
                  <a:cubicBezTo>
                    <a:pt x="298093" y="32873"/>
                    <a:pt x="300934" y="28126"/>
                    <a:pt x="306332" y="25854"/>
                  </a:cubicBezTo>
                  <a:cubicBezTo>
                    <a:pt x="314450" y="22511"/>
                    <a:pt x="326262" y="23113"/>
                    <a:pt x="335557" y="22144"/>
                  </a:cubicBezTo>
                  <a:cubicBezTo>
                    <a:pt x="329550" y="14423"/>
                    <a:pt x="322893" y="15459"/>
                    <a:pt x="308970" y="16027"/>
                  </a:cubicBezTo>
                  <a:cubicBezTo>
                    <a:pt x="297362" y="16462"/>
                    <a:pt x="285753" y="17387"/>
                    <a:pt x="274266" y="18801"/>
                  </a:cubicBezTo>
                  <a:cubicBezTo>
                    <a:pt x="247152" y="21977"/>
                    <a:pt x="218536" y="16261"/>
                    <a:pt x="190732" y="16562"/>
                  </a:cubicBezTo>
                  <a:cubicBezTo>
                    <a:pt x="179124" y="16562"/>
                    <a:pt x="178880" y="16796"/>
                    <a:pt x="170722" y="11181"/>
                  </a:cubicBezTo>
                  <a:cubicBezTo>
                    <a:pt x="167556" y="9008"/>
                    <a:pt x="155216" y="10178"/>
                    <a:pt x="150995" y="10111"/>
                  </a:cubicBezTo>
                  <a:cubicBezTo>
                    <a:pt x="124977" y="9509"/>
                    <a:pt x="97822" y="10546"/>
                    <a:pt x="71967" y="8574"/>
                  </a:cubicBezTo>
                  <a:cubicBezTo>
                    <a:pt x="62793" y="7872"/>
                    <a:pt x="57071" y="4228"/>
                    <a:pt x="48749" y="2324"/>
                  </a:cubicBezTo>
                  <a:cubicBezTo>
                    <a:pt x="42742" y="953"/>
                    <a:pt x="26141" y="5398"/>
                    <a:pt x="23259" y="3126"/>
                  </a:cubicBezTo>
                  <a:cubicBezTo>
                    <a:pt x="20377" y="853"/>
                    <a:pt x="18551" y="-1988"/>
                    <a:pt x="12259" y="853"/>
                  </a:cubicBezTo>
                  <a:cubicBezTo>
                    <a:pt x="12259" y="853"/>
                    <a:pt x="-729" y="6535"/>
                    <a:pt x="82" y="5365"/>
                  </a:cubicBezTo>
                  <a:cubicBezTo>
                    <a:pt x="-1907" y="17197"/>
                    <a:pt x="17536" y="29196"/>
                    <a:pt x="25288" y="38789"/>
                  </a:cubicBezTo>
                  <a:cubicBezTo>
                    <a:pt x="35802" y="52158"/>
                    <a:pt x="41078" y="66430"/>
                    <a:pt x="52078" y="79465"/>
                  </a:cubicBezTo>
                  <a:cubicBezTo>
                    <a:pt x="63078" y="92500"/>
                    <a:pt x="68598" y="101090"/>
                    <a:pt x="66284" y="116231"/>
                  </a:cubicBezTo>
                  <a:cubicBezTo>
                    <a:pt x="64376" y="128564"/>
                    <a:pt x="73185" y="141666"/>
                    <a:pt x="75660" y="154000"/>
                  </a:cubicBezTo>
                  <a:cubicBezTo>
                    <a:pt x="77852" y="164929"/>
                    <a:pt x="78096" y="176193"/>
                    <a:pt x="84103" y="186621"/>
                  </a:cubicBezTo>
                  <a:cubicBezTo>
                    <a:pt x="87634" y="192738"/>
                    <a:pt x="94332" y="196648"/>
                    <a:pt x="100055" y="201795"/>
                  </a:cubicBezTo>
                  <a:cubicBezTo>
                    <a:pt x="101110" y="202731"/>
                    <a:pt x="118402" y="216502"/>
                    <a:pt x="118645" y="207879"/>
                  </a:cubicBezTo>
                  <a:cubicBezTo>
                    <a:pt x="118483" y="204503"/>
                    <a:pt x="118320" y="210719"/>
                    <a:pt x="118402" y="20804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00808EE7-115E-47ED-B7F7-6C734C4BBCDE}"/>
                </a:ext>
              </a:extLst>
            </p:cNvPr>
            <p:cNvSpPr/>
            <p:nvPr/>
          </p:nvSpPr>
          <p:spPr>
            <a:xfrm>
              <a:off x="6477665" y="5136101"/>
              <a:ext cx="209571" cy="121020"/>
            </a:xfrm>
            <a:custGeom>
              <a:avLst/>
              <a:gdLst>
                <a:gd name="connsiteX0" fmla="*/ 143019 w 209571"/>
                <a:gd name="connsiteY0" fmla="*/ 6373 h 121020"/>
                <a:gd name="connsiteX1" fmla="*/ 117773 w 209571"/>
                <a:gd name="connsiteY1" fmla="*/ -312 h 121020"/>
                <a:gd name="connsiteX2" fmla="*/ 86843 w 209571"/>
                <a:gd name="connsiteY2" fmla="*/ 15197 h 121020"/>
                <a:gd name="connsiteX3" fmla="*/ 65047 w 209571"/>
                <a:gd name="connsiteY3" fmla="*/ 22751 h 121020"/>
                <a:gd name="connsiteX4" fmla="*/ 49135 w 209571"/>
                <a:gd name="connsiteY4" fmla="*/ 34516 h 121020"/>
                <a:gd name="connsiteX5" fmla="*/ -60 w 209571"/>
                <a:gd name="connsiteY5" fmla="*/ 31173 h 121020"/>
                <a:gd name="connsiteX6" fmla="*/ 16176 w 209571"/>
                <a:gd name="connsiteY6" fmla="*/ 43540 h 121020"/>
                <a:gd name="connsiteX7" fmla="*/ 24659 w 209571"/>
                <a:gd name="connsiteY7" fmla="*/ 61388 h 121020"/>
                <a:gd name="connsiteX8" fmla="*/ 61840 w 209571"/>
                <a:gd name="connsiteY8" fmla="*/ 89364 h 121020"/>
                <a:gd name="connsiteX9" fmla="*/ 86194 w 209571"/>
                <a:gd name="connsiteY9" fmla="*/ 102900 h 121020"/>
                <a:gd name="connsiteX10" fmla="*/ 100157 w 209571"/>
                <a:gd name="connsiteY10" fmla="*/ 112092 h 121020"/>
                <a:gd name="connsiteX11" fmla="*/ 121304 w 209571"/>
                <a:gd name="connsiteY11" fmla="*/ 115133 h 121020"/>
                <a:gd name="connsiteX12" fmla="*/ 150488 w 209571"/>
                <a:gd name="connsiteY12" fmla="*/ 120682 h 121020"/>
                <a:gd name="connsiteX13" fmla="*/ 178657 w 209571"/>
                <a:gd name="connsiteY13" fmla="*/ 105340 h 121020"/>
                <a:gd name="connsiteX14" fmla="*/ 183853 w 209571"/>
                <a:gd name="connsiteY14" fmla="*/ 94143 h 121020"/>
                <a:gd name="connsiteX15" fmla="*/ 193797 w 209571"/>
                <a:gd name="connsiteY15" fmla="*/ 86322 h 121020"/>
                <a:gd name="connsiteX16" fmla="*/ 200819 w 209571"/>
                <a:gd name="connsiteY16" fmla="*/ 76295 h 121020"/>
                <a:gd name="connsiteX17" fmla="*/ 196760 w 209571"/>
                <a:gd name="connsiteY17" fmla="*/ 59015 h 121020"/>
                <a:gd name="connsiteX18" fmla="*/ 206380 w 209571"/>
                <a:gd name="connsiteY18" fmla="*/ 23219 h 121020"/>
                <a:gd name="connsiteX19" fmla="*/ 172204 w 209571"/>
                <a:gd name="connsiteY19" fmla="*/ 12389 h 121020"/>
                <a:gd name="connsiteX20" fmla="*/ 143019 w 209571"/>
                <a:gd name="connsiteY20" fmla="*/ 6373 h 12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9571" h="121020">
                  <a:moveTo>
                    <a:pt x="143019" y="6373"/>
                  </a:moveTo>
                  <a:cubicBezTo>
                    <a:pt x="142248" y="-2217"/>
                    <a:pt x="127352" y="89"/>
                    <a:pt x="117773" y="-312"/>
                  </a:cubicBezTo>
                  <a:cubicBezTo>
                    <a:pt x="101780" y="-980"/>
                    <a:pt x="99426" y="10985"/>
                    <a:pt x="86843" y="15197"/>
                  </a:cubicBezTo>
                  <a:cubicBezTo>
                    <a:pt x="78725" y="17871"/>
                    <a:pt x="71500" y="18539"/>
                    <a:pt x="65047" y="22751"/>
                  </a:cubicBezTo>
                  <a:cubicBezTo>
                    <a:pt x="59526" y="26494"/>
                    <a:pt x="55224" y="31140"/>
                    <a:pt x="49135" y="34516"/>
                  </a:cubicBezTo>
                  <a:cubicBezTo>
                    <a:pt x="40206" y="39496"/>
                    <a:pt x="12604" y="29636"/>
                    <a:pt x="-60" y="31173"/>
                  </a:cubicBezTo>
                  <a:cubicBezTo>
                    <a:pt x="3594" y="35853"/>
                    <a:pt x="14228" y="39262"/>
                    <a:pt x="16176" y="43540"/>
                  </a:cubicBezTo>
                  <a:cubicBezTo>
                    <a:pt x="18896" y="49255"/>
                    <a:pt x="18450" y="56575"/>
                    <a:pt x="24659" y="61388"/>
                  </a:cubicBezTo>
                  <a:cubicBezTo>
                    <a:pt x="35660" y="69911"/>
                    <a:pt x="63058" y="74758"/>
                    <a:pt x="61840" y="89364"/>
                  </a:cubicBezTo>
                  <a:cubicBezTo>
                    <a:pt x="61069" y="98823"/>
                    <a:pt x="75803" y="101329"/>
                    <a:pt x="86194" y="102900"/>
                  </a:cubicBezTo>
                  <a:cubicBezTo>
                    <a:pt x="96585" y="104471"/>
                    <a:pt x="93906" y="111156"/>
                    <a:pt x="100157" y="112092"/>
                  </a:cubicBezTo>
                  <a:cubicBezTo>
                    <a:pt x="104824" y="112794"/>
                    <a:pt x="118625" y="111824"/>
                    <a:pt x="121304" y="115133"/>
                  </a:cubicBezTo>
                  <a:cubicBezTo>
                    <a:pt x="125363" y="120013"/>
                    <a:pt x="143872" y="117774"/>
                    <a:pt x="150488" y="120682"/>
                  </a:cubicBezTo>
                  <a:cubicBezTo>
                    <a:pt x="159783" y="115702"/>
                    <a:pt x="170783" y="111256"/>
                    <a:pt x="178657" y="105340"/>
                  </a:cubicBezTo>
                  <a:cubicBezTo>
                    <a:pt x="182716" y="102232"/>
                    <a:pt x="183122" y="98121"/>
                    <a:pt x="183853" y="94143"/>
                  </a:cubicBezTo>
                  <a:cubicBezTo>
                    <a:pt x="184664" y="89598"/>
                    <a:pt x="189089" y="88963"/>
                    <a:pt x="193797" y="86322"/>
                  </a:cubicBezTo>
                  <a:cubicBezTo>
                    <a:pt x="200616" y="82545"/>
                    <a:pt x="203498" y="80941"/>
                    <a:pt x="200819" y="76295"/>
                  </a:cubicBezTo>
                  <a:cubicBezTo>
                    <a:pt x="198749" y="72518"/>
                    <a:pt x="192701" y="61823"/>
                    <a:pt x="196760" y="59015"/>
                  </a:cubicBezTo>
                  <a:cubicBezTo>
                    <a:pt x="202808" y="54804"/>
                    <a:pt x="215351" y="27931"/>
                    <a:pt x="206380" y="23219"/>
                  </a:cubicBezTo>
                  <a:cubicBezTo>
                    <a:pt x="197410" y="18506"/>
                    <a:pt x="182026" y="15865"/>
                    <a:pt x="172204" y="12389"/>
                  </a:cubicBezTo>
                  <a:cubicBezTo>
                    <a:pt x="162827" y="9328"/>
                    <a:pt x="153045" y="7305"/>
                    <a:pt x="143019" y="637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9F04721E-D596-423C-BBE2-E65C08207A33}"/>
                </a:ext>
              </a:extLst>
            </p:cNvPr>
            <p:cNvSpPr/>
            <p:nvPr/>
          </p:nvSpPr>
          <p:spPr>
            <a:xfrm>
              <a:off x="6340472" y="5167479"/>
              <a:ext cx="233256" cy="159093"/>
            </a:xfrm>
            <a:custGeom>
              <a:avLst/>
              <a:gdLst>
                <a:gd name="connsiteX0" fmla="*/ 216405 w 233256"/>
                <a:gd name="connsiteY0" fmla="*/ 70787 h 159093"/>
                <a:gd name="connsiteX1" fmla="*/ 188885 w 233256"/>
                <a:gd name="connsiteY1" fmla="*/ 42845 h 159093"/>
                <a:gd name="connsiteX2" fmla="*/ 164532 w 233256"/>
                <a:gd name="connsiteY2" fmla="*/ 31213 h 159093"/>
                <a:gd name="connsiteX3" fmla="*/ 155277 w 233256"/>
                <a:gd name="connsiteY3" fmla="*/ 16707 h 159093"/>
                <a:gd name="connsiteX4" fmla="*/ 148620 w 233256"/>
                <a:gd name="connsiteY4" fmla="*/ 9020 h 159093"/>
                <a:gd name="connsiteX5" fmla="*/ 137255 w 233256"/>
                <a:gd name="connsiteY5" fmla="*/ -339 h 159093"/>
                <a:gd name="connsiteX6" fmla="*/ 119355 w 233256"/>
                <a:gd name="connsiteY6" fmla="*/ 1032 h 159093"/>
                <a:gd name="connsiteX7" fmla="*/ 93784 w 233256"/>
                <a:gd name="connsiteY7" fmla="*/ 5945 h 159093"/>
                <a:gd name="connsiteX8" fmla="*/ 69186 w 233256"/>
                <a:gd name="connsiteY8" fmla="*/ 2302 h 159093"/>
                <a:gd name="connsiteX9" fmla="*/ 31438 w 233256"/>
                <a:gd name="connsiteY9" fmla="*/ 6446 h 159093"/>
                <a:gd name="connsiteX10" fmla="*/ 30139 w 233256"/>
                <a:gd name="connsiteY10" fmla="*/ 32985 h 159093"/>
                <a:gd name="connsiteX11" fmla="*/ 28678 w 233256"/>
                <a:gd name="connsiteY11" fmla="*/ 63701 h 159093"/>
                <a:gd name="connsiteX12" fmla="*/ 2010 w 233256"/>
                <a:gd name="connsiteY12" fmla="*/ 72725 h 159093"/>
                <a:gd name="connsiteX13" fmla="*/ -60 w 233256"/>
                <a:gd name="connsiteY13" fmla="*/ 120521 h 159093"/>
                <a:gd name="connsiteX14" fmla="*/ 17312 w 233256"/>
                <a:gd name="connsiteY14" fmla="*/ 136731 h 159093"/>
                <a:gd name="connsiteX15" fmla="*/ 19342 w 233256"/>
                <a:gd name="connsiteY15" fmla="*/ 145622 h 159093"/>
                <a:gd name="connsiteX16" fmla="*/ 13862 w 233256"/>
                <a:gd name="connsiteY16" fmla="*/ 149466 h 159093"/>
                <a:gd name="connsiteX17" fmla="*/ 53722 w 233256"/>
                <a:gd name="connsiteY17" fmla="*/ 151237 h 159093"/>
                <a:gd name="connsiteX18" fmla="*/ 68943 w 233256"/>
                <a:gd name="connsiteY18" fmla="*/ 138068 h 159093"/>
                <a:gd name="connsiteX19" fmla="*/ 86315 w 233256"/>
                <a:gd name="connsiteY19" fmla="*/ 131919 h 159093"/>
                <a:gd name="connsiteX20" fmla="*/ 137580 w 233256"/>
                <a:gd name="connsiteY20" fmla="*/ 137801 h 159093"/>
                <a:gd name="connsiteX21" fmla="*/ 147362 w 233256"/>
                <a:gd name="connsiteY21" fmla="*/ 121691 h 159093"/>
                <a:gd name="connsiteX22" fmla="*/ 174882 w 233256"/>
                <a:gd name="connsiteY22" fmla="*/ 111831 h 159093"/>
                <a:gd name="connsiteX23" fmla="*/ 196192 w 233256"/>
                <a:gd name="connsiteY23" fmla="*/ 99264 h 159093"/>
                <a:gd name="connsiteX24" fmla="*/ 217623 w 233256"/>
                <a:gd name="connsiteY24" fmla="*/ 88401 h 159093"/>
                <a:gd name="connsiteX25" fmla="*/ 216527 w 233256"/>
                <a:gd name="connsiteY25" fmla="*/ 70787 h 1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33256" h="159093">
                  <a:moveTo>
                    <a:pt x="216405" y="70787"/>
                  </a:moveTo>
                  <a:cubicBezTo>
                    <a:pt x="199236" y="70185"/>
                    <a:pt x="196111" y="50398"/>
                    <a:pt x="188885" y="42845"/>
                  </a:cubicBezTo>
                  <a:cubicBezTo>
                    <a:pt x="183893" y="37630"/>
                    <a:pt x="172650" y="33920"/>
                    <a:pt x="164532" y="31213"/>
                  </a:cubicBezTo>
                  <a:cubicBezTo>
                    <a:pt x="157672" y="28907"/>
                    <a:pt x="156414" y="20919"/>
                    <a:pt x="155277" y="16707"/>
                  </a:cubicBezTo>
                  <a:cubicBezTo>
                    <a:pt x="154912" y="13338"/>
                    <a:pt x="152355" y="10394"/>
                    <a:pt x="148620" y="9020"/>
                  </a:cubicBezTo>
                  <a:cubicBezTo>
                    <a:pt x="144074" y="6597"/>
                    <a:pt x="140218" y="3405"/>
                    <a:pt x="137255" y="-339"/>
                  </a:cubicBezTo>
                  <a:cubicBezTo>
                    <a:pt x="131329" y="554"/>
                    <a:pt x="125362" y="1012"/>
                    <a:pt x="119355" y="1032"/>
                  </a:cubicBezTo>
                  <a:cubicBezTo>
                    <a:pt x="109492" y="597"/>
                    <a:pt x="101049" y="11360"/>
                    <a:pt x="93784" y="5945"/>
                  </a:cubicBezTo>
                  <a:cubicBezTo>
                    <a:pt x="85098" y="-506"/>
                    <a:pt x="81607" y="-405"/>
                    <a:pt x="69186" y="2302"/>
                  </a:cubicBezTo>
                  <a:cubicBezTo>
                    <a:pt x="65655" y="3037"/>
                    <a:pt x="31397" y="7884"/>
                    <a:pt x="31438" y="6446"/>
                  </a:cubicBezTo>
                  <a:cubicBezTo>
                    <a:pt x="31032" y="15304"/>
                    <a:pt x="30585" y="24127"/>
                    <a:pt x="30139" y="32985"/>
                  </a:cubicBezTo>
                  <a:lnTo>
                    <a:pt x="28678" y="63701"/>
                  </a:lnTo>
                  <a:cubicBezTo>
                    <a:pt x="28191" y="73461"/>
                    <a:pt x="2416" y="63400"/>
                    <a:pt x="2010" y="72725"/>
                  </a:cubicBezTo>
                  <a:lnTo>
                    <a:pt x="-60" y="120521"/>
                  </a:lnTo>
                  <a:cubicBezTo>
                    <a:pt x="11833" y="123863"/>
                    <a:pt x="13862" y="129011"/>
                    <a:pt x="17312" y="136731"/>
                  </a:cubicBezTo>
                  <a:cubicBezTo>
                    <a:pt x="18327" y="139038"/>
                    <a:pt x="20722" y="143115"/>
                    <a:pt x="19342" y="145622"/>
                  </a:cubicBezTo>
                  <a:cubicBezTo>
                    <a:pt x="17962" y="148129"/>
                    <a:pt x="13984" y="146859"/>
                    <a:pt x="13862" y="149466"/>
                  </a:cubicBezTo>
                  <a:cubicBezTo>
                    <a:pt x="13132" y="165108"/>
                    <a:pt x="42275" y="157655"/>
                    <a:pt x="53722" y="151237"/>
                  </a:cubicBezTo>
                  <a:cubicBezTo>
                    <a:pt x="60541" y="147360"/>
                    <a:pt x="66792" y="144018"/>
                    <a:pt x="68943" y="138068"/>
                  </a:cubicBezTo>
                  <a:cubicBezTo>
                    <a:pt x="71094" y="132119"/>
                    <a:pt x="77061" y="127473"/>
                    <a:pt x="86315" y="131919"/>
                  </a:cubicBezTo>
                  <a:cubicBezTo>
                    <a:pt x="97437" y="137233"/>
                    <a:pt x="125647" y="146257"/>
                    <a:pt x="137580" y="137801"/>
                  </a:cubicBezTo>
                  <a:cubicBezTo>
                    <a:pt x="143100" y="133891"/>
                    <a:pt x="140218" y="123964"/>
                    <a:pt x="147362" y="121691"/>
                  </a:cubicBezTo>
                  <a:cubicBezTo>
                    <a:pt x="155480" y="119151"/>
                    <a:pt x="174151" y="121223"/>
                    <a:pt x="174882" y="111831"/>
                  </a:cubicBezTo>
                  <a:cubicBezTo>
                    <a:pt x="175694" y="101603"/>
                    <a:pt x="185557" y="102539"/>
                    <a:pt x="196192" y="99264"/>
                  </a:cubicBezTo>
                  <a:cubicBezTo>
                    <a:pt x="205730" y="96356"/>
                    <a:pt x="206988" y="89236"/>
                    <a:pt x="217623" y="88401"/>
                  </a:cubicBezTo>
                  <a:cubicBezTo>
                    <a:pt x="237471" y="86897"/>
                    <a:pt x="239663" y="71689"/>
                    <a:pt x="216527" y="707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BB49D63C-1B60-496E-9FE9-1EF5D6DC4043}"/>
                </a:ext>
              </a:extLst>
            </p:cNvPr>
            <p:cNvSpPr/>
            <p:nvPr/>
          </p:nvSpPr>
          <p:spPr>
            <a:xfrm>
              <a:off x="6608164" y="5318598"/>
              <a:ext cx="34440" cy="28994"/>
            </a:xfrm>
            <a:custGeom>
              <a:avLst/>
              <a:gdLst>
                <a:gd name="connsiteX0" fmla="*/ 18609 w 34440"/>
                <a:gd name="connsiteY0" fmla="*/ -316 h 28994"/>
                <a:gd name="connsiteX1" fmla="*/ 749 w 34440"/>
                <a:gd name="connsiteY1" fmla="*/ 9477 h 28994"/>
                <a:gd name="connsiteX2" fmla="*/ 10937 w 34440"/>
                <a:gd name="connsiteY2" fmla="*/ 26490 h 28994"/>
                <a:gd name="connsiteX3" fmla="*/ 18609 w 34440"/>
                <a:gd name="connsiteY3" fmla="*/ -316 h 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40" h="28994">
                  <a:moveTo>
                    <a:pt x="18609" y="-316"/>
                  </a:moveTo>
                  <a:cubicBezTo>
                    <a:pt x="11709" y="-784"/>
                    <a:pt x="3631" y="6035"/>
                    <a:pt x="749" y="9477"/>
                  </a:cubicBezTo>
                  <a:cubicBezTo>
                    <a:pt x="-2782" y="13655"/>
                    <a:pt x="6107" y="23783"/>
                    <a:pt x="10937" y="26490"/>
                  </a:cubicBezTo>
                  <a:cubicBezTo>
                    <a:pt x="31070" y="37720"/>
                    <a:pt x="47914" y="1723"/>
                    <a:pt x="18609" y="-31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CBBA6581-9DC1-4886-A48C-ED02348FD2FE}"/>
                </a:ext>
              </a:extLst>
            </p:cNvPr>
            <p:cNvSpPr/>
            <p:nvPr/>
          </p:nvSpPr>
          <p:spPr>
            <a:xfrm>
              <a:off x="6513175" y="5364063"/>
              <a:ext cx="55100" cy="38722"/>
            </a:xfrm>
            <a:custGeom>
              <a:avLst/>
              <a:gdLst>
                <a:gd name="connsiteX0" fmla="*/ 39724 w 55100"/>
                <a:gd name="connsiteY0" fmla="*/ 2282 h 38722"/>
                <a:gd name="connsiteX1" fmla="*/ 5832 w 55100"/>
                <a:gd name="connsiteY1" fmla="*/ 15084 h 38722"/>
                <a:gd name="connsiteX2" fmla="*/ 10743 w 55100"/>
                <a:gd name="connsiteY2" fmla="*/ 36508 h 38722"/>
                <a:gd name="connsiteX3" fmla="*/ 22555 w 55100"/>
                <a:gd name="connsiteY3" fmla="*/ 37210 h 38722"/>
                <a:gd name="connsiteX4" fmla="*/ 41226 w 55100"/>
                <a:gd name="connsiteY4" fmla="*/ 29322 h 38722"/>
                <a:gd name="connsiteX5" fmla="*/ 55027 w 55100"/>
                <a:gd name="connsiteY5" fmla="*/ 16320 h 38722"/>
                <a:gd name="connsiteX6" fmla="*/ 39724 w 55100"/>
                <a:gd name="connsiteY6" fmla="*/ 2282 h 3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100" h="38722">
                  <a:moveTo>
                    <a:pt x="39724" y="2282"/>
                  </a:moveTo>
                  <a:cubicBezTo>
                    <a:pt x="33636" y="-7310"/>
                    <a:pt x="8795" y="12309"/>
                    <a:pt x="5832" y="15084"/>
                  </a:cubicBezTo>
                  <a:cubicBezTo>
                    <a:pt x="-5290" y="24676"/>
                    <a:pt x="1042" y="26013"/>
                    <a:pt x="10743" y="36508"/>
                  </a:cubicBezTo>
                  <a:cubicBezTo>
                    <a:pt x="12529" y="38480"/>
                    <a:pt x="21134" y="39182"/>
                    <a:pt x="22555" y="37210"/>
                  </a:cubicBezTo>
                  <a:cubicBezTo>
                    <a:pt x="28278" y="29389"/>
                    <a:pt x="29090" y="28586"/>
                    <a:pt x="41226" y="29322"/>
                  </a:cubicBezTo>
                  <a:cubicBezTo>
                    <a:pt x="44960" y="29556"/>
                    <a:pt x="54783" y="18927"/>
                    <a:pt x="55027" y="16320"/>
                  </a:cubicBezTo>
                  <a:cubicBezTo>
                    <a:pt x="55514" y="10906"/>
                    <a:pt x="42850" y="6928"/>
                    <a:pt x="39724" y="22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AB1C44AF-C420-42F9-B3BD-571B003BE454}"/>
                </a:ext>
              </a:extLst>
            </p:cNvPr>
            <p:cNvSpPr/>
            <p:nvPr/>
          </p:nvSpPr>
          <p:spPr>
            <a:xfrm>
              <a:off x="6249875" y="5246793"/>
              <a:ext cx="411255" cy="228285"/>
            </a:xfrm>
            <a:custGeom>
              <a:avLst/>
              <a:gdLst>
                <a:gd name="connsiteX0" fmla="*/ 391997 w 411255"/>
                <a:gd name="connsiteY0" fmla="*/ 94083 h 228285"/>
                <a:gd name="connsiteX1" fmla="*/ 377953 w 411255"/>
                <a:gd name="connsiteY1" fmla="*/ 99865 h 228285"/>
                <a:gd name="connsiteX2" fmla="*/ 359647 w 411255"/>
                <a:gd name="connsiteY2" fmla="*/ 86496 h 228285"/>
                <a:gd name="connsiteX3" fmla="*/ 366994 w 411255"/>
                <a:gd name="connsiteY3" fmla="*/ 74831 h 228285"/>
                <a:gd name="connsiteX4" fmla="*/ 391023 w 411255"/>
                <a:gd name="connsiteY4" fmla="*/ 77337 h 228285"/>
                <a:gd name="connsiteX5" fmla="*/ 395082 w 411255"/>
                <a:gd name="connsiteY5" fmla="*/ 51033 h 228285"/>
                <a:gd name="connsiteX6" fmla="*/ 383636 w 411255"/>
                <a:gd name="connsiteY6" fmla="*/ 24863 h 228285"/>
                <a:gd name="connsiteX7" fmla="*/ 362245 w 411255"/>
                <a:gd name="connsiteY7" fmla="*/ 7081 h 228285"/>
                <a:gd name="connsiteX8" fmla="*/ 324862 w 411255"/>
                <a:gd name="connsiteY8" fmla="*/ -339 h 228285"/>
                <a:gd name="connsiteX9" fmla="*/ 296164 w 411255"/>
                <a:gd name="connsiteY9" fmla="*/ 15304 h 228285"/>
                <a:gd name="connsiteX10" fmla="*/ 272703 w 411255"/>
                <a:gd name="connsiteY10" fmla="*/ 22289 h 228285"/>
                <a:gd name="connsiteX11" fmla="*/ 260039 w 411255"/>
                <a:gd name="connsiteY11" fmla="*/ 37764 h 228285"/>
                <a:gd name="connsiteX12" fmla="*/ 237878 w 411255"/>
                <a:gd name="connsiteY12" fmla="*/ 42209 h 228285"/>
                <a:gd name="connsiteX13" fmla="*/ 230044 w 411255"/>
                <a:gd name="connsiteY13" fmla="*/ 56448 h 228285"/>
                <a:gd name="connsiteX14" fmla="*/ 186491 w 411255"/>
                <a:gd name="connsiteY14" fmla="*/ 57016 h 228285"/>
                <a:gd name="connsiteX15" fmla="*/ 158809 w 411255"/>
                <a:gd name="connsiteY15" fmla="*/ 60793 h 228285"/>
                <a:gd name="connsiteX16" fmla="*/ 125078 w 411255"/>
                <a:gd name="connsiteY16" fmla="*/ 79343 h 228285"/>
                <a:gd name="connsiteX17" fmla="*/ 104784 w 411255"/>
                <a:gd name="connsiteY17" fmla="*/ 76836 h 228285"/>
                <a:gd name="connsiteX18" fmla="*/ 107828 w 411255"/>
                <a:gd name="connsiteY18" fmla="*/ 67778 h 228285"/>
                <a:gd name="connsiteX19" fmla="*/ 90537 w 411255"/>
                <a:gd name="connsiteY19" fmla="*/ 41040 h 228285"/>
                <a:gd name="connsiteX20" fmla="*/ 88304 w 411255"/>
                <a:gd name="connsiteY20" fmla="*/ 92178 h 228285"/>
                <a:gd name="connsiteX21" fmla="*/ 73165 w 411255"/>
                <a:gd name="connsiteY21" fmla="*/ 112499 h 228285"/>
                <a:gd name="connsiteX22" fmla="*/ 30789 w 411255"/>
                <a:gd name="connsiteY22" fmla="*/ 110661 h 228285"/>
                <a:gd name="connsiteX23" fmla="*/ 18084 w 411255"/>
                <a:gd name="connsiteY23" fmla="*/ 99665 h 228285"/>
                <a:gd name="connsiteX24" fmla="*/ -60 w 411255"/>
                <a:gd name="connsiteY24" fmla="*/ 107553 h 228285"/>
                <a:gd name="connsiteX25" fmla="*/ 20479 w 411255"/>
                <a:gd name="connsiteY25" fmla="*/ 139606 h 228285"/>
                <a:gd name="connsiteX26" fmla="*/ 39921 w 411255"/>
                <a:gd name="connsiteY26" fmla="*/ 166612 h 228285"/>
                <a:gd name="connsiteX27" fmla="*/ 44995 w 411255"/>
                <a:gd name="connsiteY27" fmla="*/ 178277 h 228285"/>
                <a:gd name="connsiteX28" fmla="*/ 37121 w 411255"/>
                <a:gd name="connsiteY28" fmla="*/ 186131 h 228285"/>
                <a:gd name="connsiteX29" fmla="*/ 44954 w 411255"/>
                <a:gd name="connsiteY29" fmla="*/ 210798 h 228285"/>
                <a:gd name="connsiteX30" fmla="*/ 67725 w 411255"/>
                <a:gd name="connsiteY30" fmla="*/ 222797 h 228285"/>
                <a:gd name="connsiteX31" fmla="*/ 96138 w 411255"/>
                <a:gd name="connsiteY31" fmla="*/ 222563 h 228285"/>
                <a:gd name="connsiteX32" fmla="*/ 134292 w 411255"/>
                <a:gd name="connsiteY32" fmla="*/ 217483 h 228285"/>
                <a:gd name="connsiteX33" fmla="*/ 186044 w 411255"/>
                <a:gd name="connsiteY33" fmla="*/ 218753 h 228285"/>
                <a:gd name="connsiteX34" fmla="*/ 202646 w 411255"/>
                <a:gd name="connsiteY34" fmla="*/ 216413 h 228285"/>
                <a:gd name="connsiteX35" fmla="*/ 217014 w 411255"/>
                <a:gd name="connsiteY35" fmla="*/ 217048 h 228285"/>
                <a:gd name="connsiteX36" fmla="*/ 223712 w 411255"/>
                <a:gd name="connsiteY36" fmla="*/ 210932 h 228285"/>
                <a:gd name="connsiteX37" fmla="*/ 242870 w 411255"/>
                <a:gd name="connsiteY37" fmla="*/ 210932 h 228285"/>
                <a:gd name="connsiteX38" fmla="*/ 312563 w 411255"/>
                <a:gd name="connsiteY38" fmla="*/ 179514 h 228285"/>
                <a:gd name="connsiteX39" fmla="*/ 365654 w 411255"/>
                <a:gd name="connsiteY39" fmla="*/ 138904 h 228285"/>
                <a:gd name="connsiteX40" fmla="*/ 396178 w 411255"/>
                <a:gd name="connsiteY40" fmla="*/ 121356 h 228285"/>
                <a:gd name="connsiteX41" fmla="*/ 411196 w 411255"/>
                <a:gd name="connsiteY41" fmla="*/ 94283 h 228285"/>
                <a:gd name="connsiteX42" fmla="*/ 391997 w 411255"/>
                <a:gd name="connsiteY42" fmla="*/ 94083 h 228285"/>
                <a:gd name="connsiteX43" fmla="*/ 308463 w 411255"/>
                <a:gd name="connsiteY43" fmla="*/ 145154 h 228285"/>
                <a:gd name="connsiteX44" fmla="*/ 294135 w 411255"/>
                <a:gd name="connsiteY44" fmla="*/ 145956 h 228285"/>
                <a:gd name="connsiteX45" fmla="*/ 279847 w 411255"/>
                <a:gd name="connsiteY45" fmla="*/ 155081 h 228285"/>
                <a:gd name="connsiteX46" fmla="*/ 261622 w 411255"/>
                <a:gd name="connsiteY46" fmla="*/ 138803 h 228285"/>
                <a:gd name="connsiteX47" fmla="*/ 298438 w 411255"/>
                <a:gd name="connsiteY47" fmla="*/ 118081 h 228285"/>
                <a:gd name="connsiteX48" fmla="*/ 315283 w 411255"/>
                <a:gd name="connsiteY48" fmla="*/ 129111 h 228285"/>
                <a:gd name="connsiteX49" fmla="*/ 308463 w 411255"/>
                <a:gd name="connsiteY49" fmla="*/ 145154 h 22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11255" h="228285">
                  <a:moveTo>
                    <a:pt x="391997" y="94083"/>
                  </a:moveTo>
                  <a:cubicBezTo>
                    <a:pt x="389074" y="91576"/>
                    <a:pt x="386720" y="100233"/>
                    <a:pt x="377953" y="99865"/>
                  </a:cubicBezTo>
                  <a:cubicBezTo>
                    <a:pt x="366750" y="99397"/>
                    <a:pt x="362732" y="93180"/>
                    <a:pt x="359647" y="86496"/>
                  </a:cubicBezTo>
                  <a:cubicBezTo>
                    <a:pt x="357090" y="81148"/>
                    <a:pt x="361108" y="78374"/>
                    <a:pt x="366994" y="74831"/>
                  </a:cubicBezTo>
                  <a:cubicBezTo>
                    <a:pt x="376289" y="69216"/>
                    <a:pt x="382012" y="72458"/>
                    <a:pt x="391023" y="77337"/>
                  </a:cubicBezTo>
                  <a:cubicBezTo>
                    <a:pt x="391023" y="68514"/>
                    <a:pt x="395082" y="59924"/>
                    <a:pt x="395082" y="51033"/>
                  </a:cubicBezTo>
                  <a:cubicBezTo>
                    <a:pt x="395082" y="42143"/>
                    <a:pt x="386071" y="33653"/>
                    <a:pt x="383636" y="24863"/>
                  </a:cubicBezTo>
                  <a:cubicBezTo>
                    <a:pt x="380186" y="12362"/>
                    <a:pt x="382093" y="9421"/>
                    <a:pt x="362245" y="7081"/>
                  </a:cubicBezTo>
                  <a:cubicBezTo>
                    <a:pt x="357902" y="6580"/>
                    <a:pt x="324862" y="-71"/>
                    <a:pt x="324862" y="-339"/>
                  </a:cubicBezTo>
                  <a:cubicBezTo>
                    <a:pt x="315566" y="7482"/>
                    <a:pt x="305013" y="8418"/>
                    <a:pt x="296164" y="15304"/>
                  </a:cubicBezTo>
                  <a:cubicBezTo>
                    <a:pt x="289346" y="20618"/>
                    <a:pt x="279929" y="18646"/>
                    <a:pt x="272703" y="22289"/>
                  </a:cubicBezTo>
                  <a:cubicBezTo>
                    <a:pt x="264585" y="26266"/>
                    <a:pt x="267711" y="33686"/>
                    <a:pt x="260039" y="37764"/>
                  </a:cubicBezTo>
                  <a:cubicBezTo>
                    <a:pt x="252368" y="41842"/>
                    <a:pt x="245265" y="39870"/>
                    <a:pt x="237878" y="42209"/>
                  </a:cubicBezTo>
                  <a:cubicBezTo>
                    <a:pt x="231911" y="44081"/>
                    <a:pt x="232844" y="52905"/>
                    <a:pt x="230044" y="56448"/>
                  </a:cubicBezTo>
                  <a:cubicBezTo>
                    <a:pt x="223671" y="64403"/>
                    <a:pt x="195867" y="60893"/>
                    <a:pt x="186491" y="57016"/>
                  </a:cubicBezTo>
                  <a:cubicBezTo>
                    <a:pt x="173218" y="51434"/>
                    <a:pt x="161894" y="46989"/>
                    <a:pt x="158809" y="60793"/>
                  </a:cubicBezTo>
                  <a:cubicBezTo>
                    <a:pt x="157348" y="67210"/>
                    <a:pt x="134455" y="79644"/>
                    <a:pt x="125078" y="79343"/>
                  </a:cubicBezTo>
                  <a:cubicBezTo>
                    <a:pt x="121019" y="79343"/>
                    <a:pt x="107950" y="78942"/>
                    <a:pt x="104784" y="76836"/>
                  </a:cubicBezTo>
                  <a:cubicBezTo>
                    <a:pt x="101618" y="74731"/>
                    <a:pt x="104297" y="68848"/>
                    <a:pt x="107828" y="67778"/>
                  </a:cubicBezTo>
                  <a:cubicBezTo>
                    <a:pt x="120492" y="64035"/>
                    <a:pt x="98452" y="43179"/>
                    <a:pt x="90537" y="41040"/>
                  </a:cubicBezTo>
                  <a:cubicBezTo>
                    <a:pt x="89766" y="58085"/>
                    <a:pt x="88995" y="75132"/>
                    <a:pt x="88304" y="92178"/>
                  </a:cubicBezTo>
                  <a:cubicBezTo>
                    <a:pt x="87817" y="103575"/>
                    <a:pt x="87330" y="105848"/>
                    <a:pt x="73165" y="112499"/>
                  </a:cubicBezTo>
                  <a:cubicBezTo>
                    <a:pt x="65574" y="116042"/>
                    <a:pt x="36065" y="117212"/>
                    <a:pt x="30789" y="110661"/>
                  </a:cubicBezTo>
                  <a:cubicBezTo>
                    <a:pt x="28231" y="107319"/>
                    <a:pt x="27055" y="97292"/>
                    <a:pt x="18084" y="99665"/>
                  </a:cubicBezTo>
                  <a:cubicBezTo>
                    <a:pt x="7166" y="102740"/>
                    <a:pt x="14471" y="108756"/>
                    <a:pt x="-60" y="107553"/>
                  </a:cubicBezTo>
                  <a:cubicBezTo>
                    <a:pt x="8221" y="117546"/>
                    <a:pt x="15121" y="128308"/>
                    <a:pt x="20479" y="139606"/>
                  </a:cubicBezTo>
                  <a:cubicBezTo>
                    <a:pt x="25634" y="149065"/>
                    <a:pt x="34198" y="157354"/>
                    <a:pt x="39921" y="166612"/>
                  </a:cubicBezTo>
                  <a:cubicBezTo>
                    <a:pt x="42154" y="170322"/>
                    <a:pt x="43859" y="174232"/>
                    <a:pt x="44995" y="178277"/>
                  </a:cubicBezTo>
                  <a:cubicBezTo>
                    <a:pt x="46781" y="184694"/>
                    <a:pt x="43047" y="183391"/>
                    <a:pt x="37121" y="186131"/>
                  </a:cubicBezTo>
                  <a:cubicBezTo>
                    <a:pt x="29977" y="189474"/>
                    <a:pt x="44589" y="205484"/>
                    <a:pt x="44954" y="210798"/>
                  </a:cubicBezTo>
                  <a:cubicBezTo>
                    <a:pt x="45320" y="216112"/>
                    <a:pt x="63220" y="219020"/>
                    <a:pt x="67725" y="222797"/>
                  </a:cubicBezTo>
                  <a:cubicBezTo>
                    <a:pt x="79902" y="233158"/>
                    <a:pt x="82257" y="225103"/>
                    <a:pt x="96138" y="222563"/>
                  </a:cubicBezTo>
                  <a:cubicBezTo>
                    <a:pt x="110020" y="220023"/>
                    <a:pt x="121141" y="221728"/>
                    <a:pt x="134292" y="217483"/>
                  </a:cubicBezTo>
                  <a:cubicBezTo>
                    <a:pt x="152315" y="211634"/>
                    <a:pt x="168185" y="217182"/>
                    <a:pt x="186044" y="218753"/>
                  </a:cubicBezTo>
                  <a:cubicBezTo>
                    <a:pt x="191727" y="219221"/>
                    <a:pt x="197491" y="218419"/>
                    <a:pt x="202646" y="216413"/>
                  </a:cubicBezTo>
                  <a:cubicBezTo>
                    <a:pt x="207273" y="214642"/>
                    <a:pt x="212834" y="218920"/>
                    <a:pt x="217014" y="217048"/>
                  </a:cubicBezTo>
                  <a:cubicBezTo>
                    <a:pt x="221195" y="215176"/>
                    <a:pt x="218151" y="211968"/>
                    <a:pt x="223712" y="210932"/>
                  </a:cubicBezTo>
                  <a:cubicBezTo>
                    <a:pt x="230044" y="209762"/>
                    <a:pt x="236538" y="211701"/>
                    <a:pt x="242870" y="210932"/>
                  </a:cubicBezTo>
                  <a:cubicBezTo>
                    <a:pt x="269294" y="208024"/>
                    <a:pt x="294135" y="191680"/>
                    <a:pt x="312563" y="179514"/>
                  </a:cubicBezTo>
                  <a:cubicBezTo>
                    <a:pt x="331802" y="166712"/>
                    <a:pt x="347389" y="152206"/>
                    <a:pt x="365654" y="138904"/>
                  </a:cubicBezTo>
                  <a:cubicBezTo>
                    <a:pt x="375233" y="132353"/>
                    <a:pt x="385421" y="126504"/>
                    <a:pt x="396178" y="121356"/>
                  </a:cubicBezTo>
                  <a:cubicBezTo>
                    <a:pt x="406528" y="116109"/>
                    <a:pt x="408882" y="102205"/>
                    <a:pt x="411196" y="94283"/>
                  </a:cubicBezTo>
                  <a:cubicBezTo>
                    <a:pt x="404823" y="93849"/>
                    <a:pt x="398410" y="93782"/>
                    <a:pt x="391997" y="94083"/>
                  </a:cubicBezTo>
                  <a:close/>
                  <a:moveTo>
                    <a:pt x="308463" y="145154"/>
                  </a:moveTo>
                  <a:cubicBezTo>
                    <a:pt x="308179" y="148296"/>
                    <a:pt x="296936" y="145421"/>
                    <a:pt x="294135" y="145956"/>
                  </a:cubicBezTo>
                  <a:cubicBezTo>
                    <a:pt x="284678" y="147828"/>
                    <a:pt x="291091" y="156819"/>
                    <a:pt x="279847" y="155081"/>
                  </a:cubicBezTo>
                  <a:cubicBezTo>
                    <a:pt x="274327" y="154245"/>
                    <a:pt x="258335" y="141511"/>
                    <a:pt x="261622" y="138803"/>
                  </a:cubicBezTo>
                  <a:cubicBezTo>
                    <a:pt x="271527" y="130682"/>
                    <a:pt x="280172" y="118281"/>
                    <a:pt x="298438" y="118081"/>
                  </a:cubicBezTo>
                  <a:cubicBezTo>
                    <a:pt x="304039" y="118081"/>
                    <a:pt x="311913" y="126337"/>
                    <a:pt x="315283" y="129111"/>
                  </a:cubicBezTo>
                  <a:cubicBezTo>
                    <a:pt x="323928" y="136330"/>
                    <a:pt x="308869" y="138503"/>
                    <a:pt x="308463" y="14515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5A0BED8B-40E5-4694-BAFA-72AE1E4E3223}"/>
                </a:ext>
              </a:extLst>
            </p:cNvPr>
            <p:cNvSpPr/>
            <p:nvPr/>
          </p:nvSpPr>
          <p:spPr>
            <a:xfrm>
              <a:off x="6141988" y="4950998"/>
              <a:ext cx="316738" cy="214593"/>
            </a:xfrm>
            <a:custGeom>
              <a:avLst/>
              <a:gdLst>
                <a:gd name="connsiteX0" fmla="*/ 17719 w 316738"/>
                <a:gd name="connsiteY0" fmla="*/ 193782 h 214593"/>
                <a:gd name="connsiteX1" fmla="*/ 25430 w 316738"/>
                <a:gd name="connsiteY1" fmla="*/ 197859 h 214593"/>
                <a:gd name="connsiteX2" fmla="*/ 48810 w 316738"/>
                <a:gd name="connsiteY2" fmla="*/ 196322 h 214593"/>
                <a:gd name="connsiteX3" fmla="*/ 87411 w 316738"/>
                <a:gd name="connsiteY3" fmla="*/ 203007 h 214593"/>
                <a:gd name="connsiteX4" fmla="*/ 164532 w 316738"/>
                <a:gd name="connsiteY4" fmla="*/ 204477 h 214593"/>
                <a:gd name="connsiteX5" fmla="*/ 177926 w 316738"/>
                <a:gd name="connsiteY5" fmla="*/ 210159 h 214593"/>
                <a:gd name="connsiteX6" fmla="*/ 205000 w 316738"/>
                <a:gd name="connsiteY6" fmla="*/ 210594 h 214593"/>
                <a:gd name="connsiteX7" fmla="*/ 240678 w 316738"/>
                <a:gd name="connsiteY7" fmla="*/ 213401 h 214593"/>
                <a:gd name="connsiteX8" fmla="*/ 285327 w 316738"/>
                <a:gd name="connsiteY8" fmla="*/ 211530 h 214593"/>
                <a:gd name="connsiteX9" fmla="*/ 257280 w 316738"/>
                <a:gd name="connsiteY9" fmla="*/ 177137 h 214593"/>
                <a:gd name="connsiteX10" fmla="*/ 262393 w 316738"/>
                <a:gd name="connsiteY10" fmla="*/ 127235 h 214593"/>
                <a:gd name="connsiteX11" fmla="*/ 301522 w 316738"/>
                <a:gd name="connsiteY11" fmla="*/ 129608 h 214593"/>
                <a:gd name="connsiteX12" fmla="*/ 312928 w 316738"/>
                <a:gd name="connsiteY12" fmla="*/ 110256 h 214593"/>
                <a:gd name="connsiteX13" fmla="*/ 316541 w 316738"/>
                <a:gd name="connsiteY13" fmla="*/ 94781 h 214593"/>
                <a:gd name="connsiteX14" fmla="*/ 301725 w 316738"/>
                <a:gd name="connsiteY14" fmla="*/ 92575 h 214593"/>
                <a:gd name="connsiteX15" fmla="*/ 280659 w 316738"/>
                <a:gd name="connsiteY15" fmla="*/ 92575 h 214593"/>
                <a:gd name="connsiteX16" fmla="*/ 271161 w 316738"/>
                <a:gd name="connsiteY16" fmla="*/ 95917 h 214593"/>
                <a:gd name="connsiteX17" fmla="*/ 271729 w 316738"/>
                <a:gd name="connsiteY17" fmla="*/ 79740 h 214593"/>
                <a:gd name="connsiteX18" fmla="*/ 258010 w 316738"/>
                <a:gd name="connsiteY18" fmla="*/ 64733 h 214593"/>
                <a:gd name="connsiteX19" fmla="*/ 264585 w 316738"/>
                <a:gd name="connsiteY19" fmla="*/ 47286 h 214593"/>
                <a:gd name="connsiteX20" fmla="*/ 260202 w 316738"/>
                <a:gd name="connsiteY20" fmla="*/ 30407 h 214593"/>
                <a:gd name="connsiteX21" fmla="*/ 235848 w 316738"/>
                <a:gd name="connsiteY21" fmla="*/ 27065 h 214593"/>
                <a:gd name="connsiteX22" fmla="*/ 200697 w 316738"/>
                <a:gd name="connsiteY22" fmla="*/ 29772 h 214593"/>
                <a:gd name="connsiteX23" fmla="*/ 185598 w 316738"/>
                <a:gd name="connsiteY23" fmla="*/ 37426 h 214593"/>
                <a:gd name="connsiteX24" fmla="*/ 146713 w 316738"/>
                <a:gd name="connsiteY24" fmla="*/ 36123 h 214593"/>
                <a:gd name="connsiteX25" fmla="*/ 129909 w 316738"/>
                <a:gd name="connsiteY25" fmla="*/ 18742 h 214593"/>
                <a:gd name="connsiteX26" fmla="*/ 125850 w 316738"/>
                <a:gd name="connsiteY26" fmla="*/ 1195 h 214593"/>
                <a:gd name="connsiteX27" fmla="*/ 87046 w 316738"/>
                <a:gd name="connsiteY27" fmla="*/ 326 h 214593"/>
                <a:gd name="connsiteX28" fmla="*/ 38338 w 316738"/>
                <a:gd name="connsiteY28" fmla="*/ -8 h 214593"/>
                <a:gd name="connsiteX29" fmla="*/ 40043 w 316738"/>
                <a:gd name="connsiteY29" fmla="*/ 34351 h 214593"/>
                <a:gd name="connsiteX30" fmla="*/ 45685 w 316738"/>
                <a:gd name="connsiteY30" fmla="*/ 72187 h 214593"/>
                <a:gd name="connsiteX31" fmla="*/ 41626 w 316738"/>
                <a:gd name="connsiteY31" fmla="*/ 116339 h 214593"/>
                <a:gd name="connsiteX32" fmla="*/ 22792 w 316738"/>
                <a:gd name="connsiteY32" fmla="*/ 136627 h 214593"/>
                <a:gd name="connsiteX33" fmla="*/ 14675 w 316738"/>
                <a:gd name="connsiteY33" fmla="*/ 160224 h 214593"/>
                <a:gd name="connsiteX34" fmla="*/ -60 w 316738"/>
                <a:gd name="connsiteY34" fmla="*/ 199464 h 214593"/>
                <a:gd name="connsiteX35" fmla="*/ 17719 w 316738"/>
                <a:gd name="connsiteY35" fmla="*/ 193782 h 2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6738" h="214593">
                  <a:moveTo>
                    <a:pt x="17719" y="193782"/>
                  </a:moveTo>
                  <a:cubicBezTo>
                    <a:pt x="22508" y="193782"/>
                    <a:pt x="21331" y="197592"/>
                    <a:pt x="25430" y="197859"/>
                  </a:cubicBezTo>
                  <a:cubicBezTo>
                    <a:pt x="33548" y="198327"/>
                    <a:pt x="39718" y="194250"/>
                    <a:pt x="48810" y="196322"/>
                  </a:cubicBezTo>
                  <a:cubicBezTo>
                    <a:pt x="62895" y="199664"/>
                    <a:pt x="72149" y="202739"/>
                    <a:pt x="87411" y="203007"/>
                  </a:cubicBezTo>
                  <a:cubicBezTo>
                    <a:pt x="113145" y="203384"/>
                    <a:pt x="138838" y="203876"/>
                    <a:pt x="164532" y="204477"/>
                  </a:cubicBezTo>
                  <a:cubicBezTo>
                    <a:pt x="171554" y="204477"/>
                    <a:pt x="172893" y="206717"/>
                    <a:pt x="177926" y="210159"/>
                  </a:cubicBezTo>
                  <a:cubicBezTo>
                    <a:pt x="181539" y="212666"/>
                    <a:pt x="199926" y="210560"/>
                    <a:pt x="205000" y="210594"/>
                  </a:cubicBezTo>
                  <a:cubicBezTo>
                    <a:pt x="216974" y="210631"/>
                    <a:pt x="228907" y="211570"/>
                    <a:pt x="240678" y="213401"/>
                  </a:cubicBezTo>
                  <a:cubicBezTo>
                    <a:pt x="255615" y="215674"/>
                    <a:pt x="270755" y="212833"/>
                    <a:pt x="285327" y="211530"/>
                  </a:cubicBezTo>
                  <a:cubicBezTo>
                    <a:pt x="274449" y="200968"/>
                    <a:pt x="255980" y="189971"/>
                    <a:pt x="257280" y="177137"/>
                  </a:cubicBezTo>
                  <a:lnTo>
                    <a:pt x="262393" y="127235"/>
                  </a:lnTo>
                  <a:cubicBezTo>
                    <a:pt x="275423" y="128004"/>
                    <a:pt x="288493" y="128773"/>
                    <a:pt x="301522" y="129608"/>
                  </a:cubicBezTo>
                  <a:cubicBezTo>
                    <a:pt x="312197" y="130310"/>
                    <a:pt x="312157" y="113565"/>
                    <a:pt x="312928" y="110256"/>
                  </a:cubicBezTo>
                  <a:cubicBezTo>
                    <a:pt x="314105" y="105109"/>
                    <a:pt x="315323" y="99928"/>
                    <a:pt x="316541" y="94781"/>
                  </a:cubicBezTo>
                  <a:cubicBezTo>
                    <a:pt x="317961" y="88731"/>
                    <a:pt x="308138" y="92274"/>
                    <a:pt x="301725" y="92575"/>
                  </a:cubicBezTo>
                  <a:cubicBezTo>
                    <a:pt x="295312" y="92876"/>
                    <a:pt x="286667" y="90804"/>
                    <a:pt x="280659" y="92575"/>
                  </a:cubicBezTo>
                  <a:cubicBezTo>
                    <a:pt x="277940" y="93444"/>
                    <a:pt x="274814" y="96686"/>
                    <a:pt x="271161" y="95917"/>
                  </a:cubicBezTo>
                  <a:cubicBezTo>
                    <a:pt x="264464" y="94614"/>
                    <a:pt x="272866" y="82715"/>
                    <a:pt x="271729" y="79740"/>
                  </a:cubicBezTo>
                  <a:cubicBezTo>
                    <a:pt x="269497" y="74125"/>
                    <a:pt x="257564" y="70181"/>
                    <a:pt x="258010" y="64733"/>
                  </a:cubicBezTo>
                  <a:cubicBezTo>
                    <a:pt x="258497" y="58717"/>
                    <a:pt x="262962" y="53169"/>
                    <a:pt x="264585" y="47286"/>
                  </a:cubicBezTo>
                  <a:cubicBezTo>
                    <a:pt x="265965" y="42306"/>
                    <a:pt x="259918" y="36056"/>
                    <a:pt x="260202" y="30407"/>
                  </a:cubicBezTo>
                  <a:cubicBezTo>
                    <a:pt x="260486" y="24759"/>
                    <a:pt x="241937" y="28001"/>
                    <a:pt x="235848" y="27065"/>
                  </a:cubicBezTo>
                  <a:cubicBezTo>
                    <a:pt x="223671" y="24792"/>
                    <a:pt x="206583" y="15534"/>
                    <a:pt x="200697" y="29772"/>
                  </a:cubicBezTo>
                  <a:cubicBezTo>
                    <a:pt x="197410" y="37693"/>
                    <a:pt x="197897" y="36791"/>
                    <a:pt x="185598" y="37426"/>
                  </a:cubicBezTo>
                  <a:cubicBezTo>
                    <a:pt x="173299" y="38061"/>
                    <a:pt x="155358" y="44111"/>
                    <a:pt x="146713" y="36123"/>
                  </a:cubicBezTo>
                  <a:cubicBezTo>
                    <a:pt x="142654" y="32546"/>
                    <a:pt x="130883" y="22753"/>
                    <a:pt x="129909" y="18742"/>
                  </a:cubicBezTo>
                  <a:cubicBezTo>
                    <a:pt x="128813" y="14197"/>
                    <a:pt x="133968" y="4805"/>
                    <a:pt x="125850" y="1195"/>
                  </a:cubicBezTo>
                  <a:cubicBezTo>
                    <a:pt x="119436" y="-1713"/>
                    <a:pt x="94758" y="426"/>
                    <a:pt x="87046" y="326"/>
                  </a:cubicBezTo>
                  <a:cubicBezTo>
                    <a:pt x="70810" y="25"/>
                    <a:pt x="54331" y="-610"/>
                    <a:pt x="38338" y="-8"/>
                  </a:cubicBezTo>
                  <a:cubicBezTo>
                    <a:pt x="7653" y="1195"/>
                    <a:pt x="32940" y="24792"/>
                    <a:pt x="40043" y="34351"/>
                  </a:cubicBezTo>
                  <a:cubicBezTo>
                    <a:pt x="49541" y="47152"/>
                    <a:pt x="37607" y="58383"/>
                    <a:pt x="45685" y="72187"/>
                  </a:cubicBezTo>
                  <a:cubicBezTo>
                    <a:pt x="55751" y="89400"/>
                    <a:pt x="62449" y="101399"/>
                    <a:pt x="41626" y="116339"/>
                  </a:cubicBezTo>
                  <a:cubicBezTo>
                    <a:pt x="33630" y="121894"/>
                    <a:pt x="27217" y="128820"/>
                    <a:pt x="22792" y="136627"/>
                  </a:cubicBezTo>
                  <a:cubicBezTo>
                    <a:pt x="18490" y="144315"/>
                    <a:pt x="19545" y="152771"/>
                    <a:pt x="14675" y="160224"/>
                  </a:cubicBezTo>
                  <a:cubicBezTo>
                    <a:pt x="6232" y="173594"/>
                    <a:pt x="752" y="184457"/>
                    <a:pt x="-60" y="199464"/>
                  </a:cubicBezTo>
                  <a:cubicBezTo>
                    <a:pt x="8180" y="199063"/>
                    <a:pt x="10453" y="193748"/>
                    <a:pt x="17719" y="1937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7F95E13D-B0A7-44E5-B359-784CFC52AE95}"/>
                </a:ext>
              </a:extLst>
            </p:cNvPr>
            <p:cNvSpPr/>
            <p:nvPr/>
          </p:nvSpPr>
          <p:spPr>
            <a:xfrm>
              <a:off x="6399514" y="5007139"/>
              <a:ext cx="315259" cy="164009"/>
            </a:xfrm>
            <a:custGeom>
              <a:avLst/>
              <a:gdLst>
                <a:gd name="connsiteX0" fmla="*/ 247431 w 315259"/>
                <a:gd name="connsiteY0" fmla="*/ 7523 h 164009"/>
                <a:gd name="connsiteX1" fmla="*/ 224701 w 315259"/>
                <a:gd name="connsiteY1" fmla="*/ 471 h 164009"/>
                <a:gd name="connsiteX2" fmla="*/ 191418 w 315259"/>
                <a:gd name="connsiteY2" fmla="*/ 872 h 164009"/>
                <a:gd name="connsiteX3" fmla="*/ 189470 w 315259"/>
                <a:gd name="connsiteY3" fmla="*/ 8894 h 164009"/>
                <a:gd name="connsiteX4" fmla="*/ 180378 w 315259"/>
                <a:gd name="connsiteY4" fmla="*/ 17417 h 164009"/>
                <a:gd name="connsiteX5" fmla="*/ 184437 w 315259"/>
                <a:gd name="connsiteY5" fmla="*/ 23667 h 164009"/>
                <a:gd name="connsiteX6" fmla="*/ 181595 w 315259"/>
                <a:gd name="connsiteY6" fmla="*/ 33327 h 164009"/>
                <a:gd name="connsiteX7" fmla="*/ 179241 w 315259"/>
                <a:gd name="connsiteY7" fmla="*/ 61436 h 164009"/>
                <a:gd name="connsiteX8" fmla="*/ 204406 w 315259"/>
                <a:gd name="connsiteY8" fmla="*/ 66783 h 164009"/>
                <a:gd name="connsiteX9" fmla="*/ 208465 w 315259"/>
                <a:gd name="connsiteY9" fmla="*/ 82693 h 164009"/>
                <a:gd name="connsiteX10" fmla="*/ 176481 w 315259"/>
                <a:gd name="connsiteY10" fmla="*/ 71964 h 164009"/>
                <a:gd name="connsiteX11" fmla="*/ 156186 w 315259"/>
                <a:gd name="connsiteY11" fmla="*/ 65279 h 164009"/>
                <a:gd name="connsiteX12" fmla="*/ 134998 w 315259"/>
                <a:gd name="connsiteY12" fmla="*/ 54818 h 164009"/>
                <a:gd name="connsiteX13" fmla="*/ 116570 w 315259"/>
                <a:gd name="connsiteY13" fmla="*/ 58160 h 164009"/>
                <a:gd name="connsiteX14" fmla="*/ 92216 w 315259"/>
                <a:gd name="connsiteY14" fmla="*/ 50573 h 164009"/>
                <a:gd name="connsiteX15" fmla="*/ 77604 w 315259"/>
                <a:gd name="connsiteY15" fmla="*/ 43888 h 164009"/>
                <a:gd name="connsiteX16" fmla="*/ 60110 w 315259"/>
                <a:gd name="connsiteY16" fmla="*/ 35900 h 164009"/>
                <a:gd name="connsiteX17" fmla="*/ 52357 w 315259"/>
                <a:gd name="connsiteY17" fmla="*/ 69157 h 164009"/>
                <a:gd name="connsiteX18" fmla="*/ 5314 w 315259"/>
                <a:gd name="connsiteY18" fmla="*/ 71129 h 164009"/>
                <a:gd name="connsiteX19" fmla="*/ -4 w 315259"/>
                <a:gd name="connsiteY19" fmla="*/ 122935 h 164009"/>
                <a:gd name="connsiteX20" fmla="*/ 11240 w 315259"/>
                <a:gd name="connsiteY20" fmla="*/ 138945 h 164009"/>
                <a:gd name="connsiteX21" fmla="*/ 25609 w 315259"/>
                <a:gd name="connsiteY21" fmla="*/ 152849 h 164009"/>
                <a:gd name="connsiteX22" fmla="*/ 43955 w 315259"/>
                <a:gd name="connsiteY22" fmla="*/ 154320 h 164009"/>
                <a:gd name="connsiteX23" fmla="*/ 73748 w 315259"/>
                <a:gd name="connsiteY23" fmla="*/ 154621 h 164009"/>
                <a:gd name="connsiteX24" fmla="*/ 78456 w 315259"/>
                <a:gd name="connsiteY24" fmla="*/ 160102 h 164009"/>
                <a:gd name="connsiteX25" fmla="*/ 94977 w 315259"/>
                <a:gd name="connsiteY25" fmla="*/ 159935 h 164009"/>
                <a:gd name="connsiteX26" fmla="*/ 140031 w 315259"/>
                <a:gd name="connsiteY26" fmla="*/ 154387 h 164009"/>
                <a:gd name="connsiteX27" fmla="*/ 165359 w 315259"/>
                <a:gd name="connsiteY27" fmla="*/ 144360 h 164009"/>
                <a:gd name="connsiteX28" fmla="*/ 180865 w 315259"/>
                <a:gd name="connsiteY28" fmla="*/ 132895 h 164009"/>
                <a:gd name="connsiteX29" fmla="*/ 219709 w 315259"/>
                <a:gd name="connsiteY29" fmla="*/ 129820 h 164009"/>
                <a:gd name="connsiteX30" fmla="*/ 234078 w 315259"/>
                <a:gd name="connsiteY30" fmla="*/ 113777 h 164009"/>
                <a:gd name="connsiteX31" fmla="*/ 290903 w 315259"/>
                <a:gd name="connsiteY31" fmla="*/ 104987 h 164009"/>
                <a:gd name="connsiteX32" fmla="*/ 291837 w 315259"/>
                <a:gd name="connsiteY32" fmla="*/ 86537 h 164009"/>
                <a:gd name="connsiteX33" fmla="*/ 294232 w 315259"/>
                <a:gd name="connsiteY33" fmla="*/ 79852 h 164009"/>
                <a:gd name="connsiteX34" fmla="*/ 305312 w 315259"/>
                <a:gd name="connsiteY34" fmla="*/ 78883 h 164009"/>
                <a:gd name="connsiteX35" fmla="*/ 301903 w 315259"/>
                <a:gd name="connsiteY35" fmla="*/ 70560 h 164009"/>
                <a:gd name="connsiteX36" fmla="*/ 304176 w 315259"/>
                <a:gd name="connsiteY36" fmla="*/ 53848 h 164009"/>
                <a:gd name="connsiteX37" fmla="*/ 313430 w 315259"/>
                <a:gd name="connsiteY37" fmla="*/ 39142 h 164009"/>
                <a:gd name="connsiteX38" fmla="*/ 288062 w 315259"/>
                <a:gd name="connsiteY38" fmla="*/ 20358 h 164009"/>
                <a:gd name="connsiteX39" fmla="*/ 247431 w 315259"/>
                <a:gd name="connsiteY39" fmla="*/ 7523 h 164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5259" h="164009">
                  <a:moveTo>
                    <a:pt x="247431" y="7523"/>
                  </a:moveTo>
                  <a:cubicBezTo>
                    <a:pt x="237325" y="6822"/>
                    <a:pt x="234240" y="-1367"/>
                    <a:pt x="224701" y="471"/>
                  </a:cubicBezTo>
                  <a:cubicBezTo>
                    <a:pt x="217152" y="1942"/>
                    <a:pt x="196288" y="-2303"/>
                    <a:pt x="191418" y="872"/>
                  </a:cubicBezTo>
                  <a:cubicBezTo>
                    <a:pt x="188536" y="2710"/>
                    <a:pt x="190444" y="6621"/>
                    <a:pt x="189470" y="8894"/>
                  </a:cubicBezTo>
                  <a:cubicBezTo>
                    <a:pt x="187927" y="12470"/>
                    <a:pt x="180174" y="13139"/>
                    <a:pt x="180378" y="17417"/>
                  </a:cubicBezTo>
                  <a:cubicBezTo>
                    <a:pt x="180378" y="20057"/>
                    <a:pt x="184437" y="20592"/>
                    <a:pt x="184437" y="23667"/>
                  </a:cubicBezTo>
                  <a:cubicBezTo>
                    <a:pt x="183909" y="26959"/>
                    <a:pt x="182975" y="30198"/>
                    <a:pt x="181595" y="33327"/>
                  </a:cubicBezTo>
                  <a:cubicBezTo>
                    <a:pt x="177536" y="45058"/>
                    <a:pt x="169743" y="50306"/>
                    <a:pt x="179241" y="61436"/>
                  </a:cubicBezTo>
                  <a:cubicBezTo>
                    <a:pt x="185735" y="69090"/>
                    <a:pt x="192635" y="70560"/>
                    <a:pt x="204406" y="66783"/>
                  </a:cubicBezTo>
                  <a:cubicBezTo>
                    <a:pt x="214067" y="63708"/>
                    <a:pt x="210211" y="80153"/>
                    <a:pt x="208465" y="82693"/>
                  </a:cubicBezTo>
                  <a:cubicBezTo>
                    <a:pt x="199130" y="95093"/>
                    <a:pt x="178794" y="80019"/>
                    <a:pt x="176481" y="71964"/>
                  </a:cubicBezTo>
                  <a:cubicBezTo>
                    <a:pt x="174695" y="65580"/>
                    <a:pt x="165197" y="65915"/>
                    <a:pt x="156186" y="65279"/>
                  </a:cubicBezTo>
                  <a:cubicBezTo>
                    <a:pt x="147175" y="64644"/>
                    <a:pt x="144009" y="49370"/>
                    <a:pt x="134998" y="54818"/>
                  </a:cubicBezTo>
                  <a:cubicBezTo>
                    <a:pt x="129153" y="58160"/>
                    <a:pt x="126636" y="60968"/>
                    <a:pt x="116570" y="58160"/>
                  </a:cubicBezTo>
                  <a:cubicBezTo>
                    <a:pt x="111050" y="56523"/>
                    <a:pt x="94530" y="53715"/>
                    <a:pt x="92216" y="50573"/>
                  </a:cubicBezTo>
                  <a:cubicBezTo>
                    <a:pt x="87386" y="44289"/>
                    <a:pt x="92216" y="41348"/>
                    <a:pt x="77604" y="43888"/>
                  </a:cubicBezTo>
                  <a:cubicBezTo>
                    <a:pt x="66036" y="45860"/>
                    <a:pt x="68918" y="39042"/>
                    <a:pt x="60110" y="35900"/>
                  </a:cubicBezTo>
                  <a:cubicBezTo>
                    <a:pt x="57390" y="47040"/>
                    <a:pt x="54833" y="58127"/>
                    <a:pt x="52357" y="69157"/>
                  </a:cubicBezTo>
                  <a:cubicBezTo>
                    <a:pt x="50328" y="77813"/>
                    <a:pt x="13594" y="71563"/>
                    <a:pt x="5314" y="71129"/>
                  </a:cubicBezTo>
                  <a:cubicBezTo>
                    <a:pt x="3528" y="88375"/>
                    <a:pt x="1742" y="105645"/>
                    <a:pt x="-4" y="122935"/>
                  </a:cubicBezTo>
                  <a:cubicBezTo>
                    <a:pt x="-694" y="129620"/>
                    <a:pt x="5111" y="132962"/>
                    <a:pt x="11240" y="138945"/>
                  </a:cubicBezTo>
                  <a:lnTo>
                    <a:pt x="25609" y="152849"/>
                  </a:lnTo>
                  <a:cubicBezTo>
                    <a:pt x="30033" y="157127"/>
                    <a:pt x="36487" y="154721"/>
                    <a:pt x="43955" y="154320"/>
                  </a:cubicBezTo>
                  <a:cubicBezTo>
                    <a:pt x="53291" y="153852"/>
                    <a:pt x="64494" y="152849"/>
                    <a:pt x="73748" y="154621"/>
                  </a:cubicBezTo>
                  <a:cubicBezTo>
                    <a:pt x="77807" y="155423"/>
                    <a:pt x="76549" y="157629"/>
                    <a:pt x="78456" y="160102"/>
                  </a:cubicBezTo>
                  <a:cubicBezTo>
                    <a:pt x="83896" y="159180"/>
                    <a:pt x="89497" y="159123"/>
                    <a:pt x="94977" y="159935"/>
                  </a:cubicBezTo>
                  <a:cubicBezTo>
                    <a:pt x="118925" y="164848"/>
                    <a:pt x="123836" y="166620"/>
                    <a:pt x="140031" y="154387"/>
                  </a:cubicBezTo>
                  <a:cubicBezTo>
                    <a:pt x="147784" y="148538"/>
                    <a:pt x="155171" y="147702"/>
                    <a:pt x="165359" y="144360"/>
                  </a:cubicBezTo>
                  <a:cubicBezTo>
                    <a:pt x="175547" y="141017"/>
                    <a:pt x="175872" y="138176"/>
                    <a:pt x="180865" y="132895"/>
                  </a:cubicBezTo>
                  <a:cubicBezTo>
                    <a:pt x="187359" y="126044"/>
                    <a:pt x="209277" y="129352"/>
                    <a:pt x="219709" y="129820"/>
                  </a:cubicBezTo>
                  <a:cubicBezTo>
                    <a:pt x="215122" y="116083"/>
                    <a:pt x="213661" y="117153"/>
                    <a:pt x="234078" y="113777"/>
                  </a:cubicBezTo>
                  <a:cubicBezTo>
                    <a:pt x="252018" y="110802"/>
                    <a:pt x="272272" y="105454"/>
                    <a:pt x="290903" y="104987"/>
                  </a:cubicBezTo>
                  <a:cubicBezTo>
                    <a:pt x="285789" y="96831"/>
                    <a:pt x="289807" y="94960"/>
                    <a:pt x="291837" y="86537"/>
                  </a:cubicBezTo>
                  <a:cubicBezTo>
                    <a:pt x="292121" y="85300"/>
                    <a:pt x="291837" y="80554"/>
                    <a:pt x="294232" y="79852"/>
                  </a:cubicBezTo>
                  <a:cubicBezTo>
                    <a:pt x="296626" y="79150"/>
                    <a:pt x="304541" y="80287"/>
                    <a:pt x="305312" y="78883"/>
                  </a:cubicBezTo>
                  <a:cubicBezTo>
                    <a:pt x="305800" y="78047"/>
                    <a:pt x="301984" y="71931"/>
                    <a:pt x="301903" y="70560"/>
                  </a:cubicBezTo>
                  <a:cubicBezTo>
                    <a:pt x="301579" y="64925"/>
                    <a:pt x="302349" y="59283"/>
                    <a:pt x="304176" y="53848"/>
                  </a:cubicBezTo>
                  <a:cubicBezTo>
                    <a:pt x="307301" y="44423"/>
                    <a:pt x="319763" y="51275"/>
                    <a:pt x="313430" y="39142"/>
                  </a:cubicBezTo>
                  <a:cubicBezTo>
                    <a:pt x="308195" y="29115"/>
                    <a:pt x="302837" y="25372"/>
                    <a:pt x="288062" y="20358"/>
                  </a:cubicBezTo>
                  <a:cubicBezTo>
                    <a:pt x="277062" y="16381"/>
                    <a:pt x="258919" y="8292"/>
                    <a:pt x="247431" y="752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8050052D-57E6-42AC-A0AD-2DC3A6157F01}"/>
                </a:ext>
              </a:extLst>
            </p:cNvPr>
            <p:cNvSpPr/>
            <p:nvPr/>
          </p:nvSpPr>
          <p:spPr>
            <a:xfrm>
              <a:off x="6601734" y="4884983"/>
              <a:ext cx="53704" cy="26171"/>
            </a:xfrm>
            <a:custGeom>
              <a:avLst/>
              <a:gdLst>
                <a:gd name="connsiteX0" fmla="*/ 46389 w 53704"/>
                <a:gd name="connsiteY0" fmla="*/ -339 h 26171"/>
                <a:gd name="connsiteX1" fmla="*/ 6855 w 53704"/>
                <a:gd name="connsiteY1" fmla="*/ 10925 h 26171"/>
                <a:gd name="connsiteX2" fmla="*/ -45 w 53704"/>
                <a:gd name="connsiteY2" fmla="*/ 18880 h 26171"/>
                <a:gd name="connsiteX3" fmla="*/ 20615 w 53704"/>
                <a:gd name="connsiteY3" fmla="*/ 25832 h 26171"/>
                <a:gd name="connsiteX4" fmla="*/ 28733 w 53704"/>
                <a:gd name="connsiteY4" fmla="*/ 20885 h 26171"/>
                <a:gd name="connsiteX5" fmla="*/ 44684 w 53704"/>
                <a:gd name="connsiteY5" fmla="*/ 21453 h 26171"/>
                <a:gd name="connsiteX6" fmla="*/ 46389 w 53704"/>
                <a:gd name="connsiteY6" fmla="*/ -339 h 26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704" h="26171">
                  <a:moveTo>
                    <a:pt x="46389" y="-339"/>
                  </a:moveTo>
                  <a:cubicBezTo>
                    <a:pt x="32304" y="1098"/>
                    <a:pt x="8884" y="597"/>
                    <a:pt x="6855" y="10925"/>
                  </a:cubicBezTo>
                  <a:cubicBezTo>
                    <a:pt x="6002" y="15270"/>
                    <a:pt x="360" y="14267"/>
                    <a:pt x="-45" y="18880"/>
                  </a:cubicBezTo>
                  <a:cubicBezTo>
                    <a:pt x="-573" y="24829"/>
                    <a:pt x="13795" y="25865"/>
                    <a:pt x="20615" y="25832"/>
                  </a:cubicBezTo>
                  <a:cubicBezTo>
                    <a:pt x="28124" y="25832"/>
                    <a:pt x="25810" y="21587"/>
                    <a:pt x="28733" y="20885"/>
                  </a:cubicBezTo>
                  <a:cubicBezTo>
                    <a:pt x="32467" y="20083"/>
                    <a:pt x="40463" y="21654"/>
                    <a:pt x="44684" y="21453"/>
                  </a:cubicBezTo>
                  <a:cubicBezTo>
                    <a:pt x="61894" y="20618"/>
                    <a:pt x="49596" y="6112"/>
                    <a:pt x="46389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744D8E49-3131-4B03-873D-00129EB9B4D8}"/>
                </a:ext>
              </a:extLst>
            </p:cNvPr>
            <p:cNvSpPr/>
            <p:nvPr/>
          </p:nvSpPr>
          <p:spPr>
            <a:xfrm>
              <a:off x="6942382" y="4705688"/>
              <a:ext cx="327730" cy="214122"/>
            </a:xfrm>
            <a:custGeom>
              <a:avLst/>
              <a:gdLst>
                <a:gd name="connsiteX0" fmla="*/ 93738 w 327730"/>
                <a:gd name="connsiteY0" fmla="*/ 28216 h 214122"/>
                <a:gd name="connsiteX1" fmla="*/ 117199 w 327730"/>
                <a:gd name="connsiteY1" fmla="*/ 42254 h 214122"/>
                <a:gd name="connsiteX2" fmla="*/ 166719 w 327730"/>
                <a:gd name="connsiteY2" fmla="*/ 59233 h 214122"/>
                <a:gd name="connsiteX3" fmla="*/ 204995 w 327730"/>
                <a:gd name="connsiteY3" fmla="*/ 69261 h 214122"/>
                <a:gd name="connsiteX4" fmla="*/ 207552 w 327730"/>
                <a:gd name="connsiteY4" fmla="*/ 76881 h 214122"/>
                <a:gd name="connsiteX5" fmla="*/ 148534 w 327730"/>
                <a:gd name="connsiteY5" fmla="*/ 101982 h 214122"/>
                <a:gd name="connsiteX6" fmla="*/ 126494 w 327730"/>
                <a:gd name="connsiteY6" fmla="*/ 111541 h 214122"/>
                <a:gd name="connsiteX7" fmla="*/ 79816 w 327730"/>
                <a:gd name="connsiteY7" fmla="*/ 111541 h 214122"/>
                <a:gd name="connsiteX8" fmla="*/ 50754 w 327730"/>
                <a:gd name="connsiteY8" fmla="*/ 116889 h 214122"/>
                <a:gd name="connsiteX9" fmla="*/ 22341 w 327730"/>
                <a:gd name="connsiteY9" fmla="*/ 126916 h 214122"/>
                <a:gd name="connsiteX10" fmla="*/ 5618 w 327730"/>
                <a:gd name="connsiteY10" fmla="*/ 146669 h 214122"/>
                <a:gd name="connsiteX11" fmla="*/ 260 w 327730"/>
                <a:gd name="connsiteY11" fmla="*/ 188415 h 214122"/>
                <a:gd name="connsiteX12" fmla="*/ 10610 w 327730"/>
                <a:gd name="connsiteY12" fmla="*/ 213784 h 214122"/>
                <a:gd name="connsiteX13" fmla="*/ 97391 w 327730"/>
                <a:gd name="connsiteY13" fmla="*/ 172807 h 214122"/>
                <a:gd name="connsiteX14" fmla="*/ 171590 w 327730"/>
                <a:gd name="connsiteY14" fmla="*/ 149410 h 214122"/>
                <a:gd name="connsiteX15" fmla="*/ 221150 w 327730"/>
                <a:gd name="connsiteY15" fmla="*/ 124309 h 214122"/>
                <a:gd name="connsiteX16" fmla="*/ 252891 w 327730"/>
                <a:gd name="connsiteY16" fmla="*/ 97570 h 214122"/>
                <a:gd name="connsiteX17" fmla="*/ 311300 w 327730"/>
                <a:gd name="connsiteY17" fmla="*/ 51914 h 214122"/>
                <a:gd name="connsiteX18" fmla="*/ 327536 w 327730"/>
                <a:gd name="connsiteY18" fmla="*/ 19894 h 214122"/>
                <a:gd name="connsiteX19" fmla="*/ 303506 w 327730"/>
                <a:gd name="connsiteY19" fmla="*/ 17922 h 214122"/>
                <a:gd name="connsiteX20" fmla="*/ 199515 w 327730"/>
                <a:gd name="connsiteY20" fmla="*/ 16451 h 214122"/>
                <a:gd name="connsiteX21" fmla="*/ 157626 w 327730"/>
                <a:gd name="connsiteY21" fmla="*/ 17086 h 214122"/>
                <a:gd name="connsiteX22" fmla="*/ 121096 w 327730"/>
                <a:gd name="connsiteY22" fmla="*/ 17086 h 214122"/>
                <a:gd name="connsiteX23" fmla="*/ 86392 w 327730"/>
                <a:gd name="connsiteY23" fmla="*/ 3516 h 214122"/>
                <a:gd name="connsiteX24" fmla="*/ 93941 w 327730"/>
                <a:gd name="connsiteY24" fmla="*/ 28183 h 21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27730" h="214122">
                  <a:moveTo>
                    <a:pt x="93738" y="28216"/>
                  </a:moveTo>
                  <a:cubicBezTo>
                    <a:pt x="103399" y="32327"/>
                    <a:pt x="105915" y="38778"/>
                    <a:pt x="117199" y="42254"/>
                  </a:cubicBezTo>
                  <a:cubicBezTo>
                    <a:pt x="134044" y="47468"/>
                    <a:pt x="150605" y="53150"/>
                    <a:pt x="166719" y="59233"/>
                  </a:cubicBezTo>
                  <a:cubicBezTo>
                    <a:pt x="178855" y="64006"/>
                    <a:pt x="191722" y="67382"/>
                    <a:pt x="204995" y="69261"/>
                  </a:cubicBezTo>
                  <a:cubicBezTo>
                    <a:pt x="219526" y="71099"/>
                    <a:pt x="215629" y="73639"/>
                    <a:pt x="207552" y="76881"/>
                  </a:cubicBezTo>
                  <a:cubicBezTo>
                    <a:pt x="187501" y="84936"/>
                    <a:pt x="167977" y="93593"/>
                    <a:pt x="148534" y="101982"/>
                  </a:cubicBezTo>
                  <a:cubicBezTo>
                    <a:pt x="141512" y="105662"/>
                    <a:pt x="134166" y="108861"/>
                    <a:pt x="126494" y="111541"/>
                  </a:cubicBezTo>
                  <a:cubicBezTo>
                    <a:pt x="112694" y="115352"/>
                    <a:pt x="95281" y="107330"/>
                    <a:pt x="79816" y="111541"/>
                  </a:cubicBezTo>
                  <a:cubicBezTo>
                    <a:pt x="68045" y="114650"/>
                    <a:pt x="63824" y="117023"/>
                    <a:pt x="50754" y="116889"/>
                  </a:cubicBezTo>
                  <a:cubicBezTo>
                    <a:pt x="34518" y="116722"/>
                    <a:pt x="32285" y="120031"/>
                    <a:pt x="22341" y="126916"/>
                  </a:cubicBezTo>
                  <a:cubicBezTo>
                    <a:pt x="12397" y="133801"/>
                    <a:pt x="6795" y="137244"/>
                    <a:pt x="5618" y="146669"/>
                  </a:cubicBezTo>
                  <a:lnTo>
                    <a:pt x="260" y="188415"/>
                  </a:lnTo>
                  <a:cubicBezTo>
                    <a:pt x="-1161" y="199412"/>
                    <a:pt x="2127" y="203122"/>
                    <a:pt x="10610" y="213784"/>
                  </a:cubicBezTo>
                  <a:cubicBezTo>
                    <a:pt x="34964" y="198309"/>
                    <a:pt x="67436" y="184137"/>
                    <a:pt x="97391" y="172807"/>
                  </a:cubicBezTo>
                  <a:cubicBezTo>
                    <a:pt x="121502" y="163649"/>
                    <a:pt x="148047" y="159872"/>
                    <a:pt x="171590" y="149410"/>
                  </a:cubicBezTo>
                  <a:cubicBezTo>
                    <a:pt x="188718" y="141880"/>
                    <a:pt x="205279" y="133497"/>
                    <a:pt x="221150" y="124309"/>
                  </a:cubicBezTo>
                  <a:cubicBezTo>
                    <a:pt x="235600" y="116020"/>
                    <a:pt x="242013" y="107196"/>
                    <a:pt x="252891" y="97570"/>
                  </a:cubicBezTo>
                  <a:cubicBezTo>
                    <a:pt x="268761" y="83599"/>
                    <a:pt x="308743" y="70831"/>
                    <a:pt x="311300" y="51914"/>
                  </a:cubicBezTo>
                  <a:cubicBezTo>
                    <a:pt x="312802" y="40650"/>
                    <a:pt x="329321" y="31860"/>
                    <a:pt x="327536" y="19894"/>
                  </a:cubicBezTo>
                  <a:cubicBezTo>
                    <a:pt x="325749" y="7928"/>
                    <a:pt x="310934" y="16551"/>
                    <a:pt x="303506" y="17922"/>
                  </a:cubicBezTo>
                  <a:cubicBezTo>
                    <a:pt x="270750" y="24606"/>
                    <a:pt x="230445" y="8764"/>
                    <a:pt x="199515" y="16451"/>
                  </a:cubicBezTo>
                  <a:cubicBezTo>
                    <a:pt x="187338" y="19493"/>
                    <a:pt x="166800" y="12474"/>
                    <a:pt x="157626" y="17086"/>
                  </a:cubicBezTo>
                  <a:cubicBezTo>
                    <a:pt x="148453" y="21699"/>
                    <a:pt x="131203" y="20830"/>
                    <a:pt x="121096" y="17086"/>
                  </a:cubicBezTo>
                  <a:cubicBezTo>
                    <a:pt x="104129" y="10903"/>
                    <a:pt x="107133" y="-8516"/>
                    <a:pt x="86392" y="3516"/>
                  </a:cubicBezTo>
                  <a:cubicBezTo>
                    <a:pt x="75839" y="9666"/>
                    <a:pt x="79938" y="22200"/>
                    <a:pt x="93941" y="2818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12120C99-D7F0-48AB-9BE8-6ECDD54C44F3}"/>
                </a:ext>
              </a:extLst>
            </p:cNvPr>
            <p:cNvSpPr/>
            <p:nvPr/>
          </p:nvSpPr>
          <p:spPr>
            <a:xfrm>
              <a:off x="5384867" y="4221478"/>
              <a:ext cx="360714" cy="171476"/>
            </a:xfrm>
            <a:custGeom>
              <a:avLst/>
              <a:gdLst>
                <a:gd name="connsiteX0" fmla="*/ 135835 w 360714"/>
                <a:gd name="connsiteY0" fmla="*/ 167127 h 171476"/>
                <a:gd name="connsiteX1" fmla="*/ 142370 w 360714"/>
                <a:gd name="connsiteY1" fmla="*/ 138750 h 171476"/>
                <a:gd name="connsiteX2" fmla="*/ 184624 w 360714"/>
                <a:gd name="connsiteY2" fmla="*/ 122039 h 171476"/>
                <a:gd name="connsiteX3" fmla="*/ 200860 w 360714"/>
                <a:gd name="connsiteY3" fmla="*/ 116758 h 171476"/>
                <a:gd name="connsiteX4" fmla="*/ 226472 w 360714"/>
                <a:gd name="connsiteY4" fmla="*/ 113616 h 171476"/>
                <a:gd name="connsiteX5" fmla="*/ 242992 w 360714"/>
                <a:gd name="connsiteY5" fmla="*/ 100246 h 171476"/>
                <a:gd name="connsiteX6" fmla="*/ 272298 w 360714"/>
                <a:gd name="connsiteY6" fmla="*/ 93796 h 171476"/>
                <a:gd name="connsiteX7" fmla="*/ 281349 w 360714"/>
                <a:gd name="connsiteY7" fmla="*/ 84437 h 171476"/>
                <a:gd name="connsiteX8" fmla="*/ 290969 w 360714"/>
                <a:gd name="connsiteY8" fmla="*/ 75513 h 171476"/>
                <a:gd name="connsiteX9" fmla="*/ 312076 w 360714"/>
                <a:gd name="connsiteY9" fmla="*/ 67023 h 171476"/>
                <a:gd name="connsiteX10" fmla="*/ 343086 w 360714"/>
                <a:gd name="connsiteY10" fmla="*/ 65419 h 171476"/>
                <a:gd name="connsiteX11" fmla="*/ 351204 w 360714"/>
                <a:gd name="connsiteY11" fmla="*/ 48206 h 171476"/>
                <a:gd name="connsiteX12" fmla="*/ 344466 w 360714"/>
                <a:gd name="connsiteY12" fmla="*/ 35872 h 171476"/>
                <a:gd name="connsiteX13" fmla="*/ 331680 w 360714"/>
                <a:gd name="connsiteY13" fmla="*/ 12476 h 171476"/>
                <a:gd name="connsiteX14" fmla="*/ 264139 w 360714"/>
                <a:gd name="connsiteY14" fmla="*/ 9134 h 171476"/>
                <a:gd name="connsiteX15" fmla="*/ 231667 w 360714"/>
                <a:gd name="connsiteY15" fmla="*/ 2950 h 171476"/>
                <a:gd name="connsiteX16" fmla="*/ 204675 w 360714"/>
                <a:gd name="connsiteY16" fmla="*/ 3518 h 171476"/>
                <a:gd name="connsiteX17" fmla="*/ 180037 w 360714"/>
                <a:gd name="connsiteY17" fmla="*/ 35371 h 171476"/>
                <a:gd name="connsiteX18" fmla="*/ 156333 w 360714"/>
                <a:gd name="connsiteY18" fmla="*/ 47838 h 171476"/>
                <a:gd name="connsiteX19" fmla="*/ 122684 w 360714"/>
                <a:gd name="connsiteY19" fmla="*/ 56395 h 171476"/>
                <a:gd name="connsiteX20" fmla="*/ 91349 w 360714"/>
                <a:gd name="connsiteY20" fmla="*/ 88682 h 171476"/>
                <a:gd name="connsiteX21" fmla="*/ 96747 w 360714"/>
                <a:gd name="connsiteY21" fmla="*/ 118362 h 171476"/>
                <a:gd name="connsiteX22" fmla="*/ 59364 w 360714"/>
                <a:gd name="connsiteY22" fmla="*/ 145101 h 171476"/>
                <a:gd name="connsiteX23" fmla="*/ 39719 w 360714"/>
                <a:gd name="connsiteY23" fmla="*/ 157467 h 171476"/>
                <a:gd name="connsiteX24" fmla="*/ -60 w 360714"/>
                <a:gd name="connsiteY24" fmla="*/ 171138 h 171476"/>
                <a:gd name="connsiteX25" fmla="*/ 86031 w 360714"/>
                <a:gd name="connsiteY25" fmla="*/ 164253 h 171476"/>
                <a:gd name="connsiteX26" fmla="*/ 135754 w 360714"/>
                <a:gd name="connsiteY26" fmla="*/ 167227 h 171476"/>
                <a:gd name="connsiteX27" fmla="*/ 135835 w 360714"/>
                <a:gd name="connsiteY27" fmla="*/ 167127 h 171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0714" h="171476">
                  <a:moveTo>
                    <a:pt x="135835" y="167127"/>
                  </a:moveTo>
                  <a:cubicBezTo>
                    <a:pt x="134292" y="156632"/>
                    <a:pt x="126053" y="146271"/>
                    <a:pt x="142370" y="138750"/>
                  </a:cubicBezTo>
                  <a:cubicBezTo>
                    <a:pt x="153370" y="133703"/>
                    <a:pt x="170499" y="123710"/>
                    <a:pt x="184624" y="122039"/>
                  </a:cubicBezTo>
                  <a:cubicBezTo>
                    <a:pt x="196517" y="120568"/>
                    <a:pt x="193716" y="120902"/>
                    <a:pt x="200860" y="116758"/>
                  </a:cubicBezTo>
                  <a:cubicBezTo>
                    <a:pt x="206339" y="113415"/>
                    <a:pt x="219450" y="114819"/>
                    <a:pt x="226472" y="113616"/>
                  </a:cubicBezTo>
                  <a:cubicBezTo>
                    <a:pt x="242261" y="110908"/>
                    <a:pt x="235442" y="105427"/>
                    <a:pt x="242992" y="100246"/>
                  </a:cubicBezTo>
                  <a:cubicBezTo>
                    <a:pt x="250542" y="95066"/>
                    <a:pt x="265276" y="99578"/>
                    <a:pt x="272298" y="93796"/>
                  </a:cubicBezTo>
                  <a:cubicBezTo>
                    <a:pt x="278021" y="89116"/>
                    <a:pt x="282161" y="91322"/>
                    <a:pt x="281349" y="84437"/>
                  </a:cubicBezTo>
                  <a:cubicBezTo>
                    <a:pt x="280659" y="78320"/>
                    <a:pt x="279929" y="76048"/>
                    <a:pt x="290969" y="75513"/>
                  </a:cubicBezTo>
                  <a:cubicBezTo>
                    <a:pt x="304607" y="74811"/>
                    <a:pt x="303146" y="68628"/>
                    <a:pt x="312076" y="67023"/>
                  </a:cubicBezTo>
                  <a:cubicBezTo>
                    <a:pt x="322345" y="65670"/>
                    <a:pt x="332695" y="65132"/>
                    <a:pt x="343086" y="65419"/>
                  </a:cubicBezTo>
                  <a:cubicBezTo>
                    <a:pt x="363381" y="65218"/>
                    <a:pt x="366100" y="55592"/>
                    <a:pt x="351204" y="48206"/>
                  </a:cubicBezTo>
                  <a:cubicBezTo>
                    <a:pt x="343086" y="44195"/>
                    <a:pt x="343898" y="42658"/>
                    <a:pt x="344466" y="35872"/>
                  </a:cubicBezTo>
                  <a:cubicBezTo>
                    <a:pt x="345319" y="26146"/>
                    <a:pt x="340407" y="20264"/>
                    <a:pt x="331680" y="12476"/>
                  </a:cubicBezTo>
                  <a:cubicBezTo>
                    <a:pt x="321533" y="3051"/>
                    <a:pt x="281795" y="7897"/>
                    <a:pt x="264139" y="9134"/>
                  </a:cubicBezTo>
                  <a:cubicBezTo>
                    <a:pt x="248918" y="10237"/>
                    <a:pt x="242789" y="7630"/>
                    <a:pt x="231667" y="2950"/>
                  </a:cubicBezTo>
                  <a:cubicBezTo>
                    <a:pt x="223549" y="-392"/>
                    <a:pt x="211372" y="-2598"/>
                    <a:pt x="204675" y="3518"/>
                  </a:cubicBezTo>
                  <a:cubicBezTo>
                    <a:pt x="193675" y="13545"/>
                    <a:pt x="189251" y="25043"/>
                    <a:pt x="180037" y="35371"/>
                  </a:cubicBezTo>
                  <a:cubicBezTo>
                    <a:pt x="175045" y="40953"/>
                    <a:pt x="166034" y="44830"/>
                    <a:pt x="156333" y="47838"/>
                  </a:cubicBezTo>
                  <a:cubicBezTo>
                    <a:pt x="146632" y="50846"/>
                    <a:pt x="128650" y="51481"/>
                    <a:pt x="122684" y="56395"/>
                  </a:cubicBezTo>
                  <a:cubicBezTo>
                    <a:pt x="111400" y="66589"/>
                    <a:pt x="100928" y="77375"/>
                    <a:pt x="91349" y="88682"/>
                  </a:cubicBezTo>
                  <a:cubicBezTo>
                    <a:pt x="80917" y="99946"/>
                    <a:pt x="102957" y="108736"/>
                    <a:pt x="96747" y="118362"/>
                  </a:cubicBezTo>
                  <a:cubicBezTo>
                    <a:pt x="89725" y="129458"/>
                    <a:pt x="74057" y="137146"/>
                    <a:pt x="59364" y="145101"/>
                  </a:cubicBezTo>
                  <a:cubicBezTo>
                    <a:pt x="52261" y="148944"/>
                    <a:pt x="47187" y="153791"/>
                    <a:pt x="39719" y="157467"/>
                  </a:cubicBezTo>
                  <a:cubicBezTo>
                    <a:pt x="27542" y="163551"/>
                    <a:pt x="10981" y="163952"/>
                    <a:pt x="-60" y="171138"/>
                  </a:cubicBezTo>
                  <a:cubicBezTo>
                    <a:pt x="28597" y="168688"/>
                    <a:pt x="57294" y="166392"/>
                    <a:pt x="86031" y="164253"/>
                  </a:cubicBezTo>
                  <a:cubicBezTo>
                    <a:pt x="104784" y="162849"/>
                    <a:pt x="124754" y="158470"/>
                    <a:pt x="135754" y="167227"/>
                  </a:cubicBezTo>
                  <a:cubicBezTo>
                    <a:pt x="134374" y="156030"/>
                    <a:pt x="131695" y="163818"/>
                    <a:pt x="135835" y="16712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DC577C4-DD6B-4232-B554-53180B1C8469}"/>
                </a:ext>
              </a:extLst>
            </p:cNvPr>
            <p:cNvSpPr/>
            <p:nvPr/>
          </p:nvSpPr>
          <p:spPr>
            <a:xfrm>
              <a:off x="6013656" y="4177341"/>
              <a:ext cx="130254" cy="136433"/>
            </a:xfrm>
            <a:custGeom>
              <a:avLst/>
              <a:gdLst>
                <a:gd name="connsiteX0" fmla="*/ 31303 w 130254"/>
                <a:gd name="connsiteY0" fmla="*/ 33050 h 136433"/>
                <a:gd name="connsiteX1" fmla="*/ 6381 w 130254"/>
                <a:gd name="connsiteY1" fmla="*/ 61560 h 136433"/>
                <a:gd name="connsiteX2" fmla="*/ 21683 w 130254"/>
                <a:gd name="connsiteY2" fmla="*/ 82550 h 136433"/>
                <a:gd name="connsiteX3" fmla="*/ 29801 w 130254"/>
                <a:gd name="connsiteY3" fmla="*/ 93045 h 136433"/>
                <a:gd name="connsiteX4" fmla="*/ 52369 w 130254"/>
                <a:gd name="connsiteY4" fmla="*/ 101468 h 136433"/>
                <a:gd name="connsiteX5" fmla="*/ 70026 w 130254"/>
                <a:gd name="connsiteY5" fmla="*/ 136095 h 136433"/>
                <a:gd name="connsiteX6" fmla="*/ 87682 w 130254"/>
                <a:gd name="connsiteY6" fmla="*/ 122124 h 136433"/>
                <a:gd name="connsiteX7" fmla="*/ 90929 w 130254"/>
                <a:gd name="connsiteY7" fmla="*/ 108754 h 136433"/>
                <a:gd name="connsiteX8" fmla="*/ 109316 w 130254"/>
                <a:gd name="connsiteY8" fmla="*/ 98727 h 136433"/>
                <a:gd name="connsiteX9" fmla="*/ 126567 w 130254"/>
                <a:gd name="connsiteY9" fmla="*/ 94081 h 136433"/>
                <a:gd name="connsiteX10" fmla="*/ 118449 w 130254"/>
                <a:gd name="connsiteY10" fmla="*/ 76835 h 136433"/>
                <a:gd name="connsiteX11" fmla="*/ 104121 w 130254"/>
                <a:gd name="connsiteY11" fmla="*/ 69080 h 136433"/>
                <a:gd name="connsiteX12" fmla="*/ 81959 w 130254"/>
                <a:gd name="connsiteY12" fmla="*/ 66139 h 136433"/>
                <a:gd name="connsiteX13" fmla="*/ 96368 w 130254"/>
                <a:gd name="connsiteY13" fmla="*/ 54274 h 136433"/>
                <a:gd name="connsiteX14" fmla="*/ 114268 w 130254"/>
                <a:gd name="connsiteY14" fmla="*/ 41840 h 136433"/>
                <a:gd name="connsiteX15" fmla="*/ 99291 w 130254"/>
                <a:gd name="connsiteY15" fmla="*/ 25128 h 136433"/>
                <a:gd name="connsiteX16" fmla="*/ 114755 w 130254"/>
                <a:gd name="connsiteY16" fmla="*/ 9954 h 136433"/>
                <a:gd name="connsiteX17" fmla="*/ 97545 w 130254"/>
                <a:gd name="connsiteY17" fmla="*/ 9386 h 136433"/>
                <a:gd name="connsiteX18" fmla="*/ 82203 w 130254"/>
                <a:gd name="connsiteY18" fmla="*/ 528 h 136433"/>
                <a:gd name="connsiteX19" fmla="*/ 52653 w 130254"/>
                <a:gd name="connsiteY19" fmla="*/ 1999 h 136433"/>
                <a:gd name="connsiteX20" fmla="*/ 29233 w 130254"/>
                <a:gd name="connsiteY20" fmla="*/ 15369 h 136433"/>
                <a:gd name="connsiteX21" fmla="*/ 31262 w 130254"/>
                <a:gd name="connsiteY21" fmla="*/ 33050 h 136433"/>
                <a:gd name="connsiteX22" fmla="*/ 31303 w 130254"/>
                <a:gd name="connsiteY22" fmla="*/ 33050 h 136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0254" h="136433">
                  <a:moveTo>
                    <a:pt x="31303" y="33050"/>
                  </a:moveTo>
                  <a:cubicBezTo>
                    <a:pt x="42506" y="41974"/>
                    <a:pt x="18152" y="56212"/>
                    <a:pt x="6381" y="61560"/>
                  </a:cubicBezTo>
                  <a:cubicBezTo>
                    <a:pt x="-10220" y="69147"/>
                    <a:pt x="9060" y="77102"/>
                    <a:pt x="21683" y="82550"/>
                  </a:cubicBezTo>
                  <a:cubicBezTo>
                    <a:pt x="28786" y="85625"/>
                    <a:pt x="24849" y="90237"/>
                    <a:pt x="29801" y="93045"/>
                  </a:cubicBezTo>
                  <a:cubicBezTo>
                    <a:pt x="36173" y="96655"/>
                    <a:pt x="46727" y="97357"/>
                    <a:pt x="52369" y="101468"/>
                  </a:cubicBezTo>
                  <a:cubicBezTo>
                    <a:pt x="65723" y="111094"/>
                    <a:pt x="57929" y="127271"/>
                    <a:pt x="70026" y="136095"/>
                  </a:cubicBezTo>
                  <a:cubicBezTo>
                    <a:pt x="80011" y="132284"/>
                    <a:pt x="85003" y="128708"/>
                    <a:pt x="87682" y="122124"/>
                  </a:cubicBezTo>
                  <a:cubicBezTo>
                    <a:pt x="89468" y="117812"/>
                    <a:pt x="84069" y="112096"/>
                    <a:pt x="90929" y="108754"/>
                  </a:cubicBezTo>
                  <a:cubicBezTo>
                    <a:pt x="97789" y="105412"/>
                    <a:pt x="103106" y="102069"/>
                    <a:pt x="109316" y="98727"/>
                  </a:cubicBezTo>
                  <a:cubicBezTo>
                    <a:pt x="114187" y="96220"/>
                    <a:pt x="122954" y="96688"/>
                    <a:pt x="126567" y="94081"/>
                  </a:cubicBezTo>
                  <a:cubicBezTo>
                    <a:pt x="136227" y="87229"/>
                    <a:pt x="124172" y="81514"/>
                    <a:pt x="118449" y="76835"/>
                  </a:cubicBezTo>
                  <a:cubicBezTo>
                    <a:pt x="116623" y="75331"/>
                    <a:pt x="111468" y="64234"/>
                    <a:pt x="104121" y="69080"/>
                  </a:cubicBezTo>
                  <a:cubicBezTo>
                    <a:pt x="98600" y="72690"/>
                    <a:pt x="85693" y="69080"/>
                    <a:pt x="81959" y="66139"/>
                  </a:cubicBezTo>
                  <a:cubicBezTo>
                    <a:pt x="73191" y="59454"/>
                    <a:pt x="88291" y="56780"/>
                    <a:pt x="96368" y="54274"/>
                  </a:cubicBezTo>
                  <a:cubicBezTo>
                    <a:pt x="105298" y="51533"/>
                    <a:pt x="112604" y="47589"/>
                    <a:pt x="114268" y="41840"/>
                  </a:cubicBezTo>
                  <a:cubicBezTo>
                    <a:pt x="116866" y="33317"/>
                    <a:pt x="105866" y="31378"/>
                    <a:pt x="99291" y="25128"/>
                  </a:cubicBezTo>
                  <a:cubicBezTo>
                    <a:pt x="92715" y="18878"/>
                    <a:pt x="112442" y="15101"/>
                    <a:pt x="114755" y="9954"/>
                  </a:cubicBezTo>
                  <a:cubicBezTo>
                    <a:pt x="117759" y="3269"/>
                    <a:pt x="100833" y="9653"/>
                    <a:pt x="97545" y="9386"/>
                  </a:cubicBezTo>
                  <a:cubicBezTo>
                    <a:pt x="90361" y="8784"/>
                    <a:pt x="91213" y="1932"/>
                    <a:pt x="82203" y="528"/>
                  </a:cubicBezTo>
                  <a:cubicBezTo>
                    <a:pt x="72339" y="-1006"/>
                    <a:pt x="62192" y="-498"/>
                    <a:pt x="52653" y="1999"/>
                  </a:cubicBezTo>
                  <a:cubicBezTo>
                    <a:pt x="36782" y="6612"/>
                    <a:pt x="31059" y="5141"/>
                    <a:pt x="29233" y="15369"/>
                  </a:cubicBezTo>
                  <a:cubicBezTo>
                    <a:pt x="28299" y="20382"/>
                    <a:pt x="25661" y="28537"/>
                    <a:pt x="31262" y="33050"/>
                  </a:cubicBezTo>
                  <a:cubicBezTo>
                    <a:pt x="38812" y="39033"/>
                    <a:pt x="26310" y="29039"/>
                    <a:pt x="31303" y="330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BBB61C50-7AD8-4412-8C55-BBE2EAD053FB}"/>
                </a:ext>
              </a:extLst>
            </p:cNvPr>
            <p:cNvSpPr/>
            <p:nvPr/>
          </p:nvSpPr>
          <p:spPr>
            <a:xfrm>
              <a:off x="5516142" y="4181838"/>
              <a:ext cx="639650" cy="342371"/>
            </a:xfrm>
            <a:custGeom>
              <a:avLst/>
              <a:gdLst>
                <a:gd name="connsiteX0" fmla="*/ 213394 w 639650"/>
                <a:gd name="connsiteY0" fmla="*/ 71368 h 342371"/>
                <a:gd name="connsiteX1" fmla="*/ 216438 w 639650"/>
                <a:gd name="connsiteY1" fmla="*/ 86810 h 342371"/>
                <a:gd name="connsiteX2" fmla="*/ 229468 w 639650"/>
                <a:gd name="connsiteY2" fmla="*/ 100915 h 342371"/>
                <a:gd name="connsiteX3" fmla="*/ 178203 w 639650"/>
                <a:gd name="connsiteY3" fmla="*/ 107265 h 342371"/>
                <a:gd name="connsiteX4" fmla="*/ 168298 w 639650"/>
                <a:gd name="connsiteY4" fmla="*/ 113950 h 342371"/>
                <a:gd name="connsiteX5" fmla="*/ 151576 w 639650"/>
                <a:gd name="connsiteY5" fmla="*/ 115788 h 342371"/>
                <a:gd name="connsiteX6" fmla="*/ 146705 w 639650"/>
                <a:gd name="connsiteY6" fmla="*/ 130929 h 342371"/>
                <a:gd name="connsiteX7" fmla="*/ 138100 w 639650"/>
                <a:gd name="connsiteY7" fmla="*/ 135374 h 342371"/>
                <a:gd name="connsiteX8" fmla="*/ 121012 w 639650"/>
                <a:gd name="connsiteY8" fmla="*/ 137681 h 342371"/>
                <a:gd name="connsiteX9" fmla="*/ 101691 w 639650"/>
                <a:gd name="connsiteY9" fmla="*/ 151585 h 342371"/>
                <a:gd name="connsiteX10" fmla="*/ 72913 w 639650"/>
                <a:gd name="connsiteY10" fmla="*/ 155362 h 342371"/>
                <a:gd name="connsiteX11" fmla="*/ 67108 w 639650"/>
                <a:gd name="connsiteY11" fmla="*/ 160141 h 342371"/>
                <a:gd name="connsiteX12" fmla="*/ 53348 w 639650"/>
                <a:gd name="connsiteY12" fmla="*/ 161712 h 342371"/>
                <a:gd name="connsiteX13" fmla="*/ 4316 w 639650"/>
                <a:gd name="connsiteY13" fmla="*/ 181766 h 342371"/>
                <a:gd name="connsiteX14" fmla="*/ 12434 w 639650"/>
                <a:gd name="connsiteY14" fmla="*/ 209842 h 342371"/>
                <a:gd name="connsiteX15" fmla="*/ 35935 w 639650"/>
                <a:gd name="connsiteY15" fmla="*/ 216527 h 342371"/>
                <a:gd name="connsiteX16" fmla="*/ 241726 w 639650"/>
                <a:gd name="connsiteY16" fmla="*/ 280032 h 342371"/>
                <a:gd name="connsiteX17" fmla="*/ 309592 w 639650"/>
                <a:gd name="connsiteY17" fmla="*/ 303428 h 342371"/>
                <a:gd name="connsiteX18" fmla="*/ 337436 w 639650"/>
                <a:gd name="connsiteY18" fmla="*/ 319806 h 342371"/>
                <a:gd name="connsiteX19" fmla="*/ 381233 w 639650"/>
                <a:gd name="connsiteY19" fmla="*/ 342033 h 342371"/>
                <a:gd name="connsiteX20" fmla="*/ 461763 w 639650"/>
                <a:gd name="connsiteY20" fmla="*/ 325655 h 342371"/>
                <a:gd name="connsiteX21" fmla="*/ 517290 w 639650"/>
                <a:gd name="connsiteY21" fmla="*/ 299819 h 342371"/>
                <a:gd name="connsiteX22" fmla="*/ 605369 w 639650"/>
                <a:gd name="connsiteY22" fmla="*/ 268100 h 342371"/>
                <a:gd name="connsiteX23" fmla="*/ 637029 w 639650"/>
                <a:gd name="connsiteY23" fmla="*/ 257003 h 342371"/>
                <a:gd name="connsiteX24" fmla="*/ 636826 w 639650"/>
                <a:gd name="connsiteY24" fmla="*/ 251722 h 342371"/>
                <a:gd name="connsiteX25" fmla="*/ 613325 w 639650"/>
                <a:gd name="connsiteY25" fmla="*/ 239890 h 342371"/>
                <a:gd name="connsiteX26" fmla="*/ 583045 w 639650"/>
                <a:gd name="connsiteY26" fmla="*/ 234041 h 342371"/>
                <a:gd name="connsiteX27" fmla="*/ 572126 w 639650"/>
                <a:gd name="connsiteY27" fmla="*/ 214221 h 342371"/>
                <a:gd name="connsiteX28" fmla="*/ 569447 w 639650"/>
                <a:gd name="connsiteY28" fmla="*/ 202456 h 342371"/>
                <a:gd name="connsiteX29" fmla="*/ 571152 w 639650"/>
                <a:gd name="connsiteY29" fmla="*/ 187682 h 342371"/>
                <a:gd name="connsiteX30" fmla="*/ 574277 w 639650"/>
                <a:gd name="connsiteY30" fmla="*/ 168798 h 342371"/>
                <a:gd name="connsiteX31" fmla="*/ 571274 w 639650"/>
                <a:gd name="connsiteY31" fmla="*/ 146705 h 342371"/>
                <a:gd name="connsiteX32" fmla="*/ 563156 w 639650"/>
                <a:gd name="connsiteY32" fmla="*/ 133603 h 342371"/>
                <a:gd name="connsiteX33" fmla="*/ 561329 w 639650"/>
                <a:gd name="connsiteY33" fmla="*/ 114719 h 342371"/>
                <a:gd name="connsiteX34" fmla="*/ 551872 w 639650"/>
                <a:gd name="connsiteY34" fmla="*/ 98675 h 342371"/>
                <a:gd name="connsiteX35" fmla="*/ 527518 w 639650"/>
                <a:gd name="connsiteY35" fmla="*/ 88648 h 342371"/>
                <a:gd name="connsiteX36" fmla="*/ 519400 w 639650"/>
                <a:gd name="connsiteY36" fmla="*/ 78153 h 342371"/>
                <a:gd name="connsiteX37" fmla="*/ 498131 w 639650"/>
                <a:gd name="connsiteY37" fmla="*/ 64784 h 342371"/>
                <a:gd name="connsiteX38" fmla="*/ 527315 w 639650"/>
                <a:gd name="connsiteY38" fmla="*/ 42557 h 342371"/>
                <a:gd name="connsiteX39" fmla="*/ 527315 w 639650"/>
                <a:gd name="connsiteY39" fmla="*/ 26447 h 342371"/>
                <a:gd name="connsiteX40" fmla="*/ 529020 w 639650"/>
                <a:gd name="connsiteY40" fmla="*/ 2014 h 342371"/>
                <a:gd name="connsiteX41" fmla="*/ 481327 w 639650"/>
                <a:gd name="connsiteY41" fmla="*/ 176 h 342371"/>
                <a:gd name="connsiteX42" fmla="*/ 438424 w 639650"/>
                <a:gd name="connsiteY42" fmla="*/ 7128 h 342371"/>
                <a:gd name="connsiteX43" fmla="*/ 412892 w 639650"/>
                <a:gd name="connsiteY43" fmla="*/ 5925 h 342371"/>
                <a:gd name="connsiteX44" fmla="*/ 367108 w 639650"/>
                <a:gd name="connsiteY44" fmla="*/ 8599 h 342371"/>
                <a:gd name="connsiteX45" fmla="*/ 282397 w 639650"/>
                <a:gd name="connsiteY45" fmla="*/ 19929 h 342371"/>
                <a:gd name="connsiteX46" fmla="*/ 251020 w 639650"/>
                <a:gd name="connsiteY46" fmla="*/ 30458 h 342371"/>
                <a:gd name="connsiteX47" fmla="*/ 197807 w 639650"/>
                <a:gd name="connsiteY47" fmla="*/ 49108 h 342371"/>
                <a:gd name="connsiteX48" fmla="*/ 213394 w 639650"/>
                <a:gd name="connsiteY48" fmla="*/ 71368 h 3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39650" h="342371">
                  <a:moveTo>
                    <a:pt x="213394" y="71368"/>
                  </a:moveTo>
                  <a:cubicBezTo>
                    <a:pt x="213394" y="73674"/>
                    <a:pt x="209335" y="86476"/>
                    <a:pt x="216438" y="86810"/>
                  </a:cubicBezTo>
                  <a:cubicBezTo>
                    <a:pt x="224556" y="87178"/>
                    <a:pt x="230685" y="97104"/>
                    <a:pt x="229468" y="100915"/>
                  </a:cubicBezTo>
                  <a:cubicBezTo>
                    <a:pt x="226748" y="109605"/>
                    <a:pt x="188878" y="102786"/>
                    <a:pt x="178203" y="107265"/>
                  </a:cubicBezTo>
                  <a:cubicBezTo>
                    <a:pt x="172277" y="109805"/>
                    <a:pt x="177431" y="111543"/>
                    <a:pt x="168298" y="113950"/>
                  </a:cubicBezTo>
                  <a:cubicBezTo>
                    <a:pt x="164240" y="114953"/>
                    <a:pt x="155107" y="114418"/>
                    <a:pt x="151576" y="115788"/>
                  </a:cubicBezTo>
                  <a:cubicBezTo>
                    <a:pt x="145487" y="118195"/>
                    <a:pt x="155878" y="130461"/>
                    <a:pt x="146705" y="130929"/>
                  </a:cubicBezTo>
                  <a:cubicBezTo>
                    <a:pt x="142240" y="131163"/>
                    <a:pt x="141063" y="134037"/>
                    <a:pt x="138100" y="135374"/>
                  </a:cubicBezTo>
                  <a:cubicBezTo>
                    <a:pt x="133595" y="137413"/>
                    <a:pt x="126207" y="137146"/>
                    <a:pt x="121012" y="137681"/>
                  </a:cubicBezTo>
                  <a:cubicBezTo>
                    <a:pt x="105547" y="139285"/>
                    <a:pt x="113502" y="147206"/>
                    <a:pt x="101691" y="151585"/>
                  </a:cubicBezTo>
                  <a:cubicBezTo>
                    <a:pt x="92761" y="154927"/>
                    <a:pt x="82452" y="153523"/>
                    <a:pt x="72913" y="155362"/>
                  </a:cubicBezTo>
                  <a:cubicBezTo>
                    <a:pt x="66865" y="156498"/>
                    <a:pt x="70721" y="158336"/>
                    <a:pt x="67108" y="160141"/>
                  </a:cubicBezTo>
                  <a:cubicBezTo>
                    <a:pt x="63496" y="161946"/>
                    <a:pt x="57204" y="161244"/>
                    <a:pt x="53348" y="161712"/>
                  </a:cubicBezTo>
                  <a:cubicBezTo>
                    <a:pt x="37518" y="163718"/>
                    <a:pt x="15884" y="175650"/>
                    <a:pt x="4316" y="181766"/>
                  </a:cubicBezTo>
                  <a:cubicBezTo>
                    <a:pt x="-5223" y="186914"/>
                    <a:pt x="2368" y="207235"/>
                    <a:pt x="12434" y="209842"/>
                  </a:cubicBezTo>
                  <a:cubicBezTo>
                    <a:pt x="20552" y="211948"/>
                    <a:pt x="28142" y="214221"/>
                    <a:pt x="35935" y="216527"/>
                  </a:cubicBezTo>
                  <a:cubicBezTo>
                    <a:pt x="105669" y="236581"/>
                    <a:pt x="174266" y="257748"/>
                    <a:pt x="241726" y="280032"/>
                  </a:cubicBezTo>
                  <a:cubicBezTo>
                    <a:pt x="264537" y="287552"/>
                    <a:pt x="287714" y="294905"/>
                    <a:pt x="309592" y="303428"/>
                  </a:cubicBezTo>
                  <a:cubicBezTo>
                    <a:pt x="320632" y="307640"/>
                    <a:pt x="324569" y="318837"/>
                    <a:pt x="337436" y="319806"/>
                  </a:cubicBezTo>
                  <a:cubicBezTo>
                    <a:pt x="361466" y="321577"/>
                    <a:pt x="379974" y="327092"/>
                    <a:pt x="381233" y="342033"/>
                  </a:cubicBezTo>
                  <a:cubicBezTo>
                    <a:pt x="406479" y="338122"/>
                    <a:pt x="441184" y="335615"/>
                    <a:pt x="461763" y="325655"/>
                  </a:cubicBezTo>
                  <a:cubicBezTo>
                    <a:pt x="479866" y="316898"/>
                    <a:pt x="497319" y="307138"/>
                    <a:pt x="517290" y="299819"/>
                  </a:cubicBezTo>
                  <a:cubicBezTo>
                    <a:pt x="546473" y="289080"/>
                    <a:pt x="575820" y="278504"/>
                    <a:pt x="605369" y="268100"/>
                  </a:cubicBezTo>
                  <a:cubicBezTo>
                    <a:pt x="615882" y="264399"/>
                    <a:pt x="626435" y="260703"/>
                    <a:pt x="637029" y="257003"/>
                  </a:cubicBezTo>
                  <a:cubicBezTo>
                    <a:pt x="641088" y="255532"/>
                    <a:pt x="639789" y="257003"/>
                    <a:pt x="636826" y="251722"/>
                  </a:cubicBezTo>
                  <a:cubicBezTo>
                    <a:pt x="631631" y="242731"/>
                    <a:pt x="626557" y="243466"/>
                    <a:pt x="613325" y="239890"/>
                  </a:cubicBezTo>
                  <a:cubicBezTo>
                    <a:pt x="603705" y="237283"/>
                    <a:pt x="590716" y="238887"/>
                    <a:pt x="583045" y="234041"/>
                  </a:cubicBezTo>
                  <a:cubicBezTo>
                    <a:pt x="575373" y="229194"/>
                    <a:pt x="581381" y="220471"/>
                    <a:pt x="572126" y="214221"/>
                  </a:cubicBezTo>
                  <a:cubicBezTo>
                    <a:pt x="565185" y="209575"/>
                    <a:pt x="560315" y="207536"/>
                    <a:pt x="569447" y="202456"/>
                  </a:cubicBezTo>
                  <a:cubicBezTo>
                    <a:pt x="579473" y="197008"/>
                    <a:pt x="574196" y="195102"/>
                    <a:pt x="571152" y="187682"/>
                  </a:cubicBezTo>
                  <a:cubicBezTo>
                    <a:pt x="568108" y="180262"/>
                    <a:pt x="581259" y="176452"/>
                    <a:pt x="574277" y="168798"/>
                  </a:cubicBezTo>
                  <a:cubicBezTo>
                    <a:pt x="568027" y="161913"/>
                    <a:pt x="579473" y="154827"/>
                    <a:pt x="571274" y="146705"/>
                  </a:cubicBezTo>
                  <a:cubicBezTo>
                    <a:pt x="568351" y="143831"/>
                    <a:pt x="556540" y="136845"/>
                    <a:pt x="563156" y="133603"/>
                  </a:cubicBezTo>
                  <a:cubicBezTo>
                    <a:pt x="569772" y="130361"/>
                    <a:pt x="563602" y="119999"/>
                    <a:pt x="561329" y="114719"/>
                  </a:cubicBezTo>
                  <a:cubicBezTo>
                    <a:pt x="559178" y="109007"/>
                    <a:pt x="556012" y="103595"/>
                    <a:pt x="551872" y="98675"/>
                  </a:cubicBezTo>
                  <a:cubicBezTo>
                    <a:pt x="546920" y="93294"/>
                    <a:pt x="534662" y="92726"/>
                    <a:pt x="527518" y="88648"/>
                  </a:cubicBezTo>
                  <a:cubicBezTo>
                    <a:pt x="522566" y="85841"/>
                    <a:pt x="526503" y="81228"/>
                    <a:pt x="519400" y="78153"/>
                  </a:cubicBezTo>
                  <a:cubicBezTo>
                    <a:pt x="509415" y="73842"/>
                    <a:pt x="501865" y="72204"/>
                    <a:pt x="498131" y="64784"/>
                  </a:cubicBezTo>
                  <a:cubicBezTo>
                    <a:pt x="493585" y="55893"/>
                    <a:pt x="519441" y="49910"/>
                    <a:pt x="527315" y="42557"/>
                  </a:cubicBezTo>
                  <a:cubicBezTo>
                    <a:pt x="534013" y="36240"/>
                    <a:pt x="530359" y="32530"/>
                    <a:pt x="527315" y="26447"/>
                  </a:cubicBezTo>
                  <a:cubicBezTo>
                    <a:pt x="523581" y="18826"/>
                    <a:pt x="526990" y="9735"/>
                    <a:pt x="529020" y="2014"/>
                  </a:cubicBezTo>
                  <a:cubicBezTo>
                    <a:pt x="511769" y="2014"/>
                    <a:pt x="498659" y="-1662"/>
                    <a:pt x="481327" y="176"/>
                  </a:cubicBezTo>
                  <a:cubicBezTo>
                    <a:pt x="465944" y="1780"/>
                    <a:pt x="453280" y="4588"/>
                    <a:pt x="438424" y="7128"/>
                  </a:cubicBezTo>
                  <a:cubicBezTo>
                    <a:pt x="428520" y="8799"/>
                    <a:pt x="422472" y="5958"/>
                    <a:pt x="412892" y="5925"/>
                  </a:cubicBezTo>
                  <a:cubicBezTo>
                    <a:pt x="397590" y="6162"/>
                    <a:pt x="382288" y="7055"/>
                    <a:pt x="367108" y="8599"/>
                  </a:cubicBezTo>
                  <a:cubicBezTo>
                    <a:pt x="342104" y="10671"/>
                    <a:pt x="302570" y="10471"/>
                    <a:pt x="282397" y="19929"/>
                  </a:cubicBezTo>
                  <a:cubicBezTo>
                    <a:pt x="270910" y="25311"/>
                    <a:pt x="265552" y="28319"/>
                    <a:pt x="251020" y="30458"/>
                  </a:cubicBezTo>
                  <a:cubicBezTo>
                    <a:pt x="231375" y="33366"/>
                    <a:pt x="215342" y="48139"/>
                    <a:pt x="197807" y="49108"/>
                  </a:cubicBezTo>
                  <a:cubicBezTo>
                    <a:pt x="204748" y="56796"/>
                    <a:pt x="212785" y="61943"/>
                    <a:pt x="213394" y="7136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B7A4FAB3-5FB9-4DFE-81AF-A29E28D44A20}"/>
                </a:ext>
              </a:extLst>
            </p:cNvPr>
            <p:cNvSpPr/>
            <p:nvPr/>
          </p:nvSpPr>
          <p:spPr>
            <a:xfrm>
              <a:off x="6077206" y="4259695"/>
              <a:ext cx="467370" cy="256659"/>
            </a:xfrm>
            <a:custGeom>
              <a:avLst/>
              <a:gdLst>
                <a:gd name="connsiteX0" fmla="*/ 51165 w 467370"/>
                <a:gd name="connsiteY0" fmla="*/ 13866 h 256659"/>
                <a:gd name="connsiteX1" fmla="*/ 24660 w 467370"/>
                <a:gd name="connsiteY1" fmla="*/ 33920 h 256659"/>
                <a:gd name="connsiteX2" fmla="*/ 306 w 467370"/>
                <a:gd name="connsiteY2" fmla="*/ 59356 h 256659"/>
                <a:gd name="connsiteX3" fmla="*/ 15689 w 467370"/>
                <a:gd name="connsiteY3" fmla="*/ 77171 h 256659"/>
                <a:gd name="connsiteX4" fmla="*/ 12970 w 467370"/>
                <a:gd name="connsiteY4" fmla="*/ 84357 h 256659"/>
                <a:gd name="connsiteX5" fmla="*/ 15811 w 467370"/>
                <a:gd name="connsiteY5" fmla="*/ 95721 h 256659"/>
                <a:gd name="connsiteX6" fmla="*/ 10941 w 467370"/>
                <a:gd name="connsiteY6" fmla="*/ 102405 h 256659"/>
                <a:gd name="connsiteX7" fmla="*/ 10941 w 467370"/>
                <a:gd name="connsiteY7" fmla="*/ 113001 h 256659"/>
                <a:gd name="connsiteX8" fmla="*/ 15487 w 467370"/>
                <a:gd name="connsiteY8" fmla="*/ 120788 h 256659"/>
                <a:gd name="connsiteX9" fmla="*/ 4121 w 467370"/>
                <a:gd name="connsiteY9" fmla="*/ 127039 h 256659"/>
                <a:gd name="connsiteX10" fmla="*/ 15852 w 467370"/>
                <a:gd name="connsiteY10" fmla="*/ 139907 h 256659"/>
                <a:gd name="connsiteX11" fmla="*/ 21818 w 467370"/>
                <a:gd name="connsiteY11" fmla="*/ 156050 h 256659"/>
                <a:gd name="connsiteX12" fmla="*/ 72961 w 467370"/>
                <a:gd name="connsiteY12" fmla="*/ 169754 h 256659"/>
                <a:gd name="connsiteX13" fmla="*/ 88304 w 467370"/>
                <a:gd name="connsiteY13" fmla="*/ 178645 h 256659"/>
                <a:gd name="connsiteX14" fmla="*/ 117610 w 467370"/>
                <a:gd name="connsiteY14" fmla="*/ 181987 h 256659"/>
                <a:gd name="connsiteX15" fmla="*/ 152883 w 467370"/>
                <a:gd name="connsiteY15" fmla="*/ 190878 h 256659"/>
                <a:gd name="connsiteX16" fmla="*/ 202037 w 467370"/>
                <a:gd name="connsiteY16" fmla="*/ 182655 h 256659"/>
                <a:gd name="connsiteX17" fmla="*/ 277778 w 467370"/>
                <a:gd name="connsiteY17" fmla="*/ 207690 h 256659"/>
                <a:gd name="connsiteX18" fmla="*/ 417934 w 467370"/>
                <a:gd name="connsiteY18" fmla="*/ 256321 h 256659"/>
                <a:gd name="connsiteX19" fmla="*/ 441801 w 467370"/>
                <a:gd name="connsiteY19" fmla="*/ 248366 h 256659"/>
                <a:gd name="connsiteX20" fmla="*/ 446509 w 467370"/>
                <a:gd name="connsiteY20" fmla="*/ 242517 h 256659"/>
                <a:gd name="connsiteX21" fmla="*/ 450284 w 467370"/>
                <a:gd name="connsiteY21" fmla="*/ 188271 h 256659"/>
                <a:gd name="connsiteX22" fmla="*/ 455195 w 467370"/>
                <a:gd name="connsiteY22" fmla="*/ 117847 h 256659"/>
                <a:gd name="connsiteX23" fmla="*/ 456657 w 467370"/>
                <a:gd name="connsiteY23" fmla="*/ 72625 h 256659"/>
                <a:gd name="connsiteX24" fmla="*/ 459458 w 467370"/>
                <a:gd name="connsiteY24" fmla="*/ 56414 h 256659"/>
                <a:gd name="connsiteX25" fmla="*/ 462299 w 467370"/>
                <a:gd name="connsiteY25" fmla="*/ 39970 h 256659"/>
                <a:gd name="connsiteX26" fmla="*/ 463476 w 467370"/>
                <a:gd name="connsiteY26" fmla="*/ 28539 h 256659"/>
                <a:gd name="connsiteX27" fmla="*/ 425768 w 467370"/>
                <a:gd name="connsiteY27" fmla="*/ 22891 h 256659"/>
                <a:gd name="connsiteX28" fmla="*/ 372190 w 467370"/>
                <a:gd name="connsiteY28" fmla="*/ 7416 h 256659"/>
                <a:gd name="connsiteX29" fmla="*/ 309072 w 467370"/>
                <a:gd name="connsiteY29" fmla="*/ 24729 h 256659"/>
                <a:gd name="connsiteX30" fmla="*/ 315526 w 467370"/>
                <a:gd name="connsiteY30" fmla="*/ 43413 h 256659"/>
                <a:gd name="connsiteX31" fmla="*/ 278995 w 467370"/>
                <a:gd name="connsiteY31" fmla="*/ 50966 h 256659"/>
                <a:gd name="connsiteX32" fmla="*/ 237716 w 467370"/>
                <a:gd name="connsiteY32" fmla="*/ 36728 h 256659"/>
                <a:gd name="connsiteX33" fmla="*/ 191484 w 467370"/>
                <a:gd name="connsiteY33" fmla="*/ 31213 h 256659"/>
                <a:gd name="connsiteX34" fmla="*/ 177602 w 467370"/>
                <a:gd name="connsiteY34" fmla="*/ 17844 h 256659"/>
                <a:gd name="connsiteX35" fmla="*/ 147485 w 467370"/>
                <a:gd name="connsiteY35" fmla="*/ 8819 h 256659"/>
                <a:gd name="connsiteX36" fmla="*/ 109980 w 467370"/>
                <a:gd name="connsiteY36" fmla="*/ 3438 h 256659"/>
                <a:gd name="connsiteX37" fmla="*/ 65331 w 467370"/>
                <a:gd name="connsiteY37" fmla="*/ -339 h 256659"/>
                <a:gd name="connsiteX38" fmla="*/ 51043 w 467370"/>
                <a:gd name="connsiteY38" fmla="*/ 13799 h 25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7370" h="256659">
                  <a:moveTo>
                    <a:pt x="51165" y="13866"/>
                  </a:moveTo>
                  <a:cubicBezTo>
                    <a:pt x="42357" y="15905"/>
                    <a:pt x="19180" y="27904"/>
                    <a:pt x="24660" y="33920"/>
                  </a:cubicBezTo>
                  <a:cubicBezTo>
                    <a:pt x="35295" y="45719"/>
                    <a:pt x="-4240" y="52972"/>
                    <a:pt x="306" y="59356"/>
                  </a:cubicBezTo>
                  <a:cubicBezTo>
                    <a:pt x="4852" y="65740"/>
                    <a:pt x="15446" y="70386"/>
                    <a:pt x="15689" y="77171"/>
                  </a:cubicBezTo>
                  <a:cubicBezTo>
                    <a:pt x="15405" y="79697"/>
                    <a:pt x="14472" y="82147"/>
                    <a:pt x="12970" y="84357"/>
                  </a:cubicBezTo>
                  <a:cubicBezTo>
                    <a:pt x="10494" y="89103"/>
                    <a:pt x="15202" y="91041"/>
                    <a:pt x="15811" y="95721"/>
                  </a:cubicBezTo>
                  <a:cubicBezTo>
                    <a:pt x="15689" y="98488"/>
                    <a:pt x="13863" y="101012"/>
                    <a:pt x="10941" y="102405"/>
                  </a:cubicBezTo>
                  <a:cubicBezTo>
                    <a:pt x="6232" y="105748"/>
                    <a:pt x="10941" y="109592"/>
                    <a:pt x="10941" y="113001"/>
                  </a:cubicBezTo>
                  <a:cubicBezTo>
                    <a:pt x="10941" y="114438"/>
                    <a:pt x="17394" y="119685"/>
                    <a:pt x="15487" y="120788"/>
                  </a:cubicBezTo>
                  <a:cubicBezTo>
                    <a:pt x="11550" y="122667"/>
                    <a:pt x="7734" y="124752"/>
                    <a:pt x="4121" y="127039"/>
                  </a:cubicBezTo>
                  <a:cubicBezTo>
                    <a:pt x="-1480" y="131317"/>
                    <a:pt x="12239" y="136798"/>
                    <a:pt x="15852" y="139907"/>
                  </a:cubicBezTo>
                  <a:cubicBezTo>
                    <a:pt x="21859" y="144954"/>
                    <a:pt x="15081" y="151806"/>
                    <a:pt x="21818" y="156050"/>
                  </a:cubicBezTo>
                  <a:cubicBezTo>
                    <a:pt x="34889" y="164306"/>
                    <a:pt x="64032" y="158022"/>
                    <a:pt x="72961" y="169754"/>
                  </a:cubicBezTo>
                  <a:cubicBezTo>
                    <a:pt x="78360" y="176840"/>
                    <a:pt x="75113" y="178076"/>
                    <a:pt x="88304" y="178645"/>
                  </a:cubicBezTo>
                  <a:cubicBezTo>
                    <a:pt x="98209" y="178835"/>
                    <a:pt x="108031" y="179955"/>
                    <a:pt x="117610" y="181987"/>
                  </a:cubicBezTo>
                  <a:cubicBezTo>
                    <a:pt x="137905" y="187034"/>
                    <a:pt x="132751" y="196794"/>
                    <a:pt x="152883" y="190878"/>
                  </a:cubicBezTo>
                  <a:cubicBezTo>
                    <a:pt x="169768" y="185931"/>
                    <a:pt x="184543" y="176973"/>
                    <a:pt x="202037" y="182655"/>
                  </a:cubicBezTo>
                  <a:cubicBezTo>
                    <a:pt x="227406" y="190878"/>
                    <a:pt x="252652" y="199223"/>
                    <a:pt x="277778" y="207690"/>
                  </a:cubicBezTo>
                  <a:cubicBezTo>
                    <a:pt x="324862" y="223532"/>
                    <a:pt x="371581" y="239743"/>
                    <a:pt x="417934" y="256321"/>
                  </a:cubicBezTo>
                  <a:cubicBezTo>
                    <a:pt x="418665" y="244757"/>
                    <a:pt x="421993" y="247464"/>
                    <a:pt x="441801" y="248366"/>
                  </a:cubicBezTo>
                  <a:cubicBezTo>
                    <a:pt x="448620" y="248700"/>
                    <a:pt x="446306" y="246127"/>
                    <a:pt x="446509" y="242517"/>
                  </a:cubicBezTo>
                  <a:lnTo>
                    <a:pt x="450284" y="188271"/>
                  </a:lnTo>
                  <a:cubicBezTo>
                    <a:pt x="451908" y="164784"/>
                    <a:pt x="453531" y="141310"/>
                    <a:pt x="455195" y="117847"/>
                  </a:cubicBezTo>
                  <a:cubicBezTo>
                    <a:pt x="456210" y="103207"/>
                    <a:pt x="460432" y="87331"/>
                    <a:pt x="456657" y="72625"/>
                  </a:cubicBezTo>
                  <a:cubicBezTo>
                    <a:pt x="455277" y="67210"/>
                    <a:pt x="452070" y="60793"/>
                    <a:pt x="459458" y="56414"/>
                  </a:cubicBezTo>
                  <a:cubicBezTo>
                    <a:pt x="466845" y="52036"/>
                    <a:pt x="460432" y="45485"/>
                    <a:pt x="462299" y="39970"/>
                  </a:cubicBezTo>
                  <a:cubicBezTo>
                    <a:pt x="463638" y="36093"/>
                    <a:pt x="472122" y="31514"/>
                    <a:pt x="463476" y="28539"/>
                  </a:cubicBezTo>
                  <a:cubicBezTo>
                    <a:pt x="452963" y="24896"/>
                    <a:pt x="437417" y="24361"/>
                    <a:pt x="425768" y="22891"/>
                  </a:cubicBezTo>
                  <a:cubicBezTo>
                    <a:pt x="402997" y="20016"/>
                    <a:pt x="398492" y="7482"/>
                    <a:pt x="372190" y="7416"/>
                  </a:cubicBezTo>
                  <a:cubicBezTo>
                    <a:pt x="356238" y="7416"/>
                    <a:pt x="310331" y="12897"/>
                    <a:pt x="309072" y="24729"/>
                  </a:cubicBezTo>
                  <a:cubicBezTo>
                    <a:pt x="308382" y="31146"/>
                    <a:pt x="318408" y="36928"/>
                    <a:pt x="315526" y="43413"/>
                  </a:cubicBezTo>
                  <a:cubicBezTo>
                    <a:pt x="311751" y="51869"/>
                    <a:pt x="291822" y="53440"/>
                    <a:pt x="278995" y="50966"/>
                  </a:cubicBezTo>
                  <a:cubicBezTo>
                    <a:pt x="263774" y="47892"/>
                    <a:pt x="253343" y="40004"/>
                    <a:pt x="237716" y="36728"/>
                  </a:cubicBezTo>
                  <a:cubicBezTo>
                    <a:pt x="222860" y="33620"/>
                    <a:pt x="205528" y="34990"/>
                    <a:pt x="191484" y="31213"/>
                  </a:cubicBezTo>
                  <a:cubicBezTo>
                    <a:pt x="178860" y="27871"/>
                    <a:pt x="179835" y="24161"/>
                    <a:pt x="177602" y="17844"/>
                  </a:cubicBezTo>
                  <a:cubicBezTo>
                    <a:pt x="175370" y="11527"/>
                    <a:pt x="156536" y="10892"/>
                    <a:pt x="147485" y="8819"/>
                  </a:cubicBezTo>
                  <a:cubicBezTo>
                    <a:pt x="135389" y="5454"/>
                    <a:pt x="122725" y="3639"/>
                    <a:pt x="109980" y="3438"/>
                  </a:cubicBezTo>
                  <a:cubicBezTo>
                    <a:pt x="93744" y="3705"/>
                    <a:pt x="80065" y="4842"/>
                    <a:pt x="65331" y="-339"/>
                  </a:cubicBezTo>
                  <a:cubicBezTo>
                    <a:pt x="63423" y="9254"/>
                    <a:pt x="66021" y="10257"/>
                    <a:pt x="51043" y="1379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63DDA609-C939-49C8-BACB-A1C4EDAE5899}"/>
                </a:ext>
              </a:extLst>
            </p:cNvPr>
            <p:cNvSpPr/>
            <p:nvPr/>
          </p:nvSpPr>
          <p:spPr>
            <a:xfrm>
              <a:off x="5313835" y="4644906"/>
              <a:ext cx="83371" cy="18712"/>
            </a:xfrm>
            <a:custGeom>
              <a:avLst/>
              <a:gdLst>
                <a:gd name="connsiteX0" fmla="*/ 40733 w 83371"/>
                <a:gd name="connsiteY0" fmla="*/ 7878 h 18712"/>
                <a:gd name="connsiteX1" fmla="*/ 60297 w 83371"/>
                <a:gd name="connsiteY1" fmla="*/ 9015 h 18712"/>
                <a:gd name="connsiteX2" fmla="*/ 83312 w 83371"/>
                <a:gd name="connsiteY2" fmla="*/ 5038 h 18712"/>
                <a:gd name="connsiteX3" fmla="*/ 50515 w 83371"/>
                <a:gd name="connsiteY3" fmla="*/ 693 h 18712"/>
                <a:gd name="connsiteX4" fmla="*/ 25187 w 83371"/>
                <a:gd name="connsiteY4" fmla="*/ 5004 h 18712"/>
                <a:gd name="connsiteX5" fmla="*/ -60 w 83371"/>
                <a:gd name="connsiteY5" fmla="*/ 18374 h 18712"/>
                <a:gd name="connsiteX6" fmla="*/ 40530 w 83371"/>
                <a:gd name="connsiteY6" fmla="*/ 7979 h 18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371" h="18712">
                  <a:moveTo>
                    <a:pt x="40733" y="7878"/>
                  </a:moveTo>
                  <a:cubicBezTo>
                    <a:pt x="45685" y="4536"/>
                    <a:pt x="55386" y="8213"/>
                    <a:pt x="60297" y="9015"/>
                  </a:cubicBezTo>
                  <a:cubicBezTo>
                    <a:pt x="68293" y="9961"/>
                    <a:pt x="76452" y="8554"/>
                    <a:pt x="83312" y="5038"/>
                  </a:cubicBezTo>
                  <a:cubicBezTo>
                    <a:pt x="69674" y="4302"/>
                    <a:pt x="61880" y="5338"/>
                    <a:pt x="50515" y="693"/>
                  </a:cubicBezTo>
                  <a:cubicBezTo>
                    <a:pt x="42113" y="-2650"/>
                    <a:pt x="33386" y="3032"/>
                    <a:pt x="25187" y="5004"/>
                  </a:cubicBezTo>
                  <a:cubicBezTo>
                    <a:pt x="7409" y="9249"/>
                    <a:pt x="1036" y="4804"/>
                    <a:pt x="-60" y="18374"/>
                  </a:cubicBezTo>
                  <a:cubicBezTo>
                    <a:pt x="12645" y="15031"/>
                    <a:pt x="30951" y="14496"/>
                    <a:pt x="40530" y="797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F77AD2CB-5ED7-4834-95F9-6E9843B907F0}"/>
                </a:ext>
              </a:extLst>
            </p:cNvPr>
            <p:cNvSpPr/>
            <p:nvPr/>
          </p:nvSpPr>
          <p:spPr>
            <a:xfrm>
              <a:off x="5298334" y="4596601"/>
              <a:ext cx="169879" cy="77210"/>
            </a:xfrm>
            <a:custGeom>
              <a:avLst/>
              <a:gdLst>
                <a:gd name="connsiteX0" fmla="*/ 38252 w 169879"/>
                <a:gd name="connsiteY0" fmla="*/ 76839 h 77210"/>
                <a:gd name="connsiteX1" fmla="*/ 57208 w 169879"/>
                <a:gd name="connsiteY1" fmla="*/ 71057 h 77210"/>
                <a:gd name="connsiteX2" fmla="*/ 90248 w 169879"/>
                <a:gd name="connsiteY2" fmla="*/ 66578 h 77210"/>
                <a:gd name="connsiteX3" fmla="*/ 113465 w 169879"/>
                <a:gd name="connsiteY3" fmla="*/ 65308 h 77210"/>
                <a:gd name="connsiteX4" fmla="*/ 141229 w 169879"/>
                <a:gd name="connsiteY4" fmla="*/ 69319 h 77210"/>
                <a:gd name="connsiteX5" fmla="*/ 169641 w 169879"/>
                <a:gd name="connsiteY5" fmla="*/ 56952 h 77210"/>
                <a:gd name="connsiteX6" fmla="*/ 147317 w 169879"/>
                <a:gd name="connsiteY6" fmla="*/ 38335 h 77210"/>
                <a:gd name="connsiteX7" fmla="*/ 138834 w 169879"/>
                <a:gd name="connsiteY7" fmla="*/ 27573 h 77210"/>
                <a:gd name="connsiteX8" fmla="*/ 110015 w 169879"/>
                <a:gd name="connsiteY8" fmla="*/ 14504 h 77210"/>
                <a:gd name="connsiteX9" fmla="*/ 92480 w 169879"/>
                <a:gd name="connsiteY9" fmla="*/ 6349 h 77210"/>
                <a:gd name="connsiteX10" fmla="*/ 60577 w 169879"/>
                <a:gd name="connsiteY10" fmla="*/ 132 h 77210"/>
                <a:gd name="connsiteX11" fmla="*/ 29607 w 169879"/>
                <a:gd name="connsiteY11" fmla="*/ 5279 h 77210"/>
                <a:gd name="connsiteX12" fmla="*/ 6024 w 169879"/>
                <a:gd name="connsiteY12" fmla="*/ 15774 h 77210"/>
                <a:gd name="connsiteX13" fmla="*/ 4238 w 169879"/>
                <a:gd name="connsiteY13" fmla="*/ 45521 h 77210"/>
                <a:gd name="connsiteX14" fmla="*/ 40769 w 169879"/>
                <a:gd name="connsiteY14" fmla="*/ 53309 h 77210"/>
                <a:gd name="connsiteX15" fmla="*/ 73241 w 169879"/>
                <a:gd name="connsiteY15" fmla="*/ 52039 h 77210"/>
                <a:gd name="connsiteX16" fmla="*/ 99015 w 169879"/>
                <a:gd name="connsiteY16" fmla="*/ 53342 h 77210"/>
                <a:gd name="connsiteX17" fmla="*/ 70602 w 169879"/>
                <a:gd name="connsiteY17" fmla="*/ 56217 h 77210"/>
                <a:gd name="connsiteX18" fmla="*/ 41540 w 169879"/>
                <a:gd name="connsiteY18" fmla="*/ 61398 h 77210"/>
                <a:gd name="connsiteX19" fmla="*/ 16537 w 169879"/>
                <a:gd name="connsiteY19" fmla="*/ 70689 h 77210"/>
                <a:gd name="connsiteX20" fmla="*/ 30134 w 169879"/>
                <a:gd name="connsiteY20" fmla="*/ 74633 h 77210"/>
                <a:gd name="connsiteX21" fmla="*/ 38536 w 169879"/>
                <a:gd name="connsiteY21" fmla="*/ 76839 h 77210"/>
                <a:gd name="connsiteX22" fmla="*/ 38252 w 169879"/>
                <a:gd name="connsiteY22" fmla="*/ 76839 h 77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9879" h="77210">
                  <a:moveTo>
                    <a:pt x="38252" y="76839"/>
                  </a:moveTo>
                  <a:cubicBezTo>
                    <a:pt x="45639" y="76572"/>
                    <a:pt x="50429" y="71993"/>
                    <a:pt x="57208" y="71057"/>
                  </a:cubicBezTo>
                  <a:lnTo>
                    <a:pt x="90248" y="66578"/>
                  </a:lnTo>
                  <a:cubicBezTo>
                    <a:pt x="97838" y="65051"/>
                    <a:pt x="105712" y="64620"/>
                    <a:pt x="113465" y="65308"/>
                  </a:cubicBezTo>
                  <a:cubicBezTo>
                    <a:pt x="124302" y="66277"/>
                    <a:pt x="129173" y="69720"/>
                    <a:pt x="141229" y="69319"/>
                  </a:cubicBezTo>
                  <a:cubicBezTo>
                    <a:pt x="159129" y="68751"/>
                    <a:pt x="171468" y="68149"/>
                    <a:pt x="169641" y="56952"/>
                  </a:cubicBezTo>
                  <a:cubicBezTo>
                    <a:pt x="168302" y="48329"/>
                    <a:pt x="149996" y="46758"/>
                    <a:pt x="147317" y="38335"/>
                  </a:cubicBezTo>
                  <a:cubicBezTo>
                    <a:pt x="145856" y="33790"/>
                    <a:pt x="142325" y="31651"/>
                    <a:pt x="138834" y="27573"/>
                  </a:cubicBezTo>
                  <a:cubicBezTo>
                    <a:pt x="132258" y="20153"/>
                    <a:pt x="118782" y="20286"/>
                    <a:pt x="110015" y="14504"/>
                  </a:cubicBezTo>
                  <a:cubicBezTo>
                    <a:pt x="102790" y="9725"/>
                    <a:pt x="104129" y="5346"/>
                    <a:pt x="92480" y="6349"/>
                  </a:cubicBezTo>
                  <a:cubicBezTo>
                    <a:pt x="81481" y="7318"/>
                    <a:pt x="75676" y="-2575"/>
                    <a:pt x="60577" y="132"/>
                  </a:cubicBezTo>
                  <a:cubicBezTo>
                    <a:pt x="50429" y="2522"/>
                    <a:pt x="40079" y="4243"/>
                    <a:pt x="29607" y="5279"/>
                  </a:cubicBezTo>
                  <a:cubicBezTo>
                    <a:pt x="12194" y="6382"/>
                    <a:pt x="19175" y="12633"/>
                    <a:pt x="6024" y="15774"/>
                  </a:cubicBezTo>
                  <a:cubicBezTo>
                    <a:pt x="5497" y="26670"/>
                    <a:pt x="-6153" y="35829"/>
                    <a:pt x="4238" y="45521"/>
                  </a:cubicBezTo>
                  <a:cubicBezTo>
                    <a:pt x="13736" y="54613"/>
                    <a:pt x="21732" y="57821"/>
                    <a:pt x="40769" y="53309"/>
                  </a:cubicBezTo>
                  <a:cubicBezTo>
                    <a:pt x="58101" y="49198"/>
                    <a:pt x="58060" y="46624"/>
                    <a:pt x="73241" y="52039"/>
                  </a:cubicBezTo>
                  <a:cubicBezTo>
                    <a:pt x="80709" y="54679"/>
                    <a:pt x="90532" y="52874"/>
                    <a:pt x="99015" y="53342"/>
                  </a:cubicBezTo>
                  <a:cubicBezTo>
                    <a:pt x="90451" y="57534"/>
                    <a:pt x="80141" y="58573"/>
                    <a:pt x="70602" y="56217"/>
                  </a:cubicBezTo>
                  <a:cubicBezTo>
                    <a:pt x="58182" y="53543"/>
                    <a:pt x="53230" y="58623"/>
                    <a:pt x="41540" y="61398"/>
                  </a:cubicBezTo>
                  <a:cubicBezTo>
                    <a:pt x="33138" y="63403"/>
                    <a:pt x="13127" y="63904"/>
                    <a:pt x="16537" y="70689"/>
                  </a:cubicBezTo>
                  <a:cubicBezTo>
                    <a:pt x="19337" y="76171"/>
                    <a:pt x="22747" y="75335"/>
                    <a:pt x="30134" y="74633"/>
                  </a:cubicBezTo>
                  <a:cubicBezTo>
                    <a:pt x="35167" y="74132"/>
                    <a:pt x="34680" y="76973"/>
                    <a:pt x="38536" y="76839"/>
                  </a:cubicBezTo>
                  <a:cubicBezTo>
                    <a:pt x="43610" y="76639"/>
                    <a:pt x="33584" y="76973"/>
                    <a:pt x="38252" y="768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DFC7F1E2-4B6F-4F37-AE97-2A2B2F90EAC9}"/>
                </a:ext>
              </a:extLst>
            </p:cNvPr>
            <p:cNvSpPr/>
            <p:nvPr/>
          </p:nvSpPr>
          <p:spPr>
            <a:xfrm>
              <a:off x="5321506" y="4662856"/>
              <a:ext cx="78725" cy="30793"/>
            </a:xfrm>
            <a:custGeom>
              <a:avLst/>
              <a:gdLst>
                <a:gd name="connsiteX0" fmla="*/ 45157 w 78725"/>
                <a:gd name="connsiteY0" fmla="*/ 28567 h 30793"/>
                <a:gd name="connsiteX1" fmla="*/ 76249 w 78725"/>
                <a:gd name="connsiteY1" fmla="*/ 13058 h 30793"/>
                <a:gd name="connsiteX2" fmla="*/ 66995 w 78725"/>
                <a:gd name="connsiteY2" fmla="*/ 324 h 30793"/>
                <a:gd name="connsiteX3" fmla="*/ 30748 w 78725"/>
                <a:gd name="connsiteY3" fmla="*/ 5237 h 30793"/>
                <a:gd name="connsiteX4" fmla="*/ 14999 w 78725"/>
                <a:gd name="connsiteY4" fmla="*/ 10585 h 30793"/>
                <a:gd name="connsiteX5" fmla="*/ -60 w 78725"/>
                <a:gd name="connsiteY5" fmla="*/ 9615 h 30793"/>
                <a:gd name="connsiteX6" fmla="*/ 30626 w 78725"/>
                <a:gd name="connsiteY6" fmla="*/ 18907 h 30793"/>
                <a:gd name="connsiteX7" fmla="*/ 45157 w 78725"/>
                <a:gd name="connsiteY7" fmla="*/ 28567 h 30793"/>
                <a:gd name="connsiteX8" fmla="*/ 45157 w 78725"/>
                <a:gd name="connsiteY8" fmla="*/ 28567 h 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725" h="30793">
                  <a:moveTo>
                    <a:pt x="45157" y="28567"/>
                  </a:moveTo>
                  <a:cubicBezTo>
                    <a:pt x="50759" y="25592"/>
                    <a:pt x="78847" y="15197"/>
                    <a:pt x="76249" y="13058"/>
                  </a:cubicBezTo>
                  <a:cubicBezTo>
                    <a:pt x="68131" y="7075"/>
                    <a:pt x="91754" y="-3019"/>
                    <a:pt x="66995" y="324"/>
                  </a:cubicBezTo>
                  <a:cubicBezTo>
                    <a:pt x="55711" y="1828"/>
                    <a:pt x="41423" y="2362"/>
                    <a:pt x="30748" y="5237"/>
                  </a:cubicBezTo>
                  <a:cubicBezTo>
                    <a:pt x="25350" y="6674"/>
                    <a:pt x="21493" y="10351"/>
                    <a:pt x="14999" y="10585"/>
                  </a:cubicBezTo>
                  <a:cubicBezTo>
                    <a:pt x="8505" y="10818"/>
                    <a:pt x="10616" y="6975"/>
                    <a:pt x="-60" y="9615"/>
                  </a:cubicBezTo>
                  <a:cubicBezTo>
                    <a:pt x="10128" y="15464"/>
                    <a:pt x="19626" y="14796"/>
                    <a:pt x="30626" y="18907"/>
                  </a:cubicBezTo>
                  <a:cubicBezTo>
                    <a:pt x="35578" y="20779"/>
                    <a:pt x="32331" y="35619"/>
                    <a:pt x="45157" y="28567"/>
                  </a:cubicBezTo>
                  <a:cubicBezTo>
                    <a:pt x="51246" y="25358"/>
                    <a:pt x="44508" y="28934"/>
                    <a:pt x="45157" y="2856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1C0D64A-5A3A-4A18-A1A3-42E08FFC6BFD}"/>
                </a:ext>
              </a:extLst>
            </p:cNvPr>
            <p:cNvSpPr/>
            <p:nvPr/>
          </p:nvSpPr>
          <p:spPr>
            <a:xfrm>
              <a:off x="6221627" y="4663985"/>
              <a:ext cx="348298" cy="141382"/>
            </a:xfrm>
            <a:custGeom>
              <a:avLst/>
              <a:gdLst>
                <a:gd name="connsiteX0" fmla="*/ 323764 w 348298"/>
                <a:gd name="connsiteY0" fmla="*/ 86731 h 141382"/>
                <a:gd name="connsiteX1" fmla="*/ 307081 w 348298"/>
                <a:gd name="connsiteY1" fmla="*/ 71022 h 141382"/>
                <a:gd name="connsiteX2" fmla="*/ 290845 w 348298"/>
                <a:gd name="connsiteY2" fmla="*/ 57351 h 141382"/>
                <a:gd name="connsiteX3" fmla="*/ 266816 w 348298"/>
                <a:gd name="connsiteY3" fmla="*/ 46321 h 141382"/>
                <a:gd name="connsiteX4" fmla="*/ 257684 w 348298"/>
                <a:gd name="connsiteY4" fmla="*/ 40238 h 141382"/>
                <a:gd name="connsiteX5" fmla="*/ 253625 w 348298"/>
                <a:gd name="connsiteY5" fmla="*/ 22657 h 141382"/>
                <a:gd name="connsiteX6" fmla="*/ 213684 w 348298"/>
                <a:gd name="connsiteY6" fmla="*/ 364 h 141382"/>
                <a:gd name="connsiteX7" fmla="*/ 195013 w 348298"/>
                <a:gd name="connsiteY7" fmla="*/ 12630 h 141382"/>
                <a:gd name="connsiteX8" fmla="*/ 165951 w 348298"/>
                <a:gd name="connsiteY8" fmla="*/ 28808 h 141382"/>
                <a:gd name="connsiteX9" fmla="*/ 133113 w 348298"/>
                <a:gd name="connsiteY9" fmla="*/ 32150 h 141382"/>
                <a:gd name="connsiteX10" fmla="*/ 122723 w 348298"/>
                <a:gd name="connsiteY10" fmla="*/ 41776 h 141382"/>
                <a:gd name="connsiteX11" fmla="*/ 68657 w 348298"/>
                <a:gd name="connsiteY11" fmla="*/ 52471 h 141382"/>
                <a:gd name="connsiteX12" fmla="*/ 49661 w 348298"/>
                <a:gd name="connsiteY12" fmla="*/ 52471 h 141382"/>
                <a:gd name="connsiteX13" fmla="*/ 27864 w 348298"/>
                <a:gd name="connsiteY13" fmla="*/ 55814 h 141382"/>
                <a:gd name="connsiteX14" fmla="*/ 4282 w 348298"/>
                <a:gd name="connsiteY14" fmla="*/ 104512 h 141382"/>
                <a:gd name="connsiteX15" fmla="*/ 43532 w 348298"/>
                <a:gd name="connsiteY15" fmla="*/ 141044 h 141382"/>
                <a:gd name="connsiteX16" fmla="*/ 50960 w 348298"/>
                <a:gd name="connsiteY16" fmla="*/ 127675 h 141382"/>
                <a:gd name="connsiteX17" fmla="*/ 66668 w 348298"/>
                <a:gd name="connsiteY17" fmla="*/ 125067 h 141382"/>
                <a:gd name="connsiteX18" fmla="*/ 103199 w 348298"/>
                <a:gd name="connsiteY18" fmla="*/ 125903 h 141382"/>
                <a:gd name="connsiteX19" fmla="*/ 108760 w 348298"/>
                <a:gd name="connsiteY19" fmla="*/ 110929 h 141382"/>
                <a:gd name="connsiteX20" fmla="*/ 149796 w 348298"/>
                <a:gd name="connsiteY20" fmla="*/ 106651 h 141382"/>
                <a:gd name="connsiteX21" fmla="*/ 208326 w 348298"/>
                <a:gd name="connsiteY21" fmla="*/ 119452 h 141382"/>
                <a:gd name="connsiteX22" fmla="*/ 230529 w 348298"/>
                <a:gd name="connsiteY22" fmla="*/ 108991 h 141382"/>
                <a:gd name="connsiteX23" fmla="*/ 255776 w 348298"/>
                <a:gd name="connsiteY23" fmla="*/ 106618 h 141382"/>
                <a:gd name="connsiteX24" fmla="*/ 288775 w 348298"/>
                <a:gd name="connsiteY24" fmla="*/ 107654 h 141382"/>
                <a:gd name="connsiteX25" fmla="*/ 302048 w 348298"/>
                <a:gd name="connsiteY25" fmla="*/ 102540 h 141382"/>
                <a:gd name="connsiteX26" fmla="*/ 323885 w 348298"/>
                <a:gd name="connsiteY26" fmla="*/ 107019 h 141382"/>
                <a:gd name="connsiteX27" fmla="*/ 348239 w 348298"/>
                <a:gd name="connsiteY27" fmla="*/ 107219 h 141382"/>
                <a:gd name="connsiteX28" fmla="*/ 342069 w 348298"/>
                <a:gd name="connsiteY28" fmla="*/ 96357 h 141382"/>
                <a:gd name="connsiteX29" fmla="*/ 323358 w 348298"/>
                <a:gd name="connsiteY29" fmla="*/ 86931 h 141382"/>
                <a:gd name="connsiteX30" fmla="*/ 323764 w 348298"/>
                <a:gd name="connsiteY30" fmla="*/ 86731 h 14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8298" h="141382">
                  <a:moveTo>
                    <a:pt x="323764" y="86731"/>
                  </a:moveTo>
                  <a:cubicBezTo>
                    <a:pt x="324291" y="79778"/>
                    <a:pt x="315646" y="75199"/>
                    <a:pt x="307081" y="71022"/>
                  </a:cubicBezTo>
                  <a:cubicBezTo>
                    <a:pt x="298517" y="66844"/>
                    <a:pt x="297868" y="62532"/>
                    <a:pt x="290845" y="57351"/>
                  </a:cubicBezTo>
                  <a:cubicBezTo>
                    <a:pt x="283823" y="52171"/>
                    <a:pt x="278019" y="47892"/>
                    <a:pt x="266816" y="46321"/>
                  </a:cubicBezTo>
                  <a:cubicBezTo>
                    <a:pt x="260200" y="45386"/>
                    <a:pt x="263001" y="40940"/>
                    <a:pt x="257684" y="40238"/>
                  </a:cubicBezTo>
                  <a:cubicBezTo>
                    <a:pt x="232437" y="36896"/>
                    <a:pt x="261093" y="33219"/>
                    <a:pt x="253625" y="22657"/>
                  </a:cubicBezTo>
                  <a:cubicBezTo>
                    <a:pt x="247292" y="13667"/>
                    <a:pt x="234101" y="-4081"/>
                    <a:pt x="213684" y="364"/>
                  </a:cubicBezTo>
                  <a:cubicBezTo>
                    <a:pt x="200695" y="3305"/>
                    <a:pt x="202928" y="8352"/>
                    <a:pt x="195013" y="12630"/>
                  </a:cubicBezTo>
                  <a:cubicBezTo>
                    <a:pt x="184947" y="17530"/>
                    <a:pt x="175246" y="22932"/>
                    <a:pt x="165951" y="28808"/>
                  </a:cubicBezTo>
                  <a:cubicBezTo>
                    <a:pt x="158279" y="34122"/>
                    <a:pt x="143505" y="32150"/>
                    <a:pt x="133113" y="32150"/>
                  </a:cubicBezTo>
                  <a:cubicBezTo>
                    <a:pt x="115173" y="31849"/>
                    <a:pt x="129866" y="38534"/>
                    <a:pt x="122723" y="41776"/>
                  </a:cubicBezTo>
                  <a:cubicBezTo>
                    <a:pt x="105675" y="49597"/>
                    <a:pt x="85907" y="46956"/>
                    <a:pt x="68657" y="52471"/>
                  </a:cubicBezTo>
                  <a:cubicBezTo>
                    <a:pt x="58104" y="55814"/>
                    <a:pt x="58794" y="51068"/>
                    <a:pt x="49661" y="52471"/>
                  </a:cubicBezTo>
                  <a:cubicBezTo>
                    <a:pt x="42680" y="53441"/>
                    <a:pt x="35577" y="63234"/>
                    <a:pt x="27864" y="55814"/>
                  </a:cubicBezTo>
                  <a:cubicBezTo>
                    <a:pt x="4485" y="68114"/>
                    <a:pt x="-6921" y="86497"/>
                    <a:pt x="4282" y="104512"/>
                  </a:cubicBezTo>
                  <a:cubicBezTo>
                    <a:pt x="11953" y="116845"/>
                    <a:pt x="22628" y="133891"/>
                    <a:pt x="43532" y="141044"/>
                  </a:cubicBezTo>
                  <a:cubicBezTo>
                    <a:pt x="48078" y="136766"/>
                    <a:pt x="51406" y="133056"/>
                    <a:pt x="50960" y="127675"/>
                  </a:cubicBezTo>
                  <a:cubicBezTo>
                    <a:pt x="50960" y="125769"/>
                    <a:pt x="63542" y="125468"/>
                    <a:pt x="66668" y="125067"/>
                  </a:cubicBezTo>
                  <a:cubicBezTo>
                    <a:pt x="80306" y="123263"/>
                    <a:pt x="89358" y="124332"/>
                    <a:pt x="103199" y="125903"/>
                  </a:cubicBezTo>
                  <a:cubicBezTo>
                    <a:pt x="103199" y="119686"/>
                    <a:pt x="101575" y="115375"/>
                    <a:pt x="108760" y="110929"/>
                  </a:cubicBezTo>
                  <a:cubicBezTo>
                    <a:pt x="120936" y="103442"/>
                    <a:pt x="134778" y="97560"/>
                    <a:pt x="149796" y="106651"/>
                  </a:cubicBezTo>
                  <a:cubicBezTo>
                    <a:pt x="164814" y="115742"/>
                    <a:pt x="187828" y="116277"/>
                    <a:pt x="208326" y="119452"/>
                  </a:cubicBezTo>
                  <a:cubicBezTo>
                    <a:pt x="214496" y="120421"/>
                    <a:pt x="213725" y="106083"/>
                    <a:pt x="230529" y="108991"/>
                  </a:cubicBezTo>
                  <a:cubicBezTo>
                    <a:pt x="240595" y="110695"/>
                    <a:pt x="246400" y="108155"/>
                    <a:pt x="255776" y="106618"/>
                  </a:cubicBezTo>
                  <a:cubicBezTo>
                    <a:pt x="268277" y="104612"/>
                    <a:pt x="276923" y="107553"/>
                    <a:pt x="288775" y="107654"/>
                  </a:cubicBezTo>
                  <a:cubicBezTo>
                    <a:pt x="295107" y="107654"/>
                    <a:pt x="295432" y="102707"/>
                    <a:pt x="302048" y="102540"/>
                  </a:cubicBezTo>
                  <a:cubicBezTo>
                    <a:pt x="309598" y="102821"/>
                    <a:pt x="317026" y="104341"/>
                    <a:pt x="323885" y="107019"/>
                  </a:cubicBezTo>
                  <a:cubicBezTo>
                    <a:pt x="330948" y="109392"/>
                    <a:pt x="340689" y="107587"/>
                    <a:pt x="348239" y="107219"/>
                  </a:cubicBezTo>
                  <a:cubicBezTo>
                    <a:pt x="346494" y="104178"/>
                    <a:pt x="345398" y="98863"/>
                    <a:pt x="342069" y="96357"/>
                  </a:cubicBezTo>
                  <a:cubicBezTo>
                    <a:pt x="338741" y="93850"/>
                    <a:pt x="322992" y="91677"/>
                    <a:pt x="323358" y="86931"/>
                  </a:cubicBezTo>
                  <a:cubicBezTo>
                    <a:pt x="323967" y="83589"/>
                    <a:pt x="323520" y="89872"/>
                    <a:pt x="323764" y="8673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E60F5F2C-9E57-45C9-9BAB-73A2E01439B0}"/>
                </a:ext>
              </a:extLst>
            </p:cNvPr>
            <p:cNvSpPr/>
            <p:nvPr/>
          </p:nvSpPr>
          <p:spPr>
            <a:xfrm>
              <a:off x="5885260" y="4612799"/>
              <a:ext cx="341831" cy="162926"/>
            </a:xfrm>
            <a:custGeom>
              <a:avLst/>
              <a:gdLst>
                <a:gd name="connsiteX0" fmla="*/ 210355 w 341831"/>
                <a:gd name="connsiteY0" fmla="*/ 117663 h 162926"/>
                <a:gd name="connsiteX1" fmla="*/ 231543 w 341831"/>
                <a:gd name="connsiteY1" fmla="*/ 115557 h 162926"/>
                <a:gd name="connsiteX2" fmla="*/ 249484 w 341831"/>
                <a:gd name="connsiteY2" fmla="*/ 126420 h 162926"/>
                <a:gd name="connsiteX3" fmla="*/ 280454 w 341831"/>
                <a:gd name="connsiteY3" fmla="*/ 92562 h 162926"/>
                <a:gd name="connsiteX4" fmla="*/ 294660 w 341831"/>
                <a:gd name="connsiteY4" fmla="*/ 80997 h 162926"/>
                <a:gd name="connsiteX5" fmla="*/ 305132 w 341831"/>
                <a:gd name="connsiteY5" fmla="*/ 60943 h 162926"/>
                <a:gd name="connsiteX6" fmla="*/ 334073 w 341831"/>
                <a:gd name="connsiteY6" fmla="*/ 40354 h 162926"/>
                <a:gd name="connsiteX7" fmla="*/ 332895 w 341831"/>
                <a:gd name="connsiteY7" fmla="*/ 24712 h 162926"/>
                <a:gd name="connsiteX8" fmla="*/ 326523 w 341831"/>
                <a:gd name="connsiteY8" fmla="*/ 17091 h 162926"/>
                <a:gd name="connsiteX9" fmla="*/ 320231 w 341831"/>
                <a:gd name="connsiteY9" fmla="*/ 5794 h 162926"/>
                <a:gd name="connsiteX10" fmla="*/ 299003 w 341831"/>
                <a:gd name="connsiteY10" fmla="*/ 3287 h 162926"/>
                <a:gd name="connsiteX11" fmla="*/ 266531 w 341831"/>
                <a:gd name="connsiteY11" fmla="*/ 8167 h 162926"/>
                <a:gd name="connsiteX12" fmla="*/ 234344 w 341831"/>
                <a:gd name="connsiteY12" fmla="*/ 6262 h 162926"/>
                <a:gd name="connsiteX13" fmla="*/ 218676 w 341831"/>
                <a:gd name="connsiteY13" fmla="*/ 6997 h 162926"/>
                <a:gd name="connsiteX14" fmla="*/ 198137 w 341831"/>
                <a:gd name="connsiteY14" fmla="*/ 15253 h 162926"/>
                <a:gd name="connsiteX15" fmla="*/ 134412 w 341831"/>
                <a:gd name="connsiteY15" fmla="*/ 9972 h 162926"/>
                <a:gd name="connsiteX16" fmla="*/ 111113 w 341831"/>
                <a:gd name="connsiteY16" fmla="*/ 3287 h 162926"/>
                <a:gd name="connsiteX17" fmla="*/ 77099 w 341831"/>
                <a:gd name="connsiteY17" fmla="*/ 1315 h 162926"/>
                <a:gd name="connsiteX18" fmla="*/ 47793 w 341831"/>
                <a:gd name="connsiteY18" fmla="*/ 2953 h 162926"/>
                <a:gd name="connsiteX19" fmla="*/ 37199 w 341831"/>
                <a:gd name="connsiteY19" fmla="*/ 17826 h 162926"/>
                <a:gd name="connsiteX20" fmla="*/ 26889 w 341831"/>
                <a:gd name="connsiteY20" fmla="*/ 55328 h 162926"/>
                <a:gd name="connsiteX21" fmla="*/ 5823 w 341831"/>
                <a:gd name="connsiteY21" fmla="*/ 84172 h 162926"/>
                <a:gd name="connsiteX22" fmla="*/ 15037 w 341831"/>
                <a:gd name="connsiteY22" fmla="*/ 126988 h 162926"/>
                <a:gd name="connsiteX23" fmla="*/ 79981 w 341831"/>
                <a:gd name="connsiteY23" fmla="*/ 143031 h 162926"/>
                <a:gd name="connsiteX24" fmla="*/ 94390 w 341831"/>
                <a:gd name="connsiteY24" fmla="*/ 160545 h 162926"/>
                <a:gd name="connsiteX25" fmla="*/ 127430 w 341831"/>
                <a:gd name="connsiteY25" fmla="*/ 158105 h 162926"/>
                <a:gd name="connsiteX26" fmla="*/ 158238 w 341831"/>
                <a:gd name="connsiteY26" fmla="*/ 156802 h 162926"/>
                <a:gd name="connsiteX27" fmla="*/ 176097 w 341831"/>
                <a:gd name="connsiteY27" fmla="*/ 142162 h 162926"/>
                <a:gd name="connsiteX28" fmla="*/ 204510 w 341831"/>
                <a:gd name="connsiteY28" fmla="*/ 120571 h 162926"/>
                <a:gd name="connsiteX29" fmla="*/ 210314 w 341831"/>
                <a:gd name="connsiteY29" fmla="*/ 117830 h 162926"/>
                <a:gd name="connsiteX30" fmla="*/ 210355 w 341831"/>
                <a:gd name="connsiteY30" fmla="*/ 117663 h 16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1831" h="162926">
                  <a:moveTo>
                    <a:pt x="210355" y="117663"/>
                  </a:moveTo>
                  <a:cubicBezTo>
                    <a:pt x="217336" y="116463"/>
                    <a:pt x="224440" y="115758"/>
                    <a:pt x="231543" y="115557"/>
                  </a:cubicBezTo>
                  <a:cubicBezTo>
                    <a:pt x="238890" y="116025"/>
                    <a:pt x="247779" y="126486"/>
                    <a:pt x="249484" y="126420"/>
                  </a:cubicBezTo>
                  <a:cubicBezTo>
                    <a:pt x="257602" y="126019"/>
                    <a:pt x="278180" y="97274"/>
                    <a:pt x="280454" y="92562"/>
                  </a:cubicBezTo>
                  <a:cubicBezTo>
                    <a:pt x="282402" y="88517"/>
                    <a:pt x="294619" y="84272"/>
                    <a:pt x="294660" y="80997"/>
                  </a:cubicBezTo>
                  <a:cubicBezTo>
                    <a:pt x="294660" y="73510"/>
                    <a:pt x="307527" y="68263"/>
                    <a:pt x="305132" y="60943"/>
                  </a:cubicBezTo>
                  <a:cubicBezTo>
                    <a:pt x="302332" y="52453"/>
                    <a:pt x="323113" y="42393"/>
                    <a:pt x="334073" y="40354"/>
                  </a:cubicBezTo>
                  <a:cubicBezTo>
                    <a:pt x="347954" y="37747"/>
                    <a:pt x="340242" y="27954"/>
                    <a:pt x="332895" y="24712"/>
                  </a:cubicBezTo>
                  <a:cubicBezTo>
                    <a:pt x="328065" y="22573"/>
                    <a:pt x="326117" y="20467"/>
                    <a:pt x="326523" y="17091"/>
                  </a:cubicBezTo>
                  <a:cubicBezTo>
                    <a:pt x="327416" y="9471"/>
                    <a:pt x="325752" y="11810"/>
                    <a:pt x="320231" y="5794"/>
                  </a:cubicBezTo>
                  <a:cubicBezTo>
                    <a:pt x="314711" y="-222"/>
                    <a:pt x="307689" y="-2696"/>
                    <a:pt x="299003" y="3287"/>
                  </a:cubicBezTo>
                  <a:cubicBezTo>
                    <a:pt x="288896" y="10239"/>
                    <a:pt x="281712" y="12345"/>
                    <a:pt x="266531" y="8167"/>
                  </a:cubicBezTo>
                  <a:cubicBezTo>
                    <a:pt x="256100" y="5293"/>
                    <a:pt x="245668" y="6061"/>
                    <a:pt x="234344" y="6262"/>
                  </a:cubicBezTo>
                  <a:cubicBezTo>
                    <a:pt x="229107" y="5881"/>
                    <a:pt x="223831" y="6128"/>
                    <a:pt x="218676" y="6997"/>
                  </a:cubicBezTo>
                  <a:cubicBezTo>
                    <a:pt x="211167" y="9270"/>
                    <a:pt x="206824" y="14350"/>
                    <a:pt x="198137" y="15253"/>
                  </a:cubicBezTo>
                  <a:cubicBezTo>
                    <a:pt x="172850" y="17826"/>
                    <a:pt x="158725" y="4089"/>
                    <a:pt x="134412" y="9972"/>
                  </a:cubicBezTo>
                  <a:cubicBezTo>
                    <a:pt x="117607" y="14050"/>
                    <a:pt x="121261" y="9805"/>
                    <a:pt x="111113" y="3287"/>
                  </a:cubicBezTo>
                  <a:cubicBezTo>
                    <a:pt x="105836" y="-55"/>
                    <a:pt x="82700" y="-1860"/>
                    <a:pt x="77099" y="1315"/>
                  </a:cubicBezTo>
                  <a:cubicBezTo>
                    <a:pt x="69346" y="5694"/>
                    <a:pt x="57494" y="1649"/>
                    <a:pt x="47793" y="2953"/>
                  </a:cubicBezTo>
                  <a:cubicBezTo>
                    <a:pt x="35251" y="4624"/>
                    <a:pt x="43734" y="13916"/>
                    <a:pt x="37199" y="17826"/>
                  </a:cubicBezTo>
                  <a:cubicBezTo>
                    <a:pt x="17838" y="29892"/>
                    <a:pt x="26077" y="40855"/>
                    <a:pt x="26889" y="55328"/>
                  </a:cubicBezTo>
                  <a:cubicBezTo>
                    <a:pt x="27620" y="67995"/>
                    <a:pt x="16295" y="74179"/>
                    <a:pt x="5823" y="84172"/>
                  </a:cubicBezTo>
                  <a:cubicBezTo>
                    <a:pt x="-3391" y="92963"/>
                    <a:pt x="-2822" y="121272"/>
                    <a:pt x="15037" y="126988"/>
                  </a:cubicBezTo>
                  <a:cubicBezTo>
                    <a:pt x="38336" y="134408"/>
                    <a:pt x="63745" y="126754"/>
                    <a:pt x="79981" y="143031"/>
                  </a:cubicBezTo>
                  <a:cubicBezTo>
                    <a:pt x="85947" y="149047"/>
                    <a:pt x="85014" y="155231"/>
                    <a:pt x="94390" y="160545"/>
                  </a:cubicBezTo>
                  <a:cubicBezTo>
                    <a:pt x="104497" y="166227"/>
                    <a:pt x="116268" y="158272"/>
                    <a:pt x="127430" y="158105"/>
                  </a:cubicBezTo>
                  <a:cubicBezTo>
                    <a:pt x="137740" y="158222"/>
                    <a:pt x="148009" y="157788"/>
                    <a:pt x="158238" y="156802"/>
                  </a:cubicBezTo>
                  <a:cubicBezTo>
                    <a:pt x="172241" y="155064"/>
                    <a:pt x="173013" y="150317"/>
                    <a:pt x="176097" y="142162"/>
                  </a:cubicBezTo>
                  <a:cubicBezTo>
                    <a:pt x="179629" y="132837"/>
                    <a:pt x="192942" y="127021"/>
                    <a:pt x="204510" y="120571"/>
                  </a:cubicBezTo>
                  <a:cubicBezTo>
                    <a:pt x="206255" y="119384"/>
                    <a:pt x="208204" y="118458"/>
                    <a:pt x="210314" y="117830"/>
                  </a:cubicBezTo>
                  <a:cubicBezTo>
                    <a:pt x="213927" y="117161"/>
                    <a:pt x="207148" y="118197"/>
                    <a:pt x="210355" y="11766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B8B28EF6-60A5-45BB-9AF0-5C40A8EC00A0}"/>
                </a:ext>
              </a:extLst>
            </p:cNvPr>
            <p:cNvSpPr/>
            <p:nvPr/>
          </p:nvSpPr>
          <p:spPr>
            <a:xfrm>
              <a:off x="5826564" y="4637285"/>
              <a:ext cx="86802" cy="106884"/>
            </a:xfrm>
            <a:custGeom>
              <a:avLst/>
              <a:gdLst>
                <a:gd name="connsiteX0" fmla="*/ 59932 w 86802"/>
                <a:gd name="connsiteY0" fmla="*/ 67674 h 106884"/>
                <a:gd name="connsiteX1" fmla="*/ 83840 w 86802"/>
                <a:gd name="connsiteY1" fmla="*/ 42974 h 106884"/>
                <a:gd name="connsiteX2" fmla="*/ 80999 w 86802"/>
                <a:gd name="connsiteY2" fmla="*/ 9049 h 106884"/>
                <a:gd name="connsiteX3" fmla="*/ 65980 w 86802"/>
                <a:gd name="connsiteY3" fmla="*/ 2632 h 106884"/>
                <a:gd name="connsiteX4" fmla="*/ 51530 w 86802"/>
                <a:gd name="connsiteY4" fmla="*/ 12425 h 106884"/>
                <a:gd name="connsiteX5" fmla="*/ 24660 w 86802"/>
                <a:gd name="connsiteY5" fmla="*/ 19845 h 106884"/>
                <a:gd name="connsiteX6" fmla="*/ -60 w 86802"/>
                <a:gd name="connsiteY6" fmla="*/ 27532 h 106884"/>
                <a:gd name="connsiteX7" fmla="*/ 9560 w 86802"/>
                <a:gd name="connsiteY7" fmla="*/ 40902 h 106884"/>
                <a:gd name="connsiteX8" fmla="*/ 21413 w 86802"/>
                <a:gd name="connsiteY8" fmla="*/ 45314 h 106884"/>
                <a:gd name="connsiteX9" fmla="*/ 22914 w 86802"/>
                <a:gd name="connsiteY9" fmla="*/ 55341 h 106884"/>
                <a:gd name="connsiteX10" fmla="*/ 28760 w 86802"/>
                <a:gd name="connsiteY10" fmla="*/ 77768 h 106884"/>
                <a:gd name="connsiteX11" fmla="*/ 32291 w 86802"/>
                <a:gd name="connsiteY11" fmla="*/ 106546 h 106884"/>
                <a:gd name="connsiteX12" fmla="*/ 70770 w 86802"/>
                <a:gd name="connsiteY12" fmla="*/ 100663 h 106884"/>
                <a:gd name="connsiteX13" fmla="*/ 59932 w 86802"/>
                <a:gd name="connsiteY13" fmla="*/ 67473 h 106884"/>
                <a:gd name="connsiteX14" fmla="*/ 59932 w 86802"/>
                <a:gd name="connsiteY14" fmla="*/ 67674 h 106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802" h="106884">
                  <a:moveTo>
                    <a:pt x="59932" y="67674"/>
                  </a:moveTo>
                  <a:cubicBezTo>
                    <a:pt x="61759" y="57948"/>
                    <a:pt x="78035" y="51731"/>
                    <a:pt x="83840" y="42974"/>
                  </a:cubicBezTo>
                  <a:cubicBezTo>
                    <a:pt x="90456" y="32947"/>
                    <a:pt x="84124" y="19009"/>
                    <a:pt x="80999" y="9049"/>
                  </a:cubicBezTo>
                  <a:cubicBezTo>
                    <a:pt x="70851" y="12926"/>
                    <a:pt x="68822" y="5439"/>
                    <a:pt x="65980" y="2632"/>
                  </a:cubicBezTo>
                  <a:cubicBezTo>
                    <a:pt x="54737" y="-7596"/>
                    <a:pt x="52139" y="11823"/>
                    <a:pt x="51530" y="12425"/>
                  </a:cubicBezTo>
                  <a:cubicBezTo>
                    <a:pt x="46010" y="17773"/>
                    <a:pt x="34117" y="19109"/>
                    <a:pt x="24660" y="19845"/>
                  </a:cubicBezTo>
                  <a:cubicBezTo>
                    <a:pt x="14187" y="20513"/>
                    <a:pt x="10088" y="27566"/>
                    <a:pt x="-60" y="27532"/>
                  </a:cubicBezTo>
                  <a:cubicBezTo>
                    <a:pt x="671" y="32546"/>
                    <a:pt x="1077" y="38495"/>
                    <a:pt x="9560" y="40902"/>
                  </a:cubicBezTo>
                  <a:cubicBezTo>
                    <a:pt x="13619" y="42071"/>
                    <a:pt x="18977" y="42907"/>
                    <a:pt x="21413" y="45314"/>
                  </a:cubicBezTo>
                  <a:cubicBezTo>
                    <a:pt x="24497" y="48355"/>
                    <a:pt x="18409" y="53068"/>
                    <a:pt x="22914" y="55341"/>
                  </a:cubicBezTo>
                  <a:cubicBezTo>
                    <a:pt x="30667" y="59585"/>
                    <a:pt x="27907" y="72052"/>
                    <a:pt x="28760" y="77768"/>
                  </a:cubicBezTo>
                  <a:cubicBezTo>
                    <a:pt x="30261" y="87327"/>
                    <a:pt x="31235" y="96953"/>
                    <a:pt x="32291" y="106546"/>
                  </a:cubicBezTo>
                  <a:cubicBezTo>
                    <a:pt x="36837" y="105844"/>
                    <a:pt x="69796" y="99861"/>
                    <a:pt x="70770" y="100663"/>
                  </a:cubicBezTo>
                  <a:cubicBezTo>
                    <a:pt x="63910" y="89232"/>
                    <a:pt x="57538" y="80341"/>
                    <a:pt x="59932" y="67473"/>
                  </a:cubicBezTo>
                  <a:cubicBezTo>
                    <a:pt x="61515" y="59285"/>
                    <a:pt x="58390" y="76030"/>
                    <a:pt x="59932" y="676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AF454411-77D8-4AFD-93E2-DD8669CB4BAB}"/>
                </a:ext>
              </a:extLst>
            </p:cNvPr>
            <p:cNvSpPr/>
            <p:nvPr/>
          </p:nvSpPr>
          <p:spPr>
            <a:xfrm>
              <a:off x="5800993" y="4663223"/>
              <a:ext cx="57799" cy="87998"/>
            </a:xfrm>
            <a:custGeom>
              <a:avLst/>
              <a:gdLst>
                <a:gd name="connsiteX0" fmla="*/ 48486 w 57799"/>
                <a:gd name="connsiteY0" fmla="*/ 29603 h 87998"/>
                <a:gd name="connsiteX1" fmla="*/ 46984 w 57799"/>
                <a:gd name="connsiteY1" fmla="*/ 19576 h 87998"/>
                <a:gd name="connsiteX2" fmla="*/ 32534 w 57799"/>
                <a:gd name="connsiteY2" fmla="*/ 14261 h 87998"/>
                <a:gd name="connsiteX3" fmla="*/ 26324 w 57799"/>
                <a:gd name="connsiteY3" fmla="*/ 6039 h 87998"/>
                <a:gd name="connsiteX4" fmla="*/ -60 w 57799"/>
                <a:gd name="connsiteY4" fmla="*/ 825 h 87998"/>
                <a:gd name="connsiteX5" fmla="*/ 13619 w 57799"/>
                <a:gd name="connsiteY5" fmla="*/ 17738 h 87998"/>
                <a:gd name="connsiteX6" fmla="*/ 13619 w 57799"/>
                <a:gd name="connsiteY6" fmla="*/ 39129 h 87998"/>
                <a:gd name="connsiteX7" fmla="*/ 24091 w 57799"/>
                <a:gd name="connsiteY7" fmla="*/ 63194 h 87998"/>
                <a:gd name="connsiteX8" fmla="*/ 36268 w 57799"/>
                <a:gd name="connsiteY8" fmla="*/ 87660 h 87998"/>
                <a:gd name="connsiteX9" fmla="*/ 57740 w 57799"/>
                <a:gd name="connsiteY9" fmla="*/ 80975 h 87998"/>
                <a:gd name="connsiteX10" fmla="*/ 55711 w 57799"/>
                <a:gd name="connsiteY10" fmla="*/ 63394 h 87998"/>
                <a:gd name="connsiteX11" fmla="*/ 48364 w 57799"/>
                <a:gd name="connsiteY11" fmla="*/ 29770 h 87998"/>
                <a:gd name="connsiteX12" fmla="*/ 48486 w 57799"/>
                <a:gd name="connsiteY12" fmla="*/ 29603 h 8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799" h="87998">
                  <a:moveTo>
                    <a:pt x="48486" y="29603"/>
                  </a:moveTo>
                  <a:cubicBezTo>
                    <a:pt x="43980" y="27196"/>
                    <a:pt x="50069" y="22484"/>
                    <a:pt x="46984" y="19576"/>
                  </a:cubicBezTo>
                  <a:cubicBezTo>
                    <a:pt x="43899" y="16668"/>
                    <a:pt x="36999" y="16233"/>
                    <a:pt x="32534" y="14261"/>
                  </a:cubicBezTo>
                  <a:cubicBezTo>
                    <a:pt x="28962" y="12530"/>
                    <a:pt x="26608" y="9455"/>
                    <a:pt x="26324" y="6039"/>
                  </a:cubicBezTo>
                  <a:cubicBezTo>
                    <a:pt x="25106" y="1026"/>
                    <a:pt x="9479" y="-2183"/>
                    <a:pt x="-60" y="825"/>
                  </a:cubicBezTo>
                  <a:cubicBezTo>
                    <a:pt x="2376" y="7777"/>
                    <a:pt x="11712" y="11588"/>
                    <a:pt x="13619" y="17738"/>
                  </a:cubicBezTo>
                  <a:cubicBezTo>
                    <a:pt x="15771" y="24623"/>
                    <a:pt x="12604" y="32143"/>
                    <a:pt x="13619" y="39129"/>
                  </a:cubicBezTo>
                  <a:cubicBezTo>
                    <a:pt x="14918" y="47418"/>
                    <a:pt x="22305" y="54838"/>
                    <a:pt x="24091" y="63194"/>
                  </a:cubicBezTo>
                  <a:cubicBezTo>
                    <a:pt x="25431" y="72098"/>
                    <a:pt x="29611" y="80547"/>
                    <a:pt x="36268" y="87660"/>
                  </a:cubicBezTo>
                  <a:cubicBezTo>
                    <a:pt x="43047" y="84661"/>
                    <a:pt x="50272" y="82412"/>
                    <a:pt x="57740" y="80975"/>
                  </a:cubicBezTo>
                  <a:cubicBezTo>
                    <a:pt x="57091" y="75126"/>
                    <a:pt x="56441" y="69243"/>
                    <a:pt x="55711" y="63394"/>
                  </a:cubicBezTo>
                  <a:cubicBezTo>
                    <a:pt x="54737" y="55372"/>
                    <a:pt x="58309" y="35218"/>
                    <a:pt x="48364" y="29770"/>
                  </a:cubicBezTo>
                  <a:cubicBezTo>
                    <a:pt x="43209" y="26762"/>
                    <a:pt x="53722" y="32477"/>
                    <a:pt x="48486" y="2960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954B9DF-2053-4B70-9D64-51A733F31098}"/>
                </a:ext>
              </a:extLst>
            </p:cNvPr>
            <p:cNvSpPr/>
            <p:nvPr/>
          </p:nvSpPr>
          <p:spPr>
            <a:xfrm>
              <a:off x="6057146" y="4623042"/>
              <a:ext cx="208169" cy="196998"/>
            </a:xfrm>
            <a:custGeom>
              <a:avLst/>
              <a:gdLst>
                <a:gd name="connsiteX0" fmla="*/ 85879 w 208169"/>
                <a:gd name="connsiteY0" fmla="*/ 186098 h 196998"/>
                <a:gd name="connsiteX1" fmla="*/ 200625 w 208169"/>
                <a:gd name="connsiteY1" fmla="*/ 196660 h 196998"/>
                <a:gd name="connsiteX2" fmla="*/ 202980 w 208169"/>
                <a:gd name="connsiteY2" fmla="*/ 189307 h 196998"/>
                <a:gd name="connsiteX3" fmla="*/ 205050 w 208169"/>
                <a:gd name="connsiteY3" fmla="*/ 185296 h 196998"/>
                <a:gd name="connsiteX4" fmla="*/ 203183 w 208169"/>
                <a:gd name="connsiteY4" fmla="*/ 178611 h 196998"/>
                <a:gd name="connsiteX5" fmla="*/ 179722 w 208169"/>
                <a:gd name="connsiteY5" fmla="*/ 162334 h 196998"/>
                <a:gd name="connsiteX6" fmla="*/ 179073 w 208169"/>
                <a:gd name="connsiteY6" fmla="*/ 158190 h 196998"/>
                <a:gd name="connsiteX7" fmla="*/ 168763 w 208169"/>
                <a:gd name="connsiteY7" fmla="*/ 145021 h 196998"/>
                <a:gd name="connsiteX8" fmla="*/ 164704 w 208169"/>
                <a:gd name="connsiteY8" fmla="*/ 121190 h 196998"/>
                <a:gd name="connsiteX9" fmla="*/ 192548 w 208169"/>
                <a:gd name="connsiteY9" fmla="*/ 96322 h 196998"/>
                <a:gd name="connsiteX10" fmla="*/ 167058 w 208169"/>
                <a:gd name="connsiteY10" fmla="*/ 72257 h 196998"/>
                <a:gd name="connsiteX11" fmla="*/ 155693 w 208169"/>
                <a:gd name="connsiteY11" fmla="*/ 55546 h 196998"/>
                <a:gd name="connsiteX12" fmla="*/ 192224 w 208169"/>
                <a:gd name="connsiteY12" fmla="*/ 53808 h 196998"/>
                <a:gd name="connsiteX13" fmla="*/ 182076 w 208169"/>
                <a:gd name="connsiteY13" fmla="*/ 42611 h 196998"/>
                <a:gd name="connsiteX14" fmla="*/ 178382 w 208169"/>
                <a:gd name="connsiteY14" fmla="*/ 23827 h 196998"/>
                <a:gd name="connsiteX15" fmla="*/ 156667 w 208169"/>
                <a:gd name="connsiteY15" fmla="*/ -339 h 196998"/>
                <a:gd name="connsiteX16" fmla="*/ 166652 w 208169"/>
                <a:gd name="connsiteY16" fmla="*/ 16039 h 196998"/>
                <a:gd name="connsiteX17" fmla="*/ 157885 w 208169"/>
                <a:gd name="connsiteY17" fmla="*/ 30545 h 196998"/>
                <a:gd name="connsiteX18" fmla="*/ 133531 w 208169"/>
                <a:gd name="connsiteY18" fmla="*/ 53172 h 196998"/>
                <a:gd name="connsiteX19" fmla="*/ 123180 w 208169"/>
                <a:gd name="connsiteY19" fmla="*/ 70586 h 196998"/>
                <a:gd name="connsiteX20" fmla="*/ 108974 w 208169"/>
                <a:gd name="connsiteY20" fmla="*/ 82151 h 196998"/>
                <a:gd name="connsiteX21" fmla="*/ 78004 w 208169"/>
                <a:gd name="connsiteY21" fmla="*/ 116009 h 196998"/>
                <a:gd name="connsiteX22" fmla="*/ 69886 w 208169"/>
                <a:gd name="connsiteY22" fmla="*/ 108355 h 196998"/>
                <a:gd name="connsiteX23" fmla="*/ 49591 w 208169"/>
                <a:gd name="connsiteY23" fmla="*/ 107118 h 196998"/>
                <a:gd name="connsiteX24" fmla="*/ 23086 w 208169"/>
                <a:gd name="connsiteY24" fmla="*/ 115775 h 196998"/>
                <a:gd name="connsiteX25" fmla="*/ 6120 w 208169"/>
                <a:gd name="connsiteY25" fmla="*/ 126738 h 196998"/>
                <a:gd name="connsiteX26" fmla="*/ 883 w 208169"/>
                <a:gd name="connsiteY26" fmla="*/ 139673 h 196998"/>
                <a:gd name="connsiteX27" fmla="*/ 10179 w 208169"/>
                <a:gd name="connsiteY27" fmla="*/ 153778 h 196998"/>
                <a:gd name="connsiteX28" fmla="*/ 38591 w 208169"/>
                <a:gd name="connsiteY28" fmla="*/ 164072 h 196998"/>
                <a:gd name="connsiteX29" fmla="*/ 35020 w 208169"/>
                <a:gd name="connsiteY29" fmla="*/ 188204 h 196998"/>
                <a:gd name="connsiteX30" fmla="*/ 85879 w 208169"/>
                <a:gd name="connsiteY30" fmla="*/ 186098 h 19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8169" h="196998">
                  <a:moveTo>
                    <a:pt x="85879" y="186098"/>
                  </a:moveTo>
                  <a:cubicBezTo>
                    <a:pt x="126143" y="187468"/>
                    <a:pt x="164095" y="185095"/>
                    <a:pt x="200625" y="196660"/>
                  </a:cubicBezTo>
                  <a:cubicBezTo>
                    <a:pt x="201153" y="194157"/>
                    <a:pt x="201925" y="191697"/>
                    <a:pt x="202980" y="189307"/>
                  </a:cubicBezTo>
                  <a:lnTo>
                    <a:pt x="205050" y="185296"/>
                  </a:lnTo>
                  <a:cubicBezTo>
                    <a:pt x="209637" y="182555"/>
                    <a:pt x="209109" y="180349"/>
                    <a:pt x="203183" y="178611"/>
                  </a:cubicBezTo>
                  <a:cubicBezTo>
                    <a:pt x="200625" y="172796"/>
                    <a:pt x="184917" y="167949"/>
                    <a:pt x="179722" y="162334"/>
                  </a:cubicBezTo>
                  <a:cubicBezTo>
                    <a:pt x="178586" y="161097"/>
                    <a:pt x="179316" y="159560"/>
                    <a:pt x="179073" y="158190"/>
                  </a:cubicBezTo>
                  <a:cubicBezTo>
                    <a:pt x="178139" y="152975"/>
                    <a:pt x="171685" y="149700"/>
                    <a:pt x="168763" y="145021"/>
                  </a:cubicBezTo>
                  <a:cubicBezTo>
                    <a:pt x="165840" y="140341"/>
                    <a:pt x="160929" y="125835"/>
                    <a:pt x="164704" y="121190"/>
                  </a:cubicBezTo>
                  <a:cubicBezTo>
                    <a:pt x="171685" y="111330"/>
                    <a:pt x="181183" y="102843"/>
                    <a:pt x="192548" y="96322"/>
                  </a:cubicBezTo>
                  <a:cubicBezTo>
                    <a:pt x="182685" y="86897"/>
                    <a:pt x="182401" y="79611"/>
                    <a:pt x="167058" y="72257"/>
                  </a:cubicBezTo>
                  <a:cubicBezTo>
                    <a:pt x="163364" y="70453"/>
                    <a:pt x="144003" y="59122"/>
                    <a:pt x="155693" y="55546"/>
                  </a:cubicBezTo>
                  <a:cubicBezTo>
                    <a:pt x="161335" y="53808"/>
                    <a:pt x="190965" y="57250"/>
                    <a:pt x="192224" y="53808"/>
                  </a:cubicBezTo>
                  <a:cubicBezTo>
                    <a:pt x="192548" y="52905"/>
                    <a:pt x="182928" y="44182"/>
                    <a:pt x="182076" y="42611"/>
                  </a:cubicBezTo>
                  <a:cubicBezTo>
                    <a:pt x="178788" y="36294"/>
                    <a:pt x="180858" y="30077"/>
                    <a:pt x="178382" y="23827"/>
                  </a:cubicBezTo>
                  <a:cubicBezTo>
                    <a:pt x="175135" y="15671"/>
                    <a:pt x="175460" y="1332"/>
                    <a:pt x="156667" y="-339"/>
                  </a:cubicBezTo>
                  <a:cubicBezTo>
                    <a:pt x="153826" y="6346"/>
                    <a:pt x="153258" y="13231"/>
                    <a:pt x="166652" y="16039"/>
                  </a:cubicBezTo>
                  <a:cubicBezTo>
                    <a:pt x="178220" y="18412"/>
                    <a:pt x="166003" y="29609"/>
                    <a:pt x="157885" y="30545"/>
                  </a:cubicBezTo>
                  <a:cubicBezTo>
                    <a:pt x="143678" y="32183"/>
                    <a:pt x="135317" y="45753"/>
                    <a:pt x="133531" y="53172"/>
                  </a:cubicBezTo>
                  <a:cubicBezTo>
                    <a:pt x="131745" y="60593"/>
                    <a:pt x="123262" y="62966"/>
                    <a:pt x="123180" y="70586"/>
                  </a:cubicBezTo>
                  <a:cubicBezTo>
                    <a:pt x="123180" y="73929"/>
                    <a:pt x="111003" y="78107"/>
                    <a:pt x="108974" y="82151"/>
                  </a:cubicBezTo>
                  <a:cubicBezTo>
                    <a:pt x="106701" y="86864"/>
                    <a:pt x="86284" y="115574"/>
                    <a:pt x="78004" y="116009"/>
                  </a:cubicBezTo>
                  <a:cubicBezTo>
                    <a:pt x="77517" y="116009"/>
                    <a:pt x="70941" y="108890"/>
                    <a:pt x="69886" y="108355"/>
                  </a:cubicBezTo>
                  <a:cubicBezTo>
                    <a:pt x="61525" y="103642"/>
                    <a:pt x="58724" y="106383"/>
                    <a:pt x="49591" y="107118"/>
                  </a:cubicBezTo>
                  <a:cubicBezTo>
                    <a:pt x="35872" y="108221"/>
                    <a:pt x="33355" y="109625"/>
                    <a:pt x="23086" y="115775"/>
                  </a:cubicBezTo>
                  <a:cubicBezTo>
                    <a:pt x="19027" y="118215"/>
                    <a:pt x="7134" y="123161"/>
                    <a:pt x="6120" y="126738"/>
                  </a:cubicBezTo>
                  <a:cubicBezTo>
                    <a:pt x="4821" y="131163"/>
                    <a:pt x="3075" y="135492"/>
                    <a:pt x="883" y="139673"/>
                  </a:cubicBezTo>
                  <a:cubicBezTo>
                    <a:pt x="-2445" y="146123"/>
                    <a:pt x="3603" y="148263"/>
                    <a:pt x="10179" y="153778"/>
                  </a:cubicBezTo>
                  <a:cubicBezTo>
                    <a:pt x="19636" y="161799"/>
                    <a:pt x="32503" y="151271"/>
                    <a:pt x="38591" y="164072"/>
                  </a:cubicBezTo>
                  <a:cubicBezTo>
                    <a:pt x="42245" y="172060"/>
                    <a:pt x="29661" y="181653"/>
                    <a:pt x="35020" y="188204"/>
                  </a:cubicBezTo>
                  <a:cubicBezTo>
                    <a:pt x="41189" y="192348"/>
                    <a:pt x="76421" y="187803"/>
                    <a:pt x="85879" y="18609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96F1731D-1806-42EA-BB16-9ECBFE175099}"/>
                </a:ext>
              </a:extLst>
            </p:cNvPr>
            <p:cNvSpPr/>
            <p:nvPr/>
          </p:nvSpPr>
          <p:spPr>
            <a:xfrm>
              <a:off x="5565001" y="4681453"/>
              <a:ext cx="170453" cy="108306"/>
            </a:xfrm>
            <a:custGeom>
              <a:avLst/>
              <a:gdLst>
                <a:gd name="connsiteX0" fmla="*/ 163804 w 170453"/>
                <a:gd name="connsiteY0" fmla="*/ 82566 h 108306"/>
                <a:gd name="connsiteX1" fmla="*/ 168391 w 170453"/>
                <a:gd name="connsiteY1" fmla="*/ 38112 h 108306"/>
                <a:gd name="connsiteX2" fmla="*/ 160801 w 170453"/>
                <a:gd name="connsiteY2" fmla="*/ 12911 h 108306"/>
                <a:gd name="connsiteX3" fmla="*/ 122606 w 170453"/>
                <a:gd name="connsiteY3" fmla="*/ 10137 h 108306"/>
                <a:gd name="connsiteX4" fmla="*/ 92529 w 170453"/>
                <a:gd name="connsiteY4" fmla="*/ 6594 h 108306"/>
                <a:gd name="connsiteX5" fmla="*/ 59732 w 170453"/>
                <a:gd name="connsiteY5" fmla="*/ 4655 h 108306"/>
                <a:gd name="connsiteX6" fmla="*/ 37976 w 170453"/>
                <a:gd name="connsiteY6" fmla="*/ 9201 h 108306"/>
                <a:gd name="connsiteX7" fmla="*/ 21537 w 170453"/>
                <a:gd name="connsiteY7" fmla="*/ 5859 h 108306"/>
                <a:gd name="connsiteX8" fmla="*/ 4774 w 170453"/>
                <a:gd name="connsiteY8" fmla="*/ 9936 h 108306"/>
                <a:gd name="connsiteX9" fmla="*/ 17478 w 170453"/>
                <a:gd name="connsiteY9" fmla="*/ 37110 h 108306"/>
                <a:gd name="connsiteX10" fmla="*/ 7493 w 170453"/>
                <a:gd name="connsiteY10" fmla="*/ 41756 h 108306"/>
                <a:gd name="connsiteX11" fmla="*/ 5504 w 170453"/>
                <a:gd name="connsiteY11" fmla="*/ 55426 h 108306"/>
                <a:gd name="connsiteX12" fmla="*/ 2176 w 170453"/>
                <a:gd name="connsiteY12" fmla="*/ 70868 h 108306"/>
                <a:gd name="connsiteX13" fmla="*/ 9158 w 170453"/>
                <a:gd name="connsiteY13" fmla="*/ 80226 h 108306"/>
                <a:gd name="connsiteX14" fmla="*/ 31685 w 170453"/>
                <a:gd name="connsiteY14" fmla="*/ 88950 h 108306"/>
                <a:gd name="connsiteX15" fmla="*/ 25677 w 170453"/>
                <a:gd name="connsiteY15" fmla="*/ 107968 h 108306"/>
                <a:gd name="connsiteX16" fmla="*/ 82828 w 170453"/>
                <a:gd name="connsiteY16" fmla="*/ 96737 h 108306"/>
                <a:gd name="connsiteX17" fmla="*/ 164008 w 170453"/>
                <a:gd name="connsiteY17" fmla="*/ 91055 h 108306"/>
                <a:gd name="connsiteX18" fmla="*/ 164008 w 170453"/>
                <a:gd name="connsiteY18" fmla="*/ 82666 h 10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0453" h="108306">
                  <a:moveTo>
                    <a:pt x="163804" y="82566"/>
                  </a:moveTo>
                  <a:cubicBezTo>
                    <a:pt x="144159" y="68695"/>
                    <a:pt x="153251" y="52217"/>
                    <a:pt x="168391" y="38112"/>
                  </a:cubicBezTo>
                  <a:cubicBezTo>
                    <a:pt x="174723" y="32196"/>
                    <a:pt x="164332" y="18259"/>
                    <a:pt x="160801" y="12911"/>
                  </a:cubicBezTo>
                  <a:cubicBezTo>
                    <a:pt x="155118" y="4522"/>
                    <a:pt x="134214" y="5391"/>
                    <a:pt x="122606" y="10137"/>
                  </a:cubicBezTo>
                  <a:cubicBezTo>
                    <a:pt x="110997" y="14883"/>
                    <a:pt x="101174" y="13981"/>
                    <a:pt x="92529" y="6594"/>
                  </a:cubicBezTo>
                  <a:cubicBezTo>
                    <a:pt x="85060" y="177"/>
                    <a:pt x="60057" y="5357"/>
                    <a:pt x="59732" y="4655"/>
                  </a:cubicBezTo>
                  <a:cubicBezTo>
                    <a:pt x="53968" y="-7477"/>
                    <a:pt x="47028" y="5892"/>
                    <a:pt x="37976" y="9201"/>
                  </a:cubicBezTo>
                  <a:cubicBezTo>
                    <a:pt x="29858" y="12176"/>
                    <a:pt x="27951" y="7196"/>
                    <a:pt x="21537" y="5859"/>
                  </a:cubicBezTo>
                  <a:cubicBezTo>
                    <a:pt x="13095" y="3987"/>
                    <a:pt x="14313" y="13312"/>
                    <a:pt x="4774" y="9936"/>
                  </a:cubicBezTo>
                  <a:cubicBezTo>
                    <a:pt x="1892" y="20465"/>
                    <a:pt x="8833" y="28587"/>
                    <a:pt x="17478" y="37110"/>
                  </a:cubicBezTo>
                  <a:cubicBezTo>
                    <a:pt x="23486" y="43193"/>
                    <a:pt x="12283" y="41054"/>
                    <a:pt x="7493" y="41756"/>
                  </a:cubicBezTo>
                  <a:cubicBezTo>
                    <a:pt x="593" y="42691"/>
                    <a:pt x="11187" y="51783"/>
                    <a:pt x="5504" y="55426"/>
                  </a:cubicBezTo>
                  <a:cubicBezTo>
                    <a:pt x="-2248" y="60306"/>
                    <a:pt x="2947" y="65085"/>
                    <a:pt x="2176" y="70868"/>
                  </a:cubicBezTo>
                  <a:cubicBezTo>
                    <a:pt x="1162" y="78655"/>
                    <a:pt x="-5089" y="75881"/>
                    <a:pt x="9158" y="80226"/>
                  </a:cubicBezTo>
                  <a:cubicBezTo>
                    <a:pt x="16463" y="82432"/>
                    <a:pt x="27869" y="84137"/>
                    <a:pt x="31685" y="88950"/>
                  </a:cubicBezTo>
                  <a:cubicBezTo>
                    <a:pt x="35500" y="93763"/>
                    <a:pt x="26936" y="103088"/>
                    <a:pt x="25677" y="107968"/>
                  </a:cubicBezTo>
                  <a:cubicBezTo>
                    <a:pt x="44958" y="106965"/>
                    <a:pt x="64603" y="100581"/>
                    <a:pt x="82828" y="96737"/>
                  </a:cubicBezTo>
                  <a:cubicBezTo>
                    <a:pt x="109658" y="91156"/>
                    <a:pt x="136203" y="87646"/>
                    <a:pt x="164008" y="91055"/>
                  </a:cubicBezTo>
                  <a:cubicBezTo>
                    <a:pt x="165671" y="88425"/>
                    <a:pt x="165671" y="85297"/>
                    <a:pt x="164008" y="8266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FF7B2D74-0415-461F-818F-63A9BDD33EF7}"/>
                </a:ext>
              </a:extLst>
            </p:cNvPr>
            <p:cNvSpPr/>
            <p:nvPr/>
          </p:nvSpPr>
          <p:spPr>
            <a:xfrm>
              <a:off x="5715378" y="4664254"/>
              <a:ext cx="122064" cy="110842"/>
            </a:xfrm>
            <a:custGeom>
              <a:avLst/>
              <a:gdLst>
                <a:gd name="connsiteX0" fmla="*/ 101588 w 122064"/>
                <a:gd name="connsiteY0" fmla="*/ 44115 h 110842"/>
                <a:gd name="connsiteX1" fmla="*/ 99640 w 122064"/>
                <a:gd name="connsiteY1" fmla="*/ 20350 h 110842"/>
                <a:gd name="connsiteX2" fmla="*/ 85556 w 122064"/>
                <a:gd name="connsiteY2" fmla="*/ -339 h 110842"/>
                <a:gd name="connsiteX3" fmla="*/ 75530 w 122064"/>
                <a:gd name="connsiteY3" fmla="*/ 3505 h 110842"/>
                <a:gd name="connsiteX4" fmla="*/ 57143 w 122064"/>
                <a:gd name="connsiteY4" fmla="*/ 2870 h 110842"/>
                <a:gd name="connsiteX5" fmla="*/ 10546 w 122064"/>
                <a:gd name="connsiteY5" fmla="*/ 5009 h 110842"/>
                <a:gd name="connsiteX6" fmla="*/ 19638 w 122064"/>
                <a:gd name="connsiteY6" fmla="*/ 52504 h 110842"/>
                <a:gd name="connsiteX7" fmla="*/ 9247 w 122064"/>
                <a:gd name="connsiteY7" fmla="*/ 66943 h 110842"/>
                <a:gd name="connsiteX8" fmla="*/ -8 w 122064"/>
                <a:gd name="connsiteY8" fmla="*/ 81482 h 110842"/>
                <a:gd name="connsiteX9" fmla="*/ 8922 w 122064"/>
                <a:gd name="connsiteY9" fmla="*/ 95420 h 110842"/>
                <a:gd name="connsiteX10" fmla="*/ 21464 w 122064"/>
                <a:gd name="connsiteY10" fmla="*/ 109257 h 110842"/>
                <a:gd name="connsiteX11" fmla="*/ 64571 w 122064"/>
                <a:gd name="connsiteY11" fmla="*/ 104177 h 110842"/>
                <a:gd name="connsiteX12" fmla="*/ 122005 w 122064"/>
                <a:gd name="connsiteY12" fmla="*/ 86496 h 110842"/>
                <a:gd name="connsiteX13" fmla="*/ 101710 w 122064"/>
                <a:gd name="connsiteY13" fmla="*/ 44115 h 11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064" h="110842">
                  <a:moveTo>
                    <a:pt x="101588" y="44115"/>
                  </a:moveTo>
                  <a:cubicBezTo>
                    <a:pt x="96353" y="37129"/>
                    <a:pt x="99194" y="27804"/>
                    <a:pt x="99640" y="20350"/>
                  </a:cubicBezTo>
                  <a:cubicBezTo>
                    <a:pt x="100087" y="12897"/>
                    <a:pt x="88316" y="7416"/>
                    <a:pt x="85556" y="-339"/>
                  </a:cubicBezTo>
                  <a:cubicBezTo>
                    <a:pt x="78696" y="1767"/>
                    <a:pt x="82917" y="4407"/>
                    <a:pt x="75530" y="3505"/>
                  </a:cubicBezTo>
                  <a:cubicBezTo>
                    <a:pt x="69442" y="2940"/>
                    <a:pt x="63272" y="2730"/>
                    <a:pt x="57143" y="2870"/>
                  </a:cubicBezTo>
                  <a:cubicBezTo>
                    <a:pt x="41557" y="2529"/>
                    <a:pt x="25970" y="3244"/>
                    <a:pt x="10546" y="5009"/>
                  </a:cubicBezTo>
                  <a:cubicBezTo>
                    <a:pt x="-2605" y="6814"/>
                    <a:pt x="19192" y="45585"/>
                    <a:pt x="19638" y="52504"/>
                  </a:cubicBezTo>
                  <a:cubicBezTo>
                    <a:pt x="19881" y="56281"/>
                    <a:pt x="10830" y="62531"/>
                    <a:pt x="9247" y="66943"/>
                  </a:cubicBezTo>
                  <a:cubicBezTo>
                    <a:pt x="7420" y="71856"/>
                    <a:pt x="682" y="76536"/>
                    <a:pt x="-8" y="81482"/>
                  </a:cubicBezTo>
                  <a:cubicBezTo>
                    <a:pt x="-698" y="86429"/>
                    <a:pt x="5675" y="91743"/>
                    <a:pt x="8922" y="95420"/>
                  </a:cubicBezTo>
                  <a:cubicBezTo>
                    <a:pt x="14320" y="101503"/>
                    <a:pt x="11114" y="107586"/>
                    <a:pt x="21464" y="109257"/>
                  </a:cubicBezTo>
                  <a:cubicBezTo>
                    <a:pt x="39730" y="112232"/>
                    <a:pt x="46955" y="109625"/>
                    <a:pt x="64571" y="104177"/>
                  </a:cubicBezTo>
                  <a:cubicBezTo>
                    <a:pt x="83445" y="98294"/>
                    <a:pt x="103821" y="92980"/>
                    <a:pt x="122005" y="86496"/>
                  </a:cubicBezTo>
                  <a:cubicBezTo>
                    <a:pt x="109301" y="73126"/>
                    <a:pt x="111980" y="57952"/>
                    <a:pt x="101710" y="4411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84FCD810-6FF8-4430-BB30-E8F0C87D3C40}"/>
                </a:ext>
              </a:extLst>
            </p:cNvPr>
            <p:cNvSpPr/>
            <p:nvPr/>
          </p:nvSpPr>
          <p:spPr>
            <a:xfrm>
              <a:off x="5363720" y="4655981"/>
              <a:ext cx="220179" cy="90441"/>
            </a:xfrm>
            <a:custGeom>
              <a:avLst/>
              <a:gdLst>
                <a:gd name="connsiteX0" fmla="*/ 75924 w 220179"/>
                <a:gd name="connsiteY0" fmla="*/ 54159 h 90441"/>
                <a:gd name="connsiteX1" fmla="*/ 110507 w 220179"/>
                <a:gd name="connsiteY1" fmla="*/ 46806 h 90441"/>
                <a:gd name="connsiteX2" fmla="*/ 132263 w 220179"/>
                <a:gd name="connsiteY2" fmla="*/ 57969 h 90441"/>
                <a:gd name="connsiteX3" fmla="*/ 141436 w 220179"/>
                <a:gd name="connsiteY3" fmla="*/ 72976 h 90441"/>
                <a:gd name="connsiteX4" fmla="*/ 169403 w 220179"/>
                <a:gd name="connsiteY4" fmla="*/ 75784 h 90441"/>
                <a:gd name="connsiteX5" fmla="*/ 182919 w 220179"/>
                <a:gd name="connsiteY5" fmla="*/ 89721 h 90441"/>
                <a:gd name="connsiteX6" fmla="*/ 194081 w 220179"/>
                <a:gd name="connsiteY6" fmla="*/ 81366 h 90441"/>
                <a:gd name="connsiteX7" fmla="*/ 202645 w 220179"/>
                <a:gd name="connsiteY7" fmla="*/ 84340 h 90441"/>
                <a:gd name="connsiteX8" fmla="*/ 210236 w 220179"/>
                <a:gd name="connsiteY8" fmla="*/ 76319 h 90441"/>
                <a:gd name="connsiteX9" fmla="*/ 206177 w 220179"/>
                <a:gd name="connsiteY9" fmla="*/ 68698 h 90441"/>
                <a:gd name="connsiteX10" fmla="*/ 216202 w 220179"/>
                <a:gd name="connsiteY10" fmla="*/ 60242 h 90441"/>
                <a:gd name="connsiteX11" fmla="*/ 213564 w 220179"/>
                <a:gd name="connsiteY11" fmla="*/ 53791 h 90441"/>
                <a:gd name="connsiteX12" fmla="*/ 204919 w 220179"/>
                <a:gd name="connsiteY12" fmla="*/ 47106 h 90441"/>
                <a:gd name="connsiteX13" fmla="*/ 206095 w 220179"/>
                <a:gd name="connsiteY13" fmla="*/ 35375 h 90441"/>
                <a:gd name="connsiteX14" fmla="*/ 198952 w 220179"/>
                <a:gd name="connsiteY14" fmla="*/ 27520 h 90441"/>
                <a:gd name="connsiteX15" fmla="*/ 190225 w 220179"/>
                <a:gd name="connsiteY15" fmla="*/ 23075 h 90441"/>
                <a:gd name="connsiteX16" fmla="*/ 194284 w 220179"/>
                <a:gd name="connsiteY16" fmla="*/ 17192 h 90441"/>
                <a:gd name="connsiteX17" fmla="*/ 184137 w 220179"/>
                <a:gd name="connsiteY17" fmla="*/ 12780 h 90441"/>
                <a:gd name="connsiteX18" fmla="*/ 175653 w 220179"/>
                <a:gd name="connsiteY18" fmla="*/ 2285 h 90441"/>
                <a:gd name="connsiteX19" fmla="*/ 156779 w 220179"/>
                <a:gd name="connsiteY19" fmla="*/ 6229 h 90441"/>
                <a:gd name="connsiteX20" fmla="*/ 132993 w 220179"/>
                <a:gd name="connsiteY20" fmla="*/ 7466 h 90441"/>
                <a:gd name="connsiteX21" fmla="*/ 124875 w 220179"/>
                <a:gd name="connsiteY21" fmla="*/ 11510 h 90441"/>
                <a:gd name="connsiteX22" fmla="*/ 114322 w 220179"/>
                <a:gd name="connsiteY22" fmla="*/ 12279 h 90441"/>
                <a:gd name="connsiteX23" fmla="*/ 105068 w 220179"/>
                <a:gd name="connsiteY23" fmla="*/ 5594 h 90441"/>
                <a:gd name="connsiteX24" fmla="*/ 38014 w 220179"/>
                <a:gd name="connsiteY24" fmla="*/ 5327 h 90441"/>
                <a:gd name="connsiteX25" fmla="*/ 33955 w 220179"/>
                <a:gd name="connsiteY25" fmla="*/ 19966 h 90441"/>
                <a:gd name="connsiteX26" fmla="*/ 12117 w 220179"/>
                <a:gd name="connsiteY26" fmla="*/ 30194 h 90441"/>
                <a:gd name="connsiteX27" fmla="*/ -60 w 220179"/>
                <a:gd name="connsiteY27" fmla="*/ 37547 h 90441"/>
                <a:gd name="connsiteX28" fmla="*/ 16501 w 220179"/>
                <a:gd name="connsiteY28" fmla="*/ 48042 h 90441"/>
                <a:gd name="connsiteX29" fmla="*/ 57618 w 220179"/>
                <a:gd name="connsiteY29" fmla="*/ 68564 h 90441"/>
                <a:gd name="connsiteX30" fmla="*/ 75762 w 220179"/>
                <a:gd name="connsiteY30" fmla="*/ 54192 h 90441"/>
                <a:gd name="connsiteX31" fmla="*/ 75924 w 220179"/>
                <a:gd name="connsiteY31" fmla="*/ 54159 h 9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0179" h="90441">
                  <a:moveTo>
                    <a:pt x="75924" y="54159"/>
                  </a:moveTo>
                  <a:cubicBezTo>
                    <a:pt x="75924" y="51485"/>
                    <a:pt x="105027" y="47240"/>
                    <a:pt x="110507" y="46806"/>
                  </a:cubicBezTo>
                  <a:cubicBezTo>
                    <a:pt x="118625" y="46170"/>
                    <a:pt x="128650" y="54760"/>
                    <a:pt x="132263" y="57969"/>
                  </a:cubicBezTo>
                  <a:cubicBezTo>
                    <a:pt x="136890" y="62047"/>
                    <a:pt x="138514" y="68297"/>
                    <a:pt x="141436" y="72976"/>
                  </a:cubicBezTo>
                  <a:cubicBezTo>
                    <a:pt x="155074" y="70068"/>
                    <a:pt x="163761" y="66626"/>
                    <a:pt x="169403" y="75784"/>
                  </a:cubicBezTo>
                  <a:cubicBezTo>
                    <a:pt x="171594" y="79360"/>
                    <a:pt x="170296" y="92496"/>
                    <a:pt x="182919" y="89721"/>
                  </a:cubicBezTo>
                  <a:cubicBezTo>
                    <a:pt x="188642" y="88518"/>
                    <a:pt x="189048" y="83304"/>
                    <a:pt x="194081" y="81366"/>
                  </a:cubicBezTo>
                  <a:cubicBezTo>
                    <a:pt x="194325" y="81366"/>
                    <a:pt x="202199" y="84240"/>
                    <a:pt x="202645" y="84340"/>
                  </a:cubicBezTo>
                  <a:cubicBezTo>
                    <a:pt x="204229" y="81633"/>
                    <a:pt x="211819" y="79494"/>
                    <a:pt x="210236" y="76319"/>
                  </a:cubicBezTo>
                  <a:cubicBezTo>
                    <a:pt x="208978" y="73812"/>
                    <a:pt x="203985" y="71773"/>
                    <a:pt x="206177" y="68698"/>
                  </a:cubicBezTo>
                  <a:cubicBezTo>
                    <a:pt x="209424" y="64052"/>
                    <a:pt x="228095" y="70135"/>
                    <a:pt x="216202" y="60242"/>
                  </a:cubicBezTo>
                  <a:cubicBezTo>
                    <a:pt x="212874" y="57434"/>
                    <a:pt x="214254" y="56900"/>
                    <a:pt x="213564" y="53791"/>
                  </a:cubicBezTo>
                  <a:cubicBezTo>
                    <a:pt x="212712" y="50048"/>
                    <a:pt x="206583" y="50148"/>
                    <a:pt x="204919" y="47106"/>
                  </a:cubicBezTo>
                  <a:cubicBezTo>
                    <a:pt x="203254" y="44065"/>
                    <a:pt x="204919" y="38985"/>
                    <a:pt x="206095" y="35375"/>
                  </a:cubicBezTo>
                  <a:cubicBezTo>
                    <a:pt x="200819" y="33536"/>
                    <a:pt x="200170" y="30829"/>
                    <a:pt x="198952" y="27520"/>
                  </a:cubicBezTo>
                  <a:cubicBezTo>
                    <a:pt x="197328" y="23208"/>
                    <a:pt x="192823" y="26016"/>
                    <a:pt x="190225" y="23075"/>
                  </a:cubicBezTo>
                  <a:cubicBezTo>
                    <a:pt x="187627" y="20134"/>
                    <a:pt x="195583" y="18329"/>
                    <a:pt x="194284" y="17192"/>
                  </a:cubicBezTo>
                  <a:cubicBezTo>
                    <a:pt x="192255" y="15220"/>
                    <a:pt x="186856" y="14452"/>
                    <a:pt x="184137" y="12780"/>
                  </a:cubicBezTo>
                  <a:cubicBezTo>
                    <a:pt x="180078" y="10307"/>
                    <a:pt x="179266" y="5260"/>
                    <a:pt x="175653" y="2285"/>
                  </a:cubicBezTo>
                  <a:cubicBezTo>
                    <a:pt x="168266" y="-3831"/>
                    <a:pt x="163476" y="2118"/>
                    <a:pt x="156779" y="6229"/>
                  </a:cubicBezTo>
                  <a:cubicBezTo>
                    <a:pt x="147362" y="11878"/>
                    <a:pt x="142410" y="4658"/>
                    <a:pt x="132993" y="7466"/>
                  </a:cubicBezTo>
                  <a:cubicBezTo>
                    <a:pt x="128934" y="8669"/>
                    <a:pt x="130517" y="12212"/>
                    <a:pt x="124875" y="11510"/>
                  </a:cubicBezTo>
                  <a:cubicBezTo>
                    <a:pt x="121344" y="11076"/>
                    <a:pt x="117042" y="9672"/>
                    <a:pt x="114322" y="12279"/>
                  </a:cubicBezTo>
                  <a:cubicBezTo>
                    <a:pt x="109086" y="17192"/>
                    <a:pt x="105189" y="7666"/>
                    <a:pt x="105068" y="5594"/>
                  </a:cubicBezTo>
                  <a:cubicBezTo>
                    <a:pt x="77507" y="13649"/>
                    <a:pt x="63342" y="6096"/>
                    <a:pt x="38014" y="5327"/>
                  </a:cubicBezTo>
                  <a:cubicBezTo>
                    <a:pt x="40124" y="12446"/>
                    <a:pt x="25837" y="13816"/>
                    <a:pt x="33955" y="19966"/>
                  </a:cubicBezTo>
                  <a:cubicBezTo>
                    <a:pt x="38744" y="23643"/>
                    <a:pt x="16785" y="27587"/>
                    <a:pt x="12117" y="30194"/>
                  </a:cubicBezTo>
                  <a:cubicBezTo>
                    <a:pt x="7815" y="32347"/>
                    <a:pt x="3715" y="34807"/>
                    <a:pt x="-60" y="37547"/>
                  </a:cubicBezTo>
                  <a:cubicBezTo>
                    <a:pt x="7206" y="40154"/>
                    <a:pt x="10372" y="44767"/>
                    <a:pt x="16501" y="48042"/>
                  </a:cubicBezTo>
                  <a:cubicBezTo>
                    <a:pt x="30423" y="55462"/>
                    <a:pt x="47349" y="58404"/>
                    <a:pt x="57618" y="68564"/>
                  </a:cubicBezTo>
                  <a:cubicBezTo>
                    <a:pt x="62814" y="65222"/>
                    <a:pt x="75600" y="59039"/>
                    <a:pt x="75762" y="54192"/>
                  </a:cubicBezTo>
                  <a:cubicBezTo>
                    <a:pt x="76046" y="49981"/>
                    <a:pt x="75843" y="57033"/>
                    <a:pt x="75924" y="5415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67C880E9-D9C8-4364-9336-95648F1E3A4D}"/>
                </a:ext>
              </a:extLst>
            </p:cNvPr>
            <p:cNvSpPr/>
            <p:nvPr/>
          </p:nvSpPr>
          <p:spPr>
            <a:xfrm>
              <a:off x="5477923" y="4725595"/>
              <a:ext cx="118376" cy="64026"/>
            </a:xfrm>
            <a:custGeom>
              <a:avLst/>
              <a:gdLst>
                <a:gd name="connsiteX0" fmla="*/ 96235 w 118376"/>
                <a:gd name="connsiteY0" fmla="*/ 35984 h 64026"/>
                <a:gd name="connsiteX1" fmla="*/ 88117 w 118376"/>
                <a:gd name="connsiteY1" fmla="*/ 19071 h 64026"/>
                <a:gd name="connsiteX2" fmla="*/ 64738 w 118376"/>
                <a:gd name="connsiteY2" fmla="*/ 20141 h 64026"/>
                <a:gd name="connsiteX3" fmla="*/ 47650 w 118376"/>
                <a:gd name="connsiteY3" fmla="*/ -315 h 64026"/>
                <a:gd name="connsiteX4" fmla="*/ 27355 w 118376"/>
                <a:gd name="connsiteY4" fmla="*/ 3362 h 64026"/>
                <a:gd name="connsiteX5" fmla="*/ 19237 w 118376"/>
                <a:gd name="connsiteY5" fmla="*/ 17266 h 64026"/>
                <a:gd name="connsiteX6" fmla="*/ 1174 w 118376"/>
                <a:gd name="connsiteY6" fmla="*/ 27628 h 64026"/>
                <a:gd name="connsiteX7" fmla="*/ 21672 w 118376"/>
                <a:gd name="connsiteY7" fmla="*/ 38356 h 64026"/>
                <a:gd name="connsiteX8" fmla="*/ 77280 w 118376"/>
                <a:gd name="connsiteY8" fmla="*/ 56505 h 64026"/>
                <a:gd name="connsiteX9" fmla="*/ 101350 w 118376"/>
                <a:gd name="connsiteY9" fmla="*/ 62756 h 64026"/>
                <a:gd name="connsiteX10" fmla="*/ 116165 w 118376"/>
                <a:gd name="connsiteY10" fmla="*/ 55269 h 64026"/>
                <a:gd name="connsiteX11" fmla="*/ 96317 w 118376"/>
                <a:gd name="connsiteY11" fmla="*/ 35984 h 64026"/>
                <a:gd name="connsiteX12" fmla="*/ 96235 w 118376"/>
                <a:gd name="connsiteY12" fmla="*/ 35984 h 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376" h="64026">
                  <a:moveTo>
                    <a:pt x="96235" y="35984"/>
                  </a:moveTo>
                  <a:cubicBezTo>
                    <a:pt x="79674" y="30937"/>
                    <a:pt x="91568" y="29867"/>
                    <a:pt x="88117" y="19071"/>
                  </a:cubicBezTo>
                  <a:cubicBezTo>
                    <a:pt x="83044" y="2928"/>
                    <a:pt x="76509" y="22046"/>
                    <a:pt x="64738" y="20141"/>
                  </a:cubicBezTo>
                  <a:cubicBezTo>
                    <a:pt x="53738" y="18403"/>
                    <a:pt x="59055" y="-1117"/>
                    <a:pt x="47650" y="-315"/>
                  </a:cubicBezTo>
                  <a:cubicBezTo>
                    <a:pt x="40790" y="471"/>
                    <a:pt x="34011" y="1701"/>
                    <a:pt x="27355" y="3362"/>
                  </a:cubicBezTo>
                  <a:cubicBezTo>
                    <a:pt x="30236" y="7908"/>
                    <a:pt x="24838" y="14091"/>
                    <a:pt x="19237" y="17266"/>
                  </a:cubicBezTo>
                  <a:cubicBezTo>
                    <a:pt x="13635" y="20441"/>
                    <a:pt x="5152" y="23316"/>
                    <a:pt x="1174" y="27628"/>
                  </a:cubicBezTo>
                  <a:cubicBezTo>
                    <a:pt x="-4914" y="34312"/>
                    <a:pt x="13067" y="35716"/>
                    <a:pt x="21672" y="38356"/>
                  </a:cubicBezTo>
                  <a:cubicBezTo>
                    <a:pt x="40465" y="44172"/>
                    <a:pt x="58203" y="50924"/>
                    <a:pt x="77280" y="56505"/>
                  </a:cubicBezTo>
                  <a:cubicBezTo>
                    <a:pt x="85114" y="58812"/>
                    <a:pt x="93069" y="61051"/>
                    <a:pt x="101350" y="62756"/>
                  </a:cubicBezTo>
                  <a:cubicBezTo>
                    <a:pt x="114866" y="65496"/>
                    <a:pt x="112471" y="61953"/>
                    <a:pt x="116165" y="55269"/>
                  </a:cubicBezTo>
                  <a:cubicBezTo>
                    <a:pt x="122943" y="43002"/>
                    <a:pt x="112999" y="41031"/>
                    <a:pt x="96317" y="35984"/>
                  </a:cubicBezTo>
                  <a:cubicBezTo>
                    <a:pt x="87062" y="33176"/>
                    <a:pt x="105449" y="38758"/>
                    <a:pt x="96235" y="3598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B9559B02-8B18-42DA-B1E8-08A7DF6B0188}"/>
                </a:ext>
              </a:extLst>
            </p:cNvPr>
            <p:cNvSpPr/>
            <p:nvPr/>
          </p:nvSpPr>
          <p:spPr>
            <a:xfrm>
              <a:off x="5423580" y="4703095"/>
              <a:ext cx="80456" cy="54210"/>
            </a:xfrm>
            <a:custGeom>
              <a:avLst/>
              <a:gdLst>
                <a:gd name="connsiteX0" fmla="*/ 79749 w 80456"/>
                <a:gd name="connsiteY0" fmla="*/ 34687 h 54210"/>
                <a:gd name="connsiteX1" fmla="*/ 69196 w 80456"/>
                <a:gd name="connsiteY1" fmla="*/ 8282 h 54210"/>
                <a:gd name="connsiteX2" fmla="*/ 50647 w 80456"/>
                <a:gd name="connsiteY2" fmla="*/ -308 h 54210"/>
                <a:gd name="connsiteX3" fmla="*/ 36522 w 80456"/>
                <a:gd name="connsiteY3" fmla="*/ 3034 h 54210"/>
                <a:gd name="connsiteX4" fmla="*/ 17931 w 80456"/>
                <a:gd name="connsiteY4" fmla="*/ 4271 h 54210"/>
                <a:gd name="connsiteX5" fmla="*/ 2751 w 80456"/>
                <a:gd name="connsiteY5" fmla="*/ 18242 h 54210"/>
                <a:gd name="connsiteX6" fmla="*/ 9042 w 80456"/>
                <a:gd name="connsiteY6" fmla="*/ 35255 h 54210"/>
                <a:gd name="connsiteX7" fmla="*/ 52351 w 80456"/>
                <a:gd name="connsiteY7" fmla="*/ 53872 h 54210"/>
                <a:gd name="connsiteX8" fmla="*/ 79749 w 80456"/>
                <a:gd name="connsiteY8" fmla="*/ 34586 h 54210"/>
                <a:gd name="connsiteX9" fmla="*/ 79749 w 80456"/>
                <a:gd name="connsiteY9" fmla="*/ 34687 h 54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456" h="54210">
                  <a:moveTo>
                    <a:pt x="79749" y="34687"/>
                  </a:moveTo>
                  <a:cubicBezTo>
                    <a:pt x="82063" y="24970"/>
                    <a:pt x="78086" y="14957"/>
                    <a:pt x="69196" y="8282"/>
                  </a:cubicBezTo>
                  <a:cubicBezTo>
                    <a:pt x="65746" y="5742"/>
                    <a:pt x="57466" y="-843"/>
                    <a:pt x="50647" y="-308"/>
                  </a:cubicBezTo>
                  <a:cubicBezTo>
                    <a:pt x="45857" y="508"/>
                    <a:pt x="41108" y="1624"/>
                    <a:pt x="36522" y="3034"/>
                  </a:cubicBezTo>
                  <a:cubicBezTo>
                    <a:pt x="30920" y="4405"/>
                    <a:pt x="22762" y="2366"/>
                    <a:pt x="17931" y="4271"/>
                  </a:cubicBezTo>
                  <a:cubicBezTo>
                    <a:pt x="13872" y="5942"/>
                    <a:pt x="7134" y="15435"/>
                    <a:pt x="2751" y="18242"/>
                  </a:cubicBezTo>
                  <a:cubicBezTo>
                    <a:pt x="-4555" y="22988"/>
                    <a:pt x="4131" y="30007"/>
                    <a:pt x="9042" y="35255"/>
                  </a:cubicBezTo>
                  <a:cubicBezTo>
                    <a:pt x="18134" y="45014"/>
                    <a:pt x="36115" y="49259"/>
                    <a:pt x="52351" y="53872"/>
                  </a:cubicBezTo>
                  <a:cubicBezTo>
                    <a:pt x="57466" y="46719"/>
                    <a:pt x="77964" y="41538"/>
                    <a:pt x="79749" y="34586"/>
                  </a:cubicBezTo>
                  <a:cubicBezTo>
                    <a:pt x="80602" y="31210"/>
                    <a:pt x="78857" y="38163"/>
                    <a:pt x="79749" y="346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E211267C-0181-4CCE-A356-BBBEA0EC0CD9}"/>
                </a:ext>
              </a:extLst>
            </p:cNvPr>
            <p:cNvSpPr/>
            <p:nvPr/>
          </p:nvSpPr>
          <p:spPr>
            <a:xfrm>
              <a:off x="5282134" y="4383762"/>
              <a:ext cx="242770" cy="135500"/>
            </a:xfrm>
            <a:custGeom>
              <a:avLst/>
              <a:gdLst>
                <a:gd name="connsiteX0" fmla="*/ 114282 w 242770"/>
                <a:gd name="connsiteY0" fmla="*/ 97827 h 135500"/>
                <a:gd name="connsiteX1" fmla="*/ 140422 w 242770"/>
                <a:gd name="connsiteY1" fmla="*/ 85561 h 135500"/>
                <a:gd name="connsiteX2" fmla="*/ 142776 w 242770"/>
                <a:gd name="connsiteY2" fmla="*/ 71824 h 135500"/>
                <a:gd name="connsiteX3" fmla="*/ 138717 w 242770"/>
                <a:gd name="connsiteY3" fmla="*/ 37163 h 135500"/>
                <a:gd name="connsiteX4" fmla="*/ 230247 w 242770"/>
                <a:gd name="connsiteY4" fmla="*/ 30646 h 135500"/>
                <a:gd name="connsiteX5" fmla="*/ 238690 w 242770"/>
                <a:gd name="connsiteY5" fmla="*/ 4976 h 135500"/>
                <a:gd name="connsiteX6" fmla="*/ 188967 w 242770"/>
                <a:gd name="connsiteY6" fmla="*/ 2002 h 135500"/>
                <a:gd name="connsiteX7" fmla="*/ 102876 w 242770"/>
                <a:gd name="connsiteY7" fmla="*/ 8887 h 135500"/>
                <a:gd name="connsiteX8" fmla="*/ 86356 w 242770"/>
                <a:gd name="connsiteY8" fmla="*/ 28306 h 135500"/>
                <a:gd name="connsiteX9" fmla="*/ 61678 w 242770"/>
                <a:gd name="connsiteY9" fmla="*/ 47190 h 135500"/>
                <a:gd name="connsiteX10" fmla="*/ 37324 w 242770"/>
                <a:gd name="connsiteY10" fmla="*/ 82018 h 135500"/>
                <a:gd name="connsiteX11" fmla="*/ -60 w 242770"/>
                <a:gd name="connsiteY11" fmla="*/ 135161 h 135500"/>
                <a:gd name="connsiteX12" fmla="*/ 87046 w 242770"/>
                <a:gd name="connsiteY12" fmla="*/ 127006 h 135500"/>
                <a:gd name="connsiteX13" fmla="*/ 117570 w 242770"/>
                <a:gd name="connsiteY13" fmla="*/ 124366 h 135500"/>
                <a:gd name="connsiteX14" fmla="*/ 114241 w 242770"/>
                <a:gd name="connsiteY14" fmla="*/ 97827 h 13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2770" h="135500">
                  <a:moveTo>
                    <a:pt x="114282" y="97827"/>
                  </a:moveTo>
                  <a:cubicBezTo>
                    <a:pt x="113714" y="93616"/>
                    <a:pt x="135551" y="87800"/>
                    <a:pt x="140422" y="85561"/>
                  </a:cubicBezTo>
                  <a:cubicBezTo>
                    <a:pt x="146876" y="82219"/>
                    <a:pt x="143263" y="75868"/>
                    <a:pt x="142776" y="71824"/>
                  </a:cubicBezTo>
                  <a:cubicBezTo>
                    <a:pt x="141396" y="60259"/>
                    <a:pt x="139975" y="48695"/>
                    <a:pt x="138717" y="37163"/>
                  </a:cubicBezTo>
                  <a:cubicBezTo>
                    <a:pt x="169241" y="35024"/>
                    <a:pt x="199602" y="33153"/>
                    <a:pt x="230247" y="30646"/>
                  </a:cubicBezTo>
                  <a:cubicBezTo>
                    <a:pt x="250826" y="28941"/>
                    <a:pt x="240029" y="13934"/>
                    <a:pt x="238690" y="4976"/>
                  </a:cubicBezTo>
                  <a:cubicBezTo>
                    <a:pt x="227690" y="-3780"/>
                    <a:pt x="207720" y="598"/>
                    <a:pt x="188967" y="2002"/>
                  </a:cubicBezTo>
                  <a:cubicBezTo>
                    <a:pt x="160230" y="4231"/>
                    <a:pt x="131533" y="6524"/>
                    <a:pt x="102876" y="8887"/>
                  </a:cubicBezTo>
                  <a:cubicBezTo>
                    <a:pt x="93663" y="14870"/>
                    <a:pt x="92526" y="21722"/>
                    <a:pt x="86356" y="28306"/>
                  </a:cubicBezTo>
                  <a:cubicBezTo>
                    <a:pt x="80186" y="34891"/>
                    <a:pt x="69430" y="40807"/>
                    <a:pt x="61678" y="47190"/>
                  </a:cubicBezTo>
                  <a:cubicBezTo>
                    <a:pt x="49257" y="57452"/>
                    <a:pt x="48120" y="70754"/>
                    <a:pt x="37324" y="82018"/>
                  </a:cubicBezTo>
                  <a:cubicBezTo>
                    <a:pt x="22265" y="97961"/>
                    <a:pt x="144" y="117046"/>
                    <a:pt x="-60" y="135161"/>
                  </a:cubicBezTo>
                  <a:cubicBezTo>
                    <a:pt x="28962" y="132287"/>
                    <a:pt x="58025" y="129570"/>
                    <a:pt x="87046" y="127006"/>
                  </a:cubicBezTo>
                  <a:cubicBezTo>
                    <a:pt x="91754" y="126571"/>
                    <a:pt x="114160" y="126538"/>
                    <a:pt x="117570" y="124366"/>
                  </a:cubicBezTo>
                  <a:cubicBezTo>
                    <a:pt x="122116" y="121424"/>
                    <a:pt x="114769" y="102072"/>
                    <a:pt x="114241" y="9782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A43C9E47-4778-4BDB-9134-111CDE6A87C1}"/>
                </a:ext>
              </a:extLst>
            </p:cNvPr>
            <p:cNvSpPr/>
            <p:nvPr/>
          </p:nvSpPr>
          <p:spPr>
            <a:xfrm>
              <a:off x="5282418" y="4389077"/>
              <a:ext cx="356516" cy="233063"/>
            </a:xfrm>
            <a:custGeom>
              <a:avLst/>
              <a:gdLst>
                <a:gd name="connsiteX0" fmla="*/ 38744 w 356516"/>
                <a:gd name="connsiteY0" fmla="*/ 213004 h 233063"/>
                <a:gd name="connsiteX1" fmla="*/ 88142 w 356516"/>
                <a:gd name="connsiteY1" fmla="*/ 207222 h 233063"/>
                <a:gd name="connsiteX2" fmla="*/ 108437 w 356516"/>
                <a:gd name="connsiteY2" fmla="*/ 213907 h 233063"/>
                <a:gd name="connsiteX3" fmla="*/ 119923 w 356516"/>
                <a:gd name="connsiteY3" fmla="*/ 217249 h 233063"/>
                <a:gd name="connsiteX4" fmla="*/ 164572 w 356516"/>
                <a:gd name="connsiteY4" fmla="*/ 231554 h 233063"/>
                <a:gd name="connsiteX5" fmla="*/ 173218 w 356516"/>
                <a:gd name="connsiteY5" fmla="*/ 219956 h 233063"/>
                <a:gd name="connsiteX6" fmla="*/ 199642 w 356516"/>
                <a:gd name="connsiteY6" fmla="*/ 221026 h 233063"/>
                <a:gd name="connsiteX7" fmla="*/ 226797 w 356516"/>
                <a:gd name="connsiteY7" fmla="*/ 217683 h 233063"/>
                <a:gd name="connsiteX8" fmla="*/ 240029 w 356516"/>
                <a:gd name="connsiteY8" fmla="*/ 214141 h 233063"/>
                <a:gd name="connsiteX9" fmla="*/ 275504 w 356516"/>
                <a:gd name="connsiteY9" fmla="*/ 211834 h 233063"/>
                <a:gd name="connsiteX10" fmla="*/ 356034 w 356516"/>
                <a:gd name="connsiteY10" fmla="*/ 202309 h 233063"/>
                <a:gd name="connsiteX11" fmla="*/ 343857 w 356516"/>
                <a:gd name="connsiteY11" fmla="*/ 177642 h 233063"/>
                <a:gd name="connsiteX12" fmla="*/ 329854 w 356516"/>
                <a:gd name="connsiteY12" fmla="*/ 127172 h 233063"/>
                <a:gd name="connsiteX13" fmla="*/ 304729 w 356516"/>
                <a:gd name="connsiteY13" fmla="*/ 37931 h 233063"/>
                <a:gd name="connsiteX14" fmla="*/ 355710 w 356516"/>
                <a:gd name="connsiteY14" fmla="*/ 34923 h 233063"/>
                <a:gd name="connsiteX15" fmla="*/ 275099 w 356516"/>
                <a:gd name="connsiteY15" fmla="*/ 10858 h 233063"/>
                <a:gd name="connsiteX16" fmla="*/ 238568 w 356516"/>
                <a:gd name="connsiteY16" fmla="*/ -339 h 233063"/>
                <a:gd name="connsiteX17" fmla="*/ 238243 w 356516"/>
                <a:gd name="connsiteY17" fmla="*/ 24562 h 233063"/>
                <a:gd name="connsiteX18" fmla="*/ 207557 w 356516"/>
                <a:gd name="connsiteY18" fmla="*/ 27002 h 233063"/>
                <a:gd name="connsiteX19" fmla="*/ 138555 w 356516"/>
                <a:gd name="connsiteY19" fmla="*/ 31848 h 233063"/>
                <a:gd name="connsiteX20" fmla="*/ 143547 w 356516"/>
                <a:gd name="connsiteY20" fmla="*/ 73461 h 233063"/>
                <a:gd name="connsiteX21" fmla="*/ 121832 w 356516"/>
                <a:gd name="connsiteY21" fmla="*/ 87666 h 233063"/>
                <a:gd name="connsiteX22" fmla="*/ 116473 w 356516"/>
                <a:gd name="connsiteY22" fmla="*/ 110260 h 233063"/>
                <a:gd name="connsiteX23" fmla="*/ 112780 w 356516"/>
                <a:gd name="connsiteY23" fmla="*/ 119452 h 233063"/>
                <a:gd name="connsiteX24" fmla="*/ 71987 w 356516"/>
                <a:gd name="connsiteY24" fmla="*/ 123028 h 233063"/>
                <a:gd name="connsiteX25" fmla="*/ -60 w 356516"/>
                <a:gd name="connsiteY25" fmla="*/ 129713 h 233063"/>
                <a:gd name="connsiteX26" fmla="*/ 16176 w 356516"/>
                <a:gd name="connsiteY26" fmla="*/ 145656 h 233063"/>
                <a:gd name="connsiteX27" fmla="*/ 25228 w 356516"/>
                <a:gd name="connsiteY27" fmla="*/ 169654 h 233063"/>
                <a:gd name="connsiteX28" fmla="*/ 33670 w 356516"/>
                <a:gd name="connsiteY28" fmla="*/ 195891 h 233063"/>
                <a:gd name="connsiteX29" fmla="*/ 22346 w 356516"/>
                <a:gd name="connsiteY29" fmla="*/ 223299 h 233063"/>
                <a:gd name="connsiteX30" fmla="*/ 39150 w 356516"/>
                <a:gd name="connsiteY30" fmla="*/ 213004 h 23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6516" h="233063">
                  <a:moveTo>
                    <a:pt x="38744" y="213004"/>
                  </a:moveTo>
                  <a:cubicBezTo>
                    <a:pt x="52788" y="213272"/>
                    <a:pt x="75843" y="204882"/>
                    <a:pt x="88142" y="207222"/>
                  </a:cubicBezTo>
                  <a:cubicBezTo>
                    <a:pt x="94677" y="208492"/>
                    <a:pt x="101821" y="214441"/>
                    <a:pt x="108437" y="213907"/>
                  </a:cubicBezTo>
                  <a:cubicBezTo>
                    <a:pt x="117204" y="213138"/>
                    <a:pt x="115621" y="213272"/>
                    <a:pt x="119923" y="217249"/>
                  </a:cubicBezTo>
                  <a:cubicBezTo>
                    <a:pt x="127027" y="223934"/>
                    <a:pt x="152395" y="236635"/>
                    <a:pt x="164572" y="231554"/>
                  </a:cubicBezTo>
                  <a:cubicBezTo>
                    <a:pt x="171554" y="228646"/>
                    <a:pt x="165181" y="222062"/>
                    <a:pt x="173218" y="219956"/>
                  </a:cubicBezTo>
                  <a:cubicBezTo>
                    <a:pt x="182229" y="217550"/>
                    <a:pt x="194731" y="229983"/>
                    <a:pt x="199642" y="221026"/>
                  </a:cubicBezTo>
                  <a:cubicBezTo>
                    <a:pt x="202686" y="215544"/>
                    <a:pt x="219084" y="219188"/>
                    <a:pt x="226797" y="217683"/>
                  </a:cubicBezTo>
                  <a:cubicBezTo>
                    <a:pt x="231099" y="216203"/>
                    <a:pt x="235524" y="215016"/>
                    <a:pt x="240029" y="214141"/>
                  </a:cubicBezTo>
                  <a:lnTo>
                    <a:pt x="275504" y="211834"/>
                  </a:lnTo>
                  <a:cubicBezTo>
                    <a:pt x="288290" y="210898"/>
                    <a:pt x="353558" y="211600"/>
                    <a:pt x="356034" y="202309"/>
                  </a:cubicBezTo>
                  <a:cubicBezTo>
                    <a:pt x="358875" y="191546"/>
                    <a:pt x="346577" y="187669"/>
                    <a:pt x="343857" y="177642"/>
                  </a:cubicBezTo>
                  <a:cubicBezTo>
                    <a:pt x="339230" y="160796"/>
                    <a:pt x="334562" y="143974"/>
                    <a:pt x="329854" y="127172"/>
                  </a:cubicBezTo>
                  <a:cubicBezTo>
                    <a:pt x="321574" y="97382"/>
                    <a:pt x="313212" y="67635"/>
                    <a:pt x="304729" y="37931"/>
                  </a:cubicBezTo>
                  <a:cubicBezTo>
                    <a:pt x="321736" y="36862"/>
                    <a:pt x="338702" y="35859"/>
                    <a:pt x="355710" y="34923"/>
                  </a:cubicBezTo>
                  <a:cubicBezTo>
                    <a:pt x="329001" y="26725"/>
                    <a:pt x="302131" y="18703"/>
                    <a:pt x="275099" y="10858"/>
                  </a:cubicBezTo>
                  <a:cubicBezTo>
                    <a:pt x="265438" y="8051"/>
                    <a:pt x="245062" y="4909"/>
                    <a:pt x="238568" y="-339"/>
                  </a:cubicBezTo>
                  <a:cubicBezTo>
                    <a:pt x="239014" y="2736"/>
                    <a:pt x="245427" y="23693"/>
                    <a:pt x="238243" y="24562"/>
                  </a:cubicBezTo>
                  <a:cubicBezTo>
                    <a:pt x="228136" y="25765"/>
                    <a:pt x="217948" y="26300"/>
                    <a:pt x="207557" y="27002"/>
                  </a:cubicBezTo>
                  <a:lnTo>
                    <a:pt x="138555" y="31848"/>
                  </a:lnTo>
                  <a:lnTo>
                    <a:pt x="143547" y="73461"/>
                  </a:lnTo>
                  <a:cubicBezTo>
                    <a:pt x="144480" y="81248"/>
                    <a:pt x="132263" y="83488"/>
                    <a:pt x="121832" y="87666"/>
                  </a:cubicBezTo>
                  <a:cubicBezTo>
                    <a:pt x="109127" y="92913"/>
                    <a:pt x="115540" y="102773"/>
                    <a:pt x="116473" y="110260"/>
                  </a:cubicBezTo>
                  <a:cubicBezTo>
                    <a:pt x="117001" y="114572"/>
                    <a:pt x="121263" y="118750"/>
                    <a:pt x="112780" y="119452"/>
                  </a:cubicBezTo>
                  <a:lnTo>
                    <a:pt x="71987" y="123028"/>
                  </a:lnTo>
                  <a:cubicBezTo>
                    <a:pt x="47958" y="125257"/>
                    <a:pt x="23929" y="127483"/>
                    <a:pt x="-60" y="129713"/>
                  </a:cubicBezTo>
                  <a:cubicBezTo>
                    <a:pt x="-60" y="137233"/>
                    <a:pt x="6557" y="141544"/>
                    <a:pt x="16176" y="145656"/>
                  </a:cubicBezTo>
                  <a:cubicBezTo>
                    <a:pt x="29368" y="151371"/>
                    <a:pt x="19099" y="161732"/>
                    <a:pt x="25228" y="169654"/>
                  </a:cubicBezTo>
                  <a:cubicBezTo>
                    <a:pt x="32859" y="179681"/>
                    <a:pt x="39921" y="183758"/>
                    <a:pt x="33670" y="195891"/>
                  </a:cubicBezTo>
                  <a:cubicBezTo>
                    <a:pt x="28556" y="205918"/>
                    <a:pt x="22792" y="212603"/>
                    <a:pt x="22346" y="223299"/>
                  </a:cubicBezTo>
                  <a:cubicBezTo>
                    <a:pt x="30707" y="221293"/>
                    <a:pt x="29246" y="212804"/>
                    <a:pt x="39150" y="21300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5FBA3528-9B21-4254-BB5C-E12534C31687}"/>
                </a:ext>
              </a:extLst>
            </p:cNvPr>
            <p:cNvSpPr/>
            <p:nvPr/>
          </p:nvSpPr>
          <p:spPr>
            <a:xfrm>
              <a:off x="5644096" y="4597126"/>
              <a:ext cx="234543" cy="98251"/>
            </a:xfrm>
            <a:custGeom>
              <a:avLst/>
              <a:gdLst>
                <a:gd name="connsiteX0" fmla="*/ 234324 w 234543"/>
                <a:gd name="connsiteY0" fmla="*/ 49475 h 98251"/>
                <a:gd name="connsiteX1" fmla="*/ 220685 w 234543"/>
                <a:gd name="connsiteY1" fmla="*/ 41153 h 98251"/>
                <a:gd name="connsiteX2" fmla="*/ 216626 w 234543"/>
                <a:gd name="connsiteY2" fmla="*/ 37476 h 98251"/>
                <a:gd name="connsiteX3" fmla="*/ 197103 w 234543"/>
                <a:gd name="connsiteY3" fmla="*/ 34468 h 98251"/>
                <a:gd name="connsiteX4" fmla="*/ 188132 w 234543"/>
                <a:gd name="connsiteY4" fmla="*/ 30223 h 98251"/>
                <a:gd name="connsiteX5" fmla="*/ 173520 w 234543"/>
                <a:gd name="connsiteY5" fmla="*/ 18458 h 98251"/>
                <a:gd name="connsiteX6" fmla="*/ 162520 w 234543"/>
                <a:gd name="connsiteY6" fmla="*/ -125 h 98251"/>
                <a:gd name="connsiteX7" fmla="*/ 122824 w 234543"/>
                <a:gd name="connsiteY7" fmla="*/ 5189 h 98251"/>
                <a:gd name="connsiteX8" fmla="*/ 99525 w 234543"/>
                <a:gd name="connsiteY8" fmla="*/ 10938 h 98251"/>
                <a:gd name="connsiteX9" fmla="*/ 87064 w 234543"/>
                <a:gd name="connsiteY9" fmla="*/ 16386 h 98251"/>
                <a:gd name="connsiteX10" fmla="*/ 62710 w 234543"/>
                <a:gd name="connsiteY10" fmla="*/ 26613 h 98251"/>
                <a:gd name="connsiteX11" fmla="*/ 48910 w 234543"/>
                <a:gd name="connsiteY11" fmla="*/ 31861 h 98251"/>
                <a:gd name="connsiteX12" fmla="*/ 36733 w 234543"/>
                <a:gd name="connsiteY12" fmla="*/ 33398 h 98251"/>
                <a:gd name="connsiteX13" fmla="*/ 31497 w 234543"/>
                <a:gd name="connsiteY13" fmla="*/ 46066 h 98251"/>
                <a:gd name="connsiteX14" fmla="*/ 19320 w 234543"/>
                <a:gd name="connsiteY14" fmla="*/ 59201 h 98251"/>
                <a:gd name="connsiteX15" fmla="*/ 3084 w 234543"/>
                <a:gd name="connsiteY15" fmla="*/ 61675 h 98251"/>
                <a:gd name="connsiteX16" fmla="*/ 729 w 234543"/>
                <a:gd name="connsiteY16" fmla="*/ 81729 h 98251"/>
                <a:gd name="connsiteX17" fmla="*/ 13312 w 234543"/>
                <a:gd name="connsiteY17" fmla="*/ 90853 h 98251"/>
                <a:gd name="connsiteX18" fmla="*/ 26991 w 234543"/>
                <a:gd name="connsiteY18" fmla="*/ 97304 h 98251"/>
                <a:gd name="connsiteX19" fmla="*/ 60112 w 234543"/>
                <a:gd name="connsiteY19" fmla="*/ 91021 h 98251"/>
                <a:gd name="connsiteX20" fmla="*/ 81178 w 234543"/>
                <a:gd name="connsiteY20" fmla="*/ 86141 h 98251"/>
                <a:gd name="connsiteX21" fmla="*/ 81706 w 234543"/>
                <a:gd name="connsiteY21" fmla="*/ 72069 h 98251"/>
                <a:gd name="connsiteX22" fmla="*/ 118237 w 234543"/>
                <a:gd name="connsiteY22" fmla="*/ 69997 h 98251"/>
                <a:gd name="connsiteX23" fmla="*/ 146650 w 234543"/>
                <a:gd name="connsiteY23" fmla="*/ 70565 h 98251"/>
                <a:gd name="connsiteX24" fmla="*/ 167229 w 234543"/>
                <a:gd name="connsiteY24" fmla="*/ 66621 h 98251"/>
                <a:gd name="connsiteX25" fmla="*/ 190771 w 234543"/>
                <a:gd name="connsiteY25" fmla="*/ 65685 h 98251"/>
                <a:gd name="connsiteX26" fmla="*/ 207007 w 234543"/>
                <a:gd name="connsiteY26" fmla="*/ 59937 h 98251"/>
                <a:gd name="connsiteX27" fmla="*/ 234202 w 234543"/>
                <a:gd name="connsiteY27" fmla="*/ 49408 h 98251"/>
                <a:gd name="connsiteX28" fmla="*/ 234324 w 234543"/>
                <a:gd name="connsiteY28" fmla="*/ 49475 h 9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34543" h="98251">
                  <a:moveTo>
                    <a:pt x="234324" y="49475"/>
                  </a:moveTo>
                  <a:cubicBezTo>
                    <a:pt x="225800" y="45197"/>
                    <a:pt x="220929" y="48740"/>
                    <a:pt x="220685" y="41153"/>
                  </a:cubicBezTo>
                  <a:cubicBezTo>
                    <a:pt x="220685" y="39247"/>
                    <a:pt x="221741" y="36407"/>
                    <a:pt x="216626" y="37476"/>
                  </a:cubicBezTo>
                  <a:cubicBezTo>
                    <a:pt x="206276" y="39682"/>
                    <a:pt x="204166" y="38813"/>
                    <a:pt x="197103" y="34468"/>
                  </a:cubicBezTo>
                  <a:cubicBezTo>
                    <a:pt x="193409" y="32195"/>
                    <a:pt x="189391" y="33966"/>
                    <a:pt x="188132" y="30223"/>
                  </a:cubicBezTo>
                  <a:cubicBezTo>
                    <a:pt x="186103" y="24073"/>
                    <a:pt x="182572" y="22001"/>
                    <a:pt x="173520" y="18458"/>
                  </a:cubicBezTo>
                  <a:cubicBezTo>
                    <a:pt x="165443" y="14805"/>
                    <a:pt x="161059" y="7361"/>
                    <a:pt x="162520" y="-125"/>
                  </a:cubicBezTo>
                  <a:cubicBezTo>
                    <a:pt x="142226" y="476"/>
                    <a:pt x="140683" y="-2933"/>
                    <a:pt x="122824" y="5189"/>
                  </a:cubicBezTo>
                  <a:cubicBezTo>
                    <a:pt x="115639" y="8531"/>
                    <a:pt x="106588" y="8164"/>
                    <a:pt x="99525" y="10938"/>
                  </a:cubicBezTo>
                  <a:cubicBezTo>
                    <a:pt x="93802" y="13144"/>
                    <a:pt x="97942" y="17622"/>
                    <a:pt x="87064" y="16386"/>
                  </a:cubicBezTo>
                  <a:cubicBezTo>
                    <a:pt x="76835" y="15182"/>
                    <a:pt x="69245" y="22536"/>
                    <a:pt x="62710" y="26613"/>
                  </a:cubicBezTo>
                  <a:cubicBezTo>
                    <a:pt x="56175" y="30691"/>
                    <a:pt x="61736" y="35237"/>
                    <a:pt x="48910" y="31861"/>
                  </a:cubicBezTo>
                  <a:cubicBezTo>
                    <a:pt x="42781" y="30256"/>
                    <a:pt x="39046" y="28719"/>
                    <a:pt x="36733" y="33398"/>
                  </a:cubicBezTo>
                  <a:cubicBezTo>
                    <a:pt x="34419" y="38078"/>
                    <a:pt x="35312" y="41855"/>
                    <a:pt x="31497" y="46066"/>
                  </a:cubicBezTo>
                  <a:cubicBezTo>
                    <a:pt x="27681" y="50277"/>
                    <a:pt x="26951" y="56661"/>
                    <a:pt x="19320" y="59201"/>
                  </a:cubicBezTo>
                  <a:cubicBezTo>
                    <a:pt x="14205" y="60873"/>
                    <a:pt x="8239" y="60171"/>
                    <a:pt x="3084" y="61675"/>
                  </a:cubicBezTo>
                  <a:cubicBezTo>
                    <a:pt x="6169" y="60739"/>
                    <a:pt x="1460" y="80258"/>
                    <a:pt x="729" y="81729"/>
                  </a:cubicBezTo>
                  <a:cubicBezTo>
                    <a:pt x="-2923" y="89483"/>
                    <a:pt x="6940" y="85439"/>
                    <a:pt x="13312" y="90853"/>
                  </a:cubicBezTo>
                  <a:cubicBezTo>
                    <a:pt x="17250" y="93811"/>
                    <a:pt x="21917" y="96017"/>
                    <a:pt x="26991" y="97304"/>
                  </a:cubicBezTo>
                  <a:cubicBezTo>
                    <a:pt x="37788" y="100212"/>
                    <a:pt x="48341" y="91789"/>
                    <a:pt x="60112" y="91021"/>
                  </a:cubicBezTo>
                  <a:cubicBezTo>
                    <a:pt x="70057" y="90385"/>
                    <a:pt x="87632" y="97271"/>
                    <a:pt x="81178" y="86141"/>
                  </a:cubicBezTo>
                  <a:cubicBezTo>
                    <a:pt x="78743" y="81896"/>
                    <a:pt x="70097" y="73674"/>
                    <a:pt x="81706" y="72069"/>
                  </a:cubicBezTo>
                  <a:cubicBezTo>
                    <a:pt x="93802" y="70676"/>
                    <a:pt x="106019" y="69984"/>
                    <a:pt x="118237" y="69997"/>
                  </a:cubicBezTo>
                  <a:cubicBezTo>
                    <a:pt x="127694" y="69553"/>
                    <a:pt x="137233" y="69743"/>
                    <a:pt x="146650" y="70565"/>
                  </a:cubicBezTo>
                  <a:cubicBezTo>
                    <a:pt x="154768" y="71568"/>
                    <a:pt x="154768" y="65619"/>
                    <a:pt x="167229" y="66621"/>
                  </a:cubicBezTo>
                  <a:cubicBezTo>
                    <a:pt x="174738" y="67223"/>
                    <a:pt x="184277" y="69128"/>
                    <a:pt x="190771" y="65685"/>
                  </a:cubicBezTo>
                  <a:cubicBezTo>
                    <a:pt x="196494" y="62644"/>
                    <a:pt x="199132" y="60438"/>
                    <a:pt x="207007" y="59937"/>
                  </a:cubicBezTo>
                  <a:cubicBezTo>
                    <a:pt x="214881" y="59435"/>
                    <a:pt x="237246" y="56594"/>
                    <a:pt x="234202" y="49408"/>
                  </a:cubicBezTo>
                  <a:cubicBezTo>
                    <a:pt x="229818" y="47236"/>
                    <a:pt x="234324" y="49542"/>
                    <a:pt x="234324" y="4947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2772A804-59A5-400F-9B23-E0F91FE6F077}"/>
                </a:ext>
              </a:extLst>
            </p:cNvPr>
            <p:cNvSpPr/>
            <p:nvPr/>
          </p:nvSpPr>
          <p:spPr>
            <a:xfrm>
              <a:off x="5806005" y="4438655"/>
              <a:ext cx="455408" cy="208423"/>
            </a:xfrm>
            <a:custGeom>
              <a:avLst/>
              <a:gdLst>
                <a:gd name="connsiteX0" fmla="*/ 437600 w 455408"/>
                <a:gd name="connsiteY0" fmla="*/ 30400 h 208423"/>
                <a:gd name="connsiteX1" fmla="*/ 436302 w 455408"/>
                <a:gd name="connsiteY1" fmla="*/ 8474 h 208423"/>
                <a:gd name="connsiteX2" fmla="*/ 409269 w 455408"/>
                <a:gd name="connsiteY2" fmla="*/ 13053 h 208423"/>
                <a:gd name="connsiteX3" fmla="*/ 356096 w 455408"/>
                <a:gd name="connsiteY3" fmla="*/ -316 h 208423"/>
                <a:gd name="connsiteX4" fmla="*/ 298012 w 455408"/>
                <a:gd name="connsiteY4" fmla="*/ 17432 h 208423"/>
                <a:gd name="connsiteX5" fmla="*/ 169424 w 455408"/>
                <a:gd name="connsiteY5" fmla="*/ 69974 h 208423"/>
                <a:gd name="connsiteX6" fmla="*/ 138697 w 455408"/>
                <a:gd name="connsiteY6" fmla="*/ 77427 h 208423"/>
                <a:gd name="connsiteX7" fmla="*/ 116413 w 455408"/>
                <a:gd name="connsiteY7" fmla="*/ 81438 h 208423"/>
                <a:gd name="connsiteX8" fmla="*/ 117225 w 455408"/>
                <a:gd name="connsiteY8" fmla="*/ 97247 h 208423"/>
                <a:gd name="connsiteX9" fmla="*/ 84388 w 455408"/>
                <a:gd name="connsiteY9" fmla="*/ 147984 h 208423"/>
                <a:gd name="connsiteX10" fmla="*/ 23503 w 455408"/>
                <a:gd name="connsiteY10" fmla="*/ 155505 h 208423"/>
                <a:gd name="connsiteX11" fmla="*/ -38 w 455408"/>
                <a:gd name="connsiteY11" fmla="*/ 162390 h 208423"/>
                <a:gd name="connsiteX12" fmla="*/ 8080 w 455408"/>
                <a:gd name="connsiteY12" fmla="*/ 174824 h 208423"/>
                <a:gd name="connsiteX13" fmla="*/ 26061 w 455408"/>
                <a:gd name="connsiteY13" fmla="*/ 188795 h 208423"/>
                <a:gd name="connsiteX14" fmla="*/ 43027 w 455408"/>
                <a:gd name="connsiteY14" fmla="*/ 197518 h 208423"/>
                <a:gd name="connsiteX15" fmla="*/ 58532 w 455408"/>
                <a:gd name="connsiteY15" fmla="*/ 199724 h 208423"/>
                <a:gd name="connsiteX16" fmla="*/ 72171 w 455408"/>
                <a:gd name="connsiteY16" fmla="*/ 208047 h 208423"/>
                <a:gd name="connsiteX17" fmla="*/ 82196 w 455408"/>
                <a:gd name="connsiteY17" fmla="*/ 199858 h 208423"/>
                <a:gd name="connsiteX18" fmla="*/ 91979 w 455408"/>
                <a:gd name="connsiteY18" fmla="*/ 207679 h 208423"/>
                <a:gd name="connsiteX19" fmla="*/ 116333 w 455408"/>
                <a:gd name="connsiteY19" fmla="*/ 191903 h 208423"/>
                <a:gd name="connsiteX20" fmla="*/ 138982 w 455408"/>
                <a:gd name="connsiteY20" fmla="*/ 176829 h 208423"/>
                <a:gd name="connsiteX21" fmla="*/ 156232 w 455408"/>
                <a:gd name="connsiteY21" fmla="*/ 175392 h 208423"/>
                <a:gd name="connsiteX22" fmla="*/ 172468 w 455408"/>
                <a:gd name="connsiteY22" fmla="*/ 175225 h 208423"/>
                <a:gd name="connsiteX23" fmla="*/ 193006 w 455408"/>
                <a:gd name="connsiteY23" fmla="*/ 179904 h 208423"/>
                <a:gd name="connsiteX24" fmla="*/ 206685 w 455408"/>
                <a:gd name="connsiteY24" fmla="*/ 186187 h 208423"/>
                <a:gd name="connsiteX25" fmla="*/ 249507 w 455408"/>
                <a:gd name="connsiteY25" fmla="*/ 187625 h 208423"/>
                <a:gd name="connsiteX26" fmla="*/ 291964 w 455408"/>
                <a:gd name="connsiteY26" fmla="*/ 183547 h 208423"/>
                <a:gd name="connsiteX27" fmla="*/ 340672 w 455408"/>
                <a:gd name="connsiteY27" fmla="*/ 180940 h 208423"/>
                <a:gd name="connsiteX28" fmla="*/ 381952 w 455408"/>
                <a:gd name="connsiteY28" fmla="*/ 175024 h 208423"/>
                <a:gd name="connsiteX29" fmla="*/ 390070 w 455408"/>
                <a:gd name="connsiteY29" fmla="*/ 173620 h 208423"/>
                <a:gd name="connsiteX30" fmla="*/ 390760 w 455408"/>
                <a:gd name="connsiteY30" fmla="*/ 163994 h 208423"/>
                <a:gd name="connsiteX31" fmla="*/ 396605 w 455408"/>
                <a:gd name="connsiteY31" fmla="*/ 153566 h 208423"/>
                <a:gd name="connsiteX32" fmla="*/ 443242 w 455408"/>
                <a:gd name="connsiteY32" fmla="*/ 120142 h 208423"/>
                <a:gd name="connsiteX33" fmla="*/ 448560 w 455408"/>
                <a:gd name="connsiteY33" fmla="*/ 82173 h 208423"/>
                <a:gd name="connsiteX34" fmla="*/ 455216 w 455408"/>
                <a:gd name="connsiteY34" fmla="*/ 55902 h 208423"/>
                <a:gd name="connsiteX35" fmla="*/ 437600 w 455408"/>
                <a:gd name="connsiteY35" fmla="*/ 30400 h 208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455408" h="208423">
                  <a:moveTo>
                    <a:pt x="437600" y="30400"/>
                  </a:moveTo>
                  <a:cubicBezTo>
                    <a:pt x="437600" y="23080"/>
                    <a:pt x="436829" y="15761"/>
                    <a:pt x="436302" y="8474"/>
                  </a:cubicBezTo>
                  <a:cubicBezTo>
                    <a:pt x="428184" y="10814"/>
                    <a:pt x="415438" y="17599"/>
                    <a:pt x="409269" y="13053"/>
                  </a:cubicBezTo>
                  <a:cubicBezTo>
                    <a:pt x="395468" y="3026"/>
                    <a:pt x="377568" y="319"/>
                    <a:pt x="356096" y="-316"/>
                  </a:cubicBezTo>
                  <a:cubicBezTo>
                    <a:pt x="337019" y="-951"/>
                    <a:pt x="313355" y="11950"/>
                    <a:pt x="298012" y="17432"/>
                  </a:cubicBezTo>
                  <a:cubicBezTo>
                    <a:pt x="253850" y="32693"/>
                    <a:pt x="210906" y="50244"/>
                    <a:pt x="169424" y="69974"/>
                  </a:cubicBezTo>
                  <a:cubicBezTo>
                    <a:pt x="161306" y="73951"/>
                    <a:pt x="148683" y="75388"/>
                    <a:pt x="138697" y="77427"/>
                  </a:cubicBezTo>
                  <a:cubicBezTo>
                    <a:pt x="131310" y="78965"/>
                    <a:pt x="123963" y="80335"/>
                    <a:pt x="116413" y="81438"/>
                  </a:cubicBezTo>
                  <a:cubicBezTo>
                    <a:pt x="116738" y="86719"/>
                    <a:pt x="117022" y="91966"/>
                    <a:pt x="117225" y="97247"/>
                  </a:cubicBezTo>
                  <a:cubicBezTo>
                    <a:pt x="117915" y="113224"/>
                    <a:pt x="122868" y="144809"/>
                    <a:pt x="84388" y="147984"/>
                  </a:cubicBezTo>
                  <a:cubicBezTo>
                    <a:pt x="66407" y="149455"/>
                    <a:pt x="38846" y="149622"/>
                    <a:pt x="23503" y="155505"/>
                  </a:cubicBezTo>
                  <a:cubicBezTo>
                    <a:pt x="14331" y="159081"/>
                    <a:pt x="530" y="155237"/>
                    <a:pt x="-38" y="162390"/>
                  </a:cubicBezTo>
                  <a:cubicBezTo>
                    <a:pt x="-404" y="166902"/>
                    <a:pt x="4021" y="171113"/>
                    <a:pt x="8080" y="174824"/>
                  </a:cubicBezTo>
                  <a:cubicBezTo>
                    <a:pt x="14493" y="180873"/>
                    <a:pt x="23463" y="180940"/>
                    <a:pt x="26061" y="188795"/>
                  </a:cubicBezTo>
                  <a:cubicBezTo>
                    <a:pt x="26751" y="190867"/>
                    <a:pt x="39577" y="196883"/>
                    <a:pt x="43027" y="197518"/>
                  </a:cubicBezTo>
                  <a:cubicBezTo>
                    <a:pt x="51470" y="199089"/>
                    <a:pt x="58248" y="192137"/>
                    <a:pt x="58532" y="199724"/>
                  </a:cubicBezTo>
                  <a:cubicBezTo>
                    <a:pt x="58817" y="207311"/>
                    <a:pt x="63647" y="203768"/>
                    <a:pt x="72171" y="208047"/>
                  </a:cubicBezTo>
                  <a:cubicBezTo>
                    <a:pt x="70507" y="204270"/>
                    <a:pt x="73673" y="198621"/>
                    <a:pt x="82196" y="199858"/>
                  </a:cubicBezTo>
                  <a:cubicBezTo>
                    <a:pt x="89909" y="200994"/>
                    <a:pt x="85038" y="206075"/>
                    <a:pt x="91979" y="207679"/>
                  </a:cubicBezTo>
                  <a:cubicBezTo>
                    <a:pt x="104845" y="210620"/>
                    <a:pt x="108580" y="196783"/>
                    <a:pt x="116333" y="191903"/>
                  </a:cubicBezTo>
                  <a:cubicBezTo>
                    <a:pt x="127860" y="184750"/>
                    <a:pt x="112841" y="175559"/>
                    <a:pt x="138982" y="176829"/>
                  </a:cubicBezTo>
                  <a:cubicBezTo>
                    <a:pt x="145882" y="177163"/>
                    <a:pt x="150753" y="178467"/>
                    <a:pt x="156232" y="175392"/>
                  </a:cubicBezTo>
                  <a:cubicBezTo>
                    <a:pt x="163457" y="171314"/>
                    <a:pt x="164350" y="174322"/>
                    <a:pt x="172468" y="175225"/>
                  </a:cubicBezTo>
                  <a:cubicBezTo>
                    <a:pt x="180586" y="176127"/>
                    <a:pt x="188014" y="174690"/>
                    <a:pt x="193006" y="179904"/>
                  </a:cubicBezTo>
                  <a:cubicBezTo>
                    <a:pt x="195523" y="182544"/>
                    <a:pt x="199338" y="188861"/>
                    <a:pt x="206685" y="186187"/>
                  </a:cubicBezTo>
                  <a:cubicBezTo>
                    <a:pt x="223976" y="179837"/>
                    <a:pt x="233840" y="182310"/>
                    <a:pt x="249507" y="187625"/>
                  </a:cubicBezTo>
                  <a:cubicBezTo>
                    <a:pt x="263633" y="191923"/>
                    <a:pt x="279422" y="190406"/>
                    <a:pt x="291964" y="183547"/>
                  </a:cubicBezTo>
                  <a:cubicBezTo>
                    <a:pt x="300569" y="179202"/>
                    <a:pt x="330240" y="177899"/>
                    <a:pt x="340672" y="180940"/>
                  </a:cubicBezTo>
                  <a:cubicBezTo>
                    <a:pt x="362388" y="187357"/>
                    <a:pt x="366244" y="183313"/>
                    <a:pt x="381952" y="175024"/>
                  </a:cubicBezTo>
                  <a:cubicBezTo>
                    <a:pt x="384306" y="173620"/>
                    <a:pt x="387229" y="173109"/>
                    <a:pt x="390070" y="173620"/>
                  </a:cubicBezTo>
                  <a:cubicBezTo>
                    <a:pt x="390110" y="170405"/>
                    <a:pt x="390313" y="167190"/>
                    <a:pt x="390760" y="163994"/>
                  </a:cubicBezTo>
                  <a:cubicBezTo>
                    <a:pt x="391693" y="160385"/>
                    <a:pt x="395468" y="157309"/>
                    <a:pt x="396605" y="153566"/>
                  </a:cubicBezTo>
                  <a:cubicBezTo>
                    <a:pt x="400217" y="141400"/>
                    <a:pt x="427859" y="128031"/>
                    <a:pt x="443242" y="120142"/>
                  </a:cubicBezTo>
                  <a:cubicBezTo>
                    <a:pt x="453999" y="114761"/>
                    <a:pt x="448357" y="90061"/>
                    <a:pt x="448560" y="82173"/>
                  </a:cubicBezTo>
                  <a:cubicBezTo>
                    <a:pt x="448844" y="73550"/>
                    <a:pt x="456434" y="64058"/>
                    <a:pt x="455216" y="55902"/>
                  </a:cubicBezTo>
                  <a:cubicBezTo>
                    <a:pt x="453999" y="47747"/>
                    <a:pt x="437479" y="38054"/>
                    <a:pt x="437600" y="3040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C9E40864-22CC-4556-89E1-B44477304386}"/>
                </a:ext>
              </a:extLst>
            </p:cNvPr>
            <p:cNvSpPr/>
            <p:nvPr/>
          </p:nvSpPr>
          <p:spPr>
            <a:xfrm>
              <a:off x="6195863" y="4439773"/>
              <a:ext cx="299337" cy="282878"/>
            </a:xfrm>
            <a:custGeom>
              <a:avLst/>
              <a:gdLst>
                <a:gd name="connsiteX0" fmla="*/ 299278 w 299337"/>
                <a:gd name="connsiteY0" fmla="*/ 76343 h 282878"/>
                <a:gd name="connsiteX1" fmla="*/ 159121 w 299337"/>
                <a:gd name="connsiteY1" fmla="*/ 27712 h 282878"/>
                <a:gd name="connsiteX2" fmla="*/ 83381 w 299337"/>
                <a:gd name="connsiteY2" fmla="*/ 2678 h 282878"/>
                <a:gd name="connsiteX3" fmla="*/ 72624 w 299337"/>
                <a:gd name="connsiteY3" fmla="*/ -230 h 282878"/>
                <a:gd name="connsiteX4" fmla="*/ 53466 w 299337"/>
                <a:gd name="connsiteY4" fmla="*/ 5285 h 282878"/>
                <a:gd name="connsiteX5" fmla="*/ 47337 w 299337"/>
                <a:gd name="connsiteY5" fmla="*/ 20492 h 282878"/>
                <a:gd name="connsiteX6" fmla="*/ 52248 w 299337"/>
                <a:gd name="connsiteY6" fmla="*/ 34697 h 282878"/>
                <a:gd name="connsiteX7" fmla="*/ 62193 w 299337"/>
                <a:gd name="connsiteY7" fmla="*/ 50540 h 282878"/>
                <a:gd name="connsiteX8" fmla="*/ 58905 w 299337"/>
                <a:gd name="connsiteY8" fmla="*/ 83563 h 282878"/>
                <a:gd name="connsiteX9" fmla="*/ 56632 w 299337"/>
                <a:gd name="connsiteY9" fmla="*/ 113276 h 282878"/>
                <a:gd name="connsiteX10" fmla="*/ 36337 w 299337"/>
                <a:gd name="connsiteY10" fmla="*/ 128952 h 282878"/>
                <a:gd name="connsiteX11" fmla="*/ 14500 w 299337"/>
                <a:gd name="connsiteY11" fmla="*/ 182430 h 282878"/>
                <a:gd name="connsiteX12" fmla="*/ 33455 w 299337"/>
                <a:gd name="connsiteY12" fmla="*/ 191287 h 282878"/>
                <a:gd name="connsiteX13" fmla="*/ 38367 w 299337"/>
                <a:gd name="connsiteY13" fmla="*/ 204656 h 282878"/>
                <a:gd name="connsiteX14" fmla="*/ 41614 w 299337"/>
                <a:gd name="connsiteY14" fmla="*/ 222304 h 282878"/>
                <a:gd name="connsiteX15" fmla="*/ 53425 w 299337"/>
                <a:gd name="connsiteY15" fmla="*/ 237311 h 282878"/>
                <a:gd name="connsiteX16" fmla="*/ 15190 w 299337"/>
                <a:gd name="connsiteY16" fmla="*/ 240252 h 282878"/>
                <a:gd name="connsiteX17" fmla="*/ 42750 w 299337"/>
                <a:gd name="connsiteY17" fmla="*/ 263850 h 282878"/>
                <a:gd name="connsiteX18" fmla="*/ 72381 w 299337"/>
                <a:gd name="connsiteY18" fmla="*/ 277854 h 282878"/>
                <a:gd name="connsiteX19" fmla="*/ 84883 w 299337"/>
                <a:gd name="connsiteY19" fmla="*/ 278990 h 282878"/>
                <a:gd name="connsiteX20" fmla="*/ 104447 w 299337"/>
                <a:gd name="connsiteY20" fmla="*/ 274879 h 282878"/>
                <a:gd name="connsiteX21" fmla="*/ 144347 w 299337"/>
                <a:gd name="connsiteY21" fmla="*/ 267493 h 282878"/>
                <a:gd name="connsiteX22" fmla="*/ 147715 w 299337"/>
                <a:gd name="connsiteY22" fmla="*/ 258970 h 282878"/>
                <a:gd name="connsiteX23" fmla="*/ 170446 w 299337"/>
                <a:gd name="connsiteY23" fmla="*/ 256664 h 282878"/>
                <a:gd name="connsiteX24" fmla="*/ 217814 w 299337"/>
                <a:gd name="connsiteY24" fmla="*/ 238448 h 282878"/>
                <a:gd name="connsiteX25" fmla="*/ 227231 w 299337"/>
                <a:gd name="connsiteY25" fmla="*/ 229056 h 282878"/>
                <a:gd name="connsiteX26" fmla="*/ 256537 w 299337"/>
                <a:gd name="connsiteY26" fmla="*/ 225279 h 282878"/>
                <a:gd name="connsiteX27" fmla="*/ 259053 w 299337"/>
                <a:gd name="connsiteY27" fmla="*/ 218594 h 282878"/>
                <a:gd name="connsiteX28" fmla="*/ 249352 w 299337"/>
                <a:gd name="connsiteY28" fmla="*/ 211909 h 282878"/>
                <a:gd name="connsiteX29" fmla="*/ 245821 w 299337"/>
                <a:gd name="connsiteY29" fmla="*/ 194696 h 282878"/>
                <a:gd name="connsiteX30" fmla="*/ 238149 w 299337"/>
                <a:gd name="connsiteY30" fmla="*/ 183833 h 282878"/>
                <a:gd name="connsiteX31" fmla="*/ 236729 w 299337"/>
                <a:gd name="connsiteY31" fmla="*/ 174809 h 282878"/>
                <a:gd name="connsiteX32" fmla="*/ 247242 w 299337"/>
                <a:gd name="connsiteY32" fmla="*/ 169227 h 282878"/>
                <a:gd name="connsiteX33" fmla="*/ 254061 w 299337"/>
                <a:gd name="connsiteY33" fmla="*/ 159200 h 282878"/>
                <a:gd name="connsiteX34" fmla="*/ 266765 w 299337"/>
                <a:gd name="connsiteY34" fmla="*/ 147067 h 282878"/>
                <a:gd name="connsiteX35" fmla="*/ 295178 w 299337"/>
                <a:gd name="connsiteY35" fmla="*/ 135804 h 282878"/>
                <a:gd name="connsiteX36" fmla="*/ 296518 w 299337"/>
                <a:gd name="connsiteY36" fmla="*/ 119292 h 282878"/>
                <a:gd name="connsiteX37" fmla="*/ 299278 w 299337"/>
                <a:gd name="connsiteY37" fmla="*/ 76343 h 28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9337" h="282878">
                  <a:moveTo>
                    <a:pt x="299278" y="76343"/>
                  </a:moveTo>
                  <a:cubicBezTo>
                    <a:pt x="252924" y="59765"/>
                    <a:pt x="206205" y="43555"/>
                    <a:pt x="159121" y="27712"/>
                  </a:cubicBezTo>
                  <a:cubicBezTo>
                    <a:pt x="133996" y="19266"/>
                    <a:pt x="108749" y="10923"/>
                    <a:pt x="83381" y="2678"/>
                  </a:cubicBezTo>
                  <a:cubicBezTo>
                    <a:pt x="81229" y="1976"/>
                    <a:pt x="75263" y="-932"/>
                    <a:pt x="72624" y="-230"/>
                  </a:cubicBezTo>
                  <a:lnTo>
                    <a:pt x="53466" y="5285"/>
                  </a:lnTo>
                  <a:cubicBezTo>
                    <a:pt x="42385" y="8627"/>
                    <a:pt x="46891" y="13707"/>
                    <a:pt x="47337" y="20492"/>
                  </a:cubicBezTo>
                  <a:cubicBezTo>
                    <a:pt x="47662" y="25807"/>
                    <a:pt x="46687" y="30118"/>
                    <a:pt x="52248" y="34697"/>
                  </a:cubicBezTo>
                  <a:cubicBezTo>
                    <a:pt x="58621" y="39911"/>
                    <a:pt x="56794" y="45727"/>
                    <a:pt x="62193" y="50540"/>
                  </a:cubicBezTo>
                  <a:cubicBezTo>
                    <a:pt x="70757" y="58161"/>
                    <a:pt x="59189" y="73937"/>
                    <a:pt x="58905" y="83563"/>
                  </a:cubicBezTo>
                  <a:cubicBezTo>
                    <a:pt x="58864" y="93496"/>
                    <a:pt x="58093" y="103416"/>
                    <a:pt x="56632" y="113276"/>
                  </a:cubicBezTo>
                  <a:cubicBezTo>
                    <a:pt x="55333" y="120529"/>
                    <a:pt x="44699" y="123872"/>
                    <a:pt x="36337" y="128952"/>
                  </a:cubicBezTo>
                  <a:cubicBezTo>
                    <a:pt x="17422" y="140450"/>
                    <a:pt x="-21097" y="169060"/>
                    <a:pt x="14500" y="182430"/>
                  </a:cubicBezTo>
                  <a:cubicBezTo>
                    <a:pt x="22983" y="185772"/>
                    <a:pt x="28057" y="185003"/>
                    <a:pt x="33455" y="191287"/>
                  </a:cubicBezTo>
                  <a:cubicBezTo>
                    <a:pt x="37514" y="195833"/>
                    <a:pt x="36175" y="199910"/>
                    <a:pt x="38367" y="204656"/>
                  </a:cubicBezTo>
                  <a:cubicBezTo>
                    <a:pt x="41127" y="210539"/>
                    <a:pt x="39503" y="216388"/>
                    <a:pt x="41614" y="222304"/>
                  </a:cubicBezTo>
                  <a:cubicBezTo>
                    <a:pt x="42548" y="224911"/>
                    <a:pt x="53791" y="235874"/>
                    <a:pt x="53425" y="237311"/>
                  </a:cubicBezTo>
                  <a:cubicBezTo>
                    <a:pt x="51558" y="242124"/>
                    <a:pt x="15312" y="234203"/>
                    <a:pt x="15190" y="240252"/>
                  </a:cubicBezTo>
                  <a:cubicBezTo>
                    <a:pt x="15190" y="252987"/>
                    <a:pt x="32360" y="254123"/>
                    <a:pt x="42750" y="263850"/>
                  </a:cubicBezTo>
                  <a:cubicBezTo>
                    <a:pt x="49123" y="269799"/>
                    <a:pt x="54927" y="292126"/>
                    <a:pt x="72381" y="277854"/>
                  </a:cubicBezTo>
                  <a:cubicBezTo>
                    <a:pt x="76440" y="274512"/>
                    <a:pt x="80864" y="277854"/>
                    <a:pt x="84883" y="278990"/>
                  </a:cubicBezTo>
                  <a:cubicBezTo>
                    <a:pt x="88901" y="280127"/>
                    <a:pt x="99170" y="275381"/>
                    <a:pt x="104447" y="274879"/>
                  </a:cubicBezTo>
                  <a:cubicBezTo>
                    <a:pt x="118085" y="273950"/>
                    <a:pt x="131520" y="271463"/>
                    <a:pt x="144347" y="267493"/>
                  </a:cubicBezTo>
                  <a:cubicBezTo>
                    <a:pt x="153357" y="264585"/>
                    <a:pt x="146863" y="263415"/>
                    <a:pt x="147715" y="258970"/>
                  </a:cubicBezTo>
                  <a:cubicBezTo>
                    <a:pt x="148568" y="254524"/>
                    <a:pt x="166143" y="256563"/>
                    <a:pt x="170446" y="256664"/>
                  </a:cubicBezTo>
                  <a:cubicBezTo>
                    <a:pt x="191836" y="257131"/>
                    <a:pt x="202917" y="245935"/>
                    <a:pt x="217814" y="238448"/>
                  </a:cubicBezTo>
                  <a:cubicBezTo>
                    <a:pt x="223334" y="235673"/>
                    <a:pt x="222117" y="231763"/>
                    <a:pt x="227231" y="229056"/>
                  </a:cubicBezTo>
                  <a:cubicBezTo>
                    <a:pt x="237459" y="223574"/>
                    <a:pt x="244319" y="224477"/>
                    <a:pt x="256537" y="225279"/>
                  </a:cubicBezTo>
                  <a:cubicBezTo>
                    <a:pt x="254507" y="223674"/>
                    <a:pt x="258120" y="220198"/>
                    <a:pt x="259053" y="218594"/>
                  </a:cubicBezTo>
                  <a:cubicBezTo>
                    <a:pt x="259987" y="216990"/>
                    <a:pt x="251706" y="213982"/>
                    <a:pt x="249352" y="211909"/>
                  </a:cubicBezTo>
                  <a:cubicBezTo>
                    <a:pt x="242574" y="206461"/>
                    <a:pt x="251788" y="199543"/>
                    <a:pt x="245821" y="194696"/>
                  </a:cubicBezTo>
                  <a:cubicBezTo>
                    <a:pt x="241194" y="190919"/>
                    <a:pt x="224552" y="191020"/>
                    <a:pt x="238149" y="183833"/>
                  </a:cubicBezTo>
                  <a:cubicBezTo>
                    <a:pt x="242655" y="181494"/>
                    <a:pt x="238149" y="177383"/>
                    <a:pt x="236729" y="174809"/>
                  </a:cubicBezTo>
                  <a:cubicBezTo>
                    <a:pt x="233441" y="169561"/>
                    <a:pt x="244400" y="172737"/>
                    <a:pt x="247242" y="169227"/>
                  </a:cubicBezTo>
                  <a:cubicBezTo>
                    <a:pt x="249393" y="166620"/>
                    <a:pt x="247242" y="159702"/>
                    <a:pt x="254061" y="159200"/>
                  </a:cubicBezTo>
                  <a:cubicBezTo>
                    <a:pt x="267293" y="158198"/>
                    <a:pt x="261489" y="151513"/>
                    <a:pt x="266765" y="147067"/>
                  </a:cubicBezTo>
                  <a:cubicBezTo>
                    <a:pt x="274558" y="140383"/>
                    <a:pt x="292864" y="144494"/>
                    <a:pt x="295178" y="135804"/>
                  </a:cubicBezTo>
                  <a:cubicBezTo>
                    <a:pt x="296152" y="130339"/>
                    <a:pt x="296639" y="124817"/>
                    <a:pt x="296518" y="119292"/>
                  </a:cubicBezTo>
                  <a:cubicBezTo>
                    <a:pt x="297410" y="104964"/>
                    <a:pt x="298344" y="90648"/>
                    <a:pt x="299278" y="7634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E8CDD5EA-C3ED-4B48-AB2B-18741BF7FBA6}"/>
                </a:ext>
              </a:extLst>
            </p:cNvPr>
            <p:cNvSpPr/>
            <p:nvPr/>
          </p:nvSpPr>
          <p:spPr>
            <a:xfrm>
              <a:off x="6524787" y="4291648"/>
              <a:ext cx="322605" cy="201383"/>
            </a:xfrm>
            <a:custGeom>
              <a:avLst/>
              <a:gdLst>
                <a:gd name="connsiteX0" fmla="*/ 315326 w 322605"/>
                <a:gd name="connsiteY0" fmla="*/ 59122 h 201383"/>
                <a:gd name="connsiteX1" fmla="*/ 296817 w 322605"/>
                <a:gd name="connsiteY1" fmla="*/ 27470 h 201383"/>
                <a:gd name="connsiteX2" fmla="*/ 268891 w 322605"/>
                <a:gd name="connsiteY2" fmla="*/ 26500 h 201383"/>
                <a:gd name="connsiteX3" fmla="*/ 222050 w 322605"/>
                <a:gd name="connsiteY3" fmla="*/ 19013 h 201383"/>
                <a:gd name="connsiteX4" fmla="*/ 162628 w 322605"/>
                <a:gd name="connsiteY4" fmla="*/ 18646 h 201383"/>
                <a:gd name="connsiteX5" fmla="*/ 138558 w 322605"/>
                <a:gd name="connsiteY5" fmla="*/ 23158 h 201383"/>
                <a:gd name="connsiteX6" fmla="*/ 98779 w 322605"/>
                <a:gd name="connsiteY6" fmla="*/ 13666 h 201383"/>
                <a:gd name="connsiteX7" fmla="*/ 20279 w 322605"/>
                <a:gd name="connsiteY7" fmla="*/ -339 h 201383"/>
                <a:gd name="connsiteX8" fmla="*/ 15490 w 322605"/>
                <a:gd name="connsiteY8" fmla="*/ 17443 h 201383"/>
                <a:gd name="connsiteX9" fmla="*/ 7372 w 322605"/>
                <a:gd name="connsiteY9" fmla="*/ 33319 h 201383"/>
                <a:gd name="connsiteX10" fmla="*/ 9198 w 322605"/>
                <a:gd name="connsiteY10" fmla="*/ 62932 h 201383"/>
                <a:gd name="connsiteX11" fmla="*/ 2663 w 322605"/>
                <a:gd name="connsiteY11" fmla="*/ 156919 h 201383"/>
                <a:gd name="connsiteX12" fmla="*/ 5951 w 322605"/>
                <a:gd name="connsiteY12" fmla="*/ 181084 h 201383"/>
                <a:gd name="connsiteX13" fmla="*/ 48449 w 322605"/>
                <a:gd name="connsiteY13" fmla="*/ 183224 h 201383"/>
                <a:gd name="connsiteX14" fmla="*/ 165590 w 322605"/>
                <a:gd name="connsiteY14" fmla="*/ 190142 h 201383"/>
                <a:gd name="connsiteX15" fmla="*/ 187387 w 322605"/>
                <a:gd name="connsiteY15" fmla="*/ 190343 h 201383"/>
                <a:gd name="connsiteX16" fmla="*/ 236095 w 322605"/>
                <a:gd name="connsiteY16" fmla="*/ 194086 h 201383"/>
                <a:gd name="connsiteX17" fmla="*/ 252331 w 322605"/>
                <a:gd name="connsiteY17" fmla="*/ 197830 h 201383"/>
                <a:gd name="connsiteX18" fmla="*/ 272626 w 322605"/>
                <a:gd name="connsiteY18" fmla="*/ 195958 h 201383"/>
                <a:gd name="connsiteX19" fmla="*/ 294260 w 322605"/>
                <a:gd name="connsiteY19" fmla="*/ 189474 h 201383"/>
                <a:gd name="connsiteX20" fmla="*/ 309644 w 322605"/>
                <a:gd name="connsiteY20" fmla="*/ 184561 h 201383"/>
                <a:gd name="connsiteX21" fmla="*/ 281718 w 322605"/>
                <a:gd name="connsiteY21" fmla="*/ 114772 h 201383"/>
                <a:gd name="connsiteX22" fmla="*/ 269297 w 322605"/>
                <a:gd name="connsiteY22" fmla="*/ 96322 h 201383"/>
                <a:gd name="connsiteX23" fmla="*/ 255821 w 322605"/>
                <a:gd name="connsiteY23" fmla="*/ 80513 h 201383"/>
                <a:gd name="connsiteX24" fmla="*/ 240032 w 322605"/>
                <a:gd name="connsiteY24" fmla="*/ 43747 h 201383"/>
                <a:gd name="connsiteX25" fmla="*/ 276116 w 322605"/>
                <a:gd name="connsiteY25" fmla="*/ 87198 h 201383"/>
                <a:gd name="connsiteX26" fmla="*/ 297020 w 322605"/>
                <a:gd name="connsiteY26" fmla="*/ 84290 h 201383"/>
                <a:gd name="connsiteX27" fmla="*/ 308223 w 322605"/>
                <a:gd name="connsiteY27" fmla="*/ 69984 h 201383"/>
                <a:gd name="connsiteX28" fmla="*/ 315326 w 322605"/>
                <a:gd name="connsiteY28" fmla="*/ 59122 h 20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2605" h="201383">
                  <a:moveTo>
                    <a:pt x="315326" y="59122"/>
                  </a:moveTo>
                  <a:cubicBezTo>
                    <a:pt x="309197" y="48560"/>
                    <a:pt x="303027" y="38008"/>
                    <a:pt x="296817" y="27470"/>
                  </a:cubicBezTo>
                  <a:cubicBezTo>
                    <a:pt x="289389" y="32684"/>
                    <a:pt x="279323" y="27470"/>
                    <a:pt x="268891" y="26500"/>
                  </a:cubicBezTo>
                  <a:cubicBezTo>
                    <a:pt x="249936" y="24729"/>
                    <a:pt x="239586" y="25230"/>
                    <a:pt x="222050" y="19013"/>
                  </a:cubicBezTo>
                  <a:cubicBezTo>
                    <a:pt x="206951" y="13599"/>
                    <a:pt x="177646" y="15437"/>
                    <a:pt x="162628" y="18646"/>
                  </a:cubicBezTo>
                  <a:cubicBezTo>
                    <a:pt x="153454" y="20584"/>
                    <a:pt x="150451" y="24161"/>
                    <a:pt x="138558" y="23158"/>
                  </a:cubicBezTo>
                  <a:cubicBezTo>
                    <a:pt x="124514" y="21955"/>
                    <a:pt x="111809" y="16774"/>
                    <a:pt x="98779" y="13666"/>
                  </a:cubicBezTo>
                  <a:cubicBezTo>
                    <a:pt x="80108" y="9153"/>
                    <a:pt x="32213" y="9387"/>
                    <a:pt x="20279" y="-339"/>
                  </a:cubicBezTo>
                  <a:cubicBezTo>
                    <a:pt x="15449" y="5878"/>
                    <a:pt x="13582" y="10658"/>
                    <a:pt x="15490" y="17443"/>
                  </a:cubicBezTo>
                  <a:cubicBezTo>
                    <a:pt x="17194" y="23659"/>
                    <a:pt x="6438" y="26868"/>
                    <a:pt x="7372" y="33319"/>
                  </a:cubicBezTo>
                  <a:cubicBezTo>
                    <a:pt x="8995" y="43132"/>
                    <a:pt x="9604" y="53035"/>
                    <a:pt x="9198" y="62932"/>
                  </a:cubicBezTo>
                  <a:cubicBezTo>
                    <a:pt x="7047" y="94283"/>
                    <a:pt x="4855" y="125611"/>
                    <a:pt x="2663" y="156919"/>
                  </a:cubicBezTo>
                  <a:cubicBezTo>
                    <a:pt x="2298" y="162167"/>
                    <a:pt x="-5008" y="180583"/>
                    <a:pt x="5951" y="181084"/>
                  </a:cubicBezTo>
                  <a:cubicBezTo>
                    <a:pt x="20116" y="181753"/>
                    <a:pt x="34363" y="182488"/>
                    <a:pt x="48449" y="183224"/>
                  </a:cubicBezTo>
                  <a:cubicBezTo>
                    <a:pt x="87536" y="185252"/>
                    <a:pt x="126584" y="187559"/>
                    <a:pt x="165590" y="190142"/>
                  </a:cubicBezTo>
                  <a:cubicBezTo>
                    <a:pt x="172734" y="190610"/>
                    <a:pt x="181096" y="192215"/>
                    <a:pt x="187387" y="190343"/>
                  </a:cubicBezTo>
                  <a:cubicBezTo>
                    <a:pt x="198103" y="187000"/>
                    <a:pt x="221442" y="192983"/>
                    <a:pt x="236095" y="194086"/>
                  </a:cubicBezTo>
                  <a:cubicBezTo>
                    <a:pt x="244984" y="194755"/>
                    <a:pt x="245999" y="194487"/>
                    <a:pt x="252331" y="197830"/>
                  </a:cubicBezTo>
                  <a:cubicBezTo>
                    <a:pt x="263858" y="204046"/>
                    <a:pt x="265928" y="200036"/>
                    <a:pt x="272626" y="195958"/>
                  </a:cubicBezTo>
                  <a:cubicBezTo>
                    <a:pt x="279323" y="191880"/>
                    <a:pt x="288862" y="195958"/>
                    <a:pt x="294260" y="189474"/>
                  </a:cubicBezTo>
                  <a:cubicBezTo>
                    <a:pt x="299009" y="183725"/>
                    <a:pt x="300024" y="185363"/>
                    <a:pt x="309644" y="184561"/>
                  </a:cubicBezTo>
                  <a:cubicBezTo>
                    <a:pt x="350233" y="181218"/>
                    <a:pt x="282124" y="124398"/>
                    <a:pt x="281718" y="114772"/>
                  </a:cubicBezTo>
                  <a:cubicBezTo>
                    <a:pt x="281718" y="108087"/>
                    <a:pt x="268080" y="103308"/>
                    <a:pt x="269297" y="96322"/>
                  </a:cubicBezTo>
                  <a:cubicBezTo>
                    <a:pt x="270434" y="90139"/>
                    <a:pt x="261707" y="85460"/>
                    <a:pt x="255821" y="80513"/>
                  </a:cubicBezTo>
                  <a:cubicBezTo>
                    <a:pt x="251762" y="77171"/>
                    <a:pt x="225988" y="45284"/>
                    <a:pt x="240032" y="43747"/>
                  </a:cubicBezTo>
                  <a:cubicBezTo>
                    <a:pt x="243157" y="43413"/>
                    <a:pt x="270799" y="83187"/>
                    <a:pt x="276116" y="87198"/>
                  </a:cubicBezTo>
                  <a:cubicBezTo>
                    <a:pt x="286020" y="94685"/>
                    <a:pt x="292352" y="90774"/>
                    <a:pt x="297020" y="84290"/>
                  </a:cubicBezTo>
                  <a:cubicBezTo>
                    <a:pt x="298359" y="82351"/>
                    <a:pt x="307573" y="68480"/>
                    <a:pt x="308223" y="69984"/>
                  </a:cubicBezTo>
                  <a:cubicBezTo>
                    <a:pt x="309522" y="65957"/>
                    <a:pt x="311957" y="62237"/>
                    <a:pt x="315326" y="5912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0CDD9410-3B88-4752-A0D2-1A60CE7EF361}"/>
                </a:ext>
              </a:extLst>
            </p:cNvPr>
            <p:cNvSpPr/>
            <p:nvPr/>
          </p:nvSpPr>
          <p:spPr>
            <a:xfrm>
              <a:off x="6066398" y="4809203"/>
              <a:ext cx="152648" cy="107365"/>
            </a:xfrm>
            <a:custGeom>
              <a:avLst/>
              <a:gdLst>
                <a:gd name="connsiteX0" fmla="*/ 73379 w 152648"/>
                <a:gd name="connsiteY0" fmla="*/ 102013 h 107365"/>
                <a:gd name="connsiteX1" fmla="*/ 75774 w 152648"/>
                <a:gd name="connsiteY1" fmla="*/ 84834 h 107365"/>
                <a:gd name="connsiteX2" fmla="*/ 100818 w 152648"/>
                <a:gd name="connsiteY2" fmla="*/ 76277 h 107365"/>
                <a:gd name="connsiteX3" fmla="*/ 116120 w 152648"/>
                <a:gd name="connsiteY3" fmla="*/ 79920 h 107365"/>
                <a:gd name="connsiteX4" fmla="*/ 148348 w 152648"/>
                <a:gd name="connsiteY4" fmla="*/ 80823 h 107365"/>
                <a:gd name="connsiteX5" fmla="*/ 150662 w 152648"/>
                <a:gd name="connsiteY5" fmla="*/ 51911 h 107365"/>
                <a:gd name="connsiteX6" fmla="*/ 144817 w 152648"/>
                <a:gd name="connsiteY6" fmla="*/ 30654 h 107365"/>
                <a:gd name="connsiteX7" fmla="*/ 123629 w 152648"/>
                <a:gd name="connsiteY7" fmla="*/ 19424 h 107365"/>
                <a:gd name="connsiteX8" fmla="*/ 118596 w 152648"/>
                <a:gd name="connsiteY8" fmla="*/ 1375 h 107365"/>
                <a:gd name="connsiteX9" fmla="*/ 73948 w 152648"/>
                <a:gd name="connsiteY9" fmla="*/ 539 h 107365"/>
                <a:gd name="connsiteX10" fmla="*/ 70132 w 152648"/>
                <a:gd name="connsiteY10" fmla="*/ 22933 h 107365"/>
                <a:gd name="connsiteX11" fmla="*/ 38513 w 152648"/>
                <a:gd name="connsiteY11" fmla="*/ 23902 h 107365"/>
                <a:gd name="connsiteX12" fmla="*/ 18867 w 152648"/>
                <a:gd name="connsiteY12" fmla="*/ 25106 h 107365"/>
                <a:gd name="connsiteX13" fmla="*/ 24955 w 152648"/>
                <a:gd name="connsiteY13" fmla="*/ 37238 h 107365"/>
                <a:gd name="connsiteX14" fmla="*/ 13875 w 152648"/>
                <a:gd name="connsiteY14" fmla="*/ 41116 h 107365"/>
                <a:gd name="connsiteX15" fmla="*/ 6162 w 152648"/>
                <a:gd name="connsiteY15" fmla="*/ 50775 h 107365"/>
                <a:gd name="connsiteX16" fmla="*/ 9328 w 152648"/>
                <a:gd name="connsiteY16" fmla="*/ 66918 h 107365"/>
                <a:gd name="connsiteX17" fmla="*/ 60147 w 152648"/>
                <a:gd name="connsiteY17" fmla="*/ 107027 h 107365"/>
                <a:gd name="connsiteX18" fmla="*/ 73379 w 152648"/>
                <a:gd name="connsiteY18" fmla="*/ 102013 h 10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2648" h="107365">
                  <a:moveTo>
                    <a:pt x="73379" y="102013"/>
                  </a:moveTo>
                  <a:cubicBezTo>
                    <a:pt x="91320" y="102013"/>
                    <a:pt x="75287" y="90215"/>
                    <a:pt x="75774" y="84834"/>
                  </a:cubicBezTo>
                  <a:cubicBezTo>
                    <a:pt x="76423" y="77614"/>
                    <a:pt x="97205" y="84165"/>
                    <a:pt x="100818" y="76277"/>
                  </a:cubicBezTo>
                  <a:cubicBezTo>
                    <a:pt x="105242" y="66684"/>
                    <a:pt x="111899" y="75508"/>
                    <a:pt x="116120" y="79920"/>
                  </a:cubicBezTo>
                  <a:cubicBezTo>
                    <a:pt x="120341" y="84332"/>
                    <a:pt x="144533" y="86605"/>
                    <a:pt x="148348" y="80823"/>
                  </a:cubicBezTo>
                  <a:cubicBezTo>
                    <a:pt x="153057" y="71675"/>
                    <a:pt x="153869" y="61487"/>
                    <a:pt x="150662" y="51911"/>
                  </a:cubicBezTo>
                  <a:cubicBezTo>
                    <a:pt x="145913" y="39912"/>
                    <a:pt x="125050" y="42486"/>
                    <a:pt x="144817" y="30654"/>
                  </a:cubicBezTo>
                  <a:cubicBezTo>
                    <a:pt x="160810" y="21162"/>
                    <a:pt x="134954" y="17485"/>
                    <a:pt x="123629" y="19424"/>
                  </a:cubicBezTo>
                  <a:cubicBezTo>
                    <a:pt x="108489" y="22031"/>
                    <a:pt x="117419" y="6723"/>
                    <a:pt x="118596" y="1375"/>
                  </a:cubicBezTo>
                  <a:cubicBezTo>
                    <a:pt x="105242" y="1007"/>
                    <a:pt x="86977" y="-1700"/>
                    <a:pt x="73948" y="539"/>
                  </a:cubicBezTo>
                  <a:cubicBezTo>
                    <a:pt x="65221" y="2043"/>
                    <a:pt x="76545" y="18755"/>
                    <a:pt x="70132" y="22933"/>
                  </a:cubicBezTo>
                  <a:cubicBezTo>
                    <a:pt x="66844" y="25106"/>
                    <a:pt x="43546" y="23769"/>
                    <a:pt x="38513" y="23902"/>
                  </a:cubicBezTo>
                  <a:cubicBezTo>
                    <a:pt x="31815" y="24069"/>
                    <a:pt x="25524" y="24437"/>
                    <a:pt x="18867" y="25106"/>
                  </a:cubicBezTo>
                  <a:cubicBezTo>
                    <a:pt x="9734" y="33929"/>
                    <a:pt x="19963" y="29484"/>
                    <a:pt x="24955" y="37238"/>
                  </a:cubicBezTo>
                  <a:cubicBezTo>
                    <a:pt x="26457" y="39611"/>
                    <a:pt x="15782" y="40581"/>
                    <a:pt x="13875" y="41116"/>
                  </a:cubicBezTo>
                  <a:cubicBezTo>
                    <a:pt x="7664" y="42854"/>
                    <a:pt x="9816" y="47800"/>
                    <a:pt x="6162" y="50775"/>
                  </a:cubicBezTo>
                  <a:cubicBezTo>
                    <a:pt x="-3741" y="59031"/>
                    <a:pt x="-1184" y="58362"/>
                    <a:pt x="9328" y="66918"/>
                  </a:cubicBezTo>
                  <a:cubicBezTo>
                    <a:pt x="24875" y="79653"/>
                    <a:pt x="39446" y="96498"/>
                    <a:pt x="60147" y="107027"/>
                  </a:cubicBezTo>
                  <a:cubicBezTo>
                    <a:pt x="63435" y="103815"/>
                    <a:pt x="68265" y="101976"/>
                    <a:pt x="73379" y="10201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944767EF-6F40-4CBA-BB01-8E630C0B1DD3}"/>
                </a:ext>
              </a:extLst>
            </p:cNvPr>
            <p:cNvSpPr/>
            <p:nvPr/>
          </p:nvSpPr>
          <p:spPr>
            <a:xfrm>
              <a:off x="6079224" y="4810515"/>
              <a:ext cx="58975" cy="24131"/>
            </a:xfrm>
            <a:custGeom>
              <a:avLst/>
              <a:gdLst>
                <a:gd name="connsiteX0" fmla="*/ 57346 w 58975"/>
                <a:gd name="connsiteY0" fmla="*/ 21621 h 24131"/>
                <a:gd name="connsiteX1" fmla="*/ 58564 w 58975"/>
                <a:gd name="connsiteY1" fmla="*/ -339 h 24131"/>
                <a:gd name="connsiteX2" fmla="*/ 12495 w 58975"/>
                <a:gd name="connsiteY2" fmla="*/ 898 h 24131"/>
                <a:gd name="connsiteX3" fmla="*/ 6203 w 58975"/>
                <a:gd name="connsiteY3" fmla="*/ 12529 h 24131"/>
                <a:gd name="connsiteX4" fmla="*/ 6203 w 58975"/>
                <a:gd name="connsiteY4" fmla="*/ 23793 h 24131"/>
                <a:gd name="connsiteX5" fmla="*/ 57346 w 58975"/>
                <a:gd name="connsiteY5" fmla="*/ 21621 h 2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975" h="24131">
                  <a:moveTo>
                    <a:pt x="57346" y="21621"/>
                  </a:moveTo>
                  <a:cubicBezTo>
                    <a:pt x="58889" y="14374"/>
                    <a:pt x="59294" y="6995"/>
                    <a:pt x="58564" y="-339"/>
                  </a:cubicBezTo>
                  <a:cubicBezTo>
                    <a:pt x="44967" y="3004"/>
                    <a:pt x="26782" y="831"/>
                    <a:pt x="12495" y="898"/>
                  </a:cubicBezTo>
                  <a:cubicBezTo>
                    <a:pt x="15620" y="5544"/>
                    <a:pt x="15701" y="10557"/>
                    <a:pt x="6203" y="12529"/>
                  </a:cubicBezTo>
                  <a:cubicBezTo>
                    <a:pt x="-10033" y="15872"/>
                    <a:pt x="10993" y="19214"/>
                    <a:pt x="6203" y="23793"/>
                  </a:cubicBezTo>
                  <a:cubicBezTo>
                    <a:pt x="22967" y="22022"/>
                    <a:pt x="40258" y="22189"/>
                    <a:pt x="57346" y="2162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F8F65425-05FA-4101-96E5-FF0011C88338}"/>
                </a:ext>
              </a:extLst>
            </p:cNvPr>
            <p:cNvSpPr/>
            <p:nvPr/>
          </p:nvSpPr>
          <p:spPr>
            <a:xfrm>
              <a:off x="6126482" y="4788559"/>
              <a:ext cx="199106" cy="147629"/>
            </a:xfrm>
            <a:custGeom>
              <a:avLst/>
              <a:gdLst>
                <a:gd name="connsiteX0" fmla="*/ 52586 w 199106"/>
                <a:gd name="connsiteY0" fmla="*/ 138634 h 147629"/>
                <a:gd name="connsiteX1" fmla="*/ 64763 w 199106"/>
                <a:gd name="connsiteY1" fmla="*/ 141976 h 147629"/>
                <a:gd name="connsiteX2" fmla="*/ 88710 w 199106"/>
                <a:gd name="connsiteY2" fmla="*/ 136896 h 147629"/>
                <a:gd name="connsiteX3" fmla="*/ 96220 w 199106"/>
                <a:gd name="connsiteY3" fmla="*/ 144583 h 147629"/>
                <a:gd name="connsiteX4" fmla="*/ 113754 w 199106"/>
                <a:gd name="connsiteY4" fmla="*/ 137899 h 147629"/>
                <a:gd name="connsiteX5" fmla="*/ 129179 w 199106"/>
                <a:gd name="connsiteY5" fmla="*/ 124997 h 147629"/>
                <a:gd name="connsiteX6" fmla="*/ 135632 w 199106"/>
                <a:gd name="connsiteY6" fmla="*/ 93245 h 147629"/>
                <a:gd name="connsiteX7" fmla="*/ 154060 w 199106"/>
                <a:gd name="connsiteY7" fmla="*/ 78973 h 147629"/>
                <a:gd name="connsiteX8" fmla="*/ 170012 w 199106"/>
                <a:gd name="connsiteY8" fmla="*/ 56445 h 147629"/>
                <a:gd name="connsiteX9" fmla="*/ 184381 w 199106"/>
                <a:gd name="connsiteY9" fmla="*/ 28102 h 147629"/>
                <a:gd name="connsiteX10" fmla="*/ 198506 w 199106"/>
                <a:gd name="connsiteY10" fmla="*/ 996 h 147629"/>
                <a:gd name="connsiteX11" fmla="*/ 160108 w 199106"/>
                <a:gd name="connsiteY11" fmla="*/ 461 h 147629"/>
                <a:gd name="connsiteX12" fmla="*/ 145455 w 199106"/>
                <a:gd name="connsiteY12" fmla="*/ 7981 h 147629"/>
                <a:gd name="connsiteX13" fmla="*/ 131248 w 199106"/>
                <a:gd name="connsiteY13" fmla="*/ 31378 h 147629"/>
                <a:gd name="connsiteX14" fmla="*/ 94312 w 199106"/>
                <a:gd name="connsiteY14" fmla="*/ 22387 h 147629"/>
                <a:gd name="connsiteX15" fmla="*/ 67319 w 199106"/>
                <a:gd name="connsiteY15" fmla="*/ 22387 h 147629"/>
                <a:gd name="connsiteX16" fmla="*/ 55508 w 199106"/>
                <a:gd name="connsiteY16" fmla="*/ 37661 h 147629"/>
                <a:gd name="connsiteX17" fmla="*/ 88629 w 199106"/>
                <a:gd name="connsiteY17" fmla="*/ 45750 h 147629"/>
                <a:gd name="connsiteX18" fmla="*/ 74220 w 199106"/>
                <a:gd name="connsiteY18" fmla="*/ 58852 h 147629"/>
                <a:gd name="connsiteX19" fmla="*/ 90456 w 199106"/>
                <a:gd name="connsiteY19" fmla="*/ 72689 h 147629"/>
                <a:gd name="connsiteX20" fmla="*/ 76168 w 199106"/>
                <a:gd name="connsiteY20" fmla="*/ 105210 h 147629"/>
                <a:gd name="connsiteX21" fmla="*/ 55873 w 199106"/>
                <a:gd name="connsiteY21" fmla="*/ 100698 h 147629"/>
                <a:gd name="connsiteX22" fmla="*/ 43291 w 199106"/>
                <a:gd name="connsiteY22" fmla="*/ 93044 h 147629"/>
                <a:gd name="connsiteX23" fmla="*/ 33873 w 199106"/>
                <a:gd name="connsiteY23" fmla="*/ 101768 h 147629"/>
                <a:gd name="connsiteX24" fmla="*/ 15527 w 199106"/>
                <a:gd name="connsiteY24" fmla="*/ 105611 h 147629"/>
                <a:gd name="connsiteX25" fmla="*/ 21291 w 199106"/>
                <a:gd name="connsiteY25" fmla="*/ 121120 h 147629"/>
                <a:gd name="connsiteX26" fmla="*/ -60 w 199106"/>
                <a:gd name="connsiteY26" fmla="*/ 127805 h 147629"/>
                <a:gd name="connsiteX27" fmla="*/ 26486 w 199106"/>
                <a:gd name="connsiteY27" fmla="*/ 147291 h 147629"/>
                <a:gd name="connsiteX28" fmla="*/ 52423 w 199106"/>
                <a:gd name="connsiteY28" fmla="*/ 138935 h 147629"/>
                <a:gd name="connsiteX29" fmla="*/ 52586 w 199106"/>
                <a:gd name="connsiteY29" fmla="*/ 138634 h 147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99106" h="147629">
                  <a:moveTo>
                    <a:pt x="52586" y="138634"/>
                  </a:moveTo>
                  <a:cubicBezTo>
                    <a:pt x="57050" y="139603"/>
                    <a:pt x="59323" y="142645"/>
                    <a:pt x="64763" y="141976"/>
                  </a:cubicBezTo>
                  <a:cubicBezTo>
                    <a:pt x="73327" y="140974"/>
                    <a:pt x="78685" y="134657"/>
                    <a:pt x="88710" y="136896"/>
                  </a:cubicBezTo>
                  <a:cubicBezTo>
                    <a:pt x="93256" y="137932"/>
                    <a:pt x="93337" y="144951"/>
                    <a:pt x="96220" y="144583"/>
                  </a:cubicBezTo>
                  <a:cubicBezTo>
                    <a:pt x="103201" y="143714"/>
                    <a:pt x="106083" y="138467"/>
                    <a:pt x="113754" y="137899"/>
                  </a:cubicBezTo>
                  <a:cubicBezTo>
                    <a:pt x="127758" y="136829"/>
                    <a:pt x="117529" y="127270"/>
                    <a:pt x="129179" y="124997"/>
                  </a:cubicBezTo>
                  <a:cubicBezTo>
                    <a:pt x="138067" y="123259"/>
                    <a:pt x="135145" y="98593"/>
                    <a:pt x="135632" y="93245"/>
                  </a:cubicBezTo>
                  <a:cubicBezTo>
                    <a:pt x="136322" y="85657"/>
                    <a:pt x="145820" y="83819"/>
                    <a:pt x="154060" y="78973"/>
                  </a:cubicBezTo>
                  <a:cubicBezTo>
                    <a:pt x="162299" y="74127"/>
                    <a:pt x="164370" y="63197"/>
                    <a:pt x="170012" y="56445"/>
                  </a:cubicBezTo>
                  <a:cubicBezTo>
                    <a:pt x="178130" y="46686"/>
                    <a:pt x="179226" y="38196"/>
                    <a:pt x="184381" y="28102"/>
                  </a:cubicBezTo>
                  <a:cubicBezTo>
                    <a:pt x="189536" y="18008"/>
                    <a:pt x="201753" y="13128"/>
                    <a:pt x="198506" y="996"/>
                  </a:cubicBezTo>
                  <a:cubicBezTo>
                    <a:pt x="184015" y="60"/>
                    <a:pt x="174680" y="-1177"/>
                    <a:pt x="160108" y="461"/>
                  </a:cubicBezTo>
                  <a:cubicBezTo>
                    <a:pt x="146551" y="1998"/>
                    <a:pt x="147931" y="661"/>
                    <a:pt x="145455" y="7981"/>
                  </a:cubicBezTo>
                  <a:cubicBezTo>
                    <a:pt x="142654" y="16203"/>
                    <a:pt x="132994" y="22387"/>
                    <a:pt x="131248" y="31378"/>
                  </a:cubicBezTo>
                  <a:cubicBezTo>
                    <a:pt x="120005" y="27801"/>
                    <a:pt x="106894" y="23256"/>
                    <a:pt x="94312" y="22387"/>
                  </a:cubicBezTo>
                  <a:cubicBezTo>
                    <a:pt x="85585" y="21785"/>
                    <a:pt x="76087" y="22387"/>
                    <a:pt x="67319" y="22387"/>
                  </a:cubicBezTo>
                  <a:cubicBezTo>
                    <a:pt x="53275" y="22052"/>
                    <a:pt x="56523" y="30241"/>
                    <a:pt x="55508" y="37661"/>
                  </a:cubicBezTo>
                  <a:cubicBezTo>
                    <a:pt x="54371" y="45683"/>
                    <a:pt x="87087" y="31679"/>
                    <a:pt x="88629" y="45750"/>
                  </a:cubicBezTo>
                  <a:cubicBezTo>
                    <a:pt x="89360" y="52635"/>
                    <a:pt x="73165" y="52435"/>
                    <a:pt x="74220" y="58852"/>
                  </a:cubicBezTo>
                  <a:cubicBezTo>
                    <a:pt x="75275" y="65269"/>
                    <a:pt x="88183" y="66673"/>
                    <a:pt x="90456" y="72689"/>
                  </a:cubicBezTo>
                  <a:cubicBezTo>
                    <a:pt x="93094" y="79374"/>
                    <a:pt x="96017" y="107985"/>
                    <a:pt x="76168" y="105210"/>
                  </a:cubicBezTo>
                  <a:cubicBezTo>
                    <a:pt x="70770" y="104475"/>
                    <a:pt x="58796" y="103673"/>
                    <a:pt x="55873" y="100698"/>
                  </a:cubicBezTo>
                  <a:cubicBezTo>
                    <a:pt x="54290" y="99060"/>
                    <a:pt x="48973" y="89434"/>
                    <a:pt x="43291" y="93044"/>
                  </a:cubicBezTo>
                  <a:cubicBezTo>
                    <a:pt x="39597" y="95417"/>
                    <a:pt x="41342" y="101835"/>
                    <a:pt x="33873" y="101768"/>
                  </a:cubicBezTo>
                  <a:cubicBezTo>
                    <a:pt x="28638" y="101768"/>
                    <a:pt x="15974" y="100564"/>
                    <a:pt x="15527" y="105611"/>
                  </a:cubicBezTo>
                  <a:cubicBezTo>
                    <a:pt x="15121" y="110124"/>
                    <a:pt x="25593" y="116842"/>
                    <a:pt x="21291" y="121120"/>
                  </a:cubicBezTo>
                  <a:cubicBezTo>
                    <a:pt x="16988" y="125398"/>
                    <a:pt x="5055" y="122591"/>
                    <a:pt x="-60" y="127805"/>
                  </a:cubicBezTo>
                  <a:cubicBezTo>
                    <a:pt x="10494" y="132544"/>
                    <a:pt x="19546" y="139209"/>
                    <a:pt x="26486" y="147291"/>
                  </a:cubicBezTo>
                  <a:cubicBezTo>
                    <a:pt x="31114" y="145352"/>
                    <a:pt x="45929" y="137598"/>
                    <a:pt x="52423" y="138935"/>
                  </a:cubicBezTo>
                  <a:cubicBezTo>
                    <a:pt x="57700" y="139737"/>
                    <a:pt x="49744" y="138066"/>
                    <a:pt x="52586" y="13863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D3DD7EBB-1046-428A-BFDF-C5B36DA365B6}"/>
                </a:ext>
              </a:extLst>
            </p:cNvPr>
            <p:cNvSpPr/>
            <p:nvPr/>
          </p:nvSpPr>
          <p:spPr>
            <a:xfrm>
              <a:off x="6429155" y="4471099"/>
              <a:ext cx="486444" cy="336473"/>
            </a:xfrm>
            <a:custGeom>
              <a:avLst/>
              <a:gdLst>
                <a:gd name="connsiteX0" fmla="*/ 398416 w 486444"/>
                <a:gd name="connsiteY0" fmla="*/ 4708 h 336473"/>
                <a:gd name="connsiteX1" fmla="*/ 385468 w 486444"/>
                <a:gd name="connsiteY1" fmla="*/ 13933 h 336473"/>
                <a:gd name="connsiteX2" fmla="*/ 364442 w 486444"/>
                <a:gd name="connsiteY2" fmla="*/ 20150 h 336473"/>
                <a:gd name="connsiteX3" fmla="*/ 343457 w 486444"/>
                <a:gd name="connsiteY3" fmla="*/ 15571 h 336473"/>
                <a:gd name="connsiteX4" fmla="*/ 316221 w 486444"/>
                <a:gd name="connsiteY4" fmla="*/ 13565 h 336473"/>
                <a:gd name="connsiteX5" fmla="*/ 299620 w 486444"/>
                <a:gd name="connsiteY5" fmla="*/ 10223 h 336473"/>
                <a:gd name="connsiteX6" fmla="*/ 278757 w 486444"/>
                <a:gd name="connsiteY6" fmla="*/ 12061 h 336473"/>
                <a:gd name="connsiteX7" fmla="*/ 241415 w 486444"/>
                <a:gd name="connsiteY7" fmla="*/ 9621 h 336473"/>
                <a:gd name="connsiteX8" fmla="*/ 118509 w 486444"/>
                <a:gd name="connsiteY8" fmla="*/ 2669 h 336473"/>
                <a:gd name="connsiteX9" fmla="*/ 96266 w 486444"/>
                <a:gd name="connsiteY9" fmla="*/ 7148 h 336473"/>
                <a:gd name="connsiteX10" fmla="*/ 94561 w 486444"/>
                <a:gd name="connsiteY10" fmla="*/ 31915 h 336473"/>
                <a:gd name="connsiteX11" fmla="*/ 85428 w 486444"/>
                <a:gd name="connsiteY11" fmla="*/ 36995 h 336473"/>
                <a:gd name="connsiteX12" fmla="*/ 65945 w 486444"/>
                <a:gd name="connsiteY12" fmla="*/ 45452 h 336473"/>
                <a:gd name="connsiteX13" fmla="*/ 63550 w 486444"/>
                <a:gd name="connsiteY13" fmla="*/ 82552 h 336473"/>
                <a:gd name="connsiteX14" fmla="*/ 62455 w 486444"/>
                <a:gd name="connsiteY14" fmla="*/ 101804 h 336473"/>
                <a:gd name="connsiteX15" fmla="*/ 50683 w 486444"/>
                <a:gd name="connsiteY15" fmla="*/ 110594 h 336473"/>
                <a:gd name="connsiteX16" fmla="*/ 29739 w 486444"/>
                <a:gd name="connsiteY16" fmla="*/ 124665 h 336473"/>
                <a:gd name="connsiteX17" fmla="*/ 15046 w 486444"/>
                <a:gd name="connsiteY17" fmla="*/ 135762 h 336473"/>
                <a:gd name="connsiteX18" fmla="*/ 3396 w 486444"/>
                <a:gd name="connsiteY18" fmla="*/ 143617 h 336473"/>
                <a:gd name="connsiteX19" fmla="*/ 190 w 486444"/>
                <a:gd name="connsiteY19" fmla="*/ 158791 h 336473"/>
                <a:gd name="connsiteX20" fmla="*/ 12367 w 486444"/>
                <a:gd name="connsiteY20" fmla="*/ 163504 h 336473"/>
                <a:gd name="connsiteX21" fmla="*/ 13381 w 486444"/>
                <a:gd name="connsiteY21" fmla="*/ 178043 h 336473"/>
                <a:gd name="connsiteX22" fmla="*/ 25558 w 486444"/>
                <a:gd name="connsiteY22" fmla="*/ 187234 h 336473"/>
                <a:gd name="connsiteX23" fmla="*/ 27101 w 486444"/>
                <a:gd name="connsiteY23" fmla="*/ 197262 h 336473"/>
                <a:gd name="connsiteX24" fmla="*/ 42606 w 486444"/>
                <a:gd name="connsiteY24" fmla="*/ 211065 h 336473"/>
                <a:gd name="connsiteX25" fmla="*/ 47680 w 486444"/>
                <a:gd name="connsiteY25" fmla="*/ 218653 h 336473"/>
                <a:gd name="connsiteX26" fmla="*/ 38222 w 486444"/>
                <a:gd name="connsiteY26" fmla="*/ 227944 h 336473"/>
                <a:gd name="connsiteX27" fmla="*/ 49953 w 486444"/>
                <a:gd name="connsiteY27" fmla="*/ 233325 h 336473"/>
                <a:gd name="connsiteX28" fmla="*/ 59085 w 486444"/>
                <a:gd name="connsiteY28" fmla="*/ 239409 h 336473"/>
                <a:gd name="connsiteX29" fmla="*/ 86808 w 486444"/>
                <a:gd name="connsiteY29" fmla="*/ 253213 h 336473"/>
                <a:gd name="connsiteX30" fmla="*/ 90502 w 486444"/>
                <a:gd name="connsiteY30" fmla="*/ 259530 h 336473"/>
                <a:gd name="connsiteX31" fmla="*/ 106373 w 486444"/>
                <a:gd name="connsiteY31" fmla="*/ 267719 h 336473"/>
                <a:gd name="connsiteX32" fmla="*/ 119686 w 486444"/>
                <a:gd name="connsiteY32" fmla="*/ 283060 h 336473"/>
                <a:gd name="connsiteX33" fmla="*/ 135191 w 486444"/>
                <a:gd name="connsiteY33" fmla="*/ 289979 h 336473"/>
                <a:gd name="connsiteX34" fmla="*/ 160885 w 486444"/>
                <a:gd name="connsiteY34" fmla="*/ 314077 h 336473"/>
                <a:gd name="connsiteX35" fmla="*/ 191002 w 486444"/>
                <a:gd name="connsiteY35" fmla="*/ 315548 h 336473"/>
                <a:gd name="connsiteX36" fmla="*/ 209267 w 486444"/>
                <a:gd name="connsiteY36" fmla="*/ 316550 h 336473"/>
                <a:gd name="connsiteX37" fmla="*/ 240237 w 486444"/>
                <a:gd name="connsiteY37" fmla="*/ 333496 h 336473"/>
                <a:gd name="connsiteX38" fmla="*/ 267067 w 486444"/>
                <a:gd name="connsiteY38" fmla="*/ 333997 h 336473"/>
                <a:gd name="connsiteX39" fmla="*/ 288661 w 486444"/>
                <a:gd name="connsiteY39" fmla="*/ 333496 h 336473"/>
                <a:gd name="connsiteX40" fmla="*/ 315085 w 486444"/>
                <a:gd name="connsiteY40" fmla="*/ 334566 h 336473"/>
                <a:gd name="connsiteX41" fmla="*/ 339439 w 486444"/>
                <a:gd name="connsiteY41" fmla="*/ 322667 h 336473"/>
                <a:gd name="connsiteX42" fmla="*/ 376700 w 486444"/>
                <a:gd name="connsiteY42" fmla="*/ 325742 h 336473"/>
                <a:gd name="connsiteX43" fmla="*/ 370409 w 486444"/>
                <a:gd name="connsiteY43" fmla="*/ 308763 h 336473"/>
                <a:gd name="connsiteX44" fmla="*/ 340413 w 486444"/>
                <a:gd name="connsiteY44" fmla="*/ 283026 h 336473"/>
                <a:gd name="connsiteX45" fmla="*/ 316506 w 486444"/>
                <a:gd name="connsiteY45" fmla="*/ 269089 h 336473"/>
                <a:gd name="connsiteX46" fmla="*/ 313827 w 486444"/>
                <a:gd name="connsiteY46" fmla="*/ 254149 h 336473"/>
                <a:gd name="connsiteX47" fmla="*/ 336923 w 486444"/>
                <a:gd name="connsiteY47" fmla="*/ 253179 h 336473"/>
                <a:gd name="connsiteX48" fmla="*/ 349099 w 486444"/>
                <a:gd name="connsiteY48" fmla="*/ 227276 h 336473"/>
                <a:gd name="connsiteX49" fmla="*/ 351250 w 486444"/>
                <a:gd name="connsiteY49" fmla="*/ 218653 h 336473"/>
                <a:gd name="connsiteX50" fmla="*/ 368623 w 486444"/>
                <a:gd name="connsiteY50" fmla="*/ 212603 h 336473"/>
                <a:gd name="connsiteX51" fmla="*/ 373737 w 486444"/>
                <a:gd name="connsiteY51" fmla="*/ 200637 h 336473"/>
                <a:gd name="connsiteX52" fmla="*/ 389202 w 486444"/>
                <a:gd name="connsiteY52" fmla="*/ 189975 h 336473"/>
                <a:gd name="connsiteX53" fmla="*/ 402028 w 486444"/>
                <a:gd name="connsiteY53" fmla="*/ 186633 h 336473"/>
                <a:gd name="connsiteX54" fmla="*/ 413718 w 486444"/>
                <a:gd name="connsiteY54" fmla="*/ 174968 h 336473"/>
                <a:gd name="connsiteX55" fmla="*/ 422201 w 486444"/>
                <a:gd name="connsiteY55" fmla="*/ 144887 h 336473"/>
                <a:gd name="connsiteX56" fmla="*/ 438681 w 486444"/>
                <a:gd name="connsiteY56" fmla="*/ 130214 h 336473"/>
                <a:gd name="connsiteX57" fmla="*/ 445135 w 486444"/>
                <a:gd name="connsiteY57" fmla="*/ 117981 h 336473"/>
                <a:gd name="connsiteX58" fmla="*/ 478580 w 486444"/>
                <a:gd name="connsiteY58" fmla="*/ 107787 h 336473"/>
                <a:gd name="connsiteX59" fmla="*/ 468352 w 486444"/>
                <a:gd name="connsiteY59" fmla="*/ 88735 h 336473"/>
                <a:gd name="connsiteX60" fmla="*/ 458407 w 486444"/>
                <a:gd name="connsiteY60" fmla="*/ 56782 h 336473"/>
                <a:gd name="connsiteX61" fmla="*/ 451710 w 486444"/>
                <a:gd name="connsiteY61" fmla="*/ 27804 h 336473"/>
                <a:gd name="connsiteX62" fmla="*/ 416113 w 486444"/>
                <a:gd name="connsiteY62" fmla="*/ -339 h 336473"/>
                <a:gd name="connsiteX63" fmla="*/ 398416 w 486444"/>
                <a:gd name="connsiteY63" fmla="*/ 4708 h 33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444" h="336473">
                  <a:moveTo>
                    <a:pt x="398416" y="4708"/>
                  </a:moveTo>
                  <a:cubicBezTo>
                    <a:pt x="391475" y="4140"/>
                    <a:pt x="389445" y="11894"/>
                    <a:pt x="385468" y="13933"/>
                  </a:cubicBezTo>
                  <a:cubicBezTo>
                    <a:pt x="378121" y="17677"/>
                    <a:pt x="370652" y="14334"/>
                    <a:pt x="364442" y="20150"/>
                  </a:cubicBezTo>
                  <a:cubicBezTo>
                    <a:pt x="358232" y="25966"/>
                    <a:pt x="348693" y="16808"/>
                    <a:pt x="343457" y="15571"/>
                  </a:cubicBezTo>
                  <a:cubicBezTo>
                    <a:pt x="335583" y="13833"/>
                    <a:pt x="324421" y="14134"/>
                    <a:pt x="316221" y="13565"/>
                  </a:cubicBezTo>
                  <a:cubicBezTo>
                    <a:pt x="310417" y="13722"/>
                    <a:pt x="304694" y="12566"/>
                    <a:pt x="299620" y="10223"/>
                  </a:cubicBezTo>
                  <a:cubicBezTo>
                    <a:pt x="290284" y="6145"/>
                    <a:pt x="286956" y="12630"/>
                    <a:pt x="278757" y="12061"/>
                  </a:cubicBezTo>
                  <a:lnTo>
                    <a:pt x="241415" y="9621"/>
                  </a:lnTo>
                  <a:cubicBezTo>
                    <a:pt x="200460" y="7015"/>
                    <a:pt x="159464" y="4698"/>
                    <a:pt x="118509" y="2669"/>
                  </a:cubicBezTo>
                  <a:cubicBezTo>
                    <a:pt x="104830" y="2001"/>
                    <a:pt x="96875" y="-1341"/>
                    <a:pt x="96266" y="7148"/>
                  </a:cubicBezTo>
                  <a:lnTo>
                    <a:pt x="94561" y="31915"/>
                  </a:lnTo>
                  <a:cubicBezTo>
                    <a:pt x="94155" y="37630"/>
                    <a:pt x="95616" y="37463"/>
                    <a:pt x="85428" y="36995"/>
                  </a:cubicBezTo>
                  <a:cubicBezTo>
                    <a:pt x="65864" y="36093"/>
                    <a:pt x="66635" y="34723"/>
                    <a:pt x="65945" y="45452"/>
                  </a:cubicBezTo>
                  <a:cubicBezTo>
                    <a:pt x="65174" y="57818"/>
                    <a:pt x="64362" y="70185"/>
                    <a:pt x="63550" y="82552"/>
                  </a:cubicBezTo>
                  <a:cubicBezTo>
                    <a:pt x="63144" y="88936"/>
                    <a:pt x="63550" y="95453"/>
                    <a:pt x="62455" y="101804"/>
                  </a:cubicBezTo>
                  <a:cubicBezTo>
                    <a:pt x="61359" y="108154"/>
                    <a:pt x="60222" y="109057"/>
                    <a:pt x="50683" y="110594"/>
                  </a:cubicBezTo>
                  <a:cubicBezTo>
                    <a:pt x="32661" y="113502"/>
                    <a:pt x="37248" y="116777"/>
                    <a:pt x="29739" y="124665"/>
                  </a:cubicBezTo>
                  <a:cubicBezTo>
                    <a:pt x="23975" y="130682"/>
                    <a:pt x="17562" y="127573"/>
                    <a:pt x="15046" y="135762"/>
                  </a:cubicBezTo>
                  <a:cubicBezTo>
                    <a:pt x="13503" y="141010"/>
                    <a:pt x="311" y="138670"/>
                    <a:pt x="3396" y="143617"/>
                  </a:cubicBezTo>
                  <a:cubicBezTo>
                    <a:pt x="8105" y="151137"/>
                    <a:pt x="-1718" y="152541"/>
                    <a:pt x="190" y="158791"/>
                  </a:cubicBezTo>
                  <a:cubicBezTo>
                    <a:pt x="1529" y="163103"/>
                    <a:pt x="9160" y="160796"/>
                    <a:pt x="12367" y="163504"/>
                  </a:cubicBezTo>
                  <a:cubicBezTo>
                    <a:pt x="17238" y="167481"/>
                    <a:pt x="10500" y="173531"/>
                    <a:pt x="13381" y="178043"/>
                  </a:cubicBezTo>
                  <a:cubicBezTo>
                    <a:pt x="15249" y="180951"/>
                    <a:pt x="26776" y="185095"/>
                    <a:pt x="25558" y="187234"/>
                  </a:cubicBezTo>
                  <a:cubicBezTo>
                    <a:pt x="22555" y="192616"/>
                    <a:pt x="21499" y="192716"/>
                    <a:pt x="27101" y="197262"/>
                  </a:cubicBezTo>
                  <a:cubicBezTo>
                    <a:pt x="32702" y="201807"/>
                    <a:pt x="40170" y="206186"/>
                    <a:pt x="42606" y="211065"/>
                  </a:cubicBezTo>
                  <a:cubicBezTo>
                    <a:pt x="43864" y="213672"/>
                    <a:pt x="46665" y="216012"/>
                    <a:pt x="47680" y="218653"/>
                  </a:cubicBezTo>
                  <a:cubicBezTo>
                    <a:pt x="50602" y="224970"/>
                    <a:pt x="43093" y="224067"/>
                    <a:pt x="38222" y="227944"/>
                  </a:cubicBezTo>
                  <a:cubicBezTo>
                    <a:pt x="33352" y="231821"/>
                    <a:pt x="46706" y="232924"/>
                    <a:pt x="49953" y="233325"/>
                  </a:cubicBezTo>
                  <a:cubicBezTo>
                    <a:pt x="55270" y="234027"/>
                    <a:pt x="52469" y="238473"/>
                    <a:pt x="59085" y="239409"/>
                  </a:cubicBezTo>
                  <a:cubicBezTo>
                    <a:pt x="71912" y="241214"/>
                    <a:pt x="79380" y="247129"/>
                    <a:pt x="86808" y="253213"/>
                  </a:cubicBezTo>
                  <a:cubicBezTo>
                    <a:pt x="89365" y="255285"/>
                    <a:pt x="88188" y="257591"/>
                    <a:pt x="90502" y="259530"/>
                  </a:cubicBezTo>
                  <a:cubicBezTo>
                    <a:pt x="94277" y="262872"/>
                    <a:pt x="101705" y="265078"/>
                    <a:pt x="106373" y="267719"/>
                  </a:cubicBezTo>
                  <a:cubicBezTo>
                    <a:pt x="114937" y="272598"/>
                    <a:pt x="112420" y="279116"/>
                    <a:pt x="119686" y="283060"/>
                  </a:cubicBezTo>
                  <a:cubicBezTo>
                    <a:pt x="123258" y="284998"/>
                    <a:pt x="133689" y="287372"/>
                    <a:pt x="135191" y="289979"/>
                  </a:cubicBezTo>
                  <a:cubicBezTo>
                    <a:pt x="139981" y="298334"/>
                    <a:pt x="147612" y="309197"/>
                    <a:pt x="160885" y="314077"/>
                  </a:cubicBezTo>
                  <a:cubicBezTo>
                    <a:pt x="172372" y="318255"/>
                    <a:pt x="180733" y="309999"/>
                    <a:pt x="191002" y="315548"/>
                  </a:cubicBezTo>
                  <a:cubicBezTo>
                    <a:pt x="195061" y="317653"/>
                    <a:pt x="202367" y="312740"/>
                    <a:pt x="209267" y="316550"/>
                  </a:cubicBezTo>
                  <a:cubicBezTo>
                    <a:pt x="215275" y="319893"/>
                    <a:pt x="233946" y="334398"/>
                    <a:pt x="240237" y="333496"/>
                  </a:cubicBezTo>
                  <a:cubicBezTo>
                    <a:pt x="249330" y="332193"/>
                    <a:pt x="258665" y="330154"/>
                    <a:pt x="267067" y="333997"/>
                  </a:cubicBezTo>
                  <a:cubicBezTo>
                    <a:pt x="276971" y="338576"/>
                    <a:pt x="277905" y="334532"/>
                    <a:pt x="288661" y="333496"/>
                  </a:cubicBezTo>
                  <a:cubicBezTo>
                    <a:pt x="293532" y="333028"/>
                    <a:pt x="313583" y="338777"/>
                    <a:pt x="315085" y="334566"/>
                  </a:cubicBezTo>
                  <a:cubicBezTo>
                    <a:pt x="316181" y="331524"/>
                    <a:pt x="333878" y="324204"/>
                    <a:pt x="339439" y="322667"/>
                  </a:cubicBezTo>
                  <a:cubicBezTo>
                    <a:pt x="355188" y="318188"/>
                    <a:pt x="362291" y="320828"/>
                    <a:pt x="376700" y="325742"/>
                  </a:cubicBezTo>
                  <a:cubicBezTo>
                    <a:pt x="380759" y="314846"/>
                    <a:pt x="385305" y="314378"/>
                    <a:pt x="370409" y="308763"/>
                  </a:cubicBezTo>
                  <a:cubicBezTo>
                    <a:pt x="355512" y="303147"/>
                    <a:pt x="351657" y="291082"/>
                    <a:pt x="340413" y="283026"/>
                  </a:cubicBezTo>
                  <a:cubicBezTo>
                    <a:pt x="331686" y="276776"/>
                    <a:pt x="329779" y="272298"/>
                    <a:pt x="316506" y="269089"/>
                  </a:cubicBezTo>
                  <a:cubicBezTo>
                    <a:pt x="303233" y="265880"/>
                    <a:pt x="303842" y="259062"/>
                    <a:pt x="313827" y="254149"/>
                  </a:cubicBezTo>
                  <a:cubicBezTo>
                    <a:pt x="319347" y="251474"/>
                    <a:pt x="334771" y="257023"/>
                    <a:pt x="336923" y="253179"/>
                  </a:cubicBezTo>
                  <a:cubicBezTo>
                    <a:pt x="341915" y="244155"/>
                    <a:pt x="339236" y="235064"/>
                    <a:pt x="349099" y="227276"/>
                  </a:cubicBezTo>
                  <a:cubicBezTo>
                    <a:pt x="353889" y="223499"/>
                    <a:pt x="349099" y="221460"/>
                    <a:pt x="351250" y="218653"/>
                  </a:cubicBezTo>
                  <a:cubicBezTo>
                    <a:pt x="354011" y="215076"/>
                    <a:pt x="365173" y="216346"/>
                    <a:pt x="368623" y="212603"/>
                  </a:cubicBezTo>
                  <a:cubicBezTo>
                    <a:pt x="372073" y="208859"/>
                    <a:pt x="370693" y="204381"/>
                    <a:pt x="373737" y="200637"/>
                  </a:cubicBezTo>
                  <a:cubicBezTo>
                    <a:pt x="376781" y="196894"/>
                    <a:pt x="384534" y="193117"/>
                    <a:pt x="389202" y="189975"/>
                  </a:cubicBezTo>
                  <a:cubicBezTo>
                    <a:pt x="393870" y="186833"/>
                    <a:pt x="396265" y="188337"/>
                    <a:pt x="402028" y="186633"/>
                  </a:cubicBezTo>
                  <a:cubicBezTo>
                    <a:pt x="409578" y="184226"/>
                    <a:pt x="409578" y="178879"/>
                    <a:pt x="413718" y="174968"/>
                  </a:cubicBezTo>
                  <a:cubicBezTo>
                    <a:pt x="425043" y="164172"/>
                    <a:pt x="418508" y="156652"/>
                    <a:pt x="422201" y="144887"/>
                  </a:cubicBezTo>
                  <a:cubicBezTo>
                    <a:pt x="424150" y="138570"/>
                    <a:pt x="434094" y="135662"/>
                    <a:pt x="438681" y="130214"/>
                  </a:cubicBezTo>
                  <a:cubicBezTo>
                    <a:pt x="441847" y="126437"/>
                    <a:pt x="438397" y="120187"/>
                    <a:pt x="445135" y="117981"/>
                  </a:cubicBezTo>
                  <a:cubicBezTo>
                    <a:pt x="455932" y="114204"/>
                    <a:pt x="468352" y="112265"/>
                    <a:pt x="478580" y="107787"/>
                  </a:cubicBezTo>
                  <a:cubicBezTo>
                    <a:pt x="496115" y="100099"/>
                    <a:pt x="480285" y="96055"/>
                    <a:pt x="468352" y="88735"/>
                  </a:cubicBezTo>
                  <a:cubicBezTo>
                    <a:pt x="454430" y="80212"/>
                    <a:pt x="458205" y="66742"/>
                    <a:pt x="458407" y="56782"/>
                  </a:cubicBezTo>
                  <a:cubicBezTo>
                    <a:pt x="458407" y="48259"/>
                    <a:pt x="458894" y="35959"/>
                    <a:pt x="451710" y="27804"/>
                  </a:cubicBezTo>
                  <a:cubicBezTo>
                    <a:pt x="442456" y="17309"/>
                    <a:pt x="418305" y="11727"/>
                    <a:pt x="416113" y="-339"/>
                  </a:cubicBezTo>
                  <a:cubicBezTo>
                    <a:pt x="409740" y="3405"/>
                    <a:pt x="408239" y="5510"/>
                    <a:pt x="398416" y="470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34F93981-D7AE-4D66-A2DF-F73984E6B810}"/>
                </a:ext>
              </a:extLst>
            </p:cNvPr>
            <p:cNvSpPr/>
            <p:nvPr/>
          </p:nvSpPr>
          <p:spPr>
            <a:xfrm>
              <a:off x="6995223" y="4679829"/>
              <a:ext cx="52754" cy="31250"/>
            </a:xfrm>
            <a:custGeom>
              <a:avLst/>
              <a:gdLst>
                <a:gd name="connsiteX0" fmla="*/ 20602 w 52754"/>
                <a:gd name="connsiteY0" fmla="*/ 1098 h 31250"/>
                <a:gd name="connsiteX1" fmla="*/ -17 w 52754"/>
                <a:gd name="connsiteY1" fmla="*/ 20518 h 31250"/>
                <a:gd name="connsiteX2" fmla="*/ 30953 w 52754"/>
                <a:gd name="connsiteY2" fmla="*/ 30912 h 31250"/>
                <a:gd name="connsiteX3" fmla="*/ 44226 w 52754"/>
                <a:gd name="connsiteY3" fmla="*/ 23893 h 31250"/>
                <a:gd name="connsiteX4" fmla="*/ 29451 w 52754"/>
                <a:gd name="connsiteY4" fmla="*/ 16941 h 31250"/>
                <a:gd name="connsiteX5" fmla="*/ 51572 w 52754"/>
                <a:gd name="connsiteY5" fmla="*/ 11393 h 31250"/>
                <a:gd name="connsiteX6" fmla="*/ 42927 w 52754"/>
                <a:gd name="connsiteY6" fmla="*/ -339 h 31250"/>
                <a:gd name="connsiteX7" fmla="*/ 20602 w 52754"/>
                <a:gd name="connsiteY7" fmla="*/ 1098 h 31250"/>
                <a:gd name="connsiteX8" fmla="*/ 20602 w 52754"/>
                <a:gd name="connsiteY8" fmla="*/ 1098 h 3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" h="31250">
                  <a:moveTo>
                    <a:pt x="20602" y="1098"/>
                  </a:moveTo>
                  <a:cubicBezTo>
                    <a:pt x="12484" y="7081"/>
                    <a:pt x="-910" y="11727"/>
                    <a:pt x="-17" y="20518"/>
                  </a:cubicBezTo>
                  <a:cubicBezTo>
                    <a:pt x="1160" y="32082"/>
                    <a:pt x="20278" y="23258"/>
                    <a:pt x="30953" y="30912"/>
                  </a:cubicBezTo>
                  <a:cubicBezTo>
                    <a:pt x="35174" y="28302"/>
                    <a:pt x="39599" y="25956"/>
                    <a:pt x="44226" y="23893"/>
                  </a:cubicBezTo>
                  <a:cubicBezTo>
                    <a:pt x="42440" y="23024"/>
                    <a:pt x="27300" y="19080"/>
                    <a:pt x="29451" y="16941"/>
                  </a:cubicBezTo>
                  <a:cubicBezTo>
                    <a:pt x="34078" y="12362"/>
                    <a:pt x="47229" y="14869"/>
                    <a:pt x="51572" y="11393"/>
                  </a:cubicBezTo>
                  <a:cubicBezTo>
                    <a:pt x="55916" y="7917"/>
                    <a:pt x="46499" y="2235"/>
                    <a:pt x="42927" y="-339"/>
                  </a:cubicBezTo>
                  <a:cubicBezTo>
                    <a:pt x="33388" y="1767"/>
                    <a:pt x="31481" y="3004"/>
                    <a:pt x="20602" y="1098"/>
                  </a:cubicBezTo>
                  <a:cubicBezTo>
                    <a:pt x="18695" y="2502"/>
                    <a:pt x="27503" y="2302"/>
                    <a:pt x="20602" y="109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BCDF89B8-5A75-42B0-B364-D4DDC038812A}"/>
                </a:ext>
              </a:extLst>
            </p:cNvPr>
            <p:cNvSpPr/>
            <p:nvPr/>
          </p:nvSpPr>
          <p:spPr>
            <a:xfrm>
              <a:off x="6850846" y="4573341"/>
              <a:ext cx="187363" cy="108264"/>
            </a:xfrm>
            <a:custGeom>
              <a:avLst/>
              <a:gdLst>
                <a:gd name="connsiteX0" fmla="*/ 37122 w 187363"/>
                <a:gd name="connsiteY0" fmla="*/ 11861 h 108264"/>
                <a:gd name="connsiteX1" fmla="*/ 20318 w 187363"/>
                <a:gd name="connsiteY1" fmla="*/ 17175 h 108264"/>
                <a:gd name="connsiteX2" fmla="*/ 12768 w 187363"/>
                <a:gd name="connsiteY2" fmla="*/ 31614 h 108264"/>
                <a:gd name="connsiteX3" fmla="*/ -17 w 187363"/>
                <a:gd name="connsiteY3" fmla="*/ 46287 h 108264"/>
                <a:gd name="connsiteX4" fmla="*/ 17071 w 187363"/>
                <a:gd name="connsiteY4" fmla="*/ 59657 h 108264"/>
                <a:gd name="connsiteX5" fmla="*/ 32576 w 187363"/>
                <a:gd name="connsiteY5" fmla="*/ 61094 h 108264"/>
                <a:gd name="connsiteX6" fmla="*/ 45849 w 187363"/>
                <a:gd name="connsiteY6" fmla="*/ 54409 h 108264"/>
                <a:gd name="connsiteX7" fmla="*/ 61273 w 187363"/>
                <a:gd name="connsiteY7" fmla="*/ 62531 h 108264"/>
                <a:gd name="connsiteX8" fmla="*/ 73815 w 187363"/>
                <a:gd name="connsiteY8" fmla="*/ 61462 h 108264"/>
                <a:gd name="connsiteX9" fmla="*/ 83272 w 187363"/>
                <a:gd name="connsiteY9" fmla="*/ 64136 h 108264"/>
                <a:gd name="connsiteX10" fmla="*/ 113634 w 187363"/>
                <a:gd name="connsiteY10" fmla="*/ 68581 h 108264"/>
                <a:gd name="connsiteX11" fmla="*/ 141479 w 187363"/>
                <a:gd name="connsiteY11" fmla="*/ 88635 h 108264"/>
                <a:gd name="connsiteX12" fmla="*/ 187304 w 187363"/>
                <a:gd name="connsiteY12" fmla="*/ 106416 h 108264"/>
                <a:gd name="connsiteX13" fmla="*/ 149515 w 187363"/>
                <a:gd name="connsiteY13" fmla="*/ 74497 h 108264"/>
                <a:gd name="connsiteX14" fmla="*/ 128936 w 187363"/>
                <a:gd name="connsiteY14" fmla="*/ 63032 h 108264"/>
                <a:gd name="connsiteX15" fmla="*/ 108641 w 187363"/>
                <a:gd name="connsiteY15" fmla="*/ 56114 h 108264"/>
                <a:gd name="connsiteX16" fmla="*/ 86195 w 187363"/>
                <a:gd name="connsiteY16" fmla="*/ 34856 h 108264"/>
                <a:gd name="connsiteX17" fmla="*/ 67240 w 187363"/>
                <a:gd name="connsiteY17" fmla="*/ -339 h 108264"/>
                <a:gd name="connsiteX18" fmla="*/ 37001 w 187363"/>
                <a:gd name="connsiteY18" fmla="*/ 12128 h 1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7363" h="108264">
                  <a:moveTo>
                    <a:pt x="37122" y="11861"/>
                  </a:moveTo>
                  <a:cubicBezTo>
                    <a:pt x="32251" y="14034"/>
                    <a:pt x="23687" y="13900"/>
                    <a:pt x="20318" y="17175"/>
                  </a:cubicBezTo>
                  <a:cubicBezTo>
                    <a:pt x="15812" y="21587"/>
                    <a:pt x="19141" y="26902"/>
                    <a:pt x="12768" y="31614"/>
                  </a:cubicBezTo>
                  <a:cubicBezTo>
                    <a:pt x="6396" y="36327"/>
                    <a:pt x="104" y="39235"/>
                    <a:pt x="-17" y="46287"/>
                  </a:cubicBezTo>
                  <a:cubicBezTo>
                    <a:pt x="-261" y="56916"/>
                    <a:pt x="-17" y="57651"/>
                    <a:pt x="17071" y="59657"/>
                  </a:cubicBezTo>
                  <a:cubicBezTo>
                    <a:pt x="22266" y="60225"/>
                    <a:pt x="29532" y="64202"/>
                    <a:pt x="32576" y="61094"/>
                  </a:cubicBezTo>
                  <a:cubicBezTo>
                    <a:pt x="35174" y="58487"/>
                    <a:pt x="37528" y="51267"/>
                    <a:pt x="45849" y="54409"/>
                  </a:cubicBezTo>
                  <a:cubicBezTo>
                    <a:pt x="51613" y="56515"/>
                    <a:pt x="54291" y="61595"/>
                    <a:pt x="61273" y="62531"/>
                  </a:cubicBezTo>
                  <a:cubicBezTo>
                    <a:pt x="65494" y="62484"/>
                    <a:pt x="69675" y="62127"/>
                    <a:pt x="73815" y="61462"/>
                  </a:cubicBezTo>
                  <a:cubicBezTo>
                    <a:pt x="77306" y="61462"/>
                    <a:pt x="79822" y="63668"/>
                    <a:pt x="83272" y="64136"/>
                  </a:cubicBezTo>
                  <a:cubicBezTo>
                    <a:pt x="93136" y="65439"/>
                    <a:pt x="105922" y="63868"/>
                    <a:pt x="113634" y="68581"/>
                  </a:cubicBezTo>
                  <a:cubicBezTo>
                    <a:pt x="123375" y="74834"/>
                    <a:pt x="132670" y="81529"/>
                    <a:pt x="141479" y="88635"/>
                  </a:cubicBezTo>
                  <a:cubicBezTo>
                    <a:pt x="157714" y="101069"/>
                    <a:pt x="161773" y="112031"/>
                    <a:pt x="187304" y="106416"/>
                  </a:cubicBezTo>
                  <a:cubicBezTo>
                    <a:pt x="173301" y="96389"/>
                    <a:pt x="163437" y="84591"/>
                    <a:pt x="149515" y="74497"/>
                  </a:cubicBezTo>
                  <a:cubicBezTo>
                    <a:pt x="143305" y="69928"/>
                    <a:pt x="136405" y="66071"/>
                    <a:pt x="128936" y="63032"/>
                  </a:cubicBezTo>
                  <a:cubicBezTo>
                    <a:pt x="122645" y="60526"/>
                    <a:pt x="112700" y="60091"/>
                    <a:pt x="108641" y="56114"/>
                  </a:cubicBezTo>
                  <a:cubicBezTo>
                    <a:pt x="101213" y="48961"/>
                    <a:pt x="91310" y="42744"/>
                    <a:pt x="86195" y="34856"/>
                  </a:cubicBezTo>
                  <a:cubicBezTo>
                    <a:pt x="78077" y="22389"/>
                    <a:pt x="80675" y="11460"/>
                    <a:pt x="67240" y="-339"/>
                  </a:cubicBezTo>
                  <a:cubicBezTo>
                    <a:pt x="58757" y="5845"/>
                    <a:pt x="46945" y="7516"/>
                    <a:pt x="37001" y="1212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362CA935-FDBB-43FA-8E13-76FA9633CB5A}"/>
                </a:ext>
              </a:extLst>
            </p:cNvPr>
            <p:cNvSpPr/>
            <p:nvPr/>
          </p:nvSpPr>
          <p:spPr>
            <a:xfrm>
              <a:off x="6734835" y="4627182"/>
              <a:ext cx="423569" cy="199254"/>
            </a:xfrm>
            <a:custGeom>
              <a:avLst/>
              <a:gdLst>
                <a:gd name="connsiteX0" fmla="*/ 26006 w 423569"/>
                <a:gd name="connsiteY0" fmla="*/ 118989 h 199254"/>
                <a:gd name="connsiteX1" fmla="*/ 46057 w 423569"/>
                <a:gd name="connsiteY1" fmla="*/ 136202 h 199254"/>
                <a:gd name="connsiteX2" fmla="*/ 69356 w 423569"/>
                <a:gd name="connsiteY2" fmla="*/ 153917 h 199254"/>
                <a:gd name="connsiteX3" fmla="*/ 71020 w 423569"/>
                <a:gd name="connsiteY3" fmla="*/ 169459 h 199254"/>
                <a:gd name="connsiteX4" fmla="*/ 99433 w 423569"/>
                <a:gd name="connsiteY4" fmla="*/ 175608 h 199254"/>
                <a:gd name="connsiteX5" fmla="*/ 126507 w 423569"/>
                <a:gd name="connsiteY5" fmla="*/ 188109 h 199254"/>
                <a:gd name="connsiteX6" fmla="*/ 153661 w 423569"/>
                <a:gd name="connsiteY6" fmla="*/ 194794 h 199254"/>
                <a:gd name="connsiteX7" fmla="*/ 177163 w 423569"/>
                <a:gd name="connsiteY7" fmla="*/ 198136 h 199254"/>
                <a:gd name="connsiteX8" fmla="*/ 214424 w 423569"/>
                <a:gd name="connsiteY8" fmla="*/ 190214 h 199254"/>
                <a:gd name="connsiteX9" fmla="*/ 224409 w 423569"/>
                <a:gd name="connsiteY9" fmla="*/ 196064 h 199254"/>
                <a:gd name="connsiteX10" fmla="*/ 244258 w 423569"/>
                <a:gd name="connsiteY10" fmla="*/ 195362 h 199254"/>
                <a:gd name="connsiteX11" fmla="*/ 273076 w 423569"/>
                <a:gd name="connsiteY11" fmla="*/ 194626 h 199254"/>
                <a:gd name="connsiteX12" fmla="*/ 306360 w 423569"/>
                <a:gd name="connsiteY12" fmla="*/ 188176 h 199254"/>
                <a:gd name="connsiteX13" fmla="*/ 338304 w 423569"/>
                <a:gd name="connsiteY13" fmla="*/ 188443 h 199254"/>
                <a:gd name="connsiteX14" fmla="*/ 420985 w 423569"/>
                <a:gd name="connsiteY14" fmla="*/ 153114 h 199254"/>
                <a:gd name="connsiteX15" fmla="*/ 409458 w 423569"/>
                <a:gd name="connsiteY15" fmla="*/ 147332 h 199254"/>
                <a:gd name="connsiteX16" fmla="*/ 374266 w 423569"/>
                <a:gd name="connsiteY16" fmla="*/ 137706 h 199254"/>
                <a:gd name="connsiteX17" fmla="*/ 311515 w 423569"/>
                <a:gd name="connsiteY17" fmla="*/ 114610 h 199254"/>
                <a:gd name="connsiteX18" fmla="*/ 292559 w 423569"/>
                <a:gd name="connsiteY18" fmla="*/ 98601 h 199254"/>
                <a:gd name="connsiteX19" fmla="*/ 285943 w 423569"/>
                <a:gd name="connsiteY19" fmla="*/ 89342 h 199254"/>
                <a:gd name="connsiteX20" fmla="*/ 286390 w 423569"/>
                <a:gd name="connsiteY20" fmla="*/ 80351 h 199254"/>
                <a:gd name="connsiteX21" fmla="*/ 261021 w 423569"/>
                <a:gd name="connsiteY21" fmla="*/ 76073 h 199254"/>
                <a:gd name="connsiteX22" fmla="*/ 277663 w 423569"/>
                <a:gd name="connsiteY22" fmla="*/ 56019 h 199254"/>
                <a:gd name="connsiteX23" fmla="*/ 226235 w 423569"/>
                <a:gd name="connsiteY23" fmla="*/ 12568 h 199254"/>
                <a:gd name="connsiteX24" fmla="*/ 199284 w 423569"/>
                <a:gd name="connsiteY24" fmla="*/ 9995 h 199254"/>
                <a:gd name="connsiteX25" fmla="*/ 189827 w 423569"/>
                <a:gd name="connsiteY25" fmla="*/ 7321 h 199254"/>
                <a:gd name="connsiteX26" fmla="*/ 172860 w 423569"/>
                <a:gd name="connsiteY26" fmla="*/ 6987 h 199254"/>
                <a:gd name="connsiteX27" fmla="*/ 151753 w 423569"/>
                <a:gd name="connsiteY27" fmla="*/ 3042 h 199254"/>
                <a:gd name="connsiteX28" fmla="*/ 117617 w 423569"/>
                <a:gd name="connsiteY28" fmla="*/ 4580 h 199254"/>
                <a:gd name="connsiteX29" fmla="*/ 105440 w 423569"/>
                <a:gd name="connsiteY29" fmla="*/ 21292 h 199254"/>
                <a:gd name="connsiteX30" fmla="*/ 79706 w 423569"/>
                <a:gd name="connsiteY30" fmla="*/ 36433 h 199254"/>
                <a:gd name="connsiteX31" fmla="*/ 68139 w 423569"/>
                <a:gd name="connsiteY31" fmla="*/ 44287 h 199254"/>
                <a:gd name="connsiteX32" fmla="*/ 63024 w 423569"/>
                <a:gd name="connsiteY32" fmla="*/ 56253 h 199254"/>
                <a:gd name="connsiteX33" fmla="*/ 48736 w 423569"/>
                <a:gd name="connsiteY33" fmla="*/ 60899 h 199254"/>
                <a:gd name="connsiteX34" fmla="*/ 46301 w 423569"/>
                <a:gd name="connsiteY34" fmla="*/ 68519 h 199254"/>
                <a:gd name="connsiteX35" fmla="*/ 33515 w 423569"/>
                <a:gd name="connsiteY35" fmla="*/ 90779 h 199254"/>
                <a:gd name="connsiteX36" fmla="*/ 15656 w 423569"/>
                <a:gd name="connsiteY36" fmla="*/ 96996 h 199254"/>
                <a:gd name="connsiteX37" fmla="*/ 394 w 423569"/>
                <a:gd name="connsiteY37" fmla="*/ 108527 h 199254"/>
                <a:gd name="connsiteX38" fmla="*/ 26006 w 423569"/>
                <a:gd name="connsiteY38" fmla="*/ 118922 h 199254"/>
                <a:gd name="connsiteX39" fmla="*/ 26006 w 423569"/>
                <a:gd name="connsiteY39" fmla="*/ 118989 h 199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23569" h="199254">
                  <a:moveTo>
                    <a:pt x="26006" y="118989"/>
                  </a:moveTo>
                  <a:cubicBezTo>
                    <a:pt x="29416" y="125440"/>
                    <a:pt x="40903" y="130152"/>
                    <a:pt x="46057" y="136202"/>
                  </a:cubicBezTo>
                  <a:cubicBezTo>
                    <a:pt x="52227" y="143488"/>
                    <a:pt x="55393" y="150507"/>
                    <a:pt x="69356" y="153917"/>
                  </a:cubicBezTo>
                  <a:cubicBezTo>
                    <a:pt x="81046" y="156791"/>
                    <a:pt x="73131" y="163442"/>
                    <a:pt x="71020" y="169459"/>
                  </a:cubicBezTo>
                  <a:cubicBezTo>
                    <a:pt x="80234" y="172259"/>
                    <a:pt x="89732" y="174318"/>
                    <a:pt x="99433" y="175608"/>
                  </a:cubicBezTo>
                  <a:cubicBezTo>
                    <a:pt x="109986" y="177480"/>
                    <a:pt x="117861" y="184132"/>
                    <a:pt x="126507" y="188109"/>
                  </a:cubicBezTo>
                  <a:cubicBezTo>
                    <a:pt x="135152" y="192086"/>
                    <a:pt x="143351" y="193022"/>
                    <a:pt x="153661" y="194794"/>
                  </a:cubicBezTo>
                  <a:cubicBezTo>
                    <a:pt x="160155" y="195963"/>
                    <a:pt x="171642" y="200776"/>
                    <a:pt x="177163" y="198136"/>
                  </a:cubicBezTo>
                  <a:cubicBezTo>
                    <a:pt x="185889" y="193791"/>
                    <a:pt x="201313" y="186839"/>
                    <a:pt x="214424" y="190214"/>
                  </a:cubicBezTo>
                  <a:cubicBezTo>
                    <a:pt x="219010" y="191351"/>
                    <a:pt x="218808" y="194827"/>
                    <a:pt x="224409" y="196064"/>
                  </a:cubicBezTo>
                  <a:cubicBezTo>
                    <a:pt x="230010" y="197300"/>
                    <a:pt x="239427" y="195495"/>
                    <a:pt x="244258" y="195362"/>
                  </a:cubicBezTo>
                  <a:cubicBezTo>
                    <a:pt x="252822" y="195128"/>
                    <a:pt x="265648" y="197100"/>
                    <a:pt x="273076" y="194626"/>
                  </a:cubicBezTo>
                  <a:cubicBezTo>
                    <a:pt x="283183" y="191284"/>
                    <a:pt x="293371" y="186738"/>
                    <a:pt x="306360" y="188176"/>
                  </a:cubicBezTo>
                  <a:cubicBezTo>
                    <a:pt x="317360" y="189412"/>
                    <a:pt x="328968" y="192822"/>
                    <a:pt x="338304" y="188443"/>
                  </a:cubicBezTo>
                  <a:cubicBezTo>
                    <a:pt x="365093" y="175455"/>
                    <a:pt x="392694" y="163663"/>
                    <a:pt x="420985" y="153114"/>
                  </a:cubicBezTo>
                  <a:cubicBezTo>
                    <a:pt x="429671" y="149772"/>
                    <a:pt x="413476" y="147934"/>
                    <a:pt x="409458" y="147332"/>
                  </a:cubicBezTo>
                  <a:cubicBezTo>
                    <a:pt x="397281" y="145330"/>
                    <a:pt x="385469" y="142095"/>
                    <a:pt x="374266" y="137706"/>
                  </a:cubicBezTo>
                  <a:cubicBezTo>
                    <a:pt x="356610" y="131021"/>
                    <a:pt x="324017" y="124905"/>
                    <a:pt x="311515" y="114610"/>
                  </a:cubicBezTo>
                  <a:cubicBezTo>
                    <a:pt x="305020" y="109263"/>
                    <a:pt x="297430" y="104583"/>
                    <a:pt x="292559" y="98601"/>
                  </a:cubicBezTo>
                  <a:cubicBezTo>
                    <a:pt x="290042" y="95676"/>
                    <a:pt x="287810" y="92581"/>
                    <a:pt x="285943" y="89342"/>
                  </a:cubicBezTo>
                  <a:cubicBezTo>
                    <a:pt x="282899" y="83727"/>
                    <a:pt x="298120" y="86401"/>
                    <a:pt x="286390" y="80351"/>
                  </a:cubicBezTo>
                  <a:cubicBezTo>
                    <a:pt x="279043" y="76508"/>
                    <a:pt x="263740" y="84362"/>
                    <a:pt x="261021" y="76073"/>
                  </a:cubicBezTo>
                  <a:cubicBezTo>
                    <a:pt x="257774" y="66313"/>
                    <a:pt x="268571" y="62470"/>
                    <a:pt x="277663" y="56019"/>
                  </a:cubicBezTo>
                  <a:cubicBezTo>
                    <a:pt x="286755" y="49568"/>
                    <a:pt x="238494" y="17782"/>
                    <a:pt x="226235" y="12568"/>
                  </a:cubicBezTo>
                  <a:cubicBezTo>
                    <a:pt x="219985" y="9794"/>
                    <a:pt x="206631" y="10964"/>
                    <a:pt x="199284" y="9995"/>
                  </a:cubicBezTo>
                  <a:cubicBezTo>
                    <a:pt x="195834" y="9527"/>
                    <a:pt x="193317" y="7354"/>
                    <a:pt x="189827" y="7321"/>
                  </a:cubicBezTo>
                  <a:cubicBezTo>
                    <a:pt x="183738" y="7321"/>
                    <a:pt x="178705" y="9961"/>
                    <a:pt x="172860" y="6987"/>
                  </a:cubicBezTo>
                  <a:cubicBezTo>
                    <a:pt x="167015" y="4012"/>
                    <a:pt x="157477" y="-5280"/>
                    <a:pt x="151753" y="3042"/>
                  </a:cubicBezTo>
                  <a:cubicBezTo>
                    <a:pt x="146030" y="11365"/>
                    <a:pt x="132636" y="5248"/>
                    <a:pt x="117617" y="4580"/>
                  </a:cubicBezTo>
                  <a:cubicBezTo>
                    <a:pt x="116724" y="11265"/>
                    <a:pt x="110149" y="15510"/>
                    <a:pt x="105440" y="21292"/>
                  </a:cubicBezTo>
                  <a:cubicBezTo>
                    <a:pt x="98581" y="29781"/>
                    <a:pt x="88961" y="29514"/>
                    <a:pt x="79706" y="36433"/>
                  </a:cubicBezTo>
                  <a:cubicBezTo>
                    <a:pt x="76297" y="39006"/>
                    <a:pt x="70574" y="41312"/>
                    <a:pt x="68139" y="44287"/>
                  </a:cubicBezTo>
                  <a:cubicBezTo>
                    <a:pt x="65094" y="48031"/>
                    <a:pt x="66352" y="52643"/>
                    <a:pt x="63024" y="56253"/>
                  </a:cubicBezTo>
                  <a:cubicBezTo>
                    <a:pt x="60304" y="59228"/>
                    <a:pt x="53445" y="59595"/>
                    <a:pt x="48736" y="60899"/>
                  </a:cubicBezTo>
                  <a:cubicBezTo>
                    <a:pt x="42607" y="62537"/>
                    <a:pt x="49305" y="65478"/>
                    <a:pt x="46301" y="68519"/>
                  </a:cubicBezTo>
                  <a:cubicBezTo>
                    <a:pt x="39685" y="74866"/>
                    <a:pt x="35302" y="82554"/>
                    <a:pt x="33515" y="90779"/>
                  </a:cubicBezTo>
                  <a:cubicBezTo>
                    <a:pt x="30877" y="99737"/>
                    <a:pt x="29172" y="97464"/>
                    <a:pt x="15656" y="96996"/>
                  </a:cubicBezTo>
                  <a:cubicBezTo>
                    <a:pt x="8715" y="96695"/>
                    <a:pt x="-2447" y="104416"/>
                    <a:pt x="394" y="108527"/>
                  </a:cubicBezTo>
                  <a:cubicBezTo>
                    <a:pt x="4453" y="114443"/>
                    <a:pt x="22516" y="112338"/>
                    <a:pt x="26006" y="118922"/>
                  </a:cubicBezTo>
                  <a:cubicBezTo>
                    <a:pt x="28929" y="124537"/>
                    <a:pt x="23084" y="113474"/>
                    <a:pt x="26006" y="11898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E26B5B26-EB4A-440E-B5EC-099B02B44470}"/>
                </a:ext>
              </a:extLst>
            </p:cNvPr>
            <p:cNvSpPr/>
            <p:nvPr/>
          </p:nvSpPr>
          <p:spPr>
            <a:xfrm>
              <a:off x="6855555" y="4258324"/>
              <a:ext cx="45401" cy="29986"/>
            </a:xfrm>
            <a:custGeom>
              <a:avLst/>
              <a:gdLst>
                <a:gd name="connsiteX0" fmla="*/ 40165 w 45401"/>
                <a:gd name="connsiteY0" fmla="*/ 13800 h 29986"/>
                <a:gd name="connsiteX1" fmla="*/ 33914 w 45401"/>
                <a:gd name="connsiteY1" fmla="*/ 129 h 29986"/>
                <a:gd name="connsiteX2" fmla="*/ 22305 w 45401"/>
                <a:gd name="connsiteY2" fmla="*/ 6814 h 29986"/>
                <a:gd name="connsiteX3" fmla="*/ -60 w 45401"/>
                <a:gd name="connsiteY3" fmla="*/ 24997 h 29986"/>
                <a:gd name="connsiteX4" fmla="*/ 14147 w 45401"/>
                <a:gd name="connsiteY4" fmla="*/ 29643 h 29986"/>
                <a:gd name="connsiteX5" fmla="*/ 40165 w 45401"/>
                <a:gd name="connsiteY5" fmla="*/ 13800 h 2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01" h="29986">
                  <a:moveTo>
                    <a:pt x="40165" y="13800"/>
                  </a:moveTo>
                  <a:cubicBezTo>
                    <a:pt x="49988" y="10190"/>
                    <a:pt x="44670" y="2102"/>
                    <a:pt x="33914" y="129"/>
                  </a:cubicBezTo>
                  <a:cubicBezTo>
                    <a:pt x="23158" y="-1842"/>
                    <a:pt x="26689" y="2803"/>
                    <a:pt x="22305" y="6814"/>
                  </a:cubicBezTo>
                  <a:cubicBezTo>
                    <a:pt x="15527" y="13131"/>
                    <a:pt x="6557" y="18613"/>
                    <a:pt x="-60" y="24997"/>
                  </a:cubicBezTo>
                  <a:cubicBezTo>
                    <a:pt x="2741" y="25899"/>
                    <a:pt x="11265" y="29810"/>
                    <a:pt x="14147" y="29643"/>
                  </a:cubicBezTo>
                  <a:cubicBezTo>
                    <a:pt x="21656" y="23165"/>
                    <a:pt x="30464" y="17804"/>
                    <a:pt x="40165" y="1380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50A6DA55-2A69-4B3E-B79F-159B8CE80181}"/>
                </a:ext>
              </a:extLst>
            </p:cNvPr>
            <p:cNvSpPr/>
            <p:nvPr/>
          </p:nvSpPr>
          <p:spPr>
            <a:xfrm>
              <a:off x="6870995" y="4223293"/>
              <a:ext cx="223796" cy="82218"/>
            </a:xfrm>
            <a:custGeom>
              <a:avLst/>
              <a:gdLst>
                <a:gd name="connsiteX0" fmla="*/ 24725 w 223796"/>
                <a:gd name="connsiteY0" fmla="*/ 48831 h 82218"/>
                <a:gd name="connsiteX1" fmla="*/ 3253 w 223796"/>
                <a:gd name="connsiteY1" fmla="*/ 61264 h 82218"/>
                <a:gd name="connsiteX2" fmla="*/ 1670 w 223796"/>
                <a:gd name="connsiteY2" fmla="*/ 70422 h 82218"/>
                <a:gd name="connsiteX3" fmla="*/ 28987 w 223796"/>
                <a:gd name="connsiteY3" fmla="*/ 81853 h 82218"/>
                <a:gd name="connsiteX4" fmla="*/ 64625 w 223796"/>
                <a:gd name="connsiteY4" fmla="*/ 75168 h 82218"/>
                <a:gd name="connsiteX5" fmla="*/ 112602 w 223796"/>
                <a:gd name="connsiteY5" fmla="*/ 66980 h 82218"/>
                <a:gd name="connsiteX6" fmla="*/ 178439 w 223796"/>
                <a:gd name="connsiteY6" fmla="*/ 49399 h 82218"/>
                <a:gd name="connsiteX7" fmla="*/ 183553 w 223796"/>
                <a:gd name="connsiteY7" fmla="*/ 34258 h 82218"/>
                <a:gd name="connsiteX8" fmla="*/ 187206 w 223796"/>
                <a:gd name="connsiteY8" fmla="*/ 17546 h 82218"/>
                <a:gd name="connsiteX9" fmla="*/ 223737 w 223796"/>
                <a:gd name="connsiteY9" fmla="*/ 8789 h 82218"/>
                <a:gd name="connsiteX10" fmla="*/ 169550 w 223796"/>
                <a:gd name="connsiteY10" fmla="*/ 3909 h 82218"/>
                <a:gd name="connsiteX11" fmla="*/ 133668 w 223796"/>
                <a:gd name="connsiteY11" fmla="*/ 6917 h 82218"/>
                <a:gd name="connsiteX12" fmla="*/ 97909 w 223796"/>
                <a:gd name="connsiteY12" fmla="*/ 2806 h 82218"/>
                <a:gd name="connsiteX13" fmla="*/ 60566 w 223796"/>
                <a:gd name="connsiteY13" fmla="*/ 3675 h 82218"/>
                <a:gd name="connsiteX14" fmla="*/ 35928 w 223796"/>
                <a:gd name="connsiteY14" fmla="*/ 4845 h 82218"/>
                <a:gd name="connsiteX15" fmla="*/ 16485 w 223796"/>
                <a:gd name="connsiteY15" fmla="*/ 13468 h 82218"/>
                <a:gd name="connsiteX16" fmla="*/ 16729 w 223796"/>
                <a:gd name="connsiteY16" fmla="*/ 24766 h 82218"/>
                <a:gd name="connsiteX17" fmla="*/ 11168 w 223796"/>
                <a:gd name="connsiteY17" fmla="*/ 34358 h 82218"/>
                <a:gd name="connsiteX18" fmla="*/ 24522 w 223796"/>
                <a:gd name="connsiteY18" fmla="*/ 48831 h 82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3796" h="82218">
                  <a:moveTo>
                    <a:pt x="24725" y="48831"/>
                  </a:moveTo>
                  <a:cubicBezTo>
                    <a:pt x="16851" y="52079"/>
                    <a:pt x="9626" y="56267"/>
                    <a:pt x="3253" y="61264"/>
                  </a:cubicBezTo>
                  <a:cubicBezTo>
                    <a:pt x="-2104" y="65074"/>
                    <a:pt x="331" y="65475"/>
                    <a:pt x="1670" y="70422"/>
                  </a:cubicBezTo>
                  <a:cubicBezTo>
                    <a:pt x="2320" y="72695"/>
                    <a:pt x="24644" y="81619"/>
                    <a:pt x="28987" y="81853"/>
                  </a:cubicBezTo>
                  <a:cubicBezTo>
                    <a:pt x="37511" y="82321"/>
                    <a:pt x="55127" y="76572"/>
                    <a:pt x="64625" y="75168"/>
                  </a:cubicBezTo>
                  <a:cubicBezTo>
                    <a:pt x="80861" y="72929"/>
                    <a:pt x="96732" y="69820"/>
                    <a:pt x="112602" y="66980"/>
                  </a:cubicBezTo>
                  <a:cubicBezTo>
                    <a:pt x="132897" y="63303"/>
                    <a:pt x="170037" y="61832"/>
                    <a:pt x="178439" y="49399"/>
                  </a:cubicBezTo>
                  <a:cubicBezTo>
                    <a:pt x="181645" y="44586"/>
                    <a:pt x="175679" y="38335"/>
                    <a:pt x="183553" y="34258"/>
                  </a:cubicBezTo>
                  <a:cubicBezTo>
                    <a:pt x="191427" y="30180"/>
                    <a:pt x="176206" y="22125"/>
                    <a:pt x="187206" y="17546"/>
                  </a:cubicBezTo>
                  <a:cubicBezTo>
                    <a:pt x="196298" y="13635"/>
                    <a:pt x="213184" y="11697"/>
                    <a:pt x="223737" y="8789"/>
                  </a:cubicBezTo>
                  <a:cubicBezTo>
                    <a:pt x="209206" y="3709"/>
                    <a:pt x="185299" y="4110"/>
                    <a:pt x="169550" y="3909"/>
                  </a:cubicBezTo>
                  <a:cubicBezTo>
                    <a:pt x="156642" y="3709"/>
                    <a:pt x="147225" y="8254"/>
                    <a:pt x="133668" y="6917"/>
                  </a:cubicBezTo>
                  <a:cubicBezTo>
                    <a:pt x="125550" y="6115"/>
                    <a:pt x="103510" y="7552"/>
                    <a:pt x="97909" y="2806"/>
                  </a:cubicBezTo>
                  <a:cubicBezTo>
                    <a:pt x="91617" y="-2575"/>
                    <a:pt x="70470" y="4745"/>
                    <a:pt x="60566" y="3675"/>
                  </a:cubicBezTo>
                  <a:cubicBezTo>
                    <a:pt x="49648" y="2472"/>
                    <a:pt x="39297" y="-5383"/>
                    <a:pt x="35928" y="4845"/>
                  </a:cubicBezTo>
                  <a:cubicBezTo>
                    <a:pt x="34021" y="10661"/>
                    <a:pt x="27810" y="13602"/>
                    <a:pt x="16485" y="13468"/>
                  </a:cubicBezTo>
                  <a:cubicBezTo>
                    <a:pt x="13644" y="18448"/>
                    <a:pt x="16729" y="20153"/>
                    <a:pt x="16729" y="24766"/>
                  </a:cubicBezTo>
                  <a:cubicBezTo>
                    <a:pt x="16729" y="28108"/>
                    <a:pt x="12427" y="31149"/>
                    <a:pt x="11168" y="34358"/>
                  </a:cubicBezTo>
                  <a:cubicBezTo>
                    <a:pt x="23670" y="35127"/>
                    <a:pt x="38607" y="43650"/>
                    <a:pt x="24522" y="4883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5970E571-B992-4E6B-B40E-093FC16C5E8B}"/>
                </a:ext>
              </a:extLst>
            </p:cNvPr>
            <p:cNvSpPr/>
            <p:nvPr/>
          </p:nvSpPr>
          <p:spPr>
            <a:xfrm>
              <a:off x="9582064" y="4891177"/>
              <a:ext cx="114017" cy="81248"/>
            </a:xfrm>
            <a:custGeom>
              <a:avLst/>
              <a:gdLst>
                <a:gd name="connsiteX0" fmla="*/ 57038 w 114017"/>
                <a:gd name="connsiteY0" fmla="*/ 620 h 81248"/>
                <a:gd name="connsiteX1" fmla="*/ 36175 w 114017"/>
                <a:gd name="connsiteY1" fmla="*/ 3060 h 81248"/>
                <a:gd name="connsiteX2" fmla="*/ 43765 w 114017"/>
                <a:gd name="connsiteY2" fmla="*/ 17165 h 81248"/>
                <a:gd name="connsiteX3" fmla="*/ 29518 w 114017"/>
                <a:gd name="connsiteY3" fmla="*/ 15794 h 81248"/>
                <a:gd name="connsiteX4" fmla="*/ 23389 w 114017"/>
                <a:gd name="connsiteY4" fmla="*/ 30634 h 81248"/>
                <a:gd name="connsiteX5" fmla="*/ 2363 w 114017"/>
                <a:gd name="connsiteY5" fmla="*/ 44806 h 81248"/>
                <a:gd name="connsiteX6" fmla="*/ 1105 w 114017"/>
                <a:gd name="connsiteY6" fmla="*/ 57707 h 81248"/>
                <a:gd name="connsiteX7" fmla="*/ 22699 w 114017"/>
                <a:gd name="connsiteY7" fmla="*/ 65829 h 81248"/>
                <a:gd name="connsiteX8" fmla="*/ 78956 w 114017"/>
                <a:gd name="connsiteY8" fmla="*/ 71678 h 81248"/>
                <a:gd name="connsiteX9" fmla="*/ 97384 w 114017"/>
                <a:gd name="connsiteY9" fmla="*/ 80101 h 81248"/>
                <a:gd name="connsiteX10" fmla="*/ 106719 w 114017"/>
                <a:gd name="connsiteY10" fmla="*/ 69807 h 81248"/>
                <a:gd name="connsiteX11" fmla="*/ 111185 w 114017"/>
                <a:gd name="connsiteY11" fmla="*/ 30367 h 81248"/>
                <a:gd name="connsiteX12" fmla="*/ 105298 w 114017"/>
                <a:gd name="connsiteY12" fmla="*/ 18769 h 81248"/>
                <a:gd name="connsiteX13" fmla="*/ 90768 w 114017"/>
                <a:gd name="connsiteY13" fmla="*/ 11416 h 81248"/>
                <a:gd name="connsiteX14" fmla="*/ 57038 w 114017"/>
                <a:gd name="connsiteY14" fmla="*/ 620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81248">
                  <a:moveTo>
                    <a:pt x="57038" y="620"/>
                  </a:moveTo>
                  <a:cubicBezTo>
                    <a:pt x="48635" y="1121"/>
                    <a:pt x="36540" y="-3124"/>
                    <a:pt x="36175" y="3060"/>
                  </a:cubicBezTo>
                  <a:cubicBezTo>
                    <a:pt x="35890" y="8274"/>
                    <a:pt x="44698" y="13455"/>
                    <a:pt x="43765" y="17165"/>
                  </a:cubicBezTo>
                  <a:cubicBezTo>
                    <a:pt x="42384" y="22646"/>
                    <a:pt x="34510" y="16596"/>
                    <a:pt x="29518" y="15794"/>
                  </a:cubicBezTo>
                  <a:cubicBezTo>
                    <a:pt x="19451" y="14157"/>
                    <a:pt x="22009" y="26757"/>
                    <a:pt x="23389" y="30634"/>
                  </a:cubicBezTo>
                  <a:cubicBezTo>
                    <a:pt x="26880" y="40026"/>
                    <a:pt x="-2305" y="37887"/>
                    <a:pt x="2363" y="44806"/>
                  </a:cubicBezTo>
                  <a:cubicBezTo>
                    <a:pt x="5123" y="48884"/>
                    <a:pt x="-2954" y="54833"/>
                    <a:pt x="1105" y="57707"/>
                  </a:cubicBezTo>
                  <a:cubicBezTo>
                    <a:pt x="7721" y="61371"/>
                    <a:pt x="15027" y="64115"/>
                    <a:pt x="22699" y="65829"/>
                  </a:cubicBezTo>
                  <a:cubicBezTo>
                    <a:pt x="44373" y="71912"/>
                    <a:pt x="58864" y="67902"/>
                    <a:pt x="78956" y="71678"/>
                  </a:cubicBezTo>
                  <a:cubicBezTo>
                    <a:pt x="86506" y="73116"/>
                    <a:pt x="90280" y="78363"/>
                    <a:pt x="97384" y="80101"/>
                  </a:cubicBezTo>
                  <a:cubicBezTo>
                    <a:pt x="110697" y="83644"/>
                    <a:pt x="106435" y="74687"/>
                    <a:pt x="106719" y="69807"/>
                  </a:cubicBezTo>
                  <a:cubicBezTo>
                    <a:pt x="107531" y="54465"/>
                    <a:pt x="119140" y="48081"/>
                    <a:pt x="111185" y="30367"/>
                  </a:cubicBezTo>
                  <a:cubicBezTo>
                    <a:pt x="109439" y="26523"/>
                    <a:pt x="107490" y="22646"/>
                    <a:pt x="105298" y="18769"/>
                  </a:cubicBezTo>
                  <a:cubicBezTo>
                    <a:pt x="100104" y="9577"/>
                    <a:pt x="101443" y="14524"/>
                    <a:pt x="90768" y="11416"/>
                  </a:cubicBezTo>
                  <a:cubicBezTo>
                    <a:pt x="80092" y="8307"/>
                    <a:pt x="67793" y="-48"/>
                    <a:pt x="57038" y="6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6C9A8594-A875-4298-A7B6-57140008C0D3}"/>
                </a:ext>
              </a:extLst>
            </p:cNvPr>
            <p:cNvSpPr/>
            <p:nvPr/>
          </p:nvSpPr>
          <p:spPr>
            <a:xfrm>
              <a:off x="8413553" y="4703992"/>
              <a:ext cx="112986" cy="117151"/>
            </a:xfrm>
            <a:custGeom>
              <a:avLst/>
              <a:gdLst>
                <a:gd name="connsiteX0" fmla="*/ 98411 w 112986"/>
                <a:gd name="connsiteY0" fmla="*/ 107020 h 117151"/>
                <a:gd name="connsiteX1" fmla="*/ 101699 w 112986"/>
                <a:gd name="connsiteY1" fmla="*/ 81752 h 117151"/>
                <a:gd name="connsiteX2" fmla="*/ 95245 w 112986"/>
                <a:gd name="connsiteY2" fmla="*/ 73463 h 117151"/>
                <a:gd name="connsiteX3" fmla="*/ 77548 w 112986"/>
                <a:gd name="connsiteY3" fmla="*/ 79713 h 117151"/>
                <a:gd name="connsiteX4" fmla="*/ 72677 w 112986"/>
                <a:gd name="connsiteY4" fmla="*/ 66878 h 117151"/>
                <a:gd name="connsiteX5" fmla="*/ 87654 w 112986"/>
                <a:gd name="connsiteY5" fmla="*/ 62834 h 117151"/>
                <a:gd name="connsiteX6" fmla="*/ 111725 w 112986"/>
                <a:gd name="connsiteY6" fmla="*/ 54110 h 117151"/>
                <a:gd name="connsiteX7" fmla="*/ 60622 w 112986"/>
                <a:gd name="connsiteY7" fmla="*/ 34056 h 117151"/>
                <a:gd name="connsiteX8" fmla="*/ 49947 w 112986"/>
                <a:gd name="connsiteY8" fmla="*/ 22324 h 117151"/>
                <a:gd name="connsiteX9" fmla="*/ 28799 w 112986"/>
                <a:gd name="connsiteY9" fmla="*/ 5980 h 117151"/>
                <a:gd name="connsiteX10" fmla="*/ 7449 w 112986"/>
                <a:gd name="connsiteY10" fmla="*/ 2638 h 117151"/>
                <a:gd name="connsiteX11" fmla="*/ 18733 w 112986"/>
                <a:gd name="connsiteY11" fmla="*/ 13534 h 117151"/>
                <a:gd name="connsiteX12" fmla="*/ 19788 w 112986"/>
                <a:gd name="connsiteY12" fmla="*/ 21823 h 117151"/>
                <a:gd name="connsiteX13" fmla="*/ 2497 w 112986"/>
                <a:gd name="connsiteY13" fmla="*/ 28173 h 117151"/>
                <a:gd name="connsiteX14" fmla="*/ -60 w 112986"/>
                <a:gd name="connsiteY14" fmla="*/ 81016 h 117151"/>
                <a:gd name="connsiteX15" fmla="*/ 32412 w 112986"/>
                <a:gd name="connsiteY15" fmla="*/ 86297 h 117151"/>
                <a:gd name="connsiteX16" fmla="*/ 57943 w 112986"/>
                <a:gd name="connsiteY16" fmla="*/ 79111 h 117151"/>
                <a:gd name="connsiteX17" fmla="*/ 73367 w 112986"/>
                <a:gd name="connsiteY17" fmla="*/ 116813 h 117151"/>
                <a:gd name="connsiteX18" fmla="*/ 86356 w 112986"/>
                <a:gd name="connsiteY18" fmla="*/ 114440 h 117151"/>
                <a:gd name="connsiteX19" fmla="*/ 98533 w 112986"/>
                <a:gd name="connsiteY19" fmla="*/ 107020 h 117151"/>
                <a:gd name="connsiteX20" fmla="*/ 98411 w 112986"/>
                <a:gd name="connsiteY20" fmla="*/ 107020 h 11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2986" h="117151">
                  <a:moveTo>
                    <a:pt x="98411" y="107020"/>
                  </a:moveTo>
                  <a:cubicBezTo>
                    <a:pt x="99345" y="98564"/>
                    <a:pt x="100887" y="90308"/>
                    <a:pt x="101699" y="81752"/>
                  </a:cubicBezTo>
                  <a:cubicBezTo>
                    <a:pt x="101983" y="78777"/>
                    <a:pt x="104093" y="69986"/>
                    <a:pt x="95245" y="73463"/>
                  </a:cubicBezTo>
                  <a:cubicBezTo>
                    <a:pt x="90090" y="75501"/>
                    <a:pt x="84854" y="79880"/>
                    <a:pt x="77548" y="79713"/>
                  </a:cubicBezTo>
                  <a:cubicBezTo>
                    <a:pt x="67522" y="79713"/>
                    <a:pt x="71176" y="69218"/>
                    <a:pt x="72677" y="66878"/>
                  </a:cubicBezTo>
                  <a:cubicBezTo>
                    <a:pt x="76046" y="61664"/>
                    <a:pt x="79375" y="62633"/>
                    <a:pt x="87654" y="62834"/>
                  </a:cubicBezTo>
                  <a:cubicBezTo>
                    <a:pt x="96787" y="62740"/>
                    <a:pt x="105474" y="59588"/>
                    <a:pt x="111725" y="54110"/>
                  </a:cubicBezTo>
                  <a:cubicBezTo>
                    <a:pt x="121507" y="45086"/>
                    <a:pt x="68618" y="37733"/>
                    <a:pt x="60622" y="34056"/>
                  </a:cubicBezTo>
                  <a:cubicBezTo>
                    <a:pt x="55304" y="31483"/>
                    <a:pt x="48445" y="26034"/>
                    <a:pt x="49947" y="22324"/>
                  </a:cubicBezTo>
                  <a:cubicBezTo>
                    <a:pt x="53722" y="13400"/>
                    <a:pt x="38582" y="11061"/>
                    <a:pt x="28799" y="5980"/>
                  </a:cubicBezTo>
                  <a:cubicBezTo>
                    <a:pt x="21250" y="2070"/>
                    <a:pt x="14633" y="-4047"/>
                    <a:pt x="7449" y="2638"/>
                  </a:cubicBezTo>
                  <a:cubicBezTo>
                    <a:pt x="3878" y="5980"/>
                    <a:pt x="14755" y="11094"/>
                    <a:pt x="18733" y="13534"/>
                  </a:cubicBezTo>
                  <a:cubicBezTo>
                    <a:pt x="23401" y="16475"/>
                    <a:pt x="27582" y="20586"/>
                    <a:pt x="19788" y="21823"/>
                  </a:cubicBezTo>
                  <a:cubicBezTo>
                    <a:pt x="9236" y="23528"/>
                    <a:pt x="5055" y="19283"/>
                    <a:pt x="2497" y="28173"/>
                  </a:cubicBezTo>
                  <a:cubicBezTo>
                    <a:pt x="-2373" y="45220"/>
                    <a:pt x="6556" y="64071"/>
                    <a:pt x="-60" y="81016"/>
                  </a:cubicBezTo>
                  <a:cubicBezTo>
                    <a:pt x="10574" y="82821"/>
                    <a:pt x="21777" y="84693"/>
                    <a:pt x="32412" y="86297"/>
                  </a:cubicBezTo>
                  <a:cubicBezTo>
                    <a:pt x="46741" y="88503"/>
                    <a:pt x="45441" y="79245"/>
                    <a:pt x="57943" y="79111"/>
                  </a:cubicBezTo>
                  <a:cubicBezTo>
                    <a:pt x="80268" y="78877"/>
                    <a:pt x="71054" y="110195"/>
                    <a:pt x="73367" y="116813"/>
                  </a:cubicBezTo>
                  <a:cubicBezTo>
                    <a:pt x="76695" y="116111"/>
                    <a:pt x="84327" y="116211"/>
                    <a:pt x="86356" y="114440"/>
                  </a:cubicBezTo>
                  <a:cubicBezTo>
                    <a:pt x="89603" y="111171"/>
                    <a:pt x="93783" y="108621"/>
                    <a:pt x="98533" y="107020"/>
                  </a:cubicBezTo>
                  <a:cubicBezTo>
                    <a:pt x="100278" y="89807"/>
                    <a:pt x="92282" y="108825"/>
                    <a:pt x="98411" y="1070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3E02A9C9-D47A-4F18-80BE-6A7DE1CDDDB9}"/>
                </a:ext>
              </a:extLst>
            </p:cNvPr>
            <p:cNvSpPr/>
            <p:nvPr/>
          </p:nvSpPr>
          <p:spPr>
            <a:xfrm>
              <a:off x="7839479" y="4448072"/>
              <a:ext cx="840911" cy="486434"/>
            </a:xfrm>
            <a:custGeom>
              <a:avLst/>
              <a:gdLst>
                <a:gd name="connsiteX0" fmla="*/ 576166 w 840911"/>
                <a:gd name="connsiteY0" fmla="*/ 304550 h 486434"/>
                <a:gd name="connsiteX1" fmla="*/ 589723 w 840911"/>
                <a:gd name="connsiteY1" fmla="*/ 277811 h 486434"/>
                <a:gd name="connsiteX2" fmla="*/ 580834 w 840911"/>
                <a:gd name="connsiteY2" fmla="*/ 260230 h 486434"/>
                <a:gd name="connsiteX3" fmla="*/ 620612 w 840911"/>
                <a:gd name="connsiteY3" fmla="*/ 269388 h 486434"/>
                <a:gd name="connsiteX4" fmla="*/ 626904 w 840911"/>
                <a:gd name="connsiteY4" fmla="*/ 284428 h 486434"/>
                <a:gd name="connsiteX5" fmla="*/ 644519 w 840911"/>
                <a:gd name="connsiteY5" fmla="*/ 292350 h 486434"/>
                <a:gd name="connsiteX6" fmla="*/ 683242 w 840911"/>
                <a:gd name="connsiteY6" fmla="*/ 312036 h 486434"/>
                <a:gd name="connsiteX7" fmla="*/ 645412 w 840911"/>
                <a:gd name="connsiteY7" fmla="*/ 325606 h 486434"/>
                <a:gd name="connsiteX8" fmla="*/ 669320 w 840911"/>
                <a:gd name="connsiteY8" fmla="*/ 329450 h 486434"/>
                <a:gd name="connsiteX9" fmla="*/ 675976 w 840911"/>
                <a:gd name="connsiteY9" fmla="*/ 334163 h 486434"/>
                <a:gd name="connsiteX10" fmla="*/ 672486 w 840911"/>
                <a:gd name="connsiteY10" fmla="*/ 363007 h 486434"/>
                <a:gd name="connsiteX11" fmla="*/ 702522 w 840911"/>
                <a:gd name="connsiteY11" fmla="*/ 335767 h 486434"/>
                <a:gd name="connsiteX12" fmla="*/ 723872 w 840911"/>
                <a:gd name="connsiteY12" fmla="*/ 341516 h 486434"/>
                <a:gd name="connsiteX13" fmla="*/ 745669 w 840911"/>
                <a:gd name="connsiteY13" fmla="*/ 327512 h 486434"/>
                <a:gd name="connsiteX14" fmla="*/ 766451 w 840911"/>
                <a:gd name="connsiteY14" fmla="*/ 304416 h 486434"/>
                <a:gd name="connsiteX15" fmla="*/ 813129 w 840911"/>
                <a:gd name="connsiteY15" fmla="*/ 301073 h 486434"/>
                <a:gd name="connsiteX16" fmla="*/ 827823 w 840911"/>
                <a:gd name="connsiteY16" fmla="*/ 306755 h 486434"/>
                <a:gd name="connsiteX17" fmla="*/ 840852 w 840911"/>
                <a:gd name="connsiteY17" fmla="*/ 290044 h 486434"/>
                <a:gd name="connsiteX18" fmla="*/ 824616 w 840911"/>
                <a:gd name="connsiteY18" fmla="*/ 275972 h 486434"/>
                <a:gd name="connsiteX19" fmla="*/ 803956 w 840911"/>
                <a:gd name="connsiteY19" fmla="*/ 262035 h 486434"/>
                <a:gd name="connsiteX20" fmla="*/ 769130 w 840911"/>
                <a:gd name="connsiteY20" fmla="*/ 252008 h 486434"/>
                <a:gd name="connsiteX21" fmla="*/ 730975 w 840911"/>
                <a:gd name="connsiteY21" fmla="*/ 254147 h 486434"/>
                <a:gd name="connsiteX22" fmla="*/ 699274 w 840911"/>
                <a:gd name="connsiteY22" fmla="*/ 258057 h 486434"/>
                <a:gd name="connsiteX23" fmla="*/ 693389 w 840911"/>
                <a:gd name="connsiteY23" fmla="*/ 267516 h 486434"/>
                <a:gd name="connsiteX24" fmla="*/ 626944 w 840911"/>
                <a:gd name="connsiteY24" fmla="*/ 255383 h 486434"/>
                <a:gd name="connsiteX25" fmla="*/ 608272 w 840911"/>
                <a:gd name="connsiteY25" fmla="*/ 239474 h 486434"/>
                <a:gd name="connsiteX26" fmla="*/ 604213 w 840911"/>
                <a:gd name="connsiteY26" fmla="*/ 224701 h 486434"/>
                <a:gd name="connsiteX27" fmla="*/ 587978 w 840911"/>
                <a:gd name="connsiteY27" fmla="*/ 236766 h 486434"/>
                <a:gd name="connsiteX28" fmla="*/ 563624 w 840911"/>
                <a:gd name="connsiteY28" fmla="*/ 244053 h 486434"/>
                <a:gd name="connsiteX29" fmla="*/ 507570 w 840911"/>
                <a:gd name="connsiteY29" fmla="*/ 222896 h 486434"/>
                <a:gd name="connsiteX30" fmla="*/ 490806 w 840911"/>
                <a:gd name="connsiteY30" fmla="*/ 208022 h 486434"/>
                <a:gd name="connsiteX31" fmla="*/ 456507 w 840911"/>
                <a:gd name="connsiteY31" fmla="*/ 198697 h 486434"/>
                <a:gd name="connsiteX32" fmla="*/ 432153 w 840911"/>
                <a:gd name="connsiteY32" fmla="*/ 183356 h 486434"/>
                <a:gd name="connsiteX33" fmla="*/ 407556 w 840911"/>
                <a:gd name="connsiteY33" fmla="*/ 167546 h 486434"/>
                <a:gd name="connsiteX34" fmla="*/ 383771 w 840911"/>
                <a:gd name="connsiteY34" fmla="*/ 153675 h 486434"/>
                <a:gd name="connsiteX35" fmla="*/ 394649 w 840911"/>
                <a:gd name="connsiteY35" fmla="*/ 134256 h 486434"/>
                <a:gd name="connsiteX36" fmla="*/ 399520 w 840911"/>
                <a:gd name="connsiteY36" fmla="*/ 123394 h 486434"/>
                <a:gd name="connsiteX37" fmla="*/ 386206 w 840911"/>
                <a:gd name="connsiteY37" fmla="*/ 110024 h 486434"/>
                <a:gd name="connsiteX38" fmla="*/ 363516 w 840911"/>
                <a:gd name="connsiteY38" fmla="*/ 93981 h 486434"/>
                <a:gd name="connsiteX39" fmla="*/ 353856 w 840911"/>
                <a:gd name="connsiteY39" fmla="*/ 76534 h 486434"/>
                <a:gd name="connsiteX40" fmla="*/ 355317 w 840911"/>
                <a:gd name="connsiteY40" fmla="*/ 69642 h 486434"/>
                <a:gd name="connsiteX41" fmla="*/ 356129 w 840911"/>
                <a:gd name="connsiteY41" fmla="*/ 69247 h 486434"/>
                <a:gd name="connsiteX42" fmla="*/ 367656 w 840911"/>
                <a:gd name="connsiteY42" fmla="*/ 73592 h 486434"/>
                <a:gd name="connsiteX43" fmla="*/ 380645 w 840911"/>
                <a:gd name="connsiteY43" fmla="*/ 65337 h 486434"/>
                <a:gd name="connsiteX44" fmla="*/ 375247 w 840911"/>
                <a:gd name="connsiteY44" fmla="*/ 46954 h 486434"/>
                <a:gd name="connsiteX45" fmla="*/ 363882 w 840911"/>
                <a:gd name="connsiteY45" fmla="*/ 24226 h 486434"/>
                <a:gd name="connsiteX46" fmla="*/ 334941 w 840911"/>
                <a:gd name="connsiteY46" fmla="*/ 11792 h 486434"/>
                <a:gd name="connsiteX47" fmla="*/ 265939 w 840911"/>
                <a:gd name="connsiteY47" fmla="*/ 7046 h 486434"/>
                <a:gd name="connsiteX48" fmla="*/ 232452 w 840911"/>
                <a:gd name="connsiteY48" fmla="*/ 1063 h 486434"/>
                <a:gd name="connsiteX49" fmla="*/ 232452 w 840911"/>
                <a:gd name="connsiteY49" fmla="*/ 12929 h 486434"/>
                <a:gd name="connsiteX50" fmla="*/ 239109 w 840911"/>
                <a:gd name="connsiteY50" fmla="*/ 41539 h 486434"/>
                <a:gd name="connsiteX51" fmla="*/ 257617 w 840911"/>
                <a:gd name="connsiteY51" fmla="*/ 52536 h 486434"/>
                <a:gd name="connsiteX52" fmla="*/ 241869 w 840911"/>
                <a:gd name="connsiteY52" fmla="*/ 55109 h 486434"/>
                <a:gd name="connsiteX53" fmla="*/ 232858 w 840911"/>
                <a:gd name="connsiteY53" fmla="*/ 65604 h 486434"/>
                <a:gd name="connsiteX54" fmla="*/ 212319 w 840911"/>
                <a:gd name="connsiteY54" fmla="*/ 73091 h 486434"/>
                <a:gd name="connsiteX55" fmla="*/ 205216 w 840911"/>
                <a:gd name="connsiteY55" fmla="*/ 81146 h 486434"/>
                <a:gd name="connsiteX56" fmla="*/ 189468 w 840911"/>
                <a:gd name="connsiteY56" fmla="*/ 81815 h 486434"/>
                <a:gd name="connsiteX57" fmla="*/ 174165 w 840911"/>
                <a:gd name="connsiteY57" fmla="*/ 94148 h 486434"/>
                <a:gd name="connsiteX58" fmla="*/ 152734 w 840911"/>
                <a:gd name="connsiteY58" fmla="*/ 97056 h 486434"/>
                <a:gd name="connsiteX59" fmla="*/ 130247 w 840911"/>
                <a:gd name="connsiteY59" fmla="*/ 108353 h 486434"/>
                <a:gd name="connsiteX60" fmla="*/ 116609 w 840911"/>
                <a:gd name="connsiteY60" fmla="*/ 107183 h 486434"/>
                <a:gd name="connsiteX61" fmla="*/ 98262 w 840911"/>
                <a:gd name="connsiteY61" fmla="*/ 105880 h 486434"/>
                <a:gd name="connsiteX62" fmla="*/ 76628 w 840911"/>
                <a:gd name="connsiteY62" fmla="*/ 99964 h 486434"/>
                <a:gd name="connsiteX63" fmla="*/ 52274 w 840911"/>
                <a:gd name="connsiteY63" fmla="*/ 110191 h 486434"/>
                <a:gd name="connsiteX64" fmla="*/ 67495 w 840911"/>
                <a:gd name="connsiteY64" fmla="*/ 123327 h 486434"/>
                <a:gd name="connsiteX65" fmla="*/ 67292 w 840911"/>
                <a:gd name="connsiteY65" fmla="*/ 134256 h 486434"/>
                <a:gd name="connsiteX66" fmla="*/ 77967 w 840911"/>
                <a:gd name="connsiteY66" fmla="*/ 148829 h 486434"/>
                <a:gd name="connsiteX67" fmla="*/ 42451 w 840911"/>
                <a:gd name="connsiteY67" fmla="*/ 159324 h 486434"/>
                <a:gd name="connsiteX68" fmla="*/ 9046 w 840911"/>
                <a:gd name="connsiteY68" fmla="*/ 155982 h 486434"/>
                <a:gd name="connsiteX69" fmla="*/ 6326 w 840911"/>
                <a:gd name="connsiteY69" fmla="*/ 171523 h 486434"/>
                <a:gd name="connsiteX70" fmla="*/ 39813 w 840911"/>
                <a:gd name="connsiteY70" fmla="*/ 185294 h 486434"/>
                <a:gd name="connsiteX71" fmla="*/ 47931 w 840911"/>
                <a:gd name="connsiteY71" fmla="*/ 191444 h 486434"/>
                <a:gd name="connsiteX72" fmla="*/ 10304 w 840911"/>
                <a:gd name="connsiteY72" fmla="*/ 191812 h 486434"/>
                <a:gd name="connsiteX73" fmla="*/ 47119 w 840911"/>
                <a:gd name="connsiteY73" fmla="*/ 224701 h 486434"/>
                <a:gd name="connsiteX74" fmla="*/ 97978 w 840911"/>
                <a:gd name="connsiteY74" fmla="*/ 219754 h 486434"/>
                <a:gd name="connsiteX75" fmla="*/ 111251 w 840911"/>
                <a:gd name="connsiteY75" fmla="*/ 214874 h 486434"/>
                <a:gd name="connsiteX76" fmla="*/ 111616 w 840911"/>
                <a:gd name="connsiteY76" fmla="*/ 231853 h 486434"/>
                <a:gd name="connsiteX77" fmla="*/ 103498 w 840911"/>
                <a:gd name="connsiteY77" fmla="*/ 252877 h 486434"/>
                <a:gd name="connsiteX78" fmla="*/ 102930 w 840911"/>
                <a:gd name="connsiteY78" fmla="*/ 279615 h 486434"/>
                <a:gd name="connsiteX79" fmla="*/ 121398 w 840911"/>
                <a:gd name="connsiteY79" fmla="*/ 366216 h 486434"/>
                <a:gd name="connsiteX80" fmla="*/ 129516 w 840911"/>
                <a:gd name="connsiteY80" fmla="*/ 402715 h 486434"/>
                <a:gd name="connsiteX81" fmla="*/ 146361 w 840911"/>
                <a:gd name="connsiteY81" fmla="*/ 437141 h 486434"/>
                <a:gd name="connsiteX82" fmla="*/ 153952 w 840911"/>
                <a:gd name="connsiteY82" fmla="*/ 472236 h 486434"/>
                <a:gd name="connsiteX83" fmla="*/ 193161 w 840911"/>
                <a:gd name="connsiteY83" fmla="*/ 479622 h 486434"/>
                <a:gd name="connsiteX84" fmla="*/ 214836 w 840911"/>
                <a:gd name="connsiteY84" fmla="*/ 474408 h 486434"/>
                <a:gd name="connsiteX85" fmla="*/ 230382 w 840911"/>
                <a:gd name="connsiteY85" fmla="*/ 464013 h 486434"/>
                <a:gd name="connsiteX86" fmla="*/ 249378 w 840911"/>
                <a:gd name="connsiteY86" fmla="*/ 456827 h 486434"/>
                <a:gd name="connsiteX87" fmla="*/ 259160 w 840911"/>
                <a:gd name="connsiteY87" fmla="*/ 438912 h 486434"/>
                <a:gd name="connsiteX88" fmla="*/ 281444 w 840911"/>
                <a:gd name="connsiteY88" fmla="*/ 411338 h 486434"/>
                <a:gd name="connsiteX89" fmla="*/ 302023 w 840911"/>
                <a:gd name="connsiteY89" fmla="*/ 377513 h 486434"/>
                <a:gd name="connsiteX90" fmla="*/ 331694 w 840911"/>
                <a:gd name="connsiteY90" fmla="*/ 375708 h 486434"/>
                <a:gd name="connsiteX91" fmla="*/ 360553 w 840911"/>
                <a:gd name="connsiteY91" fmla="*/ 368756 h 486434"/>
                <a:gd name="connsiteX92" fmla="*/ 414172 w 840911"/>
                <a:gd name="connsiteY92" fmla="*/ 359899 h 486434"/>
                <a:gd name="connsiteX93" fmla="*/ 460851 w 840911"/>
                <a:gd name="connsiteY93" fmla="*/ 347566 h 486434"/>
                <a:gd name="connsiteX94" fmla="*/ 509558 w 840911"/>
                <a:gd name="connsiteY94" fmla="*/ 334731 h 486434"/>
                <a:gd name="connsiteX95" fmla="*/ 557738 w 840911"/>
                <a:gd name="connsiteY95" fmla="*/ 333327 h 486434"/>
                <a:gd name="connsiteX96" fmla="*/ 577140 w 840911"/>
                <a:gd name="connsiteY96" fmla="*/ 327044 h 486434"/>
                <a:gd name="connsiteX97" fmla="*/ 576612 w 840911"/>
                <a:gd name="connsiteY97" fmla="*/ 304850 h 486434"/>
                <a:gd name="connsiteX98" fmla="*/ 576166 w 840911"/>
                <a:gd name="connsiteY98" fmla="*/ 304550 h 486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840911" h="486434">
                  <a:moveTo>
                    <a:pt x="576166" y="304550"/>
                  </a:moveTo>
                  <a:cubicBezTo>
                    <a:pt x="573649" y="295826"/>
                    <a:pt x="570402" y="275438"/>
                    <a:pt x="589723" y="277811"/>
                  </a:cubicBezTo>
                  <a:cubicBezTo>
                    <a:pt x="613306" y="280652"/>
                    <a:pt x="581118" y="263305"/>
                    <a:pt x="580834" y="260230"/>
                  </a:cubicBezTo>
                  <a:cubicBezTo>
                    <a:pt x="579778" y="247729"/>
                    <a:pt x="616147" y="265979"/>
                    <a:pt x="620612" y="269388"/>
                  </a:cubicBezTo>
                  <a:cubicBezTo>
                    <a:pt x="627634" y="274602"/>
                    <a:pt x="621220" y="279081"/>
                    <a:pt x="626904" y="284428"/>
                  </a:cubicBezTo>
                  <a:cubicBezTo>
                    <a:pt x="632586" y="289776"/>
                    <a:pt x="636199" y="290278"/>
                    <a:pt x="644519" y="292350"/>
                  </a:cubicBezTo>
                  <a:cubicBezTo>
                    <a:pt x="656412" y="295258"/>
                    <a:pt x="697286" y="302778"/>
                    <a:pt x="683242" y="312036"/>
                  </a:cubicBezTo>
                  <a:cubicBezTo>
                    <a:pt x="671593" y="319623"/>
                    <a:pt x="649228" y="314577"/>
                    <a:pt x="645412" y="325606"/>
                  </a:cubicBezTo>
                  <a:cubicBezTo>
                    <a:pt x="640217" y="340614"/>
                    <a:pt x="660471" y="332926"/>
                    <a:pt x="669320" y="329450"/>
                  </a:cubicBezTo>
                  <a:cubicBezTo>
                    <a:pt x="675813" y="326910"/>
                    <a:pt x="676098" y="330720"/>
                    <a:pt x="675976" y="334163"/>
                  </a:cubicBezTo>
                  <a:cubicBezTo>
                    <a:pt x="675733" y="343922"/>
                    <a:pt x="673541" y="353381"/>
                    <a:pt x="672486" y="363007"/>
                  </a:cubicBezTo>
                  <a:cubicBezTo>
                    <a:pt x="688072" y="358562"/>
                    <a:pt x="695054" y="346296"/>
                    <a:pt x="702522" y="335767"/>
                  </a:cubicBezTo>
                  <a:cubicBezTo>
                    <a:pt x="705810" y="331155"/>
                    <a:pt x="717621" y="339711"/>
                    <a:pt x="723872" y="341516"/>
                  </a:cubicBezTo>
                  <a:cubicBezTo>
                    <a:pt x="729027" y="343053"/>
                    <a:pt x="743680" y="330219"/>
                    <a:pt x="745669" y="327512"/>
                  </a:cubicBezTo>
                  <a:cubicBezTo>
                    <a:pt x="751351" y="319891"/>
                    <a:pt x="756953" y="310399"/>
                    <a:pt x="766451" y="304416"/>
                  </a:cubicBezTo>
                  <a:cubicBezTo>
                    <a:pt x="772539" y="300539"/>
                    <a:pt x="802981" y="297330"/>
                    <a:pt x="813129" y="301073"/>
                  </a:cubicBezTo>
                  <a:cubicBezTo>
                    <a:pt x="812885" y="301073"/>
                    <a:pt x="833424" y="317250"/>
                    <a:pt x="827823" y="306755"/>
                  </a:cubicBezTo>
                  <a:cubicBezTo>
                    <a:pt x="820882" y="293921"/>
                    <a:pt x="834764" y="297865"/>
                    <a:pt x="840852" y="290044"/>
                  </a:cubicBezTo>
                  <a:cubicBezTo>
                    <a:pt x="833302" y="287433"/>
                    <a:pt x="827376" y="282330"/>
                    <a:pt x="824616" y="275972"/>
                  </a:cubicBezTo>
                  <a:cubicBezTo>
                    <a:pt x="819907" y="267850"/>
                    <a:pt x="820922" y="259929"/>
                    <a:pt x="803956" y="262035"/>
                  </a:cubicBezTo>
                  <a:cubicBezTo>
                    <a:pt x="794579" y="263204"/>
                    <a:pt x="781023" y="252208"/>
                    <a:pt x="769130" y="252008"/>
                  </a:cubicBezTo>
                  <a:cubicBezTo>
                    <a:pt x="761702" y="252008"/>
                    <a:pt x="735319" y="252008"/>
                    <a:pt x="730975" y="254147"/>
                  </a:cubicBezTo>
                  <a:cubicBezTo>
                    <a:pt x="721843" y="258993"/>
                    <a:pt x="711817" y="258659"/>
                    <a:pt x="699274" y="258057"/>
                  </a:cubicBezTo>
                  <a:cubicBezTo>
                    <a:pt x="688193" y="257523"/>
                    <a:pt x="694404" y="261700"/>
                    <a:pt x="693389" y="267516"/>
                  </a:cubicBezTo>
                  <a:cubicBezTo>
                    <a:pt x="691035" y="280886"/>
                    <a:pt x="640826" y="261232"/>
                    <a:pt x="626944" y="255383"/>
                  </a:cubicBezTo>
                  <a:cubicBezTo>
                    <a:pt x="617527" y="251372"/>
                    <a:pt x="607583" y="246125"/>
                    <a:pt x="608272" y="239474"/>
                  </a:cubicBezTo>
                  <a:cubicBezTo>
                    <a:pt x="608272" y="239140"/>
                    <a:pt x="615213" y="220222"/>
                    <a:pt x="604213" y="224701"/>
                  </a:cubicBezTo>
                  <a:cubicBezTo>
                    <a:pt x="593214" y="229179"/>
                    <a:pt x="589521" y="226205"/>
                    <a:pt x="587978" y="236766"/>
                  </a:cubicBezTo>
                  <a:cubicBezTo>
                    <a:pt x="586760" y="246125"/>
                    <a:pt x="578155" y="246593"/>
                    <a:pt x="563624" y="244053"/>
                  </a:cubicBezTo>
                  <a:cubicBezTo>
                    <a:pt x="540122" y="240009"/>
                    <a:pt x="527377" y="231853"/>
                    <a:pt x="507570" y="222896"/>
                  </a:cubicBezTo>
                  <a:cubicBezTo>
                    <a:pt x="495068" y="217280"/>
                    <a:pt x="497625" y="215442"/>
                    <a:pt x="490806" y="208022"/>
                  </a:cubicBezTo>
                  <a:cubicBezTo>
                    <a:pt x="482201" y="198630"/>
                    <a:pt x="469577" y="202273"/>
                    <a:pt x="456507" y="198697"/>
                  </a:cubicBezTo>
                  <a:cubicBezTo>
                    <a:pt x="447091" y="196123"/>
                    <a:pt x="441976" y="186798"/>
                    <a:pt x="432153" y="183356"/>
                  </a:cubicBezTo>
                  <a:cubicBezTo>
                    <a:pt x="419489" y="178944"/>
                    <a:pt x="417176" y="172493"/>
                    <a:pt x="407556" y="167546"/>
                  </a:cubicBezTo>
                  <a:cubicBezTo>
                    <a:pt x="398708" y="163001"/>
                    <a:pt x="392051" y="158422"/>
                    <a:pt x="383771" y="153675"/>
                  </a:cubicBezTo>
                  <a:cubicBezTo>
                    <a:pt x="373583" y="147893"/>
                    <a:pt x="385760" y="136395"/>
                    <a:pt x="394649" y="134256"/>
                  </a:cubicBezTo>
                  <a:cubicBezTo>
                    <a:pt x="405080" y="131750"/>
                    <a:pt x="408896" y="130914"/>
                    <a:pt x="399520" y="123394"/>
                  </a:cubicBezTo>
                  <a:cubicBezTo>
                    <a:pt x="394080" y="119115"/>
                    <a:pt x="392538" y="113935"/>
                    <a:pt x="386206" y="110024"/>
                  </a:cubicBezTo>
                  <a:cubicBezTo>
                    <a:pt x="377520" y="104576"/>
                    <a:pt x="371715" y="99997"/>
                    <a:pt x="363516" y="93981"/>
                  </a:cubicBezTo>
                  <a:cubicBezTo>
                    <a:pt x="353450" y="86795"/>
                    <a:pt x="359904" y="83954"/>
                    <a:pt x="353856" y="76534"/>
                  </a:cubicBezTo>
                  <a:cubicBezTo>
                    <a:pt x="351948" y="74298"/>
                    <a:pt x="352598" y="71213"/>
                    <a:pt x="355317" y="69642"/>
                  </a:cubicBezTo>
                  <a:cubicBezTo>
                    <a:pt x="355561" y="69495"/>
                    <a:pt x="355845" y="69361"/>
                    <a:pt x="356129" y="69247"/>
                  </a:cubicBezTo>
                  <a:cubicBezTo>
                    <a:pt x="360553" y="67576"/>
                    <a:pt x="364247" y="72222"/>
                    <a:pt x="367656" y="73592"/>
                  </a:cubicBezTo>
                  <a:cubicBezTo>
                    <a:pt x="382025" y="79575"/>
                    <a:pt x="385191" y="71721"/>
                    <a:pt x="380645" y="65337"/>
                  </a:cubicBezTo>
                  <a:cubicBezTo>
                    <a:pt x="375166" y="57716"/>
                    <a:pt x="369930" y="53505"/>
                    <a:pt x="375247" y="46954"/>
                  </a:cubicBezTo>
                  <a:cubicBezTo>
                    <a:pt x="383364" y="36927"/>
                    <a:pt x="369889" y="34587"/>
                    <a:pt x="363882" y="24226"/>
                  </a:cubicBezTo>
                  <a:cubicBezTo>
                    <a:pt x="357874" y="13864"/>
                    <a:pt x="349675" y="2267"/>
                    <a:pt x="334941" y="11792"/>
                  </a:cubicBezTo>
                  <a:cubicBezTo>
                    <a:pt x="320207" y="21318"/>
                    <a:pt x="286233" y="15803"/>
                    <a:pt x="265939" y="7046"/>
                  </a:cubicBezTo>
                  <a:cubicBezTo>
                    <a:pt x="255750" y="2567"/>
                    <a:pt x="242965" y="-2981"/>
                    <a:pt x="232452" y="1063"/>
                  </a:cubicBezTo>
                  <a:cubicBezTo>
                    <a:pt x="225551" y="3603"/>
                    <a:pt x="232452" y="8550"/>
                    <a:pt x="232452" y="12929"/>
                  </a:cubicBezTo>
                  <a:cubicBezTo>
                    <a:pt x="231843" y="20616"/>
                    <a:pt x="224334" y="34220"/>
                    <a:pt x="239109" y="41539"/>
                  </a:cubicBezTo>
                  <a:cubicBezTo>
                    <a:pt x="241909" y="42943"/>
                    <a:pt x="264761" y="48224"/>
                    <a:pt x="257617" y="52536"/>
                  </a:cubicBezTo>
                  <a:cubicBezTo>
                    <a:pt x="254451" y="54441"/>
                    <a:pt x="246090" y="52937"/>
                    <a:pt x="241869" y="55109"/>
                  </a:cubicBezTo>
                  <a:cubicBezTo>
                    <a:pt x="237363" y="57552"/>
                    <a:pt x="234156" y="61299"/>
                    <a:pt x="232858" y="65604"/>
                  </a:cubicBezTo>
                  <a:cubicBezTo>
                    <a:pt x="229164" y="75331"/>
                    <a:pt x="222386" y="68946"/>
                    <a:pt x="212319" y="73091"/>
                  </a:cubicBezTo>
                  <a:cubicBezTo>
                    <a:pt x="207611" y="74996"/>
                    <a:pt x="208910" y="78907"/>
                    <a:pt x="205216" y="81146"/>
                  </a:cubicBezTo>
                  <a:cubicBezTo>
                    <a:pt x="201523" y="83386"/>
                    <a:pt x="194744" y="81714"/>
                    <a:pt x="189468" y="81815"/>
                  </a:cubicBezTo>
                  <a:cubicBezTo>
                    <a:pt x="182689" y="81815"/>
                    <a:pt x="177291" y="91407"/>
                    <a:pt x="174165" y="94148"/>
                  </a:cubicBezTo>
                  <a:cubicBezTo>
                    <a:pt x="168685" y="98760"/>
                    <a:pt x="162313" y="96889"/>
                    <a:pt x="152734" y="97056"/>
                  </a:cubicBezTo>
                  <a:cubicBezTo>
                    <a:pt x="140029" y="97290"/>
                    <a:pt x="139867" y="105211"/>
                    <a:pt x="130247" y="108353"/>
                  </a:cubicBezTo>
                  <a:cubicBezTo>
                    <a:pt x="124970" y="110058"/>
                    <a:pt x="122129" y="109289"/>
                    <a:pt x="116609" y="107183"/>
                  </a:cubicBezTo>
                  <a:cubicBezTo>
                    <a:pt x="106746" y="103406"/>
                    <a:pt x="106461" y="106682"/>
                    <a:pt x="98262" y="105880"/>
                  </a:cubicBezTo>
                  <a:cubicBezTo>
                    <a:pt x="90063" y="105077"/>
                    <a:pt x="85274" y="97825"/>
                    <a:pt x="76628" y="99964"/>
                  </a:cubicBezTo>
                  <a:cubicBezTo>
                    <a:pt x="68875" y="101902"/>
                    <a:pt x="53857" y="104576"/>
                    <a:pt x="52274" y="110191"/>
                  </a:cubicBezTo>
                  <a:cubicBezTo>
                    <a:pt x="50772" y="115138"/>
                    <a:pt x="65466" y="118581"/>
                    <a:pt x="67495" y="123327"/>
                  </a:cubicBezTo>
                  <a:cubicBezTo>
                    <a:pt x="69078" y="126937"/>
                    <a:pt x="65993" y="130413"/>
                    <a:pt x="67292" y="134256"/>
                  </a:cubicBezTo>
                  <a:cubicBezTo>
                    <a:pt x="69119" y="139604"/>
                    <a:pt x="73868" y="143849"/>
                    <a:pt x="77967" y="148829"/>
                  </a:cubicBezTo>
                  <a:cubicBezTo>
                    <a:pt x="95299" y="170086"/>
                    <a:pt x="62584" y="161831"/>
                    <a:pt x="42451" y="159324"/>
                  </a:cubicBezTo>
                  <a:cubicBezTo>
                    <a:pt x="30274" y="157786"/>
                    <a:pt x="19478" y="151035"/>
                    <a:pt x="9046" y="155982"/>
                  </a:cubicBezTo>
                  <a:cubicBezTo>
                    <a:pt x="-3131" y="161797"/>
                    <a:pt x="-2116" y="162031"/>
                    <a:pt x="6326" y="171523"/>
                  </a:cubicBezTo>
                  <a:cubicBezTo>
                    <a:pt x="14201" y="180224"/>
                    <a:pt x="26621" y="185331"/>
                    <a:pt x="39813" y="185294"/>
                  </a:cubicBezTo>
                  <a:cubicBezTo>
                    <a:pt x="46104" y="185495"/>
                    <a:pt x="60108" y="189338"/>
                    <a:pt x="47931" y="191444"/>
                  </a:cubicBezTo>
                  <a:cubicBezTo>
                    <a:pt x="39813" y="192915"/>
                    <a:pt x="4744" y="184124"/>
                    <a:pt x="10304" y="191812"/>
                  </a:cubicBezTo>
                  <a:cubicBezTo>
                    <a:pt x="19721" y="204737"/>
                    <a:pt x="32222" y="215930"/>
                    <a:pt x="47119" y="224701"/>
                  </a:cubicBezTo>
                  <a:cubicBezTo>
                    <a:pt x="63355" y="234026"/>
                    <a:pt x="106746" y="225035"/>
                    <a:pt x="97978" y="219754"/>
                  </a:cubicBezTo>
                  <a:cubicBezTo>
                    <a:pt x="90916" y="215476"/>
                    <a:pt x="109262" y="209092"/>
                    <a:pt x="111251" y="214874"/>
                  </a:cubicBezTo>
                  <a:cubicBezTo>
                    <a:pt x="113037" y="219954"/>
                    <a:pt x="105406" y="226973"/>
                    <a:pt x="111616" y="231853"/>
                  </a:cubicBezTo>
                  <a:cubicBezTo>
                    <a:pt x="120708" y="239073"/>
                    <a:pt x="104959" y="246559"/>
                    <a:pt x="103498" y="252877"/>
                  </a:cubicBezTo>
                  <a:cubicBezTo>
                    <a:pt x="102159" y="261747"/>
                    <a:pt x="101956" y="270711"/>
                    <a:pt x="102930" y="279615"/>
                  </a:cubicBezTo>
                  <a:cubicBezTo>
                    <a:pt x="104310" y="308794"/>
                    <a:pt x="112428" y="336837"/>
                    <a:pt x="121398" y="366216"/>
                  </a:cubicBezTo>
                  <a:cubicBezTo>
                    <a:pt x="125132" y="378382"/>
                    <a:pt x="125457" y="390548"/>
                    <a:pt x="129516" y="402715"/>
                  </a:cubicBezTo>
                  <a:cubicBezTo>
                    <a:pt x="133575" y="414279"/>
                    <a:pt x="143601" y="425309"/>
                    <a:pt x="146361" y="437141"/>
                  </a:cubicBezTo>
                  <a:cubicBezTo>
                    <a:pt x="149324" y="449775"/>
                    <a:pt x="145225" y="459234"/>
                    <a:pt x="153952" y="472236"/>
                  </a:cubicBezTo>
                  <a:cubicBezTo>
                    <a:pt x="162070" y="484502"/>
                    <a:pt x="180010" y="492290"/>
                    <a:pt x="193161" y="479622"/>
                  </a:cubicBezTo>
                  <a:cubicBezTo>
                    <a:pt x="197220" y="475578"/>
                    <a:pt x="207570" y="475444"/>
                    <a:pt x="214836" y="474408"/>
                  </a:cubicBezTo>
                  <a:cubicBezTo>
                    <a:pt x="225146" y="472904"/>
                    <a:pt x="224090" y="468292"/>
                    <a:pt x="230382" y="464013"/>
                  </a:cubicBezTo>
                  <a:cubicBezTo>
                    <a:pt x="236673" y="459735"/>
                    <a:pt x="245846" y="464448"/>
                    <a:pt x="249378" y="456827"/>
                  </a:cubicBezTo>
                  <a:cubicBezTo>
                    <a:pt x="252260" y="450677"/>
                    <a:pt x="253762" y="444260"/>
                    <a:pt x="259160" y="438912"/>
                  </a:cubicBezTo>
                  <a:cubicBezTo>
                    <a:pt x="268820" y="429387"/>
                    <a:pt x="281687" y="424975"/>
                    <a:pt x="281444" y="411338"/>
                  </a:cubicBezTo>
                  <a:cubicBezTo>
                    <a:pt x="281444" y="401311"/>
                    <a:pt x="285908" y="381958"/>
                    <a:pt x="302023" y="377513"/>
                  </a:cubicBezTo>
                  <a:cubicBezTo>
                    <a:pt x="309735" y="375374"/>
                    <a:pt x="322642" y="378148"/>
                    <a:pt x="331694" y="375708"/>
                  </a:cubicBezTo>
                  <a:cubicBezTo>
                    <a:pt x="341070" y="372790"/>
                    <a:pt x="350731" y="370464"/>
                    <a:pt x="360553" y="368756"/>
                  </a:cubicBezTo>
                  <a:cubicBezTo>
                    <a:pt x="378900" y="366116"/>
                    <a:pt x="396759" y="363843"/>
                    <a:pt x="414172" y="359899"/>
                  </a:cubicBezTo>
                  <a:cubicBezTo>
                    <a:pt x="429596" y="356557"/>
                    <a:pt x="443843" y="348702"/>
                    <a:pt x="460851" y="347566"/>
                  </a:cubicBezTo>
                  <a:cubicBezTo>
                    <a:pt x="482201" y="346162"/>
                    <a:pt x="502617" y="348735"/>
                    <a:pt x="509558" y="334731"/>
                  </a:cubicBezTo>
                  <a:cubicBezTo>
                    <a:pt x="514957" y="323735"/>
                    <a:pt x="541706" y="329751"/>
                    <a:pt x="557738" y="333327"/>
                  </a:cubicBezTo>
                  <a:cubicBezTo>
                    <a:pt x="573771" y="336904"/>
                    <a:pt x="575394" y="337973"/>
                    <a:pt x="577140" y="327044"/>
                  </a:cubicBezTo>
                  <a:cubicBezTo>
                    <a:pt x="578560" y="319677"/>
                    <a:pt x="578398" y="312163"/>
                    <a:pt x="576612" y="304850"/>
                  </a:cubicBezTo>
                  <a:cubicBezTo>
                    <a:pt x="573812" y="296361"/>
                    <a:pt x="577871" y="310933"/>
                    <a:pt x="576166" y="3045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327980FA-7B81-4143-AA47-2C2107FBE50E}"/>
                </a:ext>
              </a:extLst>
            </p:cNvPr>
            <p:cNvSpPr/>
            <p:nvPr/>
          </p:nvSpPr>
          <p:spPr>
            <a:xfrm>
              <a:off x="8595882" y="4264621"/>
              <a:ext cx="937115" cy="380378"/>
            </a:xfrm>
            <a:custGeom>
              <a:avLst/>
              <a:gdLst>
                <a:gd name="connsiteX0" fmla="*/ 910125 w 937115"/>
                <a:gd name="connsiteY0" fmla="*/ 342541 h 380378"/>
                <a:gd name="connsiteX1" fmla="*/ 884148 w 937115"/>
                <a:gd name="connsiteY1" fmla="*/ 331712 h 380378"/>
                <a:gd name="connsiteX2" fmla="*/ 864137 w 937115"/>
                <a:gd name="connsiteY2" fmla="*/ 325628 h 380378"/>
                <a:gd name="connsiteX3" fmla="*/ 833492 w 937115"/>
                <a:gd name="connsiteY3" fmla="*/ 314064 h 380378"/>
                <a:gd name="connsiteX4" fmla="*/ 822938 w 937115"/>
                <a:gd name="connsiteY4" fmla="*/ 298956 h 380378"/>
                <a:gd name="connsiteX5" fmla="*/ 840758 w 937115"/>
                <a:gd name="connsiteY5" fmla="*/ 290968 h 380378"/>
                <a:gd name="connsiteX6" fmla="*/ 875259 w 937115"/>
                <a:gd name="connsiteY6" fmla="*/ 277599 h 380378"/>
                <a:gd name="connsiteX7" fmla="*/ 835846 w 937115"/>
                <a:gd name="connsiteY7" fmla="*/ 260887 h 380378"/>
                <a:gd name="connsiteX8" fmla="*/ 814253 w 937115"/>
                <a:gd name="connsiteY8" fmla="*/ 245880 h 380378"/>
                <a:gd name="connsiteX9" fmla="*/ 742003 w 937115"/>
                <a:gd name="connsiteY9" fmla="*/ 234683 h 380378"/>
                <a:gd name="connsiteX10" fmla="*/ 689601 w 937115"/>
                <a:gd name="connsiteY10" fmla="*/ 223586 h 380378"/>
                <a:gd name="connsiteX11" fmla="*/ 631355 w 937115"/>
                <a:gd name="connsiteY11" fmla="*/ 199454 h 380378"/>
                <a:gd name="connsiteX12" fmla="*/ 592551 w 937115"/>
                <a:gd name="connsiteY12" fmla="*/ 168136 h 380378"/>
                <a:gd name="connsiteX13" fmla="*/ 572459 w 937115"/>
                <a:gd name="connsiteY13" fmla="*/ 154466 h 380378"/>
                <a:gd name="connsiteX14" fmla="*/ 542666 w 937115"/>
                <a:gd name="connsiteY14" fmla="*/ 141398 h 380378"/>
                <a:gd name="connsiteX15" fmla="*/ 509586 w 937115"/>
                <a:gd name="connsiteY15" fmla="*/ 130368 h 380378"/>
                <a:gd name="connsiteX16" fmla="*/ 476302 w 937115"/>
                <a:gd name="connsiteY16" fmla="*/ 125555 h 380378"/>
                <a:gd name="connsiteX17" fmla="*/ 441313 w 937115"/>
                <a:gd name="connsiteY17" fmla="*/ 90661 h 380378"/>
                <a:gd name="connsiteX18" fmla="*/ 423454 w 937115"/>
                <a:gd name="connsiteY18" fmla="*/ 74918 h 380378"/>
                <a:gd name="connsiteX19" fmla="*/ 393417 w 937115"/>
                <a:gd name="connsiteY19" fmla="*/ 57972 h 380378"/>
                <a:gd name="connsiteX20" fmla="*/ 359809 w 937115"/>
                <a:gd name="connsiteY20" fmla="*/ 40024 h 380378"/>
                <a:gd name="connsiteX21" fmla="*/ 325187 w 937115"/>
                <a:gd name="connsiteY21" fmla="*/ 38018 h 380378"/>
                <a:gd name="connsiteX22" fmla="*/ 304892 w 937115"/>
                <a:gd name="connsiteY22" fmla="*/ 46107 h 380378"/>
                <a:gd name="connsiteX23" fmla="*/ 309762 w 937115"/>
                <a:gd name="connsiteY23" fmla="*/ 65158 h 380378"/>
                <a:gd name="connsiteX24" fmla="*/ 284434 w 937115"/>
                <a:gd name="connsiteY24" fmla="*/ 66963 h 380378"/>
                <a:gd name="connsiteX25" fmla="*/ 271161 w 937115"/>
                <a:gd name="connsiteY25" fmla="*/ 67431 h 380378"/>
                <a:gd name="connsiteX26" fmla="*/ 248350 w 937115"/>
                <a:gd name="connsiteY26" fmla="*/ 53560 h 380378"/>
                <a:gd name="connsiteX27" fmla="*/ 217380 w 937115"/>
                <a:gd name="connsiteY27" fmla="*/ 44703 h 380378"/>
                <a:gd name="connsiteX28" fmla="*/ 202849 w 937115"/>
                <a:gd name="connsiteY28" fmla="*/ 29295 h 380378"/>
                <a:gd name="connsiteX29" fmla="*/ 145171 w 937115"/>
                <a:gd name="connsiteY29" fmla="*/ 4194 h 380378"/>
                <a:gd name="connsiteX30" fmla="*/ 83353 w 937115"/>
                <a:gd name="connsiteY30" fmla="*/ 3625 h 380378"/>
                <a:gd name="connsiteX31" fmla="*/ 51367 w 937115"/>
                <a:gd name="connsiteY31" fmla="*/ 4829 h 380378"/>
                <a:gd name="connsiteX32" fmla="*/ 13295 w 937115"/>
                <a:gd name="connsiteY32" fmla="*/ -285 h 380378"/>
                <a:gd name="connsiteX33" fmla="*/ -60 w 937115"/>
                <a:gd name="connsiteY33" fmla="*/ -285 h 380378"/>
                <a:gd name="connsiteX34" fmla="*/ 41261 w 937115"/>
                <a:gd name="connsiteY34" fmla="*/ 38988 h 380378"/>
                <a:gd name="connsiteX35" fmla="*/ 63342 w 937115"/>
                <a:gd name="connsiteY35" fmla="*/ 57872 h 380378"/>
                <a:gd name="connsiteX36" fmla="*/ 71460 w 937115"/>
                <a:gd name="connsiteY36" fmla="*/ 83541 h 380378"/>
                <a:gd name="connsiteX37" fmla="*/ 70932 w 937115"/>
                <a:gd name="connsiteY37" fmla="*/ 112586 h 380378"/>
                <a:gd name="connsiteX38" fmla="*/ 134820 w 937115"/>
                <a:gd name="connsiteY38" fmla="*/ 141565 h 380378"/>
                <a:gd name="connsiteX39" fmla="*/ 172813 w 937115"/>
                <a:gd name="connsiteY39" fmla="*/ 178865 h 380378"/>
                <a:gd name="connsiteX40" fmla="*/ 182960 w 937115"/>
                <a:gd name="connsiteY40" fmla="*/ 200758 h 380378"/>
                <a:gd name="connsiteX41" fmla="*/ 221195 w 937115"/>
                <a:gd name="connsiteY41" fmla="*/ 215063 h 380378"/>
                <a:gd name="connsiteX42" fmla="*/ 289792 w 937115"/>
                <a:gd name="connsiteY42" fmla="*/ 237958 h 380378"/>
                <a:gd name="connsiteX43" fmla="*/ 321533 w 937115"/>
                <a:gd name="connsiteY43" fmla="*/ 250124 h 380378"/>
                <a:gd name="connsiteX44" fmla="*/ 361596 w 937115"/>
                <a:gd name="connsiteY44" fmla="*/ 272619 h 380378"/>
                <a:gd name="connsiteX45" fmla="*/ 390495 w 937115"/>
                <a:gd name="connsiteY45" fmla="*/ 288027 h 380378"/>
                <a:gd name="connsiteX46" fmla="*/ 420248 w 937115"/>
                <a:gd name="connsiteY46" fmla="*/ 304171 h 380378"/>
                <a:gd name="connsiteX47" fmla="*/ 450527 w 937115"/>
                <a:gd name="connsiteY47" fmla="*/ 309552 h 380378"/>
                <a:gd name="connsiteX48" fmla="*/ 511412 w 937115"/>
                <a:gd name="connsiteY48" fmla="*/ 316805 h 380378"/>
                <a:gd name="connsiteX49" fmla="*/ 590603 w 937115"/>
                <a:gd name="connsiteY49" fmla="*/ 342374 h 380378"/>
                <a:gd name="connsiteX50" fmla="*/ 633830 w 937115"/>
                <a:gd name="connsiteY50" fmla="*/ 341572 h 380378"/>
                <a:gd name="connsiteX51" fmla="*/ 658387 w 937115"/>
                <a:gd name="connsiteY51" fmla="*/ 333550 h 380378"/>
                <a:gd name="connsiteX52" fmla="*/ 665287 w 937115"/>
                <a:gd name="connsiteY52" fmla="*/ 317974 h 380378"/>
                <a:gd name="connsiteX53" fmla="*/ 694188 w 937115"/>
                <a:gd name="connsiteY53" fmla="*/ 328570 h 380378"/>
                <a:gd name="connsiteX54" fmla="*/ 739892 w 937115"/>
                <a:gd name="connsiteY54" fmla="*/ 342507 h 380378"/>
                <a:gd name="connsiteX55" fmla="*/ 788112 w 937115"/>
                <a:gd name="connsiteY55" fmla="*/ 352534 h 380378"/>
                <a:gd name="connsiteX56" fmla="*/ 822532 w 937115"/>
                <a:gd name="connsiteY56" fmla="*/ 350228 h 380378"/>
                <a:gd name="connsiteX57" fmla="*/ 870023 w 937115"/>
                <a:gd name="connsiteY57" fmla="*/ 358851 h 380378"/>
                <a:gd name="connsiteX58" fmla="*/ 910125 w 937115"/>
                <a:gd name="connsiteY58" fmla="*/ 371820 h 380378"/>
                <a:gd name="connsiteX59" fmla="*/ 936427 w 937115"/>
                <a:gd name="connsiteY59" fmla="*/ 375162 h 380378"/>
                <a:gd name="connsiteX60" fmla="*/ 910369 w 937115"/>
                <a:gd name="connsiteY60" fmla="*/ 342641 h 380378"/>
                <a:gd name="connsiteX61" fmla="*/ 910125 w 937115"/>
                <a:gd name="connsiteY61" fmla="*/ 342541 h 380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37115" h="380378">
                  <a:moveTo>
                    <a:pt x="910125" y="342541"/>
                  </a:moveTo>
                  <a:cubicBezTo>
                    <a:pt x="904646" y="335164"/>
                    <a:pt x="894620" y="330969"/>
                    <a:pt x="884148" y="331712"/>
                  </a:cubicBezTo>
                  <a:cubicBezTo>
                    <a:pt x="872986" y="333082"/>
                    <a:pt x="874975" y="332915"/>
                    <a:pt x="864137" y="325628"/>
                  </a:cubicBezTo>
                  <a:cubicBezTo>
                    <a:pt x="854680" y="319278"/>
                    <a:pt x="844776" y="316938"/>
                    <a:pt x="833492" y="314064"/>
                  </a:cubicBezTo>
                  <a:cubicBezTo>
                    <a:pt x="825374" y="312025"/>
                    <a:pt x="812954" y="299892"/>
                    <a:pt x="822938" y="298956"/>
                  </a:cubicBezTo>
                  <a:cubicBezTo>
                    <a:pt x="832923" y="298020"/>
                    <a:pt x="832761" y="294110"/>
                    <a:pt x="840758" y="290968"/>
                  </a:cubicBezTo>
                  <a:cubicBezTo>
                    <a:pt x="852244" y="286513"/>
                    <a:pt x="863731" y="282054"/>
                    <a:pt x="875259" y="277599"/>
                  </a:cubicBezTo>
                  <a:cubicBezTo>
                    <a:pt x="863082" y="269276"/>
                    <a:pt x="848470" y="268006"/>
                    <a:pt x="835846" y="260887"/>
                  </a:cubicBezTo>
                  <a:cubicBezTo>
                    <a:pt x="826430" y="255539"/>
                    <a:pt x="826632" y="250860"/>
                    <a:pt x="814253" y="245880"/>
                  </a:cubicBezTo>
                  <a:cubicBezTo>
                    <a:pt x="788437" y="235251"/>
                    <a:pt x="766641" y="240264"/>
                    <a:pt x="742003" y="234683"/>
                  </a:cubicBezTo>
                  <a:cubicBezTo>
                    <a:pt x="724874" y="230839"/>
                    <a:pt x="706243" y="227764"/>
                    <a:pt x="689601" y="223586"/>
                  </a:cubicBezTo>
                  <a:cubicBezTo>
                    <a:pt x="668008" y="218138"/>
                    <a:pt x="651203" y="207309"/>
                    <a:pt x="631355" y="199454"/>
                  </a:cubicBezTo>
                  <a:cubicBezTo>
                    <a:pt x="609680" y="190898"/>
                    <a:pt x="611060" y="177662"/>
                    <a:pt x="592551" y="168136"/>
                  </a:cubicBezTo>
                  <a:cubicBezTo>
                    <a:pt x="584149" y="163825"/>
                    <a:pt x="580983" y="158678"/>
                    <a:pt x="572459" y="154466"/>
                  </a:cubicBezTo>
                  <a:cubicBezTo>
                    <a:pt x="562474" y="149553"/>
                    <a:pt x="552732" y="146846"/>
                    <a:pt x="542666" y="141398"/>
                  </a:cubicBezTo>
                  <a:cubicBezTo>
                    <a:pt x="531829" y="135515"/>
                    <a:pt x="522047" y="133543"/>
                    <a:pt x="509586" y="130368"/>
                  </a:cubicBezTo>
                  <a:cubicBezTo>
                    <a:pt x="499276" y="127727"/>
                    <a:pt x="485232" y="130134"/>
                    <a:pt x="476302" y="125555"/>
                  </a:cubicBezTo>
                  <a:cubicBezTo>
                    <a:pt x="456007" y="115093"/>
                    <a:pt x="434210" y="104164"/>
                    <a:pt x="441313" y="90661"/>
                  </a:cubicBezTo>
                  <a:cubicBezTo>
                    <a:pt x="445169" y="83341"/>
                    <a:pt x="435022" y="80032"/>
                    <a:pt x="423454" y="74918"/>
                  </a:cubicBezTo>
                  <a:cubicBezTo>
                    <a:pt x="412536" y="70072"/>
                    <a:pt x="405230" y="61816"/>
                    <a:pt x="393417" y="57972"/>
                  </a:cubicBezTo>
                  <a:cubicBezTo>
                    <a:pt x="379698" y="53494"/>
                    <a:pt x="371418" y="46174"/>
                    <a:pt x="359809" y="40024"/>
                  </a:cubicBezTo>
                  <a:cubicBezTo>
                    <a:pt x="350637" y="35177"/>
                    <a:pt x="335455" y="37350"/>
                    <a:pt x="325187" y="38018"/>
                  </a:cubicBezTo>
                  <a:cubicBezTo>
                    <a:pt x="316297" y="38620"/>
                    <a:pt x="304323" y="40291"/>
                    <a:pt x="304892" y="46107"/>
                  </a:cubicBezTo>
                  <a:cubicBezTo>
                    <a:pt x="305460" y="51923"/>
                    <a:pt x="313010" y="60914"/>
                    <a:pt x="309762" y="65158"/>
                  </a:cubicBezTo>
                  <a:cubicBezTo>
                    <a:pt x="305175" y="71108"/>
                    <a:pt x="295393" y="67899"/>
                    <a:pt x="284434" y="66963"/>
                  </a:cubicBezTo>
                  <a:cubicBezTo>
                    <a:pt x="281065" y="66662"/>
                    <a:pt x="274328" y="68267"/>
                    <a:pt x="271161" y="67431"/>
                  </a:cubicBezTo>
                  <a:cubicBezTo>
                    <a:pt x="261744" y="64924"/>
                    <a:pt x="257036" y="57070"/>
                    <a:pt x="248350" y="53560"/>
                  </a:cubicBezTo>
                  <a:cubicBezTo>
                    <a:pt x="235524" y="48413"/>
                    <a:pt x="228705" y="52257"/>
                    <a:pt x="217380" y="44703"/>
                  </a:cubicBezTo>
                  <a:cubicBezTo>
                    <a:pt x="208085" y="38486"/>
                    <a:pt x="204188" y="36447"/>
                    <a:pt x="202849" y="29295"/>
                  </a:cubicBezTo>
                  <a:cubicBezTo>
                    <a:pt x="201712" y="23078"/>
                    <a:pt x="156699" y="6734"/>
                    <a:pt x="145171" y="4194"/>
                  </a:cubicBezTo>
                  <a:cubicBezTo>
                    <a:pt x="124105" y="-486"/>
                    <a:pt x="103404" y="4428"/>
                    <a:pt x="83353" y="3625"/>
                  </a:cubicBezTo>
                  <a:cubicBezTo>
                    <a:pt x="71379" y="3158"/>
                    <a:pt x="62449" y="5130"/>
                    <a:pt x="51367" y="4829"/>
                  </a:cubicBezTo>
                  <a:cubicBezTo>
                    <a:pt x="38785" y="4528"/>
                    <a:pt x="25958" y="718"/>
                    <a:pt x="13295" y="-285"/>
                  </a:cubicBezTo>
                  <a:cubicBezTo>
                    <a:pt x="7855" y="-720"/>
                    <a:pt x="5461" y="1687"/>
                    <a:pt x="-60" y="-285"/>
                  </a:cubicBezTo>
                  <a:cubicBezTo>
                    <a:pt x="1402" y="12115"/>
                    <a:pt x="17719" y="31400"/>
                    <a:pt x="41261" y="38988"/>
                  </a:cubicBezTo>
                  <a:cubicBezTo>
                    <a:pt x="51287" y="42330"/>
                    <a:pt x="64154" y="51923"/>
                    <a:pt x="63342" y="57872"/>
                  </a:cubicBezTo>
                  <a:cubicBezTo>
                    <a:pt x="61880" y="68300"/>
                    <a:pt x="80552" y="74316"/>
                    <a:pt x="71460" y="83541"/>
                  </a:cubicBezTo>
                  <a:cubicBezTo>
                    <a:pt x="60581" y="94471"/>
                    <a:pt x="41829" y="99184"/>
                    <a:pt x="70932" y="112586"/>
                  </a:cubicBezTo>
                  <a:cubicBezTo>
                    <a:pt x="90212" y="121444"/>
                    <a:pt x="123699" y="128529"/>
                    <a:pt x="134820" y="141565"/>
                  </a:cubicBezTo>
                  <a:cubicBezTo>
                    <a:pt x="146470" y="155168"/>
                    <a:pt x="173218" y="163658"/>
                    <a:pt x="172813" y="178865"/>
                  </a:cubicBezTo>
                  <a:cubicBezTo>
                    <a:pt x="172609" y="186319"/>
                    <a:pt x="182838" y="193806"/>
                    <a:pt x="182960" y="200758"/>
                  </a:cubicBezTo>
                  <a:cubicBezTo>
                    <a:pt x="182960" y="206072"/>
                    <a:pt x="214863" y="212556"/>
                    <a:pt x="221195" y="215063"/>
                  </a:cubicBezTo>
                  <a:cubicBezTo>
                    <a:pt x="243357" y="223753"/>
                    <a:pt x="267428" y="229502"/>
                    <a:pt x="289792" y="237958"/>
                  </a:cubicBezTo>
                  <a:cubicBezTo>
                    <a:pt x="300345" y="241936"/>
                    <a:pt x="311223" y="245813"/>
                    <a:pt x="321533" y="250124"/>
                  </a:cubicBezTo>
                  <a:cubicBezTo>
                    <a:pt x="336470" y="256442"/>
                    <a:pt x="346171" y="267906"/>
                    <a:pt x="361596" y="272619"/>
                  </a:cubicBezTo>
                  <a:cubicBezTo>
                    <a:pt x="374340" y="276529"/>
                    <a:pt x="379333" y="282646"/>
                    <a:pt x="390495" y="288027"/>
                  </a:cubicBezTo>
                  <a:cubicBezTo>
                    <a:pt x="404945" y="294712"/>
                    <a:pt x="409938" y="294912"/>
                    <a:pt x="420248" y="304171"/>
                  </a:cubicBezTo>
                  <a:cubicBezTo>
                    <a:pt x="427513" y="310855"/>
                    <a:pt x="441923" y="309485"/>
                    <a:pt x="450527" y="309552"/>
                  </a:cubicBezTo>
                  <a:cubicBezTo>
                    <a:pt x="470376" y="309552"/>
                    <a:pt x="490184" y="310086"/>
                    <a:pt x="511412" y="316805"/>
                  </a:cubicBezTo>
                  <a:cubicBezTo>
                    <a:pt x="540312" y="326063"/>
                    <a:pt x="559633" y="340435"/>
                    <a:pt x="590603" y="342374"/>
                  </a:cubicBezTo>
                  <a:cubicBezTo>
                    <a:pt x="605986" y="343376"/>
                    <a:pt x="618041" y="339766"/>
                    <a:pt x="633830" y="341572"/>
                  </a:cubicBezTo>
                  <a:cubicBezTo>
                    <a:pt x="647266" y="343109"/>
                    <a:pt x="661391" y="344379"/>
                    <a:pt x="658387" y="333550"/>
                  </a:cubicBezTo>
                  <a:cubicBezTo>
                    <a:pt x="656317" y="326163"/>
                    <a:pt x="651203" y="319211"/>
                    <a:pt x="665287" y="317974"/>
                  </a:cubicBezTo>
                  <a:cubicBezTo>
                    <a:pt x="676775" y="316972"/>
                    <a:pt x="685582" y="323055"/>
                    <a:pt x="694188" y="328570"/>
                  </a:cubicBezTo>
                  <a:cubicBezTo>
                    <a:pt x="707380" y="336885"/>
                    <a:pt x="723290" y="341742"/>
                    <a:pt x="739892" y="342507"/>
                  </a:cubicBezTo>
                  <a:cubicBezTo>
                    <a:pt x="757264" y="342808"/>
                    <a:pt x="770700" y="347086"/>
                    <a:pt x="788112" y="352534"/>
                  </a:cubicBezTo>
                  <a:cubicBezTo>
                    <a:pt x="803983" y="357681"/>
                    <a:pt x="810153" y="351365"/>
                    <a:pt x="822532" y="350228"/>
                  </a:cubicBezTo>
                  <a:cubicBezTo>
                    <a:pt x="839662" y="348657"/>
                    <a:pt x="852325" y="354339"/>
                    <a:pt x="870023" y="358851"/>
                  </a:cubicBezTo>
                  <a:cubicBezTo>
                    <a:pt x="885853" y="362929"/>
                    <a:pt x="895878" y="363798"/>
                    <a:pt x="910125" y="371820"/>
                  </a:cubicBezTo>
                  <a:cubicBezTo>
                    <a:pt x="916903" y="375597"/>
                    <a:pt x="941257" y="386192"/>
                    <a:pt x="936427" y="375162"/>
                  </a:cubicBezTo>
                  <a:cubicBezTo>
                    <a:pt x="931597" y="364132"/>
                    <a:pt x="917147" y="353537"/>
                    <a:pt x="910369" y="342641"/>
                  </a:cubicBezTo>
                  <a:cubicBezTo>
                    <a:pt x="903996" y="332748"/>
                    <a:pt x="916214" y="352367"/>
                    <a:pt x="910125" y="34254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5EA0291C-8A7F-4AA9-8476-85AB1E7A7F9E}"/>
                </a:ext>
              </a:extLst>
            </p:cNvPr>
            <p:cNvSpPr/>
            <p:nvPr/>
          </p:nvSpPr>
          <p:spPr>
            <a:xfrm>
              <a:off x="6822397" y="4283659"/>
              <a:ext cx="46897" cy="70523"/>
            </a:xfrm>
            <a:custGeom>
              <a:avLst/>
              <a:gdLst>
                <a:gd name="connsiteX0" fmla="*/ 16011 w 46897"/>
                <a:gd name="connsiteY0" fmla="*/ 68948 h 70523"/>
                <a:gd name="connsiteX1" fmla="*/ 19055 w 46897"/>
                <a:gd name="connsiteY1" fmla="*/ 70185 h 70523"/>
                <a:gd name="connsiteX2" fmla="*/ 31922 w 46897"/>
                <a:gd name="connsiteY2" fmla="*/ 46387 h 70523"/>
                <a:gd name="connsiteX3" fmla="*/ 27213 w 46897"/>
                <a:gd name="connsiteY3" fmla="*/ 25030 h 70523"/>
                <a:gd name="connsiteX4" fmla="*/ 32125 w 46897"/>
                <a:gd name="connsiteY4" fmla="*/ 16340 h 70523"/>
                <a:gd name="connsiteX5" fmla="*/ 45438 w 46897"/>
                <a:gd name="connsiteY5" fmla="*/ 12362 h 70523"/>
                <a:gd name="connsiteX6" fmla="*/ 32937 w 46897"/>
                <a:gd name="connsiteY6" fmla="*/ -339 h 70523"/>
                <a:gd name="connsiteX7" fmla="*/ 12642 w 46897"/>
                <a:gd name="connsiteY7" fmla="*/ 24261 h 70523"/>
                <a:gd name="connsiteX8" fmla="*/ 465 w 46897"/>
                <a:gd name="connsiteY8" fmla="*/ 38366 h 70523"/>
                <a:gd name="connsiteX9" fmla="*/ 16011 w 46897"/>
                <a:gd name="connsiteY9" fmla="*/ 68948 h 7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897" h="70523">
                  <a:moveTo>
                    <a:pt x="16011" y="68948"/>
                  </a:moveTo>
                  <a:lnTo>
                    <a:pt x="19055" y="70185"/>
                  </a:lnTo>
                  <a:cubicBezTo>
                    <a:pt x="21653" y="63500"/>
                    <a:pt x="23114" y="51568"/>
                    <a:pt x="31922" y="46387"/>
                  </a:cubicBezTo>
                  <a:cubicBezTo>
                    <a:pt x="44707" y="38733"/>
                    <a:pt x="24656" y="33018"/>
                    <a:pt x="27213" y="25030"/>
                  </a:cubicBezTo>
                  <a:cubicBezTo>
                    <a:pt x="27904" y="21835"/>
                    <a:pt x="29608" y="18840"/>
                    <a:pt x="32125" y="16340"/>
                  </a:cubicBezTo>
                  <a:cubicBezTo>
                    <a:pt x="37320" y="11794"/>
                    <a:pt x="42881" y="19314"/>
                    <a:pt x="45438" y="12362"/>
                  </a:cubicBezTo>
                  <a:cubicBezTo>
                    <a:pt x="48726" y="3539"/>
                    <a:pt x="46859" y="4207"/>
                    <a:pt x="32937" y="-339"/>
                  </a:cubicBezTo>
                  <a:cubicBezTo>
                    <a:pt x="24819" y="7482"/>
                    <a:pt x="21287" y="16373"/>
                    <a:pt x="12642" y="24261"/>
                  </a:cubicBezTo>
                  <a:cubicBezTo>
                    <a:pt x="7852" y="28639"/>
                    <a:pt x="-2499" y="32985"/>
                    <a:pt x="465" y="38366"/>
                  </a:cubicBezTo>
                  <a:cubicBezTo>
                    <a:pt x="5619" y="46354"/>
                    <a:pt x="20394" y="61328"/>
                    <a:pt x="16011" y="6894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FF281EA2-77D6-4965-9906-7E3D5E2FD446}"/>
                </a:ext>
              </a:extLst>
            </p:cNvPr>
            <p:cNvSpPr/>
            <p:nvPr/>
          </p:nvSpPr>
          <p:spPr>
            <a:xfrm>
              <a:off x="6843161" y="4288773"/>
              <a:ext cx="134529" cy="74737"/>
            </a:xfrm>
            <a:custGeom>
              <a:avLst/>
              <a:gdLst>
                <a:gd name="connsiteX0" fmla="*/ 128300 w 134529"/>
                <a:gd name="connsiteY0" fmla="*/ 3772 h 74737"/>
                <a:gd name="connsiteX1" fmla="*/ 87305 w 134529"/>
                <a:gd name="connsiteY1" fmla="*/ 10290 h 74737"/>
                <a:gd name="connsiteX2" fmla="*/ 56822 w 134529"/>
                <a:gd name="connsiteY2" fmla="*/ 16373 h 74737"/>
                <a:gd name="connsiteX3" fmla="*/ 27556 w 134529"/>
                <a:gd name="connsiteY3" fmla="*/ -339 h 74737"/>
                <a:gd name="connsiteX4" fmla="*/ 9372 w 134529"/>
                <a:gd name="connsiteY4" fmla="*/ 43112 h 74737"/>
                <a:gd name="connsiteX5" fmla="*/ 483 w 134529"/>
                <a:gd name="connsiteY5" fmla="*/ 60024 h 74737"/>
                <a:gd name="connsiteX6" fmla="*/ 19804 w 134529"/>
                <a:gd name="connsiteY6" fmla="*/ 72725 h 74737"/>
                <a:gd name="connsiteX7" fmla="*/ 56943 w 134529"/>
                <a:gd name="connsiteY7" fmla="*/ 62698 h 74737"/>
                <a:gd name="connsiteX8" fmla="*/ 91120 w 134529"/>
                <a:gd name="connsiteY8" fmla="*/ 55813 h 74737"/>
                <a:gd name="connsiteX9" fmla="*/ 68552 w 134529"/>
                <a:gd name="connsiteY9" fmla="*/ 39870 h 74737"/>
                <a:gd name="connsiteX10" fmla="*/ 100374 w 134529"/>
                <a:gd name="connsiteY10" fmla="*/ 31915 h 74737"/>
                <a:gd name="connsiteX11" fmla="*/ 134470 w 134529"/>
                <a:gd name="connsiteY11" fmla="*/ 29743 h 74737"/>
                <a:gd name="connsiteX12" fmla="*/ 128300 w 134529"/>
                <a:gd name="connsiteY12" fmla="*/ 3872 h 74737"/>
                <a:gd name="connsiteX13" fmla="*/ 128300 w 134529"/>
                <a:gd name="connsiteY13" fmla="*/ 3772 h 7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4529" h="74737">
                  <a:moveTo>
                    <a:pt x="128300" y="3772"/>
                  </a:moveTo>
                  <a:cubicBezTo>
                    <a:pt x="116123" y="5911"/>
                    <a:pt x="100577" y="10457"/>
                    <a:pt x="87305" y="10290"/>
                  </a:cubicBezTo>
                  <a:cubicBezTo>
                    <a:pt x="76670" y="10290"/>
                    <a:pt x="66157" y="16975"/>
                    <a:pt x="56822" y="16373"/>
                  </a:cubicBezTo>
                  <a:cubicBezTo>
                    <a:pt x="45497" y="15771"/>
                    <a:pt x="27191" y="5677"/>
                    <a:pt x="27556" y="-339"/>
                  </a:cubicBezTo>
                  <a:cubicBezTo>
                    <a:pt x="22726" y="14067"/>
                    <a:pt x="20088" y="30210"/>
                    <a:pt x="9372" y="43112"/>
                  </a:cubicBezTo>
                  <a:cubicBezTo>
                    <a:pt x="5516" y="48399"/>
                    <a:pt x="2513" y="54088"/>
                    <a:pt x="483" y="60024"/>
                  </a:cubicBezTo>
                  <a:cubicBezTo>
                    <a:pt x="-2602" y="67511"/>
                    <a:pt x="7952" y="69349"/>
                    <a:pt x="19804" y="72725"/>
                  </a:cubicBezTo>
                  <a:cubicBezTo>
                    <a:pt x="43062" y="79410"/>
                    <a:pt x="42696" y="64002"/>
                    <a:pt x="56943" y="62698"/>
                  </a:cubicBezTo>
                  <a:cubicBezTo>
                    <a:pt x="66644" y="61796"/>
                    <a:pt x="87670" y="63667"/>
                    <a:pt x="91120" y="55813"/>
                  </a:cubicBezTo>
                  <a:cubicBezTo>
                    <a:pt x="93149" y="51200"/>
                    <a:pt x="75290" y="41741"/>
                    <a:pt x="68552" y="39870"/>
                  </a:cubicBezTo>
                  <a:cubicBezTo>
                    <a:pt x="56903" y="36527"/>
                    <a:pt x="96681" y="31648"/>
                    <a:pt x="100374" y="31915"/>
                  </a:cubicBezTo>
                  <a:cubicBezTo>
                    <a:pt x="113201" y="32751"/>
                    <a:pt x="122496" y="28573"/>
                    <a:pt x="134470" y="29743"/>
                  </a:cubicBezTo>
                  <a:cubicBezTo>
                    <a:pt x="132359" y="21153"/>
                    <a:pt x="128584" y="12429"/>
                    <a:pt x="128300" y="3872"/>
                  </a:cubicBezTo>
                  <a:cubicBezTo>
                    <a:pt x="108167" y="7349"/>
                    <a:pt x="128422" y="6914"/>
                    <a:pt x="128300" y="377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8DB33A79-A250-4097-BC9E-5D62E72D6B8E}"/>
                </a:ext>
              </a:extLst>
            </p:cNvPr>
            <p:cNvSpPr/>
            <p:nvPr/>
          </p:nvSpPr>
          <p:spPr>
            <a:xfrm>
              <a:off x="7961290" y="4271307"/>
              <a:ext cx="354072" cy="83448"/>
            </a:xfrm>
            <a:custGeom>
              <a:avLst/>
              <a:gdLst>
                <a:gd name="connsiteX0" fmla="*/ 330718 w 354072"/>
                <a:gd name="connsiteY0" fmla="*/ 63219 h 83448"/>
                <a:gd name="connsiteX1" fmla="*/ 290900 w 354072"/>
                <a:gd name="connsiteY1" fmla="*/ 47409 h 83448"/>
                <a:gd name="connsiteX2" fmla="*/ 235454 w 354072"/>
                <a:gd name="connsiteY2" fmla="*/ 31968 h 83448"/>
                <a:gd name="connsiteX3" fmla="*/ 188289 w 354072"/>
                <a:gd name="connsiteY3" fmla="*/ 16325 h 83448"/>
                <a:gd name="connsiteX4" fmla="*/ 147699 w 354072"/>
                <a:gd name="connsiteY4" fmla="*/ 16325 h 83448"/>
                <a:gd name="connsiteX5" fmla="*/ 95298 w 354072"/>
                <a:gd name="connsiteY5" fmla="*/ 817 h 83448"/>
                <a:gd name="connsiteX6" fmla="*/ 76099 w 354072"/>
                <a:gd name="connsiteY6" fmla="*/ 3725 h 83448"/>
                <a:gd name="connsiteX7" fmla="*/ 52557 w 354072"/>
                <a:gd name="connsiteY7" fmla="*/ 9273 h 83448"/>
                <a:gd name="connsiteX8" fmla="*/ 53328 w 354072"/>
                <a:gd name="connsiteY8" fmla="*/ 23411 h 83448"/>
                <a:gd name="connsiteX9" fmla="*/ 78088 w 354072"/>
                <a:gd name="connsiteY9" fmla="*/ 28057 h 83448"/>
                <a:gd name="connsiteX10" fmla="*/ 121316 w 354072"/>
                <a:gd name="connsiteY10" fmla="*/ 52323 h 83448"/>
                <a:gd name="connsiteX11" fmla="*/ 110397 w 354072"/>
                <a:gd name="connsiteY11" fmla="*/ 51721 h 83448"/>
                <a:gd name="connsiteX12" fmla="*/ 96678 w 354072"/>
                <a:gd name="connsiteY12" fmla="*/ 54729 h 83448"/>
                <a:gd name="connsiteX13" fmla="*/ 68265 w 354072"/>
                <a:gd name="connsiteY13" fmla="*/ 49816 h 83448"/>
                <a:gd name="connsiteX14" fmla="*/ 886 w 354072"/>
                <a:gd name="connsiteY14" fmla="*/ 46474 h 83448"/>
                <a:gd name="connsiteX15" fmla="*/ 21181 w 354072"/>
                <a:gd name="connsiteY15" fmla="*/ 53392 h 83448"/>
                <a:gd name="connsiteX16" fmla="*/ 55885 w 354072"/>
                <a:gd name="connsiteY16" fmla="*/ 62885 h 83448"/>
                <a:gd name="connsiteX17" fmla="*/ 85962 w 354072"/>
                <a:gd name="connsiteY17" fmla="*/ 72076 h 83448"/>
                <a:gd name="connsiteX18" fmla="*/ 118109 w 354072"/>
                <a:gd name="connsiteY18" fmla="*/ 79195 h 83448"/>
                <a:gd name="connsiteX19" fmla="*/ 141652 w 354072"/>
                <a:gd name="connsiteY19" fmla="*/ 79028 h 83448"/>
                <a:gd name="connsiteX20" fmla="*/ 172662 w 354072"/>
                <a:gd name="connsiteY20" fmla="*/ 71942 h 83448"/>
                <a:gd name="connsiteX21" fmla="*/ 206027 w 354072"/>
                <a:gd name="connsiteY21" fmla="*/ 78159 h 83448"/>
                <a:gd name="connsiteX22" fmla="*/ 236834 w 354072"/>
                <a:gd name="connsiteY22" fmla="*/ 78460 h 83448"/>
                <a:gd name="connsiteX23" fmla="*/ 274177 w 354072"/>
                <a:gd name="connsiteY23" fmla="*/ 82638 h 83448"/>
                <a:gd name="connsiteX24" fmla="*/ 313346 w 354072"/>
                <a:gd name="connsiteY24" fmla="*/ 78326 h 83448"/>
                <a:gd name="connsiteX25" fmla="*/ 350364 w 354072"/>
                <a:gd name="connsiteY25" fmla="*/ 77691 h 83448"/>
                <a:gd name="connsiteX26" fmla="*/ 330515 w 354072"/>
                <a:gd name="connsiteY26" fmla="*/ 63152 h 83448"/>
                <a:gd name="connsiteX27" fmla="*/ 330718 w 354072"/>
                <a:gd name="connsiteY27" fmla="*/ 63219 h 83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4072" h="83448">
                  <a:moveTo>
                    <a:pt x="330718" y="63219"/>
                  </a:moveTo>
                  <a:cubicBezTo>
                    <a:pt x="323372" y="55130"/>
                    <a:pt x="304132" y="51755"/>
                    <a:pt x="290900" y="47409"/>
                  </a:cubicBezTo>
                  <a:cubicBezTo>
                    <a:pt x="272837" y="41310"/>
                    <a:pt x="254329" y="36152"/>
                    <a:pt x="235454" y="31968"/>
                  </a:cubicBezTo>
                  <a:cubicBezTo>
                    <a:pt x="216174" y="27890"/>
                    <a:pt x="204890" y="25450"/>
                    <a:pt x="188289" y="16325"/>
                  </a:cubicBezTo>
                  <a:cubicBezTo>
                    <a:pt x="171688" y="7201"/>
                    <a:pt x="157644" y="9641"/>
                    <a:pt x="147699" y="16325"/>
                  </a:cubicBezTo>
                  <a:cubicBezTo>
                    <a:pt x="139581" y="22007"/>
                    <a:pt x="107110" y="3257"/>
                    <a:pt x="95298" y="817"/>
                  </a:cubicBezTo>
                  <a:cubicBezTo>
                    <a:pt x="83486" y="-1623"/>
                    <a:pt x="82309" y="15"/>
                    <a:pt x="76099" y="3725"/>
                  </a:cubicBezTo>
                  <a:cubicBezTo>
                    <a:pt x="69889" y="7435"/>
                    <a:pt x="58808" y="6198"/>
                    <a:pt x="52557" y="9273"/>
                  </a:cubicBezTo>
                  <a:cubicBezTo>
                    <a:pt x="40989" y="14922"/>
                    <a:pt x="45981" y="15590"/>
                    <a:pt x="53328" y="23411"/>
                  </a:cubicBezTo>
                  <a:cubicBezTo>
                    <a:pt x="57387" y="27623"/>
                    <a:pt x="73623" y="32269"/>
                    <a:pt x="78088" y="28057"/>
                  </a:cubicBezTo>
                  <a:cubicBezTo>
                    <a:pt x="82553" y="23846"/>
                    <a:pt x="125781" y="49716"/>
                    <a:pt x="121316" y="52323"/>
                  </a:cubicBezTo>
                  <a:cubicBezTo>
                    <a:pt x="119774" y="53225"/>
                    <a:pt x="112386" y="51788"/>
                    <a:pt x="110397" y="51721"/>
                  </a:cubicBezTo>
                  <a:cubicBezTo>
                    <a:pt x="103943" y="51487"/>
                    <a:pt x="102279" y="54361"/>
                    <a:pt x="96678" y="54729"/>
                  </a:cubicBezTo>
                  <a:cubicBezTo>
                    <a:pt x="87424" y="55364"/>
                    <a:pt x="78210" y="49716"/>
                    <a:pt x="68265" y="49816"/>
                  </a:cubicBezTo>
                  <a:cubicBezTo>
                    <a:pt x="47605" y="49816"/>
                    <a:pt x="15174" y="35945"/>
                    <a:pt x="886" y="46474"/>
                  </a:cubicBezTo>
                  <a:cubicBezTo>
                    <a:pt x="-4837" y="50685"/>
                    <a:pt x="17122" y="52690"/>
                    <a:pt x="21181" y="53392"/>
                  </a:cubicBezTo>
                  <a:cubicBezTo>
                    <a:pt x="32708" y="55364"/>
                    <a:pt x="45210" y="62283"/>
                    <a:pt x="55885" y="62885"/>
                  </a:cubicBezTo>
                  <a:cubicBezTo>
                    <a:pt x="70376" y="63687"/>
                    <a:pt x="72121" y="69569"/>
                    <a:pt x="85962" y="72076"/>
                  </a:cubicBezTo>
                  <a:cubicBezTo>
                    <a:pt x="96840" y="74048"/>
                    <a:pt x="106988" y="77357"/>
                    <a:pt x="118109" y="79195"/>
                  </a:cubicBezTo>
                  <a:cubicBezTo>
                    <a:pt x="127729" y="80833"/>
                    <a:pt x="136537" y="83975"/>
                    <a:pt x="141652" y="79028"/>
                  </a:cubicBezTo>
                  <a:cubicBezTo>
                    <a:pt x="149972" y="70940"/>
                    <a:pt x="156466" y="74616"/>
                    <a:pt x="172662" y="71942"/>
                  </a:cubicBezTo>
                  <a:cubicBezTo>
                    <a:pt x="184352" y="69790"/>
                    <a:pt x="196610" y="72073"/>
                    <a:pt x="206027" y="78159"/>
                  </a:cubicBezTo>
                  <a:cubicBezTo>
                    <a:pt x="213414" y="82738"/>
                    <a:pt x="230381" y="80599"/>
                    <a:pt x="236834" y="78460"/>
                  </a:cubicBezTo>
                  <a:cubicBezTo>
                    <a:pt x="250472" y="73948"/>
                    <a:pt x="259159" y="80198"/>
                    <a:pt x="274177" y="82638"/>
                  </a:cubicBezTo>
                  <a:cubicBezTo>
                    <a:pt x="288343" y="84978"/>
                    <a:pt x="298531" y="77825"/>
                    <a:pt x="313346" y="78326"/>
                  </a:cubicBezTo>
                  <a:cubicBezTo>
                    <a:pt x="325767" y="78761"/>
                    <a:pt x="337700" y="77424"/>
                    <a:pt x="350364" y="77691"/>
                  </a:cubicBezTo>
                  <a:cubicBezTo>
                    <a:pt x="364651" y="77958"/>
                    <a:pt x="332505" y="65324"/>
                    <a:pt x="330515" y="63152"/>
                  </a:cubicBezTo>
                  <a:cubicBezTo>
                    <a:pt x="321505" y="53192"/>
                    <a:pt x="338349" y="71842"/>
                    <a:pt x="330718" y="6321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066B0BA0-B90B-47E3-8DD0-77CD79FDFA13}"/>
                </a:ext>
              </a:extLst>
            </p:cNvPr>
            <p:cNvSpPr/>
            <p:nvPr/>
          </p:nvSpPr>
          <p:spPr>
            <a:xfrm>
              <a:off x="7033704" y="4095635"/>
              <a:ext cx="209823" cy="72781"/>
            </a:xfrm>
            <a:custGeom>
              <a:avLst/>
              <a:gdLst>
                <a:gd name="connsiteX0" fmla="*/ 81729 w 209823"/>
                <a:gd name="connsiteY0" fmla="*/ 47307 h 72781"/>
                <a:gd name="connsiteX1" fmla="*/ 112293 w 209823"/>
                <a:gd name="connsiteY1" fmla="*/ 60676 h 72781"/>
                <a:gd name="connsiteX2" fmla="*/ 164410 w 209823"/>
                <a:gd name="connsiteY2" fmla="*/ 65590 h 72781"/>
                <a:gd name="connsiteX3" fmla="*/ 193229 w 209823"/>
                <a:gd name="connsiteY3" fmla="*/ 71071 h 72781"/>
                <a:gd name="connsiteX4" fmla="*/ 209465 w 209823"/>
                <a:gd name="connsiteY4" fmla="*/ 70001 h 72781"/>
                <a:gd name="connsiteX5" fmla="*/ 206908 w 209823"/>
                <a:gd name="connsiteY5" fmla="*/ 57668 h 72781"/>
                <a:gd name="connsiteX6" fmla="*/ 185598 w 209823"/>
                <a:gd name="connsiteY6" fmla="*/ 47173 h 72781"/>
                <a:gd name="connsiteX7" fmla="*/ 174923 w 209823"/>
                <a:gd name="connsiteY7" fmla="*/ 36478 h 72781"/>
                <a:gd name="connsiteX8" fmla="*/ 146510 w 209823"/>
                <a:gd name="connsiteY8" fmla="*/ 32667 h 72781"/>
                <a:gd name="connsiteX9" fmla="*/ 121791 w 209823"/>
                <a:gd name="connsiteY9" fmla="*/ 26885 h 72781"/>
                <a:gd name="connsiteX10" fmla="*/ 63788 w 209823"/>
                <a:gd name="connsiteY10" fmla="*/ 12179 h 72781"/>
                <a:gd name="connsiteX11" fmla="*/ -60 w 209823"/>
                <a:gd name="connsiteY11" fmla="*/ 915 h 72781"/>
                <a:gd name="connsiteX12" fmla="*/ 47024 w 209823"/>
                <a:gd name="connsiteY12" fmla="*/ 20501 h 72781"/>
                <a:gd name="connsiteX13" fmla="*/ 48283 w 209823"/>
                <a:gd name="connsiteY13" fmla="*/ 44299 h 72781"/>
                <a:gd name="connsiteX14" fmla="*/ 81526 w 209823"/>
                <a:gd name="connsiteY14" fmla="*/ 47340 h 72781"/>
                <a:gd name="connsiteX15" fmla="*/ 81729 w 209823"/>
                <a:gd name="connsiteY15" fmla="*/ 47307 h 7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823" h="72781">
                  <a:moveTo>
                    <a:pt x="81729" y="47307"/>
                  </a:moveTo>
                  <a:cubicBezTo>
                    <a:pt x="98330" y="45201"/>
                    <a:pt x="95408" y="60676"/>
                    <a:pt x="112293" y="60676"/>
                  </a:cubicBezTo>
                  <a:cubicBezTo>
                    <a:pt x="129868" y="60011"/>
                    <a:pt x="147484" y="61669"/>
                    <a:pt x="164410" y="65590"/>
                  </a:cubicBezTo>
                  <a:cubicBezTo>
                    <a:pt x="155156" y="54092"/>
                    <a:pt x="189495" y="70202"/>
                    <a:pt x="193229" y="71071"/>
                  </a:cubicBezTo>
                  <a:cubicBezTo>
                    <a:pt x="195543" y="71606"/>
                    <a:pt x="212184" y="74413"/>
                    <a:pt x="209465" y="70001"/>
                  </a:cubicBezTo>
                  <a:cubicBezTo>
                    <a:pt x="205406" y="63317"/>
                    <a:pt x="192580" y="63317"/>
                    <a:pt x="206908" y="57668"/>
                  </a:cubicBezTo>
                  <a:cubicBezTo>
                    <a:pt x="201550" y="55295"/>
                    <a:pt x="186856" y="50984"/>
                    <a:pt x="185598" y="47173"/>
                  </a:cubicBezTo>
                  <a:cubicBezTo>
                    <a:pt x="183366" y="40488"/>
                    <a:pt x="183000" y="40956"/>
                    <a:pt x="174923" y="36478"/>
                  </a:cubicBezTo>
                  <a:cubicBezTo>
                    <a:pt x="168794" y="33135"/>
                    <a:pt x="153938" y="32935"/>
                    <a:pt x="146510" y="32667"/>
                  </a:cubicBezTo>
                  <a:cubicBezTo>
                    <a:pt x="131654" y="32133"/>
                    <a:pt x="133927" y="32667"/>
                    <a:pt x="121791" y="26885"/>
                  </a:cubicBezTo>
                  <a:cubicBezTo>
                    <a:pt x="100441" y="16858"/>
                    <a:pt x="90009" y="15287"/>
                    <a:pt x="63788" y="12179"/>
                  </a:cubicBezTo>
                  <a:cubicBezTo>
                    <a:pt x="40043" y="9371"/>
                    <a:pt x="25755" y="-4533"/>
                    <a:pt x="-60" y="915"/>
                  </a:cubicBezTo>
                  <a:cubicBezTo>
                    <a:pt x="13579" y="6697"/>
                    <a:pt x="44914" y="9405"/>
                    <a:pt x="47024" y="20501"/>
                  </a:cubicBezTo>
                  <a:cubicBezTo>
                    <a:pt x="48851" y="30027"/>
                    <a:pt x="68740" y="37213"/>
                    <a:pt x="48283" y="44299"/>
                  </a:cubicBezTo>
                  <a:cubicBezTo>
                    <a:pt x="57821" y="45703"/>
                    <a:pt x="71947" y="48543"/>
                    <a:pt x="81526" y="47340"/>
                  </a:cubicBezTo>
                  <a:cubicBezTo>
                    <a:pt x="92485" y="45937"/>
                    <a:pt x="76655" y="47908"/>
                    <a:pt x="81729" y="473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08C9054D-5003-4DF5-BA69-9A79195DB751}"/>
                </a:ext>
              </a:extLst>
            </p:cNvPr>
            <p:cNvSpPr/>
            <p:nvPr/>
          </p:nvSpPr>
          <p:spPr>
            <a:xfrm>
              <a:off x="6586881" y="4093371"/>
              <a:ext cx="582855" cy="150147"/>
            </a:xfrm>
            <a:custGeom>
              <a:avLst/>
              <a:gdLst>
                <a:gd name="connsiteX0" fmla="*/ 569669 w 582855"/>
                <a:gd name="connsiteY0" fmla="*/ 131994 h 150147"/>
                <a:gd name="connsiteX1" fmla="*/ 571577 w 582855"/>
                <a:gd name="connsiteY1" fmla="*/ 111939 h 150147"/>
                <a:gd name="connsiteX2" fmla="*/ 579694 w 582855"/>
                <a:gd name="connsiteY2" fmla="*/ 92854 h 150147"/>
                <a:gd name="connsiteX3" fmla="*/ 555341 w 582855"/>
                <a:gd name="connsiteY3" fmla="*/ 77045 h 150147"/>
                <a:gd name="connsiteX4" fmla="*/ 523113 w 582855"/>
                <a:gd name="connsiteY4" fmla="*/ 49704 h 150147"/>
                <a:gd name="connsiteX5" fmla="*/ 489667 w 582855"/>
                <a:gd name="connsiteY5" fmla="*/ 48201 h 150147"/>
                <a:gd name="connsiteX6" fmla="*/ 455449 w 582855"/>
                <a:gd name="connsiteY6" fmla="*/ 52445 h 150147"/>
                <a:gd name="connsiteX7" fmla="*/ 396026 w 582855"/>
                <a:gd name="connsiteY7" fmla="*/ 47499 h 150147"/>
                <a:gd name="connsiteX8" fmla="*/ 336440 w 582855"/>
                <a:gd name="connsiteY8" fmla="*/ 35733 h 150147"/>
                <a:gd name="connsiteX9" fmla="*/ 315049 w 582855"/>
                <a:gd name="connsiteY9" fmla="*/ 27344 h 150147"/>
                <a:gd name="connsiteX10" fmla="*/ 304821 w 582855"/>
                <a:gd name="connsiteY10" fmla="*/ 24838 h 150147"/>
                <a:gd name="connsiteX11" fmla="*/ 178424 w 582855"/>
                <a:gd name="connsiteY11" fmla="*/ 22464 h 150147"/>
                <a:gd name="connsiteX12" fmla="*/ 131259 w 582855"/>
                <a:gd name="connsiteY12" fmla="*/ 25439 h 150147"/>
                <a:gd name="connsiteX13" fmla="*/ 96067 w 582855"/>
                <a:gd name="connsiteY13" fmla="*/ 28347 h 150147"/>
                <a:gd name="connsiteX14" fmla="*/ 40013 w 582855"/>
                <a:gd name="connsiteY14" fmla="*/ 33962 h 150147"/>
                <a:gd name="connsiteX15" fmla="*/ 4173 w 582855"/>
                <a:gd name="connsiteY15" fmla="*/ 45527 h 150147"/>
                <a:gd name="connsiteX16" fmla="*/ 22032 w 582855"/>
                <a:gd name="connsiteY16" fmla="*/ 49905 h 150147"/>
                <a:gd name="connsiteX17" fmla="*/ 24751 w 582855"/>
                <a:gd name="connsiteY17" fmla="*/ 62339 h 150147"/>
                <a:gd name="connsiteX18" fmla="*/ 22844 w 582855"/>
                <a:gd name="connsiteY18" fmla="*/ 76343 h 150147"/>
                <a:gd name="connsiteX19" fmla="*/ 20124 w 582855"/>
                <a:gd name="connsiteY19" fmla="*/ 86136 h 150147"/>
                <a:gd name="connsiteX20" fmla="*/ 42530 w 582855"/>
                <a:gd name="connsiteY20" fmla="*/ 97835 h 150147"/>
                <a:gd name="connsiteX21" fmla="*/ 57142 w 582855"/>
                <a:gd name="connsiteY21" fmla="*/ 103283 h 150147"/>
                <a:gd name="connsiteX22" fmla="*/ 81902 w 582855"/>
                <a:gd name="connsiteY22" fmla="*/ 108998 h 150147"/>
                <a:gd name="connsiteX23" fmla="*/ 118960 w 582855"/>
                <a:gd name="connsiteY23" fmla="*/ 121699 h 150147"/>
                <a:gd name="connsiteX24" fmla="*/ 158089 w 582855"/>
                <a:gd name="connsiteY24" fmla="*/ 112708 h 150147"/>
                <a:gd name="connsiteX25" fmla="*/ 204564 w 582855"/>
                <a:gd name="connsiteY25" fmla="*/ 129988 h 150147"/>
                <a:gd name="connsiteX26" fmla="*/ 258833 w 582855"/>
                <a:gd name="connsiteY26" fmla="*/ 122134 h 150147"/>
                <a:gd name="connsiteX27" fmla="*/ 275515 w 582855"/>
                <a:gd name="connsiteY27" fmla="*/ 124841 h 150147"/>
                <a:gd name="connsiteX28" fmla="*/ 310706 w 582855"/>
                <a:gd name="connsiteY28" fmla="*/ 124841 h 150147"/>
                <a:gd name="connsiteX29" fmla="*/ 304334 w 582855"/>
                <a:gd name="connsiteY29" fmla="*/ 131526 h 150147"/>
                <a:gd name="connsiteX30" fmla="*/ 300599 w 582855"/>
                <a:gd name="connsiteY30" fmla="*/ 143558 h 150147"/>
                <a:gd name="connsiteX31" fmla="*/ 323411 w 582855"/>
                <a:gd name="connsiteY31" fmla="*/ 130489 h 150147"/>
                <a:gd name="connsiteX32" fmla="*/ 344680 w 582855"/>
                <a:gd name="connsiteY32" fmla="*/ 133832 h 150147"/>
                <a:gd name="connsiteX33" fmla="*/ 375609 w 582855"/>
                <a:gd name="connsiteY33" fmla="*/ 130824 h 150147"/>
                <a:gd name="connsiteX34" fmla="*/ 388882 w 582855"/>
                <a:gd name="connsiteY34" fmla="*/ 135269 h 150147"/>
                <a:gd name="connsiteX35" fmla="*/ 417782 w 582855"/>
                <a:gd name="connsiteY35" fmla="*/ 137074 h 150147"/>
                <a:gd name="connsiteX36" fmla="*/ 469818 w 582855"/>
                <a:gd name="connsiteY36" fmla="*/ 135603 h 150147"/>
                <a:gd name="connsiteX37" fmla="*/ 505496 w 582855"/>
                <a:gd name="connsiteY37" fmla="*/ 138277 h 150147"/>
                <a:gd name="connsiteX38" fmla="*/ 522138 w 582855"/>
                <a:gd name="connsiteY38" fmla="*/ 134567 h 150147"/>
                <a:gd name="connsiteX39" fmla="*/ 545071 w 582855"/>
                <a:gd name="connsiteY39" fmla="*/ 140550 h 150147"/>
                <a:gd name="connsiteX40" fmla="*/ 574783 w 582855"/>
                <a:gd name="connsiteY40" fmla="*/ 149407 h 150147"/>
                <a:gd name="connsiteX41" fmla="*/ 569466 w 582855"/>
                <a:gd name="connsiteY41" fmla="*/ 132227 h 150147"/>
                <a:gd name="connsiteX42" fmla="*/ 51459 w 582855"/>
                <a:gd name="connsiteY42" fmla="*/ 22264 h 150147"/>
                <a:gd name="connsiteX43" fmla="*/ 95702 w 582855"/>
                <a:gd name="connsiteY43" fmla="*/ 21228 h 150147"/>
                <a:gd name="connsiteX44" fmla="*/ 80481 w 582855"/>
                <a:gd name="connsiteY44" fmla="*/ 14376 h 150147"/>
                <a:gd name="connsiteX45" fmla="*/ 64245 w 582855"/>
                <a:gd name="connsiteY45" fmla="*/ 1474 h 150147"/>
                <a:gd name="connsiteX46" fmla="*/ 17445 w 582855"/>
                <a:gd name="connsiteY46" fmla="*/ 1675 h 150147"/>
                <a:gd name="connsiteX47" fmla="*/ 18947 w 582855"/>
                <a:gd name="connsiteY47" fmla="*/ 14242 h 150147"/>
                <a:gd name="connsiteX48" fmla="*/ 2711 w 582855"/>
                <a:gd name="connsiteY48" fmla="*/ 24604 h 150147"/>
                <a:gd name="connsiteX49" fmla="*/ 51419 w 582855"/>
                <a:gd name="connsiteY49" fmla="*/ 22264 h 15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82855" h="150147">
                  <a:moveTo>
                    <a:pt x="569669" y="131994"/>
                  </a:moveTo>
                  <a:cubicBezTo>
                    <a:pt x="565610" y="130991"/>
                    <a:pt x="573038" y="115282"/>
                    <a:pt x="571577" y="111939"/>
                  </a:cubicBezTo>
                  <a:cubicBezTo>
                    <a:pt x="568776" y="104800"/>
                    <a:pt x="572104" y="96992"/>
                    <a:pt x="579694" y="92854"/>
                  </a:cubicBezTo>
                  <a:cubicBezTo>
                    <a:pt x="593008" y="84666"/>
                    <a:pt x="559400" y="84365"/>
                    <a:pt x="555341" y="77045"/>
                  </a:cubicBezTo>
                  <a:cubicBezTo>
                    <a:pt x="549171" y="65547"/>
                    <a:pt x="551525" y="50874"/>
                    <a:pt x="523113" y="49704"/>
                  </a:cubicBezTo>
                  <a:cubicBezTo>
                    <a:pt x="511260" y="49237"/>
                    <a:pt x="499976" y="45593"/>
                    <a:pt x="489667" y="48201"/>
                  </a:cubicBezTo>
                  <a:cubicBezTo>
                    <a:pt x="478545" y="50828"/>
                    <a:pt x="467017" y="52255"/>
                    <a:pt x="455449" y="52445"/>
                  </a:cubicBezTo>
                  <a:cubicBezTo>
                    <a:pt x="436128" y="53014"/>
                    <a:pt x="415874" y="48267"/>
                    <a:pt x="396026" y="47499"/>
                  </a:cubicBezTo>
                  <a:cubicBezTo>
                    <a:pt x="374351" y="46663"/>
                    <a:pt x="356004" y="40814"/>
                    <a:pt x="336440" y="35733"/>
                  </a:cubicBezTo>
                  <a:cubicBezTo>
                    <a:pt x="327876" y="33528"/>
                    <a:pt x="325319" y="28247"/>
                    <a:pt x="315049" y="27344"/>
                  </a:cubicBezTo>
                  <a:cubicBezTo>
                    <a:pt x="311477" y="27097"/>
                    <a:pt x="307987" y="26241"/>
                    <a:pt x="304821" y="24838"/>
                  </a:cubicBezTo>
                  <a:cubicBezTo>
                    <a:pt x="269467" y="9697"/>
                    <a:pt x="212763" y="12504"/>
                    <a:pt x="178424" y="22464"/>
                  </a:cubicBezTo>
                  <a:cubicBezTo>
                    <a:pt x="162188" y="27144"/>
                    <a:pt x="150539" y="27411"/>
                    <a:pt x="131259" y="25439"/>
                  </a:cubicBezTo>
                  <a:cubicBezTo>
                    <a:pt x="114617" y="23768"/>
                    <a:pt x="101750" y="18988"/>
                    <a:pt x="96067" y="28347"/>
                  </a:cubicBezTo>
                  <a:cubicBezTo>
                    <a:pt x="89289" y="39444"/>
                    <a:pt x="56452" y="35032"/>
                    <a:pt x="40013" y="33962"/>
                  </a:cubicBezTo>
                  <a:cubicBezTo>
                    <a:pt x="33681" y="33594"/>
                    <a:pt x="-14377" y="36168"/>
                    <a:pt x="4173" y="45527"/>
                  </a:cubicBezTo>
                  <a:cubicBezTo>
                    <a:pt x="8515" y="47699"/>
                    <a:pt x="20611" y="45293"/>
                    <a:pt x="22032" y="49905"/>
                  </a:cubicBezTo>
                  <a:cubicBezTo>
                    <a:pt x="23533" y="53946"/>
                    <a:pt x="24427" y="58121"/>
                    <a:pt x="24751" y="62339"/>
                  </a:cubicBezTo>
                  <a:cubicBezTo>
                    <a:pt x="24142" y="67519"/>
                    <a:pt x="10545" y="70528"/>
                    <a:pt x="22844" y="76343"/>
                  </a:cubicBezTo>
                  <a:cubicBezTo>
                    <a:pt x="36482" y="82794"/>
                    <a:pt x="21423" y="82660"/>
                    <a:pt x="20124" y="86136"/>
                  </a:cubicBezTo>
                  <a:cubicBezTo>
                    <a:pt x="19678" y="87306"/>
                    <a:pt x="39242" y="96899"/>
                    <a:pt x="42530" y="97835"/>
                  </a:cubicBezTo>
                  <a:cubicBezTo>
                    <a:pt x="45817" y="98770"/>
                    <a:pt x="57345" y="100642"/>
                    <a:pt x="57142" y="103283"/>
                  </a:cubicBezTo>
                  <a:cubicBezTo>
                    <a:pt x="56614" y="109366"/>
                    <a:pt x="76341" y="105087"/>
                    <a:pt x="81902" y="108998"/>
                  </a:cubicBezTo>
                  <a:cubicBezTo>
                    <a:pt x="94728" y="117956"/>
                    <a:pt x="94485" y="124139"/>
                    <a:pt x="118960" y="121699"/>
                  </a:cubicBezTo>
                  <a:cubicBezTo>
                    <a:pt x="138362" y="119827"/>
                    <a:pt x="132436" y="109700"/>
                    <a:pt x="158089" y="112708"/>
                  </a:cubicBezTo>
                  <a:cubicBezTo>
                    <a:pt x="176070" y="114847"/>
                    <a:pt x="187476" y="129420"/>
                    <a:pt x="204564" y="129988"/>
                  </a:cubicBezTo>
                  <a:cubicBezTo>
                    <a:pt x="223154" y="130720"/>
                    <a:pt x="241663" y="128036"/>
                    <a:pt x="258833" y="122134"/>
                  </a:cubicBezTo>
                  <a:cubicBezTo>
                    <a:pt x="265692" y="119794"/>
                    <a:pt x="269345" y="122535"/>
                    <a:pt x="275515" y="124841"/>
                  </a:cubicBezTo>
                  <a:cubicBezTo>
                    <a:pt x="287692" y="129353"/>
                    <a:pt x="299463" y="120128"/>
                    <a:pt x="310706" y="124841"/>
                  </a:cubicBezTo>
                  <a:cubicBezTo>
                    <a:pt x="314440" y="126412"/>
                    <a:pt x="305552" y="130623"/>
                    <a:pt x="304334" y="131526"/>
                  </a:cubicBezTo>
                  <a:cubicBezTo>
                    <a:pt x="297961" y="135770"/>
                    <a:pt x="303319" y="138778"/>
                    <a:pt x="300599" y="143558"/>
                  </a:cubicBezTo>
                  <a:cubicBezTo>
                    <a:pt x="320894" y="143792"/>
                    <a:pt x="314319" y="136238"/>
                    <a:pt x="323411" y="130489"/>
                  </a:cubicBezTo>
                  <a:cubicBezTo>
                    <a:pt x="329458" y="126679"/>
                    <a:pt x="337739" y="132996"/>
                    <a:pt x="344680" y="133832"/>
                  </a:cubicBezTo>
                  <a:cubicBezTo>
                    <a:pt x="356167" y="135068"/>
                    <a:pt x="364975" y="131826"/>
                    <a:pt x="375609" y="130824"/>
                  </a:cubicBezTo>
                  <a:cubicBezTo>
                    <a:pt x="380683" y="130356"/>
                    <a:pt x="383727" y="134600"/>
                    <a:pt x="388882" y="135269"/>
                  </a:cubicBezTo>
                  <a:cubicBezTo>
                    <a:pt x="398380" y="136472"/>
                    <a:pt x="408203" y="136138"/>
                    <a:pt x="417782" y="137074"/>
                  </a:cubicBezTo>
                  <a:cubicBezTo>
                    <a:pt x="435358" y="138812"/>
                    <a:pt x="451268" y="134166"/>
                    <a:pt x="469818" y="135603"/>
                  </a:cubicBezTo>
                  <a:cubicBezTo>
                    <a:pt x="483700" y="136673"/>
                    <a:pt x="492751" y="134734"/>
                    <a:pt x="505496" y="138277"/>
                  </a:cubicBezTo>
                  <a:cubicBezTo>
                    <a:pt x="508825" y="139213"/>
                    <a:pt x="516415" y="134333"/>
                    <a:pt x="522138" y="134567"/>
                  </a:cubicBezTo>
                  <a:cubicBezTo>
                    <a:pt x="531920" y="135002"/>
                    <a:pt x="536548" y="138845"/>
                    <a:pt x="545071" y="140550"/>
                  </a:cubicBezTo>
                  <a:cubicBezTo>
                    <a:pt x="555868" y="142722"/>
                    <a:pt x="564027" y="146967"/>
                    <a:pt x="574783" y="149407"/>
                  </a:cubicBezTo>
                  <a:cubicBezTo>
                    <a:pt x="588868" y="152749"/>
                    <a:pt x="577137" y="134199"/>
                    <a:pt x="569466" y="132227"/>
                  </a:cubicBezTo>
                  <a:close/>
                  <a:moveTo>
                    <a:pt x="51459" y="22264"/>
                  </a:moveTo>
                  <a:cubicBezTo>
                    <a:pt x="56695" y="21495"/>
                    <a:pt x="96717" y="25606"/>
                    <a:pt x="95702" y="21228"/>
                  </a:cubicBezTo>
                  <a:cubicBezTo>
                    <a:pt x="94972" y="18353"/>
                    <a:pt x="84297" y="15713"/>
                    <a:pt x="80481" y="14376"/>
                  </a:cubicBezTo>
                  <a:cubicBezTo>
                    <a:pt x="70455" y="10833"/>
                    <a:pt x="66965" y="7691"/>
                    <a:pt x="64245" y="1474"/>
                  </a:cubicBezTo>
                  <a:cubicBezTo>
                    <a:pt x="58441" y="3145"/>
                    <a:pt x="17161" y="-3506"/>
                    <a:pt x="17445" y="1675"/>
                  </a:cubicBezTo>
                  <a:cubicBezTo>
                    <a:pt x="17648" y="5586"/>
                    <a:pt x="23696" y="10699"/>
                    <a:pt x="18947" y="14242"/>
                  </a:cubicBezTo>
                  <a:cubicBezTo>
                    <a:pt x="13914" y="18072"/>
                    <a:pt x="8475" y="21539"/>
                    <a:pt x="2711" y="24604"/>
                  </a:cubicBezTo>
                  <a:cubicBezTo>
                    <a:pt x="26497" y="35667"/>
                    <a:pt x="29663" y="25339"/>
                    <a:pt x="51419" y="2226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13237F09-DE10-4338-B203-D09EF09D5841}"/>
                </a:ext>
              </a:extLst>
            </p:cNvPr>
            <p:cNvSpPr/>
            <p:nvPr/>
          </p:nvSpPr>
          <p:spPr>
            <a:xfrm>
              <a:off x="8199897" y="4458334"/>
              <a:ext cx="65768" cy="37521"/>
            </a:xfrm>
            <a:custGeom>
              <a:avLst/>
              <a:gdLst>
                <a:gd name="connsiteX0" fmla="*/ 36503 w 65768"/>
                <a:gd name="connsiteY0" fmla="*/ 1664 h 37521"/>
                <a:gd name="connsiteX1" fmla="*/ 581 w 65768"/>
                <a:gd name="connsiteY1" fmla="*/ 6778 h 37521"/>
                <a:gd name="connsiteX2" fmla="*/ 15274 w 65768"/>
                <a:gd name="connsiteY2" fmla="*/ 35522 h 37521"/>
                <a:gd name="connsiteX3" fmla="*/ 63617 w 65768"/>
                <a:gd name="connsiteY3" fmla="*/ 27199 h 37521"/>
                <a:gd name="connsiteX4" fmla="*/ 36503 w 65768"/>
                <a:gd name="connsiteY4" fmla="*/ 1664 h 3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768" h="37521">
                  <a:moveTo>
                    <a:pt x="36503" y="1664"/>
                  </a:moveTo>
                  <a:cubicBezTo>
                    <a:pt x="25828" y="-1344"/>
                    <a:pt x="-4858" y="-1913"/>
                    <a:pt x="581" y="6778"/>
                  </a:cubicBezTo>
                  <a:cubicBezTo>
                    <a:pt x="6507" y="16236"/>
                    <a:pt x="21769" y="27300"/>
                    <a:pt x="15274" y="35522"/>
                  </a:cubicBezTo>
                  <a:cubicBezTo>
                    <a:pt x="36138" y="40168"/>
                    <a:pt x="50790" y="34319"/>
                    <a:pt x="63617" y="27199"/>
                  </a:cubicBezTo>
                  <a:cubicBezTo>
                    <a:pt x="73196" y="21885"/>
                    <a:pt x="47381" y="4672"/>
                    <a:pt x="36503" y="166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A91A5C0C-26E3-423C-B12D-AFD0FE9347E5}"/>
                </a:ext>
              </a:extLst>
            </p:cNvPr>
            <p:cNvSpPr/>
            <p:nvPr/>
          </p:nvSpPr>
          <p:spPr>
            <a:xfrm>
              <a:off x="9573297" y="4823195"/>
              <a:ext cx="236299" cy="81508"/>
            </a:xfrm>
            <a:custGeom>
              <a:avLst/>
              <a:gdLst>
                <a:gd name="connsiteX0" fmla="*/ 228812 w 236299"/>
                <a:gd name="connsiteY0" fmla="*/ 35112 h 81508"/>
                <a:gd name="connsiteX1" fmla="*/ 204093 w 236299"/>
                <a:gd name="connsiteY1" fmla="*/ 18400 h 81508"/>
                <a:gd name="connsiteX2" fmla="*/ 183433 w 236299"/>
                <a:gd name="connsiteY2" fmla="*/ 23213 h 81508"/>
                <a:gd name="connsiteX3" fmla="*/ 157861 w 236299"/>
                <a:gd name="connsiteY3" fmla="*/ 21642 h 81508"/>
                <a:gd name="connsiteX4" fmla="*/ 143209 w 236299"/>
                <a:gd name="connsiteY4" fmla="*/ 17564 h 81508"/>
                <a:gd name="connsiteX5" fmla="*/ 139880 w 236299"/>
                <a:gd name="connsiteY5" fmla="*/ 25118 h 81508"/>
                <a:gd name="connsiteX6" fmla="*/ 110412 w 236299"/>
                <a:gd name="connsiteY6" fmla="*/ 7437 h 81508"/>
                <a:gd name="connsiteX7" fmla="*/ 77940 w 236299"/>
                <a:gd name="connsiteY7" fmla="*/ 7437 h 81508"/>
                <a:gd name="connsiteX8" fmla="*/ 4351 w 236299"/>
                <a:gd name="connsiteY8" fmla="*/ 2390 h 81508"/>
                <a:gd name="connsiteX9" fmla="*/ 17380 w 236299"/>
                <a:gd name="connsiteY9" fmla="*/ 33040 h 81508"/>
                <a:gd name="connsiteX10" fmla="*/ 130 w 236299"/>
                <a:gd name="connsiteY10" fmla="*/ 37552 h 81508"/>
                <a:gd name="connsiteX11" fmla="*/ 6583 w 236299"/>
                <a:gd name="connsiteY11" fmla="*/ 52759 h 81508"/>
                <a:gd name="connsiteX12" fmla="*/ 25173 w 236299"/>
                <a:gd name="connsiteY12" fmla="*/ 56536 h 81508"/>
                <a:gd name="connsiteX13" fmla="*/ 52937 w 236299"/>
                <a:gd name="connsiteY13" fmla="*/ 68201 h 81508"/>
                <a:gd name="connsiteX14" fmla="*/ 78021 w 236299"/>
                <a:gd name="connsiteY14" fmla="*/ 71142 h 81508"/>
                <a:gd name="connsiteX15" fmla="*/ 110493 w 236299"/>
                <a:gd name="connsiteY15" fmla="*/ 81169 h 81508"/>
                <a:gd name="connsiteX16" fmla="*/ 94257 w 236299"/>
                <a:gd name="connsiteY16" fmla="*/ 48281 h 81508"/>
                <a:gd name="connsiteX17" fmla="*/ 144832 w 236299"/>
                <a:gd name="connsiteY17" fmla="*/ 52091 h 81508"/>
                <a:gd name="connsiteX18" fmla="*/ 181728 w 236299"/>
                <a:gd name="connsiteY18" fmla="*/ 49451 h 81508"/>
                <a:gd name="connsiteX19" fmla="*/ 236240 w 236299"/>
                <a:gd name="connsiteY19" fmla="*/ 39423 h 81508"/>
                <a:gd name="connsiteX20" fmla="*/ 228771 w 236299"/>
                <a:gd name="connsiteY20" fmla="*/ 35179 h 81508"/>
                <a:gd name="connsiteX21" fmla="*/ 228812 w 236299"/>
                <a:gd name="connsiteY21" fmla="*/ 35112 h 81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6299" h="81508">
                  <a:moveTo>
                    <a:pt x="228812" y="35112"/>
                  </a:moveTo>
                  <a:cubicBezTo>
                    <a:pt x="217934" y="32304"/>
                    <a:pt x="214200" y="18400"/>
                    <a:pt x="204093" y="18400"/>
                  </a:cubicBezTo>
                  <a:cubicBezTo>
                    <a:pt x="197153" y="18400"/>
                    <a:pt x="192159" y="27191"/>
                    <a:pt x="183433" y="23213"/>
                  </a:cubicBezTo>
                  <a:cubicBezTo>
                    <a:pt x="174706" y="19236"/>
                    <a:pt x="168049" y="25319"/>
                    <a:pt x="157861" y="21642"/>
                  </a:cubicBezTo>
                  <a:cubicBezTo>
                    <a:pt x="155223" y="20673"/>
                    <a:pt x="146050" y="16595"/>
                    <a:pt x="143209" y="17564"/>
                  </a:cubicBezTo>
                  <a:cubicBezTo>
                    <a:pt x="140368" y="18534"/>
                    <a:pt x="146780" y="27090"/>
                    <a:pt x="139880" y="25118"/>
                  </a:cubicBezTo>
                  <a:cubicBezTo>
                    <a:pt x="128433" y="21348"/>
                    <a:pt x="118286" y="15268"/>
                    <a:pt x="110412" y="7437"/>
                  </a:cubicBezTo>
                  <a:cubicBezTo>
                    <a:pt x="100793" y="-1420"/>
                    <a:pt x="86342" y="7437"/>
                    <a:pt x="77940" y="7437"/>
                  </a:cubicBezTo>
                  <a:cubicBezTo>
                    <a:pt x="55616" y="7437"/>
                    <a:pt x="20222" y="-5932"/>
                    <a:pt x="4351" y="2390"/>
                  </a:cubicBezTo>
                  <a:cubicBezTo>
                    <a:pt x="25580" y="12751"/>
                    <a:pt x="44007" y="31134"/>
                    <a:pt x="17380" y="33040"/>
                  </a:cubicBezTo>
                  <a:cubicBezTo>
                    <a:pt x="12956" y="33340"/>
                    <a:pt x="-1900" y="32638"/>
                    <a:pt x="130" y="37552"/>
                  </a:cubicBezTo>
                  <a:cubicBezTo>
                    <a:pt x="1753" y="41529"/>
                    <a:pt x="2686" y="49283"/>
                    <a:pt x="6583" y="52759"/>
                  </a:cubicBezTo>
                  <a:cubicBezTo>
                    <a:pt x="12469" y="58040"/>
                    <a:pt x="18192" y="53762"/>
                    <a:pt x="25173" y="56536"/>
                  </a:cubicBezTo>
                  <a:cubicBezTo>
                    <a:pt x="37675" y="61516"/>
                    <a:pt x="42018" y="67666"/>
                    <a:pt x="52937" y="68201"/>
                  </a:cubicBezTo>
                  <a:cubicBezTo>
                    <a:pt x="61338" y="68636"/>
                    <a:pt x="69173" y="68201"/>
                    <a:pt x="78021" y="71142"/>
                  </a:cubicBezTo>
                  <a:cubicBezTo>
                    <a:pt x="89509" y="74919"/>
                    <a:pt x="98843" y="80802"/>
                    <a:pt x="110493" y="81169"/>
                  </a:cubicBezTo>
                  <a:cubicBezTo>
                    <a:pt x="105744" y="73248"/>
                    <a:pt x="85003" y="53361"/>
                    <a:pt x="94257" y="48281"/>
                  </a:cubicBezTo>
                  <a:cubicBezTo>
                    <a:pt x="102781" y="43501"/>
                    <a:pt x="131640" y="51021"/>
                    <a:pt x="144832" y="52091"/>
                  </a:cubicBezTo>
                  <a:cubicBezTo>
                    <a:pt x="159323" y="53261"/>
                    <a:pt x="175030" y="56904"/>
                    <a:pt x="181728" y="49451"/>
                  </a:cubicBezTo>
                  <a:cubicBezTo>
                    <a:pt x="192281" y="37652"/>
                    <a:pt x="212535" y="38421"/>
                    <a:pt x="236240" y="39423"/>
                  </a:cubicBezTo>
                  <a:lnTo>
                    <a:pt x="228771" y="35179"/>
                  </a:lnTo>
                  <a:cubicBezTo>
                    <a:pt x="216352" y="31903"/>
                    <a:pt x="231166" y="35680"/>
                    <a:pt x="228812" y="3511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FBA3BFD4-CF93-488D-BB02-86EFCE93C22B}"/>
                </a:ext>
              </a:extLst>
            </p:cNvPr>
            <p:cNvSpPr/>
            <p:nvPr/>
          </p:nvSpPr>
          <p:spPr>
            <a:xfrm>
              <a:off x="8220183" y="4580534"/>
              <a:ext cx="212447" cy="113527"/>
            </a:xfrm>
            <a:custGeom>
              <a:avLst/>
              <a:gdLst>
                <a:gd name="connsiteX0" fmla="*/ 212266 w 212447"/>
                <a:gd name="connsiteY0" fmla="*/ 93374 h 113527"/>
                <a:gd name="connsiteX1" fmla="*/ 143020 w 212447"/>
                <a:gd name="connsiteY1" fmla="*/ 65599 h 113527"/>
                <a:gd name="connsiteX2" fmla="*/ 83069 w 212447"/>
                <a:gd name="connsiteY2" fmla="*/ 22850 h 113527"/>
                <a:gd name="connsiteX3" fmla="*/ 61191 w 212447"/>
                <a:gd name="connsiteY3" fmla="*/ 5169 h 113527"/>
                <a:gd name="connsiteX4" fmla="*/ 31154 w 212447"/>
                <a:gd name="connsiteY4" fmla="*/ 356 h 113527"/>
                <a:gd name="connsiteX5" fmla="*/ 4324 w 212447"/>
                <a:gd name="connsiteY5" fmla="*/ 8812 h 113527"/>
                <a:gd name="connsiteX6" fmla="*/ 13092 w 212447"/>
                <a:gd name="connsiteY6" fmla="*/ 28165 h 113527"/>
                <a:gd name="connsiteX7" fmla="*/ 65859 w 212447"/>
                <a:gd name="connsiteY7" fmla="*/ 59215 h 113527"/>
                <a:gd name="connsiteX8" fmla="*/ 92445 w 212447"/>
                <a:gd name="connsiteY8" fmla="*/ 68240 h 113527"/>
                <a:gd name="connsiteX9" fmla="*/ 115297 w 212447"/>
                <a:gd name="connsiteY9" fmla="*/ 84116 h 113527"/>
                <a:gd name="connsiteX10" fmla="*/ 170905 w 212447"/>
                <a:gd name="connsiteY10" fmla="*/ 108916 h 113527"/>
                <a:gd name="connsiteX11" fmla="*/ 200860 w 212447"/>
                <a:gd name="connsiteY11" fmla="*/ 112726 h 113527"/>
                <a:gd name="connsiteX12" fmla="*/ 212388 w 212447"/>
                <a:gd name="connsiteY12" fmla="*/ 93374 h 113527"/>
                <a:gd name="connsiteX13" fmla="*/ 212266 w 212447"/>
                <a:gd name="connsiteY13" fmla="*/ 93374 h 11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447" h="113527">
                  <a:moveTo>
                    <a:pt x="212266" y="93374"/>
                  </a:moveTo>
                  <a:cubicBezTo>
                    <a:pt x="188196" y="85907"/>
                    <a:pt x="165020" y="76609"/>
                    <a:pt x="143020" y="65599"/>
                  </a:cubicBezTo>
                  <a:cubicBezTo>
                    <a:pt x="119883" y="53233"/>
                    <a:pt x="102105" y="37289"/>
                    <a:pt x="83069" y="22850"/>
                  </a:cubicBezTo>
                  <a:cubicBezTo>
                    <a:pt x="75722" y="17269"/>
                    <a:pt x="69309" y="10350"/>
                    <a:pt x="61191" y="5169"/>
                  </a:cubicBezTo>
                  <a:cubicBezTo>
                    <a:pt x="49014" y="-2652"/>
                    <a:pt x="43778" y="2696"/>
                    <a:pt x="31154" y="356"/>
                  </a:cubicBezTo>
                  <a:cubicBezTo>
                    <a:pt x="16867" y="-2251"/>
                    <a:pt x="10007" y="2896"/>
                    <a:pt x="4324" y="8812"/>
                  </a:cubicBezTo>
                  <a:cubicBezTo>
                    <a:pt x="-3793" y="17068"/>
                    <a:pt x="-505" y="19876"/>
                    <a:pt x="13092" y="28165"/>
                  </a:cubicBezTo>
                  <a:cubicBezTo>
                    <a:pt x="30140" y="38526"/>
                    <a:pt x="50556" y="47818"/>
                    <a:pt x="65859" y="59215"/>
                  </a:cubicBezTo>
                  <a:cubicBezTo>
                    <a:pt x="75032" y="66101"/>
                    <a:pt x="78807" y="66970"/>
                    <a:pt x="92445" y="68240"/>
                  </a:cubicBezTo>
                  <a:cubicBezTo>
                    <a:pt x="110873" y="69944"/>
                    <a:pt x="106489" y="76796"/>
                    <a:pt x="115297" y="84116"/>
                  </a:cubicBezTo>
                  <a:cubicBezTo>
                    <a:pt x="125810" y="92839"/>
                    <a:pt x="154913" y="105139"/>
                    <a:pt x="170905" y="108916"/>
                  </a:cubicBezTo>
                  <a:cubicBezTo>
                    <a:pt x="179023" y="110888"/>
                    <a:pt x="193148" y="114464"/>
                    <a:pt x="200860" y="112726"/>
                  </a:cubicBezTo>
                  <a:cubicBezTo>
                    <a:pt x="213037" y="109952"/>
                    <a:pt x="201510" y="96015"/>
                    <a:pt x="212388" y="93374"/>
                  </a:cubicBezTo>
                  <a:cubicBezTo>
                    <a:pt x="210318" y="92706"/>
                    <a:pt x="210764" y="93742"/>
                    <a:pt x="212266" y="933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CA3F0A8D-7CAB-4616-BA54-9AD31D9EA74E}"/>
                </a:ext>
              </a:extLst>
            </p:cNvPr>
            <p:cNvSpPr/>
            <p:nvPr/>
          </p:nvSpPr>
          <p:spPr>
            <a:xfrm>
              <a:off x="8488924" y="4737662"/>
              <a:ext cx="245491" cy="308176"/>
            </a:xfrm>
            <a:custGeom>
              <a:avLst/>
              <a:gdLst>
                <a:gd name="connsiteX0" fmla="*/ 125571 w 245491"/>
                <a:gd name="connsiteY0" fmla="*/ 288130 h 308176"/>
                <a:gd name="connsiteX1" fmla="*/ 122242 w 245491"/>
                <a:gd name="connsiteY1" fmla="*/ 276298 h 308176"/>
                <a:gd name="connsiteX2" fmla="*/ 125449 w 245491"/>
                <a:gd name="connsiteY2" fmla="*/ 259385 h 308176"/>
                <a:gd name="connsiteX3" fmla="*/ 113718 w 245491"/>
                <a:gd name="connsiteY3" fmla="*/ 237393 h 308176"/>
                <a:gd name="connsiteX4" fmla="*/ 124961 w 245491"/>
                <a:gd name="connsiteY4" fmla="*/ 225962 h 308176"/>
                <a:gd name="connsiteX5" fmla="*/ 131415 w 245491"/>
                <a:gd name="connsiteY5" fmla="*/ 220614 h 308176"/>
                <a:gd name="connsiteX6" fmla="*/ 132024 w 245491"/>
                <a:gd name="connsiteY6" fmla="*/ 208047 h 308176"/>
                <a:gd name="connsiteX7" fmla="*/ 118467 w 245491"/>
                <a:gd name="connsiteY7" fmla="*/ 179770 h 308176"/>
                <a:gd name="connsiteX8" fmla="*/ 134703 w 245491"/>
                <a:gd name="connsiteY8" fmla="*/ 157911 h 308176"/>
                <a:gd name="connsiteX9" fmla="*/ 176754 w 245491"/>
                <a:gd name="connsiteY9" fmla="*/ 159215 h 308176"/>
                <a:gd name="connsiteX10" fmla="*/ 218075 w 245491"/>
                <a:gd name="connsiteY10" fmla="*/ 158847 h 308176"/>
                <a:gd name="connsiteX11" fmla="*/ 245432 w 245491"/>
                <a:gd name="connsiteY11" fmla="*/ 148987 h 308176"/>
                <a:gd name="connsiteX12" fmla="*/ 217019 w 245491"/>
                <a:gd name="connsiteY12" fmla="*/ 140464 h 308176"/>
                <a:gd name="connsiteX13" fmla="*/ 203462 w 245491"/>
                <a:gd name="connsiteY13" fmla="*/ 125992 h 308176"/>
                <a:gd name="connsiteX14" fmla="*/ 209510 w 245491"/>
                <a:gd name="connsiteY14" fmla="*/ 110015 h 308176"/>
                <a:gd name="connsiteX15" fmla="*/ 196481 w 245491"/>
                <a:gd name="connsiteY15" fmla="*/ 90663 h 308176"/>
                <a:gd name="connsiteX16" fmla="*/ 183816 w 245491"/>
                <a:gd name="connsiteY16" fmla="*/ 80034 h 308176"/>
                <a:gd name="connsiteX17" fmla="*/ 171639 w 245491"/>
                <a:gd name="connsiteY17" fmla="*/ 71244 h 308176"/>
                <a:gd name="connsiteX18" fmla="*/ 221119 w 245491"/>
                <a:gd name="connsiteY18" fmla="*/ 41163 h 308176"/>
                <a:gd name="connsiteX19" fmla="*/ 219535 w 245491"/>
                <a:gd name="connsiteY19" fmla="*/ 22613 h 308176"/>
                <a:gd name="connsiteX20" fmla="*/ 211093 w 245491"/>
                <a:gd name="connsiteY20" fmla="*/ 4831 h 308176"/>
                <a:gd name="connsiteX21" fmla="*/ 178621 w 245491"/>
                <a:gd name="connsiteY21" fmla="*/ 17031 h 308176"/>
                <a:gd name="connsiteX22" fmla="*/ 166079 w 245491"/>
                <a:gd name="connsiteY22" fmla="*/ 13120 h 308176"/>
                <a:gd name="connsiteX23" fmla="*/ 133607 w 245491"/>
                <a:gd name="connsiteY23" fmla="*/ 11917 h 308176"/>
                <a:gd name="connsiteX24" fmla="*/ 86279 w 245491"/>
                <a:gd name="connsiteY24" fmla="*/ 45775 h 308176"/>
                <a:gd name="connsiteX25" fmla="*/ 70937 w 245491"/>
                <a:gd name="connsiteY25" fmla="*/ 50588 h 308176"/>
                <a:gd name="connsiteX26" fmla="*/ 53483 w 245491"/>
                <a:gd name="connsiteY26" fmla="*/ 46210 h 308176"/>
                <a:gd name="connsiteX27" fmla="*/ 28318 w 245491"/>
                <a:gd name="connsiteY27" fmla="*/ 73149 h 308176"/>
                <a:gd name="connsiteX28" fmla="*/ 11269 w 245491"/>
                <a:gd name="connsiteY28" fmla="*/ 80970 h 308176"/>
                <a:gd name="connsiteX29" fmla="*/ 3679 w 245491"/>
                <a:gd name="connsiteY29" fmla="*/ 93337 h 308176"/>
                <a:gd name="connsiteX30" fmla="*/ 27708 w 245491"/>
                <a:gd name="connsiteY30" fmla="*/ 116733 h 308176"/>
                <a:gd name="connsiteX31" fmla="*/ 35826 w 245491"/>
                <a:gd name="connsiteY31" fmla="*/ 145912 h 308176"/>
                <a:gd name="connsiteX32" fmla="*/ 24461 w 245491"/>
                <a:gd name="connsiteY32" fmla="*/ 171448 h 308176"/>
                <a:gd name="connsiteX33" fmla="*/ 28033 w 245491"/>
                <a:gd name="connsiteY33" fmla="*/ 186087 h 308176"/>
                <a:gd name="connsiteX34" fmla="*/ 61520 w 245491"/>
                <a:gd name="connsiteY34" fmla="*/ 191068 h 308176"/>
                <a:gd name="connsiteX35" fmla="*/ 91434 w 245491"/>
                <a:gd name="connsiteY35" fmla="*/ 182912 h 308176"/>
                <a:gd name="connsiteX36" fmla="*/ 98862 w 245491"/>
                <a:gd name="connsiteY36" fmla="*/ 224926 h 308176"/>
                <a:gd name="connsiteX37" fmla="*/ 96751 w 245491"/>
                <a:gd name="connsiteY37" fmla="*/ 248322 h 308176"/>
                <a:gd name="connsiteX38" fmla="*/ 104585 w 245491"/>
                <a:gd name="connsiteY38" fmla="*/ 273089 h 308176"/>
                <a:gd name="connsiteX39" fmla="*/ 96914 w 245491"/>
                <a:gd name="connsiteY39" fmla="*/ 285790 h 308176"/>
                <a:gd name="connsiteX40" fmla="*/ 90055 w 245491"/>
                <a:gd name="connsiteY40" fmla="*/ 307081 h 308176"/>
                <a:gd name="connsiteX41" fmla="*/ 125571 w 245491"/>
                <a:gd name="connsiteY41" fmla="*/ 288130 h 30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45491" h="308176">
                  <a:moveTo>
                    <a:pt x="125571" y="288130"/>
                  </a:moveTo>
                  <a:cubicBezTo>
                    <a:pt x="127600" y="283918"/>
                    <a:pt x="123216" y="280609"/>
                    <a:pt x="122242" y="276298"/>
                  </a:cubicBezTo>
                  <a:cubicBezTo>
                    <a:pt x="120902" y="270482"/>
                    <a:pt x="126585" y="265468"/>
                    <a:pt x="125449" y="259385"/>
                  </a:cubicBezTo>
                  <a:cubicBezTo>
                    <a:pt x="124068" y="251832"/>
                    <a:pt x="114651" y="245047"/>
                    <a:pt x="113718" y="237393"/>
                  </a:cubicBezTo>
                  <a:cubicBezTo>
                    <a:pt x="112906" y="230507"/>
                    <a:pt x="122161" y="231243"/>
                    <a:pt x="124961" y="225962"/>
                  </a:cubicBezTo>
                  <a:cubicBezTo>
                    <a:pt x="127234" y="221583"/>
                    <a:pt x="126260" y="222051"/>
                    <a:pt x="131415" y="220614"/>
                  </a:cubicBezTo>
                  <a:cubicBezTo>
                    <a:pt x="140142" y="218208"/>
                    <a:pt x="130116" y="212325"/>
                    <a:pt x="132024" y="208047"/>
                  </a:cubicBezTo>
                  <a:cubicBezTo>
                    <a:pt x="136083" y="198655"/>
                    <a:pt x="114205" y="188962"/>
                    <a:pt x="118467" y="179770"/>
                  </a:cubicBezTo>
                  <a:cubicBezTo>
                    <a:pt x="122079" y="172016"/>
                    <a:pt x="129020" y="164964"/>
                    <a:pt x="134703" y="157911"/>
                  </a:cubicBezTo>
                  <a:cubicBezTo>
                    <a:pt x="143064" y="147116"/>
                    <a:pt x="164577" y="164596"/>
                    <a:pt x="176754" y="159215"/>
                  </a:cubicBezTo>
                  <a:cubicBezTo>
                    <a:pt x="183005" y="156374"/>
                    <a:pt x="208576" y="158580"/>
                    <a:pt x="218075" y="158847"/>
                  </a:cubicBezTo>
                  <a:cubicBezTo>
                    <a:pt x="226193" y="159048"/>
                    <a:pt x="235812" y="145812"/>
                    <a:pt x="245432" y="148987"/>
                  </a:cubicBezTo>
                  <a:cubicBezTo>
                    <a:pt x="243808" y="144843"/>
                    <a:pt x="221890" y="147550"/>
                    <a:pt x="217019" y="140464"/>
                  </a:cubicBezTo>
                  <a:cubicBezTo>
                    <a:pt x="211296" y="132509"/>
                    <a:pt x="221402" y="131774"/>
                    <a:pt x="203462" y="125992"/>
                  </a:cubicBezTo>
                  <a:cubicBezTo>
                    <a:pt x="194329" y="123084"/>
                    <a:pt x="212960" y="114561"/>
                    <a:pt x="209510" y="110015"/>
                  </a:cubicBezTo>
                  <a:cubicBezTo>
                    <a:pt x="203421" y="102127"/>
                    <a:pt x="189581" y="100423"/>
                    <a:pt x="196481" y="90663"/>
                  </a:cubicBezTo>
                  <a:cubicBezTo>
                    <a:pt x="199930" y="85750"/>
                    <a:pt x="193274" y="83009"/>
                    <a:pt x="183816" y="80034"/>
                  </a:cubicBezTo>
                  <a:cubicBezTo>
                    <a:pt x="171639" y="76224"/>
                    <a:pt x="167946" y="79266"/>
                    <a:pt x="171639" y="71244"/>
                  </a:cubicBezTo>
                  <a:cubicBezTo>
                    <a:pt x="179352" y="55100"/>
                    <a:pt x="215233" y="58042"/>
                    <a:pt x="221119" y="41163"/>
                  </a:cubicBezTo>
                  <a:cubicBezTo>
                    <a:pt x="222661" y="36751"/>
                    <a:pt x="230616" y="26858"/>
                    <a:pt x="219535" y="22613"/>
                  </a:cubicBezTo>
                  <a:cubicBezTo>
                    <a:pt x="204802" y="16964"/>
                    <a:pt x="219535" y="11817"/>
                    <a:pt x="211093" y="4831"/>
                  </a:cubicBezTo>
                  <a:cubicBezTo>
                    <a:pt x="194857" y="-8538"/>
                    <a:pt x="173182" y="7104"/>
                    <a:pt x="178621" y="17031"/>
                  </a:cubicBezTo>
                  <a:cubicBezTo>
                    <a:pt x="182680" y="24184"/>
                    <a:pt x="166931" y="17031"/>
                    <a:pt x="166079" y="13120"/>
                  </a:cubicBezTo>
                  <a:cubicBezTo>
                    <a:pt x="164821" y="7505"/>
                    <a:pt x="137138" y="11683"/>
                    <a:pt x="133607" y="11917"/>
                  </a:cubicBezTo>
                  <a:cubicBezTo>
                    <a:pt x="105194" y="13689"/>
                    <a:pt x="103327" y="35314"/>
                    <a:pt x="86279" y="45775"/>
                  </a:cubicBezTo>
                  <a:cubicBezTo>
                    <a:pt x="81084" y="49118"/>
                    <a:pt x="80272" y="54298"/>
                    <a:pt x="70937" y="50588"/>
                  </a:cubicBezTo>
                  <a:cubicBezTo>
                    <a:pt x="65498" y="48449"/>
                    <a:pt x="56568" y="41931"/>
                    <a:pt x="53483" y="46210"/>
                  </a:cubicBezTo>
                  <a:cubicBezTo>
                    <a:pt x="51129" y="49552"/>
                    <a:pt x="34081" y="74887"/>
                    <a:pt x="28318" y="73149"/>
                  </a:cubicBezTo>
                  <a:cubicBezTo>
                    <a:pt x="21335" y="71077"/>
                    <a:pt x="13949" y="78597"/>
                    <a:pt x="11269" y="80970"/>
                  </a:cubicBezTo>
                  <a:cubicBezTo>
                    <a:pt x="4532" y="86987"/>
                    <a:pt x="-5616" y="80068"/>
                    <a:pt x="3679" y="93337"/>
                  </a:cubicBezTo>
                  <a:cubicBezTo>
                    <a:pt x="9687" y="101994"/>
                    <a:pt x="22309" y="107976"/>
                    <a:pt x="27708" y="116733"/>
                  </a:cubicBezTo>
                  <a:cubicBezTo>
                    <a:pt x="32863" y="125881"/>
                    <a:pt x="35623" y="135825"/>
                    <a:pt x="35826" y="145912"/>
                  </a:cubicBezTo>
                  <a:cubicBezTo>
                    <a:pt x="36557" y="155639"/>
                    <a:pt x="33837" y="164830"/>
                    <a:pt x="24461" y="171448"/>
                  </a:cubicBezTo>
                  <a:cubicBezTo>
                    <a:pt x="15085" y="178066"/>
                    <a:pt x="16546" y="178133"/>
                    <a:pt x="28033" y="186087"/>
                  </a:cubicBezTo>
                  <a:cubicBezTo>
                    <a:pt x="40616" y="194811"/>
                    <a:pt x="48693" y="193842"/>
                    <a:pt x="61520" y="191068"/>
                  </a:cubicBezTo>
                  <a:cubicBezTo>
                    <a:pt x="65010" y="190265"/>
                    <a:pt x="92855" y="184115"/>
                    <a:pt x="91434" y="182912"/>
                  </a:cubicBezTo>
                  <a:cubicBezTo>
                    <a:pt x="107143" y="196282"/>
                    <a:pt x="102394" y="212994"/>
                    <a:pt x="98862" y="224926"/>
                  </a:cubicBezTo>
                  <a:cubicBezTo>
                    <a:pt x="96021" y="232493"/>
                    <a:pt x="95291" y="240491"/>
                    <a:pt x="96751" y="248322"/>
                  </a:cubicBezTo>
                  <a:cubicBezTo>
                    <a:pt x="99106" y="257246"/>
                    <a:pt x="106494" y="264031"/>
                    <a:pt x="104585" y="273089"/>
                  </a:cubicBezTo>
                  <a:cubicBezTo>
                    <a:pt x="103530" y="278170"/>
                    <a:pt x="98822" y="281211"/>
                    <a:pt x="96914" y="285790"/>
                  </a:cubicBezTo>
                  <a:cubicBezTo>
                    <a:pt x="93707" y="293477"/>
                    <a:pt x="96386" y="300129"/>
                    <a:pt x="90055" y="307081"/>
                  </a:cubicBezTo>
                  <a:cubicBezTo>
                    <a:pt x="100932" y="311927"/>
                    <a:pt x="121024" y="292074"/>
                    <a:pt x="125571" y="28813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112631C2-66F2-4878-A175-2E1DA010CF8A}"/>
                </a:ext>
              </a:extLst>
            </p:cNvPr>
            <p:cNvSpPr/>
            <p:nvPr/>
          </p:nvSpPr>
          <p:spPr>
            <a:xfrm>
              <a:off x="8451389" y="4681739"/>
              <a:ext cx="85719" cy="39555"/>
            </a:xfrm>
            <a:custGeom>
              <a:avLst/>
              <a:gdLst>
                <a:gd name="connsiteX0" fmla="*/ 85660 w 85719"/>
                <a:gd name="connsiteY0" fmla="*/ 24122 h 39555"/>
                <a:gd name="connsiteX1" fmla="*/ 62483 w 85719"/>
                <a:gd name="connsiteY1" fmla="*/ 12691 h 39555"/>
                <a:gd name="connsiteX2" fmla="*/ 36100 w 85719"/>
                <a:gd name="connsiteY2" fmla="*/ 258 h 39555"/>
                <a:gd name="connsiteX3" fmla="*/ 6306 w 85719"/>
                <a:gd name="connsiteY3" fmla="*/ 16502 h 39555"/>
                <a:gd name="connsiteX4" fmla="*/ 62564 w 85719"/>
                <a:gd name="connsiteY4" fmla="*/ 36389 h 39555"/>
                <a:gd name="connsiteX5" fmla="*/ 85660 w 85719"/>
                <a:gd name="connsiteY5" fmla="*/ 24122 h 39555"/>
                <a:gd name="connsiteX6" fmla="*/ 85660 w 85719"/>
                <a:gd name="connsiteY6" fmla="*/ 24122 h 3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19" h="39555">
                  <a:moveTo>
                    <a:pt x="85660" y="24122"/>
                  </a:moveTo>
                  <a:cubicBezTo>
                    <a:pt x="79124" y="17437"/>
                    <a:pt x="73239" y="15232"/>
                    <a:pt x="62483" y="12691"/>
                  </a:cubicBezTo>
                  <a:cubicBezTo>
                    <a:pt x="51726" y="10151"/>
                    <a:pt x="46937" y="1929"/>
                    <a:pt x="36100" y="258"/>
                  </a:cubicBezTo>
                  <a:cubicBezTo>
                    <a:pt x="17428" y="-2617"/>
                    <a:pt x="-13460" y="5238"/>
                    <a:pt x="6306" y="16502"/>
                  </a:cubicBezTo>
                  <a:cubicBezTo>
                    <a:pt x="23313" y="26228"/>
                    <a:pt x="43487" y="29303"/>
                    <a:pt x="62564" y="36389"/>
                  </a:cubicBezTo>
                  <a:cubicBezTo>
                    <a:pt x="91707" y="47184"/>
                    <a:pt x="71534" y="23554"/>
                    <a:pt x="85660" y="24122"/>
                  </a:cubicBezTo>
                  <a:cubicBezTo>
                    <a:pt x="72102" y="10419"/>
                    <a:pt x="82737" y="23989"/>
                    <a:pt x="85660" y="2412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593035A0-1D98-4073-9282-D5FBC08F678D}"/>
                </a:ext>
              </a:extLst>
            </p:cNvPr>
            <p:cNvSpPr/>
            <p:nvPr/>
          </p:nvSpPr>
          <p:spPr>
            <a:xfrm>
              <a:off x="8734044" y="4882602"/>
              <a:ext cx="188707" cy="252818"/>
            </a:xfrm>
            <a:custGeom>
              <a:avLst/>
              <a:gdLst>
                <a:gd name="connsiteX0" fmla="*/ 183940 w 188707"/>
                <a:gd name="connsiteY0" fmla="*/ 66917 h 252818"/>
                <a:gd name="connsiteX1" fmla="*/ 166161 w 188707"/>
                <a:gd name="connsiteY1" fmla="*/ 42552 h 252818"/>
                <a:gd name="connsiteX2" fmla="*/ 152198 w 188707"/>
                <a:gd name="connsiteY2" fmla="*/ 29851 h 252818"/>
                <a:gd name="connsiteX3" fmla="*/ 137262 w 188707"/>
                <a:gd name="connsiteY3" fmla="*/ 17150 h 252818"/>
                <a:gd name="connsiteX4" fmla="*/ 113191 w 188707"/>
                <a:gd name="connsiteY4" fmla="*/ 18754 h 252818"/>
                <a:gd name="connsiteX5" fmla="*/ 86930 w 188707"/>
                <a:gd name="connsiteY5" fmla="*/ 12872 h 252818"/>
                <a:gd name="connsiteX6" fmla="*/ 76945 w 188707"/>
                <a:gd name="connsiteY6" fmla="*/ 7423 h 252818"/>
                <a:gd name="connsiteX7" fmla="*/ 64768 w 188707"/>
                <a:gd name="connsiteY7" fmla="*/ 6120 h 252818"/>
                <a:gd name="connsiteX8" fmla="*/ 51495 w 188707"/>
                <a:gd name="connsiteY8" fmla="*/ 104 h 252818"/>
                <a:gd name="connsiteX9" fmla="*/ 37654 w 188707"/>
                <a:gd name="connsiteY9" fmla="*/ 705 h 252818"/>
                <a:gd name="connsiteX10" fmla="*/ 67893 w 188707"/>
                <a:gd name="connsiteY10" fmla="*/ 43387 h 252818"/>
                <a:gd name="connsiteX11" fmla="*/ 89771 w 188707"/>
                <a:gd name="connsiteY11" fmla="*/ 53748 h 252818"/>
                <a:gd name="connsiteX12" fmla="*/ 86362 w 188707"/>
                <a:gd name="connsiteY12" fmla="*/ 70059 h 252818"/>
                <a:gd name="connsiteX13" fmla="*/ 90055 w 188707"/>
                <a:gd name="connsiteY13" fmla="*/ 92319 h 252818"/>
                <a:gd name="connsiteX14" fmla="*/ 114897 w 188707"/>
                <a:gd name="connsiteY14" fmla="*/ 144728 h 252818"/>
                <a:gd name="connsiteX15" fmla="*/ 127682 w 188707"/>
                <a:gd name="connsiteY15" fmla="*/ 170731 h 252818"/>
                <a:gd name="connsiteX16" fmla="*/ 117982 w 188707"/>
                <a:gd name="connsiteY16" fmla="*/ 198673 h 252818"/>
                <a:gd name="connsiteX17" fmla="*/ 104221 w 188707"/>
                <a:gd name="connsiteY17" fmla="*/ 213848 h 252818"/>
                <a:gd name="connsiteX18" fmla="*/ 80598 w 188707"/>
                <a:gd name="connsiteY18" fmla="*/ 220064 h 252818"/>
                <a:gd name="connsiteX19" fmla="*/ 53646 w 188707"/>
                <a:gd name="connsiteY19" fmla="*/ 213380 h 252818"/>
                <a:gd name="connsiteX20" fmla="*/ 55432 w 188707"/>
                <a:gd name="connsiteY20" fmla="*/ 229323 h 252818"/>
                <a:gd name="connsiteX21" fmla="*/ 31078 w 188707"/>
                <a:gd name="connsiteY21" fmla="*/ 219630 h 252818"/>
                <a:gd name="connsiteX22" fmla="*/ 3924 w 188707"/>
                <a:gd name="connsiteY22" fmla="*/ 220398 h 252818"/>
                <a:gd name="connsiteX23" fmla="*/ 5142 w 188707"/>
                <a:gd name="connsiteY23" fmla="*/ 235673 h 252818"/>
                <a:gd name="connsiteX24" fmla="*/ 9201 w 188707"/>
                <a:gd name="connsiteY24" fmla="*/ 251850 h 252818"/>
                <a:gd name="connsiteX25" fmla="*/ 42565 w 188707"/>
                <a:gd name="connsiteY25" fmla="*/ 248875 h 252818"/>
                <a:gd name="connsiteX26" fmla="*/ 48695 w 188707"/>
                <a:gd name="connsiteY26" fmla="*/ 245533 h 252818"/>
                <a:gd name="connsiteX27" fmla="*/ 60222 w 188707"/>
                <a:gd name="connsiteY27" fmla="*/ 239684 h 252818"/>
                <a:gd name="connsiteX28" fmla="*/ 89406 w 188707"/>
                <a:gd name="connsiteY28" fmla="*/ 246369 h 252818"/>
                <a:gd name="connsiteX29" fmla="*/ 132796 w 188707"/>
                <a:gd name="connsiteY29" fmla="*/ 246369 h 252818"/>
                <a:gd name="connsiteX30" fmla="*/ 164497 w 188707"/>
                <a:gd name="connsiteY30" fmla="*/ 199910 h 252818"/>
                <a:gd name="connsiteX31" fmla="*/ 155689 w 188707"/>
                <a:gd name="connsiteY31" fmla="*/ 164180 h 252818"/>
                <a:gd name="connsiteX32" fmla="*/ 140630 w 188707"/>
                <a:gd name="connsiteY32" fmla="*/ 150811 h 252818"/>
                <a:gd name="connsiteX33" fmla="*/ 121919 w 188707"/>
                <a:gd name="connsiteY33" fmla="*/ 127815 h 252818"/>
                <a:gd name="connsiteX34" fmla="*/ 124557 w 188707"/>
                <a:gd name="connsiteY34" fmla="*/ 80822 h 252818"/>
                <a:gd name="connsiteX35" fmla="*/ 138722 w 188707"/>
                <a:gd name="connsiteY35" fmla="*/ 79752 h 252818"/>
                <a:gd name="connsiteX36" fmla="*/ 149073 w 188707"/>
                <a:gd name="connsiteY36" fmla="*/ 71630 h 252818"/>
                <a:gd name="connsiteX37" fmla="*/ 166649 w 188707"/>
                <a:gd name="connsiteY37" fmla="*/ 73402 h 252818"/>
                <a:gd name="connsiteX38" fmla="*/ 188648 w 188707"/>
                <a:gd name="connsiteY38" fmla="*/ 71262 h 252818"/>
                <a:gd name="connsiteX39" fmla="*/ 184223 w 188707"/>
                <a:gd name="connsiteY39" fmla="*/ 66616 h 252818"/>
                <a:gd name="connsiteX40" fmla="*/ 183940 w 188707"/>
                <a:gd name="connsiteY40" fmla="*/ 66917 h 2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88707" h="252818">
                  <a:moveTo>
                    <a:pt x="183940" y="66917"/>
                  </a:moveTo>
                  <a:cubicBezTo>
                    <a:pt x="172696" y="61803"/>
                    <a:pt x="157759" y="48000"/>
                    <a:pt x="166161" y="42552"/>
                  </a:cubicBezTo>
                  <a:cubicBezTo>
                    <a:pt x="173305" y="37939"/>
                    <a:pt x="158327" y="33160"/>
                    <a:pt x="152198" y="29851"/>
                  </a:cubicBezTo>
                  <a:cubicBezTo>
                    <a:pt x="147531" y="27344"/>
                    <a:pt x="141443" y="18320"/>
                    <a:pt x="137262" y="17150"/>
                  </a:cubicBezTo>
                  <a:cubicBezTo>
                    <a:pt x="129266" y="15388"/>
                    <a:pt x="120741" y="15956"/>
                    <a:pt x="113191" y="18754"/>
                  </a:cubicBezTo>
                  <a:cubicBezTo>
                    <a:pt x="110391" y="19924"/>
                    <a:pt x="90745" y="14242"/>
                    <a:pt x="86930" y="12872"/>
                  </a:cubicBezTo>
                  <a:cubicBezTo>
                    <a:pt x="83399" y="11331"/>
                    <a:pt x="80030" y="9506"/>
                    <a:pt x="76945" y="7423"/>
                  </a:cubicBezTo>
                  <a:cubicBezTo>
                    <a:pt x="70613" y="3747"/>
                    <a:pt x="70531" y="7423"/>
                    <a:pt x="64768" y="6120"/>
                  </a:cubicBezTo>
                  <a:cubicBezTo>
                    <a:pt x="59694" y="5050"/>
                    <a:pt x="56406" y="1440"/>
                    <a:pt x="51495" y="104"/>
                  </a:cubicBezTo>
                  <a:cubicBezTo>
                    <a:pt x="46584" y="-1233"/>
                    <a:pt x="41916" y="906"/>
                    <a:pt x="37654" y="705"/>
                  </a:cubicBezTo>
                  <a:cubicBezTo>
                    <a:pt x="46096" y="12370"/>
                    <a:pt x="46503" y="36535"/>
                    <a:pt x="67893" y="43387"/>
                  </a:cubicBezTo>
                  <a:cubicBezTo>
                    <a:pt x="76011" y="45994"/>
                    <a:pt x="92003" y="44290"/>
                    <a:pt x="89771" y="53748"/>
                  </a:cubicBezTo>
                  <a:cubicBezTo>
                    <a:pt x="88837" y="57793"/>
                    <a:pt x="99147" y="72065"/>
                    <a:pt x="86362" y="70059"/>
                  </a:cubicBezTo>
                  <a:cubicBezTo>
                    <a:pt x="47517" y="64076"/>
                    <a:pt x="83723" y="80354"/>
                    <a:pt x="90055" y="92319"/>
                  </a:cubicBezTo>
                  <a:cubicBezTo>
                    <a:pt x="98783" y="108864"/>
                    <a:pt x="101055" y="128350"/>
                    <a:pt x="114897" y="144728"/>
                  </a:cubicBezTo>
                  <a:cubicBezTo>
                    <a:pt x="123582" y="154988"/>
                    <a:pt x="133284" y="160102"/>
                    <a:pt x="127682" y="170731"/>
                  </a:cubicBezTo>
                  <a:cubicBezTo>
                    <a:pt x="122730" y="180123"/>
                    <a:pt x="115505" y="187042"/>
                    <a:pt x="117982" y="198673"/>
                  </a:cubicBezTo>
                  <a:cubicBezTo>
                    <a:pt x="120254" y="208968"/>
                    <a:pt x="120904" y="213012"/>
                    <a:pt x="104221" y="213848"/>
                  </a:cubicBezTo>
                  <a:cubicBezTo>
                    <a:pt x="93140" y="214416"/>
                    <a:pt x="89447" y="217457"/>
                    <a:pt x="80598" y="220064"/>
                  </a:cubicBezTo>
                  <a:cubicBezTo>
                    <a:pt x="73819" y="222070"/>
                    <a:pt x="55351" y="210639"/>
                    <a:pt x="53646" y="213380"/>
                  </a:cubicBezTo>
                  <a:cubicBezTo>
                    <a:pt x="51292" y="217324"/>
                    <a:pt x="60912" y="226548"/>
                    <a:pt x="55432" y="229323"/>
                  </a:cubicBezTo>
                  <a:cubicBezTo>
                    <a:pt x="50683" y="231696"/>
                    <a:pt x="35340" y="221602"/>
                    <a:pt x="31078" y="219630"/>
                  </a:cubicBezTo>
                  <a:cubicBezTo>
                    <a:pt x="24300" y="216555"/>
                    <a:pt x="12164" y="220833"/>
                    <a:pt x="3924" y="220398"/>
                  </a:cubicBezTo>
                  <a:cubicBezTo>
                    <a:pt x="9972" y="231127"/>
                    <a:pt x="18739" y="229991"/>
                    <a:pt x="5142" y="235673"/>
                  </a:cubicBezTo>
                  <a:cubicBezTo>
                    <a:pt x="-2124" y="238715"/>
                    <a:pt x="-2651" y="255961"/>
                    <a:pt x="9201" y="251850"/>
                  </a:cubicBezTo>
                  <a:cubicBezTo>
                    <a:pt x="16831" y="249210"/>
                    <a:pt x="37614" y="252318"/>
                    <a:pt x="42565" y="248875"/>
                  </a:cubicBezTo>
                  <a:cubicBezTo>
                    <a:pt x="44229" y="247706"/>
                    <a:pt x="44027" y="243795"/>
                    <a:pt x="48695" y="245533"/>
                  </a:cubicBezTo>
                  <a:cubicBezTo>
                    <a:pt x="55067" y="248006"/>
                    <a:pt x="57137" y="241121"/>
                    <a:pt x="60222" y="239684"/>
                  </a:cubicBezTo>
                  <a:cubicBezTo>
                    <a:pt x="66230" y="236910"/>
                    <a:pt x="81369" y="245600"/>
                    <a:pt x="89406" y="246369"/>
                  </a:cubicBezTo>
                  <a:cubicBezTo>
                    <a:pt x="103775" y="248077"/>
                    <a:pt x="118427" y="248077"/>
                    <a:pt x="132796" y="246369"/>
                  </a:cubicBezTo>
                  <a:cubicBezTo>
                    <a:pt x="159261" y="242157"/>
                    <a:pt x="162792" y="215786"/>
                    <a:pt x="164497" y="199910"/>
                  </a:cubicBezTo>
                  <a:cubicBezTo>
                    <a:pt x="165715" y="188913"/>
                    <a:pt x="165106" y="175878"/>
                    <a:pt x="155689" y="164180"/>
                  </a:cubicBezTo>
                  <a:cubicBezTo>
                    <a:pt x="152158" y="159801"/>
                    <a:pt x="144770" y="155657"/>
                    <a:pt x="140630" y="150811"/>
                  </a:cubicBezTo>
                  <a:cubicBezTo>
                    <a:pt x="133933" y="143223"/>
                    <a:pt x="127926" y="135503"/>
                    <a:pt x="121919" y="127815"/>
                  </a:cubicBezTo>
                  <a:cubicBezTo>
                    <a:pt x="111812" y="114880"/>
                    <a:pt x="100528" y="84799"/>
                    <a:pt x="124557" y="80822"/>
                  </a:cubicBezTo>
                  <a:cubicBezTo>
                    <a:pt x="129062" y="80086"/>
                    <a:pt x="134136" y="80320"/>
                    <a:pt x="138722" y="79752"/>
                  </a:cubicBezTo>
                  <a:cubicBezTo>
                    <a:pt x="145622" y="78917"/>
                    <a:pt x="144080" y="73870"/>
                    <a:pt x="149073" y="71630"/>
                  </a:cubicBezTo>
                  <a:cubicBezTo>
                    <a:pt x="154065" y="69391"/>
                    <a:pt x="160560" y="72700"/>
                    <a:pt x="166649" y="73402"/>
                  </a:cubicBezTo>
                  <a:cubicBezTo>
                    <a:pt x="175538" y="74438"/>
                    <a:pt x="180814" y="70627"/>
                    <a:pt x="188648" y="71262"/>
                  </a:cubicBezTo>
                  <a:cubicBezTo>
                    <a:pt x="187674" y="69424"/>
                    <a:pt x="186172" y="67826"/>
                    <a:pt x="184223" y="66616"/>
                  </a:cubicBezTo>
                  <a:cubicBezTo>
                    <a:pt x="176552" y="63575"/>
                    <a:pt x="185319" y="67519"/>
                    <a:pt x="183940" y="6691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83010FCE-A778-4D9E-806B-20DB0AE8CFEB}"/>
                </a:ext>
              </a:extLst>
            </p:cNvPr>
            <p:cNvSpPr/>
            <p:nvPr/>
          </p:nvSpPr>
          <p:spPr>
            <a:xfrm>
              <a:off x="8702424" y="5027948"/>
              <a:ext cx="151933" cy="84654"/>
            </a:xfrm>
            <a:custGeom>
              <a:avLst/>
              <a:gdLst>
                <a:gd name="connsiteX0" fmla="*/ 55879 w 151933"/>
                <a:gd name="connsiteY0" fmla="*/ 73282 h 84654"/>
                <a:gd name="connsiteX1" fmla="*/ 86849 w 151933"/>
                <a:gd name="connsiteY1" fmla="*/ 84044 h 84654"/>
                <a:gd name="connsiteX2" fmla="*/ 100365 w 151933"/>
                <a:gd name="connsiteY2" fmla="*/ 73148 h 84654"/>
                <a:gd name="connsiteX3" fmla="*/ 135638 w 151933"/>
                <a:gd name="connsiteY3" fmla="*/ 68469 h 84654"/>
                <a:gd name="connsiteX4" fmla="*/ 151873 w 151933"/>
                <a:gd name="connsiteY4" fmla="*/ 35714 h 84654"/>
                <a:gd name="connsiteX5" fmla="*/ 110838 w 151933"/>
                <a:gd name="connsiteY5" fmla="*/ 27825 h 84654"/>
                <a:gd name="connsiteX6" fmla="*/ 88432 w 151933"/>
                <a:gd name="connsiteY6" fmla="*/ 17798 h 84654"/>
                <a:gd name="connsiteX7" fmla="*/ 46584 w 151933"/>
                <a:gd name="connsiteY7" fmla="*/ 2156 h 84654"/>
                <a:gd name="connsiteX8" fmla="*/ 1245 w 151933"/>
                <a:gd name="connsiteY8" fmla="*/ 8540 h 84654"/>
                <a:gd name="connsiteX9" fmla="*/ -54 w 151933"/>
                <a:gd name="connsiteY9" fmla="*/ 30199 h 84654"/>
                <a:gd name="connsiteX10" fmla="*/ 2665 w 151933"/>
                <a:gd name="connsiteY10" fmla="*/ 41195 h 84654"/>
                <a:gd name="connsiteX11" fmla="*/ 5304 w 151933"/>
                <a:gd name="connsiteY11" fmla="*/ 52158 h 84654"/>
                <a:gd name="connsiteX12" fmla="*/ 15371 w 151933"/>
                <a:gd name="connsiteY12" fmla="*/ 57840 h 84654"/>
                <a:gd name="connsiteX13" fmla="*/ 19633 w 151933"/>
                <a:gd name="connsiteY13" fmla="*/ 66731 h 84654"/>
                <a:gd name="connsiteX14" fmla="*/ 34042 w 151933"/>
                <a:gd name="connsiteY14" fmla="*/ 72011 h 84654"/>
                <a:gd name="connsiteX15" fmla="*/ 55879 w 151933"/>
                <a:gd name="connsiteY15" fmla="*/ 73282 h 8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933" h="84654">
                  <a:moveTo>
                    <a:pt x="55879" y="73282"/>
                  </a:moveTo>
                  <a:cubicBezTo>
                    <a:pt x="57787" y="69572"/>
                    <a:pt x="81451" y="86651"/>
                    <a:pt x="86849" y="84044"/>
                  </a:cubicBezTo>
                  <a:cubicBezTo>
                    <a:pt x="99026" y="77994"/>
                    <a:pt x="68705" y="60347"/>
                    <a:pt x="100365" y="73148"/>
                  </a:cubicBezTo>
                  <a:cubicBezTo>
                    <a:pt x="112542" y="77994"/>
                    <a:pt x="124192" y="69070"/>
                    <a:pt x="135638" y="68469"/>
                  </a:cubicBezTo>
                  <a:cubicBezTo>
                    <a:pt x="162265" y="67165"/>
                    <a:pt x="145298" y="48414"/>
                    <a:pt x="151873" y="35714"/>
                  </a:cubicBezTo>
                  <a:cubicBezTo>
                    <a:pt x="142092" y="36482"/>
                    <a:pt x="114572" y="20573"/>
                    <a:pt x="110838" y="27825"/>
                  </a:cubicBezTo>
                  <a:cubicBezTo>
                    <a:pt x="106008" y="37151"/>
                    <a:pt x="91842" y="23046"/>
                    <a:pt x="88432" y="17798"/>
                  </a:cubicBezTo>
                  <a:cubicBezTo>
                    <a:pt x="85022" y="12551"/>
                    <a:pt x="54824" y="4964"/>
                    <a:pt x="46584" y="2156"/>
                  </a:cubicBezTo>
                  <a:cubicBezTo>
                    <a:pt x="35422" y="-1687"/>
                    <a:pt x="-2124" y="-2155"/>
                    <a:pt x="1245" y="8540"/>
                  </a:cubicBezTo>
                  <a:cubicBezTo>
                    <a:pt x="3031" y="14122"/>
                    <a:pt x="5304" y="26455"/>
                    <a:pt x="-54" y="30199"/>
                  </a:cubicBezTo>
                  <a:cubicBezTo>
                    <a:pt x="1124" y="29530"/>
                    <a:pt x="3356" y="39758"/>
                    <a:pt x="2665" y="41195"/>
                  </a:cubicBezTo>
                  <a:cubicBezTo>
                    <a:pt x="1083" y="44537"/>
                    <a:pt x="-3788" y="49451"/>
                    <a:pt x="5304" y="52158"/>
                  </a:cubicBezTo>
                  <a:cubicBezTo>
                    <a:pt x="10175" y="53595"/>
                    <a:pt x="20647" y="53963"/>
                    <a:pt x="15371" y="57840"/>
                  </a:cubicBezTo>
                  <a:cubicBezTo>
                    <a:pt x="11312" y="60881"/>
                    <a:pt x="11555" y="64825"/>
                    <a:pt x="19633" y="66731"/>
                  </a:cubicBezTo>
                  <a:cubicBezTo>
                    <a:pt x="23245" y="67600"/>
                    <a:pt x="33433" y="68335"/>
                    <a:pt x="34042" y="72011"/>
                  </a:cubicBezTo>
                  <a:cubicBezTo>
                    <a:pt x="35137" y="77460"/>
                    <a:pt x="54093" y="76958"/>
                    <a:pt x="55879" y="732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694F7DC1-E65D-41D1-AD20-7B6AE3B27CEC}"/>
                </a:ext>
              </a:extLst>
            </p:cNvPr>
            <p:cNvSpPr/>
            <p:nvPr/>
          </p:nvSpPr>
          <p:spPr>
            <a:xfrm>
              <a:off x="8695328" y="4879335"/>
              <a:ext cx="168389" cy="184697"/>
            </a:xfrm>
            <a:custGeom>
              <a:avLst/>
              <a:gdLst>
                <a:gd name="connsiteX0" fmla="*/ 128852 w 168389"/>
                <a:gd name="connsiteY0" fmla="*/ 96923 h 184697"/>
                <a:gd name="connsiteX1" fmla="*/ 108233 w 168389"/>
                <a:gd name="connsiteY1" fmla="*/ 77270 h 184697"/>
                <a:gd name="connsiteX2" fmla="*/ 131207 w 168389"/>
                <a:gd name="connsiteY2" fmla="*/ 71956 h 184697"/>
                <a:gd name="connsiteX3" fmla="*/ 118259 w 168389"/>
                <a:gd name="connsiteY3" fmla="*/ 48025 h 184697"/>
                <a:gd name="connsiteX4" fmla="*/ 90617 w 168389"/>
                <a:gd name="connsiteY4" fmla="*/ 29174 h 184697"/>
                <a:gd name="connsiteX5" fmla="*/ 82499 w 168389"/>
                <a:gd name="connsiteY5" fmla="*/ 15804 h 184697"/>
                <a:gd name="connsiteX6" fmla="*/ 79779 w 168389"/>
                <a:gd name="connsiteY6" fmla="*/ 8685 h 184697"/>
                <a:gd name="connsiteX7" fmla="*/ 64964 w 168389"/>
                <a:gd name="connsiteY7" fmla="*/ 730 h 184697"/>
                <a:gd name="connsiteX8" fmla="*/ 56399 w 168389"/>
                <a:gd name="connsiteY8" fmla="*/ 17442 h 184697"/>
                <a:gd name="connsiteX9" fmla="*/ 37404 w 168389"/>
                <a:gd name="connsiteY9" fmla="*/ 7415 h 184697"/>
                <a:gd name="connsiteX10" fmla="*/ 5541 w 168389"/>
                <a:gd name="connsiteY10" fmla="*/ 16941 h 184697"/>
                <a:gd name="connsiteX11" fmla="*/ 11101 w 168389"/>
                <a:gd name="connsiteY11" fmla="*/ 38299 h 184697"/>
                <a:gd name="connsiteX12" fmla="*/ 12765 w 168389"/>
                <a:gd name="connsiteY12" fmla="*/ 61227 h 184697"/>
                <a:gd name="connsiteX13" fmla="*/ 8991 w 168389"/>
                <a:gd name="connsiteY13" fmla="*/ 75365 h 184697"/>
                <a:gd name="connsiteX14" fmla="*/ 35130 w 168389"/>
                <a:gd name="connsiteY14" fmla="*/ 73895 h 184697"/>
                <a:gd name="connsiteX15" fmla="*/ 51366 w 168389"/>
                <a:gd name="connsiteY15" fmla="*/ 82484 h 184697"/>
                <a:gd name="connsiteX16" fmla="*/ 90658 w 168389"/>
                <a:gd name="connsiteY16" fmla="*/ 88534 h 184697"/>
                <a:gd name="connsiteX17" fmla="*/ 107624 w 168389"/>
                <a:gd name="connsiteY17" fmla="*/ 116376 h 184697"/>
                <a:gd name="connsiteX18" fmla="*/ 99506 w 168389"/>
                <a:gd name="connsiteY18" fmla="*/ 125868 h 184697"/>
                <a:gd name="connsiteX19" fmla="*/ 108071 w 168389"/>
                <a:gd name="connsiteY19" fmla="*/ 135595 h 184697"/>
                <a:gd name="connsiteX20" fmla="*/ 98451 w 168389"/>
                <a:gd name="connsiteY20" fmla="*/ 169286 h 184697"/>
                <a:gd name="connsiteX21" fmla="*/ 108112 w 168389"/>
                <a:gd name="connsiteY21" fmla="*/ 179313 h 184697"/>
                <a:gd name="connsiteX22" fmla="*/ 125159 w 168389"/>
                <a:gd name="connsiteY22" fmla="*/ 174433 h 184697"/>
                <a:gd name="connsiteX23" fmla="*/ 151177 w 168389"/>
                <a:gd name="connsiteY23" fmla="*/ 184159 h 184697"/>
                <a:gd name="connsiteX24" fmla="*/ 168184 w 168389"/>
                <a:gd name="connsiteY24" fmla="*/ 169453 h 184697"/>
                <a:gd name="connsiteX25" fmla="*/ 148904 w 168389"/>
                <a:gd name="connsiteY25" fmla="*/ 136931 h 184697"/>
                <a:gd name="connsiteX26" fmla="*/ 129015 w 168389"/>
                <a:gd name="connsiteY26" fmla="*/ 97124 h 184697"/>
                <a:gd name="connsiteX27" fmla="*/ 128852 w 168389"/>
                <a:gd name="connsiteY27" fmla="*/ 96923 h 18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389" h="184697">
                  <a:moveTo>
                    <a:pt x="128852" y="96923"/>
                  </a:moveTo>
                  <a:cubicBezTo>
                    <a:pt x="131004" y="92812"/>
                    <a:pt x="112008" y="81214"/>
                    <a:pt x="108233" y="77270"/>
                  </a:cubicBezTo>
                  <a:cubicBezTo>
                    <a:pt x="96056" y="64402"/>
                    <a:pt x="128527" y="76869"/>
                    <a:pt x="131207" y="71956"/>
                  </a:cubicBezTo>
                  <a:cubicBezTo>
                    <a:pt x="133886" y="67043"/>
                    <a:pt x="129705" y="50364"/>
                    <a:pt x="118259" y="48025"/>
                  </a:cubicBezTo>
                  <a:cubicBezTo>
                    <a:pt x="98207" y="43914"/>
                    <a:pt x="95772" y="41674"/>
                    <a:pt x="90617" y="29174"/>
                  </a:cubicBezTo>
                  <a:cubicBezTo>
                    <a:pt x="88952" y="25196"/>
                    <a:pt x="80470" y="19414"/>
                    <a:pt x="82499" y="15804"/>
                  </a:cubicBezTo>
                  <a:cubicBezTo>
                    <a:pt x="82702" y="13237"/>
                    <a:pt x="81728" y="10701"/>
                    <a:pt x="79779" y="8685"/>
                  </a:cubicBezTo>
                  <a:cubicBezTo>
                    <a:pt x="74625" y="1265"/>
                    <a:pt x="69389" y="6178"/>
                    <a:pt x="64964" y="730"/>
                  </a:cubicBezTo>
                  <a:cubicBezTo>
                    <a:pt x="59931" y="-5486"/>
                    <a:pt x="56440" y="17442"/>
                    <a:pt x="56399" y="17442"/>
                  </a:cubicBezTo>
                  <a:cubicBezTo>
                    <a:pt x="50798" y="28405"/>
                    <a:pt x="41300" y="6513"/>
                    <a:pt x="37404" y="7415"/>
                  </a:cubicBezTo>
                  <a:cubicBezTo>
                    <a:pt x="25917" y="10390"/>
                    <a:pt x="18935" y="17442"/>
                    <a:pt x="5541" y="16941"/>
                  </a:cubicBezTo>
                  <a:cubicBezTo>
                    <a:pt x="11101" y="22957"/>
                    <a:pt x="1157" y="35758"/>
                    <a:pt x="11101" y="38299"/>
                  </a:cubicBezTo>
                  <a:cubicBezTo>
                    <a:pt x="34359" y="44315"/>
                    <a:pt x="16703" y="53072"/>
                    <a:pt x="12765" y="61227"/>
                  </a:cubicBezTo>
                  <a:cubicBezTo>
                    <a:pt x="11630" y="63533"/>
                    <a:pt x="-12887" y="75532"/>
                    <a:pt x="8991" y="75365"/>
                  </a:cubicBezTo>
                  <a:cubicBezTo>
                    <a:pt x="17839" y="75365"/>
                    <a:pt x="25877" y="73025"/>
                    <a:pt x="35130" y="73895"/>
                  </a:cubicBezTo>
                  <a:cubicBezTo>
                    <a:pt x="45684" y="74931"/>
                    <a:pt x="43939" y="79276"/>
                    <a:pt x="51366" y="82484"/>
                  </a:cubicBezTo>
                  <a:cubicBezTo>
                    <a:pt x="65452" y="88601"/>
                    <a:pt x="75112" y="77939"/>
                    <a:pt x="90658" y="88534"/>
                  </a:cubicBezTo>
                  <a:cubicBezTo>
                    <a:pt x="98207" y="93681"/>
                    <a:pt x="111683" y="111195"/>
                    <a:pt x="107624" y="116376"/>
                  </a:cubicBezTo>
                  <a:cubicBezTo>
                    <a:pt x="105148" y="119718"/>
                    <a:pt x="101048" y="122259"/>
                    <a:pt x="99506" y="125868"/>
                  </a:cubicBezTo>
                  <a:cubicBezTo>
                    <a:pt x="97964" y="129478"/>
                    <a:pt x="105513" y="132553"/>
                    <a:pt x="108071" y="135595"/>
                  </a:cubicBezTo>
                  <a:cubicBezTo>
                    <a:pt x="116189" y="145622"/>
                    <a:pt x="113104" y="166043"/>
                    <a:pt x="98451" y="169286"/>
                  </a:cubicBezTo>
                  <a:cubicBezTo>
                    <a:pt x="100399" y="170990"/>
                    <a:pt x="106975" y="178410"/>
                    <a:pt x="108112" y="179313"/>
                  </a:cubicBezTo>
                  <a:cubicBezTo>
                    <a:pt x="114443" y="183491"/>
                    <a:pt x="118989" y="173597"/>
                    <a:pt x="125159" y="174433"/>
                  </a:cubicBezTo>
                  <a:cubicBezTo>
                    <a:pt x="135022" y="175836"/>
                    <a:pt x="141111" y="182655"/>
                    <a:pt x="151177" y="184159"/>
                  </a:cubicBezTo>
                  <a:cubicBezTo>
                    <a:pt x="162786" y="185930"/>
                    <a:pt x="166967" y="175536"/>
                    <a:pt x="168184" y="169453"/>
                  </a:cubicBezTo>
                  <a:cubicBezTo>
                    <a:pt x="170051" y="160061"/>
                    <a:pt x="153531" y="146992"/>
                    <a:pt x="148904" y="136931"/>
                  </a:cubicBezTo>
                  <a:cubicBezTo>
                    <a:pt x="144277" y="126871"/>
                    <a:pt x="124144" y="106850"/>
                    <a:pt x="129015" y="97124"/>
                  </a:cubicBezTo>
                  <a:cubicBezTo>
                    <a:pt x="130923" y="92979"/>
                    <a:pt x="126864" y="100934"/>
                    <a:pt x="128852" y="9692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83EBCEB9-EA76-4607-8506-8070884120E7}"/>
                </a:ext>
              </a:extLst>
            </p:cNvPr>
            <p:cNvSpPr/>
            <p:nvPr/>
          </p:nvSpPr>
          <p:spPr>
            <a:xfrm>
              <a:off x="8552051" y="4892623"/>
              <a:ext cx="255915" cy="257455"/>
            </a:xfrm>
            <a:custGeom>
              <a:avLst/>
              <a:gdLst>
                <a:gd name="connsiteX0" fmla="*/ 152958 w 255915"/>
                <a:gd name="connsiteY0" fmla="*/ 152087 h 257455"/>
                <a:gd name="connsiteX1" fmla="*/ 153648 w 255915"/>
                <a:gd name="connsiteY1" fmla="*/ 139486 h 257455"/>
                <a:gd name="connsiteX2" fmla="*/ 185308 w 255915"/>
                <a:gd name="connsiteY2" fmla="*/ 135108 h 257455"/>
                <a:gd name="connsiteX3" fmla="*/ 212625 w 255915"/>
                <a:gd name="connsiteY3" fmla="*/ 143497 h 257455"/>
                <a:gd name="connsiteX4" fmla="*/ 241565 w 255915"/>
                <a:gd name="connsiteY4" fmla="*/ 155931 h 257455"/>
                <a:gd name="connsiteX5" fmla="*/ 243960 w 255915"/>
                <a:gd name="connsiteY5" fmla="*/ 116056 h 257455"/>
                <a:gd name="connsiteX6" fmla="*/ 248506 w 255915"/>
                <a:gd name="connsiteY6" fmla="*/ 105494 h 257455"/>
                <a:gd name="connsiteX7" fmla="*/ 242824 w 255915"/>
                <a:gd name="connsiteY7" fmla="*/ 87446 h 257455"/>
                <a:gd name="connsiteX8" fmla="*/ 223544 w 255915"/>
                <a:gd name="connsiteY8" fmla="*/ 70734 h 257455"/>
                <a:gd name="connsiteX9" fmla="*/ 194400 w 255915"/>
                <a:gd name="connsiteY9" fmla="*/ 69096 h 257455"/>
                <a:gd name="connsiteX10" fmla="*/ 184253 w 255915"/>
                <a:gd name="connsiteY10" fmla="*/ 61743 h 257455"/>
                <a:gd name="connsiteX11" fmla="*/ 164363 w 255915"/>
                <a:gd name="connsiteY11" fmla="*/ 61074 h 257455"/>
                <a:gd name="connsiteX12" fmla="*/ 144068 w 255915"/>
                <a:gd name="connsiteY12" fmla="*/ 54657 h 257455"/>
                <a:gd name="connsiteX13" fmla="*/ 158234 w 255915"/>
                <a:gd name="connsiteY13" fmla="*/ 25779 h 257455"/>
                <a:gd name="connsiteX14" fmla="*/ 151050 w 255915"/>
                <a:gd name="connsiteY14" fmla="*/ 13747 h 257455"/>
                <a:gd name="connsiteX15" fmla="*/ 151050 w 255915"/>
                <a:gd name="connsiteY15" fmla="*/ 6460 h 257455"/>
                <a:gd name="connsiteX16" fmla="*/ 139726 w 255915"/>
                <a:gd name="connsiteY16" fmla="*/ 4956 h 257455"/>
                <a:gd name="connsiteX17" fmla="*/ 86553 w 255915"/>
                <a:gd name="connsiteY17" fmla="*/ 243 h 257455"/>
                <a:gd name="connsiteX18" fmla="*/ 55908 w 255915"/>
                <a:gd name="connsiteY18" fmla="*/ 23640 h 257455"/>
                <a:gd name="connsiteX19" fmla="*/ 68694 w 255915"/>
                <a:gd name="connsiteY19" fmla="*/ 53220 h 257455"/>
                <a:gd name="connsiteX20" fmla="*/ 68085 w 255915"/>
                <a:gd name="connsiteY20" fmla="*/ 65787 h 257455"/>
                <a:gd name="connsiteX21" fmla="*/ 55583 w 255915"/>
                <a:gd name="connsiteY21" fmla="*/ 75547 h 257455"/>
                <a:gd name="connsiteX22" fmla="*/ 53878 w 255915"/>
                <a:gd name="connsiteY22" fmla="*/ 91089 h 257455"/>
                <a:gd name="connsiteX23" fmla="*/ 60495 w 255915"/>
                <a:gd name="connsiteY23" fmla="*/ 115789 h 257455"/>
                <a:gd name="connsiteX24" fmla="*/ 62240 w 255915"/>
                <a:gd name="connsiteY24" fmla="*/ 133303 h 257455"/>
                <a:gd name="connsiteX25" fmla="*/ 52458 w 255915"/>
                <a:gd name="connsiteY25" fmla="*/ 141191 h 257455"/>
                <a:gd name="connsiteX26" fmla="*/ 20229 w 255915"/>
                <a:gd name="connsiteY26" fmla="*/ 159039 h 257455"/>
                <a:gd name="connsiteX27" fmla="*/ 949 w 255915"/>
                <a:gd name="connsiteY27" fmla="*/ 180029 h 257455"/>
                <a:gd name="connsiteX28" fmla="*/ 13126 w 255915"/>
                <a:gd name="connsiteY28" fmla="*/ 196741 h 257455"/>
                <a:gd name="connsiteX29" fmla="*/ 31513 w 255915"/>
                <a:gd name="connsiteY29" fmla="*/ 224917 h 257455"/>
                <a:gd name="connsiteX30" fmla="*/ 57734 w 255915"/>
                <a:gd name="connsiteY30" fmla="*/ 244637 h 257455"/>
                <a:gd name="connsiteX31" fmla="*/ 70520 w 255915"/>
                <a:gd name="connsiteY31" fmla="*/ 256168 h 257455"/>
                <a:gd name="connsiteX32" fmla="*/ 89110 w 255915"/>
                <a:gd name="connsiteY32" fmla="*/ 254397 h 257455"/>
                <a:gd name="connsiteX33" fmla="*/ 55583 w 255915"/>
                <a:gd name="connsiteY33" fmla="*/ 228259 h 257455"/>
                <a:gd name="connsiteX34" fmla="*/ 51524 w 255915"/>
                <a:gd name="connsiteY34" fmla="*/ 198178 h 257455"/>
                <a:gd name="connsiteX35" fmla="*/ 47465 w 255915"/>
                <a:gd name="connsiteY35" fmla="*/ 185043 h 257455"/>
                <a:gd name="connsiteX36" fmla="*/ 34882 w 255915"/>
                <a:gd name="connsiteY36" fmla="*/ 173578 h 257455"/>
                <a:gd name="connsiteX37" fmla="*/ 55989 w 255915"/>
                <a:gd name="connsiteY37" fmla="*/ 150182 h 257455"/>
                <a:gd name="connsiteX38" fmla="*/ 81479 w 255915"/>
                <a:gd name="connsiteY38" fmla="*/ 130696 h 257455"/>
                <a:gd name="connsiteX39" fmla="*/ 104129 w 255915"/>
                <a:gd name="connsiteY39" fmla="*/ 125381 h 257455"/>
                <a:gd name="connsiteX40" fmla="*/ 117604 w 255915"/>
                <a:gd name="connsiteY40" fmla="*/ 144299 h 257455"/>
                <a:gd name="connsiteX41" fmla="*/ 150076 w 255915"/>
                <a:gd name="connsiteY41" fmla="*/ 166091 h 257455"/>
                <a:gd name="connsiteX42" fmla="*/ 152958 w 255915"/>
                <a:gd name="connsiteY42" fmla="*/ 152087 h 25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5915" h="257455">
                  <a:moveTo>
                    <a:pt x="152958" y="152087"/>
                  </a:moveTo>
                  <a:cubicBezTo>
                    <a:pt x="154947" y="148109"/>
                    <a:pt x="148899" y="142428"/>
                    <a:pt x="153648" y="139486"/>
                  </a:cubicBezTo>
                  <a:cubicBezTo>
                    <a:pt x="160711" y="135308"/>
                    <a:pt x="174592" y="134239"/>
                    <a:pt x="185308" y="135108"/>
                  </a:cubicBezTo>
                  <a:cubicBezTo>
                    <a:pt x="196024" y="135977"/>
                    <a:pt x="202681" y="140756"/>
                    <a:pt x="212625" y="143497"/>
                  </a:cubicBezTo>
                  <a:cubicBezTo>
                    <a:pt x="225776" y="147140"/>
                    <a:pt x="232920" y="148143"/>
                    <a:pt x="241565" y="155931"/>
                  </a:cubicBezTo>
                  <a:cubicBezTo>
                    <a:pt x="258329" y="152221"/>
                    <a:pt x="261860" y="125849"/>
                    <a:pt x="243960" y="116056"/>
                  </a:cubicBezTo>
                  <a:cubicBezTo>
                    <a:pt x="238643" y="113115"/>
                    <a:pt x="246842" y="107232"/>
                    <a:pt x="248506" y="105494"/>
                  </a:cubicBezTo>
                  <a:cubicBezTo>
                    <a:pt x="255366" y="98275"/>
                    <a:pt x="249034" y="96136"/>
                    <a:pt x="242824" y="87446"/>
                  </a:cubicBezTo>
                  <a:cubicBezTo>
                    <a:pt x="237750" y="80393"/>
                    <a:pt x="236127" y="74343"/>
                    <a:pt x="223544" y="70734"/>
                  </a:cubicBezTo>
                  <a:cubicBezTo>
                    <a:pt x="212341" y="67392"/>
                    <a:pt x="205116" y="73742"/>
                    <a:pt x="194400" y="69096"/>
                  </a:cubicBezTo>
                  <a:cubicBezTo>
                    <a:pt x="189529" y="66957"/>
                    <a:pt x="189976" y="63648"/>
                    <a:pt x="184253" y="61743"/>
                  </a:cubicBezTo>
                  <a:cubicBezTo>
                    <a:pt x="177799" y="60098"/>
                    <a:pt x="170939" y="59868"/>
                    <a:pt x="164363" y="61074"/>
                  </a:cubicBezTo>
                  <a:cubicBezTo>
                    <a:pt x="158722" y="61643"/>
                    <a:pt x="135423" y="63347"/>
                    <a:pt x="144068" y="54657"/>
                  </a:cubicBezTo>
                  <a:cubicBezTo>
                    <a:pt x="148127" y="50680"/>
                    <a:pt x="183319" y="31027"/>
                    <a:pt x="158234" y="25779"/>
                  </a:cubicBezTo>
                  <a:cubicBezTo>
                    <a:pt x="147194" y="23506"/>
                    <a:pt x="148087" y="19094"/>
                    <a:pt x="151050" y="13747"/>
                  </a:cubicBezTo>
                  <a:cubicBezTo>
                    <a:pt x="152471" y="11206"/>
                    <a:pt x="153770" y="9468"/>
                    <a:pt x="151050" y="6460"/>
                  </a:cubicBezTo>
                  <a:cubicBezTo>
                    <a:pt x="146626" y="1146"/>
                    <a:pt x="145815" y="4789"/>
                    <a:pt x="139726" y="4956"/>
                  </a:cubicBezTo>
                  <a:cubicBezTo>
                    <a:pt x="121825" y="5698"/>
                    <a:pt x="103885" y="4107"/>
                    <a:pt x="86553" y="243"/>
                  </a:cubicBezTo>
                  <a:cubicBezTo>
                    <a:pt x="67759" y="-3968"/>
                    <a:pt x="60778" y="15786"/>
                    <a:pt x="55908" y="23640"/>
                  </a:cubicBezTo>
                  <a:cubicBezTo>
                    <a:pt x="50022" y="32999"/>
                    <a:pt x="72996" y="43694"/>
                    <a:pt x="68694" y="53220"/>
                  </a:cubicBezTo>
                  <a:cubicBezTo>
                    <a:pt x="66785" y="57498"/>
                    <a:pt x="76812" y="63247"/>
                    <a:pt x="68085" y="65787"/>
                  </a:cubicBezTo>
                  <a:cubicBezTo>
                    <a:pt x="61915" y="67492"/>
                    <a:pt x="63214" y="74577"/>
                    <a:pt x="55583" y="75547"/>
                  </a:cubicBezTo>
                  <a:cubicBezTo>
                    <a:pt x="46410" y="76750"/>
                    <a:pt x="50996" y="86644"/>
                    <a:pt x="53878" y="91089"/>
                  </a:cubicBezTo>
                  <a:cubicBezTo>
                    <a:pt x="60170" y="100615"/>
                    <a:pt x="64229" y="106764"/>
                    <a:pt x="60495" y="115789"/>
                  </a:cubicBezTo>
                  <a:cubicBezTo>
                    <a:pt x="57978" y="121772"/>
                    <a:pt x="64918" y="127755"/>
                    <a:pt x="62240" y="133303"/>
                  </a:cubicBezTo>
                  <a:cubicBezTo>
                    <a:pt x="61103" y="136177"/>
                    <a:pt x="55259" y="139118"/>
                    <a:pt x="52458" y="141191"/>
                  </a:cubicBezTo>
                  <a:cubicBezTo>
                    <a:pt x="42189" y="148778"/>
                    <a:pt x="27008" y="151218"/>
                    <a:pt x="20229" y="159039"/>
                  </a:cubicBezTo>
                  <a:cubicBezTo>
                    <a:pt x="14181" y="166091"/>
                    <a:pt x="6226" y="172642"/>
                    <a:pt x="949" y="180029"/>
                  </a:cubicBezTo>
                  <a:cubicBezTo>
                    <a:pt x="-3475" y="186246"/>
                    <a:pt x="7769" y="190357"/>
                    <a:pt x="13126" y="196741"/>
                  </a:cubicBezTo>
                  <a:cubicBezTo>
                    <a:pt x="20757" y="205421"/>
                    <a:pt x="26927" y="214896"/>
                    <a:pt x="31513" y="224917"/>
                  </a:cubicBezTo>
                  <a:cubicBezTo>
                    <a:pt x="35369" y="234309"/>
                    <a:pt x="55137" y="234075"/>
                    <a:pt x="57734" y="244637"/>
                  </a:cubicBezTo>
                  <a:cubicBezTo>
                    <a:pt x="59439" y="251589"/>
                    <a:pt x="57734" y="252458"/>
                    <a:pt x="70520" y="256168"/>
                  </a:cubicBezTo>
                  <a:cubicBezTo>
                    <a:pt x="82007" y="259510"/>
                    <a:pt x="78354" y="252826"/>
                    <a:pt x="89110" y="254397"/>
                  </a:cubicBezTo>
                  <a:cubicBezTo>
                    <a:pt x="82900" y="242130"/>
                    <a:pt x="64310" y="238186"/>
                    <a:pt x="55583" y="228259"/>
                  </a:cubicBezTo>
                  <a:cubicBezTo>
                    <a:pt x="46207" y="217631"/>
                    <a:pt x="56070" y="208706"/>
                    <a:pt x="51524" y="198178"/>
                  </a:cubicBezTo>
                  <a:cubicBezTo>
                    <a:pt x="49535" y="193766"/>
                    <a:pt x="52701" y="188987"/>
                    <a:pt x="47465" y="185043"/>
                  </a:cubicBezTo>
                  <a:cubicBezTo>
                    <a:pt x="42229" y="181098"/>
                    <a:pt x="33746" y="178358"/>
                    <a:pt x="34882" y="173578"/>
                  </a:cubicBezTo>
                  <a:cubicBezTo>
                    <a:pt x="36790" y="165356"/>
                    <a:pt x="48155" y="156031"/>
                    <a:pt x="55989" y="150182"/>
                  </a:cubicBezTo>
                  <a:cubicBezTo>
                    <a:pt x="63822" y="144332"/>
                    <a:pt x="76284" y="138651"/>
                    <a:pt x="81479" y="130696"/>
                  </a:cubicBezTo>
                  <a:cubicBezTo>
                    <a:pt x="85091" y="125281"/>
                    <a:pt x="88176" y="115956"/>
                    <a:pt x="104129" y="125381"/>
                  </a:cubicBezTo>
                  <a:cubicBezTo>
                    <a:pt x="113951" y="131231"/>
                    <a:pt x="102667" y="138550"/>
                    <a:pt x="117604" y="144299"/>
                  </a:cubicBezTo>
                  <a:cubicBezTo>
                    <a:pt x="134612" y="150984"/>
                    <a:pt x="137046" y="157234"/>
                    <a:pt x="150076" y="166091"/>
                  </a:cubicBezTo>
                  <a:cubicBezTo>
                    <a:pt x="154947" y="161613"/>
                    <a:pt x="150523" y="157167"/>
                    <a:pt x="152958" y="1520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4D064D66-0B52-4A57-A629-676A52261529}"/>
                </a:ext>
              </a:extLst>
            </p:cNvPr>
            <p:cNvSpPr/>
            <p:nvPr/>
          </p:nvSpPr>
          <p:spPr>
            <a:xfrm>
              <a:off x="6228729" y="3797783"/>
              <a:ext cx="311866" cy="137635"/>
            </a:xfrm>
            <a:custGeom>
              <a:avLst/>
              <a:gdLst>
                <a:gd name="connsiteX0" fmla="*/ 3593 w 311866"/>
                <a:gd name="connsiteY0" fmla="*/ 24726 h 137635"/>
                <a:gd name="connsiteX1" fmla="*/ 710 w 311866"/>
                <a:gd name="connsiteY1" fmla="*/ 47755 h 137635"/>
                <a:gd name="connsiteX2" fmla="*/ 16946 w 311866"/>
                <a:gd name="connsiteY2" fmla="*/ 71352 h 137635"/>
                <a:gd name="connsiteX3" fmla="*/ 43695 w 311866"/>
                <a:gd name="connsiteY3" fmla="*/ 94214 h 137635"/>
                <a:gd name="connsiteX4" fmla="*/ 63990 w 311866"/>
                <a:gd name="connsiteY4" fmla="*/ 100899 h 137635"/>
                <a:gd name="connsiteX5" fmla="*/ 79455 w 311866"/>
                <a:gd name="connsiteY5" fmla="*/ 108152 h 137635"/>
                <a:gd name="connsiteX6" fmla="*/ 87329 w 311866"/>
                <a:gd name="connsiteY6" fmla="*/ 104809 h 137635"/>
                <a:gd name="connsiteX7" fmla="*/ 101008 w 311866"/>
                <a:gd name="connsiteY7" fmla="*/ 105578 h 137635"/>
                <a:gd name="connsiteX8" fmla="*/ 112576 w 311866"/>
                <a:gd name="connsiteY8" fmla="*/ 113199 h 137635"/>
                <a:gd name="connsiteX9" fmla="*/ 134697 w 311866"/>
                <a:gd name="connsiteY9" fmla="*/ 117377 h 137635"/>
                <a:gd name="connsiteX10" fmla="*/ 156575 w 311866"/>
                <a:gd name="connsiteY10" fmla="*/ 125766 h 137635"/>
                <a:gd name="connsiteX11" fmla="*/ 178331 w 311866"/>
                <a:gd name="connsiteY11" fmla="*/ 127738 h 137635"/>
                <a:gd name="connsiteX12" fmla="*/ 205323 w 311866"/>
                <a:gd name="connsiteY12" fmla="*/ 128306 h 137635"/>
                <a:gd name="connsiteX13" fmla="*/ 235441 w 311866"/>
                <a:gd name="connsiteY13" fmla="*/ 131180 h 137635"/>
                <a:gd name="connsiteX14" fmla="*/ 265640 w 311866"/>
                <a:gd name="connsiteY14" fmla="*/ 137297 h 137635"/>
                <a:gd name="connsiteX15" fmla="*/ 268684 w 311866"/>
                <a:gd name="connsiteY15" fmla="*/ 123694 h 137635"/>
                <a:gd name="connsiteX16" fmla="*/ 296529 w 311866"/>
                <a:gd name="connsiteY16" fmla="*/ 111060 h 137635"/>
                <a:gd name="connsiteX17" fmla="*/ 309274 w 311866"/>
                <a:gd name="connsiteY17" fmla="*/ 98292 h 137635"/>
                <a:gd name="connsiteX18" fmla="*/ 296772 w 311866"/>
                <a:gd name="connsiteY18" fmla="*/ 79541 h 137635"/>
                <a:gd name="connsiteX19" fmla="*/ 297543 w 311866"/>
                <a:gd name="connsiteY19" fmla="*/ 70650 h 137635"/>
                <a:gd name="connsiteX20" fmla="*/ 287680 w 311866"/>
                <a:gd name="connsiteY20" fmla="*/ 63966 h 137635"/>
                <a:gd name="connsiteX21" fmla="*/ 311790 w 311866"/>
                <a:gd name="connsiteY21" fmla="*/ 49326 h 137635"/>
                <a:gd name="connsiteX22" fmla="*/ 306879 w 311866"/>
                <a:gd name="connsiteY22" fmla="*/ 41305 h 137635"/>
                <a:gd name="connsiteX23" fmla="*/ 302536 w 311866"/>
                <a:gd name="connsiteY23" fmla="*/ 26030 h 137635"/>
                <a:gd name="connsiteX24" fmla="*/ 275990 w 311866"/>
                <a:gd name="connsiteY24" fmla="*/ 16905 h 137635"/>
                <a:gd name="connsiteX25" fmla="*/ 193674 w 311866"/>
                <a:gd name="connsiteY25" fmla="*/ 12560 h 137635"/>
                <a:gd name="connsiteX26" fmla="*/ 182106 w 311866"/>
                <a:gd name="connsiteY26" fmla="*/ 10388 h 137635"/>
                <a:gd name="connsiteX27" fmla="*/ 162136 w 311866"/>
                <a:gd name="connsiteY27" fmla="*/ 12126 h 137635"/>
                <a:gd name="connsiteX28" fmla="*/ 137782 w 311866"/>
                <a:gd name="connsiteY28" fmla="*/ 1029 h 137635"/>
                <a:gd name="connsiteX29" fmla="*/ 68779 w 311866"/>
                <a:gd name="connsiteY29" fmla="*/ 9118 h 137635"/>
                <a:gd name="connsiteX30" fmla="*/ 27419 w 311866"/>
                <a:gd name="connsiteY30" fmla="*/ 16270 h 137635"/>
                <a:gd name="connsiteX31" fmla="*/ 3511 w 311866"/>
                <a:gd name="connsiteY31" fmla="*/ 22621 h 137635"/>
                <a:gd name="connsiteX32" fmla="*/ 3511 w 311866"/>
                <a:gd name="connsiteY32" fmla="*/ 24693 h 137635"/>
                <a:gd name="connsiteX33" fmla="*/ 3593 w 311866"/>
                <a:gd name="connsiteY33" fmla="*/ 24726 h 137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11866" h="137635">
                  <a:moveTo>
                    <a:pt x="3593" y="24726"/>
                  </a:moveTo>
                  <a:cubicBezTo>
                    <a:pt x="7367" y="30041"/>
                    <a:pt x="-2862" y="45549"/>
                    <a:pt x="710" y="47755"/>
                  </a:cubicBezTo>
                  <a:cubicBezTo>
                    <a:pt x="12644" y="55209"/>
                    <a:pt x="14024" y="61659"/>
                    <a:pt x="16946" y="71352"/>
                  </a:cubicBezTo>
                  <a:cubicBezTo>
                    <a:pt x="19869" y="81045"/>
                    <a:pt x="25430" y="90571"/>
                    <a:pt x="43695" y="94214"/>
                  </a:cubicBezTo>
                  <a:cubicBezTo>
                    <a:pt x="50352" y="95584"/>
                    <a:pt x="60256" y="97323"/>
                    <a:pt x="63990" y="100899"/>
                  </a:cubicBezTo>
                  <a:cubicBezTo>
                    <a:pt x="67074" y="103706"/>
                    <a:pt x="70809" y="109054"/>
                    <a:pt x="79455" y="108152"/>
                  </a:cubicBezTo>
                  <a:lnTo>
                    <a:pt x="87329" y="104809"/>
                  </a:lnTo>
                  <a:cubicBezTo>
                    <a:pt x="91915" y="104813"/>
                    <a:pt x="96462" y="105070"/>
                    <a:pt x="101008" y="105578"/>
                  </a:cubicBezTo>
                  <a:cubicBezTo>
                    <a:pt x="110708" y="105812"/>
                    <a:pt x="105473" y="112029"/>
                    <a:pt x="112576" y="113199"/>
                  </a:cubicBezTo>
                  <a:cubicBezTo>
                    <a:pt x="119679" y="114368"/>
                    <a:pt x="129786" y="113199"/>
                    <a:pt x="134697" y="117377"/>
                  </a:cubicBezTo>
                  <a:cubicBezTo>
                    <a:pt x="139608" y="121555"/>
                    <a:pt x="143992" y="128406"/>
                    <a:pt x="156575" y="125766"/>
                  </a:cubicBezTo>
                  <a:cubicBezTo>
                    <a:pt x="164937" y="124028"/>
                    <a:pt x="169929" y="126835"/>
                    <a:pt x="178331" y="127738"/>
                  </a:cubicBezTo>
                  <a:cubicBezTo>
                    <a:pt x="187667" y="128774"/>
                    <a:pt x="196272" y="126668"/>
                    <a:pt x="205323" y="128306"/>
                  </a:cubicBezTo>
                  <a:cubicBezTo>
                    <a:pt x="215227" y="130144"/>
                    <a:pt x="225618" y="129476"/>
                    <a:pt x="235441" y="131180"/>
                  </a:cubicBezTo>
                  <a:cubicBezTo>
                    <a:pt x="246197" y="133019"/>
                    <a:pt x="254194" y="135960"/>
                    <a:pt x="265640" y="137297"/>
                  </a:cubicBezTo>
                  <a:cubicBezTo>
                    <a:pt x="270348" y="132718"/>
                    <a:pt x="260729" y="127738"/>
                    <a:pt x="268684" y="123694"/>
                  </a:cubicBezTo>
                  <a:cubicBezTo>
                    <a:pt x="277533" y="119248"/>
                    <a:pt x="288005" y="115672"/>
                    <a:pt x="296529" y="111060"/>
                  </a:cubicBezTo>
                  <a:cubicBezTo>
                    <a:pt x="305946" y="105979"/>
                    <a:pt x="316255" y="107082"/>
                    <a:pt x="309274" y="98292"/>
                  </a:cubicBezTo>
                  <a:cubicBezTo>
                    <a:pt x="303835" y="91607"/>
                    <a:pt x="296772" y="87128"/>
                    <a:pt x="296772" y="79541"/>
                  </a:cubicBezTo>
                  <a:cubicBezTo>
                    <a:pt x="296772" y="77268"/>
                    <a:pt x="299898" y="72856"/>
                    <a:pt x="297543" y="70650"/>
                  </a:cubicBezTo>
                  <a:cubicBezTo>
                    <a:pt x="295189" y="68444"/>
                    <a:pt x="287558" y="66573"/>
                    <a:pt x="287680" y="63966"/>
                  </a:cubicBezTo>
                  <a:cubicBezTo>
                    <a:pt x="288167" y="56412"/>
                    <a:pt x="312521" y="58651"/>
                    <a:pt x="311790" y="49326"/>
                  </a:cubicBezTo>
                  <a:cubicBezTo>
                    <a:pt x="311831" y="46154"/>
                    <a:pt x="310005" y="43163"/>
                    <a:pt x="306879" y="41305"/>
                  </a:cubicBezTo>
                  <a:cubicBezTo>
                    <a:pt x="296001" y="35823"/>
                    <a:pt x="306270" y="31578"/>
                    <a:pt x="302536" y="26030"/>
                  </a:cubicBezTo>
                  <a:cubicBezTo>
                    <a:pt x="298802" y="20482"/>
                    <a:pt x="277695" y="20248"/>
                    <a:pt x="275990" y="16905"/>
                  </a:cubicBezTo>
                  <a:cubicBezTo>
                    <a:pt x="249728" y="18309"/>
                    <a:pt x="219652" y="15401"/>
                    <a:pt x="193674" y="12560"/>
                  </a:cubicBezTo>
                  <a:cubicBezTo>
                    <a:pt x="189778" y="12045"/>
                    <a:pt x="185881" y="11320"/>
                    <a:pt x="182106" y="10388"/>
                  </a:cubicBezTo>
                  <a:cubicBezTo>
                    <a:pt x="166398" y="7045"/>
                    <a:pt x="174962" y="10154"/>
                    <a:pt x="162136" y="12126"/>
                  </a:cubicBezTo>
                  <a:cubicBezTo>
                    <a:pt x="137295" y="15936"/>
                    <a:pt x="147889" y="4071"/>
                    <a:pt x="137782" y="1029"/>
                  </a:cubicBezTo>
                  <a:cubicBezTo>
                    <a:pt x="122277" y="-3617"/>
                    <a:pt x="81362" y="4706"/>
                    <a:pt x="68779" y="9118"/>
                  </a:cubicBezTo>
                  <a:cubicBezTo>
                    <a:pt x="55628" y="13570"/>
                    <a:pt x="41625" y="15996"/>
                    <a:pt x="27419" y="16270"/>
                  </a:cubicBezTo>
                  <a:cubicBezTo>
                    <a:pt x="20356" y="16638"/>
                    <a:pt x="6230" y="23323"/>
                    <a:pt x="3511" y="22621"/>
                  </a:cubicBezTo>
                  <a:cubicBezTo>
                    <a:pt x="3511" y="23323"/>
                    <a:pt x="3511" y="23991"/>
                    <a:pt x="3511" y="24693"/>
                  </a:cubicBezTo>
                  <a:cubicBezTo>
                    <a:pt x="5784" y="27768"/>
                    <a:pt x="3186" y="24125"/>
                    <a:pt x="3593" y="2472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BB00C525-F1E6-476D-8D00-A9BE2E7A972E}"/>
                </a:ext>
              </a:extLst>
            </p:cNvPr>
            <p:cNvSpPr/>
            <p:nvPr/>
          </p:nvSpPr>
          <p:spPr>
            <a:xfrm>
              <a:off x="6270368" y="4014879"/>
              <a:ext cx="113999" cy="58813"/>
            </a:xfrm>
            <a:custGeom>
              <a:avLst/>
              <a:gdLst>
                <a:gd name="connsiteX0" fmla="*/ 83642 w 113999"/>
                <a:gd name="connsiteY0" fmla="*/ 53194 h 58813"/>
                <a:gd name="connsiteX1" fmla="*/ 100771 w 113999"/>
                <a:gd name="connsiteY1" fmla="*/ 38120 h 58813"/>
                <a:gd name="connsiteX2" fmla="*/ 113841 w 113999"/>
                <a:gd name="connsiteY2" fmla="*/ 22879 h 58813"/>
                <a:gd name="connsiteX3" fmla="*/ 84778 w 113999"/>
                <a:gd name="connsiteY3" fmla="*/ 3694 h 58813"/>
                <a:gd name="connsiteX4" fmla="*/ 47030 w 113999"/>
                <a:gd name="connsiteY4" fmla="*/ 1321 h 58813"/>
                <a:gd name="connsiteX5" fmla="*/ 34853 w 113999"/>
                <a:gd name="connsiteY5" fmla="*/ -50 h 58813"/>
                <a:gd name="connsiteX6" fmla="*/ 14071 w 113999"/>
                <a:gd name="connsiteY6" fmla="*/ 1822 h 58813"/>
                <a:gd name="connsiteX7" fmla="*/ 1894 w 113999"/>
                <a:gd name="connsiteY7" fmla="*/ 8239 h 58813"/>
                <a:gd name="connsiteX8" fmla="*/ 14518 w 113999"/>
                <a:gd name="connsiteY8" fmla="*/ 17999 h 58813"/>
                <a:gd name="connsiteX9" fmla="*/ 40373 w 113999"/>
                <a:gd name="connsiteY9" fmla="*/ 35446 h 58813"/>
                <a:gd name="connsiteX10" fmla="*/ 82262 w 113999"/>
                <a:gd name="connsiteY10" fmla="*/ 58475 h 58813"/>
                <a:gd name="connsiteX11" fmla="*/ 83804 w 113999"/>
                <a:gd name="connsiteY11" fmla="*/ 53194 h 58813"/>
                <a:gd name="connsiteX12" fmla="*/ 83642 w 113999"/>
                <a:gd name="connsiteY12" fmla="*/ 53194 h 5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99" h="58813">
                  <a:moveTo>
                    <a:pt x="83642" y="53194"/>
                  </a:moveTo>
                  <a:cubicBezTo>
                    <a:pt x="82100" y="48548"/>
                    <a:pt x="95575" y="41128"/>
                    <a:pt x="100771" y="38120"/>
                  </a:cubicBezTo>
                  <a:cubicBezTo>
                    <a:pt x="110228" y="32605"/>
                    <a:pt x="112948" y="31603"/>
                    <a:pt x="113841" y="22879"/>
                  </a:cubicBezTo>
                  <a:cubicBezTo>
                    <a:pt x="115018" y="11782"/>
                    <a:pt x="105723" y="6869"/>
                    <a:pt x="84778" y="3694"/>
                  </a:cubicBezTo>
                  <a:cubicBezTo>
                    <a:pt x="73008" y="1922"/>
                    <a:pt x="59126" y="2290"/>
                    <a:pt x="47030" y="1321"/>
                  </a:cubicBezTo>
                  <a:cubicBezTo>
                    <a:pt x="42931" y="1120"/>
                    <a:pt x="38872" y="662"/>
                    <a:pt x="34853" y="-50"/>
                  </a:cubicBezTo>
                  <a:cubicBezTo>
                    <a:pt x="27506" y="-1754"/>
                    <a:pt x="20931" y="4763"/>
                    <a:pt x="14071" y="1822"/>
                  </a:cubicBezTo>
                  <a:cubicBezTo>
                    <a:pt x="5953" y="-1721"/>
                    <a:pt x="-4438" y="4162"/>
                    <a:pt x="1894" y="8239"/>
                  </a:cubicBezTo>
                  <a:cubicBezTo>
                    <a:pt x="6522" y="11314"/>
                    <a:pt x="14640" y="13520"/>
                    <a:pt x="14518" y="17999"/>
                  </a:cubicBezTo>
                  <a:cubicBezTo>
                    <a:pt x="14518" y="25152"/>
                    <a:pt x="42038" y="29463"/>
                    <a:pt x="40373" y="35446"/>
                  </a:cubicBezTo>
                  <a:cubicBezTo>
                    <a:pt x="38994" y="40861"/>
                    <a:pt x="75606" y="55500"/>
                    <a:pt x="82262" y="58475"/>
                  </a:cubicBezTo>
                  <a:cubicBezTo>
                    <a:pt x="83277" y="56841"/>
                    <a:pt x="83804" y="55029"/>
                    <a:pt x="83804" y="53194"/>
                  </a:cubicBezTo>
                  <a:cubicBezTo>
                    <a:pt x="82506" y="49785"/>
                    <a:pt x="83926" y="54097"/>
                    <a:pt x="83642" y="5319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D1F8D5AE-C52D-4D57-B5AF-80C701E8B4C8}"/>
                </a:ext>
              </a:extLst>
            </p:cNvPr>
            <p:cNvSpPr/>
            <p:nvPr/>
          </p:nvSpPr>
          <p:spPr>
            <a:xfrm>
              <a:off x="6211771" y="3988098"/>
              <a:ext cx="172294" cy="78776"/>
            </a:xfrm>
            <a:custGeom>
              <a:avLst/>
              <a:gdLst>
                <a:gd name="connsiteX0" fmla="*/ 98970 w 172294"/>
                <a:gd name="connsiteY0" fmla="*/ 62327 h 78776"/>
                <a:gd name="connsiteX1" fmla="*/ 86306 w 172294"/>
                <a:gd name="connsiteY1" fmla="*/ 54606 h 78776"/>
                <a:gd name="connsiteX2" fmla="*/ 71775 w 172294"/>
                <a:gd name="connsiteY2" fmla="*/ 41839 h 78776"/>
                <a:gd name="connsiteX3" fmla="*/ 58421 w 172294"/>
                <a:gd name="connsiteY3" fmla="*/ 32981 h 78776"/>
                <a:gd name="connsiteX4" fmla="*/ 82775 w 172294"/>
                <a:gd name="connsiteY4" fmla="*/ 28169 h 78776"/>
                <a:gd name="connsiteX5" fmla="*/ 130183 w 172294"/>
                <a:gd name="connsiteY5" fmla="*/ 29840 h 78776"/>
                <a:gd name="connsiteX6" fmla="*/ 172235 w 172294"/>
                <a:gd name="connsiteY6" fmla="*/ 39131 h 78776"/>
                <a:gd name="connsiteX7" fmla="*/ 166430 w 172294"/>
                <a:gd name="connsiteY7" fmla="*/ 25194 h 78776"/>
                <a:gd name="connsiteX8" fmla="*/ 153035 w 172294"/>
                <a:gd name="connsiteY8" fmla="*/ 12426 h 78776"/>
                <a:gd name="connsiteX9" fmla="*/ 112730 w 172294"/>
                <a:gd name="connsiteY9" fmla="*/ 11156 h 78776"/>
                <a:gd name="connsiteX10" fmla="*/ 72911 w 172294"/>
                <a:gd name="connsiteY10" fmla="*/ 1697 h 78776"/>
                <a:gd name="connsiteX11" fmla="*/ 49004 w 172294"/>
                <a:gd name="connsiteY11" fmla="*/ 14097 h 78776"/>
                <a:gd name="connsiteX12" fmla="*/ 34148 w 172294"/>
                <a:gd name="connsiteY12" fmla="*/ 20247 h 78776"/>
                <a:gd name="connsiteX13" fmla="*/ 11986 w 172294"/>
                <a:gd name="connsiteY13" fmla="*/ 20648 h 78776"/>
                <a:gd name="connsiteX14" fmla="*/ 17668 w 172294"/>
                <a:gd name="connsiteY14" fmla="*/ 29205 h 78776"/>
                <a:gd name="connsiteX15" fmla="*/ 43524 w 172294"/>
                <a:gd name="connsiteY15" fmla="*/ 48991 h 78776"/>
                <a:gd name="connsiteX16" fmla="*/ 58177 w 172294"/>
                <a:gd name="connsiteY16" fmla="*/ 59018 h 78776"/>
                <a:gd name="connsiteX17" fmla="*/ 81435 w 172294"/>
                <a:gd name="connsiteY17" fmla="*/ 64968 h 78776"/>
                <a:gd name="connsiteX18" fmla="*/ 95520 w 172294"/>
                <a:gd name="connsiteY18" fmla="*/ 72956 h 78776"/>
                <a:gd name="connsiteX19" fmla="*/ 124460 w 172294"/>
                <a:gd name="connsiteY19" fmla="*/ 78438 h 78776"/>
                <a:gd name="connsiteX20" fmla="*/ 98807 w 172294"/>
                <a:gd name="connsiteY20" fmla="*/ 62294 h 78776"/>
                <a:gd name="connsiteX21" fmla="*/ 98970 w 172294"/>
                <a:gd name="connsiteY21" fmla="*/ 62327 h 7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2294" h="78776">
                  <a:moveTo>
                    <a:pt x="98970" y="62327"/>
                  </a:moveTo>
                  <a:cubicBezTo>
                    <a:pt x="99660" y="59854"/>
                    <a:pt x="89026" y="55943"/>
                    <a:pt x="86306" y="54606"/>
                  </a:cubicBezTo>
                  <a:cubicBezTo>
                    <a:pt x="77376" y="50161"/>
                    <a:pt x="76727" y="47120"/>
                    <a:pt x="71775" y="41839"/>
                  </a:cubicBezTo>
                  <a:cubicBezTo>
                    <a:pt x="68731" y="38496"/>
                    <a:pt x="59598" y="36658"/>
                    <a:pt x="58421" y="32981"/>
                  </a:cubicBezTo>
                  <a:cubicBezTo>
                    <a:pt x="55580" y="24960"/>
                    <a:pt x="76524" y="30040"/>
                    <a:pt x="82775" y="28169"/>
                  </a:cubicBezTo>
                  <a:cubicBezTo>
                    <a:pt x="94627" y="24826"/>
                    <a:pt x="116951" y="29071"/>
                    <a:pt x="130183" y="29840"/>
                  </a:cubicBezTo>
                  <a:cubicBezTo>
                    <a:pt x="144837" y="30481"/>
                    <a:pt x="159164" y="33647"/>
                    <a:pt x="172235" y="39131"/>
                  </a:cubicBezTo>
                  <a:cubicBezTo>
                    <a:pt x="171585" y="35488"/>
                    <a:pt x="170286" y="28336"/>
                    <a:pt x="166430" y="25194"/>
                  </a:cubicBezTo>
                  <a:cubicBezTo>
                    <a:pt x="159895" y="19913"/>
                    <a:pt x="154253" y="19813"/>
                    <a:pt x="153035" y="12426"/>
                  </a:cubicBezTo>
                  <a:cubicBezTo>
                    <a:pt x="140006" y="14164"/>
                    <a:pt x="125029" y="15568"/>
                    <a:pt x="112730" y="11156"/>
                  </a:cubicBezTo>
                  <a:cubicBezTo>
                    <a:pt x="97590" y="5708"/>
                    <a:pt x="90527" y="-4754"/>
                    <a:pt x="72911" y="1697"/>
                  </a:cubicBezTo>
                  <a:cubicBezTo>
                    <a:pt x="61424" y="5908"/>
                    <a:pt x="58015" y="9251"/>
                    <a:pt x="49004" y="14097"/>
                  </a:cubicBezTo>
                  <a:cubicBezTo>
                    <a:pt x="42550" y="17439"/>
                    <a:pt x="45229" y="21784"/>
                    <a:pt x="34148" y="20247"/>
                  </a:cubicBezTo>
                  <a:cubicBezTo>
                    <a:pt x="26761" y="19442"/>
                    <a:pt x="19292" y="19579"/>
                    <a:pt x="11986" y="20648"/>
                  </a:cubicBezTo>
                  <a:cubicBezTo>
                    <a:pt x="-10460" y="22520"/>
                    <a:pt x="2610" y="28035"/>
                    <a:pt x="17668" y="29205"/>
                  </a:cubicBezTo>
                  <a:cubicBezTo>
                    <a:pt x="31834" y="30341"/>
                    <a:pt x="35772" y="43109"/>
                    <a:pt x="43524" y="48991"/>
                  </a:cubicBezTo>
                  <a:cubicBezTo>
                    <a:pt x="48192" y="52534"/>
                    <a:pt x="53103" y="55880"/>
                    <a:pt x="58177" y="59018"/>
                  </a:cubicBezTo>
                  <a:cubicBezTo>
                    <a:pt x="64347" y="62862"/>
                    <a:pt x="74413" y="62361"/>
                    <a:pt x="81435" y="64968"/>
                  </a:cubicBezTo>
                  <a:cubicBezTo>
                    <a:pt x="87564" y="67307"/>
                    <a:pt x="86996" y="70884"/>
                    <a:pt x="95520" y="72956"/>
                  </a:cubicBezTo>
                  <a:cubicBezTo>
                    <a:pt x="105342" y="75329"/>
                    <a:pt x="115165" y="75095"/>
                    <a:pt x="124460" y="78438"/>
                  </a:cubicBezTo>
                  <a:cubicBezTo>
                    <a:pt x="120726" y="75363"/>
                    <a:pt x="97915" y="65837"/>
                    <a:pt x="98807" y="62294"/>
                  </a:cubicBezTo>
                  <a:cubicBezTo>
                    <a:pt x="99619" y="59252"/>
                    <a:pt x="98280" y="64333"/>
                    <a:pt x="98970" y="6232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0CAE6208-D69C-42FD-9F91-7EB285D546B7}"/>
                </a:ext>
              </a:extLst>
            </p:cNvPr>
            <p:cNvSpPr/>
            <p:nvPr/>
          </p:nvSpPr>
          <p:spPr>
            <a:xfrm>
              <a:off x="6377195" y="4071988"/>
              <a:ext cx="54753" cy="62869"/>
            </a:xfrm>
            <a:custGeom>
              <a:avLst/>
              <a:gdLst>
                <a:gd name="connsiteX0" fmla="*/ 35629 w 54753"/>
                <a:gd name="connsiteY0" fmla="*/ 53640 h 62869"/>
                <a:gd name="connsiteX1" fmla="*/ 53164 w 54753"/>
                <a:gd name="connsiteY1" fmla="*/ 40739 h 62869"/>
                <a:gd name="connsiteX2" fmla="*/ 40541 w 54753"/>
                <a:gd name="connsiteY2" fmla="*/ 29241 h 62869"/>
                <a:gd name="connsiteX3" fmla="*/ 42529 w 54753"/>
                <a:gd name="connsiteY3" fmla="*/ 8820 h 62869"/>
                <a:gd name="connsiteX4" fmla="*/ 15131 w 54753"/>
                <a:gd name="connsiteY4" fmla="*/ -339 h 62869"/>
                <a:gd name="connsiteX5" fmla="*/ 6080 w 54753"/>
                <a:gd name="connsiteY5" fmla="*/ 3238 h 62869"/>
                <a:gd name="connsiteX6" fmla="*/ 6973 w 54753"/>
                <a:gd name="connsiteY6" fmla="*/ 14134 h 62869"/>
                <a:gd name="connsiteX7" fmla="*/ 763 w 54753"/>
                <a:gd name="connsiteY7" fmla="*/ 29776 h 62869"/>
                <a:gd name="connsiteX8" fmla="*/ 26050 w 54753"/>
                <a:gd name="connsiteY8" fmla="*/ 62531 h 62869"/>
                <a:gd name="connsiteX9" fmla="*/ 35629 w 54753"/>
                <a:gd name="connsiteY9" fmla="*/ 53640 h 6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53" h="62869">
                  <a:moveTo>
                    <a:pt x="35629" y="53640"/>
                  </a:moveTo>
                  <a:cubicBezTo>
                    <a:pt x="40459" y="53273"/>
                    <a:pt x="50810" y="42978"/>
                    <a:pt x="53164" y="40739"/>
                  </a:cubicBezTo>
                  <a:cubicBezTo>
                    <a:pt x="59130" y="35090"/>
                    <a:pt x="46101" y="34054"/>
                    <a:pt x="40541" y="29241"/>
                  </a:cubicBezTo>
                  <a:cubicBezTo>
                    <a:pt x="33843" y="23392"/>
                    <a:pt x="38795" y="14568"/>
                    <a:pt x="42529" y="8820"/>
                  </a:cubicBezTo>
                  <a:cubicBezTo>
                    <a:pt x="35629" y="5911"/>
                    <a:pt x="24305" y="-105"/>
                    <a:pt x="15131" y="-339"/>
                  </a:cubicBezTo>
                  <a:cubicBezTo>
                    <a:pt x="11681" y="-88"/>
                    <a:pt x="8474" y="1182"/>
                    <a:pt x="6080" y="3238"/>
                  </a:cubicBezTo>
                  <a:cubicBezTo>
                    <a:pt x="-1348" y="8686"/>
                    <a:pt x="-2688" y="9922"/>
                    <a:pt x="6973" y="14134"/>
                  </a:cubicBezTo>
                  <a:cubicBezTo>
                    <a:pt x="18135" y="18880"/>
                    <a:pt x="2914" y="24395"/>
                    <a:pt x="763" y="29776"/>
                  </a:cubicBezTo>
                  <a:cubicBezTo>
                    <a:pt x="-3296" y="39803"/>
                    <a:pt x="8069" y="57350"/>
                    <a:pt x="26050" y="62531"/>
                  </a:cubicBezTo>
                  <a:cubicBezTo>
                    <a:pt x="27552" y="60325"/>
                    <a:pt x="29663" y="54075"/>
                    <a:pt x="35629" y="5364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81AF816D-248E-40C7-89AF-25691C7E3A53}"/>
                </a:ext>
              </a:extLst>
            </p:cNvPr>
            <p:cNvSpPr/>
            <p:nvPr/>
          </p:nvSpPr>
          <p:spPr>
            <a:xfrm>
              <a:off x="6080322" y="3930777"/>
              <a:ext cx="237694" cy="57088"/>
            </a:xfrm>
            <a:custGeom>
              <a:avLst/>
              <a:gdLst>
                <a:gd name="connsiteX0" fmla="*/ 203062 w 237694"/>
                <a:gd name="connsiteY0" fmla="*/ 5372 h 57088"/>
                <a:gd name="connsiteX1" fmla="*/ 172173 w 237694"/>
                <a:gd name="connsiteY1" fmla="*/ 1228 h 57088"/>
                <a:gd name="connsiteX2" fmla="*/ 138768 w 237694"/>
                <a:gd name="connsiteY2" fmla="*/ 8213 h 57088"/>
                <a:gd name="connsiteX3" fmla="*/ 111613 w 237694"/>
                <a:gd name="connsiteY3" fmla="*/ 17438 h 57088"/>
                <a:gd name="connsiteX4" fmla="*/ 101425 w 237694"/>
                <a:gd name="connsiteY4" fmla="*/ 30808 h 57088"/>
                <a:gd name="connsiteX5" fmla="*/ 65462 w 237694"/>
                <a:gd name="connsiteY5" fmla="*/ 31443 h 57088"/>
                <a:gd name="connsiteX6" fmla="*/ 48374 w 237694"/>
                <a:gd name="connsiteY6" fmla="*/ 34785 h 57088"/>
                <a:gd name="connsiteX7" fmla="*/ 27146 w 237694"/>
                <a:gd name="connsiteY7" fmla="*/ 33114 h 57088"/>
                <a:gd name="connsiteX8" fmla="*/ 14401 w 237694"/>
                <a:gd name="connsiteY8" fmla="*/ 35153 h 57088"/>
                <a:gd name="connsiteX9" fmla="*/ -50 w 237694"/>
                <a:gd name="connsiteY9" fmla="*/ 36724 h 57088"/>
                <a:gd name="connsiteX10" fmla="*/ 31083 w 237694"/>
                <a:gd name="connsiteY10" fmla="*/ 46751 h 57088"/>
                <a:gd name="connsiteX11" fmla="*/ 87909 w 237694"/>
                <a:gd name="connsiteY11" fmla="*/ 48890 h 57088"/>
                <a:gd name="connsiteX12" fmla="*/ 136007 w 237694"/>
                <a:gd name="connsiteY12" fmla="*/ 54472 h 57088"/>
                <a:gd name="connsiteX13" fmla="*/ 159590 w 237694"/>
                <a:gd name="connsiteY13" fmla="*/ 56243 h 57088"/>
                <a:gd name="connsiteX14" fmla="*/ 183944 w 237694"/>
                <a:gd name="connsiteY14" fmla="*/ 51831 h 57088"/>
                <a:gd name="connsiteX15" fmla="*/ 203833 w 237694"/>
                <a:gd name="connsiteY15" fmla="*/ 48790 h 57088"/>
                <a:gd name="connsiteX16" fmla="*/ 211951 w 237694"/>
                <a:gd name="connsiteY16" fmla="*/ 44545 h 57088"/>
                <a:gd name="connsiteX17" fmla="*/ 226523 w 237694"/>
                <a:gd name="connsiteY17" fmla="*/ 30841 h 57088"/>
                <a:gd name="connsiteX18" fmla="*/ 232854 w 237694"/>
                <a:gd name="connsiteY18" fmla="*/ 14530 h 57088"/>
                <a:gd name="connsiteX19" fmla="*/ 226198 w 237694"/>
                <a:gd name="connsiteY19" fmla="*/ 7846 h 57088"/>
                <a:gd name="connsiteX20" fmla="*/ 203102 w 237694"/>
                <a:gd name="connsiteY20" fmla="*/ 5439 h 5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694" h="57088">
                  <a:moveTo>
                    <a:pt x="203062" y="5372"/>
                  </a:moveTo>
                  <a:cubicBezTo>
                    <a:pt x="199003" y="2866"/>
                    <a:pt x="174649" y="-3184"/>
                    <a:pt x="172173" y="1228"/>
                  </a:cubicBezTo>
                  <a:cubicBezTo>
                    <a:pt x="167261" y="10286"/>
                    <a:pt x="155369" y="10720"/>
                    <a:pt x="138768" y="8213"/>
                  </a:cubicBezTo>
                  <a:cubicBezTo>
                    <a:pt x="133694" y="11556"/>
                    <a:pt x="119122" y="15232"/>
                    <a:pt x="111613" y="17438"/>
                  </a:cubicBezTo>
                  <a:cubicBezTo>
                    <a:pt x="101790" y="20313"/>
                    <a:pt x="115672" y="32646"/>
                    <a:pt x="101425" y="30808"/>
                  </a:cubicBezTo>
                  <a:cubicBezTo>
                    <a:pt x="88842" y="29337"/>
                    <a:pt x="78167" y="28435"/>
                    <a:pt x="65462" y="31443"/>
                  </a:cubicBezTo>
                  <a:cubicBezTo>
                    <a:pt x="59211" y="32913"/>
                    <a:pt x="56127" y="35520"/>
                    <a:pt x="48374" y="34785"/>
                  </a:cubicBezTo>
                  <a:cubicBezTo>
                    <a:pt x="40621" y="34050"/>
                    <a:pt x="35061" y="31008"/>
                    <a:pt x="27146" y="33114"/>
                  </a:cubicBezTo>
                  <a:cubicBezTo>
                    <a:pt x="21301" y="34685"/>
                    <a:pt x="21706" y="37693"/>
                    <a:pt x="14401" y="35153"/>
                  </a:cubicBezTo>
                  <a:cubicBezTo>
                    <a:pt x="8312" y="33014"/>
                    <a:pt x="154" y="30741"/>
                    <a:pt x="-50" y="36724"/>
                  </a:cubicBezTo>
                  <a:cubicBezTo>
                    <a:pt x="-537" y="48856"/>
                    <a:pt x="16958" y="43408"/>
                    <a:pt x="31083" y="46751"/>
                  </a:cubicBezTo>
                  <a:cubicBezTo>
                    <a:pt x="51378" y="51230"/>
                    <a:pt x="76746" y="35420"/>
                    <a:pt x="87909" y="48890"/>
                  </a:cubicBezTo>
                  <a:cubicBezTo>
                    <a:pt x="92536" y="54472"/>
                    <a:pt x="125901" y="53201"/>
                    <a:pt x="136007" y="54472"/>
                  </a:cubicBezTo>
                  <a:cubicBezTo>
                    <a:pt x="142705" y="55307"/>
                    <a:pt x="152730" y="57814"/>
                    <a:pt x="159590" y="56243"/>
                  </a:cubicBezTo>
                  <a:cubicBezTo>
                    <a:pt x="167708" y="54438"/>
                    <a:pt x="174568" y="51697"/>
                    <a:pt x="183944" y="51831"/>
                  </a:cubicBezTo>
                  <a:cubicBezTo>
                    <a:pt x="190722" y="51778"/>
                    <a:pt x="197460" y="50748"/>
                    <a:pt x="203833" y="48790"/>
                  </a:cubicBezTo>
                  <a:cubicBezTo>
                    <a:pt x="207445" y="47854"/>
                    <a:pt x="207648" y="44779"/>
                    <a:pt x="211951" y="44545"/>
                  </a:cubicBezTo>
                  <a:cubicBezTo>
                    <a:pt x="223803" y="43910"/>
                    <a:pt x="209718" y="30373"/>
                    <a:pt x="226523" y="30841"/>
                  </a:cubicBezTo>
                  <a:cubicBezTo>
                    <a:pt x="244382" y="31343"/>
                    <a:pt x="236142" y="18541"/>
                    <a:pt x="232854" y="14530"/>
                  </a:cubicBezTo>
                  <a:cubicBezTo>
                    <a:pt x="231678" y="13060"/>
                    <a:pt x="229851" y="7344"/>
                    <a:pt x="226198" y="7846"/>
                  </a:cubicBezTo>
                  <a:cubicBezTo>
                    <a:pt x="218567" y="8915"/>
                    <a:pt x="208826" y="8949"/>
                    <a:pt x="203102" y="54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31E3BCDC-89DE-4746-B2C1-6F1908D7D113}"/>
                </a:ext>
              </a:extLst>
            </p:cNvPr>
            <p:cNvSpPr/>
            <p:nvPr/>
          </p:nvSpPr>
          <p:spPr>
            <a:xfrm>
              <a:off x="6289492" y="3943352"/>
              <a:ext cx="206623" cy="58577"/>
            </a:xfrm>
            <a:custGeom>
              <a:avLst/>
              <a:gdLst>
                <a:gd name="connsiteX0" fmla="*/ 203172 w 206623"/>
                <a:gd name="connsiteY0" fmla="*/ 12885 h 58577"/>
                <a:gd name="connsiteX1" fmla="*/ 148255 w 206623"/>
                <a:gd name="connsiteY1" fmla="*/ -117 h 58577"/>
                <a:gd name="connsiteX2" fmla="*/ 114524 w 206623"/>
                <a:gd name="connsiteY2" fmla="*/ 8574 h 58577"/>
                <a:gd name="connsiteX3" fmla="*/ 31194 w 206623"/>
                <a:gd name="connsiteY3" fmla="*/ 9409 h 58577"/>
                <a:gd name="connsiteX4" fmla="*/ 21939 w 206623"/>
                <a:gd name="connsiteY4" fmla="*/ 17966 h 58577"/>
                <a:gd name="connsiteX5" fmla="*/ 9478 w 206623"/>
                <a:gd name="connsiteY5" fmla="*/ 21676 h 58577"/>
                <a:gd name="connsiteX6" fmla="*/ 2050 w 206623"/>
                <a:gd name="connsiteY6" fmla="*/ 39323 h 58577"/>
                <a:gd name="connsiteX7" fmla="*/ 72068 w 206623"/>
                <a:gd name="connsiteY7" fmla="*/ 57505 h 58577"/>
                <a:gd name="connsiteX8" fmla="*/ 109369 w 206623"/>
                <a:gd name="connsiteY8" fmla="*/ 52392 h 58577"/>
                <a:gd name="connsiteX9" fmla="*/ 145535 w 206623"/>
                <a:gd name="connsiteY9" fmla="*/ 52392 h 58577"/>
                <a:gd name="connsiteX10" fmla="*/ 176221 w 206623"/>
                <a:gd name="connsiteY10" fmla="*/ 30132 h 58577"/>
                <a:gd name="connsiteX11" fmla="*/ 203172 w 206623"/>
                <a:gd name="connsiteY11" fmla="*/ 13052 h 5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623" h="58577">
                  <a:moveTo>
                    <a:pt x="203172" y="12885"/>
                  </a:moveTo>
                  <a:cubicBezTo>
                    <a:pt x="184339" y="8874"/>
                    <a:pt x="168225" y="2858"/>
                    <a:pt x="148255" y="-117"/>
                  </a:cubicBezTo>
                  <a:cubicBezTo>
                    <a:pt x="135225" y="-2022"/>
                    <a:pt x="127351" y="8975"/>
                    <a:pt x="114524" y="8574"/>
                  </a:cubicBezTo>
                  <a:cubicBezTo>
                    <a:pt x="88750" y="7805"/>
                    <a:pt x="52422" y="25586"/>
                    <a:pt x="31194" y="9409"/>
                  </a:cubicBezTo>
                  <a:cubicBezTo>
                    <a:pt x="26364" y="11648"/>
                    <a:pt x="28271" y="16963"/>
                    <a:pt x="21939" y="17966"/>
                  </a:cubicBezTo>
                  <a:cubicBezTo>
                    <a:pt x="14471" y="19169"/>
                    <a:pt x="8545" y="15860"/>
                    <a:pt x="9478" y="21676"/>
                  </a:cubicBezTo>
                  <a:cubicBezTo>
                    <a:pt x="10818" y="30265"/>
                    <a:pt x="-5784" y="31703"/>
                    <a:pt x="2050" y="39323"/>
                  </a:cubicBezTo>
                  <a:cubicBezTo>
                    <a:pt x="14552" y="51222"/>
                    <a:pt x="44954" y="61048"/>
                    <a:pt x="72068" y="57505"/>
                  </a:cubicBezTo>
                  <a:cubicBezTo>
                    <a:pt x="82621" y="56102"/>
                    <a:pt x="98451" y="51924"/>
                    <a:pt x="109369" y="52392"/>
                  </a:cubicBezTo>
                  <a:cubicBezTo>
                    <a:pt x="126377" y="53127"/>
                    <a:pt x="129299" y="57840"/>
                    <a:pt x="145535" y="52392"/>
                  </a:cubicBezTo>
                  <a:cubicBezTo>
                    <a:pt x="160188" y="47311"/>
                    <a:pt x="167535" y="37819"/>
                    <a:pt x="176221" y="30132"/>
                  </a:cubicBezTo>
                  <a:cubicBezTo>
                    <a:pt x="181132" y="25686"/>
                    <a:pt x="217704" y="16161"/>
                    <a:pt x="203172" y="1305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4C07BCDF-5623-4D0F-8741-73FDAF95E3B8}"/>
                </a:ext>
              </a:extLst>
            </p:cNvPr>
            <p:cNvSpPr/>
            <p:nvPr/>
          </p:nvSpPr>
          <p:spPr>
            <a:xfrm>
              <a:off x="6170692" y="3886353"/>
              <a:ext cx="199978" cy="55817"/>
            </a:xfrm>
            <a:custGeom>
              <a:avLst/>
              <a:gdLst>
                <a:gd name="connsiteX0" fmla="*/ 189406 w 199978"/>
                <a:gd name="connsiteY0" fmla="*/ 26601 h 55817"/>
                <a:gd name="connsiteX1" fmla="*/ 166554 w 199978"/>
                <a:gd name="connsiteY1" fmla="*/ 20651 h 55817"/>
                <a:gd name="connsiteX2" fmla="*/ 137695 w 199978"/>
                <a:gd name="connsiteY2" fmla="*/ 19515 h 55817"/>
                <a:gd name="connsiteX3" fmla="*/ 119754 w 199978"/>
                <a:gd name="connsiteY3" fmla="*/ 10658 h 55817"/>
                <a:gd name="connsiteX4" fmla="*/ 82858 w 199978"/>
                <a:gd name="connsiteY4" fmla="*/ -339 h 55817"/>
                <a:gd name="connsiteX5" fmla="*/ 59722 w 199978"/>
                <a:gd name="connsiteY5" fmla="*/ 2736 h 55817"/>
                <a:gd name="connsiteX6" fmla="*/ 15763 w 199978"/>
                <a:gd name="connsiteY6" fmla="*/ 12596 h 55817"/>
                <a:gd name="connsiteX7" fmla="*/ 5778 w 199978"/>
                <a:gd name="connsiteY7" fmla="*/ 25966 h 55817"/>
                <a:gd name="connsiteX8" fmla="*/ 27981 w 199978"/>
                <a:gd name="connsiteY8" fmla="*/ 42677 h 55817"/>
                <a:gd name="connsiteX9" fmla="*/ 48276 w 199978"/>
                <a:gd name="connsiteY9" fmla="*/ 52705 h 55817"/>
                <a:gd name="connsiteX10" fmla="*/ 81681 w 199978"/>
                <a:gd name="connsiteY10" fmla="*/ 45719 h 55817"/>
                <a:gd name="connsiteX11" fmla="*/ 112570 w 199978"/>
                <a:gd name="connsiteY11" fmla="*/ 49864 h 55817"/>
                <a:gd name="connsiteX12" fmla="*/ 139684 w 199978"/>
                <a:gd name="connsiteY12" fmla="*/ 55479 h 55817"/>
                <a:gd name="connsiteX13" fmla="*/ 168097 w 199978"/>
                <a:gd name="connsiteY13" fmla="*/ 48025 h 55817"/>
                <a:gd name="connsiteX14" fmla="*/ 199919 w 199978"/>
                <a:gd name="connsiteY14" fmla="*/ 35090 h 55817"/>
                <a:gd name="connsiteX15" fmla="*/ 189366 w 199978"/>
                <a:gd name="connsiteY15" fmla="*/ 26668 h 55817"/>
                <a:gd name="connsiteX16" fmla="*/ 189406 w 199978"/>
                <a:gd name="connsiteY16" fmla="*/ 26601 h 5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9978" h="55817">
                  <a:moveTo>
                    <a:pt x="189406" y="26601"/>
                  </a:moveTo>
                  <a:cubicBezTo>
                    <a:pt x="180030" y="23459"/>
                    <a:pt x="170288" y="27169"/>
                    <a:pt x="166554" y="20651"/>
                  </a:cubicBezTo>
                  <a:cubicBezTo>
                    <a:pt x="161521" y="11828"/>
                    <a:pt x="145245" y="18713"/>
                    <a:pt x="137695" y="19515"/>
                  </a:cubicBezTo>
                  <a:cubicBezTo>
                    <a:pt x="126979" y="20651"/>
                    <a:pt x="125072" y="13298"/>
                    <a:pt x="119754" y="10658"/>
                  </a:cubicBezTo>
                  <a:cubicBezTo>
                    <a:pt x="109647" y="5711"/>
                    <a:pt x="94061" y="3973"/>
                    <a:pt x="82858" y="-339"/>
                  </a:cubicBezTo>
                  <a:cubicBezTo>
                    <a:pt x="79976" y="3405"/>
                    <a:pt x="66622" y="1266"/>
                    <a:pt x="59722" y="2736"/>
                  </a:cubicBezTo>
                  <a:cubicBezTo>
                    <a:pt x="45110" y="5778"/>
                    <a:pt x="30863" y="10424"/>
                    <a:pt x="15763" y="12596"/>
                  </a:cubicBezTo>
                  <a:cubicBezTo>
                    <a:pt x="-7860" y="15939"/>
                    <a:pt x="542" y="15939"/>
                    <a:pt x="5778" y="25966"/>
                  </a:cubicBezTo>
                  <a:cubicBezTo>
                    <a:pt x="10365" y="34723"/>
                    <a:pt x="13896" y="37463"/>
                    <a:pt x="27981" y="42677"/>
                  </a:cubicBezTo>
                  <a:cubicBezTo>
                    <a:pt x="30741" y="43680"/>
                    <a:pt x="52091" y="50331"/>
                    <a:pt x="48276" y="52705"/>
                  </a:cubicBezTo>
                  <a:cubicBezTo>
                    <a:pt x="64877" y="55211"/>
                    <a:pt x="76689" y="54777"/>
                    <a:pt x="81681" y="45719"/>
                  </a:cubicBezTo>
                  <a:cubicBezTo>
                    <a:pt x="84076" y="41307"/>
                    <a:pt x="108511" y="47357"/>
                    <a:pt x="112570" y="49864"/>
                  </a:cubicBezTo>
                  <a:cubicBezTo>
                    <a:pt x="122839" y="56114"/>
                    <a:pt x="134894" y="48560"/>
                    <a:pt x="139684" y="55479"/>
                  </a:cubicBezTo>
                  <a:cubicBezTo>
                    <a:pt x="145854" y="48527"/>
                    <a:pt x="156448" y="50766"/>
                    <a:pt x="168097" y="48025"/>
                  </a:cubicBezTo>
                  <a:cubicBezTo>
                    <a:pt x="180274" y="45117"/>
                    <a:pt x="187377" y="38332"/>
                    <a:pt x="199919" y="35090"/>
                  </a:cubicBezTo>
                  <a:cubicBezTo>
                    <a:pt x="196307" y="32617"/>
                    <a:pt x="194602" y="28405"/>
                    <a:pt x="189366" y="26668"/>
                  </a:cubicBezTo>
                  <a:cubicBezTo>
                    <a:pt x="184130" y="24930"/>
                    <a:pt x="193587" y="28038"/>
                    <a:pt x="189406" y="266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793D860D-7875-46EE-86A8-5EF9492AB358}"/>
                </a:ext>
              </a:extLst>
            </p:cNvPr>
            <p:cNvSpPr/>
            <p:nvPr/>
          </p:nvSpPr>
          <p:spPr>
            <a:xfrm>
              <a:off x="6311144" y="3922767"/>
              <a:ext cx="183284" cy="36936"/>
            </a:xfrm>
            <a:custGeom>
              <a:avLst/>
              <a:gdLst>
                <a:gd name="connsiteX0" fmla="*/ 136343 w 183284"/>
                <a:gd name="connsiteY0" fmla="*/ 4659 h 36936"/>
                <a:gd name="connsiteX1" fmla="*/ 117510 w 183284"/>
                <a:gd name="connsiteY1" fmla="*/ 2420 h 36936"/>
                <a:gd name="connsiteX2" fmla="*/ 88772 w 183284"/>
                <a:gd name="connsiteY2" fmla="*/ 1518 h 36936"/>
                <a:gd name="connsiteX3" fmla="*/ 45910 w 183284"/>
                <a:gd name="connsiteY3" fmla="*/ 3155 h 36936"/>
                <a:gd name="connsiteX4" fmla="*/ 27685 w 183284"/>
                <a:gd name="connsiteY4" fmla="*/ 11545 h 36936"/>
                <a:gd name="connsiteX5" fmla="*/ 3331 w 183284"/>
                <a:gd name="connsiteY5" fmla="*/ 15388 h 36936"/>
                <a:gd name="connsiteX6" fmla="*/ 29389 w 183284"/>
                <a:gd name="connsiteY6" fmla="*/ 36011 h 36936"/>
                <a:gd name="connsiteX7" fmla="*/ 59223 w 183284"/>
                <a:gd name="connsiteY7" fmla="*/ 32468 h 36936"/>
                <a:gd name="connsiteX8" fmla="*/ 95753 w 183284"/>
                <a:gd name="connsiteY8" fmla="*/ 28791 h 36936"/>
                <a:gd name="connsiteX9" fmla="*/ 126399 w 183284"/>
                <a:gd name="connsiteY9" fmla="*/ 20469 h 36936"/>
                <a:gd name="connsiteX10" fmla="*/ 173767 w 183284"/>
                <a:gd name="connsiteY10" fmla="*/ 30730 h 36936"/>
                <a:gd name="connsiteX11" fmla="*/ 183225 w 183284"/>
                <a:gd name="connsiteY11" fmla="*/ 12180 h 36936"/>
                <a:gd name="connsiteX12" fmla="*/ 136141 w 183284"/>
                <a:gd name="connsiteY12" fmla="*/ 4659 h 36936"/>
                <a:gd name="connsiteX13" fmla="*/ 136343 w 183284"/>
                <a:gd name="connsiteY13" fmla="*/ 4659 h 3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3284" h="36936">
                  <a:moveTo>
                    <a:pt x="136343" y="4659"/>
                  </a:moveTo>
                  <a:cubicBezTo>
                    <a:pt x="129443" y="4659"/>
                    <a:pt x="124166" y="2888"/>
                    <a:pt x="117510" y="2420"/>
                  </a:cubicBezTo>
                  <a:cubicBezTo>
                    <a:pt x="107281" y="1718"/>
                    <a:pt x="99366" y="3623"/>
                    <a:pt x="88772" y="1518"/>
                  </a:cubicBezTo>
                  <a:cubicBezTo>
                    <a:pt x="75418" y="-1123"/>
                    <a:pt x="55854" y="-1257"/>
                    <a:pt x="45910" y="3155"/>
                  </a:cubicBezTo>
                  <a:cubicBezTo>
                    <a:pt x="39455" y="5996"/>
                    <a:pt x="35681" y="9840"/>
                    <a:pt x="27685" y="11545"/>
                  </a:cubicBezTo>
                  <a:cubicBezTo>
                    <a:pt x="20703" y="13216"/>
                    <a:pt x="8607" y="12246"/>
                    <a:pt x="3331" y="15388"/>
                  </a:cubicBezTo>
                  <a:cubicBezTo>
                    <a:pt x="-8846" y="23042"/>
                    <a:pt x="14574" y="34640"/>
                    <a:pt x="29389" y="36011"/>
                  </a:cubicBezTo>
                  <a:cubicBezTo>
                    <a:pt x="42743" y="37214"/>
                    <a:pt x="50618" y="36813"/>
                    <a:pt x="59223" y="32468"/>
                  </a:cubicBezTo>
                  <a:cubicBezTo>
                    <a:pt x="68762" y="27655"/>
                    <a:pt x="84876" y="31097"/>
                    <a:pt x="95753" y="28791"/>
                  </a:cubicBezTo>
                  <a:cubicBezTo>
                    <a:pt x="105049" y="26819"/>
                    <a:pt x="116048" y="18931"/>
                    <a:pt x="126399" y="20469"/>
                  </a:cubicBezTo>
                  <a:cubicBezTo>
                    <a:pt x="143406" y="22942"/>
                    <a:pt x="157085" y="28123"/>
                    <a:pt x="173767" y="30730"/>
                  </a:cubicBezTo>
                  <a:cubicBezTo>
                    <a:pt x="158871" y="23142"/>
                    <a:pt x="176162" y="18263"/>
                    <a:pt x="183225" y="12180"/>
                  </a:cubicBezTo>
                  <a:cubicBezTo>
                    <a:pt x="166989" y="10308"/>
                    <a:pt x="152904" y="4325"/>
                    <a:pt x="136141" y="4659"/>
                  </a:cubicBezTo>
                  <a:cubicBezTo>
                    <a:pt x="125425" y="4826"/>
                    <a:pt x="147181" y="4459"/>
                    <a:pt x="136343" y="465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39FC882F-6375-40BE-81DC-3C917DF23987}"/>
                </a:ext>
              </a:extLst>
            </p:cNvPr>
            <p:cNvSpPr/>
            <p:nvPr/>
          </p:nvSpPr>
          <p:spPr>
            <a:xfrm>
              <a:off x="5471653" y="4099795"/>
              <a:ext cx="98768" cy="104363"/>
            </a:xfrm>
            <a:custGeom>
              <a:avLst/>
              <a:gdLst>
                <a:gd name="connsiteX0" fmla="*/ 79369 w 98768"/>
                <a:gd name="connsiteY0" fmla="*/ 81951 h 104363"/>
                <a:gd name="connsiteX1" fmla="*/ 71738 w 98768"/>
                <a:gd name="connsiteY1" fmla="*/ 73829 h 104363"/>
                <a:gd name="connsiteX2" fmla="*/ 79856 w 98768"/>
                <a:gd name="connsiteY2" fmla="*/ 61295 h 104363"/>
                <a:gd name="connsiteX3" fmla="*/ 76041 w 98768"/>
                <a:gd name="connsiteY3" fmla="*/ 48294 h 104363"/>
                <a:gd name="connsiteX4" fmla="*/ 83225 w 98768"/>
                <a:gd name="connsiteY4" fmla="*/ 33186 h 104363"/>
                <a:gd name="connsiteX5" fmla="*/ 78598 w 98768"/>
                <a:gd name="connsiteY5" fmla="*/ 18045 h 104363"/>
                <a:gd name="connsiteX6" fmla="*/ 95727 w 98768"/>
                <a:gd name="connsiteY6" fmla="*/ 5712 h 104363"/>
                <a:gd name="connsiteX7" fmla="*/ 74580 w 98768"/>
                <a:gd name="connsiteY7" fmla="*/ 732 h 104363"/>
                <a:gd name="connsiteX8" fmla="*/ 43285 w 98768"/>
                <a:gd name="connsiteY8" fmla="*/ 4442 h 104363"/>
                <a:gd name="connsiteX9" fmla="*/ 24330 w 98768"/>
                <a:gd name="connsiteY9" fmla="*/ 2470 h 104363"/>
                <a:gd name="connsiteX10" fmla="*/ 15765 w 98768"/>
                <a:gd name="connsiteY10" fmla="*/ 9656 h 104363"/>
                <a:gd name="connsiteX11" fmla="*/ 19215 w 98768"/>
                <a:gd name="connsiteY11" fmla="*/ 17845 h 104363"/>
                <a:gd name="connsiteX12" fmla="*/ 5009 w 98768"/>
                <a:gd name="connsiteY12" fmla="*/ 56449 h 104363"/>
                <a:gd name="connsiteX13" fmla="*/ 16293 w 98768"/>
                <a:gd name="connsiteY13" fmla="*/ 72492 h 104363"/>
                <a:gd name="connsiteX14" fmla="*/ 24411 w 98768"/>
                <a:gd name="connsiteY14" fmla="*/ 90341 h 104363"/>
                <a:gd name="connsiteX15" fmla="*/ 28470 w 98768"/>
                <a:gd name="connsiteY15" fmla="*/ 103877 h 104363"/>
                <a:gd name="connsiteX16" fmla="*/ 72712 w 98768"/>
                <a:gd name="connsiteY16" fmla="*/ 98396 h 104363"/>
                <a:gd name="connsiteX17" fmla="*/ 79085 w 98768"/>
                <a:gd name="connsiteY17" fmla="*/ 81951 h 10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768" h="104363">
                  <a:moveTo>
                    <a:pt x="79369" y="81951"/>
                  </a:moveTo>
                  <a:cubicBezTo>
                    <a:pt x="91546" y="79979"/>
                    <a:pt x="74904" y="75266"/>
                    <a:pt x="71738" y="73829"/>
                  </a:cubicBezTo>
                  <a:cubicBezTo>
                    <a:pt x="61550" y="69250"/>
                    <a:pt x="84281" y="64404"/>
                    <a:pt x="79856" y="61295"/>
                  </a:cubicBezTo>
                  <a:cubicBezTo>
                    <a:pt x="74215" y="57218"/>
                    <a:pt x="53189" y="49764"/>
                    <a:pt x="76041" y="48294"/>
                  </a:cubicBezTo>
                  <a:cubicBezTo>
                    <a:pt x="79004" y="43451"/>
                    <a:pt x="81399" y="38394"/>
                    <a:pt x="83225" y="33186"/>
                  </a:cubicBezTo>
                  <a:cubicBezTo>
                    <a:pt x="84321" y="28607"/>
                    <a:pt x="72550" y="22157"/>
                    <a:pt x="78598" y="18045"/>
                  </a:cubicBezTo>
                  <a:cubicBezTo>
                    <a:pt x="81318" y="16174"/>
                    <a:pt x="107376" y="7250"/>
                    <a:pt x="95727" y="5712"/>
                  </a:cubicBezTo>
                  <a:cubicBezTo>
                    <a:pt x="86472" y="4509"/>
                    <a:pt x="86310" y="-1407"/>
                    <a:pt x="74580" y="732"/>
                  </a:cubicBezTo>
                  <a:cubicBezTo>
                    <a:pt x="64351" y="2968"/>
                    <a:pt x="53839" y="4211"/>
                    <a:pt x="43285" y="4442"/>
                  </a:cubicBezTo>
                  <a:cubicBezTo>
                    <a:pt x="33706" y="4709"/>
                    <a:pt x="34193" y="-4950"/>
                    <a:pt x="24330" y="2470"/>
                  </a:cubicBezTo>
                  <a:cubicBezTo>
                    <a:pt x="17876" y="7417"/>
                    <a:pt x="15847" y="1267"/>
                    <a:pt x="15765" y="9656"/>
                  </a:cubicBezTo>
                  <a:cubicBezTo>
                    <a:pt x="16090" y="12574"/>
                    <a:pt x="17267" y="15385"/>
                    <a:pt x="19215" y="17845"/>
                  </a:cubicBezTo>
                  <a:cubicBezTo>
                    <a:pt x="24857" y="28540"/>
                    <a:pt x="15156" y="46556"/>
                    <a:pt x="5009" y="56449"/>
                  </a:cubicBezTo>
                  <a:cubicBezTo>
                    <a:pt x="-5139" y="66342"/>
                    <a:pt x="625" y="67278"/>
                    <a:pt x="16293" y="72492"/>
                  </a:cubicBezTo>
                  <a:cubicBezTo>
                    <a:pt x="25953" y="75835"/>
                    <a:pt x="24939" y="84892"/>
                    <a:pt x="24411" y="90341"/>
                  </a:cubicBezTo>
                  <a:cubicBezTo>
                    <a:pt x="24167" y="93683"/>
                    <a:pt x="19418" y="103275"/>
                    <a:pt x="28470" y="103877"/>
                  </a:cubicBezTo>
                  <a:cubicBezTo>
                    <a:pt x="43245" y="104880"/>
                    <a:pt x="58668" y="100535"/>
                    <a:pt x="72712" y="98396"/>
                  </a:cubicBezTo>
                  <a:cubicBezTo>
                    <a:pt x="65609" y="93382"/>
                    <a:pt x="64310" y="84358"/>
                    <a:pt x="79085" y="8195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CB58BE1A-4C75-49BF-A03E-29E07787FA58}"/>
                </a:ext>
              </a:extLst>
            </p:cNvPr>
            <p:cNvSpPr/>
            <p:nvPr/>
          </p:nvSpPr>
          <p:spPr>
            <a:xfrm>
              <a:off x="5865003" y="3830870"/>
              <a:ext cx="134281" cy="60630"/>
            </a:xfrm>
            <a:custGeom>
              <a:avLst/>
              <a:gdLst>
                <a:gd name="connsiteX0" fmla="*/ 43006 w 134281"/>
                <a:gd name="connsiteY0" fmla="*/ 48125 h 60630"/>
                <a:gd name="connsiteX1" fmla="*/ 96909 w 134281"/>
                <a:gd name="connsiteY1" fmla="*/ 60292 h 60630"/>
                <a:gd name="connsiteX2" fmla="*/ 100116 w 134281"/>
                <a:gd name="connsiteY2" fmla="*/ 40237 h 60630"/>
                <a:gd name="connsiteX3" fmla="*/ 110750 w 134281"/>
                <a:gd name="connsiteY3" fmla="*/ 38466 h 60630"/>
                <a:gd name="connsiteX4" fmla="*/ 121669 w 134281"/>
                <a:gd name="connsiteY4" fmla="*/ 31180 h 60630"/>
                <a:gd name="connsiteX5" fmla="*/ 116392 w 134281"/>
                <a:gd name="connsiteY5" fmla="*/ 19515 h 60630"/>
                <a:gd name="connsiteX6" fmla="*/ 126783 w 134281"/>
                <a:gd name="connsiteY6" fmla="*/ 14902 h 60630"/>
                <a:gd name="connsiteX7" fmla="*/ 131735 w 134281"/>
                <a:gd name="connsiteY7" fmla="*/ -339 h 60630"/>
                <a:gd name="connsiteX8" fmla="*/ 75600 w 134281"/>
                <a:gd name="connsiteY8" fmla="*/ 8184 h 60630"/>
                <a:gd name="connsiteX9" fmla="*/ 77264 w 134281"/>
                <a:gd name="connsiteY9" fmla="*/ 16005 h 60630"/>
                <a:gd name="connsiteX10" fmla="*/ 60744 w 134281"/>
                <a:gd name="connsiteY10" fmla="*/ 15471 h 60630"/>
                <a:gd name="connsiteX11" fmla="*/ 34442 w 134281"/>
                <a:gd name="connsiteY11" fmla="*/ 28606 h 60630"/>
                <a:gd name="connsiteX12" fmla="*/ 27095 w 134281"/>
                <a:gd name="connsiteY12" fmla="*/ 40438 h 60630"/>
                <a:gd name="connsiteX13" fmla="*/ -60 w 134281"/>
                <a:gd name="connsiteY13" fmla="*/ 52270 h 60630"/>
                <a:gd name="connsiteX14" fmla="*/ 43006 w 134281"/>
                <a:gd name="connsiteY14" fmla="*/ 47958 h 60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4281" h="60630">
                  <a:moveTo>
                    <a:pt x="43006" y="48125"/>
                  </a:moveTo>
                  <a:cubicBezTo>
                    <a:pt x="55913" y="41040"/>
                    <a:pt x="87370" y="56715"/>
                    <a:pt x="96909" y="60292"/>
                  </a:cubicBezTo>
                  <a:cubicBezTo>
                    <a:pt x="98979" y="53741"/>
                    <a:pt x="100034" y="47006"/>
                    <a:pt x="100116" y="40237"/>
                  </a:cubicBezTo>
                  <a:cubicBezTo>
                    <a:pt x="100116" y="38165"/>
                    <a:pt x="108843" y="38667"/>
                    <a:pt x="110750" y="38466"/>
                  </a:cubicBezTo>
                  <a:cubicBezTo>
                    <a:pt x="121588" y="37363"/>
                    <a:pt x="117204" y="34823"/>
                    <a:pt x="121669" y="31180"/>
                  </a:cubicBezTo>
                  <a:cubicBezTo>
                    <a:pt x="129381" y="24896"/>
                    <a:pt x="124591" y="25598"/>
                    <a:pt x="116392" y="19515"/>
                  </a:cubicBezTo>
                  <a:cubicBezTo>
                    <a:pt x="115053" y="18512"/>
                    <a:pt x="126662" y="14936"/>
                    <a:pt x="126783" y="14902"/>
                  </a:cubicBezTo>
                  <a:cubicBezTo>
                    <a:pt x="136646" y="10390"/>
                    <a:pt x="134901" y="5611"/>
                    <a:pt x="131735" y="-339"/>
                  </a:cubicBezTo>
                  <a:cubicBezTo>
                    <a:pt x="127960" y="5009"/>
                    <a:pt x="85260" y="-2511"/>
                    <a:pt x="75600" y="8184"/>
                  </a:cubicBezTo>
                  <a:cubicBezTo>
                    <a:pt x="72596" y="11527"/>
                    <a:pt x="78806" y="13799"/>
                    <a:pt x="77264" y="16005"/>
                  </a:cubicBezTo>
                  <a:cubicBezTo>
                    <a:pt x="75356" y="18779"/>
                    <a:pt x="61880" y="18345"/>
                    <a:pt x="60744" y="15471"/>
                  </a:cubicBezTo>
                  <a:cubicBezTo>
                    <a:pt x="57659" y="7817"/>
                    <a:pt x="36999" y="26901"/>
                    <a:pt x="34442" y="28606"/>
                  </a:cubicBezTo>
                  <a:cubicBezTo>
                    <a:pt x="29002" y="32182"/>
                    <a:pt x="32006" y="36628"/>
                    <a:pt x="27095" y="40438"/>
                  </a:cubicBezTo>
                  <a:cubicBezTo>
                    <a:pt x="20479" y="45552"/>
                    <a:pt x="9803" y="49061"/>
                    <a:pt x="-60" y="52270"/>
                  </a:cubicBezTo>
                  <a:cubicBezTo>
                    <a:pt x="13213" y="55044"/>
                    <a:pt x="32412" y="53807"/>
                    <a:pt x="43006" y="4795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0517B11-B6A9-4934-8D0F-E90281A49120}"/>
                </a:ext>
              </a:extLst>
            </p:cNvPr>
            <p:cNvSpPr/>
            <p:nvPr/>
          </p:nvSpPr>
          <p:spPr>
            <a:xfrm>
              <a:off x="5953073" y="3907544"/>
              <a:ext cx="21928" cy="15575"/>
            </a:xfrm>
            <a:custGeom>
              <a:avLst/>
              <a:gdLst>
                <a:gd name="connsiteX0" fmla="*/ 11275 w 21928"/>
                <a:gd name="connsiteY0" fmla="*/ -339 h 15575"/>
                <a:gd name="connsiteX1" fmla="*/ 154 w 21928"/>
                <a:gd name="connsiteY1" fmla="*/ 14334 h 15575"/>
                <a:gd name="connsiteX2" fmla="*/ 21869 w 21928"/>
                <a:gd name="connsiteY2" fmla="*/ 15237 h 15575"/>
                <a:gd name="connsiteX3" fmla="*/ 11275 w 21928"/>
                <a:gd name="connsiteY3" fmla="*/ -339 h 15575"/>
                <a:gd name="connsiteX4" fmla="*/ 11275 w 21928"/>
                <a:gd name="connsiteY4" fmla="*/ -339 h 1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8" h="15575">
                  <a:moveTo>
                    <a:pt x="11275" y="-339"/>
                  </a:moveTo>
                  <a:cubicBezTo>
                    <a:pt x="3604" y="1543"/>
                    <a:pt x="-1145" y="7833"/>
                    <a:pt x="154" y="14334"/>
                  </a:cubicBezTo>
                  <a:cubicBezTo>
                    <a:pt x="7419" y="14047"/>
                    <a:pt x="14685" y="14348"/>
                    <a:pt x="21869" y="15237"/>
                  </a:cubicBezTo>
                  <a:cubicBezTo>
                    <a:pt x="21301" y="12396"/>
                    <a:pt x="9286" y="1867"/>
                    <a:pt x="11275" y="-339"/>
                  </a:cubicBezTo>
                  <a:cubicBezTo>
                    <a:pt x="4821" y="1633"/>
                    <a:pt x="10707" y="229"/>
                    <a:pt x="1127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07601887-3063-4C52-8C00-2E55AA246096}"/>
                </a:ext>
              </a:extLst>
            </p:cNvPr>
            <p:cNvSpPr/>
            <p:nvPr/>
          </p:nvSpPr>
          <p:spPr>
            <a:xfrm>
              <a:off x="5843409" y="3877581"/>
              <a:ext cx="125644" cy="44646"/>
            </a:xfrm>
            <a:custGeom>
              <a:avLst/>
              <a:gdLst>
                <a:gd name="connsiteX0" fmla="*/ 4040 w 125644"/>
                <a:gd name="connsiteY0" fmla="*/ 13380 h 44646"/>
                <a:gd name="connsiteX1" fmla="*/ 16217 w 125644"/>
                <a:gd name="connsiteY1" fmla="*/ 19463 h 44646"/>
                <a:gd name="connsiteX2" fmla="*/ 39191 w 125644"/>
                <a:gd name="connsiteY2" fmla="*/ 25647 h 44646"/>
                <a:gd name="connsiteX3" fmla="*/ 55427 w 125644"/>
                <a:gd name="connsiteY3" fmla="*/ 33000 h 44646"/>
                <a:gd name="connsiteX4" fmla="*/ 76777 w 125644"/>
                <a:gd name="connsiteY4" fmla="*/ 30693 h 44646"/>
                <a:gd name="connsiteX5" fmla="*/ 87899 w 125644"/>
                <a:gd name="connsiteY5" fmla="*/ 39317 h 44646"/>
                <a:gd name="connsiteX6" fmla="*/ 110060 w 125644"/>
                <a:gd name="connsiteY6" fmla="*/ 44297 h 44646"/>
                <a:gd name="connsiteX7" fmla="*/ 121182 w 125644"/>
                <a:gd name="connsiteY7" fmla="*/ 29624 h 44646"/>
                <a:gd name="connsiteX8" fmla="*/ 119802 w 125644"/>
                <a:gd name="connsiteY8" fmla="*/ 16689 h 44646"/>
                <a:gd name="connsiteX9" fmla="*/ 69958 w 125644"/>
                <a:gd name="connsiteY9" fmla="*/ -23 h 44646"/>
                <a:gd name="connsiteX10" fmla="*/ 39759 w 125644"/>
                <a:gd name="connsiteY10" fmla="*/ 7297 h 44646"/>
                <a:gd name="connsiteX11" fmla="*/ 21778 w 125644"/>
                <a:gd name="connsiteY11" fmla="*/ 5893 h 44646"/>
                <a:gd name="connsiteX12" fmla="*/ -60 w 125644"/>
                <a:gd name="connsiteY12" fmla="*/ 11408 h 44646"/>
                <a:gd name="connsiteX13" fmla="*/ 4284 w 125644"/>
                <a:gd name="connsiteY13" fmla="*/ 13547 h 44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5644" h="44646">
                  <a:moveTo>
                    <a:pt x="4040" y="13380"/>
                  </a:moveTo>
                  <a:cubicBezTo>
                    <a:pt x="4405" y="14483"/>
                    <a:pt x="12726" y="22672"/>
                    <a:pt x="16217" y="19463"/>
                  </a:cubicBezTo>
                  <a:cubicBezTo>
                    <a:pt x="18206" y="17558"/>
                    <a:pt x="35862" y="24945"/>
                    <a:pt x="39191" y="25647"/>
                  </a:cubicBezTo>
                  <a:cubicBezTo>
                    <a:pt x="48445" y="27552"/>
                    <a:pt x="52017" y="28287"/>
                    <a:pt x="55427" y="33000"/>
                  </a:cubicBezTo>
                  <a:cubicBezTo>
                    <a:pt x="60663" y="40286"/>
                    <a:pt x="69796" y="31596"/>
                    <a:pt x="76777" y="30693"/>
                  </a:cubicBezTo>
                  <a:cubicBezTo>
                    <a:pt x="78888" y="30393"/>
                    <a:pt x="78279" y="40487"/>
                    <a:pt x="87899" y="39317"/>
                  </a:cubicBezTo>
                  <a:cubicBezTo>
                    <a:pt x="94637" y="38448"/>
                    <a:pt x="100684" y="44598"/>
                    <a:pt x="110060" y="44297"/>
                  </a:cubicBezTo>
                  <a:cubicBezTo>
                    <a:pt x="108762" y="37796"/>
                    <a:pt x="113510" y="31506"/>
                    <a:pt x="121182" y="29624"/>
                  </a:cubicBezTo>
                  <a:cubicBezTo>
                    <a:pt x="127920" y="22605"/>
                    <a:pt x="126500" y="23775"/>
                    <a:pt x="119802" y="16689"/>
                  </a:cubicBezTo>
                  <a:cubicBezTo>
                    <a:pt x="114282" y="10873"/>
                    <a:pt x="85950" y="-2563"/>
                    <a:pt x="69958" y="-23"/>
                  </a:cubicBezTo>
                  <a:cubicBezTo>
                    <a:pt x="59364" y="1548"/>
                    <a:pt x="51652" y="6094"/>
                    <a:pt x="39759" y="7297"/>
                  </a:cubicBezTo>
                  <a:cubicBezTo>
                    <a:pt x="33711" y="7915"/>
                    <a:pt x="27582" y="7437"/>
                    <a:pt x="21778" y="5893"/>
                  </a:cubicBezTo>
                  <a:cubicBezTo>
                    <a:pt x="14756" y="8377"/>
                    <a:pt x="7449" y="10228"/>
                    <a:pt x="-60" y="11408"/>
                  </a:cubicBezTo>
                  <a:cubicBezTo>
                    <a:pt x="1645" y="11645"/>
                    <a:pt x="3228" y="12411"/>
                    <a:pt x="4284" y="1354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45AE5B8A-3284-40D6-9261-45E997240176}"/>
                </a:ext>
              </a:extLst>
            </p:cNvPr>
            <p:cNvSpPr/>
            <p:nvPr/>
          </p:nvSpPr>
          <p:spPr>
            <a:xfrm>
              <a:off x="6423857" y="3958679"/>
              <a:ext cx="287585" cy="102513"/>
            </a:xfrm>
            <a:custGeom>
              <a:avLst/>
              <a:gdLst>
                <a:gd name="connsiteX0" fmla="*/ 257834 w 287585"/>
                <a:gd name="connsiteY0" fmla="*/ 69486 h 102513"/>
                <a:gd name="connsiteX1" fmla="*/ 240908 w 287585"/>
                <a:gd name="connsiteY1" fmla="*/ 34793 h 102513"/>
                <a:gd name="connsiteX2" fmla="*/ 213469 w 287585"/>
                <a:gd name="connsiteY2" fmla="*/ 9457 h 102513"/>
                <a:gd name="connsiteX3" fmla="*/ 191226 w 287585"/>
                <a:gd name="connsiteY3" fmla="*/ 1335 h 102513"/>
                <a:gd name="connsiteX4" fmla="*/ 169429 w 287585"/>
                <a:gd name="connsiteY4" fmla="*/ 6483 h 102513"/>
                <a:gd name="connsiteX5" fmla="*/ 142275 w 287585"/>
                <a:gd name="connsiteY5" fmla="*/ 8889 h 102513"/>
                <a:gd name="connsiteX6" fmla="*/ 119220 w 287585"/>
                <a:gd name="connsiteY6" fmla="*/ 4110 h 102513"/>
                <a:gd name="connsiteX7" fmla="*/ 74003 w 287585"/>
                <a:gd name="connsiteY7" fmla="*/ -302 h 102513"/>
                <a:gd name="connsiteX8" fmla="*/ 44616 w 287585"/>
                <a:gd name="connsiteY8" fmla="*/ 12265 h 102513"/>
                <a:gd name="connsiteX9" fmla="*/ 17542 w 287585"/>
                <a:gd name="connsiteY9" fmla="*/ 34291 h 102513"/>
                <a:gd name="connsiteX10" fmla="*/ 6259 w 287585"/>
                <a:gd name="connsiteY10" fmla="*/ 49131 h 102513"/>
                <a:gd name="connsiteX11" fmla="*/ 18436 w 287585"/>
                <a:gd name="connsiteY11" fmla="*/ 58156 h 102513"/>
                <a:gd name="connsiteX12" fmla="*/ 20749 w 287585"/>
                <a:gd name="connsiteY12" fmla="*/ 65743 h 102513"/>
                <a:gd name="connsiteX13" fmla="*/ 49690 w 287585"/>
                <a:gd name="connsiteY13" fmla="*/ 72427 h 102513"/>
                <a:gd name="connsiteX14" fmla="*/ 58944 w 287585"/>
                <a:gd name="connsiteY14" fmla="*/ 79814 h 102513"/>
                <a:gd name="connsiteX15" fmla="*/ 74084 w 287585"/>
                <a:gd name="connsiteY15" fmla="*/ 89641 h 102513"/>
                <a:gd name="connsiteX16" fmla="*/ 161271 w 287585"/>
                <a:gd name="connsiteY16" fmla="*/ 94788 h 102513"/>
                <a:gd name="connsiteX17" fmla="*/ 207056 w 287585"/>
                <a:gd name="connsiteY17" fmla="*/ 90643 h 102513"/>
                <a:gd name="connsiteX18" fmla="*/ 251502 w 287585"/>
                <a:gd name="connsiteY18" fmla="*/ 102174 h 102513"/>
                <a:gd name="connsiteX19" fmla="*/ 255886 w 287585"/>
                <a:gd name="connsiteY19" fmla="*/ 86432 h 102513"/>
                <a:gd name="connsiteX20" fmla="*/ 280240 w 287585"/>
                <a:gd name="connsiteY20" fmla="*/ 80115 h 102513"/>
                <a:gd name="connsiteX21" fmla="*/ 280240 w 287585"/>
                <a:gd name="connsiteY21" fmla="*/ 67949 h 102513"/>
                <a:gd name="connsiteX22" fmla="*/ 257469 w 287585"/>
                <a:gd name="connsiteY22" fmla="*/ 69319 h 102513"/>
                <a:gd name="connsiteX23" fmla="*/ 257834 w 287585"/>
                <a:gd name="connsiteY23" fmla="*/ 69486 h 10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7585" h="102513">
                  <a:moveTo>
                    <a:pt x="257834" y="69486"/>
                  </a:moveTo>
                  <a:cubicBezTo>
                    <a:pt x="227067" y="65342"/>
                    <a:pt x="249229" y="45120"/>
                    <a:pt x="240908" y="34793"/>
                  </a:cubicBezTo>
                  <a:cubicBezTo>
                    <a:pt x="233643" y="25868"/>
                    <a:pt x="221709" y="18081"/>
                    <a:pt x="213469" y="9457"/>
                  </a:cubicBezTo>
                  <a:cubicBezTo>
                    <a:pt x="206610" y="2171"/>
                    <a:pt x="207137" y="-2408"/>
                    <a:pt x="191226" y="1335"/>
                  </a:cubicBezTo>
                  <a:cubicBezTo>
                    <a:pt x="183514" y="3140"/>
                    <a:pt x="179496" y="6984"/>
                    <a:pt x="169429" y="6483"/>
                  </a:cubicBezTo>
                  <a:cubicBezTo>
                    <a:pt x="158632" y="5948"/>
                    <a:pt x="151732" y="9223"/>
                    <a:pt x="142275" y="8889"/>
                  </a:cubicBezTo>
                  <a:cubicBezTo>
                    <a:pt x="134847" y="8655"/>
                    <a:pt x="127703" y="4477"/>
                    <a:pt x="119220" y="4110"/>
                  </a:cubicBezTo>
                  <a:cubicBezTo>
                    <a:pt x="103430" y="3408"/>
                    <a:pt x="90198" y="-770"/>
                    <a:pt x="74003" y="-302"/>
                  </a:cubicBezTo>
                  <a:cubicBezTo>
                    <a:pt x="77778" y="3876"/>
                    <a:pt x="48797" y="8789"/>
                    <a:pt x="44616" y="12265"/>
                  </a:cubicBezTo>
                  <a:cubicBezTo>
                    <a:pt x="35930" y="19384"/>
                    <a:pt x="29638" y="28509"/>
                    <a:pt x="17542" y="34291"/>
                  </a:cubicBezTo>
                  <a:cubicBezTo>
                    <a:pt x="1306" y="42045"/>
                    <a:pt x="-6405" y="38068"/>
                    <a:pt x="6259" y="49131"/>
                  </a:cubicBezTo>
                  <a:cubicBezTo>
                    <a:pt x="10318" y="52808"/>
                    <a:pt x="6989" y="57755"/>
                    <a:pt x="18436" y="58156"/>
                  </a:cubicBezTo>
                  <a:cubicBezTo>
                    <a:pt x="24402" y="58356"/>
                    <a:pt x="21074" y="64205"/>
                    <a:pt x="20749" y="65743"/>
                  </a:cubicBezTo>
                  <a:cubicBezTo>
                    <a:pt x="19653" y="71191"/>
                    <a:pt x="42384" y="71124"/>
                    <a:pt x="49690" y="72427"/>
                  </a:cubicBezTo>
                  <a:cubicBezTo>
                    <a:pt x="58295" y="74132"/>
                    <a:pt x="56874" y="75369"/>
                    <a:pt x="58944" y="79814"/>
                  </a:cubicBezTo>
                  <a:cubicBezTo>
                    <a:pt x="61014" y="84259"/>
                    <a:pt x="66738" y="85997"/>
                    <a:pt x="74084" y="89641"/>
                  </a:cubicBezTo>
                  <a:cubicBezTo>
                    <a:pt x="85936" y="95423"/>
                    <a:pt x="148891" y="97930"/>
                    <a:pt x="161271" y="94788"/>
                  </a:cubicBezTo>
                  <a:cubicBezTo>
                    <a:pt x="176654" y="90777"/>
                    <a:pt x="188547" y="88437"/>
                    <a:pt x="207056" y="90643"/>
                  </a:cubicBezTo>
                  <a:cubicBezTo>
                    <a:pt x="224916" y="92849"/>
                    <a:pt x="235104" y="98230"/>
                    <a:pt x="251502" y="102174"/>
                  </a:cubicBezTo>
                  <a:cubicBezTo>
                    <a:pt x="254343" y="96893"/>
                    <a:pt x="251218" y="91613"/>
                    <a:pt x="255886" y="86432"/>
                  </a:cubicBezTo>
                  <a:cubicBezTo>
                    <a:pt x="261974" y="79747"/>
                    <a:pt x="269239" y="81820"/>
                    <a:pt x="280240" y="80115"/>
                  </a:cubicBezTo>
                  <a:cubicBezTo>
                    <a:pt x="292416" y="78276"/>
                    <a:pt x="287140" y="71057"/>
                    <a:pt x="280240" y="67949"/>
                  </a:cubicBezTo>
                  <a:cubicBezTo>
                    <a:pt x="271513" y="63904"/>
                    <a:pt x="266155" y="70522"/>
                    <a:pt x="257469" y="69319"/>
                  </a:cubicBezTo>
                  <a:cubicBezTo>
                    <a:pt x="251218" y="68584"/>
                    <a:pt x="260675" y="69854"/>
                    <a:pt x="257834" y="6948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AC400B85-B3FF-46A9-927F-928E96CE5AA2}"/>
                </a:ext>
              </a:extLst>
            </p:cNvPr>
            <p:cNvSpPr/>
            <p:nvPr/>
          </p:nvSpPr>
          <p:spPr>
            <a:xfrm>
              <a:off x="6628172" y="3957177"/>
              <a:ext cx="95700" cy="66045"/>
            </a:xfrm>
            <a:custGeom>
              <a:avLst/>
              <a:gdLst>
                <a:gd name="connsiteX0" fmla="*/ 71785 w 95700"/>
                <a:gd name="connsiteY0" fmla="*/ 18513 h 66045"/>
                <a:gd name="connsiteX1" fmla="*/ 44955 w 95700"/>
                <a:gd name="connsiteY1" fmla="*/ 6948 h 66045"/>
                <a:gd name="connsiteX2" fmla="*/ -60 w 95700"/>
                <a:gd name="connsiteY2" fmla="*/ 832 h 66045"/>
                <a:gd name="connsiteX3" fmla="*/ 36471 w 95700"/>
                <a:gd name="connsiteY3" fmla="*/ 36294 h 66045"/>
                <a:gd name="connsiteX4" fmla="*/ 42235 w 95700"/>
                <a:gd name="connsiteY4" fmla="*/ 65707 h 66045"/>
                <a:gd name="connsiteX5" fmla="*/ 61880 w 95700"/>
                <a:gd name="connsiteY5" fmla="*/ 51770 h 66045"/>
                <a:gd name="connsiteX6" fmla="*/ 83190 w 95700"/>
                <a:gd name="connsiteY6" fmla="*/ 46756 h 66045"/>
                <a:gd name="connsiteX7" fmla="*/ 71663 w 95700"/>
                <a:gd name="connsiteY7" fmla="*/ 18513 h 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00" h="66045">
                  <a:moveTo>
                    <a:pt x="71785" y="18513"/>
                  </a:moveTo>
                  <a:cubicBezTo>
                    <a:pt x="67726" y="10057"/>
                    <a:pt x="55549" y="10959"/>
                    <a:pt x="44955" y="6948"/>
                  </a:cubicBezTo>
                  <a:cubicBezTo>
                    <a:pt x="26202" y="-70"/>
                    <a:pt x="23320" y="-1809"/>
                    <a:pt x="-60" y="832"/>
                  </a:cubicBezTo>
                  <a:cubicBezTo>
                    <a:pt x="10778" y="12998"/>
                    <a:pt x="26649" y="24061"/>
                    <a:pt x="36471" y="36294"/>
                  </a:cubicBezTo>
                  <a:cubicBezTo>
                    <a:pt x="44224" y="45887"/>
                    <a:pt x="24660" y="56850"/>
                    <a:pt x="42235" y="65707"/>
                  </a:cubicBezTo>
                  <a:cubicBezTo>
                    <a:pt x="47958" y="62365"/>
                    <a:pt x="61434" y="56750"/>
                    <a:pt x="61880" y="51770"/>
                  </a:cubicBezTo>
                  <a:cubicBezTo>
                    <a:pt x="62571" y="44015"/>
                    <a:pt x="70729" y="43948"/>
                    <a:pt x="83190" y="46756"/>
                  </a:cubicBezTo>
                  <a:cubicBezTo>
                    <a:pt x="115662" y="54176"/>
                    <a:pt x="74707" y="24663"/>
                    <a:pt x="71663" y="1851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BF0541A6-B82E-4DD5-B98A-3C33494ED669}"/>
                </a:ext>
              </a:extLst>
            </p:cNvPr>
            <p:cNvSpPr/>
            <p:nvPr/>
          </p:nvSpPr>
          <p:spPr>
            <a:xfrm>
              <a:off x="6475048" y="4042872"/>
              <a:ext cx="200289" cy="62244"/>
            </a:xfrm>
            <a:custGeom>
              <a:avLst/>
              <a:gdLst>
                <a:gd name="connsiteX0" fmla="*/ 155946 w 200289"/>
                <a:gd name="connsiteY0" fmla="*/ 6617 h 62244"/>
                <a:gd name="connsiteX1" fmla="*/ 110161 w 200289"/>
                <a:gd name="connsiteY1" fmla="*/ 10762 h 62244"/>
                <a:gd name="connsiteX2" fmla="*/ 56947 w 200289"/>
                <a:gd name="connsiteY2" fmla="*/ 9826 h 62244"/>
                <a:gd name="connsiteX3" fmla="*/ 14004 w 200289"/>
                <a:gd name="connsiteY3" fmla="*/ 835 h 62244"/>
                <a:gd name="connsiteX4" fmla="*/ 1258 w 200289"/>
                <a:gd name="connsiteY4" fmla="*/ 3222 h 62244"/>
                <a:gd name="connsiteX5" fmla="*/ -41 w 200289"/>
                <a:gd name="connsiteY5" fmla="*/ 5949 h 62244"/>
                <a:gd name="connsiteX6" fmla="*/ 15505 w 200289"/>
                <a:gd name="connsiteY6" fmla="*/ 20956 h 62244"/>
                <a:gd name="connsiteX7" fmla="*/ 4424 w 200289"/>
                <a:gd name="connsiteY7" fmla="*/ 39607 h 62244"/>
                <a:gd name="connsiteX8" fmla="*/ 38276 w 200289"/>
                <a:gd name="connsiteY8" fmla="*/ 55249 h 62244"/>
                <a:gd name="connsiteX9" fmla="*/ 91043 w 200289"/>
                <a:gd name="connsiteY9" fmla="*/ 60831 h 62244"/>
                <a:gd name="connsiteX10" fmla="*/ 108983 w 200289"/>
                <a:gd name="connsiteY10" fmla="*/ 61800 h 62244"/>
                <a:gd name="connsiteX11" fmla="*/ 130212 w 200289"/>
                <a:gd name="connsiteY11" fmla="*/ 55416 h 62244"/>
                <a:gd name="connsiteX12" fmla="*/ 169219 w 200289"/>
                <a:gd name="connsiteY12" fmla="*/ 46492 h 62244"/>
                <a:gd name="connsiteX13" fmla="*/ 172750 w 200289"/>
                <a:gd name="connsiteY13" fmla="*/ 31952 h 62244"/>
                <a:gd name="connsiteX14" fmla="*/ 200230 w 200289"/>
                <a:gd name="connsiteY14" fmla="*/ 18149 h 62244"/>
                <a:gd name="connsiteX15" fmla="*/ 155783 w 200289"/>
                <a:gd name="connsiteY15" fmla="*/ 6617 h 62244"/>
                <a:gd name="connsiteX16" fmla="*/ 155946 w 200289"/>
                <a:gd name="connsiteY16" fmla="*/ 6617 h 6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0289" h="62244">
                  <a:moveTo>
                    <a:pt x="155946" y="6617"/>
                  </a:moveTo>
                  <a:cubicBezTo>
                    <a:pt x="137437" y="4411"/>
                    <a:pt x="125544" y="6617"/>
                    <a:pt x="110161" y="10762"/>
                  </a:cubicBezTo>
                  <a:cubicBezTo>
                    <a:pt x="97131" y="14104"/>
                    <a:pt x="71519" y="10996"/>
                    <a:pt x="56947" y="9826"/>
                  </a:cubicBezTo>
                  <a:cubicBezTo>
                    <a:pt x="38560" y="8355"/>
                    <a:pt x="28048" y="6684"/>
                    <a:pt x="14004" y="835"/>
                  </a:cubicBezTo>
                  <a:cubicBezTo>
                    <a:pt x="9660" y="-1408"/>
                    <a:pt x="3978" y="-341"/>
                    <a:pt x="1258" y="3222"/>
                  </a:cubicBezTo>
                  <a:cubicBezTo>
                    <a:pt x="609" y="4054"/>
                    <a:pt x="162" y="4980"/>
                    <a:pt x="-41" y="5949"/>
                  </a:cubicBezTo>
                  <a:cubicBezTo>
                    <a:pt x="-609" y="11798"/>
                    <a:pt x="11812" y="15709"/>
                    <a:pt x="15505" y="20956"/>
                  </a:cubicBezTo>
                  <a:cubicBezTo>
                    <a:pt x="18103" y="24666"/>
                    <a:pt x="-9620" y="31485"/>
                    <a:pt x="4424" y="39607"/>
                  </a:cubicBezTo>
                  <a:cubicBezTo>
                    <a:pt x="16601" y="46759"/>
                    <a:pt x="20052" y="54981"/>
                    <a:pt x="38276" y="55249"/>
                  </a:cubicBezTo>
                  <a:cubicBezTo>
                    <a:pt x="57394" y="55583"/>
                    <a:pt x="72696" y="58825"/>
                    <a:pt x="91043" y="60831"/>
                  </a:cubicBezTo>
                  <a:cubicBezTo>
                    <a:pt x="96969" y="61770"/>
                    <a:pt x="102976" y="62097"/>
                    <a:pt x="108983" y="61800"/>
                  </a:cubicBezTo>
                  <a:cubicBezTo>
                    <a:pt x="118644" y="60797"/>
                    <a:pt x="115640" y="55416"/>
                    <a:pt x="130212" y="55416"/>
                  </a:cubicBezTo>
                  <a:cubicBezTo>
                    <a:pt x="123677" y="40576"/>
                    <a:pt x="191299" y="62535"/>
                    <a:pt x="169219" y="46492"/>
                  </a:cubicBezTo>
                  <a:cubicBezTo>
                    <a:pt x="159193" y="39205"/>
                    <a:pt x="165160" y="36665"/>
                    <a:pt x="172750" y="31952"/>
                  </a:cubicBezTo>
                  <a:cubicBezTo>
                    <a:pt x="178392" y="28610"/>
                    <a:pt x="198159" y="21925"/>
                    <a:pt x="200230" y="18149"/>
                  </a:cubicBezTo>
                  <a:cubicBezTo>
                    <a:pt x="183994" y="14205"/>
                    <a:pt x="173643" y="8823"/>
                    <a:pt x="155783" y="6617"/>
                  </a:cubicBezTo>
                  <a:cubicBezTo>
                    <a:pt x="148234" y="5715"/>
                    <a:pt x="163496" y="7553"/>
                    <a:pt x="155946" y="661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6C492210-D1A5-48D2-8992-7F5842E4E6A7}"/>
                </a:ext>
              </a:extLst>
            </p:cNvPr>
            <p:cNvSpPr/>
            <p:nvPr/>
          </p:nvSpPr>
          <p:spPr>
            <a:xfrm>
              <a:off x="6415335" y="4078606"/>
              <a:ext cx="83118" cy="31284"/>
            </a:xfrm>
            <a:custGeom>
              <a:avLst/>
              <a:gdLst>
                <a:gd name="connsiteX0" fmla="*/ 18027 w 83118"/>
                <a:gd name="connsiteY0" fmla="*/ 30946 h 31284"/>
                <a:gd name="connsiteX1" fmla="*/ 36090 w 83118"/>
                <a:gd name="connsiteY1" fmla="*/ 30946 h 31284"/>
                <a:gd name="connsiteX2" fmla="*/ 51514 w 83118"/>
                <a:gd name="connsiteY2" fmla="*/ 26400 h 31284"/>
                <a:gd name="connsiteX3" fmla="*/ 67141 w 83118"/>
                <a:gd name="connsiteY3" fmla="*/ 25197 h 31284"/>
                <a:gd name="connsiteX4" fmla="*/ 61743 w 83118"/>
                <a:gd name="connsiteY4" fmla="*/ -339 h 31284"/>
                <a:gd name="connsiteX5" fmla="*/ 4389 w 83118"/>
                <a:gd name="connsiteY5" fmla="*/ 2302 h 31284"/>
                <a:gd name="connsiteX6" fmla="*/ 18027 w 83118"/>
                <a:gd name="connsiteY6" fmla="*/ 30946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18" h="31284">
                  <a:moveTo>
                    <a:pt x="18027" y="30946"/>
                  </a:moveTo>
                  <a:cubicBezTo>
                    <a:pt x="24035" y="30612"/>
                    <a:pt x="30083" y="30612"/>
                    <a:pt x="36090" y="30946"/>
                  </a:cubicBezTo>
                  <a:cubicBezTo>
                    <a:pt x="43477" y="30712"/>
                    <a:pt x="45832" y="28105"/>
                    <a:pt x="51514" y="26400"/>
                  </a:cubicBezTo>
                  <a:cubicBezTo>
                    <a:pt x="54721" y="25464"/>
                    <a:pt x="63082" y="25966"/>
                    <a:pt x="67141" y="25197"/>
                  </a:cubicBezTo>
                  <a:cubicBezTo>
                    <a:pt x="107041" y="17509"/>
                    <a:pt x="59023" y="11827"/>
                    <a:pt x="61743" y="-339"/>
                  </a:cubicBezTo>
                  <a:cubicBezTo>
                    <a:pt x="50540" y="62"/>
                    <a:pt x="13360" y="5911"/>
                    <a:pt x="4389" y="2302"/>
                  </a:cubicBezTo>
                  <a:cubicBezTo>
                    <a:pt x="-3810" y="14836"/>
                    <a:pt x="-1455" y="22289"/>
                    <a:pt x="18027" y="3094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2A06A728-3360-4D85-AD9C-9D8A87705C5E}"/>
                </a:ext>
              </a:extLst>
            </p:cNvPr>
            <p:cNvSpPr/>
            <p:nvPr/>
          </p:nvSpPr>
          <p:spPr>
            <a:xfrm>
              <a:off x="6479265" y="3873979"/>
              <a:ext cx="581597" cy="183001"/>
            </a:xfrm>
            <a:custGeom>
              <a:avLst/>
              <a:gdLst>
                <a:gd name="connsiteX0" fmla="*/ 514155 w 581597"/>
                <a:gd name="connsiteY0" fmla="*/ 129954 h 183001"/>
                <a:gd name="connsiteX1" fmla="*/ 549752 w 581597"/>
                <a:gd name="connsiteY1" fmla="*/ 124706 h 183001"/>
                <a:gd name="connsiteX2" fmla="*/ 567246 w 581597"/>
                <a:gd name="connsiteY2" fmla="*/ 126310 h 183001"/>
                <a:gd name="connsiteX3" fmla="*/ 571995 w 581597"/>
                <a:gd name="connsiteY3" fmla="*/ 114378 h 183001"/>
                <a:gd name="connsiteX4" fmla="*/ 577475 w 581597"/>
                <a:gd name="connsiteY4" fmla="*/ 108061 h 183001"/>
                <a:gd name="connsiteX5" fmla="*/ 576054 w 581597"/>
                <a:gd name="connsiteY5" fmla="*/ 99405 h 183001"/>
                <a:gd name="connsiteX6" fmla="*/ 532664 w 581597"/>
                <a:gd name="connsiteY6" fmla="*/ 78949 h 183001"/>
                <a:gd name="connsiteX7" fmla="*/ 498812 w 581597"/>
                <a:gd name="connsiteY7" fmla="*/ 65346 h 183001"/>
                <a:gd name="connsiteX8" fmla="*/ 471942 w 581597"/>
                <a:gd name="connsiteY8" fmla="*/ 65346 h 183001"/>
                <a:gd name="connsiteX9" fmla="*/ 458384 w 581597"/>
                <a:gd name="connsiteY9" fmla="*/ 61034 h 183001"/>
                <a:gd name="connsiteX10" fmla="*/ 442148 w 581597"/>
                <a:gd name="connsiteY10" fmla="*/ 58394 h 183001"/>
                <a:gd name="connsiteX11" fmla="*/ 413735 w 581597"/>
                <a:gd name="connsiteY11" fmla="*/ 38340 h 183001"/>
                <a:gd name="connsiteX12" fmla="*/ 392792 w 581597"/>
                <a:gd name="connsiteY12" fmla="*/ 14609 h 183001"/>
                <a:gd name="connsiteX13" fmla="*/ 352526 w 581597"/>
                <a:gd name="connsiteY13" fmla="*/ 7089 h 183001"/>
                <a:gd name="connsiteX14" fmla="*/ 331785 w 581597"/>
                <a:gd name="connsiteY14" fmla="*/ 9328 h 183001"/>
                <a:gd name="connsiteX15" fmla="*/ 320420 w 581597"/>
                <a:gd name="connsiteY15" fmla="*/ 8927 h 183001"/>
                <a:gd name="connsiteX16" fmla="*/ 302966 w 581597"/>
                <a:gd name="connsiteY16" fmla="*/ 7891 h 183001"/>
                <a:gd name="connsiteX17" fmla="*/ 274554 w 581597"/>
                <a:gd name="connsiteY17" fmla="*/ 17483 h 183001"/>
                <a:gd name="connsiteX18" fmla="*/ 238023 w 581597"/>
                <a:gd name="connsiteY18" fmla="*/ 19689 h 183001"/>
                <a:gd name="connsiteX19" fmla="*/ 222030 w 581597"/>
                <a:gd name="connsiteY19" fmla="*/ 14709 h 183001"/>
                <a:gd name="connsiteX20" fmla="*/ 197270 w 581597"/>
                <a:gd name="connsiteY20" fmla="*/ 12035 h 183001"/>
                <a:gd name="connsiteX21" fmla="*/ 180060 w 581597"/>
                <a:gd name="connsiteY21" fmla="*/ 11601 h 183001"/>
                <a:gd name="connsiteX22" fmla="*/ 147589 w 581597"/>
                <a:gd name="connsiteY22" fmla="*/ 7256 h 183001"/>
                <a:gd name="connsiteX23" fmla="*/ 96851 w 581597"/>
                <a:gd name="connsiteY23" fmla="*/ -231 h 183001"/>
                <a:gd name="connsiteX24" fmla="*/ 46845 w 581597"/>
                <a:gd name="connsiteY24" fmla="*/ 6086 h 183001"/>
                <a:gd name="connsiteX25" fmla="*/ 59022 w 581597"/>
                <a:gd name="connsiteY25" fmla="*/ 21795 h 183001"/>
                <a:gd name="connsiteX26" fmla="*/ 44003 w 581597"/>
                <a:gd name="connsiteY26" fmla="*/ 35666 h 183001"/>
                <a:gd name="connsiteX27" fmla="*/ 18432 w 581597"/>
                <a:gd name="connsiteY27" fmla="*/ 47197 h 183001"/>
                <a:gd name="connsiteX28" fmla="*/ 14698 w 581597"/>
                <a:gd name="connsiteY28" fmla="*/ 61302 h 183001"/>
                <a:gd name="connsiteX29" fmla="*/ 1587 w 581597"/>
                <a:gd name="connsiteY29" fmla="*/ 76543 h 183001"/>
                <a:gd name="connsiteX30" fmla="*/ 40391 w 581597"/>
                <a:gd name="connsiteY30" fmla="*/ 85367 h 183001"/>
                <a:gd name="connsiteX31" fmla="*/ 83010 w 581597"/>
                <a:gd name="connsiteY31" fmla="*/ 92553 h 183001"/>
                <a:gd name="connsiteX32" fmla="*/ 127903 w 581597"/>
                <a:gd name="connsiteY32" fmla="*/ 89210 h 183001"/>
                <a:gd name="connsiteX33" fmla="*/ 157695 w 581597"/>
                <a:gd name="connsiteY33" fmla="*/ 83060 h 183001"/>
                <a:gd name="connsiteX34" fmla="*/ 193942 w 581597"/>
                <a:gd name="connsiteY34" fmla="*/ 90079 h 183001"/>
                <a:gd name="connsiteX35" fmla="*/ 220772 w 581597"/>
                <a:gd name="connsiteY35" fmla="*/ 101644 h 183001"/>
                <a:gd name="connsiteX36" fmla="*/ 244476 w 581597"/>
                <a:gd name="connsiteY36" fmla="*/ 126076 h 183001"/>
                <a:gd name="connsiteX37" fmla="*/ 224182 w 581597"/>
                <a:gd name="connsiteY37" fmla="*/ 128149 h 183001"/>
                <a:gd name="connsiteX38" fmla="*/ 207377 w 581597"/>
                <a:gd name="connsiteY38" fmla="*/ 138777 h 183001"/>
                <a:gd name="connsiteX39" fmla="*/ 195850 w 581597"/>
                <a:gd name="connsiteY39" fmla="*/ 152882 h 183001"/>
                <a:gd name="connsiteX40" fmla="*/ 232096 w 581597"/>
                <a:gd name="connsiteY40" fmla="*/ 156225 h 183001"/>
                <a:gd name="connsiteX41" fmla="*/ 254218 w 581597"/>
                <a:gd name="connsiteY41" fmla="*/ 142187 h 183001"/>
                <a:gd name="connsiteX42" fmla="*/ 285066 w 581597"/>
                <a:gd name="connsiteY42" fmla="*/ 128817 h 183001"/>
                <a:gd name="connsiteX43" fmla="*/ 319892 w 581597"/>
                <a:gd name="connsiteY43" fmla="*/ 132694 h 183001"/>
                <a:gd name="connsiteX44" fmla="*/ 325453 w 581597"/>
                <a:gd name="connsiteY44" fmla="*/ 142220 h 183001"/>
                <a:gd name="connsiteX45" fmla="*/ 352486 w 581597"/>
                <a:gd name="connsiteY45" fmla="*/ 153183 h 183001"/>
                <a:gd name="connsiteX46" fmla="*/ 324397 w 581597"/>
                <a:gd name="connsiteY46" fmla="*/ 157595 h 183001"/>
                <a:gd name="connsiteX47" fmla="*/ 355976 w 581597"/>
                <a:gd name="connsiteY47" fmla="*/ 167823 h 183001"/>
                <a:gd name="connsiteX48" fmla="*/ 366611 w 581597"/>
                <a:gd name="connsiteY48" fmla="*/ 182562 h 183001"/>
                <a:gd name="connsiteX49" fmla="*/ 419865 w 581597"/>
                <a:gd name="connsiteY49" fmla="*/ 174407 h 183001"/>
                <a:gd name="connsiteX50" fmla="*/ 457573 w 581597"/>
                <a:gd name="connsiteY50" fmla="*/ 175711 h 183001"/>
                <a:gd name="connsiteX51" fmla="*/ 425750 w 581597"/>
                <a:gd name="connsiteY51" fmla="*/ 168391 h 183001"/>
                <a:gd name="connsiteX52" fmla="*/ 401397 w 581597"/>
                <a:gd name="connsiteY52" fmla="*/ 155322 h 183001"/>
                <a:gd name="connsiteX53" fmla="*/ 419946 w 581597"/>
                <a:gd name="connsiteY53" fmla="*/ 145462 h 183001"/>
                <a:gd name="connsiteX54" fmla="*/ 468654 w 581597"/>
                <a:gd name="connsiteY54" fmla="*/ 141518 h 183001"/>
                <a:gd name="connsiteX55" fmla="*/ 502099 w 581597"/>
                <a:gd name="connsiteY55" fmla="*/ 138176 h 183001"/>
                <a:gd name="connsiteX56" fmla="*/ 514276 w 581597"/>
                <a:gd name="connsiteY56" fmla="*/ 130020 h 18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1597" h="183001">
                  <a:moveTo>
                    <a:pt x="514155" y="129954"/>
                  </a:moveTo>
                  <a:cubicBezTo>
                    <a:pt x="528929" y="130254"/>
                    <a:pt x="532704" y="121899"/>
                    <a:pt x="549752" y="124706"/>
                  </a:cubicBezTo>
                  <a:cubicBezTo>
                    <a:pt x="551051" y="124940"/>
                    <a:pt x="567002" y="128049"/>
                    <a:pt x="567246" y="126310"/>
                  </a:cubicBezTo>
                  <a:cubicBezTo>
                    <a:pt x="567936" y="121698"/>
                    <a:pt x="578571" y="119425"/>
                    <a:pt x="571995" y="114378"/>
                  </a:cubicBezTo>
                  <a:cubicBezTo>
                    <a:pt x="565419" y="109331"/>
                    <a:pt x="569194" y="109331"/>
                    <a:pt x="577475" y="108061"/>
                  </a:cubicBezTo>
                  <a:cubicBezTo>
                    <a:pt x="587297" y="106557"/>
                    <a:pt x="568180" y="102279"/>
                    <a:pt x="576054" y="99405"/>
                  </a:cubicBezTo>
                  <a:cubicBezTo>
                    <a:pt x="598419" y="91249"/>
                    <a:pt x="546018" y="81389"/>
                    <a:pt x="532664" y="78949"/>
                  </a:cubicBezTo>
                  <a:cubicBezTo>
                    <a:pt x="515332" y="75607"/>
                    <a:pt x="507701" y="75440"/>
                    <a:pt x="498812" y="65346"/>
                  </a:cubicBezTo>
                  <a:cubicBezTo>
                    <a:pt x="494266" y="60199"/>
                    <a:pt x="477624" y="65613"/>
                    <a:pt x="471942" y="65346"/>
                  </a:cubicBezTo>
                  <a:cubicBezTo>
                    <a:pt x="467030" y="64928"/>
                    <a:pt x="462362" y="63441"/>
                    <a:pt x="458384" y="61034"/>
                  </a:cubicBezTo>
                  <a:cubicBezTo>
                    <a:pt x="451768" y="57692"/>
                    <a:pt x="449698" y="59330"/>
                    <a:pt x="442148" y="58394"/>
                  </a:cubicBezTo>
                  <a:cubicBezTo>
                    <a:pt x="429971" y="56856"/>
                    <a:pt x="436466" y="40479"/>
                    <a:pt x="413735" y="38340"/>
                  </a:cubicBezTo>
                  <a:cubicBezTo>
                    <a:pt x="387352" y="35933"/>
                    <a:pt x="397865" y="23600"/>
                    <a:pt x="392792" y="14609"/>
                  </a:cubicBezTo>
                  <a:cubicBezTo>
                    <a:pt x="387718" y="5618"/>
                    <a:pt x="365880" y="8860"/>
                    <a:pt x="352526" y="7089"/>
                  </a:cubicBezTo>
                  <a:cubicBezTo>
                    <a:pt x="342460" y="5785"/>
                    <a:pt x="340349" y="7790"/>
                    <a:pt x="331785" y="9328"/>
                  </a:cubicBezTo>
                  <a:cubicBezTo>
                    <a:pt x="328010" y="9896"/>
                    <a:pt x="324113" y="9759"/>
                    <a:pt x="320420" y="8927"/>
                  </a:cubicBezTo>
                  <a:cubicBezTo>
                    <a:pt x="313316" y="7022"/>
                    <a:pt x="311653" y="7857"/>
                    <a:pt x="302966" y="7891"/>
                  </a:cubicBezTo>
                  <a:cubicBezTo>
                    <a:pt x="294280" y="7924"/>
                    <a:pt x="275162" y="11835"/>
                    <a:pt x="274554" y="17483"/>
                  </a:cubicBezTo>
                  <a:cubicBezTo>
                    <a:pt x="273458" y="28747"/>
                    <a:pt x="253122" y="16046"/>
                    <a:pt x="238023" y="19689"/>
                  </a:cubicBezTo>
                  <a:cubicBezTo>
                    <a:pt x="233720" y="20725"/>
                    <a:pt x="226211" y="15344"/>
                    <a:pt x="222030" y="14709"/>
                  </a:cubicBezTo>
                  <a:cubicBezTo>
                    <a:pt x="215171" y="13673"/>
                    <a:pt x="204617" y="12804"/>
                    <a:pt x="197270" y="12035"/>
                  </a:cubicBezTo>
                  <a:cubicBezTo>
                    <a:pt x="191588" y="11434"/>
                    <a:pt x="188503" y="13606"/>
                    <a:pt x="180060" y="11601"/>
                  </a:cubicBezTo>
                  <a:cubicBezTo>
                    <a:pt x="169020" y="8994"/>
                    <a:pt x="158183" y="9495"/>
                    <a:pt x="147589" y="7256"/>
                  </a:cubicBezTo>
                  <a:cubicBezTo>
                    <a:pt x="131028" y="3395"/>
                    <a:pt x="114021" y="885"/>
                    <a:pt x="96851" y="-231"/>
                  </a:cubicBezTo>
                  <a:cubicBezTo>
                    <a:pt x="75379" y="-1401"/>
                    <a:pt x="66612" y="7389"/>
                    <a:pt x="46845" y="6086"/>
                  </a:cubicBezTo>
                  <a:cubicBezTo>
                    <a:pt x="47738" y="12035"/>
                    <a:pt x="54963" y="16347"/>
                    <a:pt x="59022" y="21795"/>
                  </a:cubicBezTo>
                  <a:cubicBezTo>
                    <a:pt x="66044" y="30585"/>
                    <a:pt x="54557" y="30786"/>
                    <a:pt x="44003" y="35666"/>
                  </a:cubicBezTo>
                  <a:cubicBezTo>
                    <a:pt x="35602" y="39576"/>
                    <a:pt x="26550" y="43119"/>
                    <a:pt x="18432" y="47197"/>
                  </a:cubicBezTo>
                  <a:cubicBezTo>
                    <a:pt x="11167" y="50873"/>
                    <a:pt x="21476" y="58828"/>
                    <a:pt x="14698" y="61302"/>
                  </a:cubicBezTo>
                  <a:cubicBezTo>
                    <a:pt x="7229" y="64042"/>
                    <a:pt x="-4380" y="71329"/>
                    <a:pt x="1587" y="76543"/>
                  </a:cubicBezTo>
                  <a:cubicBezTo>
                    <a:pt x="11532" y="85032"/>
                    <a:pt x="25292" y="83227"/>
                    <a:pt x="40391" y="85367"/>
                  </a:cubicBezTo>
                  <a:cubicBezTo>
                    <a:pt x="51431" y="87038"/>
                    <a:pt x="75095" y="87840"/>
                    <a:pt x="83010" y="92553"/>
                  </a:cubicBezTo>
                  <a:cubicBezTo>
                    <a:pt x="86054" y="94291"/>
                    <a:pt x="123113" y="90514"/>
                    <a:pt x="127903" y="89210"/>
                  </a:cubicBezTo>
                  <a:cubicBezTo>
                    <a:pt x="137441" y="86025"/>
                    <a:pt x="147467" y="83953"/>
                    <a:pt x="157695" y="83060"/>
                  </a:cubicBezTo>
                  <a:cubicBezTo>
                    <a:pt x="176164" y="81456"/>
                    <a:pt x="178883" y="84431"/>
                    <a:pt x="193942" y="90079"/>
                  </a:cubicBezTo>
                  <a:cubicBezTo>
                    <a:pt x="204617" y="94090"/>
                    <a:pt x="216672" y="93188"/>
                    <a:pt x="220772" y="101644"/>
                  </a:cubicBezTo>
                  <a:cubicBezTo>
                    <a:pt x="225156" y="110768"/>
                    <a:pt x="240214" y="117286"/>
                    <a:pt x="244476" y="126076"/>
                  </a:cubicBezTo>
                  <a:cubicBezTo>
                    <a:pt x="249266" y="136104"/>
                    <a:pt x="235790" y="130422"/>
                    <a:pt x="224182" y="128149"/>
                  </a:cubicBezTo>
                  <a:cubicBezTo>
                    <a:pt x="210462" y="125441"/>
                    <a:pt x="212329" y="135067"/>
                    <a:pt x="207377" y="138777"/>
                  </a:cubicBezTo>
                  <a:cubicBezTo>
                    <a:pt x="202425" y="142488"/>
                    <a:pt x="182618" y="149807"/>
                    <a:pt x="195850" y="152882"/>
                  </a:cubicBezTo>
                  <a:cubicBezTo>
                    <a:pt x="212492" y="156826"/>
                    <a:pt x="216145" y="147668"/>
                    <a:pt x="232096" y="156225"/>
                  </a:cubicBezTo>
                  <a:cubicBezTo>
                    <a:pt x="231691" y="147133"/>
                    <a:pt x="243867" y="147501"/>
                    <a:pt x="254218" y="142187"/>
                  </a:cubicBezTo>
                  <a:cubicBezTo>
                    <a:pt x="266111" y="136070"/>
                    <a:pt x="267247" y="130422"/>
                    <a:pt x="285066" y="128817"/>
                  </a:cubicBezTo>
                  <a:cubicBezTo>
                    <a:pt x="289612" y="128383"/>
                    <a:pt x="326752" y="126979"/>
                    <a:pt x="319892" y="132694"/>
                  </a:cubicBezTo>
                  <a:cubicBezTo>
                    <a:pt x="314129" y="137474"/>
                    <a:pt x="310557" y="140215"/>
                    <a:pt x="325453" y="142220"/>
                  </a:cubicBezTo>
                  <a:cubicBezTo>
                    <a:pt x="338766" y="143958"/>
                    <a:pt x="393441" y="147768"/>
                    <a:pt x="352486" y="153183"/>
                  </a:cubicBezTo>
                  <a:cubicBezTo>
                    <a:pt x="349563" y="153551"/>
                    <a:pt x="323830" y="155456"/>
                    <a:pt x="324397" y="157595"/>
                  </a:cubicBezTo>
                  <a:cubicBezTo>
                    <a:pt x="325453" y="161606"/>
                    <a:pt x="350334" y="165349"/>
                    <a:pt x="355976" y="167823"/>
                  </a:cubicBezTo>
                  <a:cubicBezTo>
                    <a:pt x="365962" y="172168"/>
                    <a:pt x="343799" y="183866"/>
                    <a:pt x="366611" y="182562"/>
                  </a:cubicBezTo>
                  <a:cubicBezTo>
                    <a:pt x="384714" y="181493"/>
                    <a:pt x="401762" y="175878"/>
                    <a:pt x="419865" y="174407"/>
                  </a:cubicBezTo>
                  <a:cubicBezTo>
                    <a:pt x="427171" y="173805"/>
                    <a:pt x="453189" y="178618"/>
                    <a:pt x="457573" y="175711"/>
                  </a:cubicBezTo>
                  <a:cubicBezTo>
                    <a:pt x="464595" y="170998"/>
                    <a:pt x="427983" y="168491"/>
                    <a:pt x="425750" y="168391"/>
                  </a:cubicBezTo>
                  <a:cubicBezTo>
                    <a:pt x="411747" y="167789"/>
                    <a:pt x="402573" y="162575"/>
                    <a:pt x="401397" y="155322"/>
                  </a:cubicBezTo>
                  <a:cubicBezTo>
                    <a:pt x="400382" y="149607"/>
                    <a:pt x="411585" y="147468"/>
                    <a:pt x="419946" y="145462"/>
                  </a:cubicBezTo>
                  <a:cubicBezTo>
                    <a:pt x="435776" y="141652"/>
                    <a:pt x="451809" y="143123"/>
                    <a:pt x="468654" y="141518"/>
                  </a:cubicBezTo>
                  <a:cubicBezTo>
                    <a:pt x="479978" y="140449"/>
                    <a:pt x="490450" y="138577"/>
                    <a:pt x="502099" y="138176"/>
                  </a:cubicBezTo>
                  <a:cubicBezTo>
                    <a:pt x="518335" y="137608"/>
                    <a:pt x="506564" y="129887"/>
                    <a:pt x="514276" y="1300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4F63534F-8CD2-4A67-ADCA-C14EAF8A412E}"/>
                </a:ext>
              </a:extLst>
            </p:cNvPr>
            <p:cNvSpPr/>
            <p:nvPr/>
          </p:nvSpPr>
          <p:spPr>
            <a:xfrm>
              <a:off x="6516987" y="3780341"/>
              <a:ext cx="310360" cy="117538"/>
            </a:xfrm>
            <a:custGeom>
              <a:avLst/>
              <a:gdLst>
                <a:gd name="connsiteX0" fmla="*/ 295038 w 310360"/>
                <a:gd name="connsiteY0" fmla="*/ 64095 h 117538"/>
                <a:gd name="connsiteX1" fmla="*/ 266625 w 310360"/>
                <a:gd name="connsiteY1" fmla="*/ 44509 h 117538"/>
                <a:gd name="connsiteX2" fmla="*/ 259278 w 310360"/>
                <a:gd name="connsiteY2" fmla="*/ 32610 h 117538"/>
                <a:gd name="connsiteX3" fmla="*/ 258101 w 310360"/>
                <a:gd name="connsiteY3" fmla="*/ 17469 h 117538"/>
                <a:gd name="connsiteX4" fmla="*/ 238049 w 310360"/>
                <a:gd name="connsiteY4" fmla="*/ 11687 h 117538"/>
                <a:gd name="connsiteX5" fmla="*/ 209637 w 310360"/>
                <a:gd name="connsiteY5" fmla="*/ 9748 h 117538"/>
                <a:gd name="connsiteX6" fmla="*/ 185608 w 310360"/>
                <a:gd name="connsiteY6" fmla="*/ 4333 h 117538"/>
                <a:gd name="connsiteX7" fmla="*/ 163040 w 310360"/>
                <a:gd name="connsiteY7" fmla="*/ 991 h 117538"/>
                <a:gd name="connsiteX8" fmla="*/ 142380 w 310360"/>
                <a:gd name="connsiteY8" fmla="*/ 5604 h 117538"/>
                <a:gd name="connsiteX9" fmla="*/ 117011 w 310360"/>
                <a:gd name="connsiteY9" fmla="*/ 15129 h 117538"/>
                <a:gd name="connsiteX10" fmla="*/ 86244 w 310360"/>
                <a:gd name="connsiteY10" fmla="*/ 30571 h 117538"/>
                <a:gd name="connsiteX11" fmla="*/ 78126 w 310360"/>
                <a:gd name="connsiteY11" fmla="*/ 40431 h 117538"/>
                <a:gd name="connsiteX12" fmla="*/ 51662 w 310360"/>
                <a:gd name="connsiteY12" fmla="*/ 45110 h 117538"/>
                <a:gd name="connsiteX13" fmla="*/ 24425 w 310360"/>
                <a:gd name="connsiteY13" fmla="*/ 44776 h 117538"/>
                <a:gd name="connsiteX14" fmla="*/ 18824 w 310360"/>
                <a:gd name="connsiteY14" fmla="*/ 58781 h 117538"/>
                <a:gd name="connsiteX15" fmla="*/ 1817 w 310360"/>
                <a:gd name="connsiteY15" fmla="*/ 79269 h 117538"/>
                <a:gd name="connsiteX16" fmla="*/ 9489 w 310360"/>
                <a:gd name="connsiteY16" fmla="*/ 87959 h 117538"/>
                <a:gd name="connsiteX17" fmla="*/ 21097 w 310360"/>
                <a:gd name="connsiteY17" fmla="*/ 100159 h 117538"/>
                <a:gd name="connsiteX18" fmla="*/ 40824 w 310360"/>
                <a:gd name="connsiteY18" fmla="*/ 93474 h 117538"/>
                <a:gd name="connsiteX19" fmla="*/ 72525 w 310360"/>
                <a:gd name="connsiteY19" fmla="*/ 94611 h 117538"/>
                <a:gd name="connsiteX20" fmla="*/ 122653 w 310360"/>
                <a:gd name="connsiteY20" fmla="*/ 102298 h 117538"/>
                <a:gd name="connsiteX21" fmla="*/ 149320 w 310360"/>
                <a:gd name="connsiteY21" fmla="*/ 107011 h 117538"/>
                <a:gd name="connsiteX22" fmla="*/ 168032 w 310360"/>
                <a:gd name="connsiteY22" fmla="*/ 108147 h 117538"/>
                <a:gd name="connsiteX23" fmla="*/ 189017 w 310360"/>
                <a:gd name="connsiteY23" fmla="*/ 110019 h 117538"/>
                <a:gd name="connsiteX24" fmla="*/ 209312 w 310360"/>
                <a:gd name="connsiteY24" fmla="*/ 113361 h 117538"/>
                <a:gd name="connsiteX25" fmla="*/ 230418 w 310360"/>
                <a:gd name="connsiteY25" fmla="*/ 116704 h 117538"/>
                <a:gd name="connsiteX26" fmla="*/ 241053 w 310360"/>
                <a:gd name="connsiteY26" fmla="*/ 108314 h 117538"/>
                <a:gd name="connsiteX27" fmla="*/ 279005 w 310360"/>
                <a:gd name="connsiteY27" fmla="*/ 101128 h 117538"/>
                <a:gd name="connsiteX28" fmla="*/ 284890 w 310360"/>
                <a:gd name="connsiteY28" fmla="*/ 79570 h 117538"/>
                <a:gd name="connsiteX29" fmla="*/ 295038 w 310360"/>
                <a:gd name="connsiteY29" fmla="*/ 64362 h 117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10360" h="117538">
                  <a:moveTo>
                    <a:pt x="295038" y="64095"/>
                  </a:moveTo>
                  <a:cubicBezTo>
                    <a:pt x="284931" y="62056"/>
                    <a:pt x="270968" y="49088"/>
                    <a:pt x="266625" y="44509"/>
                  </a:cubicBezTo>
                  <a:cubicBezTo>
                    <a:pt x="261551" y="39161"/>
                    <a:pt x="257208" y="38894"/>
                    <a:pt x="259278" y="32610"/>
                  </a:cubicBezTo>
                  <a:cubicBezTo>
                    <a:pt x="260171" y="30003"/>
                    <a:pt x="263784" y="19240"/>
                    <a:pt x="258101" y="17469"/>
                  </a:cubicBezTo>
                  <a:cubicBezTo>
                    <a:pt x="251607" y="15163"/>
                    <a:pt x="244869" y="13231"/>
                    <a:pt x="238049" y="11687"/>
                  </a:cubicBezTo>
                  <a:cubicBezTo>
                    <a:pt x="229485" y="9949"/>
                    <a:pt x="214183" y="14795"/>
                    <a:pt x="209637" y="9748"/>
                  </a:cubicBezTo>
                  <a:cubicBezTo>
                    <a:pt x="203548" y="3264"/>
                    <a:pt x="196161" y="5871"/>
                    <a:pt x="185608" y="4333"/>
                  </a:cubicBezTo>
                  <a:cubicBezTo>
                    <a:pt x="175054" y="2796"/>
                    <a:pt x="174648" y="-2886"/>
                    <a:pt x="163040" y="991"/>
                  </a:cubicBezTo>
                  <a:cubicBezTo>
                    <a:pt x="153907" y="4099"/>
                    <a:pt x="155612" y="6941"/>
                    <a:pt x="142380" y="5604"/>
                  </a:cubicBezTo>
                  <a:cubicBezTo>
                    <a:pt x="130933" y="4467"/>
                    <a:pt x="114819" y="8043"/>
                    <a:pt x="117011" y="15129"/>
                  </a:cubicBezTo>
                  <a:cubicBezTo>
                    <a:pt x="119649" y="23819"/>
                    <a:pt x="95579" y="24923"/>
                    <a:pt x="86244" y="30571"/>
                  </a:cubicBezTo>
                  <a:cubicBezTo>
                    <a:pt x="83606" y="32142"/>
                    <a:pt x="83200" y="40598"/>
                    <a:pt x="78126" y="40431"/>
                  </a:cubicBezTo>
                  <a:cubicBezTo>
                    <a:pt x="68953" y="39866"/>
                    <a:pt x="59739" y="41490"/>
                    <a:pt x="51662" y="45110"/>
                  </a:cubicBezTo>
                  <a:cubicBezTo>
                    <a:pt x="44233" y="47951"/>
                    <a:pt x="32950" y="45344"/>
                    <a:pt x="24425" y="44776"/>
                  </a:cubicBezTo>
                  <a:cubicBezTo>
                    <a:pt x="8961" y="43773"/>
                    <a:pt x="8190" y="53333"/>
                    <a:pt x="18824" y="58781"/>
                  </a:cubicBezTo>
                  <a:cubicBezTo>
                    <a:pt x="38794" y="68808"/>
                    <a:pt x="10706" y="74222"/>
                    <a:pt x="1817" y="79269"/>
                  </a:cubicBezTo>
                  <a:cubicBezTo>
                    <a:pt x="-4353" y="82845"/>
                    <a:pt x="6404" y="85085"/>
                    <a:pt x="9489" y="87959"/>
                  </a:cubicBezTo>
                  <a:cubicBezTo>
                    <a:pt x="15049" y="93173"/>
                    <a:pt x="-537" y="102766"/>
                    <a:pt x="21097" y="100159"/>
                  </a:cubicBezTo>
                  <a:cubicBezTo>
                    <a:pt x="29215" y="99190"/>
                    <a:pt x="32422" y="94377"/>
                    <a:pt x="40824" y="93474"/>
                  </a:cubicBezTo>
                  <a:cubicBezTo>
                    <a:pt x="50160" y="92271"/>
                    <a:pt x="63026" y="93909"/>
                    <a:pt x="72525" y="94611"/>
                  </a:cubicBezTo>
                  <a:cubicBezTo>
                    <a:pt x="90424" y="95914"/>
                    <a:pt x="105808" y="101596"/>
                    <a:pt x="122653" y="102298"/>
                  </a:cubicBezTo>
                  <a:cubicBezTo>
                    <a:pt x="132719" y="102699"/>
                    <a:pt x="139822" y="105640"/>
                    <a:pt x="149320" y="107011"/>
                  </a:cubicBezTo>
                  <a:cubicBezTo>
                    <a:pt x="158006" y="108381"/>
                    <a:pt x="158494" y="105874"/>
                    <a:pt x="168032" y="108147"/>
                  </a:cubicBezTo>
                  <a:cubicBezTo>
                    <a:pt x="175501" y="109952"/>
                    <a:pt x="182238" y="107312"/>
                    <a:pt x="189017" y="110019"/>
                  </a:cubicBezTo>
                  <a:cubicBezTo>
                    <a:pt x="198312" y="113662"/>
                    <a:pt x="198596" y="112927"/>
                    <a:pt x="209312" y="113361"/>
                  </a:cubicBezTo>
                  <a:cubicBezTo>
                    <a:pt x="215319" y="113528"/>
                    <a:pt x="225954" y="113963"/>
                    <a:pt x="230418" y="116704"/>
                  </a:cubicBezTo>
                  <a:cubicBezTo>
                    <a:pt x="234884" y="119444"/>
                    <a:pt x="238049" y="110019"/>
                    <a:pt x="241053" y="108314"/>
                  </a:cubicBezTo>
                  <a:cubicBezTo>
                    <a:pt x="255097" y="101228"/>
                    <a:pt x="261348" y="103869"/>
                    <a:pt x="279005" y="101128"/>
                  </a:cubicBezTo>
                  <a:cubicBezTo>
                    <a:pt x="271698" y="94711"/>
                    <a:pt x="258994" y="72083"/>
                    <a:pt x="284890" y="79570"/>
                  </a:cubicBezTo>
                  <a:cubicBezTo>
                    <a:pt x="307580" y="86255"/>
                    <a:pt x="323450" y="70111"/>
                    <a:pt x="295038" y="6436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D22D1291-A861-45EA-9E0E-383DE60DFD44}"/>
                </a:ext>
              </a:extLst>
            </p:cNvPr>
            <p:cNvSpPr/>
            <p:nvPr/>
          </p:nvSpPr>
          <p:spPr>
            <a:xfrm>
              <a:off x="6446448" y="3728458"/>
              <a:ext cx="244029" cy="62102"/>
            </a:xfrm>
            <a:custGeom>
              <a:avLst/>
              <a:gdLst>
                <a:gd name="connsiteX0" fmla="*/ 80271 w 244029"/>
                <a:gd name="connsiteY0" fmla="*/ 38601 h 62102"/>
                <a:gd name="connsiteX1" fmla="*/ 154145 w 244029"/>
                <a:gd name="connsiteY1" fmla="*/ 47359 h 62102"/>
                <a:gd name="connsiteX2" fmla="*/ 173628 w 244029"/>
                <a:gd name="connsiteY2" fmla="*/ 55313 h 62102"/>
                <a:gd name="connsiteX3" fmla="*/ 190189 w 244029"/>
                <a:gd name="connsiteY3" fmla="*/ 61764 h 62102"/>
                <a:gd name="connsiteX4" fmla="*/ 205044 w 244029"/>
                <a:gd name="connsiteY4" fmla="*/ 57152 h 62102"/>
                <a:gd name="connsiteX5" fmla="*/ 225339 w 244029"/>
                <a:gd name="connsiteY5" fmla="*/ 57386 h 62102"/>
                <a:gd name="connsiteX6" fmla="*/ 243970 w 244029"/>
                <a:gd name="connsiteY6" fmla="*/ 51369 h 62102"/>
                <a:gd name="connsiteX7" fmla="*/ 232402 w 244029"/>
                <a:gd name="connsiteY7" fmla="*/ 37064 h 62102"/>
                <a:gd name="connsiteX8" fmla="*/ 225055 w 244029"/>
                <a:gd name="connsiteY8" fmla="*/ 20352 h 62102"/>
                <a:gd name="connsiteX9" fmla="*/ 197008 w 244029"/>
                <a:gd name="connsiteY9" fmla="*/ 13233 h 62102"/>
                <a:gd name="connsiteX10" fmla="*/ 175414 w 244029"/>
                <a:gd name="connsiteY10" fmla="*/ 9891 h 62102"/>
                <a:gd name="connsiteX11" fmla="*/ 127559 w 244029"/>
                <a:gd name="connsiteY11" fmla="*/ -337 h 62102"/>
                <a:gd name="connsiteX12" fmla="*/ 96954 w 244029"/>
                <a:gd name="connsiteY12" fmla="*/ 22257 h 62102"/>
                <a:gd name="connsiteX13" fmla="*/ 59084 w 244029"/>
                <a:gd name="connsiteY13" fmla="*/ 4643 h 62102"/>
                <a:gd name="connsiteX14" fmla="*/ 14881 w 244029"/>
                <a:gd name="connsiteY14" fmla="*/ 17277 h 62102"/>
                <a:gd name="connsiteX15" fmla="*/ 14881 w 244029"/>
                <a:gd name="connsiteY15" fmla="*/ 38936 h 62102"/>
                <a:gd name="connsiteX16" fmla="*/ 49504 w 244029"/>
                <a:gd name="connsiteY16" fmla="*/ 35593 h 62102"/>
                <a:gd name="connsiteX17" fmla="*/ 80271 w 244029"/>
                <a:gd name="connsiteY17" fmla="*/ 38601 h 62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4029" h="62102">
                  <a:moveTo>
                    <a:pt x="80271" y="38601"/>
                  </a:moveTo>
                  <a:cubicBezTo>
                    <a:pt x="107426" y="39738"/>
                    <a:pt x="131252" y="40273"/>
                    <a:pt x="154145" y="47359"/>
                  </a:cubicBezTo>
                  <a:cubicBezTo>
                    <a:pt x="160923" y="49531"/>
                    <a:pt x="167418" y="52192"/>
                    <a:pt x="173628" y="55313"/>
                  </a:cubicBezTo>
                  <a:cubicBezTo>
                    <a:pt x="178986" y="57736"/>
                    <a:pt x="184506" y="59889"/>
                    <a:pt x="190189" y="61764"/>
                  </a:cubicBezTo>
                  <a:cubicBezTo>
                    <a:pt x="194329" y="58850"/>
                    <a:pt x="199605" y="57218"/>
                    <a:pt x="205044" y="57152"/>
                  </a:cubicBezTo>
                  <a:cubicBezTo>
                    <a:pt x="211052" y="56951"/>
                    <a:pt x="220185" y="59558"/>
                    <a:pt x="225339" y="57386"/>
                  </a:cubicBezTo>
                  <a:cubicBezTo>
                    <a:pt x="232240" y="54478"/>
                    <a:pt x="233904" y="51837"/>
                    <a:pt x="243970" y="51369"/>
                  </a:cubicBezTo>
                  <a:cubicBezTo>
                    <a:pt x="239465" y="45888"/>
                    <a:pt x="239302" y="42211"/>
                    <a:pt x="232402" y="37064"/>
                  </a:cubicBezTo>
                  <a:cubicBezTo>
                    <a:pt x="224284" y="31148"/>
                    <a:pt x="234350" y="25867"/>
                    <a:pt x="225055" y="20352"/>
                  </a:cubicBezTo>
                  <a:cubicBezTo>
                    <a:pt x="215760" y="14837"/>
                    <a:pt x="211985" y="14503"/>
                    <a:pt x="197008" y="13233"/>
                  </a:cubicBezTo>
                  <a:cubicBezTo>
                    <a:pt x="187997" y="12498"/>
                    <a:pt x="183410" y="12798"/>
                    <a:pt x="175414" y="9891"/>
                  </a:cubicBezTo>
                  <a:cubicBezTo>
                    <a:pt x="156134" y="2905"/>
                    <a:pt x="152116" y="-136"/>
                    <a:pt x="127559" y="-337"/>
                  </a:cubicBezTo>
                  <a:cubicBezTo>
                    <a:pt x="96020" y="-571"/>
                    <a:pt x="130440" y="23060"/>
                    <a:pt x="96954" y="22257"/>
                  </a:cubicBezTo>
                  <a:cubicBezTo>
                    <a:pt x="75725" y="21756"/>
                    <a:pt x="69190" y="13200"/>
                    <a:pt x="59084" y="4643"/>
                  </a:cubicBezTo>
                  <a:cubicBezTo>
                    <a:pt x="48977" y="-3913"/>
                    <a:pt x="17357" y="11328"/>
                    <a:pt x="14881" y="17277"/>
                  </a:cubicBezTo>
                  <a:cubicBezTo>
                    <a:pt x="12649" y="22458"/>
                    <a:pt x="-17591" y="40674"/>
                    <a:pt x="14881" y="38936"/>
                  </a:cubicBezTo>
                  <a:cubicBezTo>
                    <a:pt x="27464" y="38301"/>
                    <a:pt x="36435" y="34858"/>
                    <a:pt x="49504" y="35593"/>
                  </a:cubicBezTo>
                  <a:cubicBezTo>
                    <a:pt x="59733" y="36228"/>
                    <a:pt x="69921" y="38167"/>
                    <a:pt x="80271" y="386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B0D25AB7-53F3-4D14-B9B4-A1EA94E8E6C7}"/>
                </a:ext>
              </a:extLst>
            </p:cNvPr>
            <p:cNvSpPr/>
            <p:nvPr/>
          </p:nvSpPr>
          <p:spPr>
            <a:xfrm>
              <a:off x="6444001" y="3764324"/>
              <a:ext cx="191040" cy="62949"/>
            </a:xfrm>
            <a:custGeom>
              <a:avLst/>
              <a:gdLst>
                <a:gd name="connsiteX0" fmla="*/ 24715 w 191040"/>
                <a:gd name="connsiteY0" fmla="*/ 28205 h 62949"/>
                <a:gd name="connsiteX1" fmla="*/ 62301 w 191040"/>
                <a:gd name="connsiteY1" fmla="*/ 41575 h 62949"/>
                <a:gd name="connsiteX2" fmla="*/ 85681 w 191040"/>
                <a:gd name="connsiteY2" fmla="*/ 58019 h 62949"/>
                <a:gd name="connsiteX3" fmla="*/ 140234 w 191040"/>
                <a:gd name="connsiteY3" fmla="*/ 56816 h 62949"/>
                <a:gd name="connsiteX4" fmla="*/ 174085 w 191040"/>
                <a:gd name="connsiteY4" fmla="*/ 41508 h 62949"/>
                <a:gd name="connsiteX5" fmla="*/ 183786 w 191040"/>
                <a:gd name="connsiteY5" fmla="*/ 22757 h 62949"/>
                <a:gd name="connsiteX6" fmla="*/ 156591 w 191040"/>
                <a:gd name="connsiteY6" fmla="*/ 11560 h 62949"/>
                <a:gd name="connsiteX7" fmla="*/ 135322 w 191040"/>
                <a:gd name="connsiteY7" fmla="*/ 5711 h 62949"/>
                <a:gd name="connsiteX8" fmla="*/ 110969 w 191040"/>
                <a:gd name="connsiteY8" fmla="*/ 5042 h 62949"/>
                <a:gd name="connsiteX9" fmla="*/ 78497 w 191040"/>
                <a:gd name="connsiteY9" fmla="*/ 2436 h 62949"/>
                <a:gd name="connsiteX10" fmla="*/ 44970 w 191040"/>
                <a:gd name="connsiteY10" fmla="*/ -339 h 62949"/>
                <a:gd name="connsiteX11" fmla="*/ 7221 w 191040"/>
                <a:gd name="connsiteY11" fmla="*/ 3472 h 62949"/>
                <a:gd name="connsiteX12" fmla="*/ 36 w 191040"/>
                <a:gd name="connsiteY12" fmla="*/ 24094 h 62949"/>
                <a:gd name="connsiteX13" fmla="*/ 24756 w 191040"/>
                <a:gd name="connsiteY13" fmla="*/ 28272 h 62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1040" h="62949">
                  <a:moveTo>
                    <a:pt x="24715" y="28205"/>
                  </a:moveTo>
                  <a:cubicBezTo>
                    <a:pt x="33604" y="35124"/>
                    <a:pt x="65305" y="30210"/>
                    <a:pt x="62301" y="41575"/>
                  </a:cubicBezTo>
                  <a:cubicBezTo>
                    <a:pt x="58243" y="55512"/>
                    <a:pt x="71028" y="48527"/>
                    <a:pt x="85681" y="58019"/>
                  </a:cubicBezTo>
                  <a:cubicBezTo>
                    <a:pt x="101673" y="68447"/>
                    <a:pt x="123633" y="58019"/>
                    <a:pt x="140234" y="56816"/>
                  </a:cubicBezTo>
                  <a:cubicBezTo>
                    <a:pt x="161178" y="55178"/>
                    <a:pt x="152411" y="44048"/>
                    <a:pt x="174085" y="41508"/>
                  </a:cubicBezTo>
                  <a:cubicBezTo>
                    <a:pt x="191295" y="39536"/>
                    <a:pt x="196816" y="27704"/>
                    <a:pt x="183786" y="22757"/>
                  </a:cubicBezTo>
                  <a:cubicBezTo>
                    <a:pt x="174370" y="19214"/>
                    <a:pt x="166658" y="14702"/>
                    <a:pt x="156591" y="11560"/>
                  </a:cubicBezTo>
                  <a:cubicBezTo>
                    <a:pt x="147824" y="8853"/>
                    <a:pt x="142750" y="9354"/>
                    <a:pt x="135322" y="5711"/>
                  </a:cubicBezTo>
                  <a:cubicBezTo>
                    <a:pt x="129640" y="2970"/>
                    <a:pt x="117665" y="5343"/>
                    <a:pt x="110969" y="5042"/>
                  </a:cubicBezTo>
                  <a:cubicBezTo>
                    <a:pt x="100293" y="4541"/>
                    <a:pt x="89172" y="3505"/>
                    <a:pt x="78497" y="2436"/>
                  </a:cubicBezTo>
                  <a:cubicBezTo>
                    <a:pt x="67415" y="938"/>
                    <a:pt x="56213" y="12"/>
                    <a:pt x="44970" y="-339"/>
                  </a:cubicBezTo>
                  <a:cubicBezTo>
                    <a:pt x="31981" y="-339"/>
                    <a:pt x="20900" y="3371"/>
                    <a:pt x="7221" y="3472"/>
                  </a:cubicBezTo>
                  <a:cubicBezTo>
                    <a:pt x="16272" y="13499"/>
                    <a:pt x="3162" y="15872"/>
                    <a:pt x="36" y="24094"/>
                  </a:cubicBezTo>
                  <a:cubicBezTo>
                    <a:pt x="-1709" y="28506"/>
                    <a:pt x="20859" y="25264"/>
                    <a:pt x="24756" y="2827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C5FE6B97-B923-4847-8DE1-CE7BBDEADEF6}"/>
                </a:ext>
              </a:extLst>
            </p:cNvPr>
            <p:cNvSpPr/>
            <p:nvPr/>
          </p:nvSpPr>
          <p:spPr>
            <a:xfrm>
              <a:off x="5968715" y="3960557"/>
              <a:ext cx="145062" cy="40840"/>
            </a:xfrm>
            <a:custGeom>
              <a:avLst/>
              <a:gdLst>
                <a:gd name="connsiteX0" fmla="*/ 128848 w 145062"/>
                <a:gd name="connsiteY0" fmla="*/ 16336 h 40840"/>
                <a:gd name="connsiteX1" fmla="*/ 112206 w 145062"/>
                <a:gd name="connsiteY1" fmla="*/ 11857 h 40840"/>
                <a:gd name="connsiteX2" fmla="*/ 93291 w 145062"/>
                <a:gd name="connsiteY2" fmla="*/ 493 h 40840"/>
                <a:gd name="connsiteX3" fmla="*/ 32407 w 145062"/>
                <a:gd name="connsiteY3" fmla="*/ 5641 h 40840"/>
                <a:gd name="connsiteX4" fmla="*/ 463 w 145062"/>
                <a:gd name="connsiteY4" fmla="*/ 32814 h 40840"/>
                <a:gd name="connsiteX5" fmla="*/ 21042 w 145062"/>
                <a:gd name="connsiteY5" fmla="*/ 31978 h 40840"/>
                <a:gd name="connsiteX6" fmla="*/ 26887 w 145062"/>
                <a:gd name="connsiteY6" fmla="*/ 40501 h 40840"/>
                <a:gd name="connsiteX7" fmla="*/ 66746 w 145062"/>
                <a:gd name="connsiteY7" fmla="*/ 30474 h 40840"/>
                <a:gd name="connsiteX8" fmla="*/ 96295 w 145062"/>
                <a:gd name="connsiteY8" fmla="*/ 37694 h 40840"/>
                <a:gd name="connsiteX9" fmla="*/ 104048 w 145062"/>
                <a:gd name="connsiteY9" fmla="*/ 28636 h 40840"/>
                <a:gd name="connsiteX10" fmla="*/ 124343 w 145062"/>
                <a:gd name="connsiteY10" fmla="*/ 26497 h 40840"/>
                <a:gd name="connsiteX11" fmla="*/ 136885 w 145062"/>
                <a:gd name="connsiteY11" fmla="*/ 23422 h 40840"/>
                <a:gd name="connsiteX12" fmla="*/ 145003 w 145062"/>
                <a:gd name="connsiteY12" fmla="*/ 17339 h 40840"/>
                <a:gd name="connsiteX13" fmla="*/ 128767 w 145062"/>
                <a:gd name="connsiteY13" fmla="*/ 16303 h 40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5062" h="40840">
                  <a:moveTo>
                    <a:pt x="128848" y="16336"/>
                  </a:moveTo>
                  <a:cubicBezTo>
                    <a:pt x="124383" y="17372"/>
                    <a:pt x="112247" y="14866"/>
                    <a:pt x="112206" y="11857"/>
                  </a:cubicBezTo>
                  <a:cubicBezTo>
                    <a:pt x="112206" y="3869"/>
                    <a:pt x="108147" y="2699"/>
                    <a:pt x="93291" y="493"/>
                  </a:cubicBezTo>
                  <a:cubicBezTo>
                    <a:pt x="76690" y="-2013"/>
                    <a:pt x="45883" y="1563"/>
                    <a:pt x="32407" y="5641"/>
                  </a:cubicBezTo>
                  <a:cubicBezTo>
                    <a:pt x="22746" y="8448"/>
                    <a:pt x="-4124" y="26764"/>
                    <a:pt x="463" y="32814"/>
                  </a:cubicBezTo>
                  <a:cubicBezTo>
                    <a:pt x="1883" y="34686"/>
                    <a:pt x="20758" y="23389"/>
                    <a:pt x="21042" y="31978"/>
                  </a:cubicBezTo>
                  <a:cubicBezTo>
                    <a:pt x="21042" y="35789"/>
                    <a:pt x="28510" y="36056"/>
                    <a:pt x="26887" y="40501"/>
                  </a:cubicBezTo>
                  <a:cubicBezTo>
                    <a:pt x="47182" y="39298"/>
                    <a:pt x="57329" y="40869"/>
                    <a:pt x="66746" y="30474"/>
                  </a:cubicBezTo>
                  <a:cubicBezTo>
                    <a:pt x="76163" y="20080"/>
                    <a:pt x="90410" y="45515"/>
                    <a:pt x="96295" y="37694"/>
                  </a:cubicBezTo>
                  <a:cubicBezTo>
                    <a:pt x="98731" y="34352"/>
                    <a:pt x="95199" y="29639"/>
                    <a:pt x="104048" y="28636"/>
                  </a:cubicBezTo>
                  <a:cubicBezTo>
                    <a:pt x="108553" y="28101"/>
                    <a:pt x="124586" y="31143"/>
                    <a:pt x="124343" y="26497"/>
                  </a:cubicBezTo>
                  <a:cubicBezTo>
                    <a:pt x="124099" y="21851"/>
                    <a:pt x="133638" y="26163"/>
                    <a:pt x="136885" y="23422"/>
                  </a:cubicBezTo>
                  <a:cubicBezTo>
                    <a:pt x="140132" y="20681"/>
                    <a:pt x="139645" y="19211"/>
                    <a:pt x="145003" y="17339"/>
                  </a:cubicBezTo>
                  <a:cubicBezTo>
                    <a:pt x="139808" y="15731"/>
                    <a:pt x="134206" y="15370"/>
                    <a:pt x="128767" y="1630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CB2118C3-4082-406B-A932-2C87F64A2F8A}"/>
                </a:ext>
              </a:extLst>
            </p:cNvPr>
            <p:cNvSpPr/>
            <p:nvPr/>
          </p:nvSpPr>
          <p:spPr>
            <a:xfrm>
              <a:off x="5962009" y="3797513"/>
              <a:ext cx="292952" cy="169520"/>
            </a:xfrm>
            <a:custGeom>
              <a:avLst/>
              <a:gdLst>
                <a:gd name="connsiteX0" fmla="*/ 35907 w 292952"/>
                <a:gd name="connsiteY0" fmla="*/ 44750 h 169520"/>
                <a:gd name="connsiteX1" fmla="*/ 26693 w 292952"/>
                <a:gd name="connsiteY1" fmla="*/ 57083 h 169520"/>
                <a:gd name="connsiteX2" fmla="*/ 18575 w 292952"/>
                <a:gd name="connsiteY2" fmla="*/ 71255 h 169520"/>
                <a:gd name="connsiteX3" fmla="*/ 5139 w 292952"/>
                <a:gd name="connsiteY3" fmla="*/ 72425 h 169520"/>
                <a:gd name="connsiteX4" fmla="*/ 3394 w 292952"/>
                <a:gd name="connsiteY4" fmla="*/ 80513 h 169520"/>
                <a:gd name="connsiteX5" fmla="*/ 7697 w 292952"/>
                <a:gd name="connsiteY5" fmla="*/ 102372 h 169520"/>
                <a:gd name="connsiteX6" fmla="*/ 6276 w 292952"/>
                <a:gd name="connsiteY6" fmla="*/ 114371 h 169520"/>
                <a:gd name="connsiteX7" fmla="*/ 12973 w 292952"/>
                <a:gd name="connsiteY7" fmla="*/ 125267 h 169520"/>
                <a:gd name="connsiteX8" fmla="*/ 41386 w 292952"/>
                <a:gd name="connsiteY8" fmla="*/ 132152 h 169520"/>
                <a:gd name="connsiteX9" fmla="*/ 65740 w 292952"/>
                <a:gd name="connsiteY9" fmla="*/ 140575 h 169520"/>
                <a:gd name="connsiteX10" fmla="*/ 50235 w 292952"/>
                <a:gd name="connsiteY10" fmla="*/ 165075 h 169520"/>
                <a:gd name="connsiteX11" fmla="*/ 112946 w 292952"/>
                <a:gd name="connsiteY11" fmla="*/ 166278 h 169520"/>
                <a:gd name="connsiteX12" fmla="*/ 132794 w 292952"/>
                <a:gd name="connsiteY12" fmla="*/ 168450 h 169520"/>
                <a:gd name="connsiteX13" fmla="*/ 156336 w 292952"/>
                <a:gd name="connsiteY13" fmla="*/ 166011 h 169520"/>
                <a:gd name="connsiteX14" fmla="*/ 179716 w 292952"/>
                <a:gd name="connsiteY14" fmla="*/ 166211 h 169520"/>
                <a:gd name="connsiteX15" fmla="*/ 209225 w 292952"/>
                <a:gd name="connsiteY15" fmla="*/ 162568 h 169520"/>
                <a:gd name="connsiteX16" fmla="*/ 223350 w 292952"/>
                <a:gd name="connsiteY16" fmla="*/ 164373 h 169520"/>
                <a:gd name="connsiteX17" fmla="*/ 226841 w 292952"/>
                <a:gd name="connsiteY17" fmla="*/ 152073 h 169520"/>
                <a:gd name="connsiteX18" fmla="*/ 257364 w 292952"/>
                <a:gd name="connsiteY18" fmla="*/ 141444 h 169520"/>
                <a:gd name="connsiteX19" fmla="*/ 223553 w 292952"/>
                <a:gd name="connsiteY19" fmla="*/ 126704 h 169520"/>
                <a:gd name="connsiteX20" fmla="*/ 210605 w 292952"/>
                <a:gd name="connsiteY20" fmla="*/ 103308 h 169520"/>
                <a:gd name="connsiteX21" fmla="*/ 245065 w 292952"/>
                <a:gd name="connsiteY21" fmla="*/ 96623 h 169520"/>
                <a:gd name="connsiteX22" fmla="*/ 272220 w 292952"/>
                <a:gd name="connsiteY22" fmla="*/ 90473 h 169520"/>
                <a:gd name="connsiteX23" fmla="*/ 289836 w 292952"/>
                <a:gd name="connsiteY23" fmla="*/ 90473 h 169520"/>
                <a:gd name="connsiteX24" fmla="*/ 285452 w 292952"/>
                <a:gd name="connsiteY24" fmla="*/ 75600 h 169520"/>
                <a:gd name="connsiteX25" fmla="*/ 271489 w 292952"/>
                <a:gd name="connsiteY25" fmla="*/ 49797 h 169520"/>
                <a:gd name="connsiteX26" fmla="*/ 270393 w 292952"/>
                <a:gd name="connsiteY26" fmla="*/ 25197 h 169520"/>
                <a:gd name="connsiteX27" fmla="*/ 256146 w 292952"/>
                <a:gd name="connsiteY27" fmla="*/ 15638 h 169520"/>
                <a:gd name="connsiteX28" fmla="*/ 247744 w 292952"/>
                <a:gd name="connsiteY28" fmla="*/ 10658 h 169520"/>
                <a:gd name="connsiteX29" fmla="*/ 221239 w 292952"/>
                <a:gd name="connsiteY29" fmla="*/ 9254 h 169520"/>
                <a:gd name="connsiteX30" fmla="*/ 166037 w 292952"/>
                <a:gd name="connsiteY30" fmla="*/ 19582 h 169520"/>
                <a:gd name="connsiteX31" fmla="*/ 169000 w 292952"/>
                <a:gd name="connsiteY31" fmla="*/ 9555 h 169520"/>
                <a:gd name="connsiteX32" fmla="*/ 140222 w 292952"/>
                <a:gd name="connsiteY32" fmla="*/ 11226 h 169520"/>
                <a:gd name="connsiteX33" fmla="*/ 120171 w 292952"/>
                <a:gd name="connsiteY33" fmla="*/ 1199 h 169520"/>
                <a:gd name="connsiteX34" fmla="*/ 84776 w 292952"/>
                <a:gd name="connsiteY34" fmla="*/ -339 h 169520"/>
                <a:gd name="connsiteX35" fmla="*/ 99714 w 292952"/>
                <a:gd name="connsiteY35" fmla="*/ 22256 h 169520"/>
                <a:gd name="connsiteX36" fmla="*/ 83478 w 292952"/>
                <a:gd name="connsiteY36" fmla="*/ 30712 h 169520"/>
                <a:gd name="connsiteX37" fmla="*/ 45973 w 292952"/>
                <a:gd name="connsiteY37" fmla="*/ 27370 h 169520"/>
                <a:gd name="connsiteX38" fmla="*/ 36150 w 292952"/>
                <a:gd name="connsiteY38" fmla="*/ 45151 h 169520"/>
                <a:gd name="connsiteX39" fmla="*/ 35907 w 292952"/>
                <a:gd name="connsiteY39" fmla="*/ 44750 h 16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92952" h="169520">
                  <a:moveTo>
                    <a:pt x="35907" y="44750"/>
                  </a:moveTo>
                  <a:cubicBezTo>
                    <a:pt x="26693" y="52069"/>
                    <a:pt x="14394" y="49697"/>
                    <a:pt x="26693" y="57083"/>
                  </a:cubicBezTo>
                  <a:cubicBezTo>
                    <a:pt x="31807" y="60158"/>
                    <a:pt x="26206" y="69416"/>
                    <a:pt x="18575" y="71255"/>
                  </a:cubicBezTo>
                  <a:cubicBezTo>
                    <a:pt x="14191" y="72100"/>
                    <a:pt x="9645" y="72495"/>
                    <a:pt x="5139" y="72425"/>
                  </a:cubicBezTo>
                  <a:cubicBezTo>
                    <a:pt x="1649" y="72425"/>
                    <a:pt x="4206" y="79510"/>
                    <a:pt x="3394" y="80513"/>
                  </a:cubicBezTo>
                  <a:cubicBezTo>
                    <a:pt x="-3222" y="88835"/>
                    <a:pt x="471" y="95253"/>
                    <a:pt x="7697" y="102372"/>
                  </a:cubicBezTo>
                  <a:cubicBezTo>
                    <a:pt x="12527" y="107118"/>
                    <a:pt x="-705" y="108756"/>
                    <a:pt x="6276" y="114371"/>
                  </a:cubicBezTo>
                  <a:cubicBezTo>
                    <a:pt x="9889" y="117296"/>
                    <a:pt x="12243" y="121126"/>
                    <a:pt x="12973" y="125267"/>
                  </a:cubicBezTo>
                  <a:cubicBezTo>
                    <a:pt x="24460" y="126838"/>
                    <a:pt x="28032" y="132320"/>
                    <a:pt x="41386" y="132152"/>
                  </a:cubicBezTo>
                  <a:cubicBezTo>
                    <a:pt x="47718" y="132152"/>
                    <a:pt x="76902" y="135495"/>
                    <a:pt x="65740" y="140575"/>
                  </a:cubicBezTo>
                  <a:cubicBezTo>
                    <a:pt x="51290" y="147260"/>
                    <a:pt x="54781" y="156552"/>
                    <a:pt x="50235" y="165075"/>
                  </a:cubicBezTo>
                  <a:cubicBezTo>
                    <a:pt x="73452" y="165877"/>
                    <a:pt x="90824" y="160897"/>
                    <a:pt x="112946" y="166278"/>
                  </a:cubicBezTo>
                  <a:cubicBezTo>
                    <a:pt x="122119" y="168517"/>
                    <a:pt x="122688" y="164941"/>
                    <a:pt x="132794" y="168450"/>
                  </a:cubicBezTo>
                  <a:cubicBezTo>
                    <a:pt x="140912" y="171325"/>
                    <a:pt x="146067" y="164707"/>
                    <a:pt x="156336" y="166011"/>
                  </a:cubicBezTo>
                  <a:cubicBezTo>
                    <a:pt x="164454" y="167080"/>
                    <a:pt x="171923" y="170289"/>
                    <a:pt x="179716" y="166211"/>
                  </a:cubicBezTo>
                  <a:cubicBezTo>
                    <a:pt x="186210" y="162869"/>
                    <a:pt x="200660" y="162267"/>
                    <a:pt x="209225" y="162568"/>
                  </a:cubicBezTo>
                  <a:cubicBezTo>
                    <a:pt x="214136" y="162568"/>
                    <a:pt x="218357" y="164707"/>
                    <a:pt x="223350" y="164373"/>
                  </a:cubicBezTo>
                  <a:cubicBezTo>
                    <a:pt x="232199" y="163771"/>
                    <a:pt x="222741" y="154914"/>
                    <a:pt x="226841" y="152073"/>
                  </a:cubicBezTo>
                  <a:cubicBezTo>
                    <a:pt x="233741" y="147293"/>
                    <a:pt x="250667" y="146090"/>
                    <a:pt x="257364" y="141444"/>
                  </a:cubicBezTo>
                  <a:cubicBezTo>
                    <a:pt x="261423" y="138737"/>
                    <a:pt x="227774" y="128075"/>
                    <a:pt x="223553" y="126704"/>
                  </a:cubicBezTo>
                  <a:cubicBezTo>
                    <a:pt x="217627" y="124465"/>
                    <a:pt x="203501" y="103976"/>
                    <a:pt x="210605" y="103308"/>
                  </a:cubicBezTo>
                  <a:cubicBezTo>
                    <a:pt x="222051" y="101971"/>
                    <a:pt x="236014" y="100868"/>
                    <a:pt x="245065" y="96623"/>
                  </a:cubicBezTo>
                  <a:cubicBezTo>
                    <a:pt x="252696" y="93114"/>
                    <a:pt x="265360" y="93983"/>
                    <a:pt x="272220" y="90473"/>
                  </a:cubicBezTo>
                  <a:cubicBezTo>
                    <a:pt x="276969" y="88100"/>
                    <a:pt x="286264" y="93013"/>
                    <a:pt x="289836" y="90473"/>
                  </a:cubicBezTo>
                  <a:cubicBezTo>
                    <a:pt x="297548" y="84724"/>
                    <a:pt x="288618" y="80981"/>
                    <a:pt x="285452" y="75600"/>
                  </a:cubicBezTo>
                  <a:cubicBezTo>
                    <a:pt x="282286" y="70219"/>
                    <a:pt x="283504" y="53473"/>
                    <a:pt x="271489" y="49797"/>
                  </a:cubicBezTo>
                  <a:cubicBezTo>
                    <a:pt x="262762" y="47123"/>
                    <a:pt x="274980" y="31648"/>
                    <a:pt x="270393" y="25197"/>
                  </a:cubicBezTo>
                  <a:cubicBezTo>
                    <a:pt x="267512" y="21052"/>
                    <a:pt x="266741" y="16674"/>
                    <a:pt x="256146" y="15638"/>
                  </a:cubicBezTo>
                  <a:cubicBezTo>
                    <a:pt x="246486" y="14702"/>
                    <a:pt x="240276" y="15638"/>
                    <a:pt x="247744" y="10658"/>
                  </a:cubicBezTo>
                  <a:cubicBezTo>
                    <a:pt x="263615" y="-71"/>
                    <a:pt x="227450" y="10323"/>
                    <a:pt x="221239" y="9254"/>
                  </a:cubicBezTo>
                  <a:cubicBezTo>
                    <a:pt x="203258" y="6079"/>
                    <a:pt x="180893" y="29007"/>
                    <a:pt x="166037" y="19582"/>
                  </a:cubicBezTo>
                  <a:cubicBezTo>
                    <a:pt x="160395" y="16039"/>
                    <a:pt x="172897" y="11426"/>
                    <a:pt x="169000" y="9555"/>
                  </a:cubicBezTo>
                  <a:cubicBezTo>
                    <a:pt x="165104" y="7683"/>
                    <a:pt x="146757" y="12028"/>
                    <a:pt x="140222" y="11226"/>
                  </a:cubicBezTo>
                  <a:cubicBezTo>
                    <a:pt x="124351" y="9221"/>
                    <a:pt x="136163" y="931"/>
                    <a:pt x="120171" y="1199"/>
                  </a:cubicBezTo>
                  <a:cubicBezTo>
                    <a:pt x="108684" y="1399"/>
                    <a:pt x="96507" y="-305"/>
                    <a:pt x="84776" y="-339"/>
                  </a:cubicBezTo>
                  <a:cubicBezTo>
                    <a:pt x="93625" y="6145"/>
                    <a:pt x="91839" y="14635"/>
                    <a:pt x="99714" y="22256"/>
                  </a:cubicBezTo>
                  <a:cubicBezTo>
                    <a:pt x="102595" y="25063"/>
                    <a:pt x="87821" y="29843"/>
                    <a:pt x="83478" y="30712"/>
                  </a:cubicBezTo>
                  <a:cubicBezTo>
                    <a:pt x="72721" y="32751"/>
                    <a:pt x="58393" y="26300"/>
                    <a:pt x="45973" y="27370"/>
                  </a:cubicBezTo>
                  <a:cubicBezTo>
                    <a:pt x="24582" y="29074"/>
                    <a:pt x="44105" y="38767"/>
                    <a:pt x="36150" y="45151"/>
                  </a:cubicBezTo>
                  <a:cubicBezTo>
                    <a:pt x="28195" y="51535"/>
                    <a:pt x="38707" y="42510"/>
                    <a:pt x="35907" y="447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A04644D7-38B9-4EE6-9920-EE0F4B9084C6}"/>
                </a:ext>
              </a:extLst>
            </p:cNvPr>
            <p:cNvSpPr/>
            <p:nvPr/>
          </p:nvSpPr>
          <p:spPr>
            <a:xfrm>
              <a:off x="6460765" y="3401638"/>
              <a:ext cx="358021" cy="275616"/>
            </a:xfrm>
            <a:custGeom>
              <a:avLst/>
              <a:gdLst>
                <a:gd name="connsiteX0" fmla="*/ 302349 w 358021"/>
                <a:gd name="connsiteY0" fmla="*/ 241220 h 275616"/>
                <a:gd name="connsiteX1" fmla="*/ 357957 w 358021"/>
                <a:gd name="connsiteY1" fmla="*/ 216319 h 275616"/>
                <a:gd name="connsiteX2" fmla="*/ 309818 w 358021"/>
                <a:gd name="connsiteY2" fmla="*/ 184299 h 275616"/>
                <a:gd name="connsiteX3" fmla="*/ 325688 w 358021"/>
                <a:gd name="connsiteY3" fmla="*/ 175542 h 275616"/>
                <a:gd name="connsiteX4" fmla="*/ 315135 w 358021"/>
                <a:gd name="connsiteY4" fmla="*/ 161738 h 275616"/>
                <a:gd name="connsiteX5" fmla="*/ 300726 w 358021"/>
                <a:gd name="connsiteY5" fmla="*/ 152179 h 275616"/>
                <a:gd name="connsiteX6" fmla="*/ 304257 w 358021"/>
                <a:gd name="connsiteY6" fmla="*/ 135634 h 275616"/>
                <a:gd name="connsiteX7" fmla="*/ 319559 w 358021"/>
                <a:gd name="connsiteY7" fmla="*/ 130019 h 275616"/>
                <a:gd name="connsiteX8" fmla="*/ 294556 w 358021"/>
                <a:gd name="connsiteY8" fmla="*/ 105954 h 275616"/>
                <a:gd name="connsiteX9" fmla="*/ 320209 w 358021"/>
                <a:gd name="connsiteY9" fmla="*/ 77979 h 275616"/>
                <a:gd name="connsiteX10" fmla="*/ 299386 w 358021"/>
                <a:gd name="connsiteY10" fmla="*/ 65044 h 275616"/>
                <a:gd name="connsiteX11" fmla="*/ 270608 w 358021"/>
                <a:gd name="connsiteY11" fmla="*/ 52109 h 275616"/>
                <a:gd name="connsiteX12" fmla="*/ 298452 w 358021"/>
                <a:gd name="connsiteY12" fmla="*/ 16680 h 275616"/>
                <a:gd name="connsiteX13" fmla="*/ 267361 w 358021"/>
                <a:gd name="connsiteY13" fmla="*/ 6218 h 275616"/>
                <a:gd name="connsiteX14" fmla="*/ 235376 w 358021"/>
                <a:gd name="connsiteY14" fmla="*/ 2408 h 275616"/>
                <a:gd name="connsiteX15" fmla="*/ 204609 w 358021"/>
                <a:gd name="connsiteY15" fmla="*/ 2575 h 275616"/>
                <a:gd name="connsiteX16" fmla="*/ 178631 w 358021"/>
                <a:gd name="connsiteY16" fmla="*/ 12335 h 275616"/>
                <a:gd name="connsiteX17" fmla="*/ 177779 w 358021"/>
                <a:gd name="connsiteY17" fmla="*/ 27843 h 275616"/>
                <a:gd name="connsiteX18" fmla="*/ 158215 w 358021"/>
                <a:gd name="connsiteY18" fmla="*/ 32556 h 275616"/>
                <a:gd name="connsiteX19" fmla="*/ 106301 w 358021"/>
                <a:gd name="connsiteY19" fmla="*/ 32556 h 275616"/>
                <a:gd name="connsiteX20" fmla="*/ 61043 w 358021"/>
                <a:gd name="connsiteY20" fmla="*/ 28645 h 275616"/>
                <a:gd name="connsiteX21" fmla="*/ 29748 w 358021"/>
                <a:gd name="connsiteY21" fmla="*/ 14908 h 275616"/>
                <a:gd name="connsiteX22" fmla="*/ 10509 w 358021"/>
                <a:gd name="connsiteY22" fmla="*/ 18886 h 275616"/>
                <a:gd name="connsiteX23" fmla="*/ 19844 w 358021"/>
                <a:gd name="connsiteY23" fmla="*/ 28345 h 275616"/>
                <a:gd name="connsiteX24" fmla="*/ 72611 w 358021"/>
                <a:gd name="connsiteY24" fmla="*/ 44321 h 275616"/>
                <a:gd name="connsiteX25" fmla="*/ 91769 w 358021"/>
                <a:gd name="connsiteY25" fmla="*/ 57457 h 275616"/>
                <a:gd name="connsiteX26" fmla="*/ 97249 w 358021"/>
                <a:gd name="connsiteY26" fmla="*/ 74837 h 275616"/>
                <a:gd name="connsiteX27" fmla="*/ 97858 w 358021"/>
                <a:gd name="connsiteY27" fmla="*/ 83928 h 275616"/>
                <a:gd name="connsiteX28" fmla="*/ 106503 w 358021"/>
                <a:gd name="connsiteY28" fmla="*/ 90078 h 275616"/>
                <a:gd name="connsiteX29" fmla="*/ 96762 w 358021"/>
                <a:gd name="connsiteY29" fmla="*/ 103849 h 275616"/>
                <a:gd name="connsiteX30" fmla="*/ 106747 w 358021"/>
                <a:gd name="connsiteY30" fmla="*/ 111436 h 275616"/>
                <a:gd name="connsiteX31" fmla="*/ 128016 w 358021"/>
                <a:gd name="connsiteY31" fmla="*/ 122633 h 275616"/>
                <a:gd name="connsiteX32" fmla="*/ 148311 w 358021"/>
                <a:gd name="connsiteY32" fmla="*/ 142286 h 275616"/>
                <a:gd name="connsiteX33" fmla="*/ 125256 w 358021"/>
                <a:gd name="connsiteY33" fmla="*/ 147399 h 275616"/>
                <a:gd name="connsiteX34" fmla="*/ 91080 w 358021"/>
                <a:gd name="connsiteY34" fmla="*/ 166250 h 275616"/>
                <a:gd name="connsiteX35" fmla="*/ 57471 w 358021"/>
                <a:gd name="connsiteY35" fmla="*/ 174640 h 275616"/>
                <a:gd name="connsiteX36" fmla="*/ 27516 w 358021"/>
                <a:gd name="connsiteY36" fmla="*/ 187274 h 275616"/>
                <a:gd name="connsiteX37" fmla="*/ 483 w 358021"/>
                <a:gd name="connsiteY37" fmla="*/ 199808 h 275616"/>
                <a:gd name="connsiteX38" fmla="*/ 8601 w 358021"/>
                <a:gd name="connsiteY38" fmla="*/ 215717 h 275616"/>
                <a:gd name="connsiteX39" fmla="*/ 16394 w 358021"/>
                <a:gd name="connsiteY39" fmla="*/ 229287 h 275616"/>
                <a:gd name="connsiteX40" fmla="*/ 1823 w 358021"/>
                <a:gd name="connsiteY40" fmla="*/ 255491 h 275616"/>
                <a:gd name="connsiteX41" fmla="*/ 35471 w 358021"/>
                <a:gd name="connsiteY41" fmla="*/ 263379 h 275616"/>
                <a:gd name="connsiteX42" fmla="*/ 47446 w 358021"/>
                <a:gd name="connsiteY42" fmla="*/ 267958 h 275616"/>
                <a:gd name="connsiteX43" fmla="*/ 61855 w 358021"/>
                <a:gd name="connsiteY43" fmla="*/ 270031 h 275616"/>
                <a:gd name="connsiteX44" fmla="*/ 105489 w 358021"/>
                <a:gd name="connsiteY44" fmla="*/ 275178 h 275616"/>
                <a:gd name="connsiteX45" fmla="*/ 208871 w 358021"/>
                <a:gd name="connsiteY45" fmla="*/ 268861 h 275616"/>
                <a:gd name="connsiteX46" fmla="*/ 253520 w 358021"/>
                <a:gd name="connsiteY46" fmla="*/ 257163 h 275616"/>
                <a:gd name="connsiteX47" fmla="*/ 302674 w 358021"/>
                <a:gd name="connsiteY47" fmla="*/ 241286 h 275616"/>
                <a:gd name="connsiteX48" fmla="*/ 302349 w 358021"/>
                <a:gd name="connsiteY48" fmla="*/ 241220 h 275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58021" h="275616">
                  <a:moveTo>
                    <a:pt x="302349" y="241220"/>
                  </a:moveTo>
                  <a:cubicBezTo>
                    <a:pt x="312983" y="231192"/>
                    <a:pt x="358485" y="229588"/>
                    <a:pt x="357957" y="216319"/>
                  </a:cubicBezTo>
                  <a:cubicBezTo>
                    <a:pt x="357673" y="208164"/>
                    <a:pt x="298169" y="186873"/>
                    <a:pt x="309818" y="184299"/>
                  </a:cubicBezTo>
                  <a:cubicBezTo>
                    <a:pt x="316475" y="182795"/>
                    <a:pt x="334943" y="181659"/>
                    <a:pt x="325688" y="175542"/>
                  </a:cubicBezTo>
                  <a:cubicBezTo>
                    <a:pt x="316434" y="169426"/>
                    <a:pt x="303323" y="168857"/>
                    <a:pt x="315135" y="161738"/>
                  </a:cubicBezTo>
                  <a:cubicBezTo>
                    <a:pt x="321345" y="158095"/>
                    <a:pt x="292486" y="154820"/>
                    <a:pt x="300726" y="152179"/>
                  </a:cubicBezTo>
                  <a:cubicBezTo>
                    <a:pt x="316109" y="147266"/>
                    <a:pt x="292608" y="141951"/>
                    <a:pt x="304257" y="135634"/>
                  </a:cubicBezTo>
                  <a:cubicBezTo>
                    <a:pt x="309087" y="133094"/>
                    <a:pt x="322482" y="135133"/>
                    <a:pt x="319559" y="130019"/>
                  </a:cubicBezTo>
                  <a:cubicBezTo>
                    <a:pt x="314892" y="121764"/>
                    <a:pt x="303323" y="113307"/>
                    <a:pt x="294556" y="105954"/>
                  </a:cubicBezTo>
                  <a:cubicBezTo>
                    <a:pt x="271826" y="86335"/>
                    <a:pt x="318910" y="93186"/>
                    <a:pt x="320209" y="77979"/>
                  </a:cubicBezTo>
                  <a:cubicBezTo>
                    <a:pt x="320614" y="73801"/>
                    <a:pt x="305231" y="67617"/>
                    <a:pt x="299386" y="65044"/>
                  </a:cubicBezTo>
                  <a:cubicBezTo>
                    <a:pt x="287209" y="59663"/>
                    <a:pt x="279091" y="60064"/>
                    <a:pt x="270608" y="52109"/>
                  </a:cubicBezTo>
                  <a:cubicBezTo>
                    <a:pt x="255509" y="38171"/>
                    <a:pt x="320899" y="30952"/>
                    <a:pt x="298452" y="16680"/>
                  </a:cubicBezTo>
                  <a:cubicBezTo>
                    <a:pt x="290822" y="11833"/>
                    <a:pt x="276169" y="10563"/>
                    <a:pt x="267361" y="6218"/>
                  </a:cubicBezTo>
                  <a:cubicBezTo>
                    <a:pt x="258553" y="1873"/>
                    <a:pt x="246822" y="-3809"/>
                    <a:pt x="235376" y="2408"/>
                  </a:cubicBezTo>
                  <a:cubicBezTo>
                    <a:pt x="229937" y="5416"/>
                    <a:pt x="212077" y="2074"/>
                    <a:pt x="204609" y="2575"/>
                  </a:cubicBezTo>
                  <a:cubicBezTo>
                    <a:pt x="195598" y="5132"/>
                    <a:pt x="186871" y="8401"/>
                    <a:pt x="178631" y="12335"/>
                  </a:cubicBezTo>
                  <a:cubicBezTo>
                    <a:pt x="171813" y="16580"/>
                    <a:pt x="183421" y="23365"/>
                    <a:pt x="177779" y="27843"/>
                  </a:cubicBezTo>
                  <a:cubicBezTo>
                    <a:pt x="172137" y="32322"/>
                    <a:pt x="160529" y="25370"/>
                    <a:pt x="158215" y="32556"/>
                  </a:cubicBezTo>
                  <a:cubicBezTo>
                    <a:pt x="152370" y="50906"/>
                    <a:pt x="119614" y="22930"/>
                    <a:pt x="106301" y="32556"/>
                  </a:cubicBezTo>
                  <a:cubicBezTo>
                    <a:pt x="99766" y="37269"/>
                    <a:pt x="68511" y="30985"/>
                    <a:pt x="61043" y="28645"/>
                  </a:cubicBezTo>
                  <a:cubicBezTo>
                    <a:pt x="49962" y="25303"/>
                    <a:pt x="43265" y="16212"/>
                    <a:pt x="29748" y="14908"/>
                  </a:cubicBezTo>
                  <a:cubicBezTo>
                    <a:pt x="22970" y="14334"/>
                    <a:pt x="16150" y="15744"/>
                    <a:pt x="10509" y="18886"/>
                  </a:cubicBezTo>
                  <a:cubicBezTo>
                    <a:pt x="1660" y="23899"/>
                    <a:pt x="11970" y="24668"/>
                    <a:pt x="19844" y="28345"/>
                  </a:cubicBezTo>
                  <a:cubicBezTo>
                    <a:pt x="35756" y="35698"/>
                    <a:pt x="53534" y="39375"/>
                    <a:pt x="72611" y="44321"/>
                  </a:cubicBezTo>
                  <a:cubicBezTo>
                    <a:pt x="85519" y="47664"/>
                    <a:pt x="94976" y="50204"/>
                    <a:pt x="91769" y="57457"/>
                  </a:cubicBezTo>
                  <a:cubicBezTo>
                    <a:pt x="88238" y="65378"/>
                    <a:pt x="97290" y="68186"/>
                    <a:pt x="97249" y="74837"/>
                  </a:cubicBezTo>
                  <a:cubicBezTo>
                    <a:pt x="97249" y="77711"/>
                    <a:pt x="95463" y="81054"/>
                    <a:pt x="97858" y="83928"/>
                  </a:cubicBezTo>
                  <a:cubicBezTo>
                    <a:pt x="100253" y="86803"/>
                    <a:pt x="105205" y="86970"/>
                    <a:pt x="106503" y="90078"/>
                  </a:cubicBezTo>
                  <a:cubicBezTo>
                    <a:pt x="109061" y="96195"/>
                    <a:pt x="93799" y="100774"/>
                    <a:pt x="96762" y="103849"/>
                  </a:cubicBezTo>
                  <a:cubicBezTo>
                    <a:pt x="99725" y="106924"/>
                    <a:pt x="104880" y="108595"/>
                    <a:pt x="106747" y="111436"/>
                  </a:cubicBezTo>
                  <a:cubicBezTo>
                    <a:pt x="112227" y="119257"/>
                    <a:pt x="112145" y="118120"/>
                    <a:pt x="128016" y="122633"/>
                  </a:cubicBezTo>
                  <a:cubicBezTo>
                    <a:pt x="147418" y="128114"/>
                    <a:pt x="148920" y="132058"/>
                    <a:pt x="148311" y="142286"/>
                  </a:cubicBezTo>
                  <a:cubicBezTo>
                    <a:pt x="147946" y="147901"/>
                    <a:pt x="132400" y="140949"/>
                    <a:pt x="125256" y="147399"/>
                  </a:cubicBezTo>
                  <a:cubicBezTo>
                    <a:pt x="116570" y="155254"/>
                    <a:pt x="110319" y="163209"/>
                    <a:pt x="91080" y="166250"/>
                  </a:cubicBezTo>
                  <a:cubicBezTo>
                    <a:pt x="77807" y="168356"/>
                    <a:pt x="70460" y="172133"/>
                    <a:pt x="57471" y="174640"/>
                  </a:cubicBezTo>
                  <a:cubicBezTo>
                    <a:pt x="40302" y="177982"/>
                    <a:pt x="50003" y="187374"/>
                    <a:pt x="27516" y="187274"/>
                  </a:cubicBezTo>
                  <a:cubicBezTo>
                    <a:pt x="16678" y="187936"/>
                    <a:pt x="6775" y="192531"/>
                    <a:pt x="483" y="199808"/>
                  </a:cubicBezTo>
                  <a:cubicBezTo>
                    <a:pt x="-2805" y="204253"/>
                    <a:pt x="9981" y="210269"/>
                    <a:pt x="8601" y="215717"/>
                  </a:cubicBezTo>
                  <a:cubicBezTo>
                    <a:pt x="7343" y="220463"/>
                    <a:pt x="14689" y="224675"/>
                    <a:pt x="16394" y="229287"/>
                  </a:cubicBezTo>
                  <a:cubicBezTo>
                    <a:pt x="19520" y="237911"/>
                    <a:pt x="-4185" y="247971"/>
                    <a:pt x="1823" y="255491"/>
                  </a:cubicBezTo>
                  <a:cubicBezTo>
                    <a:pt x="2878" y="256795"/>
                    <a:pt x="31656" y="263413"/>
                    <a:pt x="35471" y="263379"/>
                  </a:cubicBezTo>
                  <a:cubicBezTo>
                    <a:pt x="41398" y="263379"/>
                    <a:pt x="44158" y="265986"/>
                    <a:pt x="47446" y="267958"/>
                  </a:cubicBezTo>
                  <a:cubicBezTo>
                    <a:pt x="52113" y="270766"/>
                    <a:pt x="56456" y="268761"/>
                    <a:pt x="61855" y="270031"/>
                  </a:cubicBezTo>
                  <a:cubicBezTo>
                    <a:pt x="75899" y="273985"/>
                    <a:pt x="90674" y="275729"/>
                    <a:pt x="105489" y="275178"/>
                  </a:cubicBezTo>
                  <a:cubicBezTo>
                    <a:pt x="140518" y="273640"/>
                    <a:pt x="173193" y="267958"/>
                    <a:pt x="208871" y="268861"/>
                  </a:cubicBezTo>
                  <a:cubicBezTo>
                    <a:pt x="233671" y="269529"/>
                    <a:pt x="234808" y="263045"/>
                    <a:pt x="253520" y="257163"/>
                  </a:cubicBezTo>
                  <a:cubicBezTo>
                    <a:pt x="269066" y="252249"/>
                    <a:pt x="293501" y="249976"/>
                    <a:pt x="302674" y="241286"/>
                  </a:cubicBezTo>
                  <a:cubicBezTo>
                    <a:pt x="311847" y="232596"/>
                    <a:pt x="293379" y="249742"/>
                    <a:pt x="302349" y="2412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29154B11-3F7A-45F3-A771-1CF070B0E581}"/>
                </a:ext>
              </a:extLst>
            </p:cNvPr>
            <p:cNvSpPr/>
            <p:nvPr/>
          </p:nvSpPr>
          <p:spPr>
            <a:xfrm>
              <a:off x="6832069" y="4319272"/>
              <a:ext cx="611059" cy="299682"/>
            </a:xfrm>
            <a:custGeom>
              <a:avLst/>
              <a:gdLst>
                <a:gd name="connsiteX0" fmla="*/ 384432 w 611059"/>
                <a:gd name="connsiteY0" fmla="*/ 86178 h 299682"/>
                <a:gd name="connsiteX1" fmla="*/ 333289 w 611059"/>
                <a:gd name="connsiteY1" fmla="*/ 76552 h 299682"/>
                <a:gd name="connsiteX2" fmla="*/ 280523 w 611059"/>
                <a:gd name="connsiteY2" fmla="*/ 55863 h 299682"/>
                <a:gd name="connsiteX3" fmla="*/ 179819 w 611059"/>
                <a:gd name="connsiteY3" fmla="*/ 4792 h 299682"/>
                <a:gd name="connsiteX4" fmla="*/ 126443 w 611059"/>
                <a:gd name="connsiteY4" fmla="*/ 1449 h 299682"/>
                <a:gd name="connsiteX5" fmla="*/ 86259 w 611059"/>
                <a:gd name="connsiteY5" fmla="*/ 12145 h 299682"/>
                <a:gd name="connsiteX6" fmla="*/ 74529 w 611059"/>
                <a:gd name="connsiteY6" fmla="*/ 32199 h 299682"/>
                <a:gd name="connsiteX7" fmla="*/ 49689 w 611059"/>
                <a:gd name="connsiteY7" fmla="*/ 42627 h 299682"/>
                <a:gd name="connsiteX8" fmla="*/ 6704 w 611059"/>
                <a:gd name="connsiteY8" fmla="*/ 33536 h 299682"/>
                <a:gd name="connsiteX9" fmla="*/ 26674 w 611059"/>
                <a:gd name="connsiteY9" fmla="*/ 81265 h 299682"/>
                <a:gd name="connsiteX10" fmla="*/ 60404 w 611059"/>
                <a:gd name="connsiteY10" fmla="*/ 114087 h 299682"/>
                <a:gd name="connsiteX11" fmla="*/ 86259 w 611059"/>
                <a:gd name="connsiteY11" fmla="*/ 144168 h 299682"/>
                <a:gd name="connsiteX12" fmla="*/ 116783 w 611059"/>
                <a:gd name="connsiteY12" fmla="*/ 173547 h 299682"/>
                <a:gd name="connsiteX13" fmla="*/ 130462 w 611059"/>
                <a:gd name="connsiteY13" fmla="*/ 213221 h 299682"/>
                <a:gd name="connsiteX14" fmla="*/ 156642 w 611059"/>
                <a:gd name="connsiteY14" fmla="*/ 229164 h 299682"/>
                <a:gd name="connsiteX15" fmla="*/ 172878 w 611059"/>
                <a:gd name="connsiteY15" fmla="*/ 252928 h 299682"/>
                <a:gd name="connsiteX16" fmla="*/ 205350 w 611059"/>
                <a:gd name="connsiteY16" fmla="*/ 295410 h 299682"/>
                <a:gd name="connsiteX17" fmla="*/ 219232 w 611059"/>
                <a:gd name="connsiteY17" fmla="*/ 286118 h 299682"/>
                <a:gd name="connsiteX18" fmla="*/ 242409 w 611059"/>
                <a:gd name="connsiteY18" fmla="*/ 280436 h 299682"/>
                <a:gd name="connsiteX19" fmla="*/ 273379 w 611059"/>
                <a:gd name="connsiteY19" fmla="*/ 284881 h 299682"/>
                <a:gd name="connsiteX20" fmla="*/ 296352 w 611059"/>
                <a:gd name="connsiteY20" fmla="*/ 290363 h 299682"/>
                <a:gd name="connsiteX21" fmla="*/ 352407 w 611059"/>
                <a:gd name="connsiteY21" fmla="*/ 296112 h 299682"/>
                <a:gd name="connsiteX22" fmla="*/ 397502 w 611059"/>
                <a:gd name="connsiteY22" fmla="*/ 280302 h 299682"/>
                <a:gd name="connsiteX23" fmla="*/ 450269 w 611059"/>
                <a:gd name="connsiteY23" fmla="*/ 284614 h 299682"/>
                <a:gd name="connsiteX24" fmla="*/ 493132 w 611059"/>
                <a:gd name="connsiteY24" fmla="*/ 284614 h 299682"/>
                <a:gd name="connsiteX25" fmla="*/ 553245 w 611059"/>
                <a:gd name="connsiteY25" fmla="*/ 282408 h 299682"/>
                <a:gd name="connsiteX26" fmla="*/ 586407 w 611059"/>
                <a:gd name="connsiteY26" fmla="*/ 279066 h 299682"/>
                <a:gd name="connsiteX27" fmla="*/ 591805 w 611059"/>
                <a:gd name="connsiteY27" fmla="*/ 233208 h 299682"/>
                <a:gd name="connsiteX28" fmla="*/ 535994 w 611059"/>
                <a:gd name="connsiteY28" fmla="*/ 221243 h 299682"/>
                <a:gd name="connsiteX29" fmla="*/ 502954 w 611059"/>
                <a:gd name="connsiteY29" fmla="*/ 193668 h 299682"/>
                <a:gd name="connsiteX30" fmla="*/ 497271 w 611059"/>
                <a:gd name="connsiteY30" fmla="*/ 184744 h 299682"/>
                <a:gd name="connsiteX31" fmla="*/ 484648 w 611059"/>
                <a:gd name="connsiteY31" fmla="*/ 181770 h 299682"/>
                <a:gd name="connsiteX32" fmla="*/ 466342 w 611059"/>
                <a:gd name="connsiteY32" fmla="*/ 164490 h 299682"/>
                <a:gd name="connsiteX33" fmla="*/ 452136 w 611059"/>
                <a:gd name="connsiteY33" fmla="*/ 131267 h 299682"/>
                <a:gd name="connsiteX34" fmla="*/ 431313 w 611059"/>
                <a:gd name="connsiteY34" fmla="*/ 115758 h 299682"/>
                <a:gd name="connsiteX35" fmla="*/ 421450 w 611059"/>
                <a:gd name="connsiteY35" fmla="*/ 99380 h 299682"/>
                <a:gd name="connsiteX36" fmla="*/ 384432 w 611059"/>
                <a:gd name="connsiteY36" fmla="*/ 86178 h 29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11059" h="299682">
                  <a:moveTo>
                    <a:pt x="384432" y="86178"/>
                  </a:moveTo>
                  <a:cubicBezTo>
                    <a:pt x="367465" y="82836"/>
                    <a:pt x="350459" y="79259"/>
                    <a:pt x="333289" y="76552"/>
                  </a:cubicBezTo>
                  <a:cubicBezTo>
                    <a:pt x="309706" y="72875"/>
                    <a:pt x="297083" y="65623"/>
                    <a:pt x="280523" y="55863"/>
                  </a:cubicBezTo>
                  <a:cubicBezTo>
                    <a:pt x="248659" y="36674"/>
                    <a:pt x="214970" y="19598"/>
                    <a:pt x="179819" y="4792"/>
                  </a:cubicBezTo>
                  <a:cubicBezTo>
                    <a:pt x="162081" y="-2361"/>
                    <a:pt x="144303" y="-556"/>
                    <a:pt x="126443" y="1449"/>
                  </a:cubicBezTo>
                  <a:cubicBezTo>
                    <a:pt x="114916" y="2619"/>
                    <a:pt x="62271" y="-322"/>
                    <a:pt x="86259" y="12145"/>
                  </a:cubicBezTo>
                  <a:cubicBezTo>
                    <a:pt x="106230" y="22540"/>
                    <a:pt x="103998" y="33102"/>
                    <a:pt x="74529" y="32199"/>
                  </a:cubicBezTo>
                  <a:cubicBezTo>
                    <a:pt x="59917" y="31698"/>
                    <a:pt x="61500" y="39652"/>
                    <a:pt x="49689" y="42627"/>
                  </a:cubicBezTo>
                  <a:cubicBezTo>
                    <a:pt x="34548" y="46437"/>
                    <a:pt x="19043" y="38516"/>
                    <a:pt x="6704" y="33536"/>
                  </a:cubicBezTo>
                  <a:cubicBezTo>
                    <a:pt x="-10181" y="50248"/>
                    <a:pt x="7597" y="66959"/>
                    <a:pt x="26674" y="81265"/>
                  </a:cubicBezTo>
                  <a:cubicBezTo>
                    <a:pt x="39541" y="91008"/>
                    <a:pt x="50865" y="102034"/>
                    <a:pt x="60404" y="114087"/>
                  </a:cubicBezTo>
                  <a:cubicBezTo>
                    <a:pt x="69618" y="125685"/>
                    <a:pt x="67020" y="134509"/>
                    <a:pt x="86259" y="144168"/>
                  </a:cubicBezTo>
                  <a:cubicBezTo>
                    <a:pt x="96123" y="149048"/>
                    <a:pt x="116175" y="166161"/>
                    <a:pt x="116783" y="173547"/>
                  </a:cubicBezTo>
                  <a:cubicBezTo>
                    <a:pt x="117920" y="187485"/>
                    <a:pt x="111953" y="200821"/>
                    <a:pt x="130462" y="213221"/>
                  </a:cubicBezTo>
                  <a:cubicBezTo>
                    <a:pt x="138864" y="218870"/>
                    <a:pt x="149458" y="222747"/>
                    <a:pt x="156642" y="229164"/>
                  </a:cubicBezTo>
                  <a:cubicBezTo>
                    <a:pt x="164760" y="236517"/>
                    <a:pt x="167520" y="244973"/>
                    <a:pt x="172878" y="252928"/>
                  </a:cubicBezTo>
                  <a:cubicBezTo>
                    <a:pt x="183107" y="267702"/>
                    <a:pt x="197679" y="280135"/>
                    <a:pt x="205350" y="295410"/>
                  </a:cubicBezTo>
                  <a:cubicBezTo>
                    <a:pt x="217892" y="293404"/>
                    <a:pt x="220044" y="293906"/>
                    <a:pt x="219232" y="286118"/>
                  </a:cubicBezTo>
                  <a:cubicBezTo>
                    <a:pt x="218542" y="279433"/>
                    <a:pt x="234209" y="277729"/>
                    <a:pt x="242409" y="280436"/>
                  </a:cubicBezTo>
                  <a:cubicBezTo>
                    <a:pt x="251866" y="283778"/>
                    <a:pt x="263231" y="283244"/>
                    <a:pt x="273379" y="284881"/>
                  </a:cubicBezTo>
                  <a:cubicBezTo>
                    <a:pt x="281497" y="286218"/>
                    <a:pt x="288519" y="288992"/>
                    <a:pt x="296352" y="290363"/>
                  </a:cubicBezTo>
                  <a:cubicBezTo>
                    <a:pt x="312263" y="293204"/>
                    <a:pt x="343315" y="304935"/>
                    <a:pt x="352407" y="296112"/>
                  </a:cubicBezTo>
                  <a:cubicBezTo>
                    <a:pt x="360525" y="288157"/>
                    <a:pt x="383255" y="283611"/>
                    <a:pt x="397502" y="280302"/>
                  </a:cubicBezTo>
                  <a:cubicBezTo>
                    <a:pt x="411749" y="276993"/>
                    <a:pt x="434642" y="283143"/>
                    <a:pt x="450269" y="284614"/>
                  </a:cubicBezTo>
                  <a:cubicBezTo>
                    <a:pt x="464516" y="285533"/>
                    <a:pt x="478885" y="285533"/>
                    <a:pt x="493132" y="284614"/>
                  </a:cubicBezTo>
                  <a:cubicBezTo>
                    <a:pt x="513183" y="283945"/>
                    <a:pt x="533234" y="283210"/>
                    <a:pt x="553245" y="282408"/>
                  </a:cubicBezTo>
                  <a:cubicBezTo>
                    <a:pt x="561850" y="282074"/>
                    <a:pt x="581049" y="283478"/>
                    <a:pt x="586407" y="279066"/>
                  </a:cubicBezTo>
                  <a:cubicBezTo>
                    <a:pt x="599233" y="268571"/>
                    <a:pt x="631583" y="240762"/>
                    <a:pt x="591805" y="233208"/>
                  </a:cubicBezTo>
                  <a:cubicBezTo>
                    <a:pt x="573093" y="229666"/>
                    <a:pt x="554382" y="225621"/>
                    <a:pt x="535994" y="221243"/>
                  </a:cubicBezTo>
                  <a:cubicBezTo>
                    <a:pt x="513832" y="215962"/>
                    <a:pt x="513467" y="204030"/>
                    <a:pt x="502954" y="193668"/>
                  </a:cubicBezTo>
                  <a:cubicBezTo>
                    <a:pt x="500194" y="191118"/>
                    <a:pt x="498246" y="188056"/>
                    <a:pt x="497271" y="184744"/>
                  </a:cubicBezTo>
                  <a:cubicBezTo>
                    <a:pt x="492847" y="184497"/>
                    <a:pt x="488545" y="183484"/>
                    <a:pt x="484648" y="181770"/>
                  </a:cubicBezTo>
                  <a:cubicBezTo>
                    <a:pt x="476530" y="178126"/>
                    <a:pt x="470888" y="169704"/>
                    <a:pt x="466342" y="164490"/>
                  </a:cubicBezTo>
                  <a:cubicBezTo>
                    <a:pt x="455099" y="151722"/>
                    <a:pt x="470401" y="144168"/>
                    <a:pt x="452136" y="131267"/>
                  </a:cubicBezTo>
                  <a:cubicBezTo>
                    <a:pt x="444870" y="126410"/>
                    <a:pt x="437889" y="121233"/>
                    <a:pt x="431313" y="115758"/>
                  </a:cubicBezTo>
                  <a:cubicBezTo>
                    <a:pt x="428635" y="113351"/>
                    <a:pt x="422992" y="99648"/>
                    <a:pt x="421450" y="99380"/>
                  </a:cubicBezTo>
                  <a:cubicBezTo>
                    <a:pt x="402048" y="96005"/>
                    <a:pt x="397908" y="94968"/>
                    <a:pt x="384432" y="8617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07CBB08F-A873-4493-9B3E-807978F00F52}"/>
                </a:ext>
              </a:extLst>
            </p:cNvPr>
            <p:cNvSpPr/>
            <p:nvPr/>
          </p:nvSpPr>
          <p:spPr>
            <a:xfrm>
              <a:off x="7321932" y="4517090"/>
              <a:ext cx="248503" cy="135687"/>
            </a:xfrm>
            <a:custGeom>
              <a:avLst/>
              <a:gdLst>
                <a:gd name="connsiteX0" fmla="*/ 141761 w 248503"/>
                <a:gd name="connsiteY0" fmla="*/ -339 h 135687"/>
                <a:gd name="connsiteX1" fmla="*/ 126012 w 248503"/>
                <a:gd name="connsiteY1" fmla="*/ 18445 h 135687"/>
                <a:gd name="connsiteX2" fmla="*/ 103647 w 248503"/>
                <a:gd name="connsiteY2" fmla="*/ 35391 h 135687"/>
                <a:gd name="connsiteX3" fmla="*/ 98168 w 248503"/>
                <a:gd name="connsiteY3" fmla="*/ 79376 h 135687"/>
                <a:gd name="connsiteX4" fmla="*/ 72150 w 248503"/>
                <a:gd name="connsiteY4" fmla="*/ 83822 h 135687"/>
                <a:gd name="connsiteX5" fmla="*/ -60 w 248503"/>
                <a:gd name="connsiteY5" fmla="*/ 86496 h 135687"/>
                <a:gd name="connsiteX6" fmla="*/ 26730 w 248503"/>
                <a:gd name="connsiteY6" fmla="*/ 134124 h 135687"/>
                <a:gd name="connsiteX7" fmla="*/ 68618 w 248503"/>
                <a:gd name="connsiteY7" fmla="*/ 134325 h 135687"/>
                <a:gd name="connsiteX8" fmla="*/ 92445 w 248503"/>
                <a:gd name="connsiteY8" fmla="*/ 126771 h 135687"/>
                <a:gd name="connsiteX9" fmla="*/ 121466 w 248503"/>
                <a:gd name="connsiteY9" fmla="*/ 125334 h 135687"/>
                <a:gd name="connsiteX10" fmla="*/ 141355 w 248503"/>
                <a:gd name="connsiteY10" fmla="*/ 118850 h 135687"/>
                <a:gd name="connsiteX11" fmla="*/ 166399 w 248503"/>
                <a:gd name="connsiteY11" fmla="*/ 114371 h 135687"/>
                <a:gd name="connsiteX12" fmla="*/ 175856 w 248503"/>
                <a:gd name="connsiteY12" fmla="*/ 100701 h 135687"/>
                <a:gd name="connsiteX13" fmla="*/ 215594 w 248503"/>
                <a:gd name="connsiteY13" fmla="*/ 83989 h 135687"/>
                <a:gd name="connsiteX14" fmla="*/ 243723 w 248503"/>
                <a:gd name="connsiteY14" fmla="*/ 60592 h 135687"/>
                <a:gd name="connsiteX15" fmla="*/ 213889 w 248503"/>
                <a:gd name="connsiteY15" fmla="*/ 34856 h 135687"/>
                <a:gd name="connsiteX16" fmla="*/ 164207 w 248503"/>
                <a:gd name="connsiteY16" fmla="*/ -138 h 135687"/>
                <a:gd name="connsiteX17" fmla="*/ 141761 w 248503"/>
                <a:gd name="connsiteY17" fmla="*/ -339 h 135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503" h="135687">
                  <a:moveTo>
                    <a:pt x="141761" y="-339"/>
                  </a:moveTo>
                  <a:cubicBezTo>
                    <a:pt x="139366" y="9889"/>
                    <a:pt x="139001" y="12229"/>
                    <a:pt x="126012" y="18445"/>
                  </a:cubicBezTo>
                  <a:cubicBezTo>
                    <a:pt x="117367" y="22917"/>
                    <a:pt x="109777" y="28663"/>
                    <a:pt x="103647" y="35391"/>
                  </a:cubicBezTo>
                  <a:cubicBezTo>
                    <a:pt x="141477" y="42510"/>
                    <a:pt x="108599" y="69717"/>
                    <a:pt x="98168" y="79376"/>
                  </a:cubicBezTo>
                  <a:cubicBezTo>
                    <a:pt x="92729" y="84390"/>
                    <a:pt x="82216" y="83387"/>
                    <a:pt x="72150" y="83822"/>
                  </a:cubicBezTo>
                  <a:cubicBezTo>
                    <a:pt x="48120" y="84858"/>
                    <a:pt x="24051" y="85694"/>
                    <a:pt x="-60" y="86496"/>
                  </a:cubicBezTo>
                  <a:cubicBezTo>
                    <a:pt x="8911" y="102382"/>
                    <a:pt x="17841" y="118258"/>
                    <a:pt x="26730" y="134124"/>
                  </a:cubicBezTo>
                  <a:cubicBezTo>
                    <a:pt x="40652" y="132537"/>
                    <a:pt x="54737" y="132607"/>
                    <a:pt x="68618" y="134325"/>
                  </a:cubicBezTo>
                  <a:cubicBezTo>
                    <a:pt x="88913" y="137032"/>
                    <a:pt x="84854" y="134325"/>
                    <a:pt x="92445" y="126771"/>
                  </a:cubicBezTo>
                  <a:cubicBezTo>
                    <a:pt x="98168" y="121022"/>
                    <a:pt x="112009" y="123429"/>
                    <a:pt x="121466" y="125334"/>
                  </a:cubicBezTo>
                  <a:cubicBezTo>
                    <a:pt x="132994" y="127640"/>
                    <a:pt x="135388" y="123295"/>
                    <a:pt x="141355" y="118850"/>
                  </a:cubicBezTo>
                  <a:cubicBezTo>
                    <a:pt x="148458" y="113636"/>
                    <a:pt x="154831" y="114070"/>
                    <a:pt x="166399" y="114371"/>
                  </a:cubicBezTo>
                  <a:cubicBezTo>
                    <a:pt x="175085" y="114605"/>
                    <a:pt x="173949" y="104344"/>
                    <a:pt x="175856" y="100701"/>
                  </a:cubicBezTo>
                  <a:cubicBezTo>
                    <a:pt x="182676" y="87331"/>
                    <a:pt x="202605" y="93347"/>
                    <a:pt x="215594" y="83989"/>
                  </a:cubicBezTo>
                  <a:cubicBezTo>
                    <a:pt x="220140" y="80647"/>
                    <a:pt x="262353" y="65405"/>
                    <a:pt x="243723" y="60592"/>
                  </a:cubicBezTo>
                  <a:cubicBezTo>
                    <a:pt x="226391" y="55980"/>
                    <a:pt x="231546" y="39736"/>
                    <a:pt x="213889" y="34856"/>
                  </a:cubicBezTo>
                  <a:cubicBezTo>
                    <a:pt x="185192" y="26901"/>
                    <a:pt x="167454" y="18445"/>
                    <a:pt x="164207" y="-138"/>
                  </a:cubicBezTo>
                  <a:cubicBezTo>
                    <a:pt x="156861" y="1653"/>
                    <a:pt x="149067" y="1583"/>
                    <a:pt x="141761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97E2BBED-87DD-403E-A759-7E89F6070F47}"/>
                </a:ext>
              </a:extLst>
            </p:cNvPr>
            <p:cNvSpPr/>
            <p:nvPr/>
          </p:nvSpPr>
          <p:spPr>
            <a:xfrm>
              <a:off x="7308785" y="4476867"/>
              <a:ext cx="30062" cy="27154"/>
            </a:xfrm>
            <a:custGeom>
              <a:avLst/>
              <a:gdLst>
                <a:gd name="connsiteX0" fmla="*/ 20435 w 30062"/>
                <a:gd name="connsiteY0" fmla="*/ 26816 h 27154"/>
                <a:gd name="connsiteX1" fmla="*/ 29973 w 30062"/>
                <a:gd name="connsiteY1" fmla="*/ 7530 h 27154"/>
                <a:gd name="connsiteX2" fmla="*/ 10328 w 30062"/>
                <a:gd name="connsiteY2" fmla="*/ 1681 h 27154"/>
                <a:gd name="connsiteX3" fmla="*/ 20435 w 30062"/>
                <a:gd name="connsiteY3" fmla="*/ 26816 h 27154"/>
                <a:gd name="connsiteX4" fmla="*/ 20435 w 30062"/>
                <a:gd name="connsiteY4" fmla="*/ 26816 h 2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62" h="27154">
                  <a:moveTo>
                    <a:pt x="20435" y="26816"/>
                  </a:moveTo>
                  <a:cubicBezTo>
                    <a:pt x="19095" y="20131"/>
                    <a:pt x="30663" y="14783"/>
                    <a:pt x="29973" y="7530"/>
                  </a:cubicBezTo>
                  <a:cubicBezTo>
                    <a:pt x="29324" y="846"/>
                    <a:pt x="18608" y="-2898"/>
                    <a:pt x="10328" y="1681"/>
                  </a:cubicBezTo>
                  <a:cubicBezTo>
                    <a:pt x="-3026" y="9068"/>
                    <a:pt x="-7167" y="25078"/>
                    <a:pt x="20435" y="26816"/>
                  </a:cubicBezTo>
                  <a:cubicBezTo>
                    <a:pt x="20069" y="24944"/>
                    <a:pt x="13006" y="26314"/>
                    <a:pt x="20435" y="2681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E197709E-F274-41F2-97D3-7D6AC139A50F}"/>
                </a:ext>
              </a:extLst>
            </p:cNvPr>
            <p:cNvSpPr/>
            <p:nvPr/>
          </p:nvSpPr>
          <p:spPr>
            <a:xfrm>
              <a:off x="7339426" y="4495402"/>
              <a:ext cx="146026" cy="56038"/>
            </a:xfrm>
            <a:custGeom>
              <a:avLst/>
              <a:gdLst>
                <a:gd name="connsiteX0" fmla="*/ 18530 w 146026"/>
                <a:gd name="connsiteY0" fmla="*/ 42038 h 56038"/>
                <a:gd name="connsiteX1" fmla="*/ 59445 w 146026"/>
                <a:gd name="connsiteY1" fmla="*/ 51664 h 56038"/>
                <a:gd name="connsiteX2" fmla="*/ 95204 w 146026"/>
                <a:gd name="connsiteY2" fmla="*/ 48322 h 56038"/>
                <a:gd name="connsiteX3" fmla="*/ 118503 w 146026"/>
                <a:gd name="connsiteY3" fmla="*/ 35219 h 56038"/>
                <a:gd name="connsiteX4" fmla="*/ 126012 w 146026"/>
                <a:gd name="connsiteY4" fmla="*/ 21482 h 56038"/>
                <a:gd name="connsiteX5" fmla="*/ 145536 w 146026"/>
                <a:gd name="connsiteY5" fmla="*/ 6375 h 56038"/>
                <a:gd name="connsiteX6" fmla="*/ 111359 w 146026"/>
                <a:gd name="connsiteY6" fmla="*/ 10486 h 56038"/>
                <a:gd name="connsiteX7" fmla="*/ 49825 w 146026"/>
                <a:gd name="connsiteY7" fmla="*/ 23856 h 56038"/>
                <a:gd name="connsiteX8" fmla="*/ 16176 w 146026"/>
                <a:gd name="connsiteY8" fmla="*/ 20112 h 56038"/>
                <a:gd name="connsiteX9" fmla="*/ -60 w 146026"/>
                <a:gd name="connsiteY9" fmla="*/ 20580 h 56038"/>
                <a:gd name="connsiteX10" fmla="*/ 18571 w 146026"/>
                <a:gd name="connsiteY10" fmla="*/ 41837 h 5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26" h="56038">
                  <a:moveTo>
                    <a:pt x="18530" y="42038"/>
                  </a:moveTo>
                  <a:cubicBezTo>
                    <a:pt x="27988" y="46985"/>
                    <a:pt x="48120" y="49257"/>
                    <a:pt x="59445" y="51664"/>
                  </a:cubicBezTo>
                  <a:cubicBezTo>
                    <a:pt x="81485" y="56343"/>
                    <a:pt x="84245" y="58850"/>
                    <a:pt x="95204" y="48322"/>
                  </a:cubicBezTo>
                  <a:cubicBezTo>
                    <a:pt x="101049" y="42773"/>
                    <a:pt x="109857" y="39331"/>
                    <a:pt x="118503" y="35219"/>
                  </a:cubicBezTo>
                  <a:cubicBezTo>
                    <a:pt x="123049" y="33047"/>
                    <a:pt x="122156" y="20881"/>
                    <a:pt x="126012" y="21482"/>
                  </a:cubicBezTo>
                  <a:cubicBezTo>
                    <a:pt x="149189" y="25159"/>
                    <a:pt x="146064" y="18140"/>
                    <a:pt x="145536" y="6375"/>
                  </a:cubicBezTo>
                  <a:cubicBezTo>
                    <a:pt x="144805" y="-8766"/>
                    <a:pt x="120127" y="5773"/>
                    <a:pt x="111359" y="10486"/>
                  </a:cubicBezTo>
                  <a:cubicBezTo>
                    <a:pt x="93825" y="19912"/>
                    <a:pt x="78887" y="28468"/>
                    <a:pt x="49825" y="23856"/>
                  </a:cubicBezTo>
                  <a:cubicBezTo>
                    <a:pt x="38216" y="22051"/>
                    <a:pt x="27866" y="18408"/>
                    <a:pt x="16176" y="20112"/>
                  </a:cubicBezTo>
                  <a:cubicBezTo>
                    <a:pt x="10331" y="20948"/>
                    <a:pt x="5663" y="24190"/>
                    <a:pt x="-60" y="20580"/>
                  </a:cubicBezTo>
                  <a:cubicBezTo>
                    <a:pt x="-60" y="28000"/>
                    <a:pt x="8464" y="36557"/>
                    <a:pt x="18571" y="4183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517608DC-1F91-406D-9784-E7112F93D3B3}"/>
                </a:ext>
              </a:extLst>
            </p:cNvPr>
            <p:cNvSpPr/>
            <p:nvPr/>
          </p:nvSpPr>
          <p:spPr>
            <a:xfrm>
              <a:off x="8580468" y="5122758"/>
              <a:ext cx="506390" cy="218774"/>
            </a:xfrm>
            <a:custGeom>
              <a:avLst/>
              <a:gdLst>
                <a:gd name="connsiteX0" fmla="*/ 83343 w 506390"/>
                <a:gd name="connsiteY0" fmla="*/ 62498 h 218774"/>
                <a:gd name="connsiteX1" fmla="*/ 71855 w 506390"/>
                <a:gd name="connsiteY1" fmla="*/ 42076 h 218774"/>
                <a:gd name="connsiteX2" fmla="*/ 60734 w 506390"/>
                <a:gd name="connsiteY2" fmla="*/ 23994 h 218774"/>
                <a:gd name="connsiteX3" fmla="*/ 49329 w 506390"/>
                <a:gd name="connsiteY3" fmla="*/ 27604 h 218774"/>
                <a:gd name="connsiteX4" fmla="*/ 32727 w 506390"/>
                <a:gd name="connsiteY4" fmla="*/ 22490 h 218774"/>
                <a:gd name="connsiteX5" fmla="*/ 29358 w 506390"/>
                <a:gd name="connsiteY5" fmla="*/ 14234 h 218774"/>
                <a:gd name="connsiteX6" fmla="*/ 4802 w 506390"/>
                <a:gd name="connsiteY6" fmla="*/ -339 h 218774"/>
                <a:gd name="connsiteX7" fmla="*/ -29 w 506390"/>
                <a:gd name="connsiteY7" fmla="*/ 29275 h 218774"/>
                <a:gd name="connsiteX8" fmla="*/ 10037 w 506390"/>
                <a:gd name="connsiteY8" fmla="*/ 56983 h 218774"/>
                <a:gd name="connsiteX9" fmla="*/ 18155 w 506390"/>
                <a:gd name="connsiteY9" fmla="*/ 75633 h 218774"/>
                <a:gd name="connsiteX10" fmla="*/ 48395 w 506390"/>
                <a:gd name="connsiteY10" fmla="*/ 103609 h 218774"/>
                <a:gd name="connsiteX11" fmla="*/ 75347 w 506390"/>
                <a:gd name="connsiteY11" fmla="*/ 106650 h 218774"/>
                <a:gd name="connsiteX12" fmla="*/ 67229 w 506390"/>
                <a:gd name="connsiteY12" fmla="*/ 86964 h 218774"/>
                <a:gd name="connsiteX13" fmla="*/ 83180 w 506390"/>
                <a:gd name="connsiteY13" fmla="*/ 62498 h 218774"/>
                <a:gd name="connsiteX14" fmla="*/ 83343 w 506390"/>
                <a:gd name="connsiteY14" fmla="*/ 62498 h 218774"/>
                <a:gd name="connsiteX15" fmla="*/ 493299 w 506390"/>
                <a:gd name="connsiteY15" fmla="*/ 193217 h 218774"/>
                <a:gd name="connsiteX16" fmla="*/ 469392 w 506390"/>
                <a:gd name="connsiteY16" fmla="*/ 171291 h 218774"/>
                <a:gd name="connsiteX17" fmla="*/ 427260 w 506390"/>
                <a:gd name="connsiteY17" fmla="*/ 164105 h 218774"/>
                <a:gd name="connsiteX18" fmla="*/ 396168 w 506390"/>
                <a:gd name="connsiteY18" fmla="*/ 177475 h 218774"/>
                <a:gd name="connsiteX19" fmla="*/ 383707 w 506390"/>
                <a:gd name="connsiteY19" fmla="*/ 180817 h 218774"/>
                <a:gd name="connsiteX20" fmla="*/ 366497 w 506390"/>
                <a:gd name="connsiteY20" fmla="*/ 168751 h 218774"/>
                <a:gd name="connsiteX21" fmla="*/ 335811 w 506390"/>
                <a:gd name="connsiteY21" fmla="*/ 170289 h 218774"/>
                <a:gd name="connsiteX22" fmla="*/ 293882 w 506390"/>
                <a:gd name="connsiteY22" fmla="*/ 170088 h 218774"/>
                <a:gd name="connsiteX23" fmla="*/ 261410 w 506390"/>
                <a:gd name="connsiteY23" fmla="*/ 179581 h 218774"/>
                <a:gd name="connsiteX24" fmla="*/ 223580 w 506390"/>
                <a:gd name="connsiteY24" fmla="*/ 161064 h 218774"/>
                <a:gd name="connsiteX25" fmla="*/ 247934 w 506390"/>
                <a:gd name="connsiteY25" fmla="*/ 188672 h 218774"/>
                <a:gd name="connsiteX26" fmla="*/ 274318 w 506390"/>
                <a:gd name="connsiteY26" fmla="*/ 197964 h 218774"/>
                <a:gd name="connsiteX27" fmla="*/ 302041 w 506390"/>
                <a:gd name="connsiteY27" fmla="*/ 200404 h 218774"/>
                <a:gd name="connsiteX28" fmla="*/ 319900 w 506390"/>
                <a:gd name="connsiteY28" fmla="*/ 211132 h 218774"/>
                <a:gd name="connsiteX29" fmla="*/ 349368 w 506390"/>
                <a:gd name="connsiteY29" fmla="*/ 217817 h 218774"/>
                <a:gd name="connsiteX30" fmla="*/ 362113 w 506390"/>
                <a:gd name="connsiteY30" fmla="*/ 210899 h 218774"/>
                <a:gd name="connsiteX31" fmla="*/ 377213 w 506390"/>
                <a:gd name="connsiteY31" fmla="*/ 200872 h 218774"/>
                <a:gd name="connsiteX32" fmla="*/ 391420 w 506390"/>
                <a:gd name="connsiteY32" fmla="*/ 200872 h 218774"/>
                <a:gd name="connsiteX33" fmla="*/ 403596 w 506390"/>
                <a:gd name="connsiteY33" fmla="*/ 190844 h 218774"/>
                <a:gd name="connsiteX34" fmla="*/ 450193 w 506390"/>
                <a:gd name="connsiteY34" fmla="*/ 203746 h 218774"/>
                <a:gd name="connsiteX35" fmla="*/ 478200 w 506390"/>
                <a:gd name="connsiteY35" fmla="*/ 208091 h 218774"/>
                <a:gd name="connsiteX36" fmla="*/ 487414 w 506390"/>
                <a:gd name="connsiteY36" fmla="*/ 206620 h 218774"/>
                <a:gd name="connsiteX37" fmla="*/ 492934 w 506390"/>
                <a:gd name="connsiteY37" fmla="*/ 193251 h 21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90" h="218774">
                  <a:moveTo>
                    <a:pt x="83343" y="62498"/>
                  </a:moveTo>
                  <a:cubicBezTo>
                    <a:pt x="87808" y="54376"/>
                    <a:pt x="75914" y="49797"/>
                    <a:pt x="71855" y="42076"/>
                  </a:cubicBezTo>
                  <a:cubicBezTo>
                    <a:pt x="68284" y="35391"/>
                    <a:pt x="64063" y="30578"/>
                    <a:pt x="60734" y="23994"/>
                  </a:cubicBezTo>
                  <a:cubicBezTo>
                    <a:pt x="55377" y="23258"/>
                    <a:pt x="51804" y="28105"/>
                    <a:pt x="49329" y="27604"/>
                  </a:cubicBezTo>
                  <a:cubicBezTo>
                    <a:pt x="43565" y="26477"/>
                    <a:pt x="37964" y="24759"/>
                    <a:pt x="32727" y="22490"/>
                  </a:cubicBezTo>
                  <a:cubicBezTo>
                    <a:pt x="26720" y="19782"/>
                    <a:pt x="30210" y="17677"/>
                    <a:pt x="29358" y="14234"/>
                  </a:cubicBezTo>
                  <a:cubicBezTo>
                    <a:pt x="27532" y="6881"/>
                    <a:pt x="14299" y="2402"/>
                    <a:pt x="4802" y="-339"/>
                  </a:cubicBezTo>
                  <a:cubicBezTo>
                    <a:pt x="7359" y="10825"/>
                    <a:pt x="743" y="18947"/>
                    <a:pt x="-29" y="29275"/>
                  </a:cubicBezTo>
                  <a:cubicBezTo>
                    <a:pt x="-556" y="38132"/>
                    <a:pt x="5817" y="48025"/>
                    <a:pt x="10037" y="56983"/>
                  </a:cubicBezTo>
                  <a:cubicBezTo>
                    <a:pt x="12960" y="63200"/>
                    <a:pt x="12798" y="69650"/>
                    <a:pt x="18155" y="75633"/>
                  </a:cubicBezTo>
                  <a:cubicBezTo>
                    <a:pt x="27451" y="85526"/>
                    <a:pt x="37557" y="94885"/>
                    <a:pt x="48395" y="103609"/>
                  </a:cubicBezTo>
                  <a:cubicBezTo>
                    <a:pt x="63576" y="116243"/>
                    <a:pt x="83627" y="130348"/>
                    <a:pt x="75347" y="106650"/>
                  </a:cubicBezTo>
                  <a:cubicBezTo>
                    <a:pt x="73155" y="100534"/>
                    <a:pt x="66214" y="92813"/>
                    <a:pt x="67229" y="86964"/>
                  </a:cubicBezTo>
                  <a:cubicBezTo>
                    <a:pt x="69014" y="77739"/>
                    <a:pt x="78635" y="70820"/>
                    <a:pt x="83180" y="62498"/>
                  </a:cubicBezTo>
                  <a:cubicBezTo>
                    <a:pt x="88985" y="52170"/>
                    <a:pt x="77701" y="72859"/>
                    <a:pt x="83343" y="62498"/>
                  </a:cubicBezTo>
                  <a:close/>
                  <a:moveTo>
                    <a:pt x="493299" y="193217"/>
                  </a:moveTo>
                  <a:cubicBezTo>
                    <a:pt x="471827" y="187769"/>
                    <a:pt x="476617" y="181820"/>
                    <a:pt x="469392" y="171291"/>
                  </a:cubicBezTo>
                  <a:cubicBezTo>
                    <a:pt x="458676" y="155582"/>
                    <a:pt x="440329" y="155215"/>
                    <a:pt x="427260" y="164105"/>
                  </a:cubicBezTo>
                  <a:cubicBezTo>
                    <a:pt x="418086" y="170289"/>
                    <a:pt x="398116" y="167448"/>
                    <a:pt x="396168" y="177475"/>
                  </a:cubicBezTo>
                  <a:cubicBezTo>
                    <a:pt x="394747" y="184928"/>
                    <a:pt x="392109" y="180416"/>
                    <a:pt x="383707" y="180817"/>
                  </a:cubicBezTo>
                  <a:cubicBezTo>
                    <a:pt x="371530" y="181352"/>
                    <a:pt x="368851" y="175904"/>
                    <a:pt x="366497" y="168751"/>
                  </a:cubicBezTo>
                  <a:cubicBezTo>
                    <a:pt x="362072" y="155382"/>
                    <a:pt x="344132" y="165609"/>
                    <a:pt x="335811" y="170289"/>
                  </a:cubicBezTo>
                  <a:cubicBezTo>
                    <a:pt x="320062" y="179213"/>
                    <a:pt x="317343" y="178477"/>
                    <a:pt x="293882" y="170088"/>
                  </a:cubicBezTo>
                  <a:cubicBezTo>
                    <a:pt x="270421" y="161699"/>
                    <a:pt x="270503" y="170489"/>
                    <a:pt x="261410" y="179581"/>
                  </a:cubicBezTo>
                  <a:cubicBezTo>
                    <a:pt x="253292" y="187669"/>
                    <a:pt x="231455" y="165108"/>
                    <a:pt x="223580" y="161064"/>
                  </a:cubicBezTo>
                  <a:cubicBezTo>
                    <a:pt x="223012" y="173798"/>
                    <a:pt x="233079" y="185162"/>
                    <a:pt x="247934" y="188672"/>
                  </a:cubicBezTo>
                  <a:cubicBezTo>
                    <a:pt x="257067" y="190543"/>
                    <a:pt x="265429" y="195357"/>
                    <a:pt x="274318" y="197964"/>
                  </a:cubicBezTo>
                  <a:cubicBezTo>
                    <a:pt x="284059" y="200905"/>
                    <a:pt x="292299" y="197964"/>
                    <a:pt x="302041" y="200404"/>
                  </a:cubicBezTo>
                  <a:cubicBezTo>
                    <a:pt x="309427" y="202008"/>
                    <a:pt x="315800" y="205852"/>
                    <a:pt x="319900" y="211132"/>
                  </a:cubicBezTo>
                  <a:cubicBezTo>
                    <a:pt x="324243" y="215812"/>
                    <a:pt x="342387" y="216179"/>
                    <a:pt x="349368" y="217817"/>
                  </a:cubicBezTo>
                  <a:cubicBezTo>
                    <a:pt x="359759" y="220290"/>
                    <a:pt x="358095" y="214809"/>
                    <a:pt x="362113" y="210899"/>
                  </a:cubicBezTo>
                  <a:cubicBezTo>
                    <a:pt x="366822" y="207255"/>
                    <a:pt x="371896" y="203913"/>
                    <a:pt x="377213" y="200872"/>
                  </a:cubicBezTo>
                  <a:cubicBezTo>
                    <a:pt x="380135" y="198832"/>
                    <a:pt x="387361" y="201306"/>
                    <a:pt x="391420" y="200872"/>
                  </a:cubicBezTo>
                  <a:cubicBezTo>
                    <a:pt x="399538" y="199969"/>
                    <a:pt x="397751" y="193084"/>
                    <a:pt x="403596" y="190844"/>
                  </a:cubicBezTo>
                  <a:cubicBezTo>
                    <a:pt x="414027" y="186633"/>
                    <a:pt x="440654" y="197195"/>
                    <a:pt x="450193" y="203746"/>
                  </a:cubicBezTo>
                  <a:cubicBezTo>
                    <a:pt x="455591" y="207456"/>
                    <a:pt x="473208" y="213773"/>
                    <a:pt x="478200" y="208091"/>
                  </a:cubicBezTo>
                  <a:cubicBezTo>
                    <a:pt x="481447" y="204481"/>
                    <a:pt x="475440" y="202543"/>
                    <a:pt x="487414" y="206620"/>
                  </a:cubicBezTo>
                  <a:cubicBezTo>
                    <a:pt x="510997" y="214709"/>
                    <a:pt x="512174" y="198030"/>
                    <a:pt x="492934" y="19325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E6D123E2-96A5-42AC-A53F-FCBCE79BA6B0}"/>
                </a:ext>
              </a:extLst>
            </p:cNvPr>
            <p:cNvSpPr/>
            <p:nvPr/>
          </p:nvSpPr>
          <p:spPr>
            <a:xfrm>
              <a:off x="8945157" y="5285899"/>
              <a:ext cx="32065" cy="19491"/>
            </a:xfrm>
            <a:custGeom>
              <a:avLst/>
              <a:gdLst>
                <a:gd name="connsiteX0" fmla="*/ 7977 w 32065"/>
                <a:gd name="connsiteY0" fmla="*/ 16039 h 19491"/>
                <a:gd name="connsiteX1" fmla="*/ 32006 w 32065"/>
                <a:gd name="connsiteY1" fmla="*/ 9922 h 19491"/>
                <a:gd name="connsiteX2" fmla="*/ 20235 w 32065"/>
                <a:gd name="connsiteY2" fmla="*/ 7449 h 19491"/>
                <a:gd name="connsiteX3" fmla="*/ 14999 w 32065"/>
                <a:gd name="connsiteY3" fmla="*/ 9288 h 19491"/>
                <a:gd name="connsiteX4" fmla="*/ -60 w 32065"/>
                <a:gd name="connsiteY4" fmla="*/ -339 h 19491"/>
                <a:gd name="connsiteX5" fmla="*/ 7977 w 32065"/>
                <a:gd name="connsiteY5" fmla="*/ 16039 h 1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65" h="19491">
                  <a:moveTo>
                    <a:pt x="7977" y="16039"/>
                  </a:moveTo>
                  <a:cubicBezTo>
                    <a:pt x="23807" y="22156"/>
                    <a:pt x="30951" y="18813"/>
                    <a:pt x="32006" y="9922"/>
                  </a:cubicBezTo>
                  <a:cubicBezTo>
                    <a:pt x="28150" y="8920"/>
                    <a:pt x="24213" y="8084"/>
                    <a:pt x="20235" y="7449"/>
                  </a:cubicBezTo>
                  <a:cubicBezTo>
                    <a:pt x="18409" y="7884"/>
                    <a:pt x="16622" y="8485"/>
                    <a:pt x="14999" y="9288"/>
                  </a:cubicBezTo>
                  <a:cubicBezTo>
                    <a:pt x="9479" y="8352"/>
                    <a:pt x="4892" y="1801"/>
                    <a:pt x="-60" y="-339"/>
                  </a:cubicBezTo>
                  <a:cubicBezTo>
                    <a:pt x="793" y="2636"/>
                    <a:pt x="2132" y="13733"/>
                    <a:pt x="7977" y="160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727701E7-E2C4-43BE-B725-DC106D2FD5FF}"/>
                </a:ext>
              </a:extLst>
            </p:cNvPr>
            <p:cNvSpPr/>
            <p:nvPr/>
          </p:nvSpPr>
          <p:spPr>
            <a:xfrm>
              <a:off x="6971843" y="4228429"/>
              <a:ext cx="289813" cy="173037"/>
            </a:xfrm>
            <a:custGeom>
              <a:avLst/>
              <a:gdLst>
                <a:gd name="connsiteX0" fmla="*/ 241493 w 289813"/>
                <a:gd name="connsiteY0" fmla="*/ 160109 h 173037"/>
                <a:gd name="connsiteX1" fmla="*/ 261788 w 289813"/>
                <a:gd name="connsiteY1" fmla="*/ 156466 h 173037"/>
                <a:gd name="connsiteX2" fmla="*/ 270677 w 289813"/>
                <a:gd name="connsiteY2" fmla="*/ 160978 h 173037"/>
                <a:gd name="connsiteX3" fmla="*/ 289754 w 289813"/>
                <a:gd name="connsiteY3" fmla="*/ 162315 h 173037"/>
                <a:gd name="connsiteX4" fmla="*/ 268282 w 289813"/>
                <a:gd name="connsiteY4" fmla="*/ 136847 h 173037"/>
                <a:gd name="connsiteX5" fmla="*/ 270028 w 289813"/>
                <a:gd name="connsiteY5" fmla="*/ 128524 h 173037"/>
                <a:gd name="connsiteX6" fmla="*/ 265969 w 289813"/>
                <a:gd name="connsiteY6" fmla="*/ 116625 h 173037"/>
                <a:gd name="connsiteX7" fmla="*/ 236013 w 289813"/>
                <a:gd name="connsiteY7" fmla="*/ 102721 h 173037"/>
                <a:gd name="connsiteX8" fmla="*/ 213445 w 289813"/>
                <a:gd name="connsiteY8" fmla="*/ 83336 h 173037"/>
                <a:gd name="connsiteX9" fmla="*/ 212512 w 289813"/>
                <a:gd name="connsiteY9" fmla="*/ 67559 h 173037"/>
                <a:gd name="connsiteX10" fmla="*/ 219493 w 289813"/>
                <a:gd name="connsiteY10" fmla="*/ 60875 h 173037"/>
                <a:gd name="connsiteX11" fmla="*/ 230615 w 289813"/>
                <a:gd name="connsiteY11" fmla="*/ 55159 h 173037"/>
                <a:gd name="connsiteX12" fmla="*/ 216287 w 289813"/>
                <a:gd name="connsiteY12" fmla="*/ 37178 h 173037"/>
                <a:gd name="connsiteX13" fmla="*/ 197169 w 289813"/>
                <a:gd name="connsiteY13" fmla="*/ 12043 h 173037"/>
                <a:gd name="connsiteX14" fmla="*/ 145214 w 289813"/>
                <a:gd name="connsiteY14" fmla="*/ 311 h 173037"/>
                <a:gd name="connsiteX15" fmla="*/ 97277 w 289813"/>
                <a:gd name="connsiteY15" fmla="*/ 9670 h 173037"/>
                <a:gd name="connsiteX16" fmla="*/ 82381 w 289813"/>
                <a:gd name="connsiteY16" fmla="*/ 14951 h 173037"/>
                <a:gd name="connsiteX17" fmla="*/ 82665 w 289813"/>
                <a:gd name="connsiteY17" fmla="*/ 29256 h 173037"/>
                <a:gd name="connsiteX18" fmla="*/ 72599 w 289813"/>
                <a:gd name="connsiteY18" fmla="*/ 49310 h 173037"/>
                <a:gd name="connsiteX19" fmla="*/ -16 w 289813"/>
                <a:gd name="connsiteY19" fmla="*/ 68897 h 173037"/>
                <a:gd name="connsiteX20" fmla="*/ 3312 w 289813"/>
                <a:gd name="connsiteY20" fmla="*/ 80695 h 173037"/>
                <a:gd name="connsiteX21" fmla="*/ 18208 w 289813"/>
                <a:gd name="connsiteY21" fmla="*/ 91123 h 173037"/>
                <a:gd name="connsiteX22" fmla="*/ 49057 w 289813"/>
                <a:gd name="connsiteY22" fmla="*/ 99847 h 173037"/>
                <a:gd name="connsiteX23" fmla="*/ 102797 w 289813"/>
                <a:gd name="connsiteY23" fmla="*/ 125850 h 173037"/>
                <a:gd name="connsiteX24" fmla="*/ 161734 w 289813"/>
                <a:gd name="connsiteY24" fmla="*/ 159274 h 173037"/>
                <a:gd name="connsiteX25" fmla="*/ 201268 w 289813"/>
                <a:gd name="connsiteY25" fmla="*/ 168800 h 173037"/>
                <a:gd name="connsiteX26" fmla="*/ 229438 w 289813"/>
                <a:gd name="connsiteY26" fmla="*/ 170203 h 173037"/>
                <a:gd name="connsiteX27" fmla="*/ 241615 w 289813"/>
                <a:gd name="connsiteY27" fmla="*/ 160176 h 1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9813" h="173037">
                  <a:moveTo>
                    <a:pt x="241493" y="160109"/>
                  </a:moveTo>
                  <a:cubicBezTo>
                    <a:pt x="247622" y="157569"/>
                    <a:pt x="252087" y="153759"/>
                    <a:pt x="261788" y="156466"/>
                  </a:cubicBezTo>
                  <a:cubicBezTo>
                    <a:pt x="265076" y="157496"/>
                    <a:pt x="268079" y="159027"/>
                    <a:pt x="270677" y="160978"/>
                  </a:cubicBezTo>
                  <a:cubicBezTo>
                    <a:pt x="278795" y="166627"/>
                    <a:pt x="278795" y="162616"/>
                    <a:pt x="289754" y="162315"/>
                  </a:cubicBezTo>
                  <a:cubicBezTo>
                    <a:pt x="278511" y="153425"/>
                    <a:pt x="277577" y="145604"/>
                    <a:pt x="268282" y="136847"/>
                  </a:cubicBezTo>
                  <a:cubicBezTo>
                    <a:pt x="264669" y="133504"/>
                    <a:pt x="267470" y="131298"/>
                    <a:pt x="270028" y="128524"/>
                  </a:cubicBezTo>
                  <a:cubicBezTo>
                    <a:pt x="273761" y="124513"/>
                    <a:pt x="268972" y="120870"/>
                    <a:pt x="265969" y="116625"/>
                  </a:cubicBezTo>
                  <a:cubicBezTo>
                    <a:pt x="261910" y="110475"/>
                    <a:pt x="244618" y="107133"/>
                    <a:pt x="236013" y="102721"/>
                  </a:cubicBezTo>
                  <a:cubicBezTo>
                    <a:pt x="223836" y="96438"/>
                    <a:pt x="227490" y="89118"/>
                    <a:pt x="213445" y="83336"/>
                  </a:cubicBezTo>
                  <a:cubicBezTo>
                    <a:pt x="207722" y="80962"/>
                    <a:pt x="205612" y="68897"/>
                    <a:pt x="212512" y="67559"/>
                  </a:cubicBezTo>
                  <a:cubicBezTo>
                    <a:pt x="216571" y="66724"/>
                    <a:pt x="218154" y="62813"/>
                    <a:pt x="219493" y="60875"/>
                  </a:cubicBezTo>
                  <a:cubicBezTo>
                    <a:pt x="222172" y="56797"/>
                    <a:pt x="227936" y="57532"/>
                    <a:pt x="230615" y="55159"/>
                  </a:cubicBezTo>
                  <a:cubicBezTo>
                    <a:pt x="240600" y="45935"/>
                    <a:pt x="227368" y="42124"/>
                    <a:pt x="216287" y="37178"/>
                  </a:cubicBezTo>
                  <a:cubicBezTo>
                    <a:pt x="210929" y="34804"/>
                    <a:pt x="194328" y="15385"/>
                    <a:pt x="197169" y="12043"/>
                  </a:cubicBezTo>
                  <a:cubicBezTo>
                    <a:pt x="194896" y="17357"/>
                    <a:pt x="153819" y="2016"/>
                    <a:pt x="145214" y="311"/>
                  </a:cubicBezTo>
                  <a:cubicBezTo>
                    <a:pt x="130195" y="-3031"/>
                    <a:pt x="112215" y="7497"/>
                    <a:pt x="97277" y="9670"/>
                  </a:cubicBezTo>
                  <a:cubicBezTo>
                    <a:pt x="91635" y="10506"/>
                    <a:pt x="85100" y="11943"/>
                    <a:pt x="82381" y="14951"/>
                  </a:cubicBezTo>
                  <a:cubicBezTo>
                    <a:pt x="78647" y="19062"/>
                    <a:pt x="88672" y="26148"/>
                    <a:pt x="82665" y="29256"/>
                  </a:cubicBezTo>
                  <a:cubicBezTo>
                    <a:pt x="73532" y="33969"/>
                    <a:pt x="80067" y="43327"/>
                    <a:pt x="72599" y="49310"/>
                  </a:cubicBezTo>
                  <a:cubicBezTo>
                    <a:pt x="59772" y="59337"/>
                    <a:pt x="-1924" y="55995"/>
                    <a:pt x="-16" y="68897"/>
                  </a:cubicBezTo>
                  <a:cubicBezTo>
                    <a:pt x="836" y="72874"/>
                    <a:pt x="1973" y="76811"/>
                    <a:pt x="3312" y="80695"/>
                  </a:cubicBezTo>
                  <a:cubicBezTo>
                    <a:pt x="5544" y="88850"/>
                    <a:pt x="3312" y="89987"/>
                    <a:pt x="18208" y="91123"/>
                  </a:cubicBezTo>
                  <a:cubicBezTo>
                    <a:pt x="29168" y="92069"/>
                    <a:pt x="39721" y="95054"/>
                    <a:pt x="49057" y="99847"/>
                  </a:cubicBezTo>
                  <a:cubicBezTo>
                    <a:pt x="67281" y="108136"/>
                    <a:pt x="85587" y="116759"/>
                    <a:pt x="102797" y="125850"/>
                  </a:cubicBezTo>
                  <a:cubicBezTo>
                    <a:pt x="122686" y="136446"/>
                    <a:pt x="140668" y="149681"/>
                    <a:pt x="161734" y="159274"/>
                  </a:cubicBezTo>
                  <a:cubicBezTo>
                    <a:pt x="173667" y="164755"/>
                    <a:pt x="187468" y="166360"/>
                    <a:pt x="201268" y="168800"/>
                  </a:cubicBezTo>
                  <a:cubicBezTo>
                    <a:pt x="211862" y="170705"/>
                    <a:pt x="223674" y="175685"/>
                    <a:pt x="229438" y="170203"/>
                  </a:cubicBezTo>
                  <a:cubicBezTo>
                    <a:pt x="232725" y="167062"/>
                    <a:pt x="236176" y="162382"/>
                    <a:pt x="241615" y="16017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E586A902-EB6A-4D06-B2D0-2C571E24BEAD}"/>
                </a:ext>
              </a:extLst>
            </p:cNvPr>
            <p:cNvSpPr/>
            <p:nvPr/>
          </p:nvSpPr>
          <p:spPr>
            <a:xfrm>
              <a:off x="7198011" y="4384301"/>
              <a:ext cx="56785" cy="34590"/>
            </a:xfrm>
            <a:custGeom>
              <a:avLst/>
              <a:gdLst>
                <a:gd name="connsiteX0" fmla="*/ 18490 w 56785"/>
                <a:gd name="connsiteY0" fmla="*/ 21150 h 34590"/>
                <a:gd name="connsiteX1" fmla="*/ 56725 w 56785"/>
                <a:gd name="connsiteY1" fmla="*/ 34252 h 34590"/>
                <a:gd name="connsiteX2" fmla="*/ 40002 w 56785"/>
                <a:gd name="connsiteY2" fmla="*/ 2399 h 34590"/>
                <a:gd name="connsiteX3" fmla="*/ -60 w 56785"/>
                <a:gd name="connsiteY3" fmla="*/ 17540 h 34590"/>
                <a:gd name="connsiteX4" fmla="*/ 18490 w 56785"/>
                <a:gd name="connsiteY4" fmla="*/ 21150 h 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" h="34590">
                  <a:moveTo>
                    <a:pt x="18490" y="21150"/>
                  </a:moveTo>
                  <a:cubicBezTo>
                    <a:pt x="32250" y="30141"/>
                    <a:pt x="36999" y="31177"/>
                    <a:pt x="56725" y="34252"/>
                  </a:cubicBezTo>
                  <a:cubicBezTo>
                    <a:pt x="52666" y="25060"/>
                    <a:pt x="50434" y="7847"/>
                    <a:pt x="40002" y="2399"/>
                  </a:cubicBezTo>
                  <a:cubicBezTo>
                    <a:pt x="21534" y="-7294"/>
                    <a:pt x="6151" y="11390"/>
                    <a:pt x="-60" y="17540"/>
                  </a:cubicBezTo>
                  <a:cubicBezTo>
                    <a:pt x="6151" y="18710"/>
                    <a:pt x="12320" y="19913"/>
                    <a:pt x="18490" y="211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5E3B7D87-A38D-475D-9C4A-9AC741C9DB7E}"/>
                </a:ext>
              </a:extLst>
            </p:cNvPr>
            <p:cNvSpPr/>
            <p:nvPr/>
          </p:nvSpPr>
          <p:spPr>
            <a:xfrm>
              <a:off x="5605759" y="3889151"/>
              <a:ext cx="473110" cy="203488"/>
            </a:xfrm>
            <a:custGeom>
              <a:avLst/>
              <a:gdLst>
                <a:gd name="connsiteX0" fmla="*/ 415252 w 473110"/>
                <a:gd name="connsiteY0" fmla="*/ 43322 h 203488"/>
                <a:gd name="connsiteX1" fmla="*/ 381887 w 473110"/>
                <a:gd name="connsiteY1" fmla="*/ 38141 h 203488"/>
                <a:gd name="connsiteX2" fmla="*/ 353475 w 473110"/>
                <a:gd name="connsiteY2" fmla="*/ 32660 h 203488"/>
                <a:gd name="connsiteX3" fmla="*/ 330095 w 473110"/>
                <a:gd name="connsiteY3" fmla="*/ 28315 h 203488"/>
                <a:gd name="connsiteX4" fmla="*/ 317918 w 473110"/>
                <a:gd name="connsiteY4" fmla="*/ 25340 h 203488"/>
                <a:gd name="connsiteX5" fmla="*/ 314387 w 473110"/>
                <a:gd name="connsiteY5" fmla="*/ 19123 h 203488"/>
                <a:gd name="connsiteX6" fmla="*/ 296081 w 473110"/>
                <a:gd name="connsiteY6" fmla="*/ 23903 h 203488"/>
                <a:gd name="connsiteX7" fmla="*/ 283457 w 473110"/>
                <a:gd name="connsiteY7" fmla="*/ 15480 h 203488"/>
                <a:gd name="connsiteX8" fmla="*/ 260970 w 473110"/>
                <a:gd name="connsiteY8" fmla="*/ 8795 h 203488"/>
                <a:gd name="connsiteX9" fmla="*/ 247170 w 473110"/>
                <a:gd name="connsiteY9" fmla="*/ 7024 h 203488"/>
                <a:gd name="connsiteX10" fmla="*/ 215144 w 473110"/>
                <a:gd name="connsiteY10" fmla="*/ 4316 h 203488"/>
                <a:gd name="connsiteX11" fmla="*/ 193104 w 473110"/>
                <a:gd name="connsiteY11" fmla="*/ 27212 h 203488"/>
                <a:gd name="connsiteX12" fmla="*/ 159293 w 473110"/>
                <a:gd name="connsiteY12" fmla="*/ 39812 h 203488"/>
                <a:gd name="connsiteX13" fmla="*/ 117648 w 473110"/>
                <a:gd name="connsiteY13" fmla="*/ 37874 h 203488"/>
                <a:gd name="connsiteX14" fmla="*/ 93741 w 473110"/>
                <a:gd name="connsiteY14" fmla="*/ 41216 h 203488"/>
                <a:gd name="connsiteX15" fmla="*/ 91752 w 473110"/>
                <a:gd name="connsiteY15" fmla="*/ 61738 h 203488"/>
                <a:gd name="connsiteX16" fmla="*/ 69103 w 473110"/>
                <a:gd name="connsiteY16" fmla="*/ 63109 h 203488"/>
                <a:gd name="connsiteX17" fmla="*/ 53232 w 473110"/>
                <a:gd name="connsiteY17" fmla="*/ 57895 h 203488"/>
                <a:gd name="connsiteX18" fmla="*/ 953 w 473110"/>
                <a:gd name="connsiteY18" fmla="*/ 65782 h 203488"/>
                <a:gd name="connsiteX19" fmla="*/ 4484 w 473110"/>
                <a:gd name="connsiteY19" fmla="*/ 77548 h 203488"/>
                <a:gd name="connsiteX20" fmla="*/ 20720 w 473110"/>
                <a:gd name="connsiteY20" fmla="*/ 82862 h 203488"/>
                <a:gd name="connsiteX21" fmla="*/ 74582 w 473110"/>
                <a:gd name="connsiteY21" fmla="*/ 87441 h 203488"/>
                <a:gd name="connsiteX22" fmla="*/ 97881 w 473110"/>
                <a:gd name="connsiteY22" fmla="*/ 104153 h 203488"/>
                <a:gd name="connsiteX23" fmla="*/ 123371 w 473110"/>
                <a:gd name="connsiteY23" fmla="*/ 110570 h 203488"/>
                <a:gd name="connsiteX24" fmla="*/ 126213 w 473110"/>
                <a:gd name="connsiteY24" fmla="*/ 122101 h 203488"/>
                <a:gd name="connsiteX25" fmla="*/ 122478 w 473110"/>
                <a:gd name="connsiteY25" fmla="*/ 138512 h 203488"/>
                <a:gd name="connsiteX26" fmla="*/ 122722 w 473110"/>
                <a:gd name="connsiteY26" fmla="*/ 150946 h 203488"/>
                <a:gd name="connsiteX27" fmla="*/ 107582 w 473110"/>
                <a:gd name="connsiteY27" fmla="*/ 174342 h 203488"/>
                <a:gd name="connsiteX28" fmla="*/ 183119 w 473110"/>
                <a:gd name="connsiteY28" fmla="*/ 182832 h 203488"/>
                <a:gd name="connsiteX29" fmla="*/ 215591 w 473110"/>
                <a:gd name="connsiteY29" fmla="*/ 186709 h 203488"/>
                <a:gd name="connsiteX30" fmla="*/ 269373 w 473110"/>
                <a:gd name="connsiteY30" fmla="*/ 187378 h 203488"/>
                <a:gd name="connsiteX31" fmla="*/ 304482 w 473110"/>
                <a:gd name="connsiteY31" fmla="*/ 165117 h 203488"/>
                <a:gd name="connsiteX32" fmla="*/ 362567 w 473110"/>
                <a:gd name="connsiteY32" fmla="*/ 172437 h 203488"/>
                <a:gd name="connsiteX33" fmla="*/ 396703 w 473110"/>
                <a:gd name="connsiteY33" fmla="*/ 160171 h 203488"/>
                <a:gd name="connsiteX34" fmla="*/ 411477 w 473110"/>
                <a:gd name="connsiteY34" fmla="*/ 148907 h 203488"/>
                <a:gd name="connsiteX35" fmla="*/ 390452 w 473110"/>
                <a:gd name="connsiteY35" fmla="*/ 140150 h 203488"/>
                <a:gd name="connsiteX36" fmla="*/ 379412 w 473110"/>
                <a:gd name="connsiteY36" fmla="*/ 128920 h 203488"/>
                <a:gd name="connsiteX37" fmla="*/ 393659 w 473110"/>
                <a:gd name="connsiteY37" fmla="*/ 120430 h 203488"/>
                <a:gd name="connsiteX38" fmla="*/ 388017 w 473110"/>
                <a:gd name="connsiteY38" fmla="*/ 107595 h 203488"/>
                <a:gd name="connsiteX39" fmla="*/ 369548 w 473110"/>
                <a:gd name="connsiteY39" fmla="*/ 103384 h 203488"/>
                <a:gd name="connsiteX40" fmla="*/ 367965 w 473110"/>
                <a:gd name="connsiteY40" fmla="*/ 94627 h 203488"/>
                <a:gd name="connsiteX41" fmla="*/ 385703 w 473110"/>
                <a:gd name="connsiteY41" fmla="*/ 83865 h 203488"/>
                <a:gd name="connsiteX42" fmla="*/ 406891 w 473110"/>
                <a:gd name="connsiteY42" fmla="*/ 73303 h 203488"/>
                <a:gd name="connsiteX43" fmla="*/ 412898 w 473110"/>
                <a:gd name="connsiteY43" fmla="*/ 56190 h 203488"/>
                <a:gd name="connsiteX44" fmla="*/ 415415 w 473110"/>
                <a:gd name="connsiteY44" fmla="*/ 43756 h 203488"/>
                <a:gd name="connsiteX45" fmla="*/ 415252 w 473110"/>
                <a:gd name="connsiteY45" fmla="*/ 43322 h 203488"/>
                <a:gd name="connsiteX46" fmla="*/ 468019 w 473110"/>
                <a:gd name="connsiteY46" fmla="*/ 171267 h 203488"/>
                <a:gd name="connsiteX47" fmla="*/ 443218 w 473110"/>
                <a:gd name="connsiteY47" fmla="*/ 184637 h 203488"/>
                <a:gd name="connsiteX48" fmla="*/ 461646 w 473110"/>
                <a:gd name="connsiteY48" fmla="*/ 203087 h 203488"/>
                <a:gd name="connsiteX49" fmla="*/ 468019 w 473110"/>
                <a:gd name="connsiteY49" fmla="*/ 171301 h 203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73110" h="203488">
                  <a:moveTo>
                    <a:pt x="415252" y="43322"/>
                  </a:moveTo>
                  <a:cubicBezTo>
                    <a:pt x="409569" y="43890"/>
                    <a:pt x="386515" y="39812"/>
                    <a:pt x="381887" y="38141"/>
                  </a:cubicBezTo>
                  <a:cubicBezTo>
                    <a:pt x="373120" y="34358"/>
                    <a:pt x="363338" y="32473"/>
                    <a:pt x="353475" y="32660"/>
                  </a:cubicBezTo>
                  <a:cubicBezTo>
                    <a:pt x="339958" y="32660"/>
                    <a:pt x="340486" y="32325"/>
                    <a:pt x="330095" y="28315"/>
                  </a:cubicBezTo>
                  <a:cubicBezTo>
                    <a:pt x="325264" y="26443"/>
                    <a:pt x="321043" y="28883"/>
                    <a:pt x="317918" y="25340"/>
                  </a:cubicBezTo>
                  <a:cubicBezTo>
                    <a:pt x="317512" y="24872"/>
                    <a:pt x="315767" y="18923"/>
                    <a:pt x="314387" y="19123"/>
                  </a:cubicBezTo>
                  <a:cubicBezTo>
                    <a:pt x="309313" y="19792"/>
                    <a:pt x="302210" y="26476"/>
                    <a:pt x="296081" y="23903"/>
                  </a:cubicBezTo>
                  <a:cubicBezTo>
                    <a:pt x="289181" y="21062"/>
                    <a:pt x="292955" y="17686"/>
                    <a:pt x="283457" y="15480"/>
                  </a:cubicBezTo>
                  <a:cubicBezTo>
                    <a:pt x="275664" y="13976"/>
                    <a:pt x="268114" y="11733"/>
                    <a:pt x="260970" y="8795"/>
                  </a:cubicBezTo>
                  <a:cubicBezTo>
                    <a:pt x="254679" y="6088"/>
                    <a:pt x="252609" y="10333"/>
                    <a:pt x="247170" y="7024"/>
                  </a:cubicBezTo>
                  <a:cubicBezTo>
                    <a:pt x="238849" y="1977"/>
                    <a:pt x="228823" y="-5176"/>
                    <a:pt x="215144" y="4316"/>
                  </a:cubicBezTo>
                  <a:cubicBezTo>
                    <a:pt x="202684" y="13040"/>
                    <a:pt x="220015" y="23635"/>
                    <a:pt x="193104" y="27212"/>
                  </a:cubicBezTo>
                  <a:cubicBezTo>
                    <a:pt x="170293" y="30253"/>
                    <a:pt x="169400" y="29652"/>
                    <a:pt x="159293" y="39812"/>
                  </a:cubicBezTo>
                  <a:cubicBezTo>
                    <a:pt x="152271" y="46865"/>
                    <a:pt x="125117" y="41584"/>
                    <a:pt x="117648" y="37874"/>
                  </a:cubicBezTo>
                  <a:cubicBezTo>
                    <a:pt x="111884" y="34999"/>
                    <a:pt x="89235" y="32158"/>
                    <a:pt x="93741" y="41216"/>
                  </a:cubicBezTo>
                  <a:cubicBezTo>
                    <a:pt x="95648" y="44793"/>
                    <a:pt x="120814" y="65314"/>
                    <a:pt x="91752" y="61738"/>
                  </a:cubicBezTo>
                  <a:cubicBezTo>
                    <a:pt x="81401" y="60501"/>
                    <a:pt x="78235" y="62674"/>
                    <a:pt x="69103" y="63109"/>
                  </a:cubicBezTo>
                  <a:cubicBezTo>
                    <a:pt x="63542" y="63376"/>
                    <a:pt x="58631" y="58663"/>
                    <a:pt x="53232" y="57895"/>
                  </a:cubicBezTo>
                  <a:cubicBezTo>
                    <a:pt x="43775" y="56558"/>
                    <a:pt x="6067" y="61538"/>
                    <a:pt x="953" y="65782"/>
                  </a:cubicBezTo>
                  <a:cubicBezTo>
                    <a:pt x="-2660" y="68724"/>
                    <a:pt x="4565" y="74138"/>
                    <a:pt x="4484" y="77548"/>
                  </a:cubicBezTo>
                  <a:cubicBezTo>
                    <a:pt x="4484" y="82394"/>
                    <a:pt x="13860" y="82494"/>
                    <a:pt x="20720" y="82862"/>
                  </a:cubicBezTo>
                  <a:cubicBezTo>
                    <a:pt x="38701" y="83831"/>
                    <a:pt x="57251" y="85670"/>
                    <a:pt x="74582" y="87441"/>
                  </a:cubicBezTo>
                  <a:cubicBezTo>
                    <a:pt x="93862" y="89446"/>
                    <a:pt x="86759" y="98070"/>
                    <a:pt x="97881" y="104153"/>
                  </a:cubicBezTo>
                  <a:cubicBezTo>
                    <a:pt x="105106" y="107996"/>
                    <a:pt x="116390" y="107295"/>
                    <a:pt x="123371" y="110570"/>
                  </a:cubicBezTo>
                  <a:cubicBezTo>
                    <a:pt x="128932" y="113211"/>
                    <a:pt x="122965" y="118726"/>
                    <a:pt x="126213" y="122101"/>
                  </a:cubicBezTo>
                  <a:cubicBezTo>
                    <a:pt x="130840" y="126948"/>
                    <a:pt x="123615" y="133532"/>
                    <a:pt x="122478" y="138512"/>
                  </a:cubicBezTo>
                  <a:cubicBezTo>
                    <a:pt x="121545" y="142623"/>
                    <a:pt x="123534" y="146768"/>
                    <a:pt x="122722" y="150946"/>
                  </a:cubicBezTo>
                  <a:cubicBezTo>
                    <a:pt x="121707" y="155926"/>
                    <a:pt x="119393" y="172604"/>
                    <a:pt x="107582" y="174342"/>
                  </a:cubicBezTo>
                  <a:cubicBezTo>
                    <a:pt x="115699" y="175980"/>
                    <a:pt x="183687" y="192692"/>
                    <a:pt x="183119" y="182832"/>
                  </a:cubicBezTo>
                  <a:cubicBezTo>
                    <a:pt x="183119" y="179724"/>
                    <a:pt x="210111" y="186375"/>
                    <a:pt x="215591" y="186709"/>
                  </a:cubicBezTo>
                  <a:cubicBezTo>
                    <a:pt x="233857" y="187779"/>
                    <a:pt x="250945" y="187645"/>
                    <a:pt x="269373" y="187378"/>
                  </a:cubicBezTo>
                  <a:cubicBezTo>
                    <a:pt x="264339" y="173674"/>
                    <a:pt x="275501" y="164549"/>
                    <a:pt x="304482" y="165117"/>
                  </a:cubicBezTo>
                  <a:cubicBezTo>
                    <a:pt x="324006" y="165519"/>
                    <a:pt x="344342" y="172704"/>
                    <a:pt x="362567" y="172437"/>
                  </a:cubicBezTo>
                  <a:cubicBezTo>
                    <a:pt x="377585" y="172237"/>
                    <a:pt x="386028" y="164583"/>
                    <a:pt x="396703" y="160171"/>
                  </a:cubicBezTo>
                  <a:cubicBezTo>
                    <a:pt x="398042" y="159603"/>
                    <a:pt x="422802" y="151548"/>
                    <a:pt x="411477" y="148907"/>
                  </a:cubicBezTo>
                  <a:cubicBezTo>
                    <a:pt x="404374" y="147236"/>
                    <a:pt x="379817" y="149308"/>
                    <a:pt x="390452" y="140150"/>
                  </a:cubicBezTo>
                  <a:cubicBezTo>
                    <a:pt x="396784" y="134735"/>
                    <a:pt x="375109" y="133465"/>
                    <a:pt x="379412" y="128920"/>
                  </a:cubicBezTo>
                  <a:cubicBezTo>
                    <a:pt x="379777" y="128519"/>
                    <a:pt x="403400" y="123338"/>
                    <a:pt x="393659" y="120430"/>
                  </a:cubicBezTo>
                  <a:cubicBezTo>
                    <a:pt x="383917" y="117522"/>
                    <a:pt x="394430" y="111339"/>
                    <a:pt x="388017" y="107595"/>
                  </a:cubicBezTo>
                  <a:cubicBezTo>
                    <a:pt x="382699" y="104521"/>
                    <a:pt x="380101" y="96365"/>
                    <a:pt x="369548" y="103384"/>
                  </a:cubicBezTo>
                  <a:cubicBezTo>
                    <a:pt x="359766" y="110069"/>
                    <a:pt x="365164" y="96900"/>
                    <a:pt x="367965" y="94627"/>
                  </a:cubicBezTo>
                  <a:cubicBezTo>
                    <a:pt x="372268" y="91285"/>
                    <a:pt x="384201" y="87942"/>
                    <a:pt x="385703" y="83865"/>
                  </a:cubicBezTo>
                  <a:cubicBezTo>
                    <a:pt x="388219" y="76846"/>
                    <a:pt x="404536" y="78918"/>
                    <a:pt x="406891" y="73303"/>
                  </a:cubicBezTo>
                  <a:cubicBezTo>
                    <a:pt x="409245" y="67688"/>
                    <a:pt x="408717" y="61805"/>
                    <a:pt x="412898" y="56190"/>
                  </a:cubicBezTo>
                  <a:cubicBezTo>
                    <a:pt x="414928" y="53483"/>
                    <a:pt x="436075" y="41784"/>
                    <a:pt x="415415" y="43756"/>
                  </a:cubicBezTo>
                  <a:cubicBezTo>
                    <a:pt x="410909" y="43790"/>
                    <a:pt x="419595" y="42921"/>
                    <a:pt x="415252" y="43322"/>
                  </a:cubicBezTo>
                  <a:close/>
                  <a:moveTo>
                    <a:pt x="468019" y="171267"/>
                  </a:moveTo>
                  <a:cubicBezTo>
                    <a:pt x="462458" y="171000"/>
                    <a:pt x="444274" y="181896"/>
                    <a:pt x="443218" y="184637"/>
                  </a:cubicBezTo>
                  <a:cubicBezTo>
                    <a:pt x="441189" y="189751"/>
                    <a:pt x="447602" y="204223"/>
                    <a:pt x="461646" y="203087"/>
                  </a:cubicBezTo>
                  <a:cubicBezTo>
                    <a:pt x="475690" y="201950"/>
                    <a:pt x="475447" y="171602"/>
                    <a:pt x="468019" y="1713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CD36D9E7-9329-4A97-B29D-11BF270468E7}"/>
                </a:ext>
              </a:extLst>
            </p:cNvPr>
            <p:cNvSpPr/>
            <p:nvPr/>
          </p:nvSpPr>
          <p:spPr>
            <a:xfrm>
              <a:off x="3215913" y="5115569"/>
              <a:ext cx="67604" cy="25759"/>
            </a:xfrm>
            <a:custGeom>
              <a:avLst/>
              <a:gdLst>
                <a:gd name="connsiteX0" fmla="*/ 60541 w 67604"/>
                <a:gd name="connsiteY0" fmla="*/ -68 h 25759"/>
                <a:gd name="connsiteX1" fmla="*/ 44549 w 67604"/>
                <a:gd name="connsiteY1" fmla="*/ 3876 h 25759"/>
                <a:gd name="connsiteX2" fmla="*/ 21940 w 67604"/>
                <a:gd name="connsiteY2" fmla="*/ 7219 h 25759"/>
                <a:gd name="connsiteX3" fmla="*/ -60 w 67604"/>
                <a:gd name="connsiteY3" fmla="*/ 25334 h 25759"/>
                <a:gd name="connsiteX4" fmla="*/ 45441 w 67604"/>
                <a:gd name="connsiteY4" fmla="*/ 18984 h 25759"/>
                <a:gd name="connsiteX5" fmla="*/ 60541 w 67604"/>
                <a:gd name="connsiteY5" fmla="*/ 66 h 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04" h="25759">
                  <a:moveTo>
                    <a:pt x="60541" y="-68"/>
                  </a:moveTo>
                  <a:cubicBezTo>
                    <a:pt x="56035" y="-1371"/>
                    <a:pt x="48932" y="2372"/>
                    <a:pt x="44549" y="3876"/>
                  </a:cubicBezTo>
                  <a:cubicBezTo>
                    <a:pt x="36431" y="6650"/>
                    <a:pt x="29896" y="6350"/>
                    <a:pt x="21940" y="7219"/>
                  </a:cubicBezTo>
                  <a:cubicBezTo>
                    <a:pt x="9114" y="8388"/>
                    <a:pt x="5379" y="18048"/>
                    <a:pt x="-60" y="25334"/>
                  </a:cubicBezTo>
                  <a:cubicBezTo>
                    <a:pt x="13538" y="26069"/>
                    <a:pt x="31276" y="21992"/>
                    <a:pt x="45441" y="18984"/>
                  </a:cubicBezTo>
                  <a:cubicBezTo>
                    <a:pt x="57618" y="16343"/>
                    <a:pt x="78522" y="5213"/>
                    <a:pt x="60541" y="6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93D312F6-6EE5-4B99-8BCA-4F90E18F550B}"/>
                </a:ext>
              </a:extLst>
            </p:cNvPr>
            <p:cNvSpPr/>
            <p:nvPr/>
          </p:nvSpPr>
          <p:spPr>
            <a:xfrm>
              <a:off x="3230809" y="5049559"/>
              <a:ext cx="161831" cy="78480"/>
            </a:xfrm>
            <a:custGeom>
              <a:avLst/>
              <a:gdLst>
                <a:gd name="connsiteX0" fmla="*/ 79821 w 161831"/>
                <a:gd name="connsiteY0" fmla="*/ 65642 h 78480"/>
                <a:gd name="connsiteX1" fmla="*/ 78238 w 161831"/>
                <a:gd name="connsiteY1" fmla="*/ 55414 h 78480"/>
                <a:gd name="connsiteX2" fmla="*/ 109086 w 161831"/>
                <a:gd name="connsiteY2" fmla="*/ 34491 h 78480"/>
                <a:gd name="connsiteX3" fmla="*/ 130639 w 161831"/>
                <a:gd name="connsiteY3" fmla="*/ 22692 h 78480"/>
                <a:gd name="connsiteX4" fmla="*/ 161772 w 161831"/>
                <a:gd name="connsiteY4" fmla="*/ 2839 h 78480"/>
                <a:gd name="connsiteX5" fmla="*/ 119274 w 161831"/>
                <a:gd name="connsiteY5" fmla="*/ 1067 h 78480"/>
                <a:gd name="connsiteX6" fmla="*/ 70567 w 161831"/>
                <a:gd name="connsiteY6" fmla="*/ 19116 h 78480"/>
                <a:gd name="connsiteX7" fmla="*/ 16014 w 161831"/>
                <a:gd name="connsiteY7" fmla="*/ 42713 h 78480"/>
                <a:gd name="connsiteX8" fmla="*/ 5623 w 161831"/>
                <a:gd name="connsiteY8" fmla="*/ 57319 h 78480"/>
                <a:gd name="connsiteX9" fmla="*/ -60 w 161831"/>
                <a:gd name="connsiteY9" fmla="*/ 74031 h 78480"/>
                <a:gd name="connsiteX10" fmla="*/ 35944 w 161831"/>
                <a:gd name="connsiteY10" fmla="*/ 67614 h 78480"/>
                <a:gd name="connsiteX11" fmla="*/ 51002 w 161831"/>
                <a:gd name="connsiteY11" fmla="*/ 76237 h 78480"/>
                <a:gd name="connsiteX12" fmla="*/ 61154 w 161831"/>
                <a:gd name="connsiteY12" fmla="*/ 74011 h 78480"/>
                <a:gd name="connsiteX13" fmla="*/ 64722 w 161831"/>
                <a:gd name="connsiteY13" fmla="*/ 78142 h 78480"/>
                <a:gd name="connsiteX14" fmla="*/ 79821 w 161831"/>
                <a:gd name="connsiteY14" fmla="*/ 65709 h 78480"/>
                <a:gd name="connsiteX15" fmla="*/ 79821 w 161831"/>
                <a:gd name="connsiteY15" fmla="*/ 65642 h 7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1831" h="78480">
                  <a:moveTo>
                    <a:pt x="79821" y="65642"/>
                  </a:moveTo>
                  <a:cubicBezTo>
                    <a:pt x="80755" y="61698"/>
                    <a:pt x="70810" y="60762"/>
                    <a:pt x="78238" y="55414"/>
                  </a:cubicBezTo>
                  <a:cubicBezTo>
                    <a:pt x="87208" y="48963"/>
                    <a:pt x="110142" y="44585"/>
                    <a:pt x="109086" y="34491"/>
                  </a:cubicBezTo>
                  <a:cubicBezTo>
                    <a:pt x="108437" y="28475"/>
                    <a:pt x="124023" y="24798"/>
                    <a:pt x="130639" y="22692"/>
                  </a:cubicBezTo>
                  <a:cubicBezTo>
                    <a:pt x="143060" y="18715"/>
                    <a:pt x="148134" y="7351"/>
                    <a:pt x="161772" y="2839"/>
                  </a:cubicBezTo>
                  <a:cubicBezTo>
                    <a:pt x="158930" y="-2944"/>
                    <a:pt x="128366" y="900"/>
                    <a:pt x="119274" y="1067"/>
                  </a:cubicBezTo>
                  <a:cubicBezTo>
                    <a:pt x="102511" y="1401"/>
                    <a:pt x="83758" y="11094"/>
                    <a:pt x="70567" y="19116"/>
                  </a:cubicBezTo>
                  <a:cubicBezTo>
                    <a:pt x="54331" y="29143"/>
                    <a:pt x="29652" y="31048"/>
                    <a:pt x="16014" y="42713"/>
                  </a:cubicBezTo>
                  <a:cubicBezTo>
                    <a:pt x="11590" y="46056"/>
                    <a:pt x="9195" y="53275"/>
                    <a:pt x="5623" y="57319"/>
                  </a:cubicBezTo>
                  <a:cubicBezTo>
                    <a:pt x="915" y="62634"/>
                    <a:pt x="4446" y="69753"/>
                    <a:pt x="-60" y="74031"/>
                  </a:cubicBezTo>
                  <a:cubicBezTo>
                    <a:pt x="13132" y="72059"/>
                    <a:pt x="22792" y="72494"/>
                    <a:pt x="35944" y="67614"/>
                  </a:cubicBezTo>
                  <a:cubicBezTo>
                    <a:pt x="49095" y="62734"/>
                    <a:pt x="49501" y="70321"/>
                    <a:pt x="51002" y="76237"/>
                  </a:cubicBezTo>
                  <a:cubicBezTo>
                    <a:pt x="53060" y="73316"/>
                    <a:pt x="57602" y="72320"/>
                    <a:pt x="61154" y="74011"/>
                  </a:cubicBezTo>
                  <a:cubicBezTo>
                    <a:pt x="63013" y="74900"/>
                    <a:pt x="64312" y="76404"/>
                    <a:pt x="64722" y="78142"/>
                  </a:cubicBezTo>
                  <a:cubicBezTo>
                    <a:pt x="71094" y="75301"/>
                    <a:pt x="78603" y="70588"/>
                    <a:pt x="79821" y="65709"/>
                  </a:cubicBezTo>
                  <a:cubicBezTo>
                    <a:pt x="80349" y="63737"/>
                    <a:pt x="79375" y="67413"/>
                    <a:pt x="79821" y="6564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B278AFDF-7533-4D1A-BB25-DBB98BC987F3}"/>
                </a:ext>
              </a:extLst>
            </p:cNvPr>
            <p:cNvSpPr/>
            <p:nvPr/>
          </p:nvSpPr>
          <p:spPr>
            <a:xfrm>
              <a:off x="2284175" y="4984141"/>
              <a:ext cx="958112" cy="244731"/>
            </a:xfrm>
            <a:custGeom>
              <a:avLst/>
              <a:gdLst>
                <a:gd name="connsiteX0" fmla="*/ 865152 w 958112"/>
                <a:gd name="connsiteY0" fmla="*/ 139348 h 244731"/>
                <a:gd name="connsiteX1" fmla="*/ 899207 w 958112"/>
                <a:gd name="connsiteY1" fmla="*/ 121533 h 244731"/>
                <a:gd name="connsiteX2" fmla="*/ 876801 w 958112"/>
                <a:gd name="connsiteY2" fmla="*/ 117289 h 244731"/>
                <a:gd name="connsiteX3" fmla="*/ 871809 w 958112"/>
                <a:gd name="connsiteY3" fmla="*/ 108231 h 244731"/>
                <a:gd name="connsiteX4" fmla="*/ 912398 w 958112"/>
                <a:gd name="connsiteY4" fmla="*/ 86338 h 244731"/>
                <a:gd name="connsiteX5" fmla="*/ 951243 w 958112"/>
                <a:gd name="connsiteY5" fmla="*/ 65114 h 244731"/>
                <a:gd name="connsiteX6" fmla="*/ 947184 w 958112"/>
                <a:gd name="connsiteY6" fmla="*/ 20026 h 244731"/>
                <a:gd name="connsiteX7" fmla="*/ 952217 w 958112"/>
                <a:gd name="connsiteY7" fmla="*/ -262 h 244731"/>
                <a:gd name="connsiteX8" fmla="*/ 940040 w 958112"/>
                <a:gd name="connsiteY8" fmla="*/ 4116 h 244731"/>
                <a:gd name="connsiteX9" fmla="*/ 921206 w 958112"/>
                <a:gd name="connsiteY9" fmla="*/ 8261 h 244731"/>
                <a:gd name="connsiteX10" fmla="*/ 859916 w 958112"/>
                <a:gd name="connsiteY10" fmla="*/ 44291 h 244731"/>
                <a:gd name="connsiteX11" fmla="*/ 861052 w 958112"/>
                <a:gd name="connsiteY11" fmla="*/ 79353 h 244731"/>
                <a:gd name="connsiteX12" fmla="*/ 850702 w 958112"/>
                <a:gd name="connsiteY12" fmla="*/ 94327 h 244731"/>
                <a:gd name="connsiteX13" fmla="*/ 829027 w 958112"/>
                <a:gd name="connsiteY13" fmla="*/ 100710 h 244731"/>
                <a:gd name="connsiteX14" fmla="*/ 779873 w 958112"/>
                <a:gd name="connsiteY14" fmla="*/ 127984 h 244731"/>
                <a:gd name="connsiteX15" fmla="*/ 761161 w 958112"/>
                <a:gd name="connsiteY15" fmla="*/ 135805 h 244731"/>
                <a:gd name="connsiteX16" fmla="*/ 728689 w 958112"/>
                <a:gd name="connsiteY16" fmla="*/ 139916 h 244731"/>
                <a:gd name="connsiteX17" fmla="*/ 705147 w 958112"/>
                <a:gd name="connsiteY17" fmla="*/ 127048 h 244731"/>
                <a:gd name="connsiteX18" fmla="*/ 663218 w 958112"/>
                <a:gd name="connsiteY18" fmla="*/ 120364 h 244731"/>
                <a:gd name="connsiteX19" fmla="*/ 630746 w 958112"/>
                <a:gd name="connsiteY19" fmla="*/ 84233 h 244731"/>
                <a:gd name="connsiteX20" fmla="*/ 621897 w 958112"/>
                <a:gd name="connsiteY20" fmla="*/ 55990 h 244731"/>
                <a:gd name="connsiteX21" fmla="*/ 620355 w 958112"/>
                <a:gd name="connsiteY21" fmla="*/ 42620 h 244731"/>
                <a:gd name="connsiteX22" fmla="*/ 598234 w 958112"/>
                <a:gd name="connsiteY22" fmla="*/ 47868 h 244731"/>
                <a:gd name="connsiteX23" fmla="*/ 546400 w 958112"/>
                <a:gd name="connsiteY23" fmla="*/ 45862 h 244731"/>
                <a:gd name="connsiteX24" fmla="*/ 524076 w 958112"/>
                <a:gd name="connsiteY24" fmla="*/ 38409 h 244731"/>
                <a:gd name="connsiteX25" fmla="*/ 489453 w 958112"/>
                <a:gd name="connsiteY25" fmla="*/ 27546 h 244731"/>
                <a:gd name="connsiteX26" fmla="*/ 431491 w 958112"/>
                <a:gd name="connsiteY26" fmla="*/ 40916 h 244731"/>
                <a:gd name="connsiteX27" fmla="*/ 425768 w 958112"/>
                <a:gd name="connsiteY27" fmla="*/ 58496 h 244731"/>
                <a:gd name="connsiteX28" fmla="*/ 395772 w 958112"/>
                <a:gd name="connsiteY28" fmla="*/ 64145 h 244731"/>
                <a:gd name="connsiteX29" fmla="*/ 370728 w 958112"/>
                <a:gd name="connsiteY29" fmla="*/ 60067 h 244731"/>
                <a:gd name="connsiteX30" fmla="*/ 345197 w 958112"/>
                <a:gd name="connsiteY30" fmla="*/ 56391 h 244731"/>
                <a:gd name="connsiteX31" fmla="*/ 302618 w 958112"/>
                <a:gd name="connsiteY31" fmla="*/ 55956 h 244731"/>
                <a:gd name="connsiteX32" fmla="*/ 260649 w 958112"/>
                <a:gd name="connsiteY32" fmla="*/ 75375 h 244731"/>
                <a:gd name="connsiteX33" fmla="*/ 255616 w 958112"/>
                <a:gd name="connsiteY33" fmla="*/ 85402 h 244731"/>
                <a:gd name="connsiteX34" fmla="*/ 246320 w 958112"/>
                <a:gd name="connsiteY34" fmla="*/ 90683 h 244731"/>
                <a:gd name="connsiteX35" fmla="*/ 172691 w 958112"/>
                <a:gd name="connsiteY35" fmla="*/ 125177 h 244731"/>
                <a:gd name="connsiteX36" fmla="*/ 68050 w 958112"/>
                <a:gd name="connsiteY36" fmla="*/ 151113 h 244731"/>
                <a:gd name="connsiteX37" fmla="*/ -60 w 958112"/>
                <a:gd name="connsiteY37" fmla="*/ 188314 h 244731"/>
                <a:gd name="connsiteX38" fmla="*/ 62814 w 958112"/>
                <a:gd name="connsiteY38" fmla="*/ 206463 h 244731"/>
                <a:gd name="connsiteX39" fmla="*/ 132628 w 958112"/>
                <a:gd name="connsiteY39" fmla="*/ 211576 h 244731"/>
                <a:gd name="connsiteX40" fmla="*/ 135226 w 958112"/>
                <a:gd name="connsiteY40" fmla="*/ 223643 h 244731"/>
                <a:gd name="connsiteX41" fmla="*/ 119761 w 958112"/>
                <a:gd name="connsiteY41" fmla="*/ 232901 h 244731"/>
                <a:gd name="connsiteX42" fmla="*/ 178495 w 958112"/>
                <a:gd name="connsiteY42" fmla="*/ 224478 h 244731"/>
                <a:gd name="connsiteX43" fmla="*/ 216365 w 958112"/>
                <a:gd name="connsiteY43" fmla="*/ 228155 h 244731"/>
                <a:gd name="connsiteX44" fmla="*/ 221561 w 958112"/>
                <a:gd name="connsiteY44" fmla="*/ 241524 h 244731"/>
                <a:gd name="connsiteX45" fmla="*/ 303024 w 958112"/>
                <a:gd name="connsiteY45" fmla="*/ 243931 h 244731"/>
                <a:gd name="connsiteX46" fmla="*/ 308869 w 958112"/>
                <a:gd name="connsiteY46" fmla="*/ 228823 h 244731"/>
                <a:gd name="connsiteX47" fmla="*/ 286910 w 958112"/>
                <a:gd name="connsiteY47" fmla="*/ 223810 h 244731"/>
                <a:gd name="connsiteX48" fmla="*/ 265276 w 958112"/>
                <a:gd name="connsiteY48" fmla="*/ 226015 h 244731"/>
                <a:gd name="connsiteX49" fmla="*/ 234265 w 958112"/>
                <a:gd name="connsiteY49" fmla="*/ 212880 h 244731"/>
                <a:gd name="connsiteX50" fmla="*/ 165263 w 958112"/>
                <a:gd name="connsiteY50" fmla="*/ 196469 h 244731"/>
                <a:gd name="connsiteX51" fmla="*/ 143222 w 958112"/>
                <a:gd name="connsiteY51" fmla="*/ 191690 h 244731"/>
                <a:gd name="connsiteX52" fmla="*/ 117813 w 958112"/>
                <a:gd name="connsiteY52" fmla="*/ 190787 h 244731"/>
                <a:gd name="connsiteX53" fmla="*/ 72069 w 958112"/>
                <a:gd name="connsiteY53" fmla="*/ 171134 h 244731"/>
                <a:gd name="connsiteX54" fmla="*/ 84245 w 958112"/>
                <a:gd name="connsiteY54" fmla="*/ 163681 h 244731"/>
                <a:gd name="connsiteX55" fmla="*/ 100481 w 958112"/>
                <a:gd name="connsiteY55" fmla="*/ 156494 h 244731"/>
                <a:gd name="connsiteX56" fmla="*/ 121466 w 958112"/>
                <a:gd name="connsiteY56" fmla="*/ 151815 h 244731"/>
                <a:gd name="connsiteX57" fmla="*/ 127677 w 958112"/>
                <a:gd name="connsiteY57" fmla="*/ 155158 h 244731"/>
                <a:gd name="connsiteX58" fmla="*/ 151259 w 958112"/>
                <a:gd name="connsiteY58" fmla="*/ 168093 h 244731"/>
                <a:gd name="connsiteX59" fmla="*/ 159377 w 958112"/>
                <a:gd name="connsiteY59" fmla="*/ 174276 h 244731"/>
                <a:gd name="connsiteX60" fmla="*/ 172122 w 958112"/>
                <a:gd name="connsiteY60" fmla="*/ 183534 h 244731"/>
                <a:gd name="connsiteX61" fmla="*/ 193513 w 958112"/>
                <a:gd name="connsiteY61" fmla="*/ 176348 h 244731"/>
                <a:gd name="connsiteX62" fmla="*/ 228989 w 958112"/>
                <a:gd name="connsiteY62" fmla="*/ 173942 h 244731"/>
                <a:gd name="connsiteX63" fmla="*/ 251272 w 958112"/>
                <a:gd name="connsiteY63" fmla="*/ 178120 h 244731"/>
                <a:gd name="connsiteX64" fmla="*/ 283744 w 958112"/>
                <a:gd name="connsiteY64" fmla="*/ 177351 h 244731"/>
                <a:gd name="connsiteX65" fmla="*/ 295678 w 958112"/>
                <a:gd name="connsiteY65" fmla="*/ 189818 h 244731"/>
                <a:gd name="connsiteX66" fmla="*/ 330422 w 958112"/>
                <a:gd name="connsiteY66" fmla="*/ 187044 h 244731"/>
                <a:gd name="connsiteX67" fmla="*/ 398816 w 958112"/>
                <a:gd name="connsiteY67" fmla="*/ 193461 h 244731"/>
                <a:gd name="connsiteX68" fmla="*/ 449919 w 958112"/>
                <a:gd name="connsiteY68" fmla="*/ 213515 h 244731"/>
                <a:gd name="connsiteX69" fmla="*/ 455601 w 958112"/>
                <a:gd name="connsiteY69" fmla="*/ 220200 h 244731"/>
                <a:gd name="connsiteX70" fmla="*/ 448701 w 958112"/>
                <a:gd name="connsiteY70" fmla="*/ 227921 h 244731"/>
                <a:gd name="connsiteX71" fmla="*/ 469767 w 958112"/>
                <a:gd name="connsiteY71" fmla="*/ 237647 h 244731"/>
                <a:gd name="connsiteX72" fmla="*/ 502848 w 958112"/>
                <a:gd name="connsiteY72" fmla="*/ 233402 h 244731"/>
                <a:gd name="connsiteX73" fmla="*/ 553057 w 958112"/>
                <a:gd name="connsiteY73" fmla="*/ 229726 h 244731"/>
                <a:gd name="connsiteX74" fmla="*/ 660295 w 958112"/>
                <a:gd name="connsiteY74" fmla="*/ 210373 h 244731"/>
                <a:gd name="connsiteX75" fmla="*/ 757711 w 958112"/>
                <a:gd name="connsiteY75" fmla="*/ 184370 h 244731"/>
                <a:gd name="connsiteX76" fmla="*/ 852731 w 958112"/>
                <a:gd name="connsiteY76" fmla="*/ 164984 h 244731"/>
                <a:gd name="connsiteX77" fmla="*/ 865233 w 958112"/>
                <a:gd name="connsiteY77" fmla="*/ 139616 h 244731"/>
                <a:gd name="connsiteX78" fmla="*/ 865152 w 958112"/>
                <a:gd name="connsiteY78" fmla="*/ 139348 h 2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58112" h="244731">
                  <a:moveTo>
                    <a:pt x="865152" y="139348"/>
                  </a:moveTo>
                  <a:cubicBezTo>
                    <a:pt x="870144" y="136641"/>
                    <a:pt x="905742" y="127015"/>
                    <a:pt x="899207" y="121533"/>
                  </a:cubicBezTo>
                  <a:cubicBezTo>
                    <a:pt x="895148" y="117957"/>
                    <a:pt x="883742" y="118191"/>
                    <a:pt x="876801" y="117289"/>
                  </a:cubicBezTo>
                  <a:cubicBezTo>
                    <a:pt x="869860" y="116386"/>
                    <a:pt x="872296" y="113044"/>
                    <a:pt x="871809" y="108231"/>
                  </a:cubicBezTo>
                  <a:cubicBezTo>
                    <a:pt x="870631" y="97201"/>
                    <a:pt x="898395" y="91719"/>
                    <a:pt x="912398" y="86338"/>
                  </a:cubicBezTo>
                  <a:cubicBezTo>
                    <a:pt x="931800" y="78918"/>
                    <a:pt x="926767" y="62073"/>
                    <a:pt x="951243" y="65114"/>
                  </a:cubicBezTo>
                  <a:cubicBezTo>
                    <a:pt x="965287" y="47400"/>
                    <a:pt x="936549" y="35401"/>
                    <a:pt x="947184" y="20026"/>
                  </a:cubicBezTo>
                  <a:cubicBezTo>
                    <a:pt x="951040" y="14411"/>
                    <a:pt x="966261" y="2111"/>
                    <a:pt x="952217" y="-262"/>
                  </a:cubicBezTo>
                  <a:cubicBezTo>
                    <a:pt x="948158" y="-897"/>
                    <a:pt x="943287" y="2579"/>
                    <a:pt x="940040" y="4116"/>
                  </a:cubicBezTo>
                  <a:cubicBezTo>
                    <a:pt x="933424" y="7459"/>
                    <a:pt x="927863" y="6423"/>
                    <a:pt x="921206" y="8261"/>
                  </a:cubicBezTo>
                  <a:cubicBezTo>
                    <a:pt x="902413" y="13375"/>
                    <a:pt x="866654" y="31357"/>
                    <a:pt x="859916" y="44291"/>
                  </a:cubicBezTo>
                  <a:cubicBezTo>
                    <a:pt x="853706" y="56157"/>
                    <a:pt x="867263" y="67287"/>
                    <a:pt x="861052" y="79353"/>
                  </a:cubicBezTo>
                  <a:cubicBezTo>
                    <a:pt x="858942" y="83431"/>
                    <a:pt x="847414" y="90650"/>
                    <a:pt x="850702" y="94327"/>
                  </a:cubicBezTo>
                  <a:cubicBezTo>
                    <a:pt x="855045" y="99173"/>
                    <a:pt x="832315" y="100577"/>
                    <a:pt x="829027" y="100710"/>
                  </a:cubicBezTo>
                  <a:cubicBezTo>
                    <a:pt x="817297" y="101112"/>
                    <a:pt x="789087" y="122369"/>
                    <a:pt x="779873" y="127984"/>
                  </a:cubicBezTo>
                  <a:cubicBezTo>
                    <a:pt x="773622" y="131761"/>
                    <a:pt x="769035" y="135371"/>
                    <a:pt x="761161" y="135805"/>
                  </a:cubicBezTo>
                  <a:cubicBezTo>
                    <a:pt x="749877" y="136440"/>
                    <a:pt x="739527" y="138813"/>
                    <a:pt x="728689" y="139916"/>
                  </a:cubicBezTo>
                  <a:cubicBezTo>
                    <a:pt x="715091" y="141320"/>
                    <a:pt x="713022" y="130625"/>
                    <a:pt x="705147" y="127048"/>
                  </a:cubicBezTo>
                  <a:cubicBezTo>
                    <a:pt x="693701" y="121868"/>
                    <a:pt x="674826" y="125143"/>
                    <a:pt x="663218" y="120364"/>
                  </a:cubicBezTo>
                  <a:cubicBezTo>
                    <a:pt x="646292" y="113144"/>
                    <a:pt x="637849" y="96800"/>
                    <a:pt x="630746" y="84233"/>
                  </a:cubicBezTo>
                  <a:cubicBezTo>
                    <a:pt x="625567" y="75389"/>
                    <a:pt x="622563" y="65793"/>
                    <a:pt x="621897" y="55990"/>
                  </a:cubicBezTo>
                  <a:cubicBezTo>
                    <a:pt x="622234" y="51494"/>
                    <a:pt x="621715" y="46982"/>
                    <a:pt x="620355" y="42620"/>
                  </a:cubicBezTo>
                  <a:cubicBezTo>
                    <a:pt x="612237" y="43155"/>
                    <a:pt x="606230" y="45963"/>
                    <a:pt x="598234" y="47868"/>
                  </a:cubicBezTo>
                  <a:cubicBezTo>
                    <a:pt x="575138" y="53082"/>
                    <a:pt x="558659" y="56224"/>
                    <a:pt x="546400" y="45862"/>
                  </a:cubicBezTo>
                  <a:cubicBezTo>
                    <a:pt x="539500" y="40013"/>
                    <a:pt x="535644" y="39846"/>
                    <a:pt x="524076" y="38409"/>
                  </a:cubicBezTo>
                  <a:cubicBezTo>
                    <a:pt x="510032" y="36671"/>
                    <a:pt x="502482" y="29485"/>
                    <a:pt x="489453" y="27546"/>
                  </a:cubicBezTo>
                  <a:cubicBezTo>
                    <a:pt x="477885" y="25775"/>
                    <a:pt x="440096" y="29786"/>
                    <a:pt x="431491" y="40916"/>
                  </a:cubicBezTo>
                  <a:cubicBezTo>
                    <a:pt x="426864" y="46965"/>
                    <a:pt x="428041" y="52581"/>
                    <a:pt x="425768" y="58496"/>
                  </a:cubicBezTo>
                  <a:cubicBezTo>
                    <a:pt x="424103" y="62741"/>
                    <a:pt x="400074" y="63644"/>
                    <a:pt x="395772" y="64145"/>
                  </a:cubicBezTo>
                  <a:cubicBezTo>
                    <a:pt x="384610" y="65348"/>
                    <a:pt x="375112" y="66618"/>
                    <a:pt x="370728" y="60067"/>
                  </a:cubicBezTo>
                  <a:cubicBezTo>
                    <a:pt x="368009" y="55923"/>
                    <a:pt x="353112" y="54452"/>
                    <a:pt x="345197" y="56391"/>
                  </a:cubicBezTo>
                  <a:cubicBezTo>
                    <a:pt x="333223" y="59332"/>
                    <a:pt x="312725" y="51277"/>
                    <a:pt x="302618" y="55956"/>
                  </a:cubicBezTo>
                  <a:cubicBezTo>
                    <a:pt x="288627" y="62374"/>
                    <a:pt x="274640" y="68848"/>
                    <a:pt x="260649" y="75375"/>
                  </a:cubicBezTo>
                  <a:cubicBezTo>
                    <a:pt x="257970" y="76645"/>
                    <a:pt x="256590" y="83330"/>
                    <a:pt x="255616" y="85402"/>
                  </a:cubicBezTo>
                  <a:cubicBezTo>
                    <a:pt x="254641" y="87475"/>
                    <a:pt x="249202" y="89313"/>
                    <a:pt x="246320" y="90683"/>
                  </a:cubicBezTo>
                  <a:cubicBezTo>
                    <a:pt x="224767" y="100911"/>
                    <a:pt x="195827" y="119361"/>
                    <a:pt x="172691" y="125177"/>
                  </a:cubicBezTo>
                  <a:cubicBezTo>
                    <a:pt x="138676" y="133700"/>
                    <a:pt x="101537" y="146735"/>
                    <a:pt x="68050" y="151113"/>
                  </a:cubicBezTo>
                  <a:cubicBezTo>
                    <a:pt x="46741" y="153854"/>
                    <a:pt x="18409" y="176983"/>
                    <a:pt x="-60" y="188314"/>
                  </a:cubicBezTo>
                  <a:cubicBezTo>
                    <a:pt x="20763" y="195333"/>
                    <a:pt x="45320" y="195901"/>
                    <a:pt x="62814" y="206463"/>
                  </a:cubicBezTo>
                  <a:cubicBezTo>
                    <a:pt x="80308" y="217024"/>
                    <a:pt x="115581" y="199979"/>
                    <a:pt x="132628" y="211576"/>
                  </a:cubicBezTo>
                  <a:cubicBezTo>
                    <a:pt x="135835" y="213749"/>
                    <a:pt x="144075" y="219632"/>
                    <a:pt x="135226" y="223643"/>
                  </a:cubicBezTo>
                  <a:cubicBezTo>
                    <a:pt x="132791" y="224745"/>
                    <a:pt x="113917" y="230762"/>
                    <a:pt x="119761" y="232901"/>
                  </a:cubicBezTo>
                  <a:cubicBezTo>
                    <a:pt x="137946" y="239585"/>
                    <a:pt x="159377" y="225481"/>
                    <a:pt x="178495" y="224478"/>
                  </a:cubicBezTo>
                  <a:cubicBezTo>
                    <a:pt x="191524" y="223810"/>
                    <a:pt x="208166" y="222740"/>
                    <a:pt x="216365" y="228155"/>
                  </a:cubicBezTo>
                  <a:cubicBezTo>
                    <a:pt x="220789" y="231096"/>
                    <a:pt x="216812" y="240822"/>
                    <a:pt x="221561" y="241524"/>
                  </a:cubicBezTo>
                  <a:cubicBezTo>
                    <a:pt x="247132" y="245334"/>
                    <a:pt x="283014" y="231196"/>
                    <a:pt x="303024" y="243931"/>
                  </a:cubicBezTo>
                  <a:cubicBezTo>
                    <a:pt x="308382" y="247273"/>
                    <a:pt x="317028" y="231464"/>
                    <a:pt x="308869" y="228823"/>
                  </a:cubicBezTo>
                  <a:cubicBezTo>
                    <a:pt x="301725" y="226584"/>
                    <a:pt x="297585" y="220200"/>
                    <a:pt x="286910" y="223810"/>
                  </a:cubicBezTo>
                  <a:cubicBezTo>
                    <a:pt x="276235" y="227419"/>
                    <a:pt x="269781" y="233168"/>
                    <a:pt x="265276" y="226015"/>
                  </a:cubicBezTo>
                  <a:cubicBezTo>
                    <a:pt x="260243" y="218094"/>
                    <a:pt x="244169" y="217726"/>
                    <a:pt x="234265" y="212880"/>
                  </a:cubicBezTo>
                  <a:cubicBezTo>
                    <a:pt x="214660" y="203221"/>
                    <a:pt x="189617" y="201516"/>
                    <a:pt x="165263" y="196469"/>
                  </a:cubicBezTo>
                  <a:cubicBezTo>
                    <a:pt x="160757" y="195533"/>
                    <a:pt x="141477" y="196035"/>
                    <a:pt x="143222" y="191690"/>
                  </a:cubicBezTo>
                  <a:cubicBezTo>
                    <a:pt x="148174" y="179523"/>
                    <a:pt x="128691" y="188347"/>
                    <a:pt x="117813" y="190787"/>
                  </a:cubicBezTo>
                  <a:cubicBezTo>
                    <a:pt x="94149" y="195734"/>
                    <a:pt x="85341" y="178019"/>
                    <a:pt x="72069" y="171134"/>
                  </a:cubicBezTo>
                  <a:cubicBezTo>
                    <a:pt x="60785" y="165285"/>
                    <a:pt x="76371" y="164449"/>
                    <a:pt x="84245" y="163681"/>
                  </a:cubicBezTo>
                  <a:cubicBezTo>
                    <a:pt x="90090" y="163112"/>
                    <a:pt x="93337" y="157196"/>
                    <a:pt x="100481" y="156494"/>
                  </a:cubicBezTo>
                  <a:cubicBezTo>
                    <a:pt x="111684" y="155391"/>
                    <a:pt x="109858" y="157698"/>
                    <a:pt x="121466" y="151815"/>
                  </a:cubicBezTo>
                  <a:cubicBezTo>
                    <a:pt x="129990" y="147470"/>
                    <a:pt x="127230" y="152183"/>
                    <a:pt x="127677" y="155158"/>
                  </a:cubicBezTo>
                  <a:cubicBezTo>
                    <a:pt x="128894" y="163146"/>
                    <a:pt x="142208" y="165452"/>
                    <a:pt x="151259" y="168093"/>
                  </a:cubicBezTo>
                  <a:cubicBezTo>
                    <a:pt x="155927" y="169463"/>
                    <a:pt x="160676" y="169997"/>
                    <a:pt x="159377" y="174276"/>
                  </a:cubicBezTo>
                  <a:cubicBezTo>
                    <a:pt x="158362" y="177919"/>
                    <a:pt x="164410" y="189149"/>
                    <a:pt x="172122" y="183534"/>
                  </a:cubicBezTo>
                  <a:cubicBezTo>
                    <a:pt x="181296" y="176849"/>
                    <a:pt x="179144" y="175178"/>
                    <a:pt x="193513" y="176348"/>
                  </a:cubicBezTo>
                  <a:cubicBezTo>
                    <a:pt x="205690" y="177317"/>
                    <a:pt x="217380" y="173607"/>
                    <a:pt x="228989" y="173942"/>
                  </a:cubicBezTo>
                  <a:cubicBezTo>
                    <a:pt x="238081" y="174175"/>
                    <a:pt x="236741" y="183334"/>
                    <a:pt x="251272" y="178120"/>
                  </a:cubicBezTo>
                  <a:cubicBezTo>
                    <a:pt x="256224" y="176348"/>
                    <a:pt x="280862" y="175379"/>
                    <a:pt x="283744" y="177351"/>
                  </a:cubicBezTo>
                  <a:cubicBezTo>
                    <a:pt x="289873" y="181729"/>
                    <a:pt x="281958" y="190353"/>
                    <a:pt x="295678" y="189818"/>
                  </a:cubicBezTo>
                  <a:cubicBezTo>
                    <a:pt x="308342" y="189350"/>
                    <a:pt x="319341" y="184503"/>
                    <a:pt x="330422" y="187044"/>
                  </a:cubicBezTo>
                  <a:cubicBezTo>
                    <a:pt x="350352" y="191623"/>
                    <a:pt x="377141" y="190887"/>
                    <a:pt x="398816" y="193461"/>
                  </a:cubicBezTo>
                  <a:cubicBezTo>
                    <a:pt x="416148" y="195500"/>
                    <a:pt x="451055" y="198742"/>
                    <a:pt x="449919" y="213515"/>
                  </a:cubicBezTo>
                  <a:cubicBezTo>
                    <a:pt x="449675" y="217325"/>
                    <a:pt x="455479" y="217325"/>
                    <a:pt x="455601" y="220200"/>
                  </a:cubicBezTo>
                  <a:cubicBezTo>
                    <a:pt x="455723" y="223074"/>
                    <a:pt x="446347" y="225447"/>
                    <a:pt x="448701" y="227921"/>
                  </a:cubicBezTo>
                  <a:cubicBezTo>
                    <a:pt x="454245" y="232968"/>
                    <a:pt x="461645" y="236377"/>
                    <a:pt x="469767" y="237647"/>
                  </a:cubicBezTo>
                  <a:cubicBezTo>
                    <a:pt x="479590" y="239351"/>
                    <a:pt x="491848" y="233736"/>
                    <a:pt x="502848" y="233402"/>
                  </a:cubicBezTo>
                  <a:cubicBezTo>
                    <a:pt x="520545" y="232867"/>
                    <a:pt x="534021" y="235675"/>
                    <a:pt x="553057" y="229726"/>
                  </a:cubicBezTo>
                  <a:cubicBezTo>
                    <a:pt x="588614" y="218662"/>
                    <a:pt x="624333" y="217492"/>
                    <a:pt x="660295" y="210373"/>
                  </a:cubicBezTo>
                  <a:cubicBezTo>
                    <a:pt x="697435" y="203053"/>
                    <a:pt x="725888" y="206530"/>
                    <a:pt x="757711" y="184370"/>
                  </a:cubicBezTo>
                  <a:cubicBezTo>
                    <a:pt x="788600" y="162979"/>
                    <a:pt x="818961" y="162076"/>
                    <a:pt x="852731" y="164984"/>
                  </a:cubicBezTo>
                  <a:cubicBezTo>
                    <a:pt x="854720" y="160405"/>
                    <a:pt x="858576" y="143326"/>
                    <a:pt x="865233" y="139616"/>
                  </a:cubicBezTo>
                  <a:cubicBezTo>
                    <a:pt x="867871" y="137911"/>
                    <a:pt x="863894" y="140050"/>
                    <a:pt x="865152" y="13934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5825B16E-1F62-4E98-89CE-924F354B5029}"/>
                </a:ext>
              </a:extLst>
            </p:cNvPr>
            <p:cNvSpPr/>
            <p:nvPr/>
          </p:nvSpPr>
          <p:spPr>
            <a:xfrm>
              <a:off x="3138911" y="5067877"/>
              <a:ext cx="107484" cy="84215"/>
            </a:xfrm>
            <a:custGeom>
              <a:avLst/>
              <a:gdLst>
                <a:gd name="connsiteX0" fmla="*/ 97521 w 107484"/>
                <a:gd name="connsiteY0" fmla="*/ 39001 h 84215"/>
                <a:gd name="connsiteX1" fmla="*/ 107425 w 107484"/>
                <a:gd name="connsiteY1" fmla="*/ 24796 h 84215"/>
                <a:gd name="connsiteX2" fmla="*/ 94355 w 107484"/>
                <a:gd name="connsiteY2" fmla="*/ 25264 h 84215"/>
                <a:gd name="connsiteX3" fmla="*/ 81285 w 107484"/>
                <a:gd name="connsiteY3" fmla="*/ 31481 h 84215"/>
                <a:gd name="connsiteX4" fmla="*/ 65049 w 107484"/>
                <a:gd name="connsiteY4" fmla="*/ -339 h 84215"/>
                <a:gd name="connsiteX5" fmla="*/ 24175 w 107484"/>
                <a:gd name="connsiteY5" fmla="*/ 15136 h 84215"/>
                <a:gd name="connsiteX6" fmla="*/ 16788 w 107484"/>
                <a:gd name="connsiteY6" fmla="*/ 32082 h 84215"/>
                <a:gd name="connsiteX7" fmla="*/ 23647 w 107484"/>
                <a:gd name="connsiteY7" fmla="*/ 50799 h 84215"/>
                <a:gd name="connsiteX8" fmla="*/ 3352 w 107484"/>
                <a:gd name="connsiteY8" fmla="*/ 68848 h 84215"/>
                <a:gd name="connsiteX9" fmla="*/ 15976 w 107484"/>
                <a:gd name="connsiteY9" fmla="*/ 82552 h 84215"/>
                <a:gd name="connsiteX10" fmla="*/ 41953 w 107484"/>
                <a:gd name="connsiteY10" fmla="*/ 82986 h 84215"/>
                <a:gd name="connsiteX11" fmla="*/ 81163 w 107484"/>
                <a:gd name="connsiteY11" fmla="*/ 67344 h 84215"/>
                <a:gd name="connsiteX12" fmla="*/ 92853 w 107484"/>
                <a:gd name="connsiteY12" fmla="*/ 54309 h 84215"/>
                <a:gd name="connsiteX13" fmla="*/ 97521 w 107484"/>
                <a:gd name="connsiteY13" fmla="*/ 39001 h 8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484" h="84215">
                  <a:moveTo>
                    <a:pt x="97521" y="39001"/>
                  </a:moveTo>
                  <a:cubicBezTo>
                    <a:pt x="101393" y="34552"/>
                    <a:pt x="104709" y="29793"/>
                    <a:pt x="107425" y="24796"/>
                  </a:cubicBezTo>
                  <a:cubicBezTo>
                    <a:pt x="101904" y="29341"/>
                    <a:pt x="95248" y="30712"/>
                    <a:pt x="94355" y="25264"/>
                  </a:cubicBezTo>
                  <a:lnTo>
                    <a:pt x="81285" y="31481"/>
                  </a:lnTo>
                  <a:cubicBezTo>
                    <a:pt x="75874" y="20875"/>
                    <a:pt x="70459" y="10267"/>
                    <a:pt x="65049" y="-339"/>
                  </a:cubicBezTo>
                  <a:cubicBezTo>
                    <a:pt x="51654" y="5176"/>
                    <a:pt x="37813" y="10056"/>
                    <a:pt x="24175" y="15136"/>
                  </a:cubicBezTo>
                  <a:cubicBezTo>
                    <a:pt x="9562" y="20618"/>
                    <a:pt x="23891" y="25665"/>
                    <a:pt x="16788" y="32082"/>
                  </a:cubicBezTo>
                  <a:cubicBezTo>
                    <a:pt x="13256" y="35425"/>
                    <a:pt x="73613" y="32583"/>
                    <a:pt x="23647" y="50799"/>
                  </a:cubicBezTo>
                  <a:cubicBezTo>
                    <a:pt x="8304" y="56414"/>
                    <a:pt x="8426" y="57785"/>
                    <a:pt x="3352" y="68848"/>
                  </a:cubicBezTo>
                  <a:cubicBezTo>
                    <a:pt x="-2695" y="81817"/>
                    <a:pt x="-1965" y="81014"/>
                    <a:pt x="15976" y="82552"/>
                  </a:cubicBezTo>
                  <a:cubicBezTo>
                    <a:pt x="23769" y="83254"/>
                    <a:pt x="33104" y="84891"/>
                    <a:pt x="41953" y="82986"/>
                  </a:cubicBezTo>
                  <a:cubicBezTo>
                    <a:pt x="53887" y="80346"/>
                    <a:pt x="76170" y="73795"/>
                    <a:pt x="81163" y="67344"/>
                  </a:cubicBezTo>
                  <a:cubicBezTo>
                    <a:pt x="83720" y="64002"/>
                    <a:pt x="91716" y="57685"/>
                    <a:pt x="92853" y="54309"/>
                  </a:cubicBezTo>
                  <a:cubicBezTo>
                    <a:pt x="94760" y="48527"/>
                    <a:pt x="92000" y="45218"/>
                    <a:pt x="97521" y="390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0F7208E3-B8ED-45B2-845F-BE3A5A6628FB}"/>
                </a:ext>
              </a:extLst>
            </p:cNvPr>
            <p:cNvSpPr/>
            <p:nvPr/>
          </p:nvSpPr>
          <p:spPr>
            <a:xfrm>
              <a:off x="3205679" y="5048970"/>
              <a:ext cx="33572" cy="50659"/>
            </a:xfrm>
            <a:custGeom>
              <a:avLst/>
              <a:gdLst>
                <a:gd name="connsiteX0" fmla="*/ 2137 w 33572"/>
                <a:gd name="connsiteY0" fmla="*/ 16897 h 50659"/>
                <a:gd name="connsiteX1" fmla="*/ 14517 w 33572"/>
                <a:gd name="connsiteY1" fmla="*/ 50321 h 50659"/>
                <a:gd name="connsiteX2" fmla="*/ 33350 w 33572"/>
                <a:gd name="connsiteY2" fmla="*/ 28261 h 50659"/>
                <a:gd name="connsiteX3" fmla="*/ 24908 w 33572"/>
                <a:gd name="connsiteY3" fmla="*/ 15293 h 50659"/>
                <a:gd name="connsiteX4" fmla="*/ 29738 w 33572"/>
                <a:gd name="connsiteY4" fmla="*/ 185 h 50659"/>
                <a:gd name="connsiteX5" fmla="*/ 2137 w 33572"/>
                <a:gd name="connsiteY5" fmla="*/ 16897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72" h="50659">
                  <a:moveTo>
                    <a:pt x="2137" y="16897"/>
                  </a:moveTo>
                  <a:cubicBezTo>
                    <a:pt x="-5981" y="23582"/>
                    <a:pt x="10742" y="42901"/>
                    <a:pt x="14517" y="50321"/>
                  </a:cubicBezTo>
                  <a:cubicBezTo>
                    <a:pt x="26247" y="44739"/>
                    <a:pt x="34812" y="37252"/>
                    <a:pt x="33350" y="28261"/>
                  </a:cubicBezTo>
                  <a:cubicBezTo>
                    <a:pt x="32620" y="23314"/>
                    <a:pt x="27992" y="19370"/>
                    <a:pt x="24908" y="15293"/>
                  </a:cubicBezTo>
                  <a:cubicBezTo>
                    <a:pt x="19428" y="8140"/>
                    <a:pt x="23771" y="7772"/>
                    <a:pt x="29738" y="185"/>
                  </a:cubicBezTo>
                  <a:cubicBezTo>
                    <a:pt x="5384" y="-2823"/>
                    <a:pt x="13827" y="7706"/>
                    <a:pt x="2137" y="1689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7102E2B0-06A0-4F0D-8DA7-12C99FE36470}"/>
                </a:ext>
              </a:extLst>
            </p:cNvPr>
            <p:cNvSpPr/>
            <p:nvPr/>
          </p:nvSpPr>
          <p:spPr>
            <a:xfrm>
              <a:off x="3608683" y="4867436"/>
              <a:ext cx="78557" cy="50779"/>
            </a:xfrm>
            <a:custGeom>
              <a:avLst/>
              <a:gdLst>
                <a:gd name="connsiteX0" fmla="*/ 23133 w 78557"/>
                <a:gd name="connsiteY0" fmla="*/ 9087 h 50779"/>
                <a:gd name="connsiteX1" fmla="*/ 50450 w 78557"/>
                <a:gd name="connsiteY1" fmla="*/ 23559 h 50779"/>
                <a:gd name="connsiteX2" fmla="*/ 22565 w 78557"/>
                <a:gd name="connsiteY2" fmla="*/ 37263 h 50779"/>
                <a:gd name="connsiteX3" fmla="*/ 9130 w 78557"/>
                <a:gd name="connsiteY3" fmla="*/ 50264 h 50779"/>
                <a:gd name="connsiteX4" fmla="*/ 78498 w 78557"/>
                <a:gd name="connsiteY4" fmla="*/ 32416 h 50779"/>
                <a:gd name="connsiteX5" fmla="*/ 69974 w 78557"/>
                <a:gd name="connsiteY5" fmla="*/ -339 h 50779"/>
                <a:gd name="connsiteX6" fmla="*/ 23133 w 78557"/>
                <a:gd name="connsiteY6" fmla="*/ 9087 h 50779"/>
                <a:gd name="connsiteX7" fmla="*/ 23133 w 78557"/>
                <a:gd name="connsiteY7" fmla="*/ 9087 h 5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57" h="50779">
                  <a:moveTo>
                    <a:pt x="23133" y="9087"/>
                  </a:moveTo>
                  <a:cubicBezTo>
                    <a:pt x="13757" y="17175"/>
                    <a:pt x="45498" y="20250"/>
                    <a:pt x="50450" y="23559"/>
                  </a:cubicBezTo>
                  <a:cubicBezTo>
                    <a:pt x="58568" y="28840"/>
                    <a:pt x="27964" y="35658"/>
                    <a:pt x="22565" y="37263"/>
                  </a:cubicBezTo>
                  <a:cubicBezTo>
                    <a:pt x="15340" y="39435"/>
                    <a:pt x="-15061" y="52069"/>
                    <a:pt x="9130" y="50264"/>
                  </a:cubicBezTo>
                  <a:cubicBezTo>
                    <a:pt x="34296" y="48460"/>
                    <a:pt x="51587" y="32884"/>
                    <a:pt x="78498" y="32416"/>
                  </a:cubicBezTo>
                  <a:cubicBezTo>
                    <a:pt x="75170" y="21620"/>
                    <a:pt x="72166" y="10724"/>
                    <a:pt x="69974" y="-339"/>
                  </a:cubicBezTo>
                  <a:cubicBezTo>
                    <a:pt x="57797" y="1466"/>
                    <a:pt x="32428" y="965"/>
                    <a:pt x="23133" y="9087"/>
                  </a:cubicBezTo>
                  <a:cubicBezTo>
                    <a:pt x="12905" y="17944"/>
                    <a:pt x="30602" y="2602"/>
                    <a:pt x="23133" y="908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5EB9B787-3EF7-4696-BB50-D66EC142C3A8}"/>
                </a:ext>
              </a:extLst>
            </p:cNvPr>
            <p:cNvSpPr/>
            <p:nvPr/>
          </p:nvSpPr>
          <p:spPr>
            <a:xfrm>
              <a:off x="3678758" y="4853531"/>
              <a:ext cx="99196" cy="46626"/>
            </a:xfrm>
            <a:custGeom>
              <a:avLst/>
              <a:gdLst>
                <a:gd name="connsiteX0" fmla="*/ 42722 w 99196"/>
                <a:gd name="connsiteY0" fmla="*/ 28540 h 46626"/>
                <a:gd name="connsiteX1" fmla="*/ 89116 w 99196"/>
                <a:gd name="connsiteY1" fmla="*/ 397 h 46626"/>
                <a:gd name="connsiteX2" fmla="*/ 46172 w 99196"/>
                <a:gd name="connsiteY2" fmla="*/ 1968 h 46626"/>
                <a:gd name="connsiteX3" fmla="*/ -60 w 99196"/>
                <a:gd name="connsiteY3" fmla="*/ 13566 h 46626"/>
                <a:gd name="connsiteX4" fmla="*/ 10900 w 99196"/>
                <a:gd name="connsiteY4" fmla="*/ 46287 h 46626"/>
                <a:gd name="connsiteX5" fmla="*/ 42722 w 99196"/>
                <a:gd name="connsiteY5" fmla="*/ 2854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196" h="46626">
                  <a:moveTo>
                    <a:pt x="42722" y="28540"/>
                  </a:moveTo>
                  <a:cubicBezTo>
                    <a:pt x="50840" y="24161"/>
                    <a:pt x="125728" y="5611"/>
                    <a:pt x="89116" y="397"/>
                  </a:cubicBezTo>
                  <a:cubicBezTo>
                    <a:pt x="74792" y="-964"/>
                    <a:pt x="60293" y="-435"/>
                    <a:pt x="46172" y="1968"/>
                  </a:cubicBezTo>
                  <a:cubicBezTo>
                    <a:pt x="29936" y="4241"/>
                    <a:pt x="15527" y="11226"/>
                    <a:pt x="-60" y="13566"/>
                  </a:cubicBezTo>
                  <a:cubicBezTo>
                    <a:pt x="955" y="18780"/>
                    <a:pt x="3431" y="46455"/>
                    <a:pt x="10900" y="46287"/>
                  </a:cubicBezTo>
                  <a:cubicBezTo>
                    <a:pt x="22265" y="46053"/>
                    <a:pt x="34198" y="32918"/>
                    <a:pt x="42722" y="2854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100DC56B-2D0C-40DF-91F5-BA70F6AE48D9}"/>
                </a:ext>
              </a:extLst>
            </p:cNvPr>
            <p:cNvSpPr/>
            <p:nvPr/>
          </p:nvSpPr>
          <p:spPr>
            <a:xfrm>
              <a:off x="3294820" y="5052736"/>
              <a:ext cx="120956" cy="87056"/>
            </a:xfrm>
            <a:custGeom>
              <a:avLst/>
              <a:gdLst>
                <a:gd name="connsiteX0" fmla="*/ 78928 w 120956"/>
                <a:gd name="connsiteY0" fmla="*/ 83320 h 87056"/>
                <a:gd name="connsiteX1" fmla="*/ 120897 w 120956"/>
                <a:gd name="connsiteY1" fmla="*/ 72291 h 87056"/>
                <a:gd name="connsiteX2" fmla="*/ 105676 w 120956"/>
                <a:gd name="connsiteY2" fmla="*/ 34990 h 87056"/>
                <a:gd name="connsiteX3" fmla="*/ 97558 w 120956"/>
                <a:gd name="connsiteY3" fmla="*/ -339 h 87056"/>
                <a:gd name="connsiteX4" fmla="*/ 71987 w 120956"/>
                <a:gd name="connsiteY4" fmla="*/ 16741 h 87056"/>
                <a:gd name="connsiteX5" fmla="*/ 48526 w 120956"/>
                <a:gd name="connsiteY5" fmla="*/ 26300 h 87056"/>
                <a:gd name="connsiteX6" fmla="*/ 32736 w 120956"/>
                <a:gd name="connsiteY6" fmla="*/ 43413 h 87056"/>
                <a:gd name="connsiteX7" fmla="*/ 12441 w 120956"/>
                <a:gd name="connsiteY7" fmla="*/ 58687 h 87056"/>
                <a:gd name="connsiteX8" fmla="*/ 9966 w 120956"/>
                <a:gd name="connsiteY8" fmla="*/ 69784 h 87056"/>
                <a:gd name="connsiteX9" fmla="*/ 8098 w 120956"/>
                <a:gd name="connsiteY9" fmla="*/ 79209 h 87056"/>
                <a:gd name="connsiteX10" fmla="*/ 40936 w 120956"/>
                <a:gd name="connsiteY10" fmla="*/ 84557 h 87056"/>
                <a:gd name="connsiteX11" fmla="*/ 58552 w 120956"/>
                <a:gd name="connsiteY11" fmla="*/ 85928 h 87056"/>
                <a:gd name="connsiteX12" fmla="*/ 78846 w 120956"/>
                <a:gd name="connsiteY12" fmla="*/ 83320 h 87056"/>
                <a:gd name="connsiteX13" fmla="*/ 78928 w 120956"/>
                <a:gd name="connsiteY13" fmla="*/ 83320 h 8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956" h="87056">
                  <a:moveTo>
                    <a:pt x="78928" y="83320"/>
                  </a:moveTo>
                  <a:cubicBezTo>
                    <a:pt x="93422" y="81104"/>
                    <a:pt x="107523" y="77401"/>
                    <a:pt x="120897" y="72291"/>
                  </a:cubicBezTo>
                  <a:cubicBezTo>
                    <a:pt x="103931" y="66642"/>
                    <a:pt x="112779" y="46220"/>
                    <a:pt x="105676" y="34990"/>
                  </a:cubicBezTo>
                  <a:cubicBezTo>
                    <a:pt x="98573" y="23760"/>
                    <a:pt x="103809" y="11593"/>
                    <a:pt x="97558" y="-339"/>
                  </a:cubicBezTo>
                  <a:cubicBezTo>
                    <a:pt x="86396" y="3371"/>
                    <a:pt x="79658" y="10658"/>
                    <a:pt x="71987" y="16741"/>
                  </a:cubicBezTo>
                  <a:cubicBezTo>
                    <a:pt x="66101" y="21420"/>
                    <a:pt x="55385" y="22021"/>
                    <a:pt x="48526" y="26300"/>
                  </a:cubicBezTo>
                  <a:cubicBezTo>
                    <a:pt x="40408" y="31480"/>
                    <a:pt x="44467" y="37497"/>
                    <a:pt x="32736" y="43413"/>
                  </a:cubicBezTo>
                  <a:cubicBezTo>
                    <a:pt x="25471" y="47089"/>
                    <a:pt x="7287" y="52103"/>
                    <a:pt x="12441" y="58687"/>
                  </a:cubicBezTo>
                  <a:cubicBezTo>
                    <a:pt x="16013" y="63333"/>
                    <a:pt x="14796" y="63701"/>
                    <a:pt x="9966" y="69784"/>
                  </a:cubicBezTo>
                  <a:cubicBezTo>
                    <a:pt x="7936" y="72358"/>
                    <a:pt x="-10329" y="79811"/>
                    <a:pt x="8098" y="79209"/>
                  </a:cubicBezTo>
                  <a:cubicBezTo>
                    <a:pt x="19991" y="78708"/>
                    <a:pt x="30342" y="82886"/>
                    <a:pt x="40936" y="84557"/>
                  </a:cubicBezTo>
                  <a:cubicBezTo>
                    <a:pt x="46375" y="85393"/>
                    <a:pt x="53478" y="84557"/>
                    <a:pt x="58552" y="85928"/>
                  </a:cubicBezTo>
                  <a:cubicBezTo>
                    <a:pt x="68699" y="88501"/>
                    <a:pt x="67725" y="84022"/>
                    <a:pt x="78846" y="83320"/>
                  </a:cubicBezTo>
                  <a:cubicBezTo>
                    <a:pt x="85787" y="82886"/>
                    <a:pt x="75396" y="83521"/>
                    <a:pt x="78928" y="833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A148F53D-50EF-4362-8C7A-28F3EA3A5C90}"/>
                </a:ext>
              </a:extLst>
            </p:cNvPr>
            <p:cNvSpPr/>
            <p:nvPr/>
          </p:nvSpPr>
          <p:spPr>
            <a:xfrm>
              <a:off x="3820094" y="4975597"/>
              <a:ext cx="1047054" cy="663923"/>
            </a:xfrm>
            <a:custGeom>
              <a:avLst/>
              <a:gdLst>
                <a:gd name="connsiteX0" fmla="*/ 707701 w 1047054"/>
                <a:gd name="connsiteY0" fmla="*/ 652956 h 663923"/>
                <a:gd name="connsiteX1" fmla="*/ 720243 w 1047054"/>
                <a:gd name="connsiteY1" fmla="*/ 623778 h 663923"/>
                <a:gd name="connsiteX2" fmla="*/ 721785 w 1047054"/>
                <a:gd name="connsiteY2" fmla="*/ 609940 h 663923"/>
                <a:gd name="connsiteX3" fmla="*/ 727671 w 1047054"/>
                <a:gd name="connsiteY3" fmla="*/ 595534 h 663923"/>
                <a:gd name="connsiteX4" fmla="*/ 743663 w 1047054"/>
                <a:gd name="connsiteY4" fmla="*/ 584237 h 663923"/>
                <a:gd name="connsiteX5" fmla="*/ 731202 w 1047054"/>
                <a:gd name="connsiteY5" fmla="*/ 611678 h 663923"/>
                <a:gd name="connsiteX6" fmla="*/ 748899 w 1047054"/>
                <a:gd name="connsiteY6" fmla="*/ 596905 h 663923"/>
                <a:gd name="connsiteX7" fmla="*/ 760711 w 1047054"/>
                <a:gd name="connsiteY7" fmla="*/ 570534 h 663923"/>
                <a:gd name="connsiteX8" fmla="*/ 773131 w 1047054"/>
                <a:gd name="connsiteY8" fmla="*/ 547137 h 663923"/>
                <a:gd name="connsiteX9" fmla="*/ 785633 w 1047054"/>
                <a:gd name="connsiteY9" fmla="*/ 532565 h 663923"/>
                <a:gd name="connsiteX10" fmla="*/ 776216 w 1047054"/>
                <a:gd name="connsiteY10" fmla="*/ 508533 h 663923"/>
                <a:gd name="connsiteX11" fmla="*/ 774511 w 1047054"/>
                <a:gd name="connsiteY11" fmla="*/ 485136 h 663923"/>
                <a:gd name="connsiteX12" fmla="*/ 790179 w 1047054"/>
                <a:gd name="connsiteY12" fmla="*/ 471132 h 663923"/>
                <a:gd name="connsiteX13" fmla="*/ 823178 w 1047054"/>
                <a:gd name="connsiteY13" fmla="*/ 443524 h 663923"/>
                <a:gd name="connsiteX14" fmla="*/ 843758 w 1047054"/>
                <a:gd name="connsiteY14" fmla="*/ 433898 h 663923"/>
                <a:gd name="connsiteX15" fmla="*/ 866204 w 1047054"/>
                <a:gd name="connsiteY15" fmla="*/ 416785 h 663923"/>
                <a:gd name="connsiteX16" fmla="*/ 927089 w 1047054"/>
                <a:gd name="connsiteY16" fmla="*/ 401277 h 663923"/>
                <a:gd name="connsiteX17" fmla="*/ 945557 w 1047054"/>
                <a:gd name="connsiteY17" fmla="*/ 386269 h 663923"/>
                <a:gd name="connsiteX18" fmla="*/ 948114 w 1047054"/>
                <a:gd name="connsiteY18" fmla="*/ 366483 h 663923"/>
                <a:gd name="connsiteX19" fmla="*/ 958992 w 1047054"/>
                <a:gd name="connsiteY19" fmla="*/ 346629 h 663923"/>
                <a:gd name="connsiteX20" fmla="*/ 966014 w 1047054"/>
                <a:gd name="connsiteY20" fmla="*/ 328280 h 663923"/>
                <a:gd name="connsiteX21" fmla="*/ 967597 w 1047054"/>
                <a:gd name="connsiteY21" fmla="*/ 306621 h 663923"/>
                <a:gd name="connsiteX22" fmla="*/ 975309 w 1047054"/>
                <a:gd name="connsiteY22" fmla="*/ 293954 h 663923"/>
                <a:gd name="connsiteX23" fmla="*/ 973726 w 1047054"/>
                <a:gd name="connsiteY23" fmla="*/ 268986 h 663923"/>
                <a:gd name="connsiteX24" fmla="*/ 962401 w 1047054"/>
                <a:gd name="connsiteY24" fmla="*/ 236398 h 663923"/>
                <a:gd name="connsiteX25" fmla="*/ 965040 w 1047054"/>
                <a:gd name="connsiteY25" fmla="*/ 215809 h 663923"/>
                <a:gd name="connsiteX26" fmla="*/ 971859 w 1047054"/>
                <a:gd name="connsiteY26" fmla="*/ 211030 h 663923"/>
                <a:gd name="connsiteX27" fmla="*/ 1007415 w 1047054"/>
                <a:gd name="connsiteY27" fmla="*/ 167913 h 663923"/>
                <a:gd name="connsiteX28" fmla="*/ 1027345 w 1047054"/>
                <a:gd name="connsiteY28" fmla="*/ 72856 h 663923"/>
                <a:gd name="connsiteX29" fmla="*/ 987242 w 1047054"/>
                <a:gd name="connsiteY29" fmla="*/ 72522 h 663923"/>
                <a:gd name="connsiteX30" fmla="*/ 905089 w 1047054"/>
                <a:gd name="connsiteY30" fmla="*/ 52836 h 663923"/>
                <a:gd name="connsiteX31" fmla="*/ 835315 w 1047054"/>
                <a:gd name="connsiteY31" fmla="*/ 63230 h 663923"/>
                <a:gd name="connsiteX32" fmla="*/ 794238 w 1047054"/>
                <a:gd name="connsiteY32" fmla="*/ 62495 h 663923"/>
                <a:gd name="connsiteX33" fmla="*/ 761767 w 1047054"/>
                <a:gd name="connsiteY33" fmla="*/ 80176 h 663923"/>
                <a:gd name="connsiteX34" fmla="*/ 761767 w 1047054"/>
                <a:gd name="connsiteY34" fmla="*/ 69481 h 663923"/>
                <a:gd name="connsiteX35" fmla="*/ 751741 w 1047054"/>
                <a:gd name="connsiteY35" fmla="*/ 57916 h 663923"/>
                <a:gd name="connsiteX36" fmla="*/ 664311 w 1047054"/>
                <a:gd name="connsiteY36" fmla="*/ 54941 h 663923"/>
                <a:gd name="connsiteX37" fmla="*/ 653838 w 1047054"/>
                <a:gd name="connsiteY37" fmla="*/ 68545 h 663923"/>
                <a:gd name="connsiteX38" fmla="*/ 642189 w 1047054"/>
                <a:gd name="connsiteY38" fmla="*/ 74762 h 663923"/>
                <a:gd name="connsiteX39" fmla="*/ 625019 w 1047054"/>
                <a:gd name="connsiteY39" fmla="*/ 89535 h 663923"/>
                <a:gd name="connsiteX40" fmla="*/ 634924 w 1047054"/>
                <a:gd name="connsiteY40" fmla="*/ 72823 h 663923"/>
                <a:gd name="connsiteX41" fmla="*/ 606511 w 1047054"/>
                <a:gd name="connsiteY41" fmla="*/ 57348 h 663923"/>
                <a:gd name="connsiteX42" fmla="*/ 579478 w 1047054"/>
                <a:gd name="connsiteY42" fmla="*/ 65804 h 663923"/>
                <a:gd name="connsiteX43" fmla="*/ 573389 w 1047054"/>
                <a:gd name="connsiteY43" fmla="*/ 80043 h 663923"/>
                <a:gd name="connsiteX44" fmla="*/ 565474 w 1047054"/>
                <a:gd name="connsiteY44" fmla="*/ 68445 h 663923"/>
                <a:gd name="connsiteX45" fmla="*/ 586581 w 1047054"/>
                <a:gd name="connsiteY45" fmla="*/ 52568 h 663923"/>
                <a:gd name="connsiteX46" fmla="*/ 589463 w 1047054"/>
                <a:gd name="connsiteY46" fmla="*/ 31211 h 663923"/>
                <a:gd name="connsiteX47" fmla="*/ 558980 w 1047054"/>
                <a:gd name="connsiteY47" fmla="*/ 22220 h 663923"/>
                <a:gd name="connsiteX48" fmla="*/ 545058 w 1047054"/>
                <a:gd name="connsiteY48" fmla="*/ 5040 h 663923"/>
                <a:gd name="connsiteX49" fmla="*/ 527198 w 1047054"/>
                <a:gd name="connsiteY49" fmla="*/ 6778 h 663923"/>
                <a:gd name="connsiteX50" fmla="*/ 510962 w 1047054"/>
                <a:gd name="connsiteY50" fmla="*/ 32280 h 663923"/>
                <a:gd name="connsiteX51" fmla="*/ 489937 w 1047054"/>
                <a:gd name="connsiteY51" fmla="*/ 44346 h 663923"/>
                <a:gd name="connsiteX52" fmla="*/ 458885 w 1047054"/>
                <a:gd name="connsiteY52" fmla="*/ 49226 h 663923"/>
                <a:gd name="connsiteX53" fmla="*/ 430960 w 1047054"/>
                <a:gd name="connsiteY53" fmla="*/ 53237 h 663923"/>
                <a:gd name="connsiteX54" fmla="*/ 419635 w 1047054"/>
                <a:gd name="connsiteY54" fmla="*/ 65470 h 663923"/>
                <a:gd name="connsiteX55" fmla="*/ 387691 w 1047054"/>
                <a:gd name="connsiteY55" fmla="*/ 73224 h 663923"/>
                <a:gd name="connsiteX56" fmla="*/ 348076 w 1047054"/>
                <a:gd name="connsiteY56" fmla="*/ 95050 h 663923"/>
                <a:gd name="connsiteX57" fmla="*/ 306065 w 1047054"/>
                <a:gd name="connsiteY57" fmla="*/ 67141 h 663923"/>
                <a:gd name="connsiteX58" fmla="*/ 304157 w 1047054"/>
                <a:gd name="connsiteY58" fmla="*/ 53070 h 663923"/>
                <a:gd name="connsiteX59" fmla="*/ 289748 w 1047054"/>
                <a:gd name="connsiteY59" fmla="*/ 43043 h 663923"/>
                <a:gd name="connsiteX60" fmla="*/ 273228 w 1047054"/>
                <a:gd name="connsiteY60" fmla="*/ 50964 h 663923"/>
                <a:gd name="connsiteX61" fmla="*/ 247332 w 1047054"/>
                <a:gd name="connsiteY61" fmla="*/ 69046 h 663923"/>
                <a:gd name="connsiteX62" fmla="*/ 222450 w 1047054"/>
                <a:gd name="connsiteY62" fmla="*/ 80577 h 663923"/>
                <a:gd name="connsiteX63" fmla="*/ 208934 w 1047054"/>
                <a:gd name="connsiteY63" fmla="*/ 84956 h 663923"/>
                <a:gd name="connsiteX64" fmla="*/ 182997 w 1047054"/>
                <a:gd name="connsiteY64" fmla="*/ 87529 h 663923"/>
                <a:gd name="connsiteX65" fmla="*/ 168750 w 1047054"/>
                <a:gd name="connsiteY65" fmla="*/ 94615 h 663923"/>
                <a:gd name="connsiteX66" fmla="*/ 203535 w 1047054"/>
                <a:gd name="connsiteY66" fmla="*/ 113266 h 663923"/>
                <a:gd name="connsiteX67" fmla="*/ 213805 w 1047054"/>
                <a:gd name="connsiteY67" fmla="*/ 115572 h 663923"/>
                <a:gd name="connsiteX68" fmla="*/ 200938 w 1047054"/>
                <a:gd name="connsiteY68" fmla="*/ 123527 h 663923"/>
                <a:gd name="connsiteX69" fmla="*/ 192211 w 1047054"/>
                <a:gd name="connsiteY69" fmla="*/ 135793 h 663923"/>
                <a:gd name="connsiteX70" fmla="*/ 176949 w 1047054"/>
                <a:gd name="connsiteY70" fmla="*/ 146689 h 663923"/>
                <a:gd name="connsiteX71" fmla="*/ 158968 w 1047054"/>
                <a:gd name="connsiteY71" fmla="*/ 153374 h 663923"/>
                <a:gd name="connsiteX72" fmla="*/ 130190 w 1047054"/>
                <a:gd name="connsiteY72" fmla="*/ 157184 h 663923"/>
                <a:gd name="connsiteX73" fmla="*/ 114400 w 1047054"/>
                <a:gd name="connsiteY73" fmla="*/ 150299 h 663923"/>
                <a:gd name="connsiteX74" fmla="*/ 98164 w 1047054"/>
                <a:gd name="connsiteY74" fmla="*/ 153374 h 663923"/>
                <a:gd name="connsiteX75" fmla="*/ 64840 w 1047054"/>
                <a:gd name="connsiteY75" fmla="*/ 165340 h 663923"/>
                <a:gd name="connsiteX76" fmla="*/ 43043 w 1047054"/>
                <a:gd name="connsiteY76" fmla="*/ 174097 h 663923"/>
                <a:gd name="connsiteX77" fmla="*/ 62851 w 1047054"/>
                <a:gd name="connsiteY77" fmla="*/ 180380 h 663923"/>
                <a:gd name="connsiteX78" fmla="*/ 47792 w 1047054"/>
                <a:gd name="connsiteY78" fmla="*/ 193315 h 663923"/>
                <a:gd name="connsiteX79" fmla="*/ 66017 w 1047054"/>
                <a:gd name="connsiteY79" fmla="*/ 210996 h 663923"/>
                <a:gd name="connsiteX80" fmla="*/ 81239 w 1047054"/>
                <a:gd name="connsiteY80" fmla="*/ 246291 h 663923"/>
                <a:gd name="connsiteX81" fmla="*/ 82943 w 1047054"/>
                <a:gd name="connsiteY81" fmla="*/ 265309 h 663923"/>
                <a:gd name="connsiteX82" fmla="*/ 74825 w 1047054"/>
                <a:gd name="connsiteY82" fmla="*/ 270557 h 663923"/>
                <a:gd name="connsiteX83" fmla="*/ 52988 w 1047054"/>
                <a:gd name="connsiteY83" fmla="*/ 280584 h 663923"/>
                <a:gd name="connsiteX84" fmla="*/ 34844 w 1047054"/>
                <a:gd name="connsiteY84" fmla="*/ 289274 h 663923"/>
                <a:gd name="connsiteX85" fmla="*/ 18608 w 1047054"/>
                <a:gd name="connsiteY85" fmla="*/ 301273 h 663923"/>
                <a:gd name="connsiteX86" fmla="*/ 8096 w 1047054"/>
                <a:gd name="connsiteY86" fmla="*/ 321327 h 663923"/>
                <a:gd name="connsiteX87" fmla="*/ 10653 w 1047054"/>
                <a:gd name="connsiteY87" fmla="*/ 330953 h 663923"/>
                <a:gd name="connsiteX88" fmla="*/ 1480 w 1047054"/>
                <a:gd name="connsiteY88" fmla="*/ 339978 h 663923"/>
                <a:gd name="connsiteX89" fmla="*/ 9922 w 1047054"/>
                <a:gd name="connsiteY89" fmla="*/ 360433 h 663923"/>
                <a:gd name="connsiteX90" fmla="*/ 26605 w 1047054"/>
                <a:gd name="connsiteY90" fmla="*/ 367653 h 663923"/>
                <a:gd name="connsiteX91" fmla="*/ 34723 w 1047054"/>
                <a:gd name="connsiteY91" fmla="*/ 376175 h 663923"/>
                <a:gd name="connsiteX92" fmla="*/ 54774 w 1047054"/>
                <a:gd name="connsiteY92" fmla="*/ 377312 h 663923"/>
                <a:gd name="connsiteX93" fmla="*/ 80548 w 1047054"/>
                <a:gd name="connsiteY93" fmla="*/ 376242 h 663923"/>
                <a:gd name="connsiteX94" fmla="*/ 92725 w 1047054"/>
                <a:gd name="connsiteY94" fmla="*/ 369558 h 663923"/>
                <a:gd name="connsiteX95" fmla="*/ 101493 w 1047054"/>
                <a:gd name="connsiteY95" fmla="*/ 362338 h 663923"/>
                <a:gd name="connsiteX96" fmla="*/ 118946 w 1047054"/>
                <a:gd name="connsiteY96" fmla="*/ 383696 h 663923"/>
                <a:gd name="connsiteX97" fmla="*/ 147359 w 1047054"/>
                <a:gd name="connsiteY97" fmla="*/ 374738 h 663923"/>
                <a:gd name="connsiteX98" fmla="*/ 176543 w 1047054"/>
                <a:gd name="connsiteY98" fmla="*/ 361101 h 663923"/>
                <a:gd name="connsiteX99" fmla="*/ 235642 w 1047054"/>
                <a:gd name="connsiteY99" fmla="*/ 327310 h 663923"/>
                <a:gd name="connsiteX100" fmla="*/ 244815 w 1047054"/>
                <a:gd name="connsiteY100" fmla="*/ 331956 h 663923"/>
                <a:gd name="connsiteX101" fmla="*/ 257317 w 1047054"/>
                <a:gd name="connsiteY101" fmla="*/ 352010 h 663923"/>
                <a:gd name="connsiteX102" fmla="*/ 282807 w 1047054"/>
                <a:gd name="connsiteY102" fmla="*/ 361536 h 663923"/>
                <a:gd name="connsiteX103" fmla="*/ 310165 w 1047054"/>
                <a:gd name="connsiteY103" fmla="*/ 357826 h 663923"/>
                <a:gd name="connsiteX104" fmla="*/ 326157 w 1047054"/>
                <a:gd name="connsiteY104" fmla="*/ 357492 h 663923"/>
                <a:gd name="connsiteX105" fmla="*/ 347182 w 1047054"/>
                <a:gd name="connsiteY105" fmla="*/ 357492 h 663923"/>
                <a:gd name="connsiteX106" fmla="*/ 361632 w 1047054"/>
                <a:gd name="connsiteY106" fmla="*/ 361937 h 663923"/>
                <a:gd name="connsiteX107" fmla="*/ 386757 w 1047054"/>
                <a:gd name="connsiteY107" fmla="*/ 356857 h 663923"/>
                <a:gd name="connsiteX108" fmla="*/ 402263 w 1047054"/>
                <a:gd name="connsiteY108" fmla="*/ 367987 h 663923"/>
                <a:gd name="connsiteX109" fmla="*/ 410381 w 1047054"/>
                <a:gd name="connsiteY109" fmla="*/ 373268 h 663923"/>
                <a:gd name="connsiteX110" fmla="*/ 407499 w 1047054"/>
                <a:gd name="connsiteY110" fmla="*/ 379251 h 663923"/>
                <a:gd name="connsiteX111" fmla="*/ 419676 w 1047054"/>
                <a:gd name="connsiteY111" fmla="*/ 391684 h 663923"/>
                <a:gd name="connsiteX112" fmla="*/ 442203 w 1047054"/>
                <a:gd name="connsiteY112" fmla="*/ 392185 h 663923"/>
                <a:gd name="connsiteX113" fmla="*/ 467653 w 1047054"/>
                <a:gd name="connsiteY113" fmla="*/ 387406 h 663923"/>
                <a:gd name="connsiteX114" fmla="*/ 482387 w 1047054"/>
                <a:gd name="connsiteY114" fmla="*/ 399840 h 663923"/>
                <a:gd name="connsiteX115" fmla="*/ 497689 w 1047054"/>
                <a:gd name="connsiteY115" fmla="*/ 414245 h 663923"/>
                <a:gd name="connsiteX116" fmla="*/ 495497 w 1047054"/>
                <a:gd name="connsiteY116" fmla="*/ 440382 h 663923"/>
                <a:gd name="connsiteX117" fmla="*/ 498623 w 1047054"/>
                <a:gd name="connsiteY117" fmla="*/ 450410 h 663923"/>
                <a:gd name="connsiteX118" fmla="*/ 510800 w 1047054"/>
                <a:gd name="connsiteY118" fmla="*/ 463779 h 663923"/>
                <a:gd name="connsiteX119" fmla="*/ 514006 w 1047054"/>
                <a:gd name="connsiteY119" fmla="*/ 478652 h 663923"/>
                <a:gd name="connsiteX120" fmla="*/ 541851 w 1047054"/>
                <a:gd name="connsiteY120" fmla="*/ 475978 h 663923"/>
                <a:gd name="connsiteX121" fmla="*/ 554434 w 1047054"/>
                <a:gd name="connsiteY121" fmla="*/ 472904 h 663923"/>
                <a:gd name="connsiteX122" fmla="*/ 574120 w 1047054"/>
                <a:gd name="connsiteY122" fmla="*/ 483399 h 663923"/>
                <a:gd name="connsiteX123" fmla="*/ 588407 w 1047054"/>
                <a:gd name="connsiteY123" fmla="*/ 496768 h 663923"/>
                <a:gd name="connsiteX124" fmla="*/ 606998 w 1047054"/>
                <a:gd name="connsiteY124" fmla="*/ 491086 h 663923"/>
                <a:gd name="connsiteX125" fmla="*/ 620636 w 1047054"/>
                <a:gd name="connsiteY125" fmla="*/ 520532 h 663923"/>
                <a:gd name="connsiteX126" fmla="*/ 646816 w 1047054"/>
                <a:gd name="connsiteY126" fmla="*/ 529389 h 663923"/>
                <a:gd name="connsiteX127" fmla="*/ 637643 w 1047054"/>
                <a:gd name="connsiteY127" fmla="*/ 551014 h 663923"/>
                <a:gd name="connsiteX128" fmla="*/ 577205 w 1047054"/>
                <a:gd name="connsiteY128" fmla="*/ 622140 h 663923"/>
                <a:gd name="connsiteX129" fmla="*/ 591208 w 1047054"/>
                <a:gd name="connsiteY129" fmla="*/ 617527 h 663923"/>
                <a:gd name="connsiteX130" fmla="*/ 616049 w 1047054"/>
                <a:gd name="connsiteY130" fmla="*/ 625415 h 663923"/>
                <a:gd name="connsiteX131" fmla="*/ 623842 w 1047054"/>
                <a:gd name="connsiteY131" fmla="*/ 627220 h 663923"/>
                <a:gd name="connsiteX132" fmla="*/ 639226 w 1047054"/>
                <a:gd name="connsiteY132" fmla="*/ 624613 h 663923"/>
                <a:gd name="connsiteX133" fmla="*/ 678476 w 1047054"/>
                <a:gd name="connsiteY133" fmla="*/ 632635 h 663923"/>
                <a:gd name="connsiteX134" fmla="*/ 699258 w 1047054"/>
                <a:gd name="connsiteY134" fmla="*/ 663585 h 663923"/>
                <a:gd name="connsiteX135" fmla="*/ 707904 w 1047054"/>
                <a:gd name="connsiteY135" fmla="*/ 653357 h 663923"/>
                <a:gd name="connsiteX136" fmla="*/ 707701 w 1047054"/>
                <a:gd name="connsiteY136" fmla="*/ 652956 h 66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047054" h="663923">
                  <a:moveTo>
                    <a:pt x="707701" y="652956"/>
                  </a:moveTo>
                  <a:cubicBezTo>
                    <a:pt x="717158" y="644834"/>
                    <a:pt x="718944" y="633504"/>
                    <a:pt x="720243" y="623778"/>
                  </a:cubicBezTo>
                  <a:cubicBezTo>
                    <a:pt x="720892" y="619031"/>
                    <a:pt x="719147" y="614653"/>
                    <a:pt x="721785" y="609940"/>
                  </a:cubicBezTo>
                  <a:cubicBezTo>
                    <a:pt x="724789" y="604659"/>
                    <a:pt x="729903" y="601150"/>
                    <a:pt x="727671" y="595534"/>
                  </a:cubicBezTo>
                  <a:cubicBezTo>
                    <a:pt x="725114" y="588850"/>
                    <a:pt x="741796" y="577118"/>
                    <a:pt x="743663" y="584237"/>
                  </a:cubicBezTo>
                  <a:cubicBezTo>
                    <a:pt x="746058" y="593630"/>
                    <a:pt x="729010" y="603389"/>
                    <a:pt x="731202" y="611678"/>
                  </a:cubicBezTo>
                  <a:cubicBezTo>
                    <a:pt x="737534" y="607099"/>
                    <a:pt x="743461" y="602186"/>
                    <a:pt x="748899" y="596905"/>
                  </a:cubicBezTo>
                  <a:cubicBezTo>
                    <a:pt x="754460" y="588649"/>
                    <a:pt x="758438" y="579759"/>
                    <a:pt x="760711" y="570534"/>
                  </a:cubicBezTo>
                  <a:cubicBezTo>
                    <a:pt x="763228" y="562880"/>
                    <a:pt x="765501" y="553822"/>
                    <a:pt x="773131" y="547137"/>
                  </a:cubicBezTo>
                  <a:cubicBezTo>
                    <a:pt x="780762" y="540452"/>
                    <a:pt x="786729" y="541622"/>
                    <a:pt x="785633" y="532565"/>
                  </a:cubicBezTo>
                  <a:cubicBezTo>
                    <a:pt x="784091" y="524175"/>
                    <a:pt x="780925" y="516053"/>
                    <a:pt x="776216" y="508533"/>
                  </a:cubicBezTo>
                  <a:cubicBezTo>
                    <a:pt x="771548" y="500010"/>
                    <a:pt x="776216" y="493559"/>
                    <a:pt x="774511" y="485136"/>
                  </a:cubicBezTo>
                  <a:cubicBezTo>
                    <a:pt x="773091" y="478452"/>
                    <a:pt x="784091" y="476647"/>
                    <a:pt x="790179" y="471132"/>
                  </a:cubicBezTo>
                  <a:cubicBezTo>
                    <a:pt x="800529" y="461773"/>
                    <a:pt x="807308" y="449407"/>
                    <a:pt x="823178" y="443524"/>
                  </a:cubicBezTo>
                  <a:cubicBezTo>
                    <a:pt x="832636" y="440182"/>
                    <a:pt x="837588" y="439313"/>
                    <a:pt x="843758" y="433898"/>
                  </a:cubicBezTo>
                  <a:cubicBezTo>
                    <a:pt x="848060" y="430121"/>
                    <a:pt x="860521" y="419058"/>
                    <a:pt x="866204" y="416785"/>
                  </a:cubicBezTo>
                  <a:cubicBezTo>
                    <a:pt x="875539" y="412975"/>
                    <a:pt x="930133" y="411805"/>
                    <a:pt x="927089" y="401277"/>
                  </a:cubicBezTo>
                  <a:cubicBezTo>
                    <a:pt x="924044" y="390748"/>
                    <a:pt x="937804" y="391617"/>
                    <a:pt x="945557" y="386269"/>
                  </a:cubicBezTo>
                  <a:cubicBezTo>
                    <a:pt x="952132" y="381757"/>
                    <a:pt x="945029" y="372232"/>
                    <a:pt x="948114" y="366483"/>
                  </a:cubicBezTo>
                  <a:cubicBezTo>
                    <a:pt x="952173" y="358929"/>
                    <a:pt x="958139" y="355119"/>
                    <a:pt x="958992" y="346629"/>
                  </a:cubicBezTo>
                  <a:cubicBezTo>
                    <a:pt x="959763" y="338808"/>
                    <a:pt x="966745" y="336936"/>
                    <a:pt x="966014" y="328280"/>
                  </a:cubicBezTo>
                  <a:cubicBezTo>
                    <a:pt x="965568" y="323500"/>
                    <a:pt x="961955" y="310665"/>
                    <a:pt x="967597" y="306621"/>
                  </a:cubicBezTo>
                  <a:cubicBezTo>
                    <a:pt x="974091" y="301908"/>
                    <a:pt x="978272" y="300137"/>
                    <a:pt x="975309" y="293954"/>
                  </a:cubicBezTo>
                  <a:cubicBezTo>
                    <a:pt x="971250" y="285698"/>
                    <a:pt x="975309" y="277476"/>
                    <a:pt x="973726" y="268986"/>
                  </a:cubicBezTo>
                  <a:cubicBezTo>
                    <a:pt x="971494" y="257823"/>
                    <a:pt x="964634" y="247662"/>
                    <a:pt x="962401" y="236398"/>
                  </a:cubicBezTo>
                  <a:cubicBezTo>
                    <a:pt x="961833" y="233457"/>
                    <a:pt x="966460" y="216344"/>
                    <a:pt x="965040" y="215809"/>
                  </a:cubicBezTo>
                  <a:cubicBezTo>
                    <a:pt x="954405" y="211297"/>
                    <a:pt x="961874" y="208857"/>
                    <a:pt x="971859" y="211030"/>
                  </a:cubicBezTo>
                  <a:cubicBezTo>
                    <a:pt x="991423" y="215341"/>
                    <a:pt x="993940" y="174264"/>
                    <a:pt x="1007415" y="167913"/>
                  </a:cubicBezTo>
                  <a:cubicBezTo>
                    <a:pt x="1059046" y="143614"/>
                    <a:pt x="1053972" y="101868"/>
                    <a:pt x="1027345" y="72856"/>
                  </a:cubicBezTo>
                  <a:cubicBezTo>
                    <a:pt x="1019227" y="64066"/>
                    <a:pt x="1000921" y="72489"/>
                    <a:pt x="987242" y="72522"/>
                  </a:cubicBezTo>
                  <a:cubicBezTo>
                    <a:pt x="954771" y="72522"/>
                    <a:pt x="934922" y="56680"/>
                    <a:pt x="905089" y="52836"/>
                  </a:cubicBezTo>
                  <a:cubicBezTo>
                    <a:pt x="877691" y="49493"/>
                    <a:pt x="860927" y="60657"/>
                    <a:pt x="835315" y="63230"/>
                  </a:cubicBezTo>
                  <a:cubicBezTo>
                    <a:pt x="821149" y="64634"/>
                    <a:pt x="808201" y="61727"/>
                    <a:pt x="794238" y="62495"/>
                  </a:cubicBezTo>
                  <a:cubicBezTo>
                    <a:pt x="779260" y="63297"/>
                    <a:pt x="772847" y="75096"/>
                    <a:pt x="761767" y="80176"/>
                  </a:cubicBezTo>
                  <a:cubicBezTo>
                    <a:pt x="754663" y="83519"/>
                    <a:pt x="761320" y="70851"/>
                    <a:pt x="761767" y="69481"/>
                  </a:cubicBezTo>
                  <a:cubicBezTo>
                    <a:pt x="763877" y="62796"/>
                    <a:pt x="761158" y="60022"/>
                    <a:pt x="751741" y="57916"/>
                  </a:cubicBezTo>
                  <a:cubicBezTo>
                    <a:pt x="730025" y="53036"/>
                    <a:pt x="688380" y="48324"/>
                    <a:pt x="664311" y="54941"/>
                  </a:cubicBezTo>
                  <a:cubicBezTo>
                    <a:pt x="654772" y="57549"/>
                    <a:pt x="652134" y="63030"/>
                    <a:pt x="653838" y="68545"/>
                  </a:cubicBezTo>
                  <a:cubicBezTo>
                    <a:pt x="656111" y="75764"/>
                    <a:pt x="648521" y="71887"/>
                    <a:pt x="642189" y="74762"/>
                  </a:cubicBezTo>
                  <a:cubicBezTo>
                    <a:pt x="634842" y="78104"/>
                    <a:pt x="637237" y="89769"/>
                    <a:pt x="625019" y="89535"/>
                  </a:cubicBezTo>
                  <a:cubicBezTo>
                    <a:pt x="613735" y="89368"/>
                    <a:pt x="633137" y="75497"/>
                    <a:pt x="634924" y="72823"/>
                  </a:cubicBezTo>
                  <a:cubicBezTo>
                    <a:pt x="647628" y="54875"/>
                    <a:pt x="630865" y="53838"/>
                    <a:pt x="606511" y="57348"/>
                  </a:cubicBezTo>
                  <a:cubicBezTo>
                    <a:pt x="597905" y="58585"/>
                    <a:pt x="585201" y="60523"/>
                    <a:pt x="579478" y="65804"/>
                  </a:cubicBezTo>
                  <a:cubicBezTo>
                    <a:pt x="576474" y="68545"/>
                    <a:pt x="578179" y="79174"/>
                    <a:pt x="573389" y="80043"/>
                  </a:cubicBezTo>
                  <a:cubicBezTo>
                    <a:pt x="562065" y="81747"/>
                    <a:pt x="560035" y="73358"/>
                    <a:pt x="565474" y="68445"/>
                  </a:cubicBezTo>
                  <a:cubicBezTo>
                    <a:pt x="572659" y="61760"/>
                    <a:pt x="581264" y="61459"/>
                    <a:pt x="586581" y="52568"/>
                  </a:cubicBezTo>
                  <a:cubicBezTo>
                    <a:pt x="589909" y="46953"/>
                    <a:pt x="598961" y="34854"/>
                    <a:pt x="589463" y="31211"/>
                  </a:cubicBezTo>
                  <a:cubicBezTo>
                    <a:pt x="579965" y="27567"/>
                    <a:pt x="566327" y="28570"/>
                    <a:pt x="558980" y="22220"/>
                  </a:cubicBezTo>
                  <a:cubicBezTo>
                    <a:pt x="552973" y="17072"/>
                    <a:pt x="549928" y="10655"/>
                    <a:pt x="545058" y="5040"/>
                  </a:cubicBezTo>
                  <a:cubicBezTo>
                    <a:pt x="538238" y="-2881"/>
                    <a:pt x="534748" y="-1845"/>
                    <a:pt x="527198" y="6778"/>
                  </a:cubicBezTo>
                  <a:cubicBezTo>
                    <a:pt x="520257" y="14666"/>
                    <a:pt x="512667" y="23490"/>
                    <a:pt x="510962" y="32280"/>
                  </a:cubicBezTo>
                  <a:cubicBezTo>
                    <a:pt x="509257" y="41071"/>
                    <a:pt x="500734" y="40837"/>
                    <a:pt x="489937" y="44346"/>
                  </a:cubicBezTo>
                  <a:cubicBezTo>
                    <a:pt x="479140" y="47856"/>
                    <a:pt x="469642" y="53237"/>
                    <a:pt x="458885" y="49226"/>
                  </a:cubicBezTo>
                  <a:cubicBezTo>
                    <a:pt x="449104" y="45616"/>
                    <a:pt x="441838" y="49961"/>
                    <a:pt x="430960" y="53237"/>
                  </a:cubicBezTo>
                  <a:cubicBezTo>
                    <a:pt x="416875" y="57482"/>
                    <a:pt x="422842" y="57716"/>
                    <a:pt x="419635" y="65470"/>
                  </a:cubicBezTo>
                  <a:cubicBezTo>
                    <a:pt x="416510" y="72623"/>
                    <a:pt x="395281" y="69882"/>
                    <a:pt x="387691" y="73224"/>
                  </a:cubicBezTo>
                  <a:cubicBezTo>
                    <a:pt x="374256" y="79006"/>
                    <a:pt x="363905" y="91540"/>
                    <a:pt x="348076" y="95050"/>
                  </a:cubicBezTo>
                  <a:cubicBezTo>
                    <a:pt x="324371" y="100331"/>
                    <a:pt x="298394" y="81981"/>
                    <a:pt x="306065" y="67141"/>
                  </a:cubicBezTo>
                  <a:cubicBezTo>
                    <a:pt x="308866" y="61827"/>
                    <a:pt x="313452" y="56145"/>
                    <a:pt x="304157" y="53070"/>
                  </a:cubicBezTo>
                  <a:cubicBezTo>
                    <a:pt x="294862" y="49995"/>
                    <a:pt x="296039" y="48190"/>
                    <a:pt x="289748" y="43043"/>
                  </a:cubicBezTo>
                  <a:cubicBezTo>
                    <a:pt x="282645" y="36926"/>
                    <a:pt x="274770" y="46987"/>
                    <a:pt x="273228" y="50964"/>
                  </a:cubicBezTo>
                  <a:cubicBezTo>
                    <a:pt x="270833" y="57081"/>
                    <a:pt x="255003" y="65035"/>
                    <a:pt x="247332" y="69046"/>
                  </a:cubicBezTo>
                  <a:cubicBezTo>
                    <a:pt x="239660" y="73057"/>
                    <a:pt x="225494" y="73425"/>
                    <a:pt x="222450" y="80577"/>
                  </a:cubicBezTo>
                  <a:cubicBezTo>
                    <a:pt x="217904" y="91306"/>
                    <a:pt x="221922" y="86426"/>
                    <a:pt x="208934" y="84956"/>
                  </a:cubicBezTo>
                  <a:cubicBezTo>
                    <a:pt x="202196" y="84187"/>
                    <a:pt x="190425" y="87095"/>
                    <a:pt x="182997" y="87529"/>
                  </a:cubicBezTo>
                  <a:cubicBezTo>
                    <a:pt x="179385" y="87529"/>
                    <a:pt x="158643" y="94014"/>
                    <a:pt x="168750" y="94615"/>
                  </a:cubicBezTo>
                  <a:cubicBezTo>
                    <a:pt x="179993" y="95284"/>
                    <a:pt x="194809" y="117577"/>
                    <a:pt x="203535" y="113266"/>
                  </a:cubicBezTo>
                  <a:cubicBezTo>
                    <a:pt x="208771" y="110692"/>
                    <a:pt x="221679" y="108586"/>
                    <a:pt x="213805" y="115572"/>
                  </a:cubicBezTo>
                  <a:cubicBezTo>
                    <a:pt x="210151" y="118914"/>
                    <a:pt x="204144" y="119850"/>
                    <a:pt x="200938" y="123527"/>
                  </a:cubicBezTo>
                  <a:cubicBezTo>
                    <a:pt x="196879" y="127972"/>
                    <a:pt x="200288" y="132852"/>
                    <a:pt x="192211" y="135793"/>
                  </a:cubicBezTo>
                  <a:cubicBezTo>
                    <a:pt x="184133" y="138734"/>
                    <a:pt x="182023" y="141843"/>
                    <a:pt x="176949" y="146689"/>
                  </a:cubicBezTo>
                  <a:cubicBezTo>
                    <a:pt x="169683" y="153675"/>
                    <a:pt x="167613" y="149296"/>
                    <a:pt x="158968" y="153374"/>
                  </a:cubicBezTo>
                  <a:cubicBezTo>
                    <a:pt x="146791" y="159089"/>
                    <a:pt x="143584" y="162265"/>
                    <a:pt x="130190" y="157184"/>
                  </a:cubicBezTo>
                  <a:cubicBezTo>
                    <a:pt x="124669" y="155112"/>
                    <a:pt x="120002" y="152338"/>
                    <a:pt x="114400" y="150299"/>
                  </a:cubicBezTo>
                  <a:cubicBezTo>
                    <a:pt x="105024" y="146957"/>
                    <a:pt x="106282" y="148895"/>
                    <a:pt x="98164" y="153374"/>
                  </a:cubicBezTo>
                  <a:cubicBezTo>
                    <a:pt x="87733" y="158535"/>
                    <a:pt x="76530" y="162559"/>
                    <a:pt x="64840" y="165340"/>
                  </a:cubicBezTo>
                  <a:cubicBezTo>
                    <a:pt x="61147" y="166376"/>
                    <a:pt x="43287" y="170520"/>
                    <a:pt x="43043" y="174097"/>
                  </a:cubicBezTo>
                  <a:cubicBezTo>
                    <a:pt x="42394" y="182920"/>
                    <a:pt x="55220" y="178943"/>
                    <a:pt x="62851" y="180380"/>
                  </a:cubicBezTo>
                  <a:cubicBezTo>
                    <a:pt x="73567" y="182486"/>
                    <a:pt x="49335" y="191677"/>
                    <a:pt x="47792" y="193315"/>
                  </a:cubicBezTo>
                  <a:cubicBezTo>
                    <a:pt x="39674" y="201571"/>
                    <a:pt x="59401" y="208222"/>
                    <a:pt x="66017" y="210996"/>
                  </a:cubicBezTo>
                  <a:cubicBezTo>
                    <a:pt x="81482" y="217480"/>
                    <a:pt x="77423" y="234794"/>
                    <a:pt x="81239" y="246291"/>
                  </a:cubicBezTo>
                  <a:cubicBezTo>
                    <a:pt x="83759" y="252408"/>
                    <a:pt x="84348" y="258959"/>
                    <a:pt x="82943" y="265309"/>
                  </a:cubicBezTo>
                  <a:cubicBezTo>
                    <a:pt x="81969" y="268418"/>
                    <a:pt x="79737" y="269788"/>
                    <a:pt x="74825" y="270557"/>
                  </a:cubicBezTo>
                  <a:cubicBezTo>
                    <a:pt x="63095" y="272362"/>
                    <a:pt x="61918" y="275403"/>
                    <a:pt x="52988" y="280584"/>
                  </a:cubicBezTo>
                  <a:cubicBezTo>
                    <a:pt x="47346" y="283926"/>
                    <a:pt x="40446" y="285865"/>
                    <a:pt x="34844" y="289274"/>
                  </a:cubicBezTo>
                  <a:cubicBezTo>
                    <a:pt x="29243" y="292683"/>
                    <a:pt x="24819" y="297663"/>
                    <a:pt x="18608" y="301273"/>
                  </a:cubicBezTo>
                  <a:cubicBezTo>
                    <a:pt x="8258" y="307122"/>
                    <a:pt x="10490" y="313774"/>
                    <a:pt x="8096" y="321327"/>
                  </a:cubicBezTo>
                  <a:cubicBezTo>
                    <a:pt x="6675" y="325572"/>
                    <a:pt x="11099" y="327243"/>
                    <a:pt x="10653" y="330953"/>
                  </a:cubicBezTo>
                  <a:cubicBezTo>
                    <a:pt x="10369" y="333761"/>
                    <a:pt x="3428" y="337438"/>
                    <a:pt x="1480" y="339978"/>
                  </a:cubicBezTo>
                  <a:cubicBezTo>
                    <a:pt x="-3188" y="346027"/>
                    <a:pt x="3671" y="357492"/>
                    <a:pt x="9922" y="360433"/>
                  </a:cubicBezTo>
                  <a:cubicBezTo>
                    <a:pt x="15321" y="362973"/>
                    <a:pt x="21287" y="365046"/>
                    <a:pt x="26605" y="367653"/>
                  </a:cubicBezTo>
                  <a:cubicBezTo>
                    <a:pt x="31922" y="370259"/>
                    <a:pt x="30948" y="373635"/>
                    <a:pt x="34723" y="376175"/>
                  </a:cubicBezTo>
                  <a:cubicBezTo>
                    <a:pt x="41055" y="380420"/>
                    <a:pt x="49700" y="371998"/>
                    <a:pt x="54774" y="377312"/>
                  </a:cubicBezTo>
                  <a:cubicBezTo>
                    <a:pt x="60822" y="383595"/>
                    <a:pt x="70360" y="379117"/>
                    <a:pt x="80548" y="376242"/>
                  </a:cubicBezTo>
                  <a:cubicBezTo>
                    <a:pt x="84851" y="375039"/>
                    <a:pt x="91873" y="373134"/>
                    <a:pt x="92725" y="369558"/>
                  </a:cubicBezTo>
                  <a:cubicBezTo>
                    <a:pt x="93091" y="367953"/>
                    <a:pt x="96784" y="360232"/>
                    <a:pt x="101493" y="362338"/>
                  </a:cubicBezTo>
                  <a:cubicBezTo>
                    <a:pt x="105227" y="364076"/>
                    <a:pt x="110098" y="388877"/>
                    <a:pt x="118946" y="383696"/>
                  </a:cubicBezTo>
                  <a:cubicBezTo>
                    <a:pt x="127592" y="379184"/>
                    <a:pt x="137256" y="376142"/>
                    <a:pt x="147359" y="374738"/>
                  </a:cubicBezTo>
                  <a:cubicBezTo>
                    <a:pt x="163595" y="372232"/>
                    <a:pt x="165706" y="369357"/>
                    <a:pt x="176543" y="361101"/>
                  </a:cubicBezTo>
                  <a:cubicBezTo>
                    <a:pt x="194565" y="347398"/>
                    <a:pt x="211897" y="335867"/>
                    <a:pt x="235642" y="327310"/>
                  </a:cubicBezTo>
                  <a:cubicBezTo>
                    <a:pt x="244977" y="323968"/>
                    <a:pt x="243760" y="327310"/>
                    <a:pt x="244815" y="331956"/>
                  </a:cubicBezTo>
                  <a:cubicBezTo>
                    <a:pt x="246414" y="339543"/>
                    <a:pt x="250774" y="346529"/>
                    <a:pt x="257317" y="352010"/>
                  </a:cubicBezTo>
                  <a:cubicBezTo>
                    <a:pt x="264619" y="357024"/>
                    <a:pt x="273423" y="360299"/>
                    <a:pt x="282807" y="361536"/>
                  </a:cubicBezTo>
                  <a:cubicBezTo>
                    <a:pt x="293239" y="363207"/>
                    <a:pt x="300383" y="357592"/>
                    <a:pt x="310165" y="357826"/>
                  </a:cubicBezTo>
                  <a:cubicBezTo>
                    <a:pt x="314224" y="357826"/>
                    <a:pt x="323843" y="355553"/>
                    <a:pt x="326157" y="357492"/>
                  </a:cubicBezTo>
                  <a:cubicBezTo>
                    <a:pt x="331799" y="362271"/>
                    <a:pt x="338334" y="357960"/>
                    <a:pt x="347182" y="357492"/>
                  </a:cubicBezTo>
                  <a:cubicBezTo>
                    <a:pt x="354935" y="357024"/>
                    <a:pt x="355300" y="362472"/>
                    <a:pt x="361632" y="361937"/>
                  </a:cubicBezTo>
                  <a:cubicBezTo>
                    <a:pt x="369020" y="361269"/>
                    <a:pt x="379776" y="355252"/>
                    <a:pt x="386757" y="356857"/>
                  </a:cubicBezTo>
                  <a:cubicBezTo>
                    <a:pt x="397961" y="359430"/>
                    <a:pt x="396743" y="362071"/>
                    <a:pt x="402263" y="367987"/>
                  </a:cubicBezTo>
                  <a:cubicBezTo>
                    <a:pt x="404374" y="370226"/>
                    <a:pt x="408067" y="371329"/>
                    <a:pt x="410381" y="373268"/>
                  </a:cubicBezTo>
                  <a:cubicBezTo>
                    <a:pt x="412695" y="375206"/>
                    <a:pt x="407742" y="376811"/>
                    <a:pt x="407499" y="379251"/>
                  </a:cubicBezTo>
                  <a:cubicBezTo>
                    <a:pt x="407174" y="382225"/>
                    <a:pt x="416834" y="389578"/>
                    <a:pt x="419676" y="391684"/>
                  </a:cubicBezTo>
                  <a:cubicBezTo>
                    <a:pt x="424709" y="395628"/>
                    <a:pt x="435100" y="393823"/>
                    <a:pt x="442203" y="392185"/>
                  </a:cubicBezTo>
                  <a:cubicBezTo>
                    <a:pt x="449306" y="390548"/>
                    <a:pt x="460428" y="385501"/>
                    <a:pt x="467653" y="387406"/>
                  </a:cubicBezTo>
                  <a:cubicBezTo>
                    <a:pt x="474878" y="389311"/>
                    <a:pt x="474106" y="397232"/>
                    <a:pt x="482387" y="399840"/>
                  </a:cubicBezTo>
                  <a:cubicBezTo>
                    <a:pt x="491966" y="402814"/>
                    <a:pt x="497324" y="406524"/>
                    <a:pt x="497689" y="414245"/>
                  </a:cubicBezTo>
                  <a:cubicBezTo>
                    <a:pt x="498055" y="421966"/>
                    <a:pt x="504143" y="433530"/>
                    <a:pt x="495497" y="440382"/>
                  </a:cubicBezTo>
                  <a:cubicBezTo>
                    <a:pt x="505401" y="444694"/>
                    <a:pt x="499556" y="444627"/>
                    <a:pt x="498623" y="450410"/>
                  </a:cubicBezTo>
                  <a:cubicBezTo>
                    <a:pt x="497973" y="454654"/>
                    <a:pt x="509298" y="459568"/>
                    <a:pt x="510800" y="463779"/>
                  </a:cubicBezTo>
                  <a:cubicBezTo>
                    <a:pt x="512302" y="467990"/>
                    <a:pt x="509339" y="475444"/>
                    <a:pt x="514006" y="478652"/>
                  </a:cubicBezTo>
                  <a:cubicBezTo>
                    <a:pt x="518674" y="481861"/>
                    <a:pt x="535276" y="476313"/>
                    <a:pt x="541851" y="475978"/>
                  </a:cubicBezTo>
                  <a:cubicBezTo>
                    <a:pt x="547290" y="475678"/>
                    <a:pt x="549969" y="473338"/>
                    <a:pt x="554434" y="472904"/>
                  </a:cubicBezTo>
                  <a:cubicBezTo>
                    <a:pt x="562552" y="472135"/>
                    <a:pt x="570670" y="479588"/>
                    <a:pt x="574120" y="483399"/>
                  </a:cubicBezTo>
                  <a:cubicBezTo>
                    <a:pt x="578219" y="488312"/>
                    <a:pt x="583009" y="492790"/>
                    <a:pt x="588407" y="496768"/>
                  </a:cubicBezTo>
                  <a:cubicBezTo>
                    <a:pt x="594740" y="501213"/>
                    <a:pt x="599651" y="492857"/>
                    <a:pt x="606998" y="491086"/>
                  </a:cubicBezTo>
                  <a:cubicBezTo>
                    <a:pt x="624898" y="486841"/>
                    <a:pt x="618647" y="514282"/>
                    <a:pt x="620636" y="520532"/>
                  </a:cubicBezTo>
                  <a:cubicBezTo>
                    <a:pt x="638739" y="515752"/>
                    <a:pt x="641458" y="518326"/>
                    <a:pt x="646816" y="529389"/>
                  </a:cubicBezTo>
                  <a:cubicBezTo>
                    <a:pt x="651809" y="539650"/>
                    <a:pt x="651159" y="543093"/>
                    <a:pt x="637643" y="551014"/>
                  </a:cubicBezTo>
                  <a:cubicBezTo>
                    <a:pt x="605739" y="569798"/>
                    <a:pt x="594577" y="597506"/>
                    <a:pt x="577205" y="622140"/>
                  </a:cubicBezTo>
                  <a:cubicBezTo>
                    <a:pt x="582563" y="621337"/>
                    <a:pt x="586013" y="618396"/>
                    <a:pt x="591208" y="617527"/>
                  </a:cubicBezTo>
                  <a:cubicBezTo>
                    <a:pt x="601153" y="615889"/>
                    <a:pt x="610448" y="620870"/>
                    <a:pt x="616049" y="625415"/>
                  </a:cubicBezTo>
                  <a:cubicBezTo>
                    <a:pt x="617876" y="626852"/>
                    <a:pt x="621082" y="630963"/>
                    <a:pt x="623842" y="627220"/>
                  </a:cubicBezTo>
                  <a:cubicBezTo>
                    <a:pt x="628956" y="620268"/>
                    <a:pt x="630702" y="621805"/>
                    <a:pt x="639226" y="624613"/>
                  </a:cubicBezTo>
                  <a:cubicBezTo>
                    <a:pt x="651403" y="628557"/>
                    <a:pt x="665812" y="629593"/>
                    <a:pt x="678476" y="632635"/>
                  </a:cubicBezTo>
                  <a:cubicBezTo>
                    <a:pt x="694712" y="636612"/>
                    <a:pt x="688542" y="655229"/>
                    <a:pt x="699258" y="663585"/>
                  </a:cubicBezTo>
                  <a:cubicBezTo>
                    <a:pt x="701531" y="659841"/>
                    <a:pt x="704453" y="656399"/>
                    <a:pt x="707904" y="653357"/>
                  </a:cubicBezTo>
                  <a:cubicBezTo>
                    <a:pt x="720243" y="642194"/>
                    <a:pt x="703764" y="656366"/>
                    <a:pt x="707701" y="65295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114C37C7-2CFE-4797-92FD-AD85B63D9C8E}"/>
                </a:ext>
              </a:extLst>
            </p:cNvPr>
            <p:cNvSpPr/>
            <p:nvPr/>
          </p:nvSpPr>
          <p:spPr>
            <a:xfrm>
              <a:off x="4392187" y="5593834"/>
              <a:ext cx="127184" cy="84766"/>
            </a:xfrm>
            <a:custGeom>
              <a:avLst/>
              <a:gdLst>
                <a:gd name="connsiteX0" fmla="*/ 115800 w 127184"/>
                <a:gd name="connsiteY0" fmla="*/ 20815 h 84766"/>
                <a:gd name="connsiteX1" fmla="*/ 77483 w 127184"/>
                <a:gd name="connsiteY1" fmla="*/ 8615 h 84766"/>
                <a:gd name="connsiteX2" fmla="*/ 55240 w 127184"/>
                <a:gd name="connsiteY2" fmla="*/ 4070 h 84766"/>
                <a:gd name="connsiteX3" fmla="*/ 43753 w 127184"/>
                <a:gd name="connsiteY3" fmla="*/ 6944 h 84766"/>
                <a:gd name="connsiteX4" fmla="*/ 728 w 127184"/>
                <a:gd name="connsiteY4" fmla="*/ 11623 h 84766"/>
                <a:gd name="connsiteX5" fmla="*/ 4787 w 127184"/>
                <a:gd name="connsiteY5" fmla="*/ 53236 h 84766"/>
                <a:gd name="connsiteX6" fmla="*/ 13839 w 127184"/>
                <a:gd name="connsiteY6" fmla="*/ 75496 h 84766"/>
                <a:gd name="connsiteX7" fmla="*/ 22484 w 127184"/>
                <a:gd name="connsiteY7" fmla="*/ 84420 h 84766"/>
                <a:gd name="connsiteX8" fmla="*/ 59583 w 127184"/>
                <a:gd name="connsiteY8" fmla="*/ 81479 h 84766"/>
                <a:gd name="connsiteX9" fmla="*/ 78214 w 127184"/>
                <a:gd name="connsiteY9" fmla="*/ 76933 h 84766"/>
                <a:gd name="connsiteX10" fmla="*/ 113243 w 127184"/>
                <a:gd name="connsiteY10" fmla="*/ 64967 h 84766"/>
                <a:gd name="connsiteX11" fmla="*/ 127125 w 127184"/>
                <a:gd name="connsiteY11" fmla="*/ 45114 h 84766"/>
                <a:gd name="connsiteX12" fmla="*/ 115963 w 127184"/>
                <a:gd name="connsiteY12" fmla="*/ 20815 h 84766"/>
                <a:gd name="connsiteX13" fmla="*/ 115800 w 127184"/>
                <a:gd name="connsiteY13" fmla="*/ 20815 h 8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184" h="84766">
                  <a:moveTo>
                    <a:pt x="115800" y="20815"/>
                  </a:moveTo>
                  <a:cubicBezTo>
                    <a:pt x="112756" y="12024"/>
                    <a:pt x="88361" y="10487"/>
                    <a:pt x="77483" y="8615"/>
                  </a:cubicBezTo>
                  <a:cubicBezTo>
                    <a:pt x="73425" y="7847"/>
                    <a:pt x="58852" y="1396"/>
                    <a:pt x="55240" y="4070"/>
                  </a:cubicBezTo>
                  <a:cubicBezTo>
                    <a:pt x="49192" y="8548"/>
                    <a:pt x="51181" y="12793"/>
                    <a:pt x="43753" y="6944"/>
                  </a:cubicBezTo>
                  <a:cubicBezTo>
                    <a:pt x="32835" y="-1980"/>
                    <a:pt x="4503" y="-5088"/>
                    <a:pt x="728" y="11623"/>
                  </a:cubicBezTo>
                  <a:cubicBezTo>
                    <a:pt x="-2397" y="25528"/>
                    <a:pt x="4787" y="39699"/>
                    <a:pt x="4787" y="53236"/>
                  </a:cubicBezTo>
                  <a:cubicBezTo>
                    <a:pt x="4787" y="59920"/>
                    <a:pt x="-3" y="75296"/>
                    <a:pt x="13839" y="75496"/>
                  </a:cubicBezTo>
                  <a:cubicBezTo>
                    <a:pt x="20090" y="75496"/>
                    <a:pt x="12296" y="84253"/>
                    <a:pt x="22484" y="84420"/>
                  </a:cubicBezTo>
                  <a:cubicBezTo>
                    <a:pt x="34337" y="84620"/>
                    <a:pt x="46838" y="80744"/>
                    <a:pt x="59583" y="81479"/>
                  </a:cubicBezTo>
                  <a:cubicBezTo>
                    <a:pt x="68270" y="81980"/>
                    <a:pt x="70218" y="78136"/>
                    <a:pt x="78214" y="76933"/>
                  </a:cubicBezTo>
                  <a:cubicBezTo>
                    <a:pt x="91040" y="75128"/>
                    <a:pt x="103745" y="72220"/>
                    <a:pt x="113243" y="64967"/>
                  </a:cubicBezTo>
                  <a:cubicBezTo>
                    <a:pt x="120590" y="59352"/>
                    <a:pt x="122944" y="51799"/>
                    <a:pt x="127125" y="45114"/>
                  </a:cubicBezTo>
                  <a:cubicBezTo>
                    <a:pt x="118520" y="38429"/>
                    <a:pt x="119007" y="29305"/>
                    <a:pt x="115963" y="20815"/>
                  </a:cubicBezTo>
                  <a:cubicBezTo>
                    <a:pt x="113121" y="12927"/>
                    <a:pt x="117708" y="26196"/>
                    <a:pt x="115800" y="2081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3121CDAD-7042-49E0-996F-58B8F4182719}"/>
                </a:ext>
              </a:extLst>
            </p:cNvPr>
            <p:cNvSpPr/>
            <p:nvPr/>
          </p:nvSpPr>
          <p:spPr>
            <a:xfrm>
              <a:off x="4084186" y="5488078"/>
              <a:ext cx="385303" cy="674234"/>
            </a:xfrm>
            <a:custGeom>
              <a:avLst/>
              <a:gdLst>
                <a:gd name="connsiteX0" fmla="*/ 305767 w 385303"/>
                <a:gd name="connsiteY0" fmla="*/ 647979 h 674234"/>
                <a:gd name="connsiteX1" fmla="*/ 254056 w 385303"/>
                <a:gd name="connsiteY1" fmla="*/ 639222 h 674234"/>
                <a:gd name="connsiteX2" fmla="*/ 244598 w 385303"/>
                <a:gd name="connsiteY2" fmla="*/ 633673 h 674234"/>
                <a:gd name="connsiteX3" fmla="*/ 235181 w 385303"/>
                <a:gd name="connsiteY3" fmla="*/ 634709 h 674234"/>
                <a:gd name="connsiteX4" fmla="*/ 227834 w 385303"/>
                <a:gd name="connsiteY4" fmla="*/ 621039 h 674234"/>
                <a:gd name="connsiteX5" fmla="*/ 251011 w 385303"/>
                <a:gd name="connsiteY5" fmla="*/ 673882 h 674234"/>
                <a:gd name="connsiteX6" fmla="*/ 272037 w 385303"/>
                <a:gd name="connsiteY6" fmla="*/ 667197 h 674234"/>
                <a:gd name="connsiteX7" fmla="*/ 294970 w 385303"/>
                <a:gd name="connsiteY7" fmla="*/ 664122 h 674234"/>
                <a:gd name="connsiteX8" fmla="*/ 304062 w 385303"/>
                <a:gd name="connsiteY8" fmla="*/ 657437 h 674234"/>
                <a:gd name="connsiteX9" fmla="*/ 318472 w 385303"/>
                <a:gd name="connsiteY9" fmla="*/ 651488 h 674234"/>
                <a:gd name="connsiteX10" fmla="*/ 305767 w 385303"/>
                <a:gd name="connsiteY10" fmla="*/ 647979 h 674234"/>
                <a:gd name="connsiteX11" fmla="*/ 372943 w 385303"/>
                <a:gd name="connsiteY11" fmla="*/ 4508 h 674234"/>
                <a:gd name="connsiteX12" fmla="*/ 356342 w 385303"/>
                <a:gd name="connsiteY12" fmla="*/ 7850 h 674234"/>
                <a:gd name="connsiteX13" fmla="*/ 348833 w 385303"/>
                <a:gd name="connsiteY13" fmla="*/ 38199 h 674234"/>
                <a:gd name="connsiteX14" fmla="*/ 339335 w 385303"/>
                <a:gd name="connsiteY14" fmla="*/ 46454 h 674234"/>
                <a:gd name="connsiteX15" fmla="*/ 328416 w 385303"/>
                <a:gd name="connsiteY15" fmla="*/ 51067 h 674234"/>
                <a:gd name="connsiteX16" fmla="*/ 291235 w 385303"/>
                <a:gd name="connsiteY16" fmla="*/ 60258 h 674234"/>
                <a:gd name="connsiteX17" fmla="*/ 266882 w 385303"/>
                <a:gd name="connsiteY17" fmla="*/ 62631 h 674234"/>
                <a:gd name="connsiteX18" fmla="*/ 270941 w 385303"/>
                <a:gd name="connsiteY18" fmla="*/ 49797 h 674234"/>
                <a:gd name="connsiteX19" fmla="*/ 270941 w 385303"/>
                <a:gd name="connsiteY19" fmla="*/ 21553 h 674234"/>
                <a:gd name="connsiteX20" fmla="*/ 222233 w 385303"/>
                <a:gd name="connsiteY20" fmla="*/ 16908 h 674234"/>
                <a:gd name="connsiteX21" fmla="*/ 187164 w 385303"/>
                <a:gd name="connsiteY21" fmla="*/ 18011 h 674234"/>
                <a:gd name="connsiteX22" fmla="*/ 151566 w 385303"/>
                <a:gd name="connsiteY22" fmla="*/ 10290 h 674234"/>
                <a:gd name="connsiteX23" fmla="*/ 123153 w 385303"/>
                <a:gd name="connsiteY23" fmla="*/ -339 h 674234"/>
                <a:gd name="connsiteX24" fmla="*/ 97663 w 385303"/>
                <a:gd name="connsiteY24" fmla="*/ 8452 h 674234"/>
                <a:gd name="connsiteX25" fmla="*/ 90316 w 385303"/>
                <a:gd name="connsiteY25" fmla="*/ 21253 h 674234"/>
                <a:gd name="connsiteX26" fmla="*/ 78464 w 385303"/>
                <a:gd name="connsiteY26" fmla="*/ 17442 h 674234"/>
                <a:gd name="connsiteX27" fmla="*/ 55815 w 385303"/>
                <a:gd name="connsiteY27" fmla="*/ 20551 h 674234"/>
                <a:gd name="connsiteX28" fmla="*/ 33937 w 385303"/>
                <a:gd name="connsiteY28" fmla="*/ 27236 h 674234"/>
                <a:gd name="connsiteX29" fmla="*/ 19893 w 385303"/>
                <a:gd name="connsiteY29" fmla="*/ 42209 h 674234"/>
                <a:gd name="connsiteX30" fmla="*/ 23019 w 385303"/>
                <a:gd name="connsiteY30" fmla="*/ 56281 h 674234"/>
                <a:gd name="connsiteX31" fmla="*/ 4388 w 385303"/>
                <a:gd name="connsiteY31" fmla="*/ 91275 h 674234"/>
                <a:gd name="connsiteX32" fmla="*/ 10720 w 385303"/>
                <a:gd name="connsiteY32" fmla="*/ 104912 h 674234"/>
                <a:gd name="connsiteX33" fmla="*/ 13521 w 385303"/>
                <a:gd name="connsiteY33" fmla="*/ 117914 h 674234"/>
                <a:gd name="connsiteX34" fmla="*/ 11978 w 385303"/>
                <a:gd name="connsiteY34" fmla="*/ 130648 h 674234"/>
                <a:gd name="connsiteX35" fmla="*/ 6986 w 385303"/>
                <a:gd name="connsiteY35" fmla="*/ 151939 h 674234"/>
                <a:gd name="connsiteX36" fmla="*/ 2439 w 385303"/>
                <a:gd name="connsiteY36" fmla="*/ 172194 h 674234"/>
                <a:gd name="connsiteX37" fmla="*/ 6174 w 385303"/>
                <a:gd name="connsiteY37" fmla="*/ 186131 h 674234"/>
                <a:gd name="connsiteX38" fmla="*/ 532 w 385303"/>
                <a:gd name="connsiteY38" fmla="*/ 215444 h 674234"/>
                <a:gd name="connsiteX39" fmla="*/ 15997 w 385303"/>
                <a:gd name="connsiteY39" fmla="*/ 232390 h 674234"/>
                <a:gd name="connsiteX40" fmla="*/ 33653 w 385303"/>
                <a:gd name="connsiteY40" fmla="*/ 249503 h 674234"/>
                <a:gd name="connsiteX41" fmla="*/ 36576 w 385303"/>
                <a:gd name="connsiteY41" fmla="*/ 270559 h 674234"/>
                <a:gd name="connsiteX42" fmla="*/ 33978 w 385303"/>
                <a:gd name="connsiteY42" fmla="*/ 287839 h 674234"/>
                <a:gd name="connsiteX43" fmla="*/ 37468 w 385303"/>
                <a:gd name="connsiteY43" fmla="*/ 310266 h 674234"/>
                <a:gd name="connsiteX44" fmla="*/ 43395 w 385303"/>
                <a:gd name="connsiteY44" fmla="*/ 346498 h 674234"/>
                <a:gd name="connsiteX45" fmla="*/ 53055 w 385303"/>
                <a:gd name="connsiteY45" fmla="*/ 353951 h 674234"/>
                <a:gd name="connsiteX46" fmla="*/ 43151 w 385303"/>
                <a:gd name="connsiteY46" fmla="*/ 362508 h 674234"/>
                <a:gd name="connsiteX47" fmla="*/ 47900 w 385303"/>
                <a:gd name="connsiteY47" fmla="*/ 375041 h 674234"/>
                <a:gd name="connsiteX48" fmla="*/ 43232 w 385303"/>
                <a:gd name="connsiteY48" fmla="*/ 380757 h 674234"/>
                <a:gd name="connsiteX49" fmla="*/ 46033 w 385303"/>
                <a:gd name="connsiteY49" fmla="*/ 392956 h 674234"/>
                <a:gd name="connsiteX50" fmla="*/ 50539 w 385303"/>
                <a:gd name="connsiteY50" fmla="*/ 407730 h 674234"/>
                <a:gd name="connsiteX51" fmla="*/ 60077 w 385303"/>
                <a:gd name="connsiteY51" fmla="*/ 422202 h 674234"/>
                <a:gd name="connsiteX52" fmla="*/ 64380 w 385303"/>
                <a:gd name="connsiteY52" fmla="*/ 446635 h 674234"/>
                <a:gd name="connsiteX53" fmla="*/ 74040 w 385303"/>
                <a:gd name="connsiteY53" fmla="*/ 457531 h 674234"/>
                <a:gd name="connsiteX54" fmla="*/ 80818 w 385303"/>
                <a:gd name="connsiteY54" fmla="*/ 471168 h 674234"/>
                <a:gd name="connsiteX55" fmla="*/ 97257 w 385303"/>
                <a:gd name="connsiteY55" fmla="*/ 470633 h 674234"/>
                <a:gd name="connsiteX56" fmla="*/ 85080 w 385303"/>
                <a:gd name="connsiteY56" fmla="*/ 480660 h 674234"/>
                <a:gd name="connsiteX57" fmla="*/ 96364 w 385303"/>
                <a:gd name="connsiteY57" fmla="*/ 491423 h 674234"/>
                <a:gd name="connsiteX58" fmla="*/ 99977 w 385303"/>
                <a:gd name="connsiteY58" fmla="*/ 508368 h 674234"/>
                <a:gd name="connsiteX59" fmla="*/ 105497 w 385303"/>
                <a:gd name="connsiteY59" fmla="*/ 515554 h 674234"/>
                <a:gd name="connsiteX60" fmla="*/ 102493 w 385303"/>
                <a:gd name="connsiteY60" fmla="*/ 521704 h 674234"/>
                <a:gd name="connsiteX61" fmla="*/ 98434 w 385303"/>
                <a:gd name="connsiteY61" fmla="*/ 538416 h 674234"/>
                <a:gd name="connsiteX62" fmla="*/ 103752 w 385303"/>
                <a:gd name="connsiteY62" fmla="*/ 552053 h 674234"/>
                <a:gd name="connsiteX63" fmla="*/ 102290 w 385303"/>
                <a:gd name="connsiteY63" fmla="*/ 568765 h 674234"/>
                <a:gd name="connsiteX64" fmla="*/ 92549 w 385303"/>
                <a:gd name="connsiteY64" fmla="*/ 584808 h 674234"/>
                <a:gd name="connsiteX65" fmla="*/ 94172 w 385303"/>
                <a:gd name="connsiteY65" fmla="*/ 594033 h 674234"/>
                <a:gd name="connsiteX66" fmla="*/ 105253 w 385303"/>
                <a:gd name="connsiteY66" fmla="*/ 605063 h 674234"/>
                <a:gd name="connsiteX67" fmla="*/ 122504 w 385303"/>
                <a:gd name="connsiteY67" fmla="*/ 605564 h 674234"/>
                <a:gd name="connsiteX68" fmla="*/ 132814 w 385303"/>
                <a:gd name="connsiteY68" fmla="*/ 613753 h 674234"/>
                <a:gd name="connsiteX69" fmla="*/ 164433 w 385303"/>
                <a:gd name="connsiteY69" fmla="*/ 624582 h 674234"/>
                <a:gd name="connsiteX70" fmla="*/ 218864 w 385303"/>
                <a:gd name="connsiteY70" fmla="*/ 615457 h 674234"/>
                <a:gd name="connsiteX71" fmla="*/ 224060 w 385303"/>
                <a:gd name="connsiteY71" fmla="*/ 609341 h 674234"/>
                <a:gd name="connsiteX72" fmla="*/ 205185 w 385303"/>
                <a:gd name="connsiteY72" fmla="*/ 594534 h 674234"/>
                <a:gd name="connsiteX73" fmla="*/ 200517 w 385303"/>
                <a:gd name="connsiteY73" fmla="*/ 574480 h 674234"/>
                <a:gd name="connsiteX74" fmla="*/ 206809 w 385303"/>
                <a:gd name="connsiteY74" fmla="*/ 565623 h 674234"/>
                <a:gd name="connsiteX75" fmla="*/ 214562 w 385303"/>
                <a:gd name="connsiteY75" fmla="*/ 562280 h 674234"/>
                <a:gd name="connsiteX76" fmla="*/ 217322 w 385303"/>
                <a:gd name="connsiteY76" fmla="*/ 541491 h 674234"/>
                <a:gd name="connsiteX77" fmla="*/ 237048 w 385303"/>
                <a:gd name="connsiteY77" fmla="*/ 515722 h 674234"/>
                <a:gd name="connsiteX78" fmla="*/ 244598 w 385303"/>
                <a:gd name="connsiteY78" fmla="*/ 501784 h 674234"/>
                <a:gd name="connsiteX79" fmla="*/ 241879 w 385303"/>
                <a:gd name="connsiteY79" fmla="*/ 485673 h 674234"/>
                <a:gd name="connsiteX80" fmla="*/ 219148 w 385303"/>
                <a:gd name="connsiteY80" fmla="*/ 488782 h 674234"/>
                <a:gd name="connsiteX81" fmla="*/ 195728 w 385303"/>
                <a:gd name="connsiteY81" fmla="*/ 480092 h 674234"/>
                <a:gd name="connsiteX82" fmla="*/ 219473 w 385303"/>
                <a:gd name="connsiteY82" fmla="*/ 444663 h 674234"/>
                <a:gd name="connsiteX83" fmla="*/ 225927 w 385303"/>
                <a:gd name="connsiteY83" fmla="*/ 432831 h 674234"/>
                <a:gd name="connsiteX84" fmla="*/ 224262 w 385303"/>
                <a:gd name="connsiteY84" fmla="*/ 409434 h 674234"/>
                <a:gd name="connsiteX85" fmla="*/ 236724 w 385303"/>
                <a:gd name="connsiteY85" fmla="*/ 394327 h 674234"/>
                <a:gd name="connsiteX86" fmla="*/ 231934 w 385303"/>
                <a:gd name="connsiteY86" fmla="*/ 387174 h 674234"/>
                <a:gd name="connsiteX87" fmla="*/ 250199 w 385303"/>
                <a:gd name="connsiteY87" fmla="*/ 387408 h 674234"/>
                <a:gd name="connsiteX88" fmla="*/ 242447 w 385303"/>
                <a:gd name="connsiteY88" fmla="*/ 374908 h 674234"/>
                <a:gd name="connsiteX89" fmla="*/ 225358 w 385303"/>
                <a:gd name="connsiteY89" fmla="*/ 380256 h 674234"/>
                <a:gd name="connsiteX90" fmla="*/ 213181 w 385303"/>
                <a:gd name="connsiteY90" fmla="*/ 369226 h 674234"/>
                <a:gd name="connsiteX91" fmla="*/ 207418 w 385303"/>
                <a:gd name="connsiteY91" fmla="*/ 353149 h 674234"/>
                <a:gd name="connsiteX92" fmla="*/ 240255 w 385303"/>
                <a:gd name="connsiteY92" fmla="*/ 351913 h 674234"/>
                <a:gd name="connsiteX93" fmla="*/ 267572 w 385303"/>
                <a:gd name="connsiteY93" fmla="*/ 338877 h 674234"/>
                <a:gd name="connsiteX94" fmla="*/ 264609 w 385303"/>
                <a:gd name="connsiteY94" fmla="*/ 318422 h 674234"/>
                <a:gd name="connsiteX95" fmla="*/ 257100 w 385303"/>
                <a:gd name="connsiteY95" fmla="*/ 303482 h 674234"/>
                <a:gd name="connsiteX96" fmla="*/ 278815 w 385303"/>
                <a:gd name="connsiteY96" fmla="*/ 296329 h 674234"/>
                <a:gd name="connsiteX97" fmla="*/ 356626 w 385303"/>
                <a:gd name="connsiteY97" fmla="*/ 262337 h 674234"/>
                <a:gd name="connsiteX98" fmla="*/ 364744 w 385303"/>
                <a:gd name="connsiteY98" fmla="*/ 248567 h 674234"/>
                <a:gd name="connsiteX99" fmla="*/ 376921 w 385303"/>
                <a:gd name="connsiteY99" fmla="*/ 226808 h 674234"/>
                <a:gd name="connsiteX100" fmla="*/ 358168 w 385303"/>
                <a:gd name="connsiteY100" fmla="*/ 218419 h 674234"/>
                <a:gd name="connsiteX101" fmla="*/ 352323 w 385303"/>
                <a:gd name="connsiteY101" fmla="*/ 199935 h 674234"/>
                <a:gd name="connsiteX102" fmla="*/ 321800 w 385303"/>
                <a:gd name="connsiteY102" fmla="*/ 199501 h 674234"/>
                <a:gd name="connsiteX103" fmla="*/ 315062 w 385303"/>
                <a:gd name="connsiteY103" fmla="*/ 194153 h 674234"/>
                <a:gd name="connsiteX104" fmla="*/ 321516 w 385303"/>
                <a:gd name="connsiteY104" fmla="*/ 188605 h 674234"/>
                <a:gd name="connsiteX105" fmla="*/ 323707 w 385303"/>
                <a:gd name="connsiteY105" fmla="*/ 188872 h 674234"/>
                <a:gd name="connsiteX106" fmla="*/ 313966 w 385303"/>
                <a:gd name="connsiteY106" fmla="*/ 177608 h 674234"/>
                <a:gd name="connsiteX107" fmla="*/ 310800 w 385303"/>
                <a:gd name="connsiteY107" fmla="*/ 150569 h 674234"/>
                <a:gd name="connsiteX108" fmla="*/ 309217 w 385303"/>
                <a:gd name="connsiteY108" fmla="*/ 123395 h 674234"/>
                <a:gd name="connsiteX109" fmla="*/ 322652 w 385303"/>
                <a:gd name="connsiteY109" fmla="*/ 96122 h 674234"/>
                <a:gd name="connsiteX110" fmla="*/ 368315 w 385303"/>
                <a:gd name="connsiteY110" fmla="*/ 41273 h 674234"/>
                <a:gd name="connsiteX111" fmla="*/ 384551 w 385303"/>
                <a:gd name="connsiteY111" fmla="*/ 22623 h 674234"/>
                <a:gd name="connsiteX112" fmla="*/ 372374 w 385303"/>
                <a:gd name="connsiteY112" fmla="*/ 4775 h 674234"/>
                <a:gd name="connsiteX113" fmla="*/ 372943 w 385303"/>
                <a:gd name="connsiteY113" fmla="*/ 4474 h 67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85303" h="674234">
                  <a:moveTo>
                    <a:pt x="305767" y="647979"/>
                  </a:moveTo>
                  <a:cubicBezTo>
                    <a:pt x="289531" y="651989"/>
                    <a:pt x="268587" y="642664"/>
                    <a:pt x="254056" y="639222"/>
                  </a:cubicBezTo>
                  <a:cubicBezTo>
                    <a:pt x="250605" y="638386"/>
                    <a:pt x="247805" y="633907"/>
                    <a:pt x="244598" y="633673"/>
                  </a:cubicBezTo>
                  <a:cubicBezTo>
                    <a:pt x="242853" y="633673"/>
                    <a:pt x="235952" y="637584"/>
                    <a:pt x="235181" y="634709"/>
                  </a:cubicBezTo>
                  <a:cubicBezTo>
                    <a:pt x="233761" y="629529"/>
                    <a:pt x="247034" y="618733"/>
                    <a:pt x="227834" y="621039"/>
                  </a:cubicBezTo>
                  <a:cubicBezTo>
                    <a:pt x="229783" y="626520"/>
                    <a:pt x="244923" y="674851"/>
                    <a:pt x="251011" y="673882"/>
                  </a:cubicBezTo>
                  <a:cubicBezTo>
                    <a:pt x="258074" y="672746"/>
                    <a:pt x="265218" y="669069"/>
                    <a:pt x="272037" y="667197"/>
                  </a:cubicBezTo>
                  <a:cubicBezTo>
                    <a:pt x="278856" y="665325"/>
                    <a:pt x="288557" y="666495"/>
                    <a:pt x="294970" y="664122"/>
                  </a:cubicBezTo>
                  <a:cubicBezTo>
                    <a:pt x="298420" y="662852"/>
                    <a:pt x="300368" y="659108"/>
                    <a:pt x="304062" y="657437"/>
                  </a:cubicBezTo>
                  <a:cubicBezTo>
                    <a:pt x="308811" y="655365"/>
                    <a:pt x="313966" y="654095"/>
                    <a:pt x="318472" y="651488"/>
                  </a:cubicBezTo>
                  <a:cubicBezTo>
                    <a:pt x="334139" y="643032"/>
                    <a:pt x="311490" y="646475"/>
                    <a:pt x="305767" y="647979"/>
                  </a:cubicBezTo>
                  <a:close/>
                  <a:moveTo>
                    <a:pt x="372943" y="4508"/>
                  </a:moveTo>
                  <a:cubicBezTo>
                    <a:pt x="368031" y="4073"/>
                    <a:pt x="360969" y="6446"/>
                    <a:pt x="356342" y="7850"/>
                  </a:cubicBezTo>
                  <a:cubicBezTo>
                    <a:pt x="359995" y="19381"/>
                    <a:pt x="362958" y="29341"/>
                    <a:pt x="348833" y="38199"/>
                  </a:cubicBezTo>
                  <a:cubicBezTo>
                    <a:pt x="344774" y="40605"/>
                    <a:pt x="343150" y="44048"/>
                    <a:pt x="339335" y="46454"/>
                  </a:cubicBezTo>
                  <a:cubicBezTo>
                    <a:pt x="335519" y="48861"/>
                    <a:pt x="331907" y="48727"/>
                    <a:pt x="328416" y="51067"/>
                  </a:cubicBezTo>
                  <a:cubicBezTo>
                    <a:pt x="322165" y="55245"/>
                    <a:pt x="299232" y="61395"/>
                    <a:pt x="291235" y="60258"/>
                  </a:cubicBezTo>
                  <a:cubicBezTo>
                    <a:pt x="287542" y="59723"/>
                    <a:pt x="268059" y="65372"/>
                    <a:pt x="266882" y="62631"/>
                  </a:cubicBezTo>
                  <a:cubicBezTo>
                    <a:pt x="265583" y="59289"/>
                    <a:pt x="272849" y="54810"/>
                    <a:pt x="270941" y="49797"/>
                  </a:cubicBezTo>
                  <a:cubicBezTo>
                    <a:pt x="266882" y="38700"/>
                    <a:pt x="296472" y="22523"/>
                    <a:pt x="270941" y="21553"/>
                  </a:cubicBezTo>
                  <a:cubicBezTo>
                    <a:pt x="252878" y="20885"/>
                    <a:pt x="238469" y="20518"/>
                    <a:pt x="222233" y="16908"/>
                  </a:cubicBezTo>
                  <a:cubicBezTo>
                    <a:pt x="210503" y="14334"/>
                    <a:pt x="198691" y="19481"/>
                    <a:pt x="187164" y="18011"/>
                  </a:cubicBezTo>
                  <a:cubicBezTo>
                    <a:pt x="175068" y="16206"/>
                    <a:pt x="163175" y="13599"/>
                    <a:pt x="151566" y="10290"/>
                  </a:cubicBezTo>
                  <a:cubicBezTo>
                    <a:pt x="141500" y="7917"/>
                    <a:pt x="131961" y="4307"/>
                    <a:pt x="123153" y="-339"/>
                  </a:cubicBezTo>
                  <a:cubicBezTo>
                    <a:pt x="116050" y="1065"/>
                    <a:pt x="99814" y="2268"/>
                    <a:pt x="97663" y="8452"/>
                  </a:cubicBezTo>
                  <a:cubicBezTo>
                    <a:pt x="96973" y="10424"/>
                    <a:pt x="95674" y="21821"/>
                    <a:pt x="90316" y="21253"/>
                  </a:cubicBezTo>
                  <a:cubicBezTo>
                    <a:pt x="85811" y="20751"/>
                    <a:pt x="83660" y="17910"/>
                    <a:pt x="78464" y="17442"/>
                  </a:cubicBezTo>
                  <a:cubicBezTo>
                    <a:pt x="70793" y="17610"/>
                    <a:pt x="63162" y="18646"/>
                    <a:pt x="55815" y="20551"/>
                  </a:cubicBezTo>
                  <a:cubicBezTo>
                    <a:pt x="44572" y="22690"/>
                    <a:pt x="40959" y="17710"/>
                    <a:pt x="33937" y="27236"/>
                  </a:cubicBezTo>
                  <a:cubicBezTo>
                    <a:pt x="29919" y="32617"/>
                    <a:pt x="25223" y="37664"/>
                    <a:pt x="19893" y="42209"/>
                  </a:cubicBezTo>
                  <a:cubicBezTo>
                    <a:pt x="21428" y="46822"/>
                    <a:pt x="22471" y="51535"/>
                    <a:pt x="23019" y="56281"/>
                  </a:cubicBezTo>
                  <a:cubicBezTo>
                    <a:pt x="24602" y="70787"/>
                    <a:pt x="-3974" y="77070"/>
                    <a:pt x="4388" y="91275"/>
                  </a:cubicBezTo>
                  <a:cubicBezTo>
                    <a:pt x="7797" y="97058"/>
                    <a:pt x="4104" y="99498"/>
                    <a:pt x="10720" y="104912"/>
                  </a:cubicBezTo>
                  <a:cubicBezTo>
                    <a:pt x="16321" y="109525"/>
                    <a:pt x="10355" y="115206"/>
                    <a:pt x="13521" y="117914"/>
                  </a:cubicBezTo>
                  <a:cubicBezTo>
                    <a:pt x="20299" y="123763"/>
                    <a:pt x="21639" y="122994"/>
                    <a:pt x="11978" y="130648"/>
                  </a:cubicBezTo>
                  <a:cubicBezTo>
                    <a:pt x="3657" y="137333"/>
                    <a:pt x="16565" y="145422"/>
                    <a:pt x="6986" y="151939"/>
                  </a:cubicBezTo>
                  <a:cubicBezTo>
                    <a:pt x="-2594" y="158457"/>
                    <a:pt x="6133" y="165576"/>
                    <a:pt x="2439" y="172194"/>
                  </a:cubicBezTo>
                  <a:cubicBezTo>
                    <a:pt x="-1863" y="179848"/>
                    <a:pt x="-605" y="178879"/>
                    <a:pt x="6174" y="186131"/>
                  </a:cubicBezTo>
                  <a:cubicBezTo>
                    <a:pt x="13602" y="194020"/>
                    <a:pt x="897" y="206185"/>
                    <a:pt x="532" y="215444"/>
                  </a:cubicBezTo>
                  <a:cubicBezTo>
                    <a:pt x="166" y="224702"/>
                    <a:pt x="8284" y="227543"/>
                    <a:pt x="15997" y="232390"/>
                  </a:cubicBezTo>
                  <a:cubicBezTo>
                    <a:pt x="23708" y="237236"/>
                    <a:pt x="26144" y="244422"/>
                    <a:pt x="33653" y="249503"/>
                  </a:cubicBezTo>
                  <a:cubicBezTo>
                    <a:pt x="38280" y="252845"/>
                    <a:pt x="41081" y="266214"/>
                    <a:pt x="36576" y="270559"/>
                  </a:cubicBezTo>
                  <a:cubicBezTo>
                    <a:pt x="34708" y="276175"/>
                    <a:pt x="33816" y="281990"/>
                    <a:pt x="33978" y="287839"/>
                  </a:cubicBezTo>
                  <a:cubicBezTo>
                    <a:pt x="38280" y="298100"/>
                    <a:pt x="48306" y="299538"/>
                    <a:pt x="37468" y="310266"/>
                  </a:cubicBezTo>
                  <a:cubicBezTo>
                    <a:pt x="23749" y="323870"/>
                    <a:pt x="42421" y="333663"/>
                    <a:pt x="43395" y="346498"/>
                  </a:cubicBezTo>
                  <a:cubicBezTo>
                    <a:pt x="43679" y="350341"/>
                    <a:pt x="52081" y="349272"/>
                    <a:pt x="53055" y="353951"/>
                  </a:cubicBezTo>
                  <a:cubicBezTo>
                    <a:pt x="54232" y="359366"/>
                    <a:pt x="46480" y="359098"/>
                    <a:pt x="43151" y="362508"/>
                  </a:cubicBezTo>
                  <a:cubicBezTo>
                    <a:pt x="39823" y="365917"/>
                    <a:pt x="48184" y="371566"/>
                    <a:pt x="47900" y="375041"/>
                  </a:cubicBezTo>
                  <a:cubicBezTo>
                    <a:pt x="47900" y="377281"/>
                    <a:pt x="43841" y="378117"/>
                    <a:pt x="43232" y="380757"/>
                  </a:cubicBezTo>
                  <a:cubicBezTo>
                    <a:pt x="42542" y="385135"/>
                    <a:pt x="46114" y="388678"/>
                    <a:pt x="46033" y="392956"/>
                  </a:cubicBezTo>
                  <a:cubicBezTo>
                    <a:pt x="45789" y="400644"/>
                    <a:pt x="42421" y="401647"/>
                    <a:pt x="50539" y="407730"/>
                  </a:cubicBezTo>
                  <a:cubicBezTo>
                    <a:pt x="55166" y="411072"/>
                    <a:pt x="57926" y="417757"/>
                    <a:pt x="60077" y="422202"/>
                  </a:cubicBezTo>
                  <a:cubicBezTo>
                    <a:pt x="62228" y="426648"/>
                    <a:pt x="51959" y="444997"/>
                    <a:pt x="64380" y="446635"/>
                  </a:cubicBezTo>
                  <a:cubicBezTo>
                    <a:pt x="73066" y="447738"/>
                    <a:pt x="67505" y="455125"/>
                    <a:pt x="74040" y="457531"/>
                  </a:cubicBezTo>
                  <a:cubicBezTo>
                    <a:pt x="83091" y="460873"/>
                    <a:pt x="72173" y="468929"/>
                    <a:pt x="80818" y="471168"/>
                  </a:cubicBezTo>
                  <a:cubicBezTo>
                    <a:pt x="86826" y="472738"/>
                    <a:pt x="92183" y="465887"/>
                    <a:pt x="97257" y="470633"/>
                  </a:cubicBezTo>
                  <a:cubicBezTo>
                    <a:pt x="103995" y="476916"/>
                    <a:pt x="83132" y="477317"/>
                    <a:pt x="85080" y="480660"/>
                  </a:cubicBezTo>
                  <a:cubicBezTo>
                    <a:pt x="87029" y="484002"/>
                    <a:pt x="107729" y="484002"/>
                    <a:pt x="96364" y="491423"/>
                  </a:cubicBezTo>
                  <a:cubicBezTo>
                    <a:pt x="90682" y="495199"/>
                    <a:pt x="97379" y="504558"/>
                    <a:pt x="99977" y="508368"/>
                  </a:cubicBezTo>
                  <a:cubicBezTo>
                    <a:pt x="101316" y="510307"/>
                    <a:pt x="105903" y="513014"/>
                    <a:pt x="105497" y="515554"/>
                  </a:cubicBezTo>
                  <a:cubicBezTo>
                    <a:pt x="105091" y="518095"/>
                    <a:pt x="100789" y="518261"/>
                    <a:pt x="102493" y="521704"/>
                  </a:cubicBezTo>
                  <a:cubicBezTo>
                    <a:pt x="106552" y="530194"/>
                    <a:pt x="96324" y="530528"/>
                    <a:pt x="98434" y="538416"/>
                  </a:cubicBezTo>
                  <a:cubicBezTo>
                    <a:pt x="100545" y="546304"/>
                    <a:pt x="96324" y="545636"/>
                    <a:pt x="103752" y="552053"/>
                  </a:cubicBezTo>
                  <a:cubicBezTo>
                    <a:pt x="104929" y="553055"/>
                    <a:pt x="103386" y="566793"/>
                    <a:pt x="102290" y="568765"/>
                  </a:cubicBezTo>
                  <a:cubicBezTo>
                    <a:pt x="98637" y="575148"/>
                    <a:pt x="90114" y="575784"/>
                    <a:pt x="92549" y="584808"/>
                  </a:cubicBezTo>
                  <a:cubicBezTo>
                    <a:pt x="92833" y="587916"/>
                    <a:pt x="93401" y="590991"/>
                    <a:pt x="94172" y="594033"/>
                  </a:cubicBezTo>
                  <a:cubicBezTo>
                    <a:pt x="96324" y="599046"/>
                    <a:pt x="104076" y="599715"/>
                    <a:pt x="105253" y="605063"/>
                  </a:cubicBezTo>
                  <a:cubicBezTo>
                    <a:pt x="106715" y="611747"/>
                    <a:pt x="116781" y="607035"/>
                    <a:pt x="122504" y="605564"/>
                  </a:cubicBezTo>
                  <a:cubicBezTo>
                    <a:pt x="132855" y="602957"/>
                    <a:pt x="130825" y="608004"/>
                    <a:pt x="132814" y="613753"/>
                  </a:cubicBezTo>
                  <a:cubicBezTo>
                    <a:pt x="137279" y="626520"/>
                    <a:pt x="148522" y="630465"/>
                    <a:pt x="164433" y="624582"/>
                  </a:cubicBezTo>
                  <a:cubicBezTo>
                    <a:pt x="183592" y="617362"/>
                    <a:pt x="199421" y="616427"/>
                    <a:pt x="218864" y="615457"/>
                  </a:cubicBezTo>
                  <a:cubicBezTo>
                    <a:pt x="226130" y="615090"/>
                    <a:pt x="232583" y="613452"/>
                    <a:pt x="224060" y="609341"/>
                  </a:cubicBezTo>
                  <a:cubicBezTo>
                    <a:pt x="216104" y="606065"/>
                    <a:pt x="209528" y="600918"/>
                    <a:pt x="205185" y="594534"/>
                  </a:cubicBezTo>
                  <a:cubicBezTo>
                    <a:pt x="201126" y="589588"/>
                    <a:pt x="194957" y="580363"/>
                    <a:pt x="200517" y="574480"/>
                  </a:cubicBezTo>
                  <a:cubicBezTo>
                    <a:pt x="202953" y="571906"/>
                    <a:pt x="203927" y="567795"/>
                    <a:pt x="206809" y="565623"/>
                  </a:cubicBezTo>
                  <a:cubicBezTo>
                    <a:pt x="208879" y="563985"/>
                    <a:pt x="212289" y="564119"/>
                    <a:pt x="214562" y="562280"/>
                  </a:cubicBezTo>
                  <a:cubicBezTo>
                    <a:pt x="222680" y="555596"/>
                    <a:pt x="216104" y="548677"/>
                    <a:pt x="217322" y="541491"/>
                  </a:cubicBezTo>
                  <a:cubicBezTo>
                    <a:pt x="218905" y="532266"/>
                    <a:pt x="229499" y="523008"/>
                    <a:pt x="237048" y="515722"/>
                  </a:cubicBezTo>
                  <a:cubicBezTo>
                    <a:pt x="242528" y="510407"/>
                    <a:pt x="246952" y="507599"/>
                    <a:pt x="244598" y="501784"/>
                  </a:cubicBezTo>
                  <a:cubicBezTo>
                    <a:pt x="243380" y="498709"/>
                    <a:pt x="246546" y="486777"/>
                    <a:pt x="241879" y="485673"/>
                  </a:cubicBezTo>
                  <a:cubicBezTo>
                    <a:pt x="235019" y="484002"/>
                    <a:pt x="226211" y="488615"/>
                    <a:pt x="219148" y="488782"/>
                  </a:cubicBezTo>
                  <a:cubicBezTo>
                    <a:pt x="210178" y="488916"/>
                    <a:pt x="201573" y="485707"/>
                    <a:pt x="195728" y="480092"/>
                  </a:cubicBezTo>
                  <a:cubicBezTo>
                    <a:pt x="184322" y="467391"/>
                    <a:pt x="203846" y="451013"/>
                    <a:pt x="219473" y="444663"/>
                  </a:cubicBezTo>
                  <a:cubicBezTo>
                    <a:pt x="229904" y="440452"/>
                    <a:pt x="220163" y="437778"/>
                    <a:pt x="225927" y="432831"/>
                  </a:cubicBezTo>
                  <a:cubicBezTo>
                    <a:pt x="233842" y="426146"/>
                    <a:pt x="224669" y="416554"/>
                    <a:pt x="224262" y="409434"/>
                  </a:cubicBezTo>
                  <a:cubicBezTo>
                    <a:pt x="223978" y="404855"/>
                    <a:pt x="238672" y="395530"/>
                    <a:pt x="236724" y="394327"/>
                  </a:cubicBezTo>
                  <a:cubicBezTo>
                    <a:pt x="234775" y="393124"/>
                    <a:pt x="218540" y="392121"/>
                    <a:pt x="231934" y="387174"/>
                  </a:cubicBezTo>
                  <a:cubicBezTo>
                    <a:pt x="239809" y="384266"/>
                    <a:pt x="242772" y="392388"/>
                    <a:pt x="250199" y="387408"/>
                  </a:cubicBezTo>
                  <a:cubicBezTo>
                    <a:pt x="259657" y="381058"/>
                    <a:pt x="252756" y="367621"/>
                    <a:pt x="242447" y="374908"/>
                  </a:cubicBezTo>
                  <a:cubicBezTo>
                    <a:pt x="234329" y="380657"/>
                    <a:pt x="237130" y="381860"/>
                    <a:pt x="225358" y="380256"/>
                  </a:cubicBezTo>
                  <a:cubicBezTo>
                    <a:pt x="214846" y="378852"/>
                    <a:pt x="219676" y="374373"/>
                    <a:pt x="213181" y="369226"/>
                  </a:cubicBezTo>
                  <a:cubicBezTo>
                    <a:pt x="210056" y="366786"/>
                    <a:pt x="200234" y="356558"/>
                    <a:pt x="207418" y="353149"/>
                  </a:cubicBezTo>
                  <a:cubicBezTo>
                    <a:pt x="215536" y="349339"/>
                    <a:pt x="231366" y="352882"/>
                    <a:pt x="240255" y="351913"/>
                  </a:cubicBezTo>
                  <a:cubicBezTo>
                    <a:pt x="250605" y="350809"/>
                    <a:pt x="262620" y="346130"/>
                    <a:pt x="267572" y="338877"/>
                  </a:cubicBezTo>
                  <a:cubicBezTo>
                    <a:pt x="272889" y="331056"/>
                    <a:pt x="255395" y="326711"/>
                    <a:pt x="264609" y="318422"/>
                  </a:cubicBezTo>
                  <a:cubicBezTo>
                    <a:pt x="273011" y="310902"/>
                    <a:pt x="257708" y="310333"/>
                    <a:pt x="257100" y="303482"/>
                  </a:cubicBezTo>
                  <a:cubicBezTo>
                    <a:pt x="256491" y="296630"/>
                    <a:pt x="272564" y="298034"/>
                    <a:pt x="278815" y="296329"/>
                  </a:cubicBezTo>
                  <a:cubicBezTo>
                    <a:pt x="305321" y="289076"/>
                    <a:pt x="336980" y="277946"/>
                    <a:pt x="356626" y="262337"/>
                  </a:cubicBezTo>
                  <a:cubicBezTo>
                    <a:pt x="362674" y="257524"/>
                    <a:pt x="362268" y="254115"/>
                    <a:pt x="364744" y="248567"/>
                  </a:cubicBezTo>
                  <a:cubicBezTo>
                    <a:pt x="368031" y="241180"/>
                    <a:pt x="374120" y="234261"/>
                    <a:pt x="376921" y="226808"/>
                  </a:cubicBezTo>
                  <a:cubicBezTo>
                    <a:pt x="380980" y="216781"/>
                    <a:pt x="365596" y="219756"/>
                    <a:pt x="358168" y="218419"/>
                  </a:cubicBezTo>
                  <a:cubicBezTo>
                    <a:pt x="344043" y="215945"/>
                    <a:pt x="359467" y="203913"/>
                    <a:pt x="352323" y="199935"/>
                  </a:cubicBezTo>
                  <a:cubicBezTo>
                    <a:pt x="345179" y="195958"/>
                    <a:pt x="331136" y="200537"/>
                    <a:pt x="321800" y="199501"/>
                  </a:cubicBezTo>
                  <a:cubicBezTo>
                    <a:pt x="318147" y="199568"/>
                    <a:pt x="315143" y="197161"/>
                    <a:pt x="315062" y="194153"/>
                  </a:cubicBezTo>
                  <a:cubicBezTo>
                    <a:pt x="314981" y="191145"/>
                    <a:pt x="317863" y="188671"/>
                    <a:pt x="321516" y="188605"/>
                  </a:cubicBezTo>
                  <a:cubicBezTo>
                    <a:pt x="322287" y="188605"/>
                    <a:pt x="323018" y="188671"/>
                    <a:pt x="323707" y="188872"/>
                  </a:cubicBezTo>
                  <a:cubicBezTo>
                    <a:pt x="325331" y="178578"/>
                    <a:pt x="317944" y="184460"/>
                    <a:pt x="313966" y="177608"/>
                  </a:cubicBezTo>
                  <a:cubicBezTo>
                    <a:pt x="308973" y="169018"/>
                    <a:pt x="313722" y="159560"/>
                    <a:pt x="310800" y="150569"/>
                  </a:cubicBezTo>
                  <a:cubicBezTo>
                    <a:pt x="307878" y="141578"/>
                    <a:pt x="310435" y="132520"/>
                    <a:pt x="309217" y="123395"/>
                  </a:cubicBezTo>
                  <a:cubicBezTo>
                    <a:pt x="307878" y="113134"/>
                    <a:pt x="316036" y="105681"/>
                    <a:pt x="322652" y="96122"/>
                  </a:cubicBezTo>
                  <a:cubicBezTo>
                    <a:pt x="335763" y="77103"/>
                    <a:pt x="343678" y="56013"/>
                    <a:pt x="368315" y="41273"/>
                  </a:cubicBezTo>
                  <a:cubicBezTo>
                    <a:pt x="378423" y="35224"/>
                    <a:pt x="387921" y="31647"/>
                    <a:pt x="384551" y="22623"/>
                  </a:cubicBezTo>
                  <a:cubicBezTo>
                    <a:pt x="383293" y="18947"/>
                    <a:pt x="379518" y="5343"/>
                    <a:pt x="372374" y="4775"/>
                  </a:cubicBezTo>
                  <a:cubicBezTo>
                    <a:pt x="370142" y="4207"/>
                    <a:pt x="377976" y="4875"/>
                    <a:pt x="372943" y="44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1C894CD2-0F05-4987-BEAA-407AAF7B891E}"/>
                </a:ext>
              </a:extLst>
            </p:cNvPr>
            <p:cNvSpPr/>
            <p:nvPr/>
          </p:nvSpPr>
          <p:spPr>
            <a:xfrm>
              <a:off x="3996530" y="5460303"/>
              <a:ext cx="375785" cy="720392"/>
            </a:xfrm>
            <a:custGeom>
              <a:avLst/>
              <a:gdLst>
                <a:gd name="connsiteX0" fmla="*/ 242469 w 375785"/>
                <a:gd name="connsiteY0" fmla="*/ 655867 h 720392"/>
                <a:gd name="connsiteX1" fmla="*/ 222174 w 375785"/>
                <a:gd name="connsiteY1" fmla="*/ 644670 h 720392"/>
                <a:gd name="connsiteX2" fmla="*/ 202975 w 375785"/>
                <a:gd name="connsiteY2" fmla="*/ 635077 h 720392"/>
                <a:gd name="connsiteX3" fmla="*/ 193193 w 375785"/>
                <a:gd name="connsiteY3" fmla="*/ 632470 h 720392"/>
                <a:gd name="connsiteX4" fmla="*/ 181016 w 375785"/>
                <a:gd name="connsiteY4" fmla="*/ 618065 h 720392"/>
                <a:gd name="connsiteX5" fmla="*/ 180326 w 375785"/>
                <a:gd name="connsiteY5" fmla="*/ 606333 h 720392"/>
                <a:gd name="connsiteX6" fmla="*/ 190352 w 375785"/>
                <a:gd name="connsiteY6" fmla="*/ 593699 h 720392"/>
                <a:gd name="connsiteX7" fmla="*/ 192828 w 375785"/>
                <a:gd name="connsiteY7" fmla="*/ 581566 h 720392"/>
                <a:gd name="connsiteX8" fmla="*/ 185238 w 375785"/>
                <a:gd name="connsiteY8" fmla="*/ 571806 h 720392"/>
                <a:gd name="connsiteX9" fmla="*/ 186293 w 375785"/>
                <a:gd name="connsiteY9" fmla="*/ 560743 h 720392"/>
                <a:gd name="connsiteX10" fmla="*/ 190352 w 375785"/>
                <a:gd name="connsiteY10" fmla="*/ 549379 h 720392"/>
                <a:gd name="connsiteX11" fmla="*/ 192544 w 375785"/>
                <a:gd name="connsiteY11" fmla="*/ 541157 h 720392"/>
                <a:gd name="connsiteX12" fmla="*/ 183249 w 375785"/>
                <a:gd name="connsiteY12" fmla="*/ 526551 h 720392"/>
                <a:gd name="connsiteX13" fmla="*/ 187064 w 375785"/>
                <a:gd name="connsiteY13" fmla="*/ 516290 h 720392"/>
                <a:gd name="connsiteX14" fmla="*/ 172939 w 375785"/>
                <a:gd name="connsiteY14" fmla="*/ 508335 h 720392"/>
                <a:gd name="connsiteX15" fmla="*/ 186293 w 375785"/>
                <a:gd name="connsiteY15" fmla="*/ 500146 h 720392"/>
                <a:gd name="connsiteX16" fmla="*/ 168677 w 375785"/>
                <a:gd name="connsiteY16" fmla="*/ 498809 h 720392"/>
                <a:gd name="connsiteX17" fmla="*/ 164983 w 375785"/>
                <a:gd name="connsiteY17" fmla="*/ 486442 h 720392"/>
                <a:gd name="connsiteX18" fmla="*/ 152238 w 375785"/>
                <a:gd name="connsiteY18" fmla="*/ 474276 h 720392"/>
                <a:gd name="connsiteX19" fmla="*/ 147936 w 375785"/>
                <a:gd name="connsiteY19" fmla="*/ 449844 h 720392"/>
                <a:gd name="connsiteX20" fmla="*/ 138397 w 375785"/>
                <a:gd name="connsiteY20" fmla="*/ 435371 h 720392"/>
                <a:gd name="connsiteX21" fmla="*/ 132877 w 375785"/>
                <a:gd name="connsiteY21" fmla="*/ 416253 h 720392"/>
                <a:gd name="connsiteX22" fmla="*/ 135759 w 375785"/>
                <a:gd name="connsiteY22" fmla="*/ 402683 h 720392"/>
                <a:gd name="connsiteX23" fmla="*/ 133080 w 375785"/>
                <a:gd name="connsiteY23" fmla="*/ 388846 h 720392"/>
                <a:gd name="connsiteX24" fmla="*/ 139412 w 375785"/>
                <a:gd name="connsiteY24" fmla="*/ 378651 h 720392"/>
                <a:gd name="connsiteX25" fmla="*/ 129467 w 375785"/>
                <a:gd name="connsiteY25" fmla="*/ 368825 h 720392"/>
                <a:gd name="connsiteX26" fmla="*/ 129792 w 375785"/>
                <a:gd name="connsiteY26" fmla="*/ 333797 h 720392"/>
                <a:gd name="connsiteX27" fmla="*/ 127438 w 375785"/>
                <a:gd name="connsiteY27" fmla="*/ 323101 h 720392"/>
                <a:gd name="connsiteX28" fmla="*/ 124434 w 375785"/>
                <a:gd name="connsiteY28" fmla="*/ 309331 h 720392"/>
                <a:gd name="connsiteX29" fmla="*/ 126139 w 375785"/>
                <a:gd name="connsiteY29" fmla="*/ 295092 h 720392"/>
                <a:gd name="connsiteX30" fmla="*/ 118264 w 375785"/>
                <a:gd name="connsiteY30" fmla="*/ 275239 h 720392"/>
                <a:gd name="connsiteX31" fmla="*/ 103855 w 375785"/>
                <a:gd name="connsiteY31" fmla="*/ 260031 h 720392"/>
                <a:gd name="connsiteX32" fmla="*/ 88390 w 375785"/>
                <a:gd name="connsiteY32" fmla="*/ 243086 h 720392"/>
                <a:gd name="connsiteX33" fmla="*/ 91638 w 375785"/>
                <a:gd name="connsiteY33" fmla="*/ 234295 h 720392"/>
                <a:gd name="connsiteX34" fmla="*/ 97685 w 375785"/>
                <a:gd name="connsiteY34" fmla="*/ 219555 h 720392"/>
                <a:gd name="connsiteX35" fmla="*/ 85508 w 375785"/>
                <a:gd name="connsiteY35" fmla="*/ 205083 h 720392"/>
                <a:gd name="connsiteX36" fmla="*/ 90217 w 375785"/>
                <a:gd name="connsiteY36" fmla="*/ 199835 h 720392"/>
                <a:gd name="connsiteX37" fmla="*/ 89162 w 375785"/>
                <a:gd name="connsiteY37" fmla="*/ 189808 h 720392"/>
                <a:gd name="connsiteX38" fmla="*/ 98132 w 375785"/>
                <a:gd name="connsiteY38" fmla="*/ 173297 h 720392"/>
                <a:gd name="connsiteX39" fmla="*/ 103814 w 375785"/>
                <a:gd name="connsiteY39" fmla="*/ 155081 h 720392"/>
                <a:gd name="connsiteX40" fmla="*/ 101298 w 375785"/>
                <a:gd name="connsiteY40" fmla="*/ 145488 h 720392"/>
                <a:gd name="connsiteX41" fmla="*/ 98497 w 375785"/>
                <a:gd name="connsiteY41" fmla="*/ 132487 h 720392"/>
                <a:gd name="connsiteX42" fmla="*/ 93667 w 375785"/>
                <a:gd name="connsiteY42" fmla="*/ 105982 h 720392"/>
                <a:gd name="connsiteX43" fmla="*/ 107671 w 375785"/>
                <a:gd name="connsiteY43" fmla="*/ 69784 h 720392"/>
                <a:gd name="connsiteX44" fmla="*/ 83682 w 375785"/>
                <a:gd name="connsiteY44" fmla="*/ 63300 h 720392"/>
                <a:gd name="connsiteX45" fmla="*/ 70937 w 375785"/>
                <a:gd name="connsiteY45" fmla="*/ 52939 h 720392"/>
                <a:gd name="connsiteX46" fmla="*/ 52956 w 375785"/>
                <a:gd name="connsiteY46" fmla="*/ 45753 h 720392"/>
                <a:gd name="connsiteX47" fmla="*/ 48450 w 375785"/>
                <a:gd name="connsiteY47" fmla="*/ 22356 h 720392"/>
                <a:gd name="connsiteX48" fmla="*/ 9606 w 375785"/>
                <a:gd name="connsiteY48" fmla="*/ -339 h 720392"/>
                <a:gd name="connsiteX49" fmla="*/ 3639 w 375785"/>
                <a:gd name="connsiteY49" fmla="*/ 16373 h 720392"/>
                <a:gd name="connsiteX50" fmla="*/ 7292 w 375785"/>
                <a:gd name="connsiteY50" fmla="*/ 36093 h 720392"/>
                <a:gd name="connsiteX51" fmla="*/ 25923 w 375785"/>
                <a:gd name="connsiteY51" fmla="*/ 75567 h 720392"/>
                <a:gd name="connsiteX52" fmla="*/ 26816 w 375785"/>
                <a:gd name="connsiteY52" fmla="*/ 102706 h 720392"/>
                <a:gd name="connsiteX53" fmla="*/ 33351 w 375785"/>
                <a:gd name="connsiteY53" fmla="*/ 112734 h 720392"/>
                <a:gd name="connsiteX54" fmla="*/ 40982 w 375785"/>
                <a:gd name="connsiteY54" fmla="*/ 132788 h 720392"/>
                <a:gd name="connsiteX55" fmla="*/ 45041 w 375785"/>
                <a:gd name="connsiteY55" fmla="*/ 160763 h 720392"/>
                <a:gd name="connsiteX56" fmla="*/ 46542 w 375785"/>
                <a:gd name="connsiteY56" fmla="*/ 180015 h 720392"/>
                <a:gd name="connsiteX57" fmla="*/ 47638 w 375785"/>
                <a:gd name="connsiteY57" fmla="*/ 202008 h 720392"/>
                <a:gd name="connsiteX58" fmla="*/ 49424 w 375785"/>
                <a:gd name="connsiteY58" fmla="*/ 216213 h 720392"/>
                <a:gd name="connsiteX59" fmla="*/ 58922 w 375785"/>
                <a:gd name="connsiteY59" fmla="*/ 232457 h 720392"/>
                <a:gd name="connsiteX60" fmla="*/ 73129 w 375785"/>
                <a:gd name="connsiteY60" fmla="*/ 273534 h 720392"/>
                <a:gd name="connsiteX61" fmla="*/ 75117 w 375785"/>
                <a:gd name="connsiteY61" fmla="*/ 306958 h 720392"/>
                <a:gd name="connsiteX62" fmla="*/ 76335 w 375785"/>
                <a:gd name="connsiteY62" fmla="*/ 332995 h 720392"/>
                <a:gd name="connsiteX63" fmla="*/ 72926 w 375785"/>
                <a:gd name="connsiteY63" fmla="*/ 359734 h 720392"/>
                <a:gd name="connsiteX64" fmla="*/ 71018 w 375785"/>
                <a:gd name="connsiteY64" fmla="*/ 369159 h 720392"/>
                <a:gd name="connsiteX65" fmla="*/ 64077 w 375785"/>
                <a:gd name="connsiteY65" fmla="*/ 374340 h 720392"/>
                <a:gd name="connsiteX66" fmla="*/ 70571 w 375785"/>
                <a:gd name="connsiteY66" fmla="*/ 383297 h 720392"/>
                <a:gd name="connsiteX67" fmla="*/ 78689 w 375785"/>
                <a:gd name="connsiteY67" fmla="*/ 399040 h 720392"/>
                <a:gd name="connsiteX68" fmla="*/ 91435 w 375785"/>
                <a:gd name="connsiteY68" fmla="*/ 418392 h 720392"/>
                <a:gd name="connsiteX69" fmla="*/ 91678 w 375785"/>
                <a:gd name="connsiteY69" fmla="*/ 442089 h 720392"/>
                <a:gd name="connsiteX70" fmla="*/ 102069 w 375785"/>
                <a:gd name="connsiteY70" fmla="*/ 461341 h 720392"/>
                <a:gd name="connsiteX71" fmla="*/ 96793 w 375785"/>
                <a:gd name="connsiteY71" fmla="*/ 464918 h 720392"/>
                <a:gd name="connsiteX72" fmla="*/ 95047 w 375785"/>
                <a:gd name="connsiteY72" fmla="*/ 475145 h 720392"/>
                <a:gd name="connsiteX73" fmla="*/ 101826 w 375785"/>
                <a:gd name="connsiteY73" fmla="*/ 494197 h 720392"/>
                <a:gd name="connsiteX74" fmla="*/ 115586 w 375785"/>
                <a:gd name="connsiteY74" fmla="*/ 488949 h 720392"/>
                <a:gd name="connsiteX75" fmla="*/ 108360 w 375785"/>
                <a:gd name="connsiteY75" fmla="*/ 460405 h 720392"/>
                <a:gd name="connsiteX76" fmla="*/ 118305 w 375785"/>
                <a:gd name="connsiteY76" fmla="*/ 450044 h 720392"/>
                <a:gd name="connsiteX77" fmla="*/ 121715 w 375785"/>
                <a:gd name="connsiteY77" fmla="*/ 454523 h 720392"/>
                <a:gd name="connsiteX78" fmla="*/ 130685 w 375785"/>
                <a:gd name="connsiteY78" fmla="*/ 456227 h 720392"/>
                <a:gd name="connsiteX79" fmla="*/ 127316 w 375785"/>
                <a:gd name="connsiteY79" fmla="*/ 464784 h 720392"/>
                <a:gd name="connsiteX80" fmla="*/ 132714 w 375785"/>
                <a:gd name="connsiteY80" fmla="*/ 472939 h 720392"/>
                <a:gd name="connsiteX81" fmla="*/ 130644 w 375785"/>
                <a:gd name="connsiteY81" fmla="*/ 483535 h 720392"/>
                <a:gd name="connsiteX82" fmla="*/ 134703 w 375785"/>
                <a:gd name="connsiteY82" fmla="*/ 495066 h 720392"/>
                <a:gd name="connsiteX83" fmla="*/ 140548 w 375785"/>
                <a:gd name="connsiteY83" fmla="*/ 512747 h 720392"/>
                <a:gd name="connsiteX84" fmla="*/ 141969 w 375785"/>
                <a:gd name="connsiteY84" fmla="*/ 521972 h 720392"/>
                <a:gd name="connsiteX85" fmla="*/ 140142 w 375785"/>
                <a:gd name="connsiteY85" fmla="*/ 531297 h 720392"/>
                <a:gd name="connsiteX86" fmla="*/ 139209 w 375785"/>
                <a:gd name="connsiteY86" fmla="*/ 545970 h 720392"/>
                <a:gd name="connsiteX87" fmla="*/ 131091 w 375785"/>
                <a:gd name="connsiteY87" fmla="*/ 524512 h 720392"/>
                <a:gd name="connsiteX88" fmla="*/ 120822 w 375785"/>
                <a:gd name="connsiteY88" fmla="*/ 527854 h 720392"/>
                <a:gd name="connsiteX89" fmla="*/ 118914 w 375785"/>
                <a:gd name="connsiteY89" fmla="*/ 540121 h 720392"/>
                <a:gd name="connsiteX90" fmla="*/ 113353 w 375785"/>
                <a:gd name="connsiteY90" fmla="*/ 556031 h 720392"/>
                <a:gd name="connsiteX91" fmla="*/ 108320 w 375785"/>
                <a:gd name="connsiteY91" fmla="*/ 563384 h 720392"/>
                <a:gd name="connsiteX92" fmla="*/ 109862 w 375785"/>
                <a:gd name="connsiteY92" fmla="*/ 573946 h 720392"/>
                <a:gd name="connsiteX93" fmla="*/ 116884 w 375785"/>
                <a:gd name="connsiteY93" fmla="*/ 566392 h 720392"/>
                <a:gd name="connsiteX94" fmla="*/ 129467 w 375785"/>
                <a:gd name="connsiteY94" fmla="*/ 566392 h 720392"/>
                <a:gd name="connsiteX95" fmla="*/ 135840 w 375785"/>
                <a:gd name="connsiteY95" fmla="*/ 580630 h 720392"/>
                <a:gd name="connsiteX96" fmla="*/ 162183 w 375785"/>
                <a:gd name="connsiteY96" fmla="*/ 579962 h 720392"/>
                <a:gd name="connsiteX97" fmla="*/ 162183 w 375785"/>
                <a:gd name="connsiteY97" fmla="*/ 585543 h 720392"/>
                <a:gd name="connsiteX98" fmla="*/ 143430 w 375785"/>
                <a:gd name="connsiteY98" fmla="*/ 591393 h 720392"/>
                <a:gd name="connsiteX99" fmla="*/ 120984 w 375785"/>
                <a:gd name="connsiteY99" fmla="*/ 603626 h 720392"/>
                <a:gd name="connsiteX100" fmla="*/ 142984 w 375785"/>
                <a:gd name="connsiteY100" fmla="*/ 602188 h 720392"/>
                <a:gd name="connsiteX101" fmla="*/ 150330 w 375785"/>
                <a:gd name="connsiteY101" fmla="*/ 597442 h 720392"/>
                <a:gd name="connsiteX102" fmla="*/ 145784 w 375785"/>
                <a:gd name="connsiteY102" fmla="*/ 608138 h 720392"/>
                <a:gd name="connsiteX103" fmla="*/ 137301 w 375785"/>
                <a:gd name="connsiteY103" fmla="*/ 623479 h 720392"/>
                <a:gd name="connsiteX104" fmla="*/ 147002 w 375785"/>
                <a:gd name="connsiteY104" fmla="*/ 627824 h 720392"/>
                <a:gd name="connsiteX105" fmla="*/ 149884 w 375785"/>
                <a:gd name="connsiteY105" fmla="*/ 631735 h 720392"/>
                <a:gd name="connsiteX106" fmla="*/ 156825 w 375785"/>
                <a:gd name="connsiteY106" fmla="*/ 623312 h 720392"/>
                <a:gd name="connsiteX107" fmla="*/ 166079 w 375785"/>
                <a:gd name="connsiteY107" fmla="*/ 618499 h 720392"/>
                <a:gd name="connsiteX108" fmla="*/ 165470 w 375785"/>
                <a:gd name="connsiteY108" fmla="*/ 642096 h 720392"/>
                <a:gd name="connsiteX109" fmla="*/ 156906 w 375785"/>
                <a:gd name="connsiteY109" fmla="*/ 652123 h 720392"/>
                <a:gd name="connsiteX110" fmla="*/ 161858 w 375785"/>
                <a:gd name="connsiteY110" fmla="*/ 653761 h 720392"/>
                <a:gd name="connsiteX111" fmla="*/ 161493 w 375785"/>
                <a:gd name="connsiteY111" fmla="*/ 660680 h 720392"/>
                <a:gd name="connsiteX112" fmla="*/ 173426 w 375785"/>
                <a:gd name="connsiteY112" fmla="*/ 656101 h 720392"/>
                <a:gd name="connsiteX113" fmla="*/ 193193 w 375785"/>
                <a:gd name="connsiteY113" fmla="*/ 652758 h 720392"/>
                <a:gd name="connsiteX114" fmla="*/ 185075 w 375785"/>
                <a:gd name="connsiteY114" fmla="*/ 667465 h 720392"/>
                <a:gd name="connsiteX115" fmla="*/ 191488 w 375785"/>
                <a:gd name="connsiteY115" fmla="*/ 664356 h 720392"/>
                <a:gd name="connsiteX116" fmla="*/ 201514 w 375785"/>
                <a:gd name="connsiteY116" fmla="*/ 666161 h 720392"/>
                <a:gd name="connsiteX117" fmla="*/ 207359 w 375785"/>
                <a:gd name="connsiteY117" fmla="*/ 657070 h 720392"/>
                <a:gd name="connsiteX118" fmla="*/ 221241 w 375785"/>
                <a:gd name="connsiteY118" fmla="*/ 661582 h 720392"/>
                <a:gd name="connsiteX119" fmla="*/ 200134 w 375785"/>
                <a:gd name="connsiteY119" fmla="*/ 672579 h 720392"/>
                <a:gd name="connsiteX120" fmla="*/ 206791 w 375785"/>
                <a:gd name="connsiteY120" fmla="*/ 683408 h 720392"/>
                <a:gd name="connsiteX121" fmla="*/ 223229 w 375785"/>
                <a:gd name="connsiteY121" fmla="*/ 669236 h 720392"/>
                <a:gd name="connsiteX122" fmla="*/ 242753 w 375785"/>
                <a:gd name="connsiteY122" fmla="*/ 664122 h 720392"/>
                <a:gd name="connsiteX123" fmla="*/ 245594 w 375785"/>
                <a:gd name="connsiteY123" fmla="*/ 668935 h 720392"/>
                <a:gd name="connsiteX124" fmla="*/ 234230 w 375785"/>
                <a:gd name="connsiteY124" fmla="*/ 676356 h 720392"/>
                <a:gd name="connsiteX125" fmla="*/ 217994 w 375785"/>
                <a:gd name="connsiteY125" fmla="*/ 681636 h 720392"/>
                <a:gd name="connsiteX126" fmla="*/ 227045 w 375785"/>
                <a:gd name="connsiteY126" fmla="*/ 687686 h 720392"/>
                <a:gd name="connsiteX127" fmla="*/ 259517 w 375785"/>
                <a:gd name="connsiteY127" fmla="*/ 670673 h 720392"/>
                <a:gd name="connsiteX128" fmla="*/ 252982 w 375785"/>
                <a:gd name="connsiteY128" fmla="*/ 681703 h 720392"/>
                <a:gd name="connsiteX129" fmla="*/ 238776 w 375785"/>
                <a:gd name="connsiteY129" fmla="*/ 693602 h 720392"/>
                <a:gd name="connsiteX130" fmla="*/ 217141 w 375785"/>
                <a:gd name="connsiteY130" fmla="*/ 706437 h 720392"/>
                <a:gd name="connsiteX131" fmla="*/ 237193 w 375785"/>
                <a:gd name="connsiteY131" fmla="*/ 705935 h 720392"/>
                <a:gd name="connsiteX132" fmla="*/ 259354 w 375785"/>
                <a:gd name="connsiteY132" fmla="*/ 702894 h 720392"/>
                <a:gd name="connsiteX133" fmla="*/ 249004 w 375785"/>
                <a:gd name="connsiteY133" fmla="*/ 698783 h 720392"/>
                <a:gd name="connsiteX134" fmla="*/ 270557 w 375785"/>
                <a:gd name="connsiteY134" fmla="*/ 689224 h 720392"/>
                <a:gd name="connsiteX135" fmla="*/ 267716 w 375785"/>
                <a:gd name="connsiteY135" fmla="*/ 671542 h 720392"/>
                <a:gd name="connsiteX136" fmla="*/ 286265 w 375785"/>
                <a:gd name="connsiteY136" fmla="*/ 655031 h 720392"/>
                <a:gd name="connsiteX137" fmla="*/ 282897 w 375785"/>
                <a:gd name="connsiteY137" fmla="*/ 665559 h 720392"/>
                <a:gd name="connsiteX138" fmla="*/ 287605 w 375785"/>
                <a:gd name="connsiteY138" fmla="*/ 676356 h 720392"/>
                <a:gd name="connsiteX139" fmla="*/ 303841 w 375785"/>
                <a:gd name="connsiteY139" fmla="*/ 670606 h 720392"/>
                <a:gd name="connsiteX140" fmla="*/ 296048 w 375785"/>
                <a:gd name="connsiteY140" fmla="*/ 679397 h 720392"/>
                <a:gd name="connsiteX141" fmla="*/ 302948 w 375785"/>
                <a:gd name="connsiteY141" fmla="*/ 689658 h 720392"/>
                <a:gd name="connsiteX142" fmla="*/ 292232 w 375785"/>
                <a:gd name="connsiteY142" fmla="*/ 688054 h 720392"/>
                <a:gd name="connsiteX143" fmla="*/ 288173 w 375785"/>
                <a:gd name="connsiteY143" fmla="*/ 696877 h 720392"/>
                <a:gd name="connsiteX144" fmla="*/ 269948 w 375785"/>
                <a:gd name="connsiteY144" fmla="*/ 693535 h 720392"/>
                <a:gd name="connsiteX145" fmla="*/ 271247 w 375785"/>
                <a:gd name="connsiteY145" fmla="*/ 703897 h 720392"/>
                <a:gd name="connsiteX146" fmla="*/ 265199 w 375785"/>
                <a:gd name="connsiteY146" fmla="*/ 713689 h 720392"/>
                <a:gd name="connsiteX147" fmla="*/ 286874 w 375785"/>
                <a:gd name="connsiteY147" fmla="*/ 710815 h 720392"/>
                <a:gd name="connsiteX148" fmla="*/ 299985 w 375785"/>
                <a:gd name="connsiteY148" fmla="*/ 718937 h 720392"/>
                <a:gd name="connsiteX149" fmla="*/ 297955 w 375785"/>
                <a:gd name="connsiteY149" fmla="*/ 706403 h 720392"/>
                <a:gd name="connsiteX150" fmla="*/ 328520 w 375785"/>
                <a:gd name="connsiteY150" fmla="*/ 714392 h 720392"/>
                <a:gd name="connsiteX151" fmla="*/ 326368 w 375785"/>
                <a:gd name="connsiteY151" fmla="*/ 707406 h 720392"/>
                <a:gd name="connsiteX152" fmla="*/ 340980 w 375785"/>
                <a:gd name="connsiteY152" fmla="*/ 709077 h 720392"/>
                <a:gd name="connsiteX153" fmla="*/ 356851 w 375785"/>
                <a:gd name="connsiteY153" fmla="*/ 711918 h 720392"/>
                <a:gd name="connsiteX154" fmla="*/ 344309 w 375785"/>
                <a:gd name="connsiteY154" fmla="*/ 701690 h 720392"/>
                <a:gd name="connsiteX155" fmla="*/ 364401 w 375785"/>
                <a:gd name="connsiteY155" fmla="*/ 699050 h 720392"/>
                <a:gd name="connsiteX156" fmla="*/ 375725 w 375785"/>
                <a:gd name="connsiteY156" fmla="*/ 691797 h 720392"/>
                <a:gd name="connsiteX157" fmla="*/ 336759 w 375785"/>
                <a:gd name="connsiteY157" fmla="*/ 698916 h 720392"/>
                <a:gd name="connsiteX158" fmla="*/ 320889 w 375785"/>
                <a:gd name="connsiteY158" fmla="*/ 662150 h 720392"/>
                <a:gd name="connsiteX159" fmla="*/ 315693 w 375785"/>
                <a:gd name="connsiteY159" fmla="*/ 648112 h 720392"/>
                <a:gd name="connsiteX160" fmla="*/ 294546 w 375785"/>
                <a:gd name="connsiteY160" fmla="*/ 650218 h 720392"/>
                <a:gd name="connsiteX161" fmla="*/ 290933 w 375785"/>
                <a:gd name="connsiteY161" fmla="*/ 643533 h 720392"/>
                <a:gd name="connsiteX162" fmla="*/ 272465 w 375785"/>
                <a:gd name="connsiteY162" fmla="*/ 644737 h 720392"/>
                <a:gd name="connsiteX163" fmla="*/ 242672 w 375785"/>
                <a:gd name="connsiteY163" fmla="*/ 655232 h 7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375785" h="720392">
                  <a:moveTo>
                    <a:pt x="242469" y="655867"/>
                  </a:moveTo>
                  <a:cubicBezTo>
                    <a:pt x="234717" y="659209"/>
                    <a:pt x="223920" y="648614"/>
                    <a:pt x="222174" y="644670"/>
                  </a:cubicBezTo>
                  <a:cubicBezTo>
                    <a:pt x="216979" y="633540"/>
                    <a:pt x="220713" y="630298"/>
                    <a:pt x="202975" y="635077"/>
                  </a:cubicBezTo>
                  <a:cubicBezTo>
                    <a:pt x="198104" y="636381"/>
                    <a:pt x="194127" y="636882"/>
                    <a:pt x="193193" y="632470"/>
                  </a:cubicBezTo>
                  <a:cubicBezTo>
                    <a:pt x="191813" y="626187"/>
                    <a:pt x="182315" y="625117"/>
                    <a:pt x="181016" y="618065"/>
                  </a:cubicBezTo>
                  <a:cubicBezTo>
                    <a:pt x="180123" y="614187"/>
                    <a:pt x="179880" y="610244"/>
                    <a:pt x="180326" y="606333"/>
                  </a:cubicBezTo>
                  <a:cubicBezTo>
                    <a:pt x="181422" y="600918"/>
                    <a:pt x="191001" y="598111"/>
                    <a:pt x="190352" y="593699"/>
                  </a:cubicBezTo>
                  <a:cubicBezTo>
                    <a:pt x="189703" y="589287"/>
                    <a:pt x="193234" y="585309"/>
                    <a:pt x="192828" y="581566"/>
                  </a:cubicBezTo>
                  <a:cubicBezTo>
                    <a:pt x="192422" y="577822"/>
                    <a:pt x="181381" y="576319"/>
                    <a:pt x="185238" y="571806"/>
                  </a:cubicBezTo>
                  <a:cubicBezTo>
                    <a:pt x="188566" y="567929"/>
                    <a:pt x="183533" y="564420"/>
                    <a:pt x="186293" y="560743"/>
                  </a:cubicBezTo>
                  <a:cubicBezTo>
                    <a:pt x="191001" y="554493"/>
                    <a:pt x="193924" y="556699"/>
                    <a:pt x="190352" y="549379"/>
                  </a:cubicBezTo>
                  <a:cubicBezTo>
                    <a:pt x="188566" y="545769"/>
                    <a:pt x="195223" y="544466"/>
                    <a:pt x="192544" y="541157"/>
                  </a:cubicBezTo>
                  <a:cubicBezTo>
                    <a:pt x="188728" y="536444"/>
                    <a:pt x="187105" y="531130"/>
                    <a:pt x="183249" y="526551"/>
                  </a:cubicBezTo>
                  <a:cubicBezTo>
                    <a:pt x="178784" y="521337"/>
                    <a:pt x="184791" y="521103"/>
                    <a:pt x="187064" y="516290"/>
                  </a:cubicBezTo>
                  <a:cubicBezTo>
                    <a:pt x="189986" y="510006"/>
                    <a:pt x="174887" y="511577"/>
                    <a:pt x="172939" y="508335"/>
                  </a:cubicBezTo>
                  <a:cubicBezTo>
                    <a:pt x="170990" y="505093"/>
                    <a:pt x="187348" y="504725"/>
                    <a:pt x="186293" y="500146"/>
                  </a:cubicBezTo>
                  <a:cubicBezTo>
                    <a:pt x="184507" y="492425"/>
                    <a:pt x="174116" y="500146"/>
                    <a:pt x="168677" y="498809"/>
                  </a:cubicBezTo>
                  <a:cubicBezTo>
                    <a:pt x="160194" y="496603"/>
                    <a:pt x="170625" y="489518"/>
                    <a:pt x="164983" y="486442"/>
                  </a:cubicBezTo>
                  <a:cubicBezTo>
                    <a:pt x="159341" y="483367"/>
                    <a:pt x="158448" y="475078"/>
                    <a:pt x="152238" y="474276"/>
                  </a:cubicBezTo>
                  <a:cubicBezTo>
                    <a:pt x="139777" y="472639"/>
                    <a:pt x="150249" y="454824"/>
                    <a:pt x="147936" y="449844"/>
                  </a:cubicBezTo>
                  <a:cubicBezTo>
                    <a:pt x="145622" y="444864"/>
                    <a:pt x="143024" y="438814"/>
                    <a:pt x="138397" y="435371"/>
                  </a:cubicBezTo>
                  <a:cubicBezTo>
                    <a:pt x="128574" y="428018"/>
                    <a:pt x="136773" y="424843"/>
                    <a:pt x="132877" y="416253"/>
                  </a:cubicBezTo>
                  <a:cubicBezTo>
                    <a:pt x="129589" y="408967"/>
                    <a:pt x="135353" y="408131"/>
                    <a:pt x="135759" y="402683"/>
                  </a:cubicBezTo>
                  <a:cubicBezTo>
                    <a:pt x="136043" y="398739"/>
                    <a:pt x="126098" y="392088"/>
                    <a:pt x="133080" y="388846"/>
                  </a:cubicBezTo>
                  <a:cubicBezTo>
                    <a:pt x="138438" y="386406"/>
                    <a:pt x="144242" y="383297"/>
                    <a:pt x="139412" y="378651"/>
                  </a:cubicBezTo>
                  <a:cubicBezTo>
                    <a:pt x="134582" y="374005"/>
                    <a:pt x="132633" y="374941"/>
                    <a:pt x="129467" y="368825"/>
                  </a:cubicBezTo>
                  <a:cubicBezTo>
                    <a:pt x="122567" y="355288"/>
                    <a:pt x="115180" y="347434"/>
                    <a:pt x="129792" y="333797"/>
                  </a:cubicBezTo>
                  <a:cubicBezTo>
                    <a:pt x="133851" y="329853"/>
                    <a:pt x="130198" y="326377"/>
                    <a:pt x="127438" y="323101"/>
                  </a:cubicBezTo>
                  <a:cubicBezTo>
                    <a:pt x="122202" y="316885"/>
                    <a:pt x="122526" y="315949"/>
                    <a:pt x="124434" y="309331"/>
                  </a:cubicBezTo>
                  <a:cubicBezTo>
                    <a:pt x="125652" y="305086"/>
                    <a:pt x="125327" y="299471"/>
                    <a:pt x="126139" y="295092"/>
                  </a:cubicBezTo>
                  <a:cubicBezTo>
                    <a:pt x="127397" y="287973"/>
                    <a:pt x="125692" y="279450"/>
                    <a:pt x="118264" y="275239"/>
                  </a:cubicBezTo>
                  <a:cubicBezTo>
                    <a:pt x="110836" y="271028"/>
                    <a:pt x="110674" y="264309"/>
                    <a:pt x="103855" y="260031"/>
                  </a:cubicBezTo>
                  <a:cubicBezTo>
                    <a:pt x="96143" y="255185"/>
                    <a:pt x="88066" y="251809"/>
                    <a:pt x="88390" y="243086"/>
                  </a:cubicBezTo>
                  <a:cubicBezTo>
                    <a:pt x="88390" y="239743"/>
                    <a:pt x="92125" y="238373"/>
                    <a:pt x="91638" y="234295"/>
                  </a:cubicBezTo>
                  <a:cubicBezTo>
                    <a:pt x="90988" y="228546"/>
                    <a:pt x="98538" y="223867"/>
                    <a:pt x="97685" y="219555"/>
                  </a:cubicBezTo>
                  <a:cubicBezTo>
                    <a:pt x="96549" y="213572"/>
                    <a:pt x="86483" y="210698"/>
                    <a:pt x="85508" y="205083"/>
                  </a:cubicBezTo>
                  <a:cubicBezTo>
                    <a:pt x="85143" y="202843"/>
                    <a:pt x="89121" y="201741"/>
                    <a:pt x="90217" y="199835"/>
                  </a:cubicBezTo>
                  <a:cubicBezTo>
                    <a:pt x="91759" y="197095"/>
                    <a:pt x="88877" y="192683"/>
                    <a:pt x="89162" y="189808"/>
                  </a:cubicBezTo>
                  <a:cubicBezTo>
                    <a:pt x="89770" y="183391"/>
                    <a:pt x="97685" y="179246"/>
                    <a:pt x="98132" y="173297"/>
                  </a:cubicBezTo>
                  <a:cubicBezTo>
                    <a:pt x="98822" y="164507"/>
                    <a:pt x="93789" y="163002"/>
                    <a:pt x="103814" y="155081"/>
                  </a:cubicBezTo>
                  <a:cubicBezTo>
                    <a:pt x="111161" y="149265"/>
                    <a:pt x="105763" y="149366"/>
                    <a:pt x="101298" y="145488"/>
                  </a:cubicBezTo>
                  <a:cubicBezTo>
                    <a:pt x="98132" y="142781"/>
                    <a:pt x="104099" y="137099"/>
                    <a:pt x="98497" y="132487"/>
                  </a:cubicBezTo>
                  <a:cubicBezTo>
                    <a:pt x="91313" y="126571"/>
                    <a:pt x="85427" y="113736"/>
                    <a:pt x="93667" y="105982"/>
                  </a:cubicBezTo>
                  <a:cubicBezTo>
                    <a:pt x="109456" y="91142"/>
                    <a:pt x="113272" y="87098"/>
                    <a:pt x="107671" y="69784"/>
                  </a:cubicBezTo>
                  <a:cubicBezTo>
                    <a:pt x="89933" y="85126"/>
                    <a:pt x="93626" y="70720"/>
                    <a:pt x="83682" y="63300"/>
                  </a:cubicBezTo>
                  <a:cubicBezTo>
                    <a:pt x="78568" y="59523"/>
                    <a:pt x="74468" y="57852"/>
                    <a:pt x="70937" y="52939"/>
                  </a:cubicBezTo>
                  <a:cubicBezTo>
                    <a:pt x="67406" y="48025"/>
                    <a:pt x="58395" y="49229"/>
                    <a:pt x="52956" y="45753"/>
                  </a:cubicBezTo>
                  <a:cubicBezTo>
                    <a:pt x="46299" y="41508"/>
                    <a:pt x="55959" y="23793"/>
                    <a:pt x="48450" y="22356"/>
                  </a:cubicBezTo>
                  <a:cubicBezTo>
                    <a:pt x="27303" y="18613"/>
                    <a:pt x="31483" y="3137"/>
                    <a:pt x="9606" y="-339"/>
                  </a:cubicBezTo>
                  <a:cubicBezTo>
                    <a:pt x="10296" y="-339"/>
                    <a:pt x="6156" y="14668"/>
                    <a:pt x="3639" y="16373"/>
                  </a:cubicBezTo>
                  <a:cubicBezTo>
                    <a:pt x="-4479" y="22356"/>
                    <a:pt x="2624" y="31080"/>
                    <a:pt x="7292" y="36093"/>
                  </a:cubicBezTo>
                  <a:cubicBezTo>
                    <a:pt x="17646" y="47658"/>
                    <a:pt x="24080" y="61295"/>
                    <a:pt x="25923" y="75567"/>
                  </a:cubicBezTo>
                  <a:cubicBezTo>
                    <a:pt x="27075" y="84591"/>
                    <a:pt x="27372" y="93648"/>
                    <a:pt x="26816" y="102706"/>
                  </a:cubicBezTo>
                  <a:cubicBezTo>
                    <a:pt x="26329" y="108756"/>
                    <a:pt x="34568" y="106784"/>
                    <a:pt x="33351" y="112734"/>
                  </a:cubicBezTo>
                  <a:cubicBezTo>
                    <a:pt x="31971" y="119418"/>
                    <a:pt x="38343" y="127005"/>
                    <a:pt x="40982" y="132788"/>
                  </a:cubicBezTo>
                  <a:cubicBezTo>
                    <a:pt x="45041" y="141478"/>
                    <a:pt x="44675" y="151438"/>
                    <a:pt x="45041" y="160763"/>
                  </a:cubicBezTo>
                  <a:cubicBezTo>
                    <a:pt x="45406" y="167080"/>
                    <a:pt x="47638" y="173598"/>
                    <a:pt x="46542" y="180015"/>
                  </a:cubicBezTo>
                  <a:cubicBezTo>
                    <a:pt x="45203" y="187636"/>
                    <a:pt x="51616" y="194521"/>
                    <a:pt x="47638" y="202008"/>
                  </a:cubicBezTo>
                  <a:cubicBezTo>
                    <a:pt x="43660" y="209495"/>
                    <a:pt x="40251" y="210899"/>
                    <a:pt x="49424" y="216213"/>
                  </a:cubicBezTo>
                  <a:cubicBezTo>
                    <a:pt x="57542" y="220992"/>
                    <a:pt x="62981" y="223900"/>
                    <a:pt x="58922" y="232457"/>
                  </a:cubicBezTo>
                  <a:cubicBezTo>
                    <a:pt x="53077" y="244857"/>
                    <a:pt x="69151" y="261836"/>
                    <a:pt x="73129" y="273534"/>
                  </a:cubicBezTo>
                  <a:cubicBezTo>
                    <a:pt x="76295" y="284464"/>
                    <a:pt x="76968" y="295828"/>
                    <a:pt x="75117" y="306958"/>
                  </a:cubicBezTo>
                  <a:cubicBezTo>
                    <a:pt x="74022" y="315681"/>
                    <a:pt x="77350" y="324104"/>
                    <a:pt x="76335" y="332995"/>
                  </a:cubicBezTo>
                  <a:cubicBezTo>
                    <a:pt x="75320" y="341885"/>
                    <a:pt x="73088" y="350943"/>
                    <a:pt x="72926" y="359734"/>
                  </a:cubicBezTo>
                  <a:cubicBezTo>
                    <a:pt x="72926" y="362307"/>
                    <a:pt x="73697" y="366686"/>
                    <a:pt x="71018" y="369159"/>
                  </a:cubicBezTo>
                  <a:cubicBezTo>
                    <a:pt x="68339" y="371633"/>
                    <a:pt x="64605" y="371165"/>
                    <a:pt x="64077" y="374340"/>
                  </a:cubicBezTo>
                  <a:cubicBezTo>
                    <a:pt x="63549" y="377515"/>
                    <a:pt x="67568" y="381024"/>
                    <a:pt x="70571" y="383297"/>
                  </a:cubicBezTo>
                  <a:cubicBezTo>
                    <a:pt x="76498" y="387509"/>
                    <a:pt x="74955" y="394060"/>
                    <a:pt x="78689" y="399040"/>
                  </a:cubicBezTo>
                  <a:cubicBezTo>
                    <a:pt x="85062" y="407296"/>
                    <a:pt x="91353" y="407663"/>
                    <a:pt x="91435" y="418392"/>
                  </a:cubicBezTo>
                  <a:cubicBezTo>
                    <a:pt x="91435" y="426380"/>
                    <a:pt x="91678" y="434101"/>
                    <a:pt x="91678" y="442089"/>
                  </a:cubicBezTo>
                  <a:cubicBezTo>
                    <a:pt x="91678" y="449376"/>
                    <a:pt x="103327" y="455459"/>
                    <a:pt x="102069" y="461341"/>
                  </a:cubicBezTo>
                  <a:cubicBezTo>
                    <a:pt x="101623" y="463480"/>
                    <a:pt x="98457" y="463547"/>
                    <a:pt x="96793" y="464918"/>
                  </a:cubicBezTo>
                  <a:cubicBezTo>
                    <a:pt x="93626" y="467558"/>
                    <a:pt x="94601" y="472304"/>
                    <a:pt x="95047" y="475145"/>
                  </a:cubicBezTo>
                  <a:cubicBezTo>
                    <a:pt x="95697" y="479424"/>
                    <a:pt x="96103" y="491857"/>
                    <a:pt x="101826" y="494197"/>
                  </a:cubicBezTo>
                  <a:cubicBezTo>
                    <a:pt x="105235" y="495634"/>
                    <a:pt x="114327" y="491590"/>
                    <a:pt x="115586" y="488949"/>
                  </a:cubicBezTo>
                  <a:cubicBezTo>
                    <a:pt x="119645" y="480025"/>
                    <a:pt x="102150" y="468093"/>
                    <a:pt x="108360" y="460405"/>
                  </a:cubicBezTo>
                  <a:cubicBezTo>
                    <a:pt x="109781" y="458601"/>
                    <a:pt x="114571" y="449777"/>
                    <a:pt x="118305" y="450044"/>
                  </a:cubicBezTo>
                  <a:cubicBezTo>
                    <a:pt x="120619" y="450044"/>
                    <a:pt x="120537" y="453386"/>
                    <a:pt x="121715" y="454523"/>
                  </a:cubicBezTo>
                  <a:cubicBezTo>
                    <a:pt x="123866" y="456328"/>
                    <a:pt x="128331" y="454189"/>
                    <a:pt x="130685" y="456227"/>
                  </a:cubicBezTo>
                  <a:cubicBezTo>
                    <a:pt x="133648" y="458801"/>
                    <a:pt x="127316" y="462010"/>
                    <a:pt x="127316" y="464784"/>
                  </a:cubicBezTo>
                  <a:cubicBezTo>
                    <a:pt x="127316" y="467558"/>
                    <a:pt x="131375" y="470165"/>
                    <a:pt x="132714" y="472939"/>
                  </a:cubicBezTo>
                  <a:cubicBezTo>
                    <a:pt x="134054" y="475714"/>
                    <a:pt x="131050" y="480192"/>
                    <a:pt x="130644" y="483535"/>
                  </a:cubicBezTo>
                  <a:cubicBezTo>
                    <a:pt x="129995" y="488214"/>
                    <a:pt x="136773" y="490721"/>
                    <a:pt x="134703" y="495066"/>
                  </a:cubicBezTo>
                  <a:cubicBezTo>
                    <a:pt x="132633" y="499411"/>
                    <a:pt x="136814" y="510106"/>
                    <a:pt x="140548" y="512747"/>
                  </a:cubicBezTo>
                  <a:cubicBezTo>
                    <a:pt x="144973" y="515855"/>
                    <a:pt x="136855" y="517660"/>
                    <a:pt x="141969" y="521972"/>
                  </a:cubicBezTo>
                  <a:cubicBezTo>
                    <a:pt x="149072" y="527988"/>
                    <a:pt x="148504" y="526618"/>
                    <a:pt x="140142" y="531297"/>
                  </a:cubicBezTo>
                  <a:cubicBezTo>
                    <a:pt x="131781" y="535976"/>
                    <a:pt x="150939" y="546170"/>
                    <a:pt x="139209" y="545970"/>
                  </a:cubicBezTo>
                  <a:cubicBezTo>
                    <a:pt x="114124" y="545569"/>
                    <a:pt x="139980" y="532601"/>
                    <a:pt x="131091" y="524512"/>
                  </a:cubicBezTo>
                  <a:cubicBezTo>
                    <a:pt x="123825" y="518028"/>
                    <a:pt x="106494" y="522841"/>
                    <a:pt x="120822" y="527854"/>
                  </a:cubicBezTo>
                  <a:cubicBezTo>
                    <a:pt x="140427" y="534907"/>
                    <a:pt x="115788" y="534773"/>
                    <a:pt x="118914" y="540121"/>
                  </a:cubicBezTo>
                  <a:cubicBezTo>
                    <a:pt x="122770" y="546605"/>
                    <a:pt x="100121" y="549981"/>
                    <a:pt x="113353" y="556031"/>
                  </a:cubicBezTo>
                  <a:cubicBezTo>
                    <a:pt x="116966" y="557702"/>
                    <a:pt x="109862" y="561512"/>
                    <a:pt x="108320" y="563384"/>
                  </a:cubicBezTo>
                  <a:cubicBezTo>
                    <a:pt x="106777" y="565255"/>
                    <a:pt x="103125" y="579226"/>
                    <a:pt x="109862" y="573946"/>
                  </a:cubicBezTo>
                  <a:cubicBezTo>
                    <a:pt x="112826" y="571606"/>
                    <a:pt x="108036" y="565456"/>
                    <a:pt x="116884" y="566392"/>
                  </a:cubicBezTo>
                  <a:cubicBezTo>
                    <a:pt x="124637" y="567227"/>
                    <a:pt x="121593" y="570469"/>
                    <a:pt x="129467" y="566392"/>
                  </a:cubicBezTo>
                  <a:cubicBezTo>
                    <a:pt x="148625" y="556565"/>
                    <a:pt x="135353" y="578357"/>
                    <a:pt x="135840" y="580630"/>
                  </a:cubicBezTo>
                  <a:cubicBezTo>
                    <a:pt x="138722" y="594267"/>
                    <a:pt x="153537" y="575650"/>
                    <a:pt x="162183" y="579962"/>
                  </a:cubicBezTo>
                  <a:cubicBezTo>
                    <a:pt x="163725" y="580730"/>
                    <a:pt x="166972" y="586947"/>
                    <a:pt x="162183" y="585543"/>
                  </a:cubicBezTo>
                  <a:cubicBezTo>
                    <a:pt x="149397" y="581700"/>
                    <a:pt x="151670" y="586914"/>
                    <a:pt x="143430" y="591393"/>
                  </a:cubicBezTo>
                  <a:cubicBezTo>
                    <a:pt x="135190" y="595871"/>
                    <a:pt x="123338" y="592161"/>
                    <a:pt x="120984" y="603626"/>
                  </a:cubicBezTo>
                  <a:cubicBezTo>
                    <a:pt x="119645" y="610310"/>
                    <a:pt x="140832" y="613887"/>
                    <a:pt x="142984" y="602188"/>
                  </a:cubicBezTo>
                  <a:cubicBezTo>
                    <a:pt x="143349" y="600083"/>
                    <a:pt x="146677" y="595504"/>
                    <a:pt x="150330" y="597442"/>
                  </a:cubicBezTo>
                  <a:cubicBezTo>
                    <a:pt x="158042" y="601720"/>
                    <a:pt x="149681" y="605063"/>
                    <a:pt x="145784" y="608138"/>
                  </a:cubicBezTo>
                  <a:cubicBezTo>
                    <a:pt x="141888" y="611213"/>
                    <a:pt x="140751" y="619469"/>
                    <a:pt x="137301" y="623479"/>
                  </a:cubicBezTo>
                  <a:cubicBezTo>
                    <a:pt x="129792" y="632270"/>
                    <a:pt x="145419" y="627523"/>
                    <a:pt x="147002" y="627824"/>
                  </a:cubicBezTo>
                  <a:cubicBezTo>
                    <a:pt x="148585" y="628125"/>
                    <a:pt x="148179" y="631167"/>
                    <a:pt x="149884" y="631735"/>
                  </a:cubicBezTo>
                  <a:cubicBezTo>
                    <a:pt x="156622" y="634543"/>
                    <a:pt x="160234" y="626655"/>
                    <a:pt x="156825" y="623312"/>
                  </a:cubicBezTo>
                  <a:cubicBezTo>
                    <a:pt x="148057" y="614722"/>
                    <a:pt x="168555" y="608238"/>
                    <a:pt x="166079" y="618499"/>
                  </a:cubicBezTo>
                  <a:cubicBezTo>
                    <a:pt x="164658" y="624382"/>
                    <a:pt x="170788" y="638119"/>
                    <a:pt x="165470" y="642096"/>
                  </a:cubicBezTo>
                  <a:cubicBezTo>
                    <a:pt x="166079" y="641662"/>
                    <a:pt x="159707" y="655131"/>
                    <a:pt x="156906" y="652123"/>
                  </a:cubicBezTo>
                  <a:cubicBezTo>
                    <a:pt x="158651" y="652424"/>
                    <a:pt x="160356" y="652959"/>
                    <a:pt x="161858" y="653761"/>
                  </a:cubicBezTo>
                  <a:cubicBezTo>
                    <a:pt x="163522" y="655733"/>
                    <a:pt x="161087" y="658507"/>
                    <a:pt x="161493" y="660680"/>
                  </a:cubicBezTo>
                  <a:cubicBezTo>
                    <a:pt x="162629" y="666462"/>
                    <a:pt x="170869" y="656201"/>
                    <a:pt x="173426" y="656101"/>
                  </a:cubicBezTo>
                  <a:cubicBezTo>
                    <a:pt x="178662" y="655833"/>
                    <a:pt x="190230" y="648748"/>
                    <a:pt x="193193" y="652758"/>
                  </a:cubicBezTo>
                  <a:cubicBezTo>
                    <a:pt x="194330" y="654296"/>
                    <a:pt x="180691" y="667732"/>
                    <a:pt x="185075" y="667465"/>
                  </a:cubicBezTo>
                  <a:cubicBezTo>
                    <a:pt x="187389" y="666696"/>
                    <a:pt x="189540" y="665660"/>
                    <a:pt x="191488" y="664356"/>
                  </a:cubicBezTo>
                  <a:cubicBezTo>
                    <a:pt x="197130" y="661515"/>
                    <a:pt x="197130" y="665192"/>
                    <a:pt x="201514" y="666161"/>
                  </a:cubicBezTo>
                  <a:cubicBezTo>
                    <a:pt x="207684" y="667532"/>
                    <a:pt x="202772" y="658374"/>
                    <a:pt x="207359" y="657070"/>
                  </a:cubicBezTo>
                  <a:cubicBezTo>
                    <a:pt x="211174" y="656000"/>
                    <a:pt x="222337" y="657070"/>
                    <a:pt x="221241" y="661582"/>
                  </a:cubicBezTo>
                  <a:cubicBezTo>
                    <a:pt x="219414" y="669036"/>
                    <a:pt x="205979" y="668835"/>
                    <a:pt x="200134" y="672579"/>
                  </a:cubicBezTo>
                  <a:cubicBezTo>
                    <a:pt x="194289" y="676322"/>
                    <a:pt x="199403" y="684778"/>
                    <a:pt x="206791" y="683408"/>
                  </a:cubicBezTo>
                  <a:cubicBezTo>
                    <a:pt x="214178" y="682037"/>
                    <a:pt x="216004" y="672378"/>
                    <a:pt x="223229" y="669236"/>
                  </a:cubicBezTo>
                  <a:cubicBezTo>
                    <a:pt x="229318" y="666596"/>
                    <a:pt x="235934" y="664858"/>
                    <a:pt x="242753" y="664122"/>
                  </a:cubicBezTo>
                  <a:cubicBezTo>
                    <a:pt x="249126" y="663487"/>
                    <a:pt x="253956" y="666462"/>
                    <a:pt x="245594" y="668935"/>
                  </a:cubicBezTo>
                  <a:cubicBezTo>
                    <a:pt x="238694" y="670941"/>
                    <a:pt x="239384" y="673080"/>
                    <a:pt x="234230" y="676356"/>
                  </a:cubicBezTo>
                  <a:cubicBezTo>
                    <a:pt x="227816" y="680433"/>
                    <a:pt x="222580" y="675720"/>
                    <a:pt x="217994" y="681636"/>
                  </a:cubicBezTo>
                  <a:cubicBezTo>
                    <a:pt x="210200" y="691229"/>
                    <a:pt x="219576" y="699852"/>
                    <a:pt x="227045" y="687686"/>
                  </a:cubicBezTo>
                  <a:cubicBezTo>
                    <a:pt x="228953" y="684544"/>
                    <a:pt x="256432" y="668568"/>
                    <a:pt x="259517" y="670673"/>
                  </a:cubicBezTo>
                  <a:cubicBezTo>
                    <a:pt x="264631" y="674283"/>
                    <a:pt x="257609" y="679932"/>
                    <a:pt x="252982" y="681703"/>
                  </a:cubicBezTo>
                  <a:cubicBezTo>
                    <a:pt x="245432" y="684578"/>
                    <a:pt x="232403" y="682305"/>
                    <a:pt x="238776" y="693602"/>
                  </a:cubicBezTo>
                  <a:cubicBezTo>
                    <a:pt x="242226" y="699652"/>
                    <a:pt x="194817" y="695440"/>
                    <a:pt x="217141" y="706437"/>
                  </a:cubicBezTo>
                  <a:cubicBezTo>
                    <a:pt x="226355" y="710982"/>
                    <a:pt x="228101" y="707640"/>
                    <a:pt x="237193" y="705935"/>
                  </a:cubicBezTo>
                  <a:cubicBezTo>
                    <a:pt x="242753" y="704899"/>
                    <a:pt x="260004" y="713322"/>
                    <a:pt x="259354" y="702894"/>
                  </a:cubicBezTo>
                  <a:cubicBezTo>
                    <a:pt x="259354" y="699752"/>
                    <a:pt x="248557" y="704097"/>
                    <a:pt x="249004" y="698783"/>
                  </a:cubicBezTo>
                  <a:cubicBezTo>
                    <a:pt x="249532" y="692666"/>
                    <a:pt x="266052" y="695140"/>
                    <a:pt x="270557" y="689224"/>
                  </a:cubicBezTo>
                  <a:cubicBezTo>
                    <a:pt x="275956" y="682104"/>
                    <a:pt x="266498" y="678160"/>
                    <a:pt x="267716" y="671542"/>
                  </a:cubicBezTo>
                  <a:cubicBezTo>
                    <a:pt x="268609" y="665794"/>
                    <a:pt x="278838" y="656769"/>
                    <a:pt x="286265" y="655031"/>
                  </a:cubicBezTo>
                  <a:cubicBezTo>
                    <a:pt x="293693" y="653293"/>
                    <a:pt x="284236" y="664624"/>
                    <a:pt x="282897" y="665559"/>
                  </a:cubicBezTo>
                  <a:cubicBezTo>
                    <a:pt x="276686" y="669905"/>
                    <a:pt x="276199" y="677525"/>
                    <a:pt x="287605" y="676356"/>
                  </a:cubicBezTo>
                  <a:cubicBezTo>
                    <a:pt x="293247" y="675754"/>
                    <a:pt x="297631" y="668601"/>
                    <a:pt x="303841" y="670606"/>
                  </a:cubicBezTo>
                  <a:cubicBezTo>
                    <a:pt x="310051" y="672612"/>
                    <a:pt x="297671" y="677626"/>
                    <a:pt x="296048" y="679397"/>
                  </a:cubicBezTo>
                  <a:cubicBezTo>
                    <a:pt x="291258" y="684544"/>
                    <a:pt x="303029" y="685480"/>
                    <a:pt x="302948" y="689658"/>
                  </a:cubicBezTo>
                  <a:cubicBezTo>
                    <a:pt x="302745" y="697980"/>
                    <a:pt x="293572" y="690126"/>
                    <a:pt x="292232" y="688054"/>
                  </a:cubicBezTo>
                  <a:cubicBezTo>
                    <a:pt x="280055" y="669270"/>
                    <a:pt x="281476" y="699016"/>
                    <a:pt x="288173" y="696877"/>
                  </a:cubicBezTo>
                  <a:cubicBezTo>
                    <a:pt x="282125" y="698783"/>
                    <a:pt x="275996" y="691329"/>
                    <a:pt x="269948" y="693535"/>
                  </a:cubicBezTo>
                  <a:cubicBezTo>
                    <a:pt x="259720" y="697145"/>
                    <a:pt x="276930" y="701590"/>
                    <a:pt x="271247" y="703897"/>
                  </a:cubicBezTo>
                  <a:cubicBezTo>
                    <a:pt x="267188" y="705434"/>
                    <a:pt x="257487" y="710147"/>
                    <a:pt x="265199" y="713689"/>
                  </a:cubicBezTo>
                  <a:cubicBezTo>
                    <a:pt x="271044" y="716363"/>
                    <a:pt x="279122" y="704331"/>
                    <a:pt x="286874" y="710815"/>
                  </a:cubicBezTo>
                  <a:cubicBezTo>
                    <a:pt x="287524" y="711316"/>
                    <a:pt x="299051" y="723783"/>
                    <a:pt x="299985" y="718937"/>
                  </a:cubicBezTo>
                  <a:cubicBezTo>
                    <a:pt x="301000" y="714726"/>
                    <a:pt x="295682" y="710715"/>
                    <a:pt x="297955" y="706403"/>
                  </a:cubicBezTo>
                  <a:cubicBezTo>
                    <a:pt x="300228" y="702092"/>
                    <a:pt x="317641" y="722346"/>
                    <a:pt x="328520" y="714392"/>
                  </a:cubicBezTo>
                  <a:cubicBezTo>
                    <a:pt x="329209" y="713890"/>
                    <a:pt x="324095" y="709879"/>
                    <a:pt x="326368" y="707406"/>
                  </a:cubicBezTo>
                  <a:cubicBezTo>
                    <a:pt x="329818" y="703662"/>
                    <a:pt x="337734" y="707707"/>
                    <a:pt x="340980" y="709077"/>
                  </a:cubicBezTo>
                  <a:cubicBezTo>
                    <a:pt x="343416" y="710113"/>
                    <a:pt x="353969" y="715595"/>
                    <a:pt x="356851" y="711918"/>
                  </a:cubicBezTo>
                  <a:cubicBezTo>
                    <a:pt x="360585" y="707272"/>
                    <a:pt x="345039" y="704365"/>
                    <a:pt x="344309" y="701690"/>
                  </a:cubicBezTo>
                  <a:cubicBezTo>
                    <a:pt x="343741" y="699585"/>
                    <a:pt x="362858" y="699217"/>
                    <a:pt x="364401" y="699050"/>
                  </a:cubicBezTo>
                  <a:cubicBezTo>
                    <a:pt x="371869" y="698181"/>
                    <a:pt x="370895" y="692031"/>
                    <a:pt x="375725" y="691797"/>
                  </a:cubicBezTo>
                  <a:cubicBezTo>
                    <a:pt x="366877" y="690326"/>
                    <a:pt x="340209" y="704231"/>
                    <a:pt x="336759" y="698916"/>
                  </a:cubicBezTo>
                  <a:cubicBezTo>
                    <a:pt x="329331" y="687619"/>
                    <a:pt x="325475" y="674350"/>
                    <a:pt x="320889" y="662150"/>
                  </a:cubicBezTo>
                  <a:cubicBezTo>
                    <a:pt x="319102" y="657471"/>
                    <a:pt x="317357" y="652792"/>
                    <a:pt x="315693" y="648112"/>
                  </a:cubicBezTo>
                  <a:cubicBezTo>
                    <a:pt x="310254" y="648781"/>
                    <a:pt x="298848" y="654998"/>
                    <a:pt x="294546" y="650218"/>
                  </a:cubicBezTo>
                  <a:cubicBezTo>
                    <a:pt x="290812" y="646040"/>
                    <a:pt x="299213" y="645038"/>
                    <a:pt x="290933" y="643533"/>
                  </a:cubicBezTo>
                  <a:cubicBezTo>
                    <a:pt x="284764" y="642531"/>
                    <a:pt x="278351" y="642932"/>
                    <a:pt x="272465" y="644737"/>
                  </a:cubicBezTo>
                  <a:cubicBezTo>
                    <a:pt x="262196" y="647577"/>
                    <a:pt x="252251" y="651087"/>
                    <a:pt x="242672" y="65523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0CC8DEBF-F884-43C5-A214-85613CB583F6}"/>
                </a:ext>
              </a:extLst>
            </p:cNvPr>
            <p:cNvSpPr/>
            <p:nvPr/>
          </p:nvSpPr>
          <p:spPr>
            <a:xfrm>
              <a:off x="4207318" y="5415883"/>
              <a:ext cx="236848" cy="135565"/>
            </a:xfrm>
            <a:custGeom>
              <a:avLst/>
              <a:gdLst>
                <a:gd name="connsiteX0" fmla="*/ 225254 w 236848"/>
                <a:gd name="connsiteY0" fmla="*/ 49930 h 135565"/>
                <a:gd name="connsiteX1" fmla="*/ 205243 w 236848"/>
                <a:gd name="connsiteY1" fmla="*/ 57952 h 135565"/>
                <a:gd name="connsiteX2" fmla="*/ 191686 w 236848"/>
                <a:gd name="connsiteY2" fmla="*/ 47925 h 135565"/>
                <a:gd name="connsiteX3" fmla="*/ 162137 w 236848"/>
                <a:gd name="connsiteY3" fmla="*/ 34555 h 135565"/>
                <a:gd name="connsiteX4" fmla="*/ 125322 w 236848"/>
                <a:gd name="connsiteY4" fmla="*/ 36427 h 135565"/>
                <a:gd name="connsiteX5" fmla="*/ 121263 w 236848"/>
                <a:gd name="connsiteY5" fmla="*/ 19715 h 135565"/>
                <a:gd name="connsiteX6" fmla="*/ 110831 w 236848"/>
                <a:gd name="connsiteY6" fmla="*/ 9688 h 135565"/>
                <a:gd name="connsiteX7" fmla="*/ 107706 w 236848"/>
                <a:gd name="connsiteY7" fmla="*/ -339 h 135565"/>
                <a:gd name="connsiteX8" fmla="*/ 83352 w 236848"/>
                <a:gd name="connsiteY8" fmla="*/ 229 h 135565"/>
                <a:gd name="connsiteX9" fmla="*/ 48689 w 236848"/>
                <a:gd name="connsiteY9" fmla="*/ 10524 h 135565"/>
                <a:gd name="connsiteX10" fmla="*/ 23645 w 236848"/>
                <a:gd name="connsiteY10" fmla="*/ 19247 h 135565"/>
                <a:gd name="connsiteX11" fmla="*/ 8058 w 236848"/>
                <a:gd name="connsiteY11" fmla="*/ 48393 h 135565"/>
                <a:gd name="connsiteX12" fmla="*/ -60 w 236848"/>
                <a:gd name="connsiteY12" fmla="*/ 71555 h 135565"/>
                <a:gd name="connsiteX13" fmla="*/ 55548 w 236848"/>
                <a:gd name="connsiteY13" fmla="*/ 87766 h 135565"/>
                <a:gd name="connsiteX14" fmla="*/ 89116 w 236848"/>
                <a:gd name="connsiteY14" fmla="*/ 87766 h 135565"/>
                <a:gd name="connsiteX15" fmla="*/ 111765 w 236848"/>
                <a:gd name="connsiteY15" fmla="*/ 92311 h 135565"/>
                <a:gd name="connsiteX16" fmla="*/ 157428 w 236848"/>
                <a:gd name="connsiteY16" fmla="*/ 94283 h 135565"/>
                <a:gd name="connsiteX17" fmla="*/ 152395 w 236848"/>
                <a:gd name="connsiteY17" fmla="*/ 107653 h 135565"/>
                <a:gd name="connsiteX18" fmla="*/ 147890 w 236848"/>
                <a:gd name="connsiteY18" fmla="*/ 128208 h 135565"/>
                <a:gd name="connsiteX19" fmla="*/ 145333 w 236848"/>
                <a:gd name="connsiteY19" fmla="*/ 135227 h 135565"/>
                <a:gd name="connsiteX20" fmla="*/ 173299 w 236848"/>
                <a:gd name="connsiteY20" fmla="*/ 131651 h 135565"/>
                <a:gd name="connsiteX21" fmla="*/ 205000 w 236848"/>
                <a:gd name="connsiteY21" fmla="*/ 122894 h 135565"/>
                <a:gd name="connsiteX22" fmla="*/ 215918 w 236848"/>
                <a:gd name="connsiteY22" fmla="*/ 118282 h 135565"/>
                <a:gd name="connsiteX23" fmla="*/ 225416 w 236848"/>
                <a:gd name="connsiteY23" fmla="*/ 110026 h 135565"/>
                <a:gd name="connsiteX24" fmla="*/ 233534 w 236848"/>
                <a:gd name="connsiteY24" fmla="*/ 81315 h 135565"/>
                <a:gd name="connsiteX25" fmla="*/ 224889 w 236848"/>
                <a:gd name="connsiteY25" fmla="*/ 49763 h 135565"/>
                <a:gd name="connsiteX26" fmla="*/ 225254 w 236848"/>
                <a:gd name="connsiteY26" fmla="*/ 49930 h 13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6848" h="135565">
                  <a:moveTo>
                    <a:pt x="225254" y="49930"/>
                  </a:moveTo>
                  <a:cubicBezTo>
                    <a:pt x="215107" y="49128"/>
                    <a:pt x="213077" y="56047"/>
                    <a:pt x="205243" y="57952"/>
                  </a:cubicBezTo>
                  <a:cubicBezTo>
                    <a:pt x="201184" y="58921"/>
                    <a:pt x="193269" y="49529"/>
                    <a:pt x="191686" y="47925"/>
                  </a:cubicBezTo>
                  <a:cubicBezTo>
                    <a:pt x="185354" y="41641"/>
                    <a:pt x="176100" y="28272"/>
                    <a:pt x="162137" y="34555"/>
                  </a:cubicBezTo>
                  <a:cubicBezTo>
                    <a:pt x="156617" y="36995"/>
                    <a:pt x="127717" y="41240"/>
                    <a:pt x="125322" y="36427"/>
                  </a:cubicBezTo>
                  <a:cubicBezTo>
                    <a:pt x="122603" y="31046"/>
                    <a:pt x="125322" y="24929"/>
                    <a:pt x="121263" y="19715"/>
                  </a:cubicBezTo>
                  <a:cubicBezTo>
                    <a:pt x="119112" y="17041"/>
                    <a:pt x="110304" y="13031"/>
                    <a:pt x="110831" y="9688"/>
                  </a:cubicBezTo>
                  <a:cubicBezTo>
                    <a:pt x="111765" y="3973"/>
                    <a:pt x="117610" y="4040"/>
                    <a:pt x="107706" y="-339"/>
                  </a:cubicBezTo>
                  <a:cubicBezTo>
                    <a:pt x="101334" y="4675"/>
                    <a:pt x="90780" y="62"/>
                    <a:pt x="83352" y="229"/>
                  </a:cubicBezTo>
                  <a:cubicBezTo>
                    <a:pt x="70891" y="1132"/>
                    <a:pt x="58958" y="4675"/>
                    <a:pt x="48689" y="10524"/>
                  </a:cubicBezTo>
                  <a:cubicBezTo>
                    <a:pt x="41869" y="15036"/>
                    <a:pt x="31235" y="15537"/>
                    <a:pt x="23645" y="19247"/>
                  </a:cubicBezTo>
                  <a:cubicBezTo>
                    <a:pt x="11021" y="24929"/>
                    <a:pt x="4608" y="36895"/>
                    <a:pt x="8058" y="48393"/>
                  </a:cubicBezTo>
                  <a:cubicBezTo>
                    <a:pt x="10128" y="56816"/>
                    <a:pt x="16176" y="68447"/>
                    <a:pt x="-60" y="71555"/>
                  </a:cubicBezTo>
                  <a:cubicBezTo>
                    <a:pt x="15892" y="80914"/>
                    <a:pt x="36796" y="82150"/>
                    <a:pt x="55548" y="87766"/>
                  </a:cubicBezTo>
                  <a:cubicBezTo>
                    <a:pt x="67360" y="91309"/>
                    <a:pt x="76330" y="87766"/>
                    <a:pt x="89116" y="87766"/>
                  </a:cubicBezTo>
                  <a:cubicBezTo>
                    <a:pt x="98167" y="87766"/>
                    <a:pt x="103607" y="91409"/>
                    <a:pt x="111765" y="92311"/>
                  </a:cubicBezTo>
                  <a:cubicBezTo>
                    <a:pt x="126337" y="93949"/>
                    <a:pt x="143628" y="91142"/>
                    <a:pt x="157428" y="94283"/>
                  </a:cubicBezTo>
                  <a:cubicBezTo>
                    <a:pt x="163477" y="95654"/>
                    <a:pt x="154019" y="105313"/>
                    <a:pt x="152395" y="107653"/>
                  </a:cubicBezTo>
                  <a:cubicBezTo>
                    <a:pt x="147200" y="115374"/>
                    <a:pt x="151178" y="121022"/>
                    <a:pt x="147890" y="128208"/>
                  </a:cubicBezTo>
                  <a:cubicBezTo>
                    <a:pt x="147281" y="129478"/>
                    <a:pt x="140462" y="134893"/>
                    <a:pt x="145333" y="135227"/>
                  </a:cubicBezTo>
                  <a:cubicBezTo>
                    <a:pt x="154790" y="134893"/>
                    <a:pt x="164166" y="133690"/>
                    <a:pt x="173299" y="131651"/>
                  </a:cubicBezTo>
                  <a:cubicBezTo>
                    <a:pt x="183934" y="129144"/>
                    <a:pt x="196679" y="128309"/>
                    <a:pt x="205000" y="122894"/>
                  </a:cubicBezTo>
                  <a:cubicBezTo>
                    <a:pt x="208491" y="120554"/>
                    <a:pt x="212631" y="120320"/>
                    <a:pt x="215918" y="118282"/>
                  </a:cubicBezTo>
                  <a:cubicBezTo>
                    <a:pt x="219206" y="116243"/>
                    <a:pt x="221560" y="112432"/>
                    <a:pt x="225416" y="110026"/>
                  </a:cubicBezTo>
                  <a:cubicBezTo>
                    <a:pt x="236538" y="103508"/>
                    <a:pt x="240029" y="91208"/>
                    <a:pt x="233534" y="81315"/>
                  </a:cubicBezTo>
                  <a:cubicBezTo>
                    <a:pt x="230003" y="75466"/>
                    <a:pt x="237025" y="50766"/>
                    <a:pt x="224889" y="49763"/>
                  </a:cubicBezTo>
                  <a:cubicBezTo>
                    <a:pt x="215188" y="49161"/>
                    <a:pt x="235280" y="50766"/>
                    <a:pt x="225254" y="4993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9378FCEA-DB4B-4F56-B266-93C1E69D1701}"/>
                </a:ext>
              </a:extLst>
            </p:cNvPr>
            <p:cNvSpPr/>
            <p:nvPr/>
          </p:nvSpPr>
          <p:spPr>
            <a:xfrm>
              <a:off x="3358626" y="5125365"/>
              <a:ext cx="97531" cy="35821"/>
            </a:xfrm>
            <a:custGeom>
              <a:avLst/>
              <a:gdLst>
                <a:gd name="connsiteX0" fmla="*/ 95042 w 97531"/>
                <a:gd name="connsiteY0" fmla="*/ 20885 h 35821"/>
                <a:gd name="connsiteX1" fmla="*/ 87330 w 97531"/>
                <a:gd name="connsiteY1" fmla="*/ 8017 h 35821"/>
                <a:gd name="connsiteX2" fmla="*/ 57091 w 97531"/>
                <a:gd name="connsiteY2" fmla="*/ -339 h 35821"/>
                <a:gd name="connsiteX3" fmla="*/ -60 w 97531"/>
                <a:gd name="connsiteY3" fmla="*/ 15604 h 35821"/>
                <a:gd name="connsiteX4" fmla="*/ 15649 w 97531"/>
                <a:gd name="connsiteY4" fmla="*/ 33352 h 35821"/>
                <a:gd name="connsiteX5" fmla="*/ 41383 w 97531"/>
                <a:gd name="connsiteY5" fmla="*/ 27871 h 35821"/>
                <a:gd name="connsiteX6" fmla="*/ 58836 w 97531"/>
                <a:gd name="connsiteY6" fmla="*/ 25999 h 35821"/>
                <a:gd name="connsiteX7" fmla="*/ 71500 w 97531"/>
                <a:gd name="connsiteY7" fmla="*/ 33218 h 35821"/>
                <a:gd name="connsiteX8" fmla="*/ 95042 w 97531"/>
                <a:gd name="connsiteY8" fmla="*/ 20885 h 3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1" h="35821">
                  <a:moveTo>
                    <a:pt x="95042" y="20885"/>
                  </a:moveTo>
                  <a:cubicBezTo>
                    <a:pt x="88426" y="15537"/>
                    <a:pt x="98777" y="10691"/>
                    <a:pt x="87330" y="8017"/>
                  </a:cubicBezTo>
                  <a:cubicBezTo>
                    <a:pt x="77073" y="5684"/>
                    <a:pt x="66978" y="2897"/>
                    <a:pt x="57091" y="-339"/>
                  </a:cubicBezTo>
                  <a:cubicBezTo>
                    <a:pt x="40287" y="7249"/>
                    <a:pt x="17841" y="8051"/>
                    <a:pt x="-60" y="15604"/>
                  </a:cubicBezTo>
                  <a:cubicBezTo>
                    <a:pt x="7612" y="21253"/>
                    <a:pt x="-8746" y="36126"/>
                    <a:pt x="15649" y="33352"/>
                  </a:cubicBezTo>
                  <a:cubicBezTo>
                    <a:pt x="31276" y="31581"/>
                    <a:pt x="25025" y="24662"/>
                    <a:pt x="41383" y="27871"/>
                  </a:cubicBezTo>
                  <a:cubicBezTo>
                    <a:pt x="45442" y="28673"/>
                    <a:pt x="53803" y="25732"/>
                    <a:pt x="58836" y="25999"/>
                  </a:cubicBezTo>
                  <a:cubicBezTo>
                    <a:pt x="67401" y="26434"/>
                    <a:pt x="67482" y="29542"/>
                    <a:pt x="71500" y="33218"/>
                  </a:cubicBezTo>
                  <a:cubicBezTo>
                    <a:pt x="79212" y="40238"/>
                    <a:pt x="105514" y="29475"/>
                    <a:pt x="95042" y="2088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55EFD1FB-65C5-4B19-80B2-F9B810B620EE}"/>
                </a:ext>
              </a:extLst>
            </p:cNvPr>
            <p:cNvSpPr/>
            <p:nvPr/>
          </p:nvSpPr>
          <p:spPr>
            <a:xfrm>
              <a:off x="3451569" y="5097422"/>
              <a:ext cx="161743" cy="59093"/>
            </a:xfrm>
            <a:custGeom>
              <a:avLst/>
              <a:gdLst>
                <a:gd name="connsiteX0" fmla="*/ 139658 w 161743"/>
                <a:gd name="connsiteY0" fmla="*/ 1801 h 59093"/>
                <a:gd name="connsiteX1" fmla="*/ 72928 w 161743"/>
                <a:gd name="connsiteY1" fmla="*/ 14736 h 59093"/>
                <a:gd name="connsiteX2" fmla="*/ 38589 w 161743"/>
                <a:gd name="connsiteY2" fmla="*/ 37799 h 59093"/>
                <a:gd name="connsiteX3" fmla="*/ 1166 w 161743"/>
                <a:gd name="connsiteY3" fmla="*/ 37431 h 59093"/>
                <a:gd name="connsiteX4" fmla="*/ 3114 w 161743"/>
                <a:gd name="connsiteY4" fmla="*/ 58755 h 59093"/>
                <a:gd name="connsiteX5" fmla="*/ 42527 w 161743"/>
                <a:gd name="connsiteY5" fmla="*/ 55714 h 59093"/>
                <a:gd name="connsiteX6" fmla="*/ 76095 w 161743"/>
                <a:gd name="connsiteY6" fmla="*/ 55714 h 59093"/>
                <a:gd name="connsiteX7" fmla="*/ 76622 w 161743"/>
                <a:gd name="connsiteY7" fmla="*/ 41809 h 59093"/>
                <a:gd name="connsiteX8" fmla="*/ 84740 w 161743"/>
                <a:gd name="connsiteY8" fmla="*/ 24697 h 59093"/>
                <a:gd name="connsiteX9" fmla="*/ 111042 w 161743"/>
                <a:gd name="connsiteY9" fmla="*/ 11661 h 59093"/>
                <a:gd name="connsiteX10" fmla="*/ 130079 w 161743"/>
                <a:gd name="connsiteY10" fmla="*/ 26836 h 59093"/>
                <a:gd name="connsiteX11" fmla="*/ 148263 w 161743"/>
                <a:gd name="connsiteY11" fmla="*/ 31047 h 59093"/>
                <a:gd name="connsiteX12" fmla="*/ 158938 w 161743"/>
                <a:gd name="connsiteY12" fmla="*/ 17377 h 59093"/>
                <a:gd name="connsiteX13" fmla="*/ 139739 w 161743"/>
                <a:gd name="connsiteY13" fmla="*/ 1668 h 59093"/>
                <a:gd name="connsiteX14" fmla="*/ 139658 w 161743"/>
                <a:gd name="connsiteY14" fmla="*/ 1801 h 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743" h="59093">
                  <a:moveTo>
                    <a:pt x="139658" y="1801"/>
                  </a:moveTo>
                  <a:cubicBezTo>
                    <a:pt x="123787" y="-4248"/>
                    <a:pt x="86648" y="3305"/>
                    <a:pt x="72928" y="14736"/>
                  </a:cubicBezTo>
                  <a:cubicBezTo>
                    <a:pt x="61645" y="24128"/>
                    <a:pt x="57342" y="33988"/>
                    <a:pt x="38589" y="37799"/>
                  </a:cubicBezTo>
                  <a:cubicBezTo>
                    <a:pt x="26279" y="40299"/>
                    <a:pt x="13399" y="40172"/>
                    <a:pt x="1166" y="37431"/>
                  </a:cubicBezTo>
                  <a:cubicBezTo>
                    <a:pt x="-2406" y="44116"/>
                    <a:pt x="2952" y="52137"/>
                    <a:pt x="3114" y="58755"/>
                  </a:cubicBezTo>
                  <a:cubicBezTo>
                    <a:pt x="15697" y="55413"/>
                    <a:pt x="31527" y="52839"/>
                    <a:pt x="42527" y="55714"/>
                  </a:cubicBezTo>
                  <a:cubicBezTo>
                    <a:pt x="46910" y="56850"/>
                    <a:pt x="72360" y="57719"/>
                    <a:pt x="76095" y="55714"/>
                  </a:cubicBezTo>
                  <a:cubicBezTo>
                    <a:pt x="88799" y="49330"/>
                    <a:pt x="85958" y="44316"/>
                    <a:pt x="76622" y="41809"/>
                  </a:cubicBezTo>
                  <a:cubicBezTo>
                    <a:pt x="69235" y="39771"/>
                    <a:pt x="81615" y="29242"/>
                    <a:pt x="84740" y="24697"/>
                  </a:cubicBezTo>
                  <a:cubicBezTo>
                    <a:pt x="88799" y="18747"/>
                    <a:pt x="101828" y="12397"/>
                    <a:pt x="111042" y="11661"/>
                  </a:cubicBezTo>
                  <a:cubicBezTo>
                    <a:pt x="133204" y="9957"/>
                    <a:pt x="117212" y="22223"/>
                    <a:pt x="130079" y="26836"/>
                  </a:cubicBezTo>
                  <a:cubicBezTo>
                    <a:pt x="135952" y="28737"/>
                    <a:pt x="142045" y="30148"/>
                    <a:pt x="148263" y="31047"/>
                  </a:cubicBezTo>
                  <a:cubicBezTo>
                    <a:pt x="151713" y="26468"/>
                    <a:pt x="155123" y="21855"/>
                    <a:pt x="158938" y="17377"/>
                  </a:cubicBezTo>
                  <a:cubicBezTo>
                    <a:pt x="168436" y="6247"/>
                    <a:pt x="151145" y="6013"/>
                    <a:pt x="139739" y="1668"/>
                  </a:cubicBezTo>
                  <a:cubicBezTo>
                    <a:pt x="125776" y="-3413"/>
                    <a:pt x="149075" y="5445"/>
                    <a:pt x="139658" y="18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D00017C7-F9EC-4E95-A06D-44FCCB022267}"/>
                </a:ext>
              </a:extLst>
            </p:cNvPr>
            <p:cNvSpPr/>
            <p:nvPr/>
          </p:nvSpPr>
          <p:spPr>
            <a:xfrm>
              <a:off x="3599527" y="4986948"/>
              <a:ext cx="330749" cy="257633"/>
            </a:xfrm>
            <a:custGeom>
              <a:avLst/>
              <a:gdLst>
                <a:gd name="connsiteX0" fmla="*/ 75275 w 330749"/>
                <a:gd name="connsiteY0" fmla="*/ 244366 h 257633"/>
                <a:gd name="connsiteX1" fmla="*/ 100562 w 330749"/>
                <a:gd name="connsiteY1" fmla="*/ 236544 h 257633"/>
                <a:gd name="connsiteX2" fmla="*/ 118665 w 330749"/>
                <a:gd name="connsiteY2" fmla="*/ 240388 h 257633"/>
                <a:gd name="connsiteX3" fmla="*/ 132588 w 330749"/>
                <a:gd name="connsiteY3" fmla="*/ 235442 h 257633"/>
                <a:gd name="connsiteX4" fmla="*/ 154465 w 330749"/>
                <a:gd name="connsiteY4" fmla="*/ 239352 h 257633"/>
                <a:gd name="connsiteX5" fmla="*/ 184461 w 330749"/>
                <a:gd name="connsiteY5" fmla="*/ 243998 h 257633"/>
                <a:gd name="connsiteX6" fmla="*/ 222859 w 330749"/>
                <a:gd name="connsiteY6" fmla="*/ 250014 h 257633"/>
                <a:gd name="connsiteX7" fmla="*/ 276357 w 330749"/>
                <a:gd name="connsiteY7" fmla="*/ 233703 h 257633"/>
                <a:gd name="connsiteX8" fmla="*/ 288818 w 330749"/>
                <a:gd name="connsiteY8" fmla="*/ 256532 h 257633"/>
                <a:gd name="connsiteX9" fmla="*/ 303876 w 330749"/>
                <a:gd name="connsiteY9" fmla="*/ 250850 h 257633"/>
                <a:gd name="connsiteX10" fmla="*/ 299817 w 330749"/>
                <a:gd name="connsiteY10" fmla="*/ 230261 h 257633"/>
                <a:gd name="connsiteX11" fmla="*/ 296530 w 330749"/>
                <a:gd name="connsiteY11" fmla="*/ 209271 h 257633"/>
                <a:gd name="connsiteX12" fmla="*/ 277493 w 330749"/>
                <a:gd name="connsiteY12" fmla="*/ 195901 h 257633"/>
                <a:gd name="connsiteX13" fmla="*/ 270593 w 330749"/>
                <a:gd name="connsiteY13" fmla="*/ 180192 h 257633"/>
                <a:gd name="connsiteX14" fmla="*/ 274124 w 330749"/>
                <a:gd name="connsiteY14" fmla="*/ 169330 h 257633"/>
                <a:gd name="connsiteX15" fmla="*/ 266615 w 330749"/>
                <a:gd name="connsiteY15" fmla="*/ 160038 h 257633"/>
                <a:gd name="connsiteX16" fmla="*/ 295312 w 330749"/>
                <a:gd name="connsiteY16" fmla="*/ 150947 h 257633"/>
                <a:gd name="connsiteX17" fmla="*/ 322264 w 330749"/>
                <a:gd name="connsiteY17" fmla="*/ 127316 h 257633"/>
                <a:gd name="connsiteX18" fmla="*/ 315201 w 330749"/>
                <a:gd name="connsiteY18" fmla="*/ 109167 h 257633"/>
                <a:gd name="connsiteX19" fmla="*/ 294906 w 330749"/>
                <a:gd name="connsiteY19" fmla="*/ 96399 h 257633"/>
                <a:gd name="connsiteX20" fmla="*/ 296246 w 330749"/>
                <a:gd name="connsiteY20" fmla="*/ 74273 h 257633"/>
                <a:gd name="connsiteX21" fmla="*/ 273028 w 330749"/>
                <a:gd name="connsiteY21" fmla="*/ 74607 h 257633"/>
                <a:gd name="connsiteX22" fmla="*/ 233332 w 330749"/>
                <a:gd name="connsiteY22" fmla="*/ 82930 h 257633"/>
                <a:gd name="connsiteX23" fmla="*/ 202199 w 330749"/>
                <a:gd name="connsiteY23" fmla="*/ 80724 h 257633"/>
                <a:gd name="connsiteX24" fmla="*/ 146754 w 330749"/>
                <a:gd name="connsiteY24" fmla="*/ 82997 h 257633"/>
                <a:gd name="connsiteX25" fmla="*/ 134211 w 330749"/>
                <a:gd name="connsiteY25" fmla="*/ 71666 h 257633"/>
                <a:gd name="connsiteX26" fmla="*/ 124754 w 330749"/>
                <a:gd name="connsiteY26" fmla="*/ 67354 h 257633"/>
                <a:gd name="connsiteX27" fmla="*/ 110507 w 330749"/>
                <a:gd name="connsiteY27" fmla="*/ 69627 h 257633"/>
                <a:gd name="connsiteX28" fmla="*/ 115540 w 330749"/>
                <a:gd name="connsiteY28" fmla="*/ 58330 h 257633"/>
                <a:gd name="connsiteX29" fmla="*/ 112902 w 330749"/>
                <a:gd name="connsiteY29" fmla="*/ 48303 h 257633"/>
                <a:gd name="connsiteX30" fmla="*/ 131613 w 330749"/>
                <a:gd name="connsiteY30" fmla="*/ 19726 h 257633"/>
                <a:gd name="connsiteX31" fmla="*/ 149392 w 330749"/>
                <a:gd name="connsiteY31" fmla="*/ 774 h 257633"/>
                <a:gd name="connsiteX32" fmla="*/ 123577 w 330749"/>
                <a:gd name="connsiteY32" fmla="*/ 13008 h 257633"/>
                <a:gd name="connsiteX33" fmla="*/ 109857 w 330749"/>
                <a:gd name="connsiteY33" fmla="*/ 21096 h 257633"/>
                <a:gd name="connsiteX34" fmla="*/ 95894 w 330749"/>
                <a:gd name="connsiteY34" fmla="*/ 33563 h 257633"/>
                <a:gd name="connsiteX35" fmla="*/ 69876 w 330749"/>
                <a:gd name="connsiteY35" fmla="*/ 48871 h 257633"/>
                <a:gd name="connsiteX36" fmla="*/ 43290 w 330749"/>
                <a:gd name="connsiteY36" fmla="*/ 62241 h 257633"/>
                <a:gd name="connsiteX37" fmla="*/ 38257 w 330749"/>
                <a:gd name="connsiteY37" fmla="*/ 89347 h 257633"/>
                <a:gd name="connsiteX38" fmla="*/ 19951 w 330749"/>
                <a:gd name="connsiteY38" fmla="*/ 116487 h 257633"/>
                <a:gd name="connsiteX39" fmla="*/ 14431 w 330749"/>
                <a:gd name="connsiteY39" fmla="*/ 119228 h 257633"/>
                <a:gd name="connsiteX40" fmla="*/ 13091 w 330749"/>
                <a:gd name="connsiteY40" fmla="*/ 125444 h 257633"/>
                <a:gd name="connsiteX41" fmla="*/ -60 w 330749"/>
                <a:gd name="connsiteY41" fmla="*/ 141822 h 257633"/>
                <a:gd name="connsiteX42" fmla="*/ 16866 w 330749"/>
                <a:gd name="connsiteY42" fmla="*/ 146301 h 257633"/>
                <a:gd name="connsiteX43" fmla="*/ 22386 w 330749"/>
                <a:gd name="connsiteY43" fmla="*/ 154389 h 257633"/>
                <a:gd name="connsiteX44" fmla="*/ 26892 w 330749"/>
                <a:gd name="connsiteY44" fmla="*/ 168527 h 257633"/>
                <a:gd name="connsiteX45" fmla="*/ 39069 w 330749"/>
                <a:gd name="connsiteY45" fmla="*/ 183802 h 257633"/>
                <a:gd name="connsiteX46" fmla="*/ 44142 w 330749"/>
                <a:gd name="connsiteY46" fmla="*/ 201817 h 257633"/>
                <a:gd name="connsiteX47" fmla="*/ 23848 w 330749"/>
                <a:gd name="connsiteY47" fmla="*/ 221571 h 257633"/>
                <a:gd name="connsiteX48" fmla="*/ 16866 w 330749"/>
                <a:gd name="connsiteY48" fmla="*/ 236177 h 257633"/>
                <a:gd name="connsiteX49" fmla="*/ 41707 w 330749"/>
                <a:gd name="connsiteY49" fmla="*/ 243898 h 257633"/>
                <a:gd name="connsiteX50" fmla="*/ 75072 w 330749"/>
                <a:gd name="connsiteY50" fmla="*/ 244533 h 257633"/>
                <a:gd name="connsiteX51" fmla="*/ 75275 w 330749"/>
                <a:gd name="connsiteY51" fmla="*/ 244366 h 25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0749" h="257633">
                  <a:moveTo>
                    <a:pt x="75275" y="244366"/>
                  </a:moveTo>
                  <a:cubicBezTo>
                    <a:pt x="85747" y="244566"/>
                    <a:pt x="93337" y="236043"/>
                    <a:pt x="100562" y="236544"/>
                  </a:cubicBezTo>
                  <a:cubicBezTo>
                    <a:pt x="106756" y="237246"/>
                    <a:pt x="112828" y="238550"/>
                    <a:pt x="118665" y="240388"/>
                  </a:cubicBezTo>
                  <a:cubicBezTo>
                    <a:pt x="121953" y="241291"/>
                    <a:pt x="129016" y="236745"/>
                    <a:pt x="132588" y="235442"/>
                  </a:cubicBezTo>
                  <a:cubicBezTo>
                    <a:pt x="144562" y="231030"/>
                    <a:pt x="147849" y="234807"/>
                    <a:pt x="154465" y="239352"/>
                  </a:cubicBezTo>
                  <a:cubicBezTo>
                    <a:pt x="162299" y="244733"/>
                    <a:pt x="176628" y="237413"/>
                    <a:pt x="184461" y="243998"/>
                  </a:cubicBezTo>
                  <a:cubicBezTo>
                    <a:pt x="194203" y="252153"/>
                    <a:pt x="204513" y="256766"/>
                    <a:pt x="222859" y="250014"/>
                  </a:cubicBezTo>
                  <a:cubicBezTo>
                    <a:pt x="241206" y="243263"/>
                    <a:pt x="255737" y="233302"/>
                    <a:pt x="276357" y="233703"/>
                  </a:cubicBezTo>
                  <a:cubicBezTo>
                    <a:pt x="304445" y="234472"/>
                    <a:pt x="262921" y="255095"/>
                    <a:pt x="288818" y="256532"/>
                  </a:cubicBezTo>
                  <a:cubicBezTo>
                    <a:pt x="298275" y="257067"/>
                    <a:pt x="303065" y="259640"/>
                    <a:pt x="303876" y="250850"/>
                  </a:cubicBezTo>
                  <a:cubicBezTo>
                    <a:pt x="303949" y="243831"/>
                    <a:pt x="302578" y="236879"/>
                    <a:pt x="299817" y="230261"/>
                  </a:cubicBezTo>
                  <a:cubicBezTo>
                    <a:pt x="297577" y="223409"/>
                    <a:pt x="296469" y="216357"/>
                    <a:pt x="296530" y="209271"/>
                  </a:cubicBezTo>
                  <a:cubicBezTo>
                    <a:pt x="296773" y="201918"/>
                    <a:pt x="284921" y="199244"/>
                    <a:pt x="277493" y="195901"/>
                  </a:cubicBezTo>
                  <a:cubicBezTo>
                    <a:pt x="272582" y="193696"/>
                    <a:pt x="259999" y="184805"/>
                    <a:pt x="270593" y="180192"/>
                  </a:cubicBezTo>
                  <a:cubicBezTo>
                    <a:pt x="279726" y="176215"/>
                    <a:pt x="293607" y="166322"/>
                    <a:pt x="274124" y="169330"/>
                  </a:cubicBezTo>
                  <a:cubicBezTo>
                    <a:pt x="267265" y="170399"/>
                    <a:pt x="258903" y="163681"/>
                    <a:pt x="266615" y="160038"/>
                  </a:cubicBezTo>
                  <a:cubicBezTo>
                    <a:pt x="275817" y="156278"/>
                    <a:pt x="285424" y="153233"/>
                    <a:pt x="295312" y="150947"/>
                  </a:cubicBezTo>
                  <a:cubicBezTo>
                    <a:pt x="305297" y="148173"/>
                    <a:pt x="348728" y="131160"/>
                    <a:pt x="322264" y="127316"/>
                  </a:cubicBezTo>
                  <a:cubicBezTo>
                    <a:pt x="306515" y="125010"/>
                    <a:pt x="325429" y="113245"/>
                    <a:pt x="315201" y="109167"/>
                  </a:cubicBezTo>
                  <a:cubicBezTo>
                    <a:pt x="304972" y="105090"/>
                    <a:pt x="297504" y="105190"/>
                    <a:pt x="294906" y="96399"/>
                  </a:cubicBezTo>
                  <a:cubicBezTo>
                    <a:pt x="292645" y="89080"/>
                    <a:pt x="293112" y="81369"/>
                    <a:pt x="296246" y="74273"/>
                  </a:cubicBezTo>
                  <a:cubicBezTo>
                    <a:pt x="300670" y="64847"/>
                    <a:pt x="278751" y="72568"/>
                    <a:pt x="273028" y="74607"/>
                  </a:cubicBezTo>
                  <a:cubicBezTo>
                    <a:pt x="259593" y="79320"/>
                    <a:pt x="247619" y="84166"/>
                    <a:pt x="233332" y="82930"/>
                  </a:cubicBezTo>
                  <a:cubicBezTo>
                    <a:pt x="221926" y="81994"/>
                    <a:pt x="215188" y="76713"/>
                    <a:pt x="202199" y="80724"/>
                  </a:cubicBezTo>
                  <a:cubicBezTo>
                    <a:pt x="179875" y="87609"/>
                    <a:pt x="154222" y="102817"/>
                    <a:pt x="146754" y="82997"/>
                  </a:cubicBezTo>
                  <a:cubicBezTo>
                    <a:pt x="144480" y="77047"/>
                    <a:pt x="145049" y="72970"/>
                    <a:pt x="134211" y="71666"/>
                  </a:cubicBezTo>
                  <a:cubicBezTo>
                    <a:pt x="129503" y="71165"/>
                    <a:pt x="128732" y="67822"/>
                    <a:pt x="124754" y="67354"/>
                  </a:cubicBezTo>
                  <a:cubicBezTo>
                    <a:pt x="122318" y="67087"/>
                    <a:pt x="110913" y="71365"/>
                    <a:pt x="110507" y="69627"/>
                  </a:cubicBezTo>
                  <a:cubicBezTo>
                    <a:pt x="109654" y="66285"/>
                    <a:pt x="114566" y="61940"/>
                    <a:pt x="115540" y="58330"/>
                  </a:cubicBezTo>
                  <a:cubicBezTo>
                    <a:pt x="115710" y="54857"/>
                    <a:pt x="114801" y="51408"/>
                    <a:pt x="112902" y="48303"/>
                  </a:cubicBezTo>
                  <a:cubicBezTo>
                    <a:pt x="110304" y="41986"/>
                    <a:pt x="124429" y="25408"/>
                    <a:pt x="131613" y="19726"/>
                  </a:cubicBezTo>
                  <a:cubicBezTo>
                    <a:pt x="136119" y="16149"/>
                    <a:pt x="157916" y="3916"/>
                    <a:pt x="149392" y="774"/>
                  </a:cubicBezTo>
                  <a:cubicBezTo>
                    <a:pt x="136647" y="-3871"/>
                    <a:pt x="129868" y="7159"/>
                    <a:pt x="123577" y="13008"/>
                  </a:cubicBezTo>
                  <a:cubicBezTo>
                    <a:pt x="119518" y="16684"/>
                    <a:pt x="114728" y="18054"/>
                    <a:pt x="109857" y="21096"/>
                  </a:cubicBezTo>
                  <a:cubicBezTo>
                    <a:pt x="103850" y="24806"/>
                    <a:pt x="101455" y="29686"/>
                    <a:pt x="95894" y="33563"/>
                  </a:cubicBezTo>
                  <a:cubicBezTo>
                    <a:pt x="94108" y="34766"/>
                    <a:pt x="66183" y="48871"/>
                    <a:pt x="69876" y="48871"/>
                  </a:cubicBezTo>
                  <a:cubicBezTo>
                    <a:pt x="55995" y="48871"/>
                    <a:pt x="49582" y="53116"/>
                    <a:pt x="43290" y="62241"/>
                  </a:cubicBezTo>
                  <a:cubicBezTo>
                    <a:pt x="35822" y="73003"/>
                    <a:pt x="51408" y="78317"/>
                    <a:pt x="38257" y="89347"/>
                  </a:cubicBezTo>
                  <a:cubicBezTo>
                    <a:pt x="28191" y="97870"/>
                    <a:pt x="25836" y="107295"/>
                    <a:pt x="19951" y="116487"/>
                  </a:cubicBezTo>
                  <a:cubicBezTo>
                    <a:pt x="18904" y="118198"/>
                    <a:pt x="16757" y="119264"/>
                    <a:pt x="14431" y="119228"/>
                  </a:cubicBezTo>
                  <a:cubicBezTo>
                    <a:pt x="15015" y="121363"/>
                    <a:pt x="14532" y="123603"/>
                    <a:pt x="13091" y="125444"/>
                  </a:cubicBezTo>
                  <a:cubicBezTo>
                    <a:pt x="8184" y="130605"/>
                    <a:pt x="3784" y="136083"/>
                    <a:pt x="-60" y="141822"/>
                  </a:cubicBezTo>
                  <a:cubicBezTo>
                    <a:pt x="5582" y="142825"/>
                    <a:pt x="13010" y="143460"/>
                    <a:pt x="16866" y="146301"/>
                  </a:cubicBezTo>
                  <a:cubicBezTo>
                    <a:pt x="19870" y="148473"/>
                    <a:pt x="18977" y="152584"/>
                    <a:pt x="22386" y="154389"/>
                  </a:cubicBezTo>
                  <a:cubicBezTo>
                    <a:pt x="30504" y="158701"/>
                    <a:pt x="24457" y="162845"/>
                    <a:pt x="26892" y="168527"/>
                  </a:cubicBezTo>
                  <a:cubicBezTo>
                    <a:pt x="29429" y="174340"/>
                    <a:pt x="33601" y="179574"/>
                    <a:pt x="39069" y="183802"/>
                  </a:cubicBezTo>
                  <a:cubicBezTo>
                    <a:pt x="47512" y="190286"/>
                    <a:pt x="47187" y="191322"/>
                    <a:pt x="44142" y="201817"/>
                  </a:cubicBezTo>
                  <a:cubicBezTo>
                    <a:pt x="41058" y="212981"/>
                    <a:pt x="33792" y="213449"/>
                    <a:pt x="23848" y="221571"/>
                  </a:cubicBezTo>
                  <a:cubicBezTo>
                    <a:pt x="19789" y="224746"/>
                    <a:pt x="18571" y="232567"/>
                    <a:pt x="16866" y="236177"/>
                  </a:cubicBezTo>
                  <a:cubicBezTo>
                    <a:pt x="12239" y="246204"/>
                    <a:pt x="31560" y="244031"/>
                    <a:pt x="41707" y="243898"/>
                  </a:cubicBezTo>
                  <a:cubicBezTo>
                    <a:pt x="53641" y="243697"/>
                    <a:pt x="63382" y="244332"/>
                    <a:pt x="75072" y="244533"/>
                  </a:cubicBezTo>
                  <a:cubicBezTo>
                    <a:pt x="83839" y="244533"/>
                    <a:pt x="66710" y="244232"/>
                    <a:pt x="75275" y="24436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19ADEE11-3F9F-4127-8410-2D3440FCED68}"/>
                </a:ext>
              </a:extLst>
            </p:cNvPr>
            <p:cNvSpPr/>
            <p:nvPr/>
          </p:nvSpPr>
          <p:spPr>
            <a:xfrm>
              <a:off x="3963211" y="5301642"/>
              <a:ext cx="356333" cy="236983"/>
            </a:xfrm>
            <a:custGeom>
              <a:avLst/>
              <a:gdLst>
                <a:gd name="connsiteX0" fmla="*/ 350717 w 356333"/>
                <a:gd name="connsiteY0" fmla="*/ 79042 h 236983"/>
                <a:gd name="connsiteX1" fmla="*/ 329692 w 356333"/>
                <a:gd name="connsiteY1" fmla="*/ 66943 h 236983"/>
                <a:gd name="connsiteX2" fmla="*/ 311791 w 356333"/>
                <a:gd name="connsiteY2" fmla="*/ 62397 h 236983"/>
                <a:gd name="connsiteX3" fmla="*/ 278954 w 356333"/>
                <a:gd name="connsiteY3" fmla="*/ 66842 h 236983"/>
                <a:gd name="connsiteX4" fmla="*/ 264058 w 356333"/>
                <a:gd name="connsiteY4" fmla="*/ 52938 h 236983"/>
                <a:gd name="connsiteX5" fmla="*/ 266940 w 356333"/>
                <a:gd name="connsiteY5" fmla="*/ 46955 h 236983"/>
                <a:gd name="connsiteX6" fmla="*/ 258822 w 356333"/>
                <a:gd name="connsiteY6" fmla="*/ 41674 h 236983"/>
                <a:gd name="connsiteX7" fmla="*/ 240272 w 356333"/>
                <a:gd name="connsiteY7" fmla="*/ 30477 h 236983"/>
                <a:gd name="connsiteX8" fmla="*/ 215188 w 356333"/>
                <a:gd name="connsiteY8" fmla="*/ 35457 h 236983"/>
                <a:gd name="connsiteX9" fmla="*/ 194041 w 356333"/>
                <a:gd name="connsiteY9" fmla="*/ 32617 h 236983"/>
                <a:gd name="connsiteX10" fmla="*/ 176790 w 356333"/>
                <a:gd name="connsiteY10" fmla="*/ 30812 h 236983"/>
                <a:gd name="connsiteX11" fmla="*/ 152923 w 356333"/>
                <a:gd name="connsiteY11" fmla="*/ 34856 h 236983"/>
                <a:gd name="connsiteX12" fmla="*/ 103607 w 356333"/>
                <a:gd name="connsiteY12" fmla="*/ 12228 h 236983"/>
                <a:gd name="connsiteX13" fmla="*/ 96706 w 356333"/>
                <a:gd name="connsiteY13" fmla="*/ -239 h 236983"/>
                <a:gd name="connsiteX14" fmla="*/ 64641 w 356333"/>
                <a:gd name="connsiteY14" fmla="*/ 12596 h 236983"/>
                <a:gd name="connsiteX15" fmla="*/ 33102 w 356333"/>
                <a:gd name="connsiteY15" fmla="*/ 34956 h 236983"/>
                <a:gd name="connsiteX16" fmla="*/ -60 w 356333"/>
                <a:gd name="connsiteY16" fmla="*/ 49362 h 236983"/>
                <a:gd name="connsiteX17" fmla="*/ 28800 w 356333"/>
                <a:gd name="connsiteY17" fmla="*/ 72525 h 236983"/>
                <a:gd name="connsiteX18" fmla="*/ 35497 w 356333"/>
                <a:gd name="connsiteY18" fmla="*/ 97726 h 236983"/>
                <a:gd name="connsiteX19" fmla="*/ 35497 w 356333"/>
                <a:gd name="connsiteY19" fmla="*/ 107753 h 236983"/>
                <a:gd name="connsiteX20" fmla="*/ 38622 w 356333"/>
                <a:gd name="connsiteY20" fmla="*/ 117780 h 236983"/>
                <a:gd name="connsiteX21" fmla="*/ 39231 w 356333"/>
                <a:gd name="connsiteY21" fmla="*/ 131851 h 236983"/>
                <a:gd name="connsiteX22" fmla="*/ 48810 w 356333"/>
                <a:gd name="connsiteY22" fmla="*/ 140842 h 236983"/>
                <a:gd name="connsiteX23" fmla="*/ 56279 w 356333"/>
                <a:gd name="connsiteY23" fmla="*/ 163069 h 236983"/>
                <a:gd name="connsiteX24" fmla="*/ 69674 w 356333"/>
                <a:gd name="connsiteY24" fmla="*/ 178410 h 236983"/>
                <a:gd name="connsiteX25" fmla="*/ 81851 w 356333"/>
                <a:gd name="connsiteY25" fmla="*/ 181051 h 236983"/>
                <a:gd name="connsiteX26" fmla="*/ 82744 w 356333"/>
                <a:gd name="connsiteY26" fmla="*/ 187736 h 236983"/>
                <a:gd name="connsiteX27" fmla="*/ 83636 w 356333"/>
                <a:gd name="connsiteY27" fmla="*/ 202241 h 236983"/>
                <a:gd name="connsiteX28" fmla="*/ 101821 w 356333"/>
                <a:gd name="connsiteY28" fmla="*/ 209127 h 236983"/>
                <a:gd name="connsiteX29" fmla="*/ 117082 w 356333"/>
                <a:gd name="connsiteY29" fmla="*/ 222062 h 236983"/>
                <a:gd name="connsiteX30" fmla="*/ 126824 w 356333"/>
                <a:gd name="connsiteY30" fmla="*/ 236133 h 236983"/>
                <a:gd name="connsiteX31" fmla="*/ 158849 w 356333"/>
                <a:gd name="connsiteY31" fmla="*/ 209394 h 236983"/>
                <a:gd name="connsiteX32" fmla="*/ 204553 w 356333"/>
                <a:gd name="connsiteY32" fmla="*/ 204648 h 236983"/>
                <a:gd name="connsiteX33" fmla="*/ 221398 w 356333"/>
                <a:gd name="connsiteY33" fmla="*/ 191713 h 236983"/>
                <a:gd name="connsiteX34" fmla="*/ 254397 w 356333"/>
                <a:gd name="connsiteY34" fmla="*/ 181051 h 236983"/>
                <a:gd name="connsiteX35" fmla="*/ 250338 w 356333"/>
                <a:gd name="connsiteY35" fmla="*/ 156986 h 236983"/>
                <a:gd name="connsiteX36" fmla="*/ 284109 w 356333"/>
                <a:gd name="connsiteY36" fmla="*/ 128576 h 236983"/>
                <a:gd name="connsiteX37" fmla="*/ 313496 w 356333"/>
                <a:gd name="connsiteY37" fmla="*/ 117579 h 236983"/>
                <a:gd name="connsiteX38" fmla="*/ 343898 w 356333"/>
                <a:gd name="connsiteY38" fmla="*/ 116476 h 236983"/>
                <a:gd name="connsiteX39" fmla="*/ 350595 w 356333"/>
                <a:gd name="connsiteY39" fmla="*/ 79176 h 23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56333" h="236983">
                  <a:moveTo>
                    <a:pt x="350717" y="79042"/>
                  </a:moveTo>
                  <a:cubicBezTo>
                    <a:pt x="345197" y="73661"/>
                    <a:pt x="332330" y="73995"/>
                    <a:pt x="329692" y="66943"/>
                  </a:cubicBezTo>
                  <a:cubicBezTo>
                    <a:pt x="327297" y="60492"/>
                    <a:pt x="321574" y="59991"/>
                    <a:pt x="311791" y="62397"/>
                  </a:cubicBezTo>
                  <a:cubicBezTo>
                    <a:pt x="302010" y="64803"/>
                    <a:pt x="288493" y="70018"/>
                    <a:pt x="278954" y="66842"/>
                  </a:cubicBezTo>
                  <a:cubicBezTo>
                    <a:pt x="275139" y="65572"/>
                    <a:pt x="263733" y="55913"/>
                    <a:pt x="264058" y="52938"/>
                  </a:cubicBezTo>
                  <a:cubicBezTo>
                    <a:pt x="264302" y="50498"/>
                    <a:pt x="269740" y="49328"/>
                    <a:pt x="266940" y="46955"/>
                  </a:cubicBezTo>
                  <a:cubicBezTo>
                    <a:pt x="264139" y="44582"/>
                    <a:pt x="260892" y="43914"/>
                    <a:pt x="258822" y="41674"/>
                  </a:cubicBezTo>
                  <a:cubicBezTo>
                    <a:pt x="254235" y="36761"/>
                    <a:pt x="253343" y="29074"/>
                    <a:pt x="240272" y="30477"/>
                  </a:cubicBezTo>
                  <a:cubicBezTo>
                    <a:pt x="233250" y="31246"/>
                    <a:pt x="221723" y="37162"/>
                    <a:pt x="215188" y="35457"/>
                  </a:cubicBezTo>
                  <a:cubicBezTo>
                    <a:pt x="206583" y="33051"/>
                    <a:pt x="207070" y="29809"/>
                    <a:pt x="194041" y="32617"/>
                  </a:cubicBezTo>
                  <a:cubicBezTo>
                    <a:pt x="185639" y="34455"/>
                    <a:pt x="182838" y="28773"/>
                    <a:pt x="176790" y="30812"/>
                  </a:cubicBezTo>
                  <a:cubicBezTo>
                    <a:pt x="170742" y="32851"/>
                    <a:pt x="160270" y="33051"/>
                    <a:pt x="152923" y="34856"/>
                  </a:cubicBezTo>
                  <a:cubicBezTo>
                    <a:pt x="129138" y="40638"/>
                    <a:pt x="109086" y="24261"/>
                    <a:pt x="103607" y="12228"/>
                  </a:cubicBezTo>
                  <a:cubicBezTo>
                    <a:pt x="102470" y="9688"/>
                    <a:pt x="102551" y="-1509"/>
                    <a:pt x="96706" y="-239"/>
                  </a:cubicBezTo>
                  <a:cubicBezTo>
                    <a:pt x="85220" y="2535"/>
                    <a:pt x="74382" y="6881"/>
                    <a:pt x="64641" y="12596"/>
                  </a:cubicBezTo>
                  <a:cubicBezTo>
                    <a:pt x="53965" y="19548"/>
                    <a:pt x="42884" y="27503"/>
                    <a:pt x="33102" y="34956"/>
                  </a:cubicBezTo>
                  <a:cubicBezTo>
                    <a:pt x="20641" y="44449"/>
                    <a:pt x="17313" y="45819"/>
                    <a:pt x="-60" y="49362"/>
                  </a:cubicBezTo>
                  <a:cubicBezTo>
                    <a:pt x="5907" y="53774"/>
                    <a:pt x="34117" y="64570"/>
                    <a:pt x="28800" y="72525"/>
                  </a:cubicBezTo>
                  <a:cubicBezTo>
                    <a:pt x="22021" y="82552"/>
                    <a:pt x="29165" y="88802"/>
                    <a:pt x="35497" y="97726"/>
                  </a:cubicBezTo>
                  <a:cubicBezTo>
                    <a:pt x="37851" y="101068"/>
                    <a:pt x="36593" y="104043"/>
                    <a:pt x="35497" y="107753"/>
                  </a:cubicBezTo>
                  <a:cubicBezTo>
                    <a:pt x="33752" y="113167"/>
                    <a:pt x="39110" y="113468"/>
                    <a:pt x="38622" y="117780"/>
                  </a:cubicBezTo>
                  <a:cubicBezTo>
                    <a:pt x="38217" y="121624"/>
                    <a:pt x="32777" y="129812"/>
                    <a:pt x="39231" y="131851"/>
                  </a:cubicBezTo>
                  <a:cubicBezTo>
                    <a:pt x="47106" y="134358"/>
                    <a:pt x="51936" y="132687"/>
                    <a:pt x="48810" y="140842"/>
                  </a:cubicBezTo>
                  <a:cubicBezTo>
                    <a:pt x="44427" y="152139"/>
                    <a:pt x="34848" y="159893"/>
                    <a:pt x="56279" y="163069"/>
                  </a:cubicBezTo>
                  <a:cubicBezTo>
                    <a:pt x="66832" y="164673"/>
                    <a:pt x="60825" y="175269"/>
                    <a:pt x="69674" y="178410"/>
                  </a:cubicBezTo>
                  <a:cubicBezTo>
                    <a:pt x="73607" y="179647"/>
                    <a:pt x="77686" y="180549"/>
                    <a:pt x="81851" y="181051"/>
                  </a:cubicBezTo>
                  <a:cubicBezTo>
                    <a:pt x="87493" y="182087"/>
                    <a:pt x="82338" y="184694"/>
                    <a:pt x="82744" y="187736"/>
                  </a:cubicBezTo>
                  <a:cubicBezTo>
                    <a:pt x="83312" y="191446"/>
                    <a:pt x="81323" y="199501"/>
                    <a:pt x="83636" y="202241"/>
                  </a:cubicBezTo>
                  <a:cubicBezTo>
                    <a:pt x="87980" y="207389"/>
                    <a:pt x="96666" y="205751"/>
                    <a:pt x="101821" y="209127"/>
                  </a:cubicBezTo>
                  <a:cubicBezTo>
                    <a:pt x="106976" y="212503"/>
                    <a:pt x="111765" y="218117"/>
                    <a:pt x="117082" y="222062"/>
                  </a:cubicBezTo>
                  <a:cubicBezTo>
                    <a:pt x="122400" y="226005"/>
                    <a:pt x="121791" y="232389"/>
                    <a:pt x="126824" y="236133"/>
                  </a:cubicBezTo>
                  <a:cubicBezTo>
                    <a:pt x="133156" y="240846"/>
                    <a:pt x="156292" y="211533"/>
                    <a:pt x="158849" y="209394"/>
                  </a:cubicBezTo>
                  <a:cubicBezTo>
                    <a:pt x="163395" y="205283"/>
                    <a:pt x="198384" y="202709"/>
                    <a:pt x="204553" y="204648"/>
                  </a:cubicBezTo>
                  <a:cubicBezTo>
                    <a:pt x="224848" y="210363"/>
                    <a:pt x="208856" y="197963"/>
                    <a:pt x="221398" y="191713"/>
                  </a:cubicBezTo>
                  <a:cubicBezTo>
                    <a:pt x="228826" y="187936"/>
                    <a:pt x="253261" y="187936"/>
                    <a:pt x="254397" y="181051"/>
                  </a:cubicBezTo>
                  <a:cubicBezTo>
                    <a:pt x="255818" y="172862"/>
                    <a:pt x="254397" y="164539"/>
                    <a:pt x="250338" y="156986"/>
                  </a:cubicBezTo>
                  <a:cubicBezTo>
                    <a:pt x="242870" y="145688"/>
                    <a:pt x="271811" y="132052"/>
                    <a:pt x="284109" y="128576"/>
                  </a:cubicBezTo>
                  <a:cubicBezTo>
                    <a:pt x="294500" y="125634"/>
                    <a:pt x="302618" y="120353"/>
                    <a:pt x="313496" y="117579"/>
                  </a:cubicBezTo>
                  <a:cubicBezTo>
                    <a:pt x="326038" y="114237"/>
                    <a:pt x="332005" y="115741"/>
                    <a:pt x="343898" y="116476"/>
                  </a:cubicBezTo>
                  <a:cubicBezTo>
                    <a:pt x="362854" y="117713"/>
                    <a:pt x="355710" y="84156"/>
                    <a:pt x="350595" y="7917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A8230F7E-D48B-4B9D-89B6-E0548D05C199}"/>
                </a:ext>
              </a:extLst>
            </p:cNvPr>
            <p:cNvSpPr/>
            <p:nvPr/>
          </p:nvSpPr>
          <p:spPr>
            <a:xfrm>
              <a:off x="3602793" y="5220414"/>
              <a:ext cx="410442" cy="261113"/>
            </a:xfrm>
            <a:custGeom>
              <a:avLst/>
              <a:gdLst>
                <a:gd name="connsiteX0" fmla="*/ 402206 w 410442"/>
                <a:gd name="connsiteY0" fmla="*/ 240486 h 261113"/>
                <a:gd name="connsiteX1" fmla="*/ 402206 w 410442"/>
                <a:gd name="connsiteY1" fmla="*/ 232465 h 261113"/>
                <a:gd name="connsiteX2" fmla="*/ 410324 w 410442"/>
                <a:gd name="connsiteY2" fmla="*/ 218360 h 261113"/>
                <a:gd name="connsiteX3" fmla="*/ 397498 w 410442"/>
                <a:gd name="connsiteY3" fmla="*/ 205291 h 261113"/>
                <a:gd name="connsiteX4" fmla="*/ 395996 w 410442"/>
                <a:gd name="connsiteY4" fmla="*/ 188847 h 261113"/>
                <a:gd name="connsiteX5" fmla="*/ 390476 w 410442"/>
                <a:gd name="connsiteY5" fmla="*/ 170598 h 261113"/>
                <a:gd name="connsiteX6" fmla="*/ 389461 w 410442"/>
                <a:gd name="connsiteY6" fmla="*/ 153552 h 261113"/>
                <a:gd name="connsiteX7" fmla="*/ 368639 w 410442"/>
                <a:gd name="connsiteY7" fmla="*/ 135670 h 261113"/>
                <a:gd name="connsiteX8" fmla="*/ 353783 w 410442"/>
                <a:gd name="connsiteY8" fmla="*/ 131960 h 261113"/>
                <a:gd name="connsiteX9" fmla="*/ 333488 w 410442"/>
                <a:gd name="connsiteY9" fmla="*/ 139280 h 261113"/>
                <a:gd name="connsiteX10" fmla="*/ 321554 w 410442"/>
                <a:gd name="connsiteY10" fmla="*/ 122000 h 261113"/>
                <a:gd name="connsiteX11" fmla="*/ 307713 w 410442"/>
                <a:gd name="connsiteY11" fmla="*/ 127214 h 261113"/>
                <a:gd name="connsiteX12" fmla="*/ 273537 w 410442"/>
                <a:gd name="connsiteY12" fmla="*/ 133899 h 261113"/>
                <a:gd name="connsiteX13" fmla="*/ 251740 w 410442"/>
                <a:gd name="connsiteY13" fmla="*/ 131058 h 261113"/>
                <a:gd name="connsiteX14" fmla="*/ 243622 w 410442"/>
                <a:gd name="connsiteY14" fmla="*/ 122534 h 261113"/>
                <a:gd name="connsiteX15" fmla="*/ 222028 w 410442"/>
                <a:gd name="connsiteY15" fmla="*/ 112507 h 261113"/>
                <a:gd name="connsiteX16" fmla="*/ 222475 w 410442"/>
                <a:gd name="connsiteY16" fmla="*/ 90815 h 261113"/>
                <a:gd name="connsiteX17" fmla="*/ 227792 w 410442"/>
                <a:gd name="connsiteY17" fmla="*/ 68689 h 261113"/>
                <a:gd name="connsiteX18" fmla="*/ 252146 w 410442"/>
                <a:gd name="connsiteY18" fmla="*/ 43956 h 261113"/>
                <a:gd name="connsiteX19" fmla="*/ 275201 w 410442"/>
                <a:gd name="connsiteY19" fmla="*/ 31455 h 261113"/>
                <a:gd name="connsiteX20" fmla="*/ 296105 w 410442"/>
                <a:gd name="connsiteY20" fmla="*/ 24136 h 261113"/>
                <a:gd name="connsiteX21" fmla="*/ 276743 w 410442"/>
                <a:gd name="connsiteY21" fmla="*/ 16682 h 261113"/>
                <a:gd name="connsiteX22" fmla="*/ 278042 w 410442"/>
                <a:gd name="connsiteY22" fmla="*/ -30 h 261113"/>
                <a:gd name="connsiteX23" fmla="*/ 219837 w 410442"/>
                <a:gd name="connsiteY23" fmla="*/ 16014 h 261113"/>
                <a:gd name="connsiteX24" fmla="*/ 178151 w 410442"/>
                <a:gd name="connsiteY24" fmla="*/ 8126 h 261113"/>
                <a:gd name="connsiteX25" fmla="*/ 148804 w 410442"/>
                <a:gd name="connsiteY25" fmla="*/ 3346 h 261113"/>
                <a:gd name="connsiteX26" fmla="*/ 117226 w 410442"/>
                <a:gd name="connsiteY26" fmla="*/ 6688 h 261113"/>
                <a:gd name="connsiteX27" fmla="*/ 126399 w 410442"/>
                <a:gd name="connsiteY27" fmla="*/ 22598 h 261113"/>
                <a:gd name="connsiteX28" fmla="*/ 100909 w 410442"/>
                <a:gd name="connsiteY28" fmla="*/ 57593 h 261113"/>
                <a:gd name="connsiteX29" fmla="*/ 69939 w 410442"/>
                <a:gd name="connsiteY29" fmla="*/ 83128 h 261113"/>
                <a:gd name="connsiteX30" fmla="*/ 53703 w 410442"/>
                <a:gd name="connsiteY30" fmla="*/ 112140 h 261113"/>
                <a:gd name="connsiteX31" fmla="*/ 36980 w 410442"/>
                <a:gd name="connsiteY31" fmla="*/ 112775 h 261113"/>
                <a:gd name="connsiteX32" fmla="*/ 21961 w 410442"/>
                <a:gd name="connsiteY32" fmla="*/ 109433 h 261113"/>
                <a:gd name="connsiteX33" fmla="*/ 10150 w 410442"/>
                <a:gd name="connsiteY33" fmla="*/ 102982 h 261113"/>
                <a:gd name="connsiteX34" fmla="*/ 408 w 410442"/>
                <a:gd name="connsiteY34" fmla="*/ 123871 h 261113"/>
                <a:gd name="connsiteX35" fmla="*/ 19120 w 410442"/>
                <a:gd name="connsiteY35" fmla="*/ 142522 h 261113"/>
                <a:gd name="connsiteX36" fmla="*/ 49928 w 410442"/>
                <a:gd name="connsiteY36" fmla="*/ 150243 h 261113"/>
                <a:gd name="connsiteX37" fmla="*/ 93724 w 410442"/>
                <a:gd name="connsiteY37" fmla="*/ 165684 h 261113"/>
                <a:gd name="connsiteX38" fmla="*/ 128428 w 410442"/>
                <a:gd name="connsiteY38" fmla="*/ 188814 h 261113"/>
                <a:gd name="connsiteX39" fmla="*/ 171007 w 410442"/>
                <a:gd name="connsiteY39" fmla="*/ 211675 h 261113"/>
                <a:gd name="connsiteX40" fmla="*/ 204169 w 410442"/>
                <a:gd name="connsiteY40" fmla="*/ 232765 h 261113"/>
                <a:gd name="connsiteX41" fmla="*/ 240943 w 410442"/>
                <a:gd name="connsiteY41" fmla="*/ 244765 h 261113"/>
                <a:gd name="connsiteX42" fmla="*/ 305034 w 410442"/>
                <a:gd name="connsiteY42" fmla="*/ 246904 h 261113"/>
                <a:gd name="connsiteX43" fmla="*/ 351916 w 410442"/>
                <a:gd name="connsiteY43" fmla="*/ 251249 h 261113"/>
                <a:gd name="connsiteX44" fmla="*/ 374037 w 410442"/>
                <a:gd name="connsiteY44" fmla="*/ 257198 h 261113"/>
                <a:gd name="connsiteX45" fmla="*/ 393317 w 410442"/>
                <a:gd name="connsiteY45" fmla="*/ 260774 h 261113"/>
                <a:gd name="connsiteX46" fmla="*/ 402409 w 410442"/>
                <a:gd name="connsiteY46" fmla="*/ 240720 h 26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10442" h="261113">
                  <a:moveTo>
                    <a:pt x="402206" y="240486"/>
                  </a:moveTo>
                  <a:cubicBezTo>
                    <a:pt x="403302" y="237879"/>
                    <a:pt x="398147" y="235439"/>
                    <a:pt x="402206" y="232465"/>
                  </a:cubicBezTo>
                  <a:cubicBezTo>
                    <a:pt x="406687" y="228621"/>
                    <a:pt x="409537" y="223674"/>
                    <a:pt x="410324" y="218360"/>
                  </a:cubicBezTo>
                  <a:cubicBezTo>
                    <a:pt x="411501" y="210706"/>
                    <a:pt x="394657" y="215619"/>
                    <a:pt x="397498" y="205291"/>
                  </a:cubicBezTo>
                  <a:cubicBezTo>
                    <a:pt x="399487" y="198205"/>
                    <a:pt x="393926" y="195264"/>
                    <a:pt x="395996" y="188847"/>
                  </a:cubicBezTo>
                  <a:cubicBezTo>
                    <a:pt x="398675" y="180792"/>
                    <a:pt x="394900" y="177282"/>
                    <a:pt x="390476" y="170598"/>
                  </a:cubicBezTo>
                  <a:cubicBezTo>
                    <a:pt x="385646" y="163245"/>
                    <a:pt x="384347" y="161239"/>
                    <a:pt x="389461" y="153552"/>
                  </a:cubicBezTo>
                  <a:cubicBezTo>
                    <a:pt x="394088" y="146633"/>
                    <a:pt x="374037" y="138979"/>
                    <a:pt x="368639" y="135670"/>
                  </a:cubicBezTo>
                  <a:cubicBezTo>
                    <a:pt x="363240" y="132361"/>
                    <a:pt x="363118" y="129520"/>
                    <a:pt x="353783" y="131960"/>
                  </a:cubicBezTo>
                  <a:cubicBezTo>
                    <a:pt x="349074" y="133197"/>
                    <a:pt x="337912" y="139280"/>
                    <a:pt x="333488" y="139280"/>
                  </a:cubicBezTo>
                  <a:cubicBezTo>
                    <a:pt x="325613" y="139280"/>
                    <a:pt x="323016" y="125710"/>
                    <a:pt x="321554" y="122000"/>
                  </a:cubicBezTo>
                  <a:cubicBezTo>
                    <a:pt x="316806" y="110101"/>
                    <a:pt x="312665" y="123470"/>
                    <a:pt x="307713" y="127214"/>
                  </a:cubicBezTo>
                  <a:cubicBezTo>
                    <a:pt x="301706" y="131692"/>
                    <a:pt x="279300" y="138778"/>
                    <a:pt x="273537" y="133899"/>
                  </a:cubicBezTo>
                  <a:cubicBezTo>
                    <a:pt x="266312" y="127749"/>
                    <a:pt x="258600" y="135670"/>
                    <a:pt x="251740" y="131058"/>
                  </a:cubicBezTo>
                  <a:cubicBezTo>
                    <a:pt x="247965" y="128517"/>
                    <a:pt x="248371" y="124874"/>
                    <a:pt x="243622" y="122534"/>
                  </a:cubicBezTo>
                  <a:cubicBezTo>
                    <a:pt x="236600" y="119192"/>
                    <a:pt x="228157" y="116786"/>
                    <a:pt x="222028" y="112507"/>
                  </a:cubicBezTo>
                  <a:cubicBezTo>
                    <a:pt x="215899" y="108229"/>
                    <a:pt x="216143" y="95796"/>
                    <a:pt x="222475" y="90815"/>
                  </a:cubicBezTo>
                  <a:cubicBezTo>
                    <a:pt x="228807" y="85835"/>
                    <a:pt x="226534" y="75608"/>
                    <a:pt x="227792" y="68689"/>
                  </a:cubicBezTo>
                  <a:cubicBezTo>
                    <a:pt x="229740" y="58662"/>
                    <a:pt x="238833" y="51977"/>
                    <a:pt x="252146" y="43956"/>
                  </a:cubicBezTo>
                  <a:cubicBezTo>
                    <a:pt x="259533" y="39443"/>
                    <a:pt x="269640" y="37271"/>
                    <a:pt x="275201" y="31455"/>
                  </a:cubicBezTo>
                  <a:cubicBezTo>
                    <a:pt x="280762" y="25639"/>
                    <a:pt x="287946" y="27010"/>
                    <a:pt x="296105" y="24136"/>
                  </a:cubicBezTo>
                  <a:cubicBezTo>
                    <a:pt x="289691" y="21562"/>
                    <a:pt x="273009" y="24871"/>
                    <a:pt x="276743" y="16682"/>
                  </a:cubicBezTo>
                  <a:cubicBezTo>
                    <a:pt x="279544" y="10632"/>
                    <a:pt x="291518" y="1474"/>
                    <a:pt x="278042" y="-30"/>
                  </a:cubicBezTo>
                  <a:cubicBezTo>
                    <a:pt x="255556" y="-2336"/>
                    <a:pt x="239522" y="8794"/>
                    <a:pt x="219837" y="16014"/>
                  </a:cubicBezTo>
                  <a:cubicBezTo>
                    <a:pt x="196173" y="24737"/>
                    <a:pt x="193453" y="14209"/>
                    <a:pt x="178151" y="8126"/>
                  </a:cubicBezTo>
                  <a:cubicBezTo>
                    <a:pt x="167638" y="3948"/>
                    <a:pt x="157369" y="10098"/>
                    <a:pt x="148804" y="3346"/>
                  </a:cubicBezTo>
                  <a:cubicBezTo>
                    <a:pt x="140240" y="-3405"/>
                    <a:pt x="129606" y="806"/>
                    <a:pt x="117226" y="6688"/>
                  </a:cubicBezTo>
                  <a:cubicBezTo>
                    <a:pt x="134395" y="11301"/>
                    <a:pt x="125831" y="12972"/>
                    <a:pt x="126399" y="22598"/>
                  </a:cubicBezTo>
                  <a:cubicBezTo>
                    <a:pt x="127129" y="34731"/>
                    <a:pt x="114912" y="48167"/>
                    <a:pt x="100909" y="57593"/>
                  </a:cubicBezTo>
                  <a:cubicBezTo>
                    <a:pt x="87960" y="66316"/>
                    <a:pt x="72942" y="70962"/>
                    <a:pt x="69939" y="83128"/>
                  </a:cubicBezTo>
                  <a:cubicBezTo>
                    <a:pt x="68356" y="89579"/>
                    <a:pt x="72212" y="117254"/>
                    <a:pt x="53703" y="112140"/>
                  </a:cubicBezTo>
                  <a:cubicBezTo>
                    <a:pt x="46924" y="110268"/>
                    <a:pt x="44407" y="109232"/>
                    <a:pt x="36980" y="112775"/>
                  </a:cubicBezTo>
                  <a:cubicBezTo>
                    <a:pt x="31500" y="115382"/>
                    <a:pt x="18633" y="114947"/>
                    <a:pt x="21961" y="109433"/>
                  </a:cubicBezTo>
                  <a:cubicBezTo>
                    <a:pt x="25290" y="103918"/>
                    <a:pt x="18390" y="95595"/>
                    <a:pt x="10150" y="102982"/>
                  </a:cubicBezTo>
                  <a:cubicBezTo>
                    <a:pt x="4345" y="108196"/>
                    <a:pt x="-1824" y="118256"/>
                    <a:pt x="408" y="123871"/>
                  </a:cubicBezTo>
                  <a:cubicBezTo>
                    <a:pt x="1870" y="127514"/>
                    <a:pt x="25452" y="140182"/>
                    <a:pt x="19120" y="142522"/>
                  </a:cubicBezTo>
                  <a:cubicBezTo>
                    <a:pt x="2316" y="148739"/>
                    <a:pt x="46762" y="149875"/>
                    <a:pt x="49928" y="150243"/>
                  </a:cubicBezTo>
                  <a:cubicBezTo>
                    <a:pt x="64499" y="151613"/>
                    <a:pt x="82400" y="160270"/>
                    <a:pt x="93724" y="165684"/>
                  </a:cubicBezTo>
                  <a:cubicBezTo>
                    <a:pt x="106956" y="171834"/>
                    <a:pt x="116576" y="181527"/>
                    <a:pt x="128428" y="188814"/>
                  </a:cubicBezTo>
                  <a:cubicBezTo>
                    <a:pt x="141868" y="197336"/>
                    <a:pt x="156102" y="204991"/>
                    <a:pt x="171007" y="211675"/>
                  </a:cubicBezTo>
                  <a:cubicBezTo>
                    <a:pt x="185863" y="218093"/>
                    <a:pt x="199420" y="220833"/>
                    <a:pt x="204169" y="232765"/>
                  </a:cubicBezTo>
                  <a:cubicBezTo>
                    <a:pt x="207781" y="242057"/>
                    <a:pt x="228523" y="243060"/>
                    <a:pt x="240943" y="244765"/>
                  </a:cubicBezTo>
                  <a:cubicBezTo>
                    <a:pt x="261238" y="247572"/>
                    <a:pt x="283806" y="246269"/>
                    <a:pt x="305034" y="246904"/>
                  </a:cubicBezTo>
                  <a:cubicBezTo>
                    <a:pt x="320256" y="247338"/>
                    <a:pt x="338602" y="247071"/>
                    <a:pt x="351916" y="251249"/>
                  </a:cubicBezTo>
                  <a:cubicBezTo>
                    <a:pt x="358921" y="254057"/>
                    <a:pt x="366366" y="256062"/>
                    <a:pt x="374037" y="257198"/>
                  </a:cubicBezTo>
                  <a:cubicBezTo>
                    <a:pt x="379720" y="257733"/>
                    <a:pt x="391328" y="256396"/>
                    <a:pt x="393317" y="260774"/>
                  </a:cubicBezTo>
                  <a:cubicBezTo>
                    <a:pt x="400989" y="252485"/>
                    <a:pt x="399121" y="249143"/>
                    <a:pt x="402409" y="2407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D7964CBE-CD50-4C09-8792-5919CD9D19C3}"/>
                </a:ext>
              </a:extLst>
            </p:cNvPr>
            <p:cNvSpPr/>
            <p:nvPr/>
          </p:nvSpPr>
          <p:spPr>
            <a:xfrm>
              <a:off x="3710698" y="4942907"/>
              <a:ext cx="383698" cy="192895"/>
            </a:xfrm>
            <a:custGeom>
              <a:avLst/>
              <a:gdLst>
                <a:gd name="connsiteX0" fmla="*/ 17844 w 383698"/>
                <a:gd name="connsiteY0" fmla="*/ 66775 h 192895"/>
                <a:gd name="connsiteX1" fmla="*/ 3678 w 383698"/>
                <a:gd name="connsiteY1" fmla="*/ 84756 h 192895"/>
                <a:gd name="connsiteX2" fmla="*/ 4530 w 383698"/>
                <a:gd name="connsiteY2" fmla="*/ 102437 h 192895"/>
                <a:gd name="connsiteX3" fmla="*/ 8589 w 383698"/>
                <a:gd name="connsiteY3" fmla="*/ 112063 h 192895"/>
                <a:gd name="connsiteX4" fmla="*/ 27829 w 383698"/>
                <a:gd name="connsiteY4" fmla="*/ 116342 h 192895"/>
                <a:gd name="connsiteX5" fmla="*/ 46460 w 383698"/>
                <a:gd name="connsiteY5" fmla="*/ 137365 h 192895"/>
                <a:gd name="connsiteX6" fmla="*/ 100282 w 383698"/>
                <a:gd name="connsiteY6" fmla="*/ 123060 h 192895"/>
                <a:gd name="connsiteX7" fmla="*/ 129466 w 383698"/>
                <a:gd name="connsiteY7" fmla="*/ 127238 h 192895"/>
                <a:gd name="connsiteX8" fmla="*/ 162140 w 383698"/>
                <a:gd name="connsiteY8" fmla="*/ 118715 h 192895"/>
                <a:gd name="connsiteX9" fmla="*/ 182841 w 383698"/>
                <a:gd name="connsiteY9" fmla="*/ 129176 h 192895"/>
                <a:gd name="connsiteX10" fmla="*/ 186900 w 383698"/>
                <a:gd name="connsiteY10" fmla="*/ 146423 h 192895"/>
                <a:gd name="connsiteX11" fmla="*/ 207804 w 383698"/>
                <a:gd name="connsiteY11" fmla="*/ 155615 h 192895"/>
                <a:gd name="connsiteX12" fmla="*/ 211376 w 383698"/>
                <a:gd name="connsiteY12" fmla="*/ 171424 h 192895"/>
                <a:gd name="connsiteX13" fmla="*/ 216531 w 383698"/>
                <a:gd name="connsiteY13" fmla="*/ 180649 h 192895"/>
                <a:gd name="connsiteX14" fmla="*/ 250180 w 383698"/>
                <a:gd name="connsiteY14" fmla="*/ 192046 h 192895"/>
                <a:gd name="connsiteX15" fmla="*/ 261748 w 383698"/>
                <a:gd name="connsiteY15" fmla="*/ 190275 h 192895"/>
                <a:gd name="connsiteX16" fmla="*/ 281109 w 383698"/>
                <a:gd name="connsiteY16" fmla="*/ 183590 h 192895"/>
                <a:gd name="connsiteX17" fmla="*/ 307492 w 383698"/>
                <a:gd name="connsiteY17" fmla="*/ 163536 h 192895"/>
                <a:gd name="connsiteX18" fmla="*/ 324581 w 383698"/>
                <a:gd name="connsiteY18" fmla="*/ 143916 h 192895"/>
                <a:gd name="connsiteX19" fmla="*/ 307208 w 383698"/>
                <a:gd name="connsiteY19" fmla="*/ 147259 h 192895"/>
                <a:gd name="connsiteX20" fmla="*/ 292352 w 383698"/>
                <a:gd name="connsiteY20" fmla="*/ 133889 h 192895"/>
                <a:gd name="connsiteX21" fmla="*/ 275264 w 383698"/>
                <a:gd name="connsiteY21" fmla="*/ 126068 h 192895"/>
                <a:gd name="connsiteX22" fmla="*/ 299131 w 383698"/>
                <a:gd name="connsiteY22" fmla="*/ 120887 h 192895"/>
                <a:gd name="connsiteX23" fmla="*/ 324459 w 383698"/>
                <a:gd name="connsiteY23" fmla="*/ 121155 h 192895"/>
                <a:gd name="connsiteX24" fmla="*/ 338097 w 383698"/>
                <a:gd name="connsiteY24" fmla="*/ 108320 h 192895"/>
                <a:gd name="connsiteX25" fmla="*/ 366510 w 383698"/>
                <a:gd name="connsiteY25" fmla="*/ 96221 h 192895"/>
                <a:gd name="connsiteX26" fmla="*/ 374019 w 383698"/>
                <a:gd name="connsiteY26" fmla="*/ 76869 h 192895"/>
                <a:gd name="connsiteX27" fmla="*/ 360503 w 383698"/>
                <a:gd name="connsiteY27" fmla="*/ 65872 h 192895"/>
                <a:gd name="connsiteX28" fmla="*/ 370244 w 383698"/>
                <a:gd name="connsiteY28" fmla="*/ 52001 h 192895"/>
                <a:gd name="connsiteX29" fmla="*/ 367809 w 383698"/>
                <a:gd name="connsiteY29" fmla="*/ 40972 h 192895"/>
                <a:gd name="connsiteX30" fmla="*/ 383639 w 383698"/>
                <a:gd name="connsiteY30" fmla="*/ 18076 h 192895"/>
                <a:gd name="connsiteX31" fmla="*/ 339518 w 383698"/>
                <a:gd name="connsiteY31" fmla="*/ 26666 h 192895"/>
                <a:gd name="connsiteX32" fmla="*/ 340492 w 383698"/>
                <a:gd name="connsiteY32" fmla="*/ 8384 h 192895"/>
                <a:gd name="connsiteX33" fmla="*/ 299902 w 383698"/>
                <a:gd name="connsiteY33" fmla="*/ 12896 h 192895"/>
                <a:gd name="connsiteX34" fmla="*/ 303230 w 383698"/>
                <a:gd name="connsiteY34" fmla="*/ 730 h 192895"/>
                <a:gd name="connsiteX35" fmla="*/ 236338 w 383698"/>
                <a:gd name="connsiteY35" fmla="*/ 24561 h 192895"/>
                <a:gd name="connsiteX36" fmla="*/ 182963 w 383698"/>
                <a:gd name="connsiteY36" fmla="*/ 33852 h 192895"/>
                <a:gd name="connsiteX37" fmla="*/ 132307 w 383698"/>
                <a:gd name="connsiteY37" fmla="*/ 43879 h 192895"/>
                <a:gd name="connsiteX38" fmla="*/ 112459 w 383698"/>
                <a:gd name="connsiteY38" fmla="*/ 35858 h 192895"/>
                <a:gd name="connsiteX39" fmla="*/ 86035 w 383698"/>
                <a:gd name="connsiteY39" fmla="*/ 35557 h 192895"/>
                <a:gd name="connsiteX40" fmla="*/ 74710 w 383698"/>
                <a:gd name="connsiteY40" fmla="*/ 41740 h 192895"/>
                <a:gd name="connsiteX41" fmla="*/ 63142 w 383698"/>
                <a:gd name="connsiteY41" fmla="*/ 55110 h 192895"/>
                <a:gd name="connsiteX42" fmla="*/ 57865 w 383698"/>
                <a:gd name="connsiteY42" fmla="*/ 84589 h 192895"/>
                <a:gd name="connsiteX43" fmla="*/ 28925 w 383698"/>
                <a:gd name="connsiteY43" fmla="*/ 94015 h 192895"/>
                <a:gd name="connsiteX44" fmla="*/ 33390 w 383698"/>
                <a:gd name="connsiteY44" fmla="*/ 77971 h 192895"/>
                <a:gd name="connsiteX45" fmla="*/ 24947 w 383698"/>
                <a:gd name="connsiteY45" fmla="*/ 61494 h 192895"/>
                <a:gd name="connsiteX46" fmla="*/ 17966 w 383698"/>
                <a:gd name="connsiteY46" fmla="*/ 67176 h 192895"/>
                <a:gd name="connsiteX47" fmla="*/ 17844 w 383698"/>
                <a:gd name="connsiteY47" fmla="*/ 66775 h 1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3698" h="192895">
                  <a:moveTo>
                    <a:pt x="17844" y="66775"/>
                  </a:moveTo>
                  <a:cubicBezTo>
                    <a:pt x="14150" y="72958"/>
                    <a:pt x="7575" y="78606"/>
                    <a:pt x="3678" y="84756"/>
                  </a:cubicBezTo>
                  <a:cubicBezTo>
                    <a:pt x="-787" y="91809"/>
                    <a:pt x="6032" y="95887"/>
                    <a:pt x="4530" y="102437"/>
                  </a:cubicBezTo>
                  <a:cubicBezTo>
                    <a:pt x="3029" y="108989"/>
                    <a:pt x="-7078" y="116041"/>
                    <a:pt x="8589" y="112063"/>
                  </a:cubicBezTo>
                  <a:cubicBezTo>
                    <a:pt x="14272" y="110626"/>
                    <a:pt x="22227" y="115406"/>
                    <a:pt x="27829" y="116342"/>
                  </a:cubicBezTo>
                  <a:cubicBezTo>
                    <a:pt x="40696" y="118615"/>
                    <a:pt x="32659" y="134090"/>
                    <a:pt x="46460" y="137365"/>
                  </a:cubicBezTo>
                  <a:cubicBezTo>
                    <a:pt x="63223" y="141343"/>
                    <a:pt x="82990" y="123996"/>
                    <a:pt x="100282" y="123060"/>
                  </a:cubicBezTo>
                  <a:cubicBezTo>
                    <a:pt x="110876" y="122525"/>
                    <a:pt x="118425" y="127606"/>
                    <a:pt x="129466" y="127238"/>
                  </a:cubicBezTo>
                  <a:cubicBezTo>
                    <a:pt x="141318" y="126837"/>
                    <a:pt x="151303" y="122525"/>
                    <a:pt x="162140" y="118715"/>
                  </a:cubicBezTo>
                  <a:cubicBezTo>
                    <a:pt x="188402" y="109490"/>
                    <a:pt x="183653" y="115974"/>
                    <a:pt x="182841" y="129176"/>
                  </a:cubicBezTo>
                  <a:cubicBezTo>
                    <a:pt x="182042" y="135133"/>
                    <a:pt x="183458" y="141145"/>
                    <a:pt x="186900" y="146423"/>
                  </a:cubicBezTo>
                  <a:cubicBezTo>
                    <a:pt x="190959" y="151704"/>
                    <a:pt x="204394" y="150233"/>
                    <a:pt x="207804" y="155615"/>
                  </a:cubicBezTo>
                  <a:cubicBezTo>
                    <a:pt x="211213" y="160996"/>
                    <a:pt x="196967" y="169318"/>
                    <a:pt x="211376" y="171424"/>
                  </a:cubicBezTo>
                  <a:cubicBezTo>
                    <a:pt x="218033" y="172393"/>
                    <a:pt x="222863" y="176571"/>
                    <a:pt x="216531" y="180649"/>
                  </a:cubicBezTo>
                  <a:cubicBezTo>
                    <a:pt x="228708" y="183657"/>
                    <a:pt x="236826" y="189907"/>
                    <a:pt x="250180" y="192046"/>
                  </a:cubicBezTo>
                  <a:cubicBezTo>
                    <a:pt x="254149" y="193132"/>
                    <a:pt x="258517" y="192461"/>
                    <a:pt x="261748" y="190275"/>
                  </a:cubicBezTo>
                  <a:cubicBezTo>
                    <a:pt x="269338" y="184760"/>
                    <a:pt x="273925" y="187300"/>
                    <a:pt x="281109" y="183590"/>
                  </a:cubicBezTo>
                  <a:cubicBezTo>
                    <a:pt x="284437" y="181752"/>
                    <a:pt x="307289" y="165976"/>
                    <a:pt x="307492" y="163536"/>
                  </a:cubicBezTo>
                  <a:cubicBezTo>
                    <a:pt x="308061" y="156350"/>
                    <a:pt x="327787" y="148562"/>
                    <a:pt x="324581" y="143916"/>
                  </a:cubicBezTo>
                  <a:cubicBezTo>
                    <a:pt x="321212" y="138702"/>
                    <a:pt x="311795" y="149297"/>
                    <a:pt x="307208" y="147259"/>
                  </a:cubicBezTo>
                  <a:cubicBezTo>
                    <a:pt x="301047" y="143829"/>
                    <a:pt x="295957" y="139247"/>
                    <a:pt x="292352" y="133889"/>
                  </a:cubicBezTo>
                  <a:cubicBezTo>
                    <a:pt x="290891" y="131249"/>
                    <a:pt x="275386" y="125934"/>
                    <a:pt x="275264" y="126068"/>
                  </a:cubicBezTo>
                  <a:cubicBezTo>
                    <a:pt x="279729" y="120219"/>
                    <a:pt x="292596" y="121455"/>
                    <a:pt x="299131" y="120887"/>
                  </a:cubicBezTo>
                  <a:cubicBezTo>
                    <a:pt x="312444" y="119718"/>
                    <a:pt x="313662" y="118113"/>
                    <a:pt x="324459" y="121155"/>
                  </a:cubicBezTo>
                  <a:cubicBezTo>
                    <a:pt x="333348" y="123662"/>
                    <a:pt x="331278" y="111595"/>
                    <a:pt x="338097" y="108320"/>
                  </a:cubicBezTo>
                  <a:cubicBezTo>
                    <a:pt x="348082" y="103507"/>
                    <a:pt x="356890" y="102437"/>
                    <a:pt x="366510" y="96221"/>
                  </a:cubicBezTo>
                  <a:cubicBezTo>
                    <a:pt x="379052" y="88132"/>
                    <a:pt x="389849" y="83018"/>
                    <a:pt x="374019" y="76869"/>
                  </a:cubicBezTo>
                  <a:cubicBezTo>
                    <a:pt x="364643" y="73259"/>
                    <a:pt x="357336" y="73760"/>
                    <a:pt x="360503" y="65872"/>
                  </a:cubicBezTo>
                  <a:cubicBezTo>
                    <a:pt x="363344" y="58786"/>
                    <a:pt x="354455" y="56948"/>
                    <a:pt x="370244" y="52001"/>
                  </a:cubicBezTo>
                  <a:cubicBezTo>
                    <a:pt x="388753" y="46186"/>
                    <a:pt x="370244" y="44414"/>
                    <a:pt x="367809" y="40972"/>
                  </a:cubicBezTo>
                  <a:cubicBezTo>
                    <a:pt x="364237" y="35958"/>
                    <a:pt x="381244" y="23859"/>
                    <a:pt x="383639" y="18076"/>
                  </a:cubicBezTo>
                  <a:cubicBezTo>
                    <a:pt x="372680" y="18411"/>
                    <a:pt x="347798" y="28103"/>
                    <a:pt x="339518" y="26666"/>
                  </a:cubicBezTo>
                  <a:cubicBezTo>
                    <a:pt x="334363" y="25764"/>
                    <a:pt x="352628" y="10489"/>
                    <a:pt x="340492" y="8384"/>
                  </a:cubicBezTo>
                  <a:cubicBezTo>
                    <a:pt x="328356" y="6278"/>
                    <a:pt x="312444" y="11124"/>
                    <a:pt x="299902" y="12896"/>
                  </a:cubicBezTo>
                  <a:cubicBezTo>
                    <a:pt x="278633" y="15870"/>
                    <a:pt x="301038" y="-73"/>
                    <a:pt x="303230" y="730"/>
                  </a:cubicBezTo>
                  <a:cubicBezTo>
                    <a:pt x="286223" y="-5487"/>
                    <a:pt x="248515" y="17141"/>
                    <a:pt x="236338" y="24561"/>
                  </a:cubicBezTo>
                  <a:cubicBezTo>
                    <a:pt x="215151" y="37295"/>
                    <a:pt x="207439" y="32415"/>
                    <a:pt x="182963" y="33852"/>
                  </a:cubicBezTo>
                  <a:cubicBezTo>
                    <a:pt x="172572" y="34454"/>
                    <a:pt x="136325" y="55845"/>
                    <a:pt x="132307" y="43879"/>
                  </a:cubicBezTo>
                  <a:cubicBezTo>
                    <a:pt x="130359" y="38097"/>
                    <a:pt x="123215" y="33852"/>
                    <a:pt x="112459" y="35858"/>
                  </a:cubicBezTo>
                  <a:cubicBezTo>
                    <a:pt x="97887" y="38431"/>
                    <a:pt x="97725" y="38966"/>
                    <a:pt x="86035" y="35557"/>
                  </a:cubicBezTo>
                  <a:cubicBezTo>
                    <a:pt x="79621" y="33685"/>
                    <a:pt x="71706" y="37328"/>
                    <a:pt x="74710" y="41740"/>
                  </a:cubicBezTo>
                  <a:cubicBezTo>
                    <a:pt x="78769" y="47890"/>
                    <a:pt x="71382" y="50397"/>
                    <a:pt x="63142" y="55110"/>
                  </a:cubicBezTo>
                  <a:cubicBezTo>
                    <a:pt x="38788" y="69014"/>
                    <a:pt x="42563" y="73225"/>
                    <a:pt x="57865" y="84589"/>
                  </a:cubicBezTo>
                  <a:cubicBezTo>
                    <a:pt x="75725" y="97959"/>
                    <a:pt x="34486" y="105513"/>
                    <a:pt x="28925" y="94015"/>
                  </a:cubicBezTo>
                  <a:cubicBezTo>
                    <a:pt x="26652" y="89335"/>
                    <a:pt x="31198" y="82985"/>
                    <a:pt x="33390" y="77971"/>
                  </a:cubicBezTo>
                  <a:cubicBezTo>
                    <a:pt x="37043" y="69649"/>
                    <a:pt x="23648" y="69248"/>
                    <a:pt x="24947" y="61494"/>
                  </a:cubicBezTo>
                  <a:cubicBezTo>
                    <a:pt x="22065" y="62861"/>
                    <a:pt x="19658" y="64816"/>
                    <a:pt x="17966" y="67176"/>
                  </a:cubicBezTo>
                  <a:cubicBezTo>
                    <a:pt x="12689" y="75398"/>
                    <a:pt x="19102" y="64602"/>
                    <a:pt x="17844" y="6677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6904C4A6-6F02-481F-9298-2A8E78FCF213}"/>
                </a:ext>
              </a:extLst>
            </p:cNvPr>
            <p:cNvSpPr/>
            <p:nvPr/>
          </p:nvSpPr>
          <p:spPr>
            <a:xfrm>
              <a:off x="4173001" y="4963782"/>
              <a:ext cx="110992" cy="82837"/>
            </a:xfrm>
            <a:custGeom>
              <a:avLst/>
              <a:gdLst>
                <a:gd name="connsiteX0" fmla="*/ 14612 w 110992"/>
                <a:gd name="connsiteY0" fmla="*/ 29189 h 82837"/>
                <a:gd name="connsiteX1" fmla="*/ 4586 w 110992"/>
                <a:gd name="connsiteY1" fmla="*/ 40018 h 82837"/>
                <a:gd name="connsiteX2" fmla="*/ 162 w 110992"/>
                <a:gd name="connsiteY2" fmla="*/ 54290 h 82837"/>
                <a:gd name="connsiteX3" fmla="*/ 27844 w 110992"/>
                <a:gd name="connsiteY3" fmla="*/ 68160 h 82837"/>
                <a:gd name="connsiteX4" fmla="*/ 50696 w 110992"/>
                <a:gd name="connsiteY4" fmla="*/ 82499 h 82837"/>
                <a:gd name="connsiteX5" fmla="*/ 66932 w 110992"/>
                <a:gd name="connsiteY5" fmla="*/ 72472 h 82837"/>
                <a:gd name="connsiteX6" fmla="*/ 106426 w 110992"/>
                <a:gd name="connsiteY6" fmla="*/ 61409 h 82837"/>
                <a:gd name="connsiteX7" fmla="*/ 104234 w 110992"/>
                <a:gd name="connsiteY7" fmla="*/ 33634 h 82837"/>
                <a:gd name="connsiteX8" fmla="*/ 101190 w 110992"/>
                <a:gd name="connsiteY8" fmla="*/ 5023 h 82837"/>
                <a:gd name="connsiteX9" fmla="*/ 46678 w 110992"/>
                <a:gd name="connsiteY9" fmla="*/ 12477 h 82837"/>
                <a:gd name="connsiteX10" fmla="*/ 21309 w 110992"/>
                <a:gd name="connsiteY10" fmla="*/ 13513 h 82837"/>
                <a:gd name="connsiteX11" fmla="*/ 14734 w 110992"/>
                <a:gd name="connsiteY11" fmla="*/ 29356 h 82837"/>
                <a:gd name="connsiteX12" fmla="*/ 14612 w 110992"/>
                <a:gd name="connsiteY12" fmla="*/ 29189 h 8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992" h="82837">
                  <a:moveTo>
                    <a:pt x="14612" y="29189"/>
                  </a:moveTo>
                  <a:cubicBezTo>
                    <a:pt x="20741" y="33199"/>
                    <a:pt x="10553" y="38046"/>
                    <a:pt x="4586" y="40018"/>
                  </a:cubicBezTo>
                  <a:cubicBezTo>
                    <a:pt x="-2598" y="42424"/>
                    <a:pt x="892" y="50847"/>
                    <a:pt x="162" y="54290"/>
                  </a:cubicBezTo>
                  <a:cubicBezTo>
                    <a:pt x="-1989" y="64317"/>
                    <a:pt x="20132" y="61442"/>
                    <a:pt x="27844" y="68160"/>
                  </a:cubicBezTo>
                  <a:cubicBezTo>
                    <a:pt x="34866" y="73559"/>
                    <a:pt x="42497" y="78361"/>
                    <a:pt x="50696" y="82499"/>
                  </a:cubicBezTo>
                  <a:cubicBezTo>
                    <a:pt x="62426" y="81497"/>
                    <a:pt x="67460" y="79591"/>
                    <a:pt x="66932" y="72472"/>
                  </a:cubicBezTo>
                  <a:cubicBezTo>
                    <a:pt x="66161" y="64083"/>
                    <a:pt x="97902" y="58334"/>
                    <a:pt x="106426" y="61409"/>
                  </a:cubicBezTo>
                  <a:cubicBezTo>
                    <a:pt x="113002" y="50446"/>
                    <a:pt x="112474" y="43026"/>
                    <a:pt x="104234" y="33634"/>
                  </a:cubicBezTo>
                  <a:cubicBezTo>
                    <a:pt x="94452" y="22470"/>
                    <a:pt x="98836" y="17490"/>
                    <a:pt x="101190" y="5023"/>
                  </a:cubicBezTo>
                  <a:cubicBezTo>
                    <a:pt x="103910" y="-9616"/>
                    <a:pt x="56988" y="10104"/>
                    <a:pt x="46678" y="12477"/>
                  </a:cubicBezTo>
                  <a:cubicBezTo>
                    <a:pt x="36368" y="14850"/>
                    <a:pt x="31538" y="7664"/>
                    <a:pt x="21309" y="13513"/>
                  </a:cubicBezTo>
                  <a:cubicBezTo>
                    <a:pt x="14531" y="17390"/>
                    <a:pt x="8077" y="24977"/>
                    <a:pt x="14734" y="29356"/>
                  </a:cubicBezTo>
                  <a:cubicBezTo>
                    <a:pt x="20295" y="32765"/>
                    <a:pt x="11771" y="27183"/>
                    <a:pt x="14612" y="2918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94AD0F9C-ED5A-4DEA-B1C2-EC5E76455AB4}"/>
                </a:ext>
              </a:extLst>
            </p:cNvPr>
            <p:cNvSpPr/>
            <p:nvPr/>
          </p:nvSpPr>
          <p:spPr>
            <a:xfrm>
              <a:off x="4068620" y="4960888"/>
              <a:ext cx="155136" cy="111681"/>
            </a:xfrm>
            <a:custGeom>
              <a:avLst/>
              <a:gdLst>
                <a:gd name="connsiteX0" fmla="*/ 18411 w 155136"/>
                <a:gd name="connsiteY0" fmla="*/ 10056 h 111681"/>
                <a:gd name="connsiteX1" fmla="*/ 16950 w 155136"/>
                <a:gd name="connsiteY1" fmla="*/ 24562 h 111681"/>
                <a:gd name="connsiteX2" fmla="*/ 2500 w 155136"/>
                <a:gd name="connsiteY2" fmla="*/ 37932 h 111681"/>
                <a:gd name="connsiteX3" fmla="*/ 65 w 155136"/>
                <a:gd name="connsiteY3" fmla="*/ 52437 h 111681"/>
                <a:gd name="connsiteX4" fmla="*/ 25798 w 155136"/>
                <a:gd name="connsiteY4" fmla="*/ 62465 h 111681"/>
                <a:gd name="connsiteX5" fmla="*/ 42805 w 155136"/>
                <a:gd name="connsiteY5" fmla="*/ 59790 h 111681"/>
                <a:gd name="connsiteX6" fmla="*/ 55551 w 155136"/>
                <a:gd name="connsiteY6" fmla="*/ 67812 h 111681"/>
                <a:gd name="connsiteX7" fmla="*/ 60990 w 155136"/>
                <a:gd name="connsiteY7" fmla="*/ 77401 h 111681"/>
                <a:gd name="connsiteX8" fmla="*/ 58838 w 155136"/>
                <a:gd name="connsiteY8" fmla="*/ 80179 h 111681"/>
                <a:gd name="connsiteX9" fmla="*/ 60137 w 155136"/>
                <a:gd name="connsiteY9" fmla="*/ 96657 h 111681"/>
                <a:gd name="connsiteX10" fmla="*/ 107100 w 155136"/>
                <a:gd name="connsiteY10" fmla="*/ 105915 h 111681"/>
                <a:gd name="connsiteX11" fmla="*/ 115542 w 155136"/>
                <a:gd name="connsiteY11" fmla="*/ 102238 h 111681"/>
                <a:gd name="connsiteX12" fmla="*/ 125609 w 155136"/>
                <a:gd name="connsiteY12" fmla="*/ 95153 h 111681"/>
                <a:gd name="connsiteX13" fmla="*/ 155077 w 155136"/>
                <a:gd name="connsiteY13" fmla="*/ 85326 h 111681"/>
                <a:gd name="connsiteX14" fmla="*/ 129465 w 155136"/>
                <a:gd name="connsiteY14" fmla="*/ 69283 h 111681"/>
                <a:gd name="connsiteX15" fmla="*/ 103122 w 155136"/>
                <a:gd name="connsiteY15" fmla="*/ 60960 h 111681"/>
                <a:gd name="connsiteX16" fmla="*/ 106126 w 155136"/>
                <a:gd name="connsiteY16" fmla="*/ 44683 h 111681"/>
                <a:gd name="connsiteX17" fmla="*/ 118992 w 155136"/>
                <a:gd name="connsiteY17" fmla="*/ 37998 h 111681"/>
                <a:gd name="connsiteX18" fmla="*/ 117369 w 155136"/>
                <a:gd name="connsiteY18" fmla="*/ 25598 h 111681"/>
                <a:gd name="connsiteX19" fmla="*/ 98251 w 155136"/>
                <a:gd name="connsiteY19" fmla="*/ 15571 h 111681"/>
                <a:gd name="connsiteX20" fmla="*/ 71381 w 155136"/>
                <a:gd name="connsiteY20" fmla="*/ 10792 h 111681"/>
                <a:gd name="connsiteX21" fmla="*/ 49381 w 155136"/>
                <a:gd name="connsiteY21" fmla="*/ 2736 h 111681"/>
                <a:gd name="connsiteX22" fmla="*/ 31927 w 155136"/>
                <a:gd name="connsiteY22" fmla="*/ -238 h 111681"/>
                <a:gd name="connsiteX23" fmla="*/ 18411 w 155136"/>
                <a:gd name="connsiteY23" fmla="*/ 10090 h 11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136" h="111681">
                  <a:moveTo>
                    <a:pt x="18411" y="10056"/>
                  </a:moveTo>
                  <a:cubicBezTo>
                    <a:pt x="8345" y="16941"/>
                    <a:pt x="7574" y="21053"/>
                    <a:pt x="16950" y="24562"/>
                  </a:cubicBezTo>
                  <a:cubicBezTo>
                    <a:pt x="29127" y="29175"/>
                    <a:pt x="6478" y="34589"/>
                    <a:pt x="2500" y="37932"/>
                  </a:cubicBezTo>
                  <a:cubicBezTo>
                    <a:pt x="552" y="39636"/>
                    <a:pt x="-423" y="50666"/>
                    <a:pt x="65" y="52437"/>
                  </a:cubicBezTo>
                  <a:cubicBezTo>
                    <a:pt x="957" y="55780"/>
                    <a:pt x="21415" y="60492"/>
                    <a:pt x="25798" y="62465"/>
                  </a:cubicBezTo>
                  <a:cubicBezTo>
                    <a:pt x="28518" y="55780"/>
                    <a:pt x="39640" y="54276"/>
                    <a:pt x="42805" y="59790"/>
                  </a:cubicBezTo>
                  <a:cubicBezTo>
                    <a:pt x="45972" y="65305"/>
                    <a:pt x="47717" y="65239"/>
                    <a:pt x="55551" y="67812"/>
                  </a:cubicBezTo>
                  <a:cubicBezTo>
                    <a:pt x="60259" y="69223"/>
                    <a:pt x="62695" y="73514"/>
                    <a:pt x="60990" y="77401"/>
                  </a:cubicBezTo>
                  <a:cubicBezTo>
                    <a:pt x="60543" y="78448"/>
                    <a:pt x="59813" y="79397"/>
                    <a:pt x="58838" y="80179"/>
                  </a:cubicBezTo>
                  <a:cubicBezTo>
                    <a:pt x="53318" y="84858"/>
                    <a:pt x="57459" y="92813"/>
                    <a:pt x="60137" y="96657"/>
                  </a:cubicBezTo>
                  <a:cubicBezTo>
                    <a:pt x="64440" y="102807"/>
                    <a:pt x="96668" y="120053"/>
                    <a:pt x="107100" y="105915"/>
                  </a:cubicBezTo>
                  <a:cubicBezTo>
                    <a:pt x="109454" y="104070"/>
                    <a:pt x="112376" y="102797"/>
                    <a:pt x="115542" y="102238"/>
                  </a:cubicBezTo>
                  <a:cubicBezTo>
                    <a:pt x="122199" y="100166"/>
                    <a:pt x="120941" y="97559"/>
                    <a:pt x="125609" y="95153"/>
                  </a:cubicBezTo>
                  <a:cubicBezTo>
                    <a:pt x="135350" y="90206"/>
                    <a:pt x="142616" y="86396"/>
                    <a:pt x="155077" y="85326"/>
                  </a:cubicBezTo>
                  <a:cubicBezTo>
                    <a:pt x="146350" y="80346"/>
                    <a:pt x="138841" y="73695"/>
                    <a:pt x="129465" y="69283"/>
                  </a:cubicBezTo>
                  <a:cubicBezTo>
                    <a:pt x="123254" y="66408"/>
                    <a:pt x="106044" y="65706"/>
                    <a:pt x="103122" y="60960"/>
                  </a:cubicBezTo>
                  <a:cubicBezTo>
                    <a:pt x="101823" y="58888"/>
                    <a:pt x="104177" y="47090"/>
                    <a:pt x="106126" y="44683"/>
                  </a:cubicBezTo>
                  <a:cubicBezTo>
                    <a:pt x="108602" y="41641"/>
                    <a:pt x="115623" y="40739"/>
                    <a:pt x="118992" y="37998"/>
                  </a:cubicBezTo>
                  <a:cubicBezTo>
                    <a:pt x="123336" y="34322"/>
                    <a:pt x="116801" y="29609"/>
                    <a:pt x="117369" y="25598"/>
                  </a:cubicBezTo>
                  <a:cubicBezTo>
                    <a:pt x="118221" y="19415"/>
                    <a:pt x="106937" y="18913"/>
                    <a:pt x="98251" y="15571"/>
                  </a:cubicBezTo>
                  <a:cubicBezTo>
                    <a:pt x="89565" y="12229"/>
                    <a:pt x="76170" y="16674"/>
                    <a:pt x="71381" y="10792"/>
                  </a:cubicBezTo>
                  <a:cubicBezTo>
                    <a:pt x="65414" y="3539"/>
                    <a:pt x="63953" y="3739"/>
                    <a:pt x="49381" y="2736"/>
                  </a:cubicBezTo>
                  <a:cubicBezTo>
                    <a:pt x="43009" y="2335"/>
                    <a:pt x="38097" y="330"/>
                    <a:pt x="31927" y="-238"/>
                  </a:cubicBezTo>
                  <a:cubicBezTo>
                    <a:pt x="20481" y="-1241"/>
                    <a:pt x="25190" y="5477"/>
                    <a:pt x="18411" y="1009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25530B6A-874A-41D4-BD63-604FA58EBAC4}"/>
                </a:ext>
              </a:extLst>
            </p:cNvPr>
            <p:cNvSpPr/>
            <p:nvPr/>
          </p:nvSpPr>
          <p:spPr>
            <a:xfrm>
              <a:off x="4269021" y="4963762"/>
              <a:ext cx="85677" cy="62671"/>
            </a:xfrm>
            <a:custGeom>
              <a:avLst/>
              <a:gdLst>
                <a:gd name="connsiteX0" fmla="*/ 5088 w 85677"/>
                <a:gd name="connsiteY0" fmla="*/ 30478 h 62671"/>
                <a:gd name="connsiteX1" fmla="*/ 15682 w 85677"/>
                <a:gd name="connsiteY1" fmla="*/ 51569 h 62671"/>
                <a:gd name="connsiteX2" fmla="*/ 13896 w 85677"/>
                <a:gd name="connsiteY2" fmla="*/ 62097 h 62671"/>
                <a:gd name="connsiteX3" fmla="*/ 35693 w 85677"/>
                <a:gd name="connsiteY3" fmla="*/ 58186 h 62671"/>
                <a:gd name="connsiteX4" fmla="*/ 61954 w 85677"/>
                <a:gd name="connsiteY4" fmla="*/ 44082 h 62671"/>
                <a:gd name="connsiteX5" fmla="*/ 85618 w 85677"/>
                <a:gd name="connsiteY5" fmla="*/ 10491 h 62671"/>
                <a:gd name="connsiteX6" fmla="*/ 54202 w 85677"/>
                <a:gd name="connsiteY6" fmla="*/ 2336 h 62671"/>
                <a:gd name="connsiteX7" fmla="*/ 5697 w 85677"/>
                <a:gd name="connsiteY7" fmla="*/ 196 h 62671"/>
                <a:gd name="connsiteX8" fmla="*/ 5088 w 85677"/>
                <a:gd name="connsiteY8" fmla="*/ 30478 h 62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677" h="62671">
                  <a:moveTo>
                    <a:pt x="5088" y="30478"/>
                  </a:moveTo>
                  <a:cubicBezTo>
                    <a:pt x="10690" y="34890"/>
                    <a:pt x="18402" y="44951"/>
                    <a:pt x="15682" y="51569"/>
                  </a:cubicBezTo>
                  <a:cubicBezTo>
                    <a:pt x="14140" y="55345"/>
                    <a:pt x="6874" y="60827"/>
                    <a:pt x="13896" y="62097"/>
                  </a:cubicBezTo>
                  <a:cubicBezTo>
                    <a:pt x="21487" y="62929"/>
                    <a:pt x="29199" y="61545"/>
                    <a:pt x="35693" y="58186"/>
                  </a:cubicBezTo>
                  <a:cubicBezTo>
                    <a:pt x="47058" y="53039"/>
                    <a:pt x="60047" y="54376"/>
                    <a:pt x="61954" y="44082"/>
                  </a:cubicBezTo>
                  <a:cubicBezTo>
                    <a:pt x="64106" y="32751"/>
                    <a:pt x="75633" y="20685"/>
                    <a:pt x="85618" y="10491"/>
                  </a:cubicBezTo>
                  <a:cubicBezTo>
                    <a:pt x="74009" y="9087"/>
                    <a:pt x="64633" y="5210"/>
                    <a:pt x="54202" y="2336"/>
                  </a:cubicBezTo>
                  <a:cubicBezTo>
                    <a:pt x="38778" y="-1876"/>
                    <a:pt x="23110" y="130"/>
                    <a:pt x="5697" y="196"/>
                  </a:cubicBezTo>
                  <a:cubicBezTo>
                    <a:pt x="4398" y="10859"/>
                    <a:pt x="-6196" y="21521"/>
                    <a:pt x="5088" y="3047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703C7C41-A3A8-4ADF-A52B-8F5F53D40701}"/>
                </a:ext>
              </a:extLst>
            </p:cNvPr>
            <p:cNvSpPr/>
            <p:nvPr/>
          </p:nvSpPr>
          <p:spPr>
            <a:xfrm>
              <a:off x="3296913" y="4881421"/>
              <a:ext cx="301608" cy="72352"/>
            </a:xfrm>
            <a:custGeom>
              <a:avLst/>
              <a:gdLst>
                <a:gd name="connsiteX0" fmla="*/ 241547 w 301608"/>
                <a:gd name="connsiteY0" fmla="*/ 2153 h 72352"/>
                <a:gd name="connsiteX1" fmla="*/ 148800 w 301608"/>
                <a:gd name="connsiteY1" fmla="*/ 9172 h 72352"/>
                <a:gd name="connsiteX2" fmla="*/ 27031 w 301608"/>
                <a:gd name="connsiteY2" fmla="*/ 43231 h 72352"/>
                <a:gd name="connsiteX3" fmla="*/ 2068 w 301608"/>
                <a:gd name="connsiteY3" fmla="*/ 64756 h 72352"/>
                <a:gd name="connsiteX4" fmla="*/ 10470 w 301608"/>
                <a:gd name="connsiteY4" fmla="*/ 69268 h 72352"/>
                <a:gd name="connsiteX5" fmla="*/ 42049 w 301608"/>
                <a:gd name="connsiteY5" fmla="*/ 41994 h 72352"/>
                <a:gd name="connsiteX6" fmla="*/ 76997 w 301608"/>
                <a:gd name="connsiteY6" fmla="*/ 39621 h 72352"/>
                <a:gd name="connsiteX7" fmla="*/ 123391 w 301608"/>
                <a:gd name="connsiteY7" fmla="*/ 28491 h 72352"/>
                <a:gd name="connsiteX8" fmla="*/ 171611 w 301608"/>
                <a:gd name="connsiteY8" fmla="*/ 27255 h 72352"/>
                <a:gd name="connsiteX9" fmla="*/ 207087 w 301608"/>
                <a:gd name="connsiteY9" fmla="*/ 29360 h 72352"/>
                <a:gd name="connsiteX10" fmla="*/ 225109 w 301608"/>
                <a:gd name="connsiteY10" fmla="*/ 30898 h 72352"/>
                <a:gd name="connsiteX11" fmla="*/ 300037 w 301608"/>
                <a:gd name="connsiteY11" fmla="*/ 4727 h 72352"/>
                <a:gd name="connsiteX12" fmla="*/ 241547 w 301608"/>
                <a:gd name="connsiteY12" fmla="*/ 2153 h 7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1608" h="72352">
                  <a:moveTo>
                    <a:pt x="241547" y="2153"/>
                  </a:moveTo>
                  <a:cubicBezTo>
                    <a:pt x="215083" y="10743"/>
                    <a:pt x="175143" y="7067"/>
                    <a:pt x="148800" y="9172"/>
                  </a:cubicBezTo>
                  <a:cubicBezTo>
                    <a:pt x="105734" y="12515"/>
                    <a:pt x="62506" y="19600"/>
                    <a:pt x="27031" y="43231"/>
                  </a:cubicBezTo>
                  <a:cubicBezTo>
                    <a:pt x="17370" y="49264"/>
                    <a:pt x="8940" y="56530"/>
                    <a:pt x="2068" y="64756"/>
                  </a:cubicBezTo>
                  <a:cubicBezTo>
                    <a:pt x="-2275" y="70471"/>
                    <a:pt x="-205" y="75217"/>
                    <a:pt x="10470" y="69268"/>
                  </a:cubicBezTo>
                  <a:cubicBezTo>
                    <a:pt x="23702" y="61881"/>
                    <a:pt x="32672" y="50985"/>
                    <a:pt x="42049" y="41994"/>
                  </a:cubicBezTo>
                  <a:cubicBezTo>
                    <a:pt x="55849" y="28625"/>
                    <a:pt x="65226" y="39621"/>
                    <a:pt x="76997" y="39621"/>
                  </a:cubicBezTo>
                  <a:cubicBezTo>
                    <a:pt x="91081" y="39621"/>
                    <a:pt x="109753" y="32769"/>
                    <a:pt x="123391" y="28491"/>
                  </a:cubicBezTo>
                  <a:cubicBezTo>
                    <a:pt x="141859" y="22709"/>
                    <a:pt x="155132" y="26419"/>
                    <a:pt x="171611" y="27255"/>
                  </a:cubicBezTo>
                  <a:cubicBezTo>
                    <a:pt x="181028" y="27689"/>
                    <a:pt x="209644" y="19801"/>
                    <a:pt x="207087" y="29360"/>
                  </a:cubicBezTo>
                  <a:cubicBezTo>
                    <a:pt x="205057" y="36847"/>
                    <a:pt x="217234" y="33037"/>
                    <a:pt x="225109" y="30898"/>
                  </a:cubicBezTo>
                  <a:cubicBezTo>
                    <a:pt x="248894" y="24413"/>
                    <a:pt x="279377" y="16057"/>
                    <a:pt x="300037" y="4727"/>
                  </a:cubicBezTo>
                  <a:cubicBezTo>
                    <a:pt x="311727" y="-1757"/>
                    <a:pt x="252101" y="-1323"/>
                    <a:pt x="241547" y="215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2B60EA04-863A-4736-B341-205F48823FE8}"/>
                </a:ext>
              </a:extLst>
            </p:cNvPr>
            <p:cNvSpPr/>
            <p:nvPr/>
          </p:nvSpPr>
          <p:spPr>
            <a:xfrm>
              <a:off x="3497800" y="4937943"/>
              <a:ext cx="60606" cy="15994"/>
            </a:xfrm>
            <a:custGeom>
              <a:avLst/>
              <a:gdLst>
                <a:gd name="connsiteX0" fmla="*/ 761 w 60606"/>
                <a:gd name="connsiteY0" fmla="*/ 14919 h 15994"/>
                <a:gd name="connsiteX1" fmla="*/ 60509 w 60606"/>
                <a:gd name="connsiteY1" fmla="*/ 1716 h 15994"/>
                <a:gd name="connsiteX2" fmla="*/ 761 w 60606"/>
                <a:gd name="connsiteY2" fmla="*/ 14919 h 1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606" h="15994">
                  <a:moveTo>
                    <a:pt x="761" y="14919"/>
                  </a:moveTo>
                  <a:cubicBezTo>
                    <a:pt x="8148" y="18261"/>
                    <a:pt x="58601" y="9604"/>
                    <a:pt x="60509" y="1716"/>
                  </a:cubicBezTo>
                  <a:cubicBezTo>
                    <a:pt x="62417" y="-6171"/>
                    <a:pt x="-8413" y="10908"/>
                    <a:pt x="761" y="1491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3DEAB147-BDD8-44D8-9447-D1128ED9C6B8}"/>
                </a:ext>
              </a:extLst>
            </p:cNvPr>
            <p:cNvSpPr/>
            <p:nvPr/>
          </p:nvSpPr>
          <p:spPr>
            <a:xfrm>
              <a:off x="3817556" y="4839077"/>
              <a:ext cx="49057" cy="17601"/>
            </a:xfrm>
            <a:custGeom>
              <a:avLst/>
              <a:gdLst>
                <a:gd name="connsiteX0" fmla="*/ 2394 w 49057"/>
                <a:gd name="connsiteY0" fmla="*/ 15586 h 17601"/>
                <a:gd name="connsiteX1" fmla="*/ 48950 w 49057"/>
                <a:gd name="connsiteY1" fmla="*/ 2217 h 17601"/>
                <a:gd name="connsiteX2" fmla="*/ 2394 w 49057"/>
                <a:gd name="connsiteY2" fmla="*/ 15586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57" h="17601">
                  <a:moveTo>
                    <a:pt x="2394" y="15586"/>
                  </a:moveTo>
                  <a:cubicBezTo>
                    <a:pt x="17940" y="22271"/>
                    <a:pt x="47733" y="7130"/>
                    <a:pt x="48950" y="2217"/>
                  </a:cubicBezTo>
                  <a:cubicBezTo>
                    <a:pt x="50980" y="-6339"/>
                    <a:pt x="-13233" y="8768"/>
                    <a:pt x="2394" y="1558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41F02B27-E757-49CF-AB18-1B64E67B6916}"/>
                </a:ext>
              </a:extLst>
            </p:cNvPr>
            <p:cNvSpPr/>
            <p:nvPr/>
          </p:nvSpPr>
          <p:spPr>
            <a:xfrm>
              <a:off x="4479378" y="6018872"/>
              <a:ext cx="66502" cy="29425"/>
            </a:xfrm>
            <a:custGeom>
              <a:avLst/>
              <a:gdLst>
                <a:gd name="connsiteX0" fmla="*/ 65709 w 66502"/>
                <a:gd name="connsiteY0" fmla="*/ 1339 h 29425"/>
                <a:gd name="connsiteX1" fmla="*/ 34008 w 66502"/>
                <a:gd name="connsiteY1" fmla="*/ 22830 h 29425"/>
                <a:gd name="connsiteX2" fmla="*/ 65709 w 66502"/>
                <a:gd name="connsiteY2" fmla="*/ 1339 h 29425"/>
                <a:gd name="connsiteX3" fmla="*/ 22399 w 66502"/>
                <a:gd name="connsiteY3" fmla="*/ 3645 h 29425"/>
                <a:gd name="connsiteX4" fmla="*/ 4093 w 66502"/>
                <a:gd name="connsiteY4" fmla="*/ 29047 h 29425"/>
                <a:gd name="connsiteX5" fmla="*/ 22319 w 66502"/>
                <a:gd name="connsiteY5" fmla="*/ 3545 h 29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502" h="29425">
                  <a:moveTo>
                    <a:pt x="65709" y="1339"/>
                  </a:moveTo>
                  <a:cubicBezTo>
                    <a:pt x="53532" y="-7585"/>
                    <a:pt x="25119" y="21961"/>
                    <a:pt x="34008" y="22830"/>
                  </a:cubicBezTo>
                  <a:cubicBezTo>
                    <a:pt x="42897" y="23699"/>
                    <a:pt x="71351" y="5617"/>
                    <a:pt x="65709" y="1339"/>
                  </a:cubicBezTo>
                  <a:close/>
                  <a:moveTo>
                    <a:pt x="22399" y="3645"/>
                  </a:moveTo>
                  <a:cubicBezTo>
                    <a:pt x="10953" y="4982"/>
                    <a:pt x="-8651" y="27844"/>
                    <a:pt x="4093" y="29047"/>
                  </a:cubicBezTo>
                  <a:cubicBezTo>
                    <a:pt x="17366" y="30284"/>
                    <a:pt x="33643" y="2308"/>
                    <a:pt x="22319" y="354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2FDF91CD-DD6A-4EA1-BC5D-F4E839D1C880}"/>
                </a:ext>
              </a:extLst>
            </p:cNvPr>
            <p:cNvSpPr/>
            <p:nvPr/>
          </p:nvSpPr>
          <p:spPr>
            <a:xfrm>
              <a:off x="4477877" y="6017699"/>
              <a:ext cx="69441" cy="31711"/>
            </a:xfrm>
            <a:custGeom>
              <a:avLst/>
              <a:gdLst>
                <a:gd name="connsiteX0" fmla="*/ 39933 w 69441"/>
                <a:gd name="connsiteY0" fmla="*/ 24571 h 31711"/>
                <a:gd name="connsiteX1" fmla="*/ 39933 w 69441"/>
                <a:gd name="connsiteY1" fmla="*/ 24571 h 31711"/>
                <a:gd name="connsiteX2" fmla="*/ 35143 w 69441"/>
                <a:gd name="connsiteY2" fmla="*/ 25139 h 31711"/>
                <a:gd name="connsiteX3" fmla="*/ 32262 w 69441"/>
                <a:gd name="connsiteY3" fmla="*/ 22565 h 31711"/>
                <a:gd name="connsiteX4" fmla="*/ 57589 w 69441"/>
                <a:gd name="connsiteY4" fmla="*/ 272 h 31711"/>
                <a:gd name="connsiteX5" fmla="*/ 68224 w 69441"/>
                <a:gd name="connsiteY5" fmla="*/ 1676 h 31711"/>
                <a:gd name="connsiteX6" fmla="*/ 69117 w 69441"/>
                <a:gd name="connsiteY6" fmla="*/ 5219 h 31711"/>
                <a:gd name="connsiteX7" fmla="*/ 39933 w 69441"/>
                <a:gd name="connsiteY7" fmla="*/ 24571 h 31711"/>
                <a:gd name="connsiteX8" fmla="*/ 58360 w 69441"/>
                <a:gd name="connsiteY8" fmla="*/ 2378 h 31711"/>
                <a:gd name="connsiteX9" fmla="*/ 35224 w 69441"/>
                <a:gd name="connsiteY9" fmla="*/ 22432 h 31711"/>
                <a:gd name="connsiteX10" fmla="*/ 35712 w 69441"/>
                <a:gd name="connsiteY10" fmla="*/ 23000 h 31711"/>
                <a:gd name="connsiteX11" fmla="*/ 39121 w 69441"/>
                <a:gd name="connsiteY11" fmla="*/ 22565 h 31711"/>
                <a:gd name="connsiteX12" fmla="*/ 66235 w 69441"/>
                <a:gd name="connsiteY12" fmla="*/ 4851 h 31711"/>
                <a:gd name="connsiteX13" fmla="*/ 66235 w 69441"/>
                <a:gd name="connsiteY13" fmla="*/ 3414 h 31711"/>
                <a:gd name="connsiteX14" fmla="*/ 58360 w 69441"/>
                <a:gd name="connsiteY14" fmla="*/ 2378 h 31711"/>
                <a:gd name="connsiteX15" fmla="*/ 9653 w 69441"/>
                <a:gd name="connsiteY15" fmla="*/ 30921 h 31711"/>
                <a:gd name="connsiteX16" fmla="*/ 9653 w 69441"/>
                <a:gd name="connsiteY16" fmla="*/ 30921 h 31711"/>
                <a:gd name="connsiteX17" fmla="*/ 5310 w 69441"/>
                <a:gd name="connsiteY17" fmla="*/ 31322 h 31711"/>
                <a:gd name="connsiteX18" fmla="*/ -48 w 69441"/>
                <a:gd name="connsiteY18" fmla="*/ 26877 h 31711"/>
                <a:gd name="connsiteX19" fmla="*/ 23697 w 69441"/>
                <a:gd name="connsiteY19" fmla="*/ 3714 h 31711"/>
                <a:gd name="connsiteX20" fmla="*/ 28933 w 69441"/>
                <a:gd name="connsiteY20" fmla="*/ 6255 h 31711"/>
                <a:gd name="connsiteX21" fmla="*/ 29014 w 69441"/>
                <a:gd name="connsiteY21" fmla="*/ 6556 h 31711"/>
                <a:gd name="connsiteX22" fmla="*/ 9613 w 69441"/>
                <a:gd name="connsiteY22" fmla="*/ 30921 h 31711"/>
                <a:gd name="connsiteX23" fmla="*/ 22764 w 69441"/>
                <a:gd name="connsiteY23" fmla="*/ 6155 h 31711"/>
                <a:gd name="connsiteX24" fmla="*/ 2915 w 69441"/>
                <a:gd name="connsiteY24" fmla="*/ 26643 h 31711"/>
                <a:gd name="connsiteX25" fmla="*/ 5554 w 69441"/>
                <a:gd name="connsiteY25" fmla="*/ 29083 h 31711"/>
                <a:gd name="connsiteX26" fmla="*/ 5838 w 69441"/>
                <a:gd name="connsiteY26" fmla="*/ 29083 h 31711"/>
                <a:gd name="connsiteX27" fmla="*/ 8841 w 69441"/>
                <a:gd name="connsiteY27" fmla="*/ 28815 h 31711"/>
                <a:gd name="connsiteX28" fmla="*/ 8841 w 69441"/>
                <a:gd name="connsiteY28" fmla="*/ 28815 h 31711"/>
                <a:gd name="connsiteX29" fmla="*/ 26051 w 69441"/>
                <a:gd name="connsiteY29" fmla="*/ 7124 h 31711"/>
                <a:gd name="connsiteX30" fmla="*/ 23981 w 69441"/>
                <a:gd name="connsiteY30" fmla="*/ 5920 h 3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9441" h="31711">
                  <a:moveTo>
                    <a:pt x="39933" y="24571"/>
                  </a:moveTo>
                  <a:lnTo>
                    <a:pt x="39933" y="24571"/>
                  </a:lnTo>
                  <a:cubicBezTo>
                    <a:pt x="38391" y="25005"/>
                    <a:pt x="36767" y="25206"/>
                    <a:pt x="35143" y="25139"/>
                  </a:cubicBezTo>
                  <a:cubicBezTo>
                    <a:pt x="33520" y="25039"/>
                    <a:pt x="32221" y="23902"/>
                    <a:pt x="32262" y="22565"/>
                  </a:cubicBezTo>
                  <a:cubicBezTo>
                    <a:pt x="31937" y="17418"/>
                    <a:pt x="45778" y="3247"/>
                    <a:pt x="57589" y="272"/>
                  </a:cubicBezTo>
                  <a:cubicBezTo>
                    <a:pt x="61161" y="-898"/>
                    <a:pt x="65261" y="-363"/>
                    <a:pt x="68224" y="1676"/>
                  </a:cubicBezTo>
                  <a:cubicBezTo>
                    <a:pt x="69320" y="2611"/>
                    <a:pt x="69685" y="3982"/>
                    <a:pt x="69117" y="5219"/>
                  </a:cubicBezTo>
                  <a:cubicBezTo>
                    <a:pt x="66885" y="11402"/>
                    <a:pt x="49553" y="22097"/>
                    <a:pt x="39933" y="24571"/>
                  </a:cubicBezTo>
                  <a:close/>
                  <a:moveTo>
                    <a:pt x="58360" y="2378"/>
                  </a:moveTo>
                  <a:cubicBezTo>
                    <a:pt x="47483" y="5152"/>
                    <a:pt x="34981" y="18421"/>
                    <a:pt x="35224" y="22432"/>
                  </a:cubicBezTo>
                  <a:cubicBezTo>
                    <a:pt x="35224" y="22966"/>
                    <a:pt x="35468" y="22966"/>
                    <a:pt x="35712" y="23000"/>
                  </a:cubicBezTo>
                  <a:cubicBezTo>
                    <a:pt x="36889" y="23067"/>
                    <a:pt x="38025" y="22899"/>
                    <a:pt x="39121" y="22565"/>
                  </a:cubicBezTo>
                  <a:cubicBezTo>
                    <a:pt x="48457" y="20159"/>
                    <a:pt x="64449" y="9764"/>
                    <a:pt x="66235" y="4851"/>
                  </a:cubicBezTo>
                  <a:cubicBezTo>
                    <a:pt x="66641" y="3848"/>
                    <a:pt x="66235" y="3514"/>
                    <a:pt x="66235" y="3414"/>
                  </a:cubicBezTo>
                  <a:cubicBezTo>
                    <a:pt x="64084" y="1843"/>
                    <a:pt x="60999" y="1442"/>
                    <a:pt x="58360" y="2378"/>
                  </a:cubicBezTo>
                  <a:close/>
                  <a:moveTo>
                    <a:pt x="9653" y="30921"/>
                  </a:moveTo>
                  <a:lnTo>
                    <a:pt x="9653" y="30921"/>
                  </a:lnTo>
                  <a:cubicBezTo>
                    <a:pt x="8273" y="31322"/>
                    <a:pt x="6771" y="31456"/>
                    <a:pt x="5310" y="31322"/>
                  </a:cubicBezTo>
                  <a:cubicBezTo>
                    <a:pt x="2347" y="31289"/>
                    <a:pt x="-48" y="29317"/>
                    <a:pt x="-48" y="26877"/>
                  </a:cubicBezTo>
                  <a:cubicBezTo>
                    <a:pt x="-535" y="19524"/>
                    <a:pt x="14159" y="4851"/>
                    <a:pt x="23697" y="3714"/>
                  </a:cubicBezTo>
                  <a:cubicBezTo>
                    <a:pt x="26011" y="3213"/>
                    <a:pt x="28324" y="4350"/>
                    <a:pt x="28933" y="6255"/>
                  </a:cubicBezTo>
                  <a:cubicBezTo>
                    <a:pt x="28974" y="6355"/>
                    <a:pt x="28974" y="6455"/>
                    <a:pt x="29014" y="6556"/>
                  </a:cubicBezTo>
                  <a:cubicBezTo>
                    <a:pt x="30435" y="12572"/>
                    <a:pt x="20368" y="28114"/>
                    <a:pt x="9613" y="30921"/>
                  </a:cubicBezTo>
                  <a:close/>
                  <a:moveTo>
                    <a:pt x="22764" y="6155"/>
                  </a:moveTo>
                  <a:cubicBezTo>
                    <a:pt x="14646" y="8260"/>
                    <a:pt x="2469" y="20727"/>
                    <a:pt x="2915" y="26643"/>
                  </a:cubicBezTo>
                  <a:cubicBezTo>
                    <a:pt x="2834" y="27913"/>
                    <a:pt x="4011" y="29016"/>
                    <a:pt x="5554" y="29083"/>
                  </a:cubicBezTo>
                  <a:cubicBezTo>
                    <a:pt x="5634" y="29083"/>
                    <a:pt x="5756" y="29083"/>
                    <a:pt x="5838" y="29083"/>
                  </a:cubicBezTo>
                  <a:cubicBezTo>
                    <a:pt x="6852" y="29183"/>
                    <a:pt x="7867" y="29083"/>
                    <a:pt x="8841" y="28815"/>
                  </a:cubicBezTo>
                  <a:lnTo>
                    <a:pt x="8841" y="28815"/>
                  </a:lnTo>
                  <a:cubicBezTo>
                    <a:pt x="17731" y="26476"/>
                    <a:pt x="27310" y="12104"/>
                    <a:pt x="26051" y="7124"/>
                  </a:cubicBezTo>
                  <a:cubicBezTo>
                    <a:pt x="25767" y="5954"/>
                    <a:pt x="25036" y="5787"/>
                    <a:pt x="23981" y="592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AAC69F71-431B-4972-9854-61C109FF001A}"/>
                </a:ext>
              </a:extLst>
            </p:cNvPr>
            <p:cNvSpPr/>
            <p:nvPr/>
          </p:nvSpPr>
          <p:spPr>
            <a:xfrm>
              <a:off x="3302124" y="5366450"/>
              <a:ext cx="3207" cy="12801"/>
            </a:xfrm>
            <a:custGeom>
              <a:avLst/>
              <a:gdLst>
                <a:gd name="connsiteX0" fmla="*/ 2092 w 3207"/>
                <a:gd name="connsiteY0" fmla="*/ 4207 h 12801"/>
                <a:gd name="connsiteX1" fmla="*/ 3148 w 3207"/>
                <a:gd name="connsiteY1" fmla="*/ -339 h 12801"/>
                <a:gd name="connsiteX2" fmla="*/ 2377 w 3207"/>
                <a:gd name="connsiteY2" fmla="*/ 12462 h 12801"/>
                <a:gd name="connsiteX3" fmla="*/ 2092 w 3207"/>
                <a:gd name="connsiteY3" fmla="*/ 4207 h 12801"/>
                <a:gd name="connsiteX4" fmla="*/ 2092 w 3207"/>
                <a:gd name="connsiteY4" fmla="*/ 4207 h 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7" h="12801">
                  <a:moveTo>
                    <a:pt x="2092" y="4207"/>
                  </a:moveTo>
                  <a:cubicBezTo>
                    <a:pt x="2417" y="2669"/>
                    <a:pt x="2783" y="1165"/>
                    <a:pt x="3148" y="-339"/>
                  </a:cubicBezTo>
                  <a:cubicBezTo>
                    <a:pt x="-818" y="3204"/>
                    <a:pt x="-1143" y="8586"/>
                    <a:pt x="2377" y="12462"/>
                  </a:cubicBezTo>
                  <a:cubicBezTo>
                    <a:pt x="2377" y="9722"/>
                    <a:pt x="2133" y="6947"/>
                    <a:pt x="2092" y="4207"/>
                  </a:cubicBezTo>
                  <a:cubicBezTo>
                    <a:pt x="2052" y="2669"/>
                    <a:pt x="2133" y="7014"/>
                    <a:pt x="2092" y="42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46AF3EDD-1EF9-44C9-A8C6-362865BDBC79}"/>
                </a:ext>
              </a:extLst>
            </p:cNvPr>
            <p:cNvSpPr/>
            <p:nvPr/>
          </p:nvSpPr>
          <p:spPr>
            <a:xfrm>
              <a:off x="3300339" y="5362172"/>
              <a:ext cx="7712" cy="21357"/>
            </a:xfrm>
            <a:custGeom>
              <a:avLst/>
              <a:gdLst>
                <a:gd name="connsiteX0" fmla="*/ 6151 w 7712"/>
                <a:gd name="connsiteY0" fmla="*/ 21019 h 21357"/>
                <a:gd name="connsiteX1" fmla="*/ 2620 w 7712"/>
                <a:gd name="connsiteY1" fmla="*/ 17677 h 21357"/>
                <a:gd name="connsiteX2" fmla="*/ 3594 w 7712"/>
                <a:gd name="connsiteY2" fmla="*/ 3539 h 21357"/>
                <a:gd name="connsiteX3" fmla="*/ 7653 w 7712"/>
                <a:gd name="connsiteY3" fmla="*/ -339 h 21357"/>
                <a:gd name="connsiteX4" fmla="*/ 5542 w 7712"/>
                <a:gd name="connsiteY4" fmla="*/ 8351 h 21357"/>
                <a:gd name="connsiteX5" fmla="*/ 5826 w 7712"/>
                <a:gd name="connsiteY5" fmla="*/ 16507 h 2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2" h="21357">
                  <a:moveTo>
                    <a:pt x="6151" y="21019"/>
                  </a:moveTo>
                  <a:lnTo>
                    <a:pt x="2620" y="17677"/>
                  </a:lnTo>
                  <a:cubicBezTo>
                    <a:pt x="-1293" y="13398"/>
                    <a:pt x="-879" y="7416"/>
                    <a:pt x="3594" y="3539"/>
                  </a:cubicBezTo>
                  <a:lnTo>
                    <a:pt x="7653" y="-339"/>
                  </a:lnTo>
                  <a:cubicBezTo>
                    <a:pt x="6963" y="2569"/>
                    <a:pt x="6273" y="5444"/>
                    <a:pt x="5542" y="8351"/>
                  </a:cubicBezTo>
                  <a:cubicBezTo>
                    <a:pt x="5542" y="11092"/>
                    <a:pt x="5542" y="13799"/>
                    <a:pt x="5826" y="165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C4C68EB5-A081-4437-B977-9FE9216A1DEC}"/>
                </a:ext>
              </a:extLst>
            </p:cNvPr>
            <p:cNvSpPr/>
            <p:nvPr/>
          </p:nvSpPr>
          <p:spPr>
            <a:xfrm>
              <a:off x="3584468" y="5223670"/>
              <a:ext cx="146201" cy="111827"/>
            </a:xfrm>
            <a:custGeom>
              <a:avLst/>
              <a:gdLst>
                <a:gd name="connsiteX0" fmla="*/ 133724 w 146201"/>
                <a:gd name="connsiteY0" fmla="*/ 3667 h 111827"/>
                <a:gd name="connsiteX1" fmla="*/ 110507 w 146201"/>
                <a:gd name="connsiteY1" fmla="*/ 1026 h 111827"/>
                <a:gd name="connsiteX2" fmla="*/ 84367 w 146201"/>
                <a:gd name="connsiteY2" fmla="*/ 7042 h 111827"/>
                <a:gd name="connsiteX3" fmla="*/ 32169 w 146201"/>
                <a:gd name="connsiteY3" fmla="*/ 5772 h 111827"/>
                <a:gd name="connsiteX4" fmla="*/ 17840 w 146201"/>
                <a:gd name="connsiteY4" fmla="*/ 19710 h 111827"/>
                <a:gd name="connsiteX5" fmla="*/ 14877 w 146201"/>
                <a:gd name="connsiteY5" fmla="*/ 34216 h 111827"/>
                <a:gd name="connsiteX6" fmla="*/ 8058 w 146201"/>
                <a:gd name="connsiteY6" fmla="*/ 51161 h 111827"/>
                <a:gd name="connsiteX7" fmla="*/ -60 w 146201"/>
                <a:gd name="connsiteY7" fmla="*/ 65834 h 111827"/>
                <a:gd name="connsiteX8" fmla="*/ 4933 w 146201"/>
                <a:gd name="connsiteY8" fmla="*/ 71249 h 111827"/>
                <a:gd name="connsiteX9" fmla="*/ 8505 w 146201"/>
                <a:gd name="connsiteY9" fmla="*/ 82279 h 111827"/>
                <a:gd name="connsiteX10" fmla="*/ 32534 w 146201"/>
                <a:gd name="connsiteY10" fmla="*/ 85321 h 111827"/>
                <a:gd name="connsiteX11" fmla="*/ 43453 w 146201"/>
                <a:gd name="connsiteY11" fmla="*/ 84551 h 111827"/>
                <a:gd name="connsiteX12" fmla="*/ 32615 w 146201"/>
                <a:gd name="connsiteY12" fmla="*/ 97219 h 111827"/>
                <a:gd name="connsiteX13" fmla="*/ 40733 w 146201"/>
                <a:gd name="connsiteY13" fmla="*/ 110355 h 111827"/>
                <a:gd name="connsiteX14" fmla="*/ 67360 w 146201"/>
                <a:gd name="connsiteY14" fmla="*/ 108149 h 111827"/>
                <a:gd name="connsiteX15" fmla="*/ 91024 w 146201"/>
                <a:gd name="connsiteY15" fmla="*/ 73388 h 111827"/>
                <a:gd name="connsiteX16" fmla="*/ 114079 w 146201"/>
                <a:gd name="connsiteY16" fmla="*/ 58214 h 111827"/>
                <a:gd name="connsiteX17" fmla="*/ 140016 w 146201"/>
                <a:gd name="connsiteY17" fmla="*/ 34283 h 111827"/>
                <a:gd name="connsiteX18" fmla="*/ 144602 w 146201"/>
                <a:gd name="connsiteY18" fmla="*/ 17002 h 111827"/>
                <a:gd name="connsiteX19" fmla="*/ 133846 w 146201"/>
                <a:gd name="connsiteY19" fmla="*/ 3633 h 1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201" h="111827">
                  <a:moveTo>
                    <a:pt x="133724" y="3667"/>
                  </a:moveTo>
                  <a:cubicBezTo>
                    <a:pt x="131857" y="3165"/>
                    <a:pt x="112902" y="-3018"/>
                    <a:pt x="110507" y="1026"/>
                  </a:cubicBezTo>
                  <a:cubicBezTo>
                    <a:pt x="106813" y="7310"/>
                    <a:pt x="90740" y="8145"/>
                    <a:pt x="84367" y="7042"/>
                  </a:cubicBezTo>
                  <a:cubicBezTo>
                    <a:pt x="68131" y="4235"/>
                    <a:pt x="49338" y="8045"/>
                    <a:pt x="32169" y="5772"/>
                  </a:cubicBezTo>
                  <a:cubicBezTo>
                    <a:pt x="34442" y="12256"/>
                    <a:pt x="27623" y="15799"/>
                    <a:pt x="17840" y="19710"/>
                  </a:cubicBezTo>
                  <a:cubicBezTo>
                    <a:pt x="8058" y="23620"/>
                    <a:pt x="12767" y="30038"/>
                    <a:pt x="14877" y="34216"/>
                  </a:cubicBezTo>
                  <a:cubicBezTo>
                    <a:pt x="17394" y="39263"/>
                    <a:pt x="6516" y="45245"/>
                    <a:pt x="8058" y="51161"/>
                  </a:cubicBezTo>
                  <a:cubicBezTo>
                    <a:pt x="9601" y="57077"/>
                    <a:pt x="-60" y="59885"/>
                    <a:pt x="-60" y="65834"/>
                  </a:cubicBezTo>
                  <a:cubicBezTo>
                    <a:pt x="78" y="68308"/>
                    <a:pt x="2063" y="70480"/>
                    <a:pt x="4933" y="71249"/>
                  </a:cubicBezTo>
                  <a:cubicBezTo>
                    <a:pt x="11224" y="73656"/>
                    <a:pt x="8383" y="77934"/>
                    <a:pt x="8505" y="82279"/>
                  </a:cubicBezTo>
                  <a:cubicBezTo>
                    <a:pt x="8505" y="85086"/>
                    <a:pt x="29206" y="85822"/>
                    <a:pt x="32534" y="85321"/>
                  </a:cubicBezTo>
                  <a:cubicBezTo>
                    <a:pt x="37242" y="84652"/>
                    <a:pt x="40652" y="78903"/>
                    <a:pt x="43453" y="84551"/>
                  </a:cubicBezTo>
                  <a:cubicBezTo>
                    <a:pt x="46253" y="90200"/>
                    <a:pt x="39069" y="93910"/>
                    <a:pt x="32615" y="97219"/>
                  </a:cubicBezTo>
                  <a:cubicBezTo>
                    <a:pt x="46456" y="100227"/>
                    <a:pt x="34036" y="107614"/>
                    <a:pt x="40733" y="110355"/>
                  </a:cubicBezTo>
                  <a:cubicBezTo>
                    <a:pt x="50962" y="114666"/>
                    <a:pt x="58471" y="105074"/>
                    <a:pt x="67360" y="108149"/>
                  </a:cubicBezTo>
                  <a:cubicBezTo>
                    <a:pt x="93419" y="117206"/>
                    <a:pt x="84611" y="83449"/>
                    <a:pt x="91024" y="73388"/>
                  </a:cubicBezTo>
                  <a:cubicBezTo>
                    <a:pt x="95083" y="67104"/>
                    <a:pt x="106651" y="62793"/>
                    <a:pt x="114079" y="58214"/>
                  </a:cubicBezTo>
                  <a:cubicBezTo>
                    <a:pt x="125200" y="51529"/>
                    <a:pt x="135064" y="43407"/>
                    <a:pt x="140016" y="34283"/>
                  </a:cubicBezTo>
                  <a:cubicBezTo>
                    <a:pt x="143506" y="27899"/>
                    <a:pt x="143182" y="23086"/>
                    <a:pt x="144602" y="17002"/>
                  </a:cubicBezTo>
                  <a:cubicBezTo>
                    <a:pt x="146794" y="7677"/>
                    <a:pt x="148905" y="7677"/>
                    <a:pt x="133846" y="363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ED5C9DF4-9DDD-43BA-A452-E7078FFD1242}"/>
                </a:ext>
              </a:extLst>
            </p:cNvPr>
            <p:cNvSpPr/>
            <p:nvPr/>
          </p:nvSpPr>
          <p:spPr>
            <a:xfrm>
              <a:off x="3050770" y="2997195"/>
              <a:ext cx="2198713" cy="859897"/>
            </a:xfrm>
            <a:custGeom>
              <a:avLst/>
              <a:gdLst>
                <a:gd name="connsiteX0" fmla="*/ 2069799 w 2198713"/>
                <a:gd name="connsiteY0" fmla="*/ 13389 h 859897"/>
                <a:gd name="connsiteX1" fmla="*/ 1995479 w 2198713"/>
                <a:gd name="connsiteY1" fmla="*/ 36785 h 859897"/>
                <a:gd name="connsiteX2" fmla="*/ 1924406 w 2198713"/>
                <a:gd name="connsiteY2" fmla="*/ 45509 h 859897"/>
                <a:gd name="connsiteX3" fmla="*/ 1901148 w 2198713"/>
                <a:gd name="connsiteY3" fmla="*/ 44874 h 859897"/>
                <a:gd name="connsiteX4" fmla="*/ 1870828 w 2198713"/>
                <a:gd name="connsiteY4" fmla="*/ 50790 h 859897"/>
                <a:gd name="connsiteX5" fmla="*/ 1773412 w 2198713"/>
                <a:gd name="connsiteY5" fmla="*/ 94942 h 859897"/>
                <a:gd name="connsiteX6" fmla="*/ 1771180 w 2198713"/>
                <a:gd name="connsiteY6" fmla="*/ 85216 h 859897"/>
                <a:gd name="connsiteX7" fmla="*/ 1821876 w 2198713"/>
                <a:gd name="connsiteY7" fmla="*/ 41431 h 859897"/>
                <a:gd name="connsiteX8" fmla="*/ 1753361 w 2198713"/>
                <a:gd name="connsiteY8" fmla="*/ 49419 h 859897"/>
                <a:gd name="connsiteX9" fmla="*/ 1695277 w 2198713"/>
                <a:gd name="connsiteY9" fmla="*/ 70175 h 859897"/>
                <a:gd name="connsiteX10" fmla="*/ 1628953 w 2198713"/>
                <a:gd name="connsiteY10" fmla="*/ 89427 h 859897"/>
                <a:gd name="connsiteX11" fmla="*/ 1658178 w 2198713"/>
                <a:gd name="connsiteY11" fmla="*/ 72248 h 859897"/>
                <a:gd name="connsiteX12" fmla="*/ 1693613 w 2198713"/>
                <a:gd name="connsiteY12" fmla="*/ 56071 h 859897"/>
                <a:gd name="connsiteX13" fmla="*/ 1611905 w 2198713"/>
                <a:gd name="connsiteY13" fmla="*/ 64026 h 859897"/>
                <a:gd name="connsiteX14" fmla="*/ 1520578 w 2198713"/>
                <a:gd name="connsiteY14" fmla="*/ 80904 h 859897"/>
                <a:gd name="connsiteX15" fmla="*/ 1423691 w 2198713"/>
                <a:gd name="connsiteY15" fmla="*/ 104301 h 859897"/>
                <a:gd name="connsiteX16" fmla="*/ 1452875 w 2198713"/>
                <a:gd name="connsiteY16" fmla="*/ 89929 h 859897"/>
                <a:gd name="connsiteX17" fmla="*/ 1556987 w 2198713"/>
                <a:gd name="connsiteY17" fmla="*/ 65429 h 859897"/>
                <a:gd name="connsiteX18" fmla="*/ 1668853 w 2198713"/>
                <a:gd name="connsiteY18" fmla="*/ 48717 h 859897"/>
                <a:gd name="connsiteX19" fmla="*/ 1779216 w 2198713"/>
                <a:gd name="connsiteY19" fmla="*/ 24552 h 859897"/>
                <a:gd name="connsiteX20" fmla="*/ 1827153 w 2198713"/>
                <a:gd name="connsiteY20" fmla="*/ 6169 h 859897"/>
                <a:gd name="connsiteX21" fmla="*/ 1721133 w 2198713"/>
                <a:gd name="connsiteY21" fmla="*/ 10046 h 859897"/>
                <a:gd name="connsiteX22" fmla="*/ 1700432 w 2198713"/>
                <a:gd name="connsiteY22" fmla="*/ 2660 h 859897"/>
                <a:gd name="connsiteX23" fmla="*/ 1663901 w 2198713"/>
                <a:gd name="connsiteY23" fmla="*/ 888 h 859897"/>
                <a:gd name="connsiteX24" fmla="*/ 1593924 w 2198713"/>
                <a:gd name="connsiteY24" fmla="*/ 5802 h 859897"/>
                <a:gd name="connsiteX25" fmla="*/ 1515870 w 2198713"/>
                <a:gd name="connsiteY25" fmla="*/ 8877 h 859897"/>
                <a:gd name="connsiteX26" fmla="*/ 1391381 w 2198713"/>
                <a:gd name="connsiteY26" fmla="*/ 27326 h 859897"/>
                <a:gd name="connsiteX27" fmla="*/ 1294656 w 2198713"/>
                <a:gd name="connsiteY27" fmla="*/ 43737 h 859897"/>
                <a:gd name="connsiteX28" fmla="*/ 1250007 w 2198713"/>
                <a:gd name="connsiteY28" fmla="*/ 54767 h 859897"/>
                <a:gd name="connsiteX29" fmla="*/ 1193182 w 2198713"/>
                <a:gd name="connsiteY29" fmla="*/ 69641 h 859897"/>
                <a:gd name="connsiteX30" fmla="*/ 1199230 w 2198713"/>
                <a:gd name="connsiteY30" fmla="*/ 80370 h 859897"/>
                <a:gd name="connsiteX31" fmla="*/ 1175850 w 2198713"/>
                <a:gd name="connsiteY31" fmla="*/ 87054 h 859897"/>
                <a:gd name="connsiteX32" fmla="*/ 1162212 w 2198713"/>
                <a:gd name="connsiteY32" fmla="*/ 80670 h 859897"/>
                <a:gd name="connsiteX33" fmla="*/ 1115696 w 2198713"/>
                <a:gd name="connsiteY33" fmla="*/ 87355 h 859897"/>
                <a:gd name="connsiteX34" fmla="*/ 1043933 w 2198713"/>
                <a:gd name="connsiteY34" fmla="*/ 100992 h 859897"/>
                <a:gd name="connsiteX35" fmla="*/ 984266 w 2198713"/>
                <a:gd name="connsiteY35" fmla="*/ 117704 h 859897"/>
                <a:gd name="connsiteX36" fmla="*/ 897729 w 2198713"/>
                <a:gd name="connsiteY36" fmla="*/ 137357 h 859897"/>
                <a:gd name="connsiteX37" fmla="*/ 919606 w 2198713"/>
                <a:gd name="connsiteY37" fmla="*/ 144743 h 859897"/>
                <a:gd name="connsiteX38" fmla="*/ 900164 w 2198713"/>
                <a:gd name="connsiteY38" fmla="*/ 156375 h 859897"/>
                <a:gd name="connsiteX39" fmla="*/ 878611 w 2198713"/>
                <a:gd name="connsiteY39" fmla="*/ 171482 h 859897"/>
                <a:gd name="connsiteX40" fmla="*/ 975052 w 2198713"/>
                <a:gd name="connsiteY40" fmla="*/ 178167 h 859897"/>
                <a:gd name="connsiteX41" fmla="*/ 960562 w 2198713"/>
                <a:gd name="connsiteY41" fmla="*/ 183281 h 859897"/>
                <a:gd name="connsiteX42" fmla="*/ 901382 w 2198713"/>
                <a:gd name="connsiteY42" fmla="*/ 182345 h 859897"/>
                <a:gd name="connsiteX43" fmla="*/ 847884 w 2198713"/>
                <a:gd name="connsiteY43" fmla="*/ 187091 h 859897"/>
                <a:gd name="connsiteX44" fmla="*/ 811800 w 2198713"/>
                <a:gd name="connsiteY44" fmla="*/ 184651 h 859897"/>
                <a:gd name="connsiteX45" fmla="*/ 729484 w 2198713"/>
                <a:gd name="connsiteY45" fmla="*/ 199625 h 859897"/>
                <a:gd name="connsiteX46" fmla="*/ 776852 w 2198713"/>
                <a:gd name="connsiteY46" fmla="*/ 208215 h 859897"/>
                <a:gd name="connsiteX47" fmla="*/ 735938 w 2198713"/>
                <a:gd name="connsiteY47" fmla="*/ 222119 h 859897"/>
                <a:gd name="connsiteX48" fmla="*/ 671684 w 2198713"/>
                <a:gd name="connsiteY48" fmla="*/ 220648 h 859897"/>
                <a:gd name="connsiteX49" fmla="*/ 660482 w 2198713"/>
                <a:gd name="connsiteY49" fmla="*/ 253136 h 859897"/>
                <a:gd name="connsiteX50" fmla="*/ 638604 w 2198713"/>
                <a:gd name="connsiteY50" fmla="*/ 265369 h 859897"/>
                <a:gd name="connsiteX51" fmla="*/ 640024 w 2198713"/>
                <a:gd name="connsiteY51" fmla="*/ 252501 h 859897"/>
                <a:gd name="connsiteX52" fmla="*/ 581778 w 2198713"/>
                <a:gd name="connsiteY52" fmla="*/ 238664 h 859897"/>
                <a:gd name="connsiteX53" fmla="*/ 488421 w 2198713"/>
                <a:gd name="connsiteY53" fmla="*/ 270149 h 859897"/>
                <a:gd name="connsiteX54" fmla="*/ 447832 w 2198713"/>
                <a:gd name="connsiteY54" fmla="*/ 286092 h 859897"/>
                <a:gd name="connsiteX55" fmla="*/ 466341 w 2198713"/>
                <a:gd name="connsiteY55" fmla="*/ 294882 h 859897"/>
                <a:gd name="connsiteX56" fmla="*/ 424980 w 2198713"/>
                <a:gd name="connsiteY56" fmla="*/ 299428 h 859897"/>
                <a:gd name="connsiteX57" fmla="*/ 385648 w 2198713"/>
                <a:gd name="connsiteY57" fmla="*/ 308887 h 859897"/>
                <a:gd name="connsiteX58" fmla="*/ 355449 w 2198713"/>
                <a:gd name="connsiteY58" fmla="*/ 321187 h 859897"/>
                <a:gd name="connsiteX59" fmla="*/ 370914 w 2198713"/>
                <a:gd name="connsiteY59" fmla="*/ 330044 h 859897"/>
                <a:gd name="connsiteX60" fmla="*/ 372375 w 2198713"/>
                <a:gd name="connsiteY60" fmla="*/ 348828 h 859897"/>
                <a:gd name="connsiteX61" fmla="*/ 330608 w 2198713"/>
                <a:gd name="connsiteY61" fmla="*/ 355145 h 859897"/>
                <a:gd name="connsiteX62" fmla="*/ 263432 w 2198713"/>
                <a:gd name="connsiteY62" fmla="*/ 378541 h 859897"/>
                <a:gd name="connsiteX63" fmla="*/ 196743 w 2198713"/>
                <a:gd name="connsiteY63" fmla="*/ 414973 h 859897"/>
                <a:gd name="connsiteX64" fmla="*/ 157128 w 2198713"/>
                <a:gd name="connsiteY64" fmla="*/ 444152 h 859897"/>
                <a:gd name="connsiteX65" fmla="*/ 246425 w 2198713"/>
                <a:gd name="connsiteY65" fmla="*/ 451873 h 859897"/>
                <a:gd name="connsiteX66" fmla="*/ 179858 w 2198713"/>
                <a:gd name="connsiteY66" fmla="*/ 483759 h 859897"/>
                <a:gd name="connsiteX67" fmla="*/ 123438 w 2198713"/>
                <a:gd name="connsiteY67" fmla="*/ 506921 h 859897"/>
                <a:gd name="connsiteX68" fmla="*/ 77653 w 2198713"/>
                <a:gd name="connsiteY68" fmla="*/ 528948 h 859897"/>
                <a:gd name="connsiteX69" fmla="*/ 8650 w 2198713"/>
                <a:gd name="connsiteY69" fmla="*/ 560065 h 859897"/>
                <a:gd name="connsiteX70" fmla="*/ 34060 w 2198713"/>
                <a:gd name="connsiteY70" fmla="*/ 573769 h 859897"/>
                <a:gd name="connsiteX71" fmla="*/ 87192 w 2198713"/>
                <a:gd name="connsiteY71" fmla="*/ 565613 h 859897"/>
                <a:gd name="connsiteX72" fmla="*/ 141298 w 2198713"/>
                <a:gd name="connsiteY72" fmla="*/ 557458 h 859897"/>
                <a:gd name="connsiteX73" fmla="*/ 238713 w 2198713"/>
                <a:gd name="connsiteY73" fmla="*/ 529750 h 859897"/>
                <a:gd name="connsiteX74" fmla="*/ 190777 w 2198713"/>
                <a:gd name="connsiteY74" fmla="*/ 551241 h 859897"/>
                <a:gd name="connsiteX75" fmla="*/ 123520 w 2198713"/>
                <a:gd name="connsiteY75" fmla="*/ 575941 h 859897"/>
                <a:gd name="connsiteX76" fmla="*/ 70753 w 2198713"/>
                <a:gd name="connsiteY76" fmla="*/ 599338 h 859897"/>
                <a:gd name="connsiteX77" fmla="*/ 146615 w 2198713"/>
                <a:gd name="connsiteY77" fmla="*/ 590113 h 859897"/>
                <a:gd name="connsiteX78" fmla="*/ 148239 w 2198713"/>
                <a:gd name="connsiteY78" fmla="*/ 601410 h 859897"/>
                <a:gd name="connsiteX79" fmla="*/ 202629 w 2198713"/>
                <a:gd name="connsiteY79" fmla="*/ 595962 h 859897"/>
                <a:gd name="connsiteX80" fmla="*/ 244152 w 2198713"/>
                <a:gd name="connsiteY80" fmla="*/ 588642 h 859897"/>
                <a:gd name="connsiteX81" fmla="*/ 240743 w 2198713"/>
                <a:gd name="connsiteY81" fmla="*/ 581957 h 859897"/>
                <a:gd name="connsiteX82" fmla="*/ 266233 w 2198713"/>
                <a:gd name="connsiteY82" fmla="*/ 573067 h 859897"/>
                <a:gd name="connsiteX83" fmla="*/ 297447 w 2198713"/>
                <a:gd name="connsiteY83" fmla="*/ 565914 h 859897"/>
                <a:gd name="connsiteX84" fmla="*/ 337103 w 2198713"/>
                <a:gd name="connsiteY84" fmla="*/ 551709 h 859897"/>
                <a:gd name="connsiteX85" fmla="*/ 365516 w 2198713"/>
                <a:gd name="connsiteY85" fmla="*/ 539977 h 859897"/>
                <a:gd name="connsiteX86" fmla="*/ 453068 w 2198713"/>
                <a:gd name="connsiteY86" fmla="*/ 526942 h 859897"/>
                <a:gd name="connsiteX87" fmla="*/ 538672 w 2198713"/>
                <a:gd name="connsiteY87" fmla="*/ 521193 h 859897"/>
                <a:gd name="connsiteX88" fmla="*/ 555354 w 2198713"/>
                <a:gd name="connsiteY88" fmla="*/ 533293 h 859897"/>
                <a:gd name="connsiteX89" fmla="*/ 612586 w 2198713"/>
                <a:gd name="connsiteY89" fmla="*/ 535632 h 859897"/>
                <a:gd name="connsiteX90" fmla="*/ 655773 w 2198713"/>
                <a:gd name="connsiteY90" fmla="*/ 559965 h 859897"/>
                <a:gd name="connsiteX91" fmla="*/ 677245 w 2198713"/>
                <a:gd name="connsiteY91" fmla="*/ 566148 h 859897"/>
                <a:gd name="connsiteX92" fmla="*/ 704846 w 2198713"/>
                <a:gd name="connsiteY92" fmla="*/ 579952 h 859897"/>
                <a:gd name="connsiteX93" fmla="*/ 695023 w 2198713"/>
                <a:gd name="connsiteY93" fmla="*/ 593322 h 859897"/>
                <a:gd name="connsiteX94" fmla="*/ 693481 w 2198713"/>
                <a:gd name="connsiteY94" fmla="*/ 604752 h 859897"/>
                <a:gd name="connsiteX95" fmla="*/ 696160 w 2198713"/>
                <a:gd name="connsiteY95" fmla="*/ 619559 h 859897"/>
                <a:gd name="connsiteX96" fmla="*/ 734396 w 2198713"/>
                <a:gd name="connsiteY96" fmla="*/ 615983 h 859897"/>
                <a:gd name="connsiteX97" fmla="*/ 776040 w 2198713"/>
                <a:gd name="connsiteY97" fmla="*/ 601978 h 859897"/>
                <a:gd name="connsiteX98" fmla="*/ 853445 w 2198713"/>
                <a:gd name="connsiteY98" fmla="*/ 612005 h 859897"/>
                <a:gd name="connsiteX99" fmla="*/ 858438 w 2198713"/>
                <a:gd name="connsiteY99" fmla="*/ 622367 h 859897"/>
                <a:gd name="connsiteX100" fmla="*/ 817280 w 2198713"/>
                <a:gd name="connsiteY100" fmla="*/ 622968 h 859897"/>
                <a:gd name="connsiteX101" fmla="*/ 748034 w 2198713"/>
                <a:gd name="connsiteY101" fmla="*/ 640014 h 859897"/>
                <a:gd name="connsiteX102" fmla="*/ 802180 w 2198713"/>
                <a:gd name="connsiteY102" fmla="*/ 642989 h 859897"/>
                <a:gd name="connsiteX103" fmla="*/ 837453 w 2198713"/>
                <a:gd name="connsiteY103" fmla="*/ 641184 h 859897"/>
                <a:gd name="connsiteX104" fmla="*/ 870452 w 2198713"/>
                <a:gd name="connsiteY104" fmla="*/ 637374 h 859897"/>
                <a:gd name="connsiteX105" fmla="*/ 884415 w 2198713"/>
                <a:gd name="connsiteY105" fmla="*/ 648972 h 859897"/>
                <a:gd name="connsiteX106" fmla="*/ 884415 w 2198713"/>
                <a:gd name="connsiteY106" fmla="*/ 670463 h 859897"/>
                <a:gd name="connsiteX107" fmla="*/ 817767 w 2198713"/>
                <a:gd name="connsiteY107" fmla="*/ 698405 h 859897"/>
                <a:gd name="connsiteX108" fmla="*/ 804981 w 2198713"/>
                <a:gd name="connsiteY108" fmla="*/ 720732 h 859897"/>
                <a:gd name="connsiteX109" fmla="*/ 806645 w 2198713"/>
                <a:gd name="connsiteY109" fmla="*/ 739550 h 859897"/>
                <a:gd name="connsiteX110" fmla="*/ 839117 w 2198713"/>
                <a:gd name="connsiteY110" fmla="*/ 740151 h 859897"/>
                <a:gd name="connsiteX111" fmla="*/ 818457 w 2198713"/>
                <a:gd name="connsiteY111" fmla="*/ 755092 h 859897"/>
                <a:gd name="connsiteX112" fmla="*/ 865866 w 2198713"/>
                <a:gd name="connsiteY112" fmla="*/ 772739 h 859897"/>
                <a:gd name="connsiteX113" fmla="*/ 897647 w 2198713"/>
                <a:gd name="connsiteY113" fmla="*/ 800882 h 859897"/>
                <a:gd name="connsiteX114" fmla="*/ 913356 w 2198713"/>
                <a:gd name="connsiteY114" fmla="*/ 810307 h 859897"/>
                <a:gd name="connsiteX115" fmla="*/ 933163 w 2198713"/>
                <a:gd name="connsiteY115" fmla="*/ 818262 h 859897"/>
                <a:gd name="connsiteX116" fmla="*/ 959466 w 2198713"/>
                <a:gd name="connsiteY116" fmla="*/ 820635 h 859897"/>
                <a:gd name="connsiteX117" fmla="*/ 961698 w 2198713"/>
                <a:gd name="connsiteY117" fmla="*/ 829526 h 859897"/>
                <a:gd name="connsiteX118" fmla="*/ 979273 w 2198713"/>
                <a:gd name="connsiteY118" fmla="*/ 839854 h 859897"/>
                <a:gd name="connsiteX119" fmla="*/ 1013288 w 2198713"/>
                <a:gd name="connsiteY119" fmla="*/ 847809 h 859897"/>
                <a:gd name="connsiteX120" fmla="*/ 1041700 w 2198713"/>
                <a:gd name="connsiteY120" fmla="*/ 858671 h 859897"/>
                <a:gd name="connsiteX121" fmla="*/ 1081073 w 2198713"/>
                <a:gd name="connsiteY121" fmla="*/ 854627 h 859897"/>
                <a:gd name="connsiteX122" fmla="*/ 1093655 w 2198713"/>
                <a:gd name="connsiteY122" fmla="*/ 856098 h 859897"/>
                <a:gd name="connsiteX123" fmla="*/ 1119024 w 2198713"/>
                <a:gd name="connsiteY123" fmla="*/ 852454 h 859897"/>
                <a:gd name="connsiteX124" fmla="*/ 1151821 w 2198713"/>
                <a:gd name="connsiteY124" fmla="*/ 857067 h 859897"/>
                <a:gd name="connsiteX125" fmla="*/ 1191396 w 2198713"/>
                <a:gd name="connsiteY125" fmla="*/ 856365 h 859897"/>
                <a:gd name="connsiteX126" fmla="*/ 1217211 w 2198713"/>
                <a:gd name="connsiteY126" fmla="*/ 849079 h 859897"/>
                <a:gd name="connsiteX127" fmla="*/ 1232391 w 2198713"/>
                <a:gd name="connsiteY127" fmla="*/ 831164 h 859897"/>
                <a:gd name="connsiteX128" fmla="*/ 1233406 w 2198713"/>
                <a:gd name="connsiteY128" fmla="*/ 813416 h 859897"/>
                <a:gd name="connsiteX129" fmla="*/ 1241524 w 2198713"/>
                <a:gd name="connsiteY129" fmla="*/ 802720 h 859897"/>
                <a:gd name="connsiteX130" fmla="*/ 1234542 w 2198713"/>
                <a:gd name="connsiteY130" fmla="*/ 785841 h 859897"/>
                <a:gd name="connsiteX131" fmla="*/ 1222812 w 2198713"/>
                <a:gd name="connsiteY131" fmla="*/ 776483 h 859897"/>
                <a:gd name="connsiteX132" fmla="*/ 1253701 w 2198713"/>
                <a:gd name="connsiteY132" fmla="*/ 767458 h 859897"/>
                <a:gd name="connsiteX133" fmla="*/ 1261535 w 2198713"/>
                <a:gd name="connsiteY133" fmla="*/ 756094 h 859897"/>
                <a:gd name="connsiteX134" fmla="*/ 1277324 w 2198713"/>
                <a:gd name="connsiteY134" fmla="*/ 729823 h 859897"/>
                <a:gd name="connsiteX135" fmla="*/ 1283818 w 2198713"/>
                <a:gd name="connsiteY135" fmla="*/ 716821 h 859897"/>
                <a:gd name="connsiteX136" fmla="*/ 1280896 w 2198713"/>
                <a:gd name="connsiteY136" fmla="*/ 706393 h 859897"/>
                <a:gd name="connsiteX137" fmla="*/ 1264214 w 2198713"/>
                <a:gd name="connsiteY137" fmla="*/ 699341 h 859897"/>
                <a:gd name="connsiteX138" fmla="*/ 1298066 w 2198713"/>
                <a:gd name="connsiteY138" fmla="*/ 695999 h 859897"/>
                <a:gd name="connsiteX139" fmla="*/ 1297660 w 2198713"/>
                <a:gd name="connsiteY139" fmla="*/ 683030 h 859897"/>
                <a:gd name="connsiteX140" fmla="*/ 1339629 w 2198713"/>
                <a:gd name="connsiteY140" fmla="*/ 670296 h 859897"/>
                <a:gd name="connsiteX141" fmla="*/ 1361629 w 2198713"/>
                <a:gd name="connsiteY141" fmla="*/ 647735 h 859897"/>
                <a:gd name="connsiteX142" fmla="*/ 1364754 w 2198713"/>
                <a:gd name="connsiteY142" fmla="*/ 660235 h 859897"/>
                <a:gd name="connsiteX143" fmla="*/ 1383345 w 2198713"/>
                <a:gd name="connsiteY143" fmla="*/ 656091 h 859897"/>
                <a:gd name="connsiteX144" fmla="*/ 1472358 w 2198713"/>
                <a:gd name="connsiteY144" fmla="*/ 628015 h 859897"/>
                <a:gd name="connsiteX145" fmla="*/ 1501948 w 2198713"/>
                <a:gd name="connsiteY145" fmla="*/ 606223 h 859897"/>
                <a:gd name="connsiteX146" fmla="*/ 1516195 w 2198713"/>
                <a:gd name="connsiteY146" fmla="*/ 588475 h 859897"/>
                <a:gd name="connsiteX147" fmla="*/ 1543593 w 2198713"/>
                <a:gd name="connsiteY147" fmla="*/ 567385 h 859897"/>
                <a:gd name="connsiteX148" fmla="*/ 1591123 w 2198713"/>
                <a:gd name="connsiteY148" fmla="*/ 558394 h 859897"/>
                <a:gd name="connsiteX149" fmla="*/ 1602204 w 2198713"/>
                <a:gd name="connsiteY149" fmla="*/ 551341 h 859897"/>
                <a:gd name="connsiteX150" fmla="*/ 1635691 w 2198713"/>
                <a:gd name="connsiteY150" fmla="*/ 543487 h 859897"/>
                <a:gd name="connsiteX151" fmla="*/ 1699417 w 2198713"/>
                <a:gd name="connsiteY151" fmla="*/ 529182 h 859897"/>
                <a:gd name="connsiteX152" fmla="*/ 1773250 w 2198713"/>
                <a:gd name="connsiteY152" fmla="*/ 508024 h 859897"/>
                <a:gd name="connsiteX153" fmla="*/ 1838883 w 2198713"/>
                <a:gd name="connsiteY153" fmla="*/ 480617 h 859897"/>
                <a:gd name="connsiteX154" fmla="*/ 1896967 w 2198713"/>
                <a:gd name="connsiteY154" fmla="*/ 454413 h 859897"/>
                <a:gd name="connsiteX155" fmla="*/ 1857068 w 2198713"/>
                <a:gd name="connsiteY155" fmla="*/ 463270 h 859897"/>
                <a:gd name="connsiteX156" fmla="*/ 1802718 w 2198713"/>
                <a:gd name="connsiteY156" fmla="*/ 464574 h 859897"/>
                <a:gd name="connsiteX157" fmla="*/ 1748531 w 2198713"/>
                <a:gd name="connsiteY157" fmla="*/ 470724 h 859897"/>
                <a:gd name="connsiteX158" fmla="*/ 1742118 w 2198713"/>
                <a:gd name="connsiteY158" fmla="*/ 464707 h 859897"/>
                <a:gd name="connsiteX159" fmla="*/ 1768582 w 2198713"/>
                <a:gd name="connsiteY159" fmla="*/ 453043 h 859897"/>
                <a:gd name="connsiteX160" fmla="*/ 1760464 w 2198713"/>
                <a:gd name="connsiteY160" fmla="*/ 437634 h 859897"/>
                <a:gd name="connsiteX161" fmla="*/ 1840141 w 2198713"/>
                <a:gd name="connsiteY161" fmla="*/ 450469 h 859897"/>
                <a:gd name="connsiteX162" fmla="*/ 1899606 w 2198713"/>
                <a:gd name="connsiteY162" fmla="*/ 430950 h 859897"/>
                <a:gd name="connsiteX163" fmla="*/ 1899606 w 2198713"/>
                <a:gd name="connsiteY163" fmla="*/ 419251 h 859897"/>
                <a:gd name="connsiteX164" fmla="*/ 1873791 w 2198713"/>
                <a:gd name="connsiteY164" fmla="*/ 411297 h 859897"/>
                <a:gd name="connsiteX165" fmla="*/ 1809902 w 2198713"/>
                <a:gd name="connsiteY165" fmla="*/ 398261 h 859897"/>
                <a:gd name="connsiteX166" fmla="*/ 1853983 w 2198713"/>
                <a:gd name="connsiteY166" fmla="*/ 391209 h 859897"/>
                <a:gd name="connsiteX167" fmla="*/ 1883735 w 2198713"/>
                <a:gd name="connsiteY167" fmla="*/ 368514 h 859897"/>
                <a:gd name="connsiteX168" fmla="*/ 1804423 w 2198713"/>
                <a:gd name="connsiteY168" fmla="*/ 377539 h 859897"/>
                <a:gd name="connsiteX169" fmla="*/ 1770733 w 2198713"/>
                <a:gd name="connsiteY169" fmla="*/ 382552 h 859897"/>
                <a:gd name="connsiteX170" fmla="*/ 1773453 w 2198713"/>
                <a:gd name="connsiteY170" fmla="*/ 372325 h 859897"/>
                <a:gd name="connsiteX171" fmla="*/ 1795331 w 2198713"/>
                <a:gd name="connsiteY171" fmla="*/ 361897 h 859897"/>
                <a:gd name="connsiteX172" fmla="*/ 1802271 w 2198713"/>
                <a:gd name="connsiteY172" fmla="*/ 353206 h 859897"/>
                <a:gd name="connsiteX173" fmla="*/ 1873791 w 2198713"/>
                <a:gd name="connsiteY173" fmla="*/ 356248 h 859897"/>
                <a:gd name="connsiteX174" fmla="*/ 1924893 w 2198713"/>
                <a:gd name="connsiteY174" fmla="*/ 333754 h 859897"/>
                <a:gd name="connsiteX175" fmla="*/ 1884790 w 2198713"/>
                <a:gd name="connsiteY175" fmla="*/ 323159 h 859897"/>
                <a:gd name="connsiteX176" fmla="*/ 1961059 w 2198713"/>
                <a:gd name="connsiteY176" fmla="*/ 314368 h 859897"/>
                <a:gd name="connsiteX177" fmla="*/ 1978959 w 2198713"/>
                <a:gd name="connsiteY177" fmla="*/ 302570 h 859897"/>
                <a:gd name="connsiteX178" fmla="*/ 1955376 w 2198713"/>
                <a:gd name="connsiteY178" fmla="*/ 303439 h 859897"/>
                <a:gd name="connsiteX179" fmla="*/ 1900498 w 2198713"/>
                <a:gd name="connsiteY179" fmla="*/ 290069 h 859897"/>
                <a:gd name="connsiteX180" fmla="*/ 1973154 w 2198713"/>
                <a:gd name="connsiteY180" fmla="*/ 267876 h 859897"/>
                <a:gd name="connsiteX181" fmla="*/ 1920388 w 2198713"/>
                <a:gd name="connsiteY181" fmla="*/ 250563 h 859897"/>
                <a:gd name="connsiteX182" fmla="*/ 1879270 w 2198713"/>
                <a:gd name="connsiteY182" fmla="*/ 250563 h 859897"/>
                <a:gd name="connsiteX183" fmla="*/ 1858975 w 2198713"/>
                <a:gd name="connsiteY183" fmla="*/ 244680 h 859897"/>
                <a:gd name="connsiteX184" fmla="*/ 1894654 w 2198713"/>
                <a:gd name="connsiteY184" fmla="*/ 230174 h 859897"/>
                <a:gd name="connsiteX185" fmla="*/ 1988335 w 2198713"/>
                <a:gd name="connsiteY185" fmla="*/ 220147 h 859897"/>
                <a:gd name="connsiteX186" fmla="*/ 1968527 w 2198713"/>
                <a:gd name="connsiteY186" fmla="*/ 203669 h 859897"/>
                <a:gd name="connsiteX187" fmla="*/ 1906912 w 2198713"/>
                <a:gd name="connsiteY187" fmla="*/ 204237 h 859897"/>
                <a:gd name="connsiteX188" fmla="*/ 1956391 w 2198713"/>
                <a:gd name="connsiteY188" fmla="*/ 192840 h 859897"/>
                <a:gd name="connsiteX189" fmla="*/ 1900215 w 2198713"/>
                <a:gd name="connsiteY189" fmla="*/ 188228 h 859897"/>
                <a:gd name="connsiteX190" fmla="*/ 1847448 w 2198713"/>
                <a:gd name="connsiteY190" fmla="*/ 203536 h 859897"/>
                <a:gd name="connsiteX191" fmla="*/ 1865145 w 2198713"/>
                <a:gd name="connsiteY191" fmla="*/ 189297 h 859897"/>
                <a:gd name="connsiteX192" fmla="*/ 1870422 w 2198713"/>
                <a:gd name="connsiteY192" fmla="*/ 167438 h 859897"/>
                <a:gd name="connsiteX193" fmla="*/ 1916167 w 2198713"/>
                <a:gd name="connsiteY193" fmla="*/ 147384 h 859897"/>
                <a:gd name="connsiteX194" fmla="*/ 1938897 w 2198713"/>
                <a:gd name="connsiteY194" fmla="*/ 121781 h 859897"/>
                <a:gd name="connsiteX195" fmla="*/ 1994748 w 2198713"/>
                <a:gd name="connsiteY195" fmla="*/ 103165 h 859897"/>
                <a:gd name="connsiteX196" fmla="*/ 1902569 w 2198713"/>
                <a:gd name="connsiteY196" fmla="*/ 115765 h 859897"/>
                <a:gd name="connsiteX197" fmla="*/ 1923350 w 2198713"/>
                <a:gd name="connsiteY197" fmla="*/ 102396 h 859897"/>
                <a:gd name="connsiteX198" fmla="*/ 1980663 w 2198713"/>
                <a:gd name="connsiteY198" fmla="*/ 92903 h 859897"/>
                <a:gd name="connsiteX199" fmla="*/ 2038342 w 2198713"/>
                <a:gd name="connsiteY199" fmla="*/ 82676 h 859897"/>
                <a:gd name="connsiteX200" fmla="*/ 2020563 w 2198713"/>
                <a:gd name="connsiteY200" fmla="*/ 75991 h 859897"/>
                <a:gd name="connsiteX201" fmla="*/ 1960450 w 2198713"/>
                <a:gd name="connsiteY201" fmla="*/ 81974 h 859897"/>
                <a:gd name="connsiteX202" fmla="*/ 1962682 w 2198713"/>
                <a:gd name="connsiteY202" fmla="*/ 77027 h 859897"/>
                <a:gd name="connsiteX203" fmla="*/ 2027017 w 2198713"/>
                <a:gd name="connsiteY203" fmla="*/ 67535 h 859897"/>
                <a:gd name="connsiteX204" fmla="*/ 2063142 w 2198713"/>
                <a:gd name="connsiteY204" fmla="*/ 58778 h 859897"/>
                <a:gd name="connsiteX205" fmla="*/ 2104625 w 2198713"/>
                <a:gd name="connsiteY205" fmla="*/ 47013 h 859897"/>
                <a:gd name="connsiteX206" fmla="*/ 2150653 w 2198713"/>
                <a:gd name="connsiteY206" fmla="*/ 36986 h 859897"/>
                <a:gd name="connsiteX207" fmla="*/ 2186048 w 2198713"/>
                <a:gd name="connsiteY207" fmla="*/ 14859 h 859897"/>
                <a:gd name="connsiteX208" fmla="*/ 2069799 w 2198713"/>
                <a:gd name="connsiteY208" fmla="*/ 13389 h 859897"/>
                <a:gd name="connsiteX209" fmla="*/ 841349 w 2198713"/>
                <a:gd name="connsiteY209" fmla="*/ 655122 h 859897"/>
                <a:gd name="connsiteX210" fmla="*/ 821542 w 2198713"/>
                <a:gd name="connsiteY210" fmla="*/ 652047 h 859897"/>
                <a:gd name="connsiteX211" fmla="*/ 790531 w 2198713"/>
                <a:gd name="connsiteY211" fmla="*/ 646766 h 859897"/>
                <a:gd name="connsiteX212" fmla="*/ 738860 w 2198713"/>
                <a:gd name="connsiteY212" fmla="*/ 661338 h 859897"/>
                <a:gd name="connsiteX213" fmla="*/ 781561 w 2198713"/>
                <a:gd name="connsiteY213" fmla="*/ 676279 h 859897"/>
                <a:gd name="connsiteX214" fmla="*/ 841349 w 2198713"/>
                <a:gd name="connsiteY214" fmla="*/ 655122 h 859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2198713" h="859897">
                  <a:moveTo>
                    <a:pt x="2069799" y="13389"/>
                  </a:moveTo>
                  <a:cubicBezTo>
                    <a:pt x="2044227" y="15728"/>
                    <a:pt x="1995804" y="20809"/>
                    <a:pt x="1995479" y="36785"/>
                  </a:cubicBezTo>
                  <a:cubicBezTo>
                    <a:pt x="1995235" y="48651"/>
                    <a:pt x="1939221" y="42768"/>
                    <a:pt x="1924406" y="45509"/>
                  </a:cubicBezTo>
                  <a:cubicBezTo>
                    <a:pt x="1911986" y="47782"/>
                    <a:pt x="1908698" y="49887"/>
                    <a:pt x="1901148" y="44874"/>
                  </a:cubicBezTo>
                  <a:cubicBezTo>
                    <a:pt x="1893598" y="39860"/>
                    <a:pt x="1878337" y="47347"/>
                    <a:pt x="1870828" y="50790"/>
                  </a:cubicBezTo>
                  <a:cubicBezTo>
                    <a:pt x="1838356" y="65630"/>
                    <a:pt x="1804707" y="79467"/>
                    <a:pt x="1773412" y="94942"/>
                  </a:cubicBezTo>
                  <a:cubicBezTo>
                    <a:pt x="1742118" y="110417"/>
                    <a:pt x="1760464" y="92669"/>
                    <a:pt x="1771180" y="85216"/>
                  </a:cubicBezTo>
                  <a:cubicBezTo>
                    <a:pt x="1786482" y="74487"/>
                    <a:pt x="1832673" y="53698"/>
                    <a:pt x="1821876" y="41431"/>
                  </a:cubicBezTo>
                  <a:cubicBezTo>
                    <a:pt x="1810471" y="28496"/>
                    <a:pt x="1765984" y="38657"/>
                    <a:pt x="1753361" y="49419"/>
                  </a:cubicBezTo>
                  <a:cubicBezTo>
                    <a:pt x="1743213" y="58043"/>
                    <a:pt x="1712243" y="64594"/>
                    <a:pt x="1695277" y="70175"/>
                  </a:cubicBezTo>
                  <a:cubicBezTo>
                    <a:pt x="1675834" y="76526"/>
                    <a:pt x="1651399" y="86586"/>
                    <a:pt x="1628953" y="89427"/>
                  </a:cubicBezTo>
                  <a:cubicBezTo>
                    <a:pt x="1608658" y="91934"/>
                    <a:pt x="1655012" y="73317"/>
                    <a:pt x="1658178" y="72248"/>
                  </a:cubicBezTo>
                  <a:cubicBezTo>
                    <a:pt x="1661344" y="71178"/>
                    <a:pt x="1703517" y="56940"/>
                    <a:pt x="1693613" y="56071"/>
                  </a:cubicBezTo>
                  <a:cubicBezTo>
                    <a:pt x="1670720" y="53998"/>
                    <a:pt x="1635407" y="60683"/>
                    <a:pt x="1611905" y="64026"/>
                  </a:cubicBezTo>
                  <a:cubicBezTo>
                    <a:pt x="1581098" y="68167"/>
                    <a:pt x="1550574" y="73805"/>
                    <a:pt x="1520578" y="80904"/>
                  </a:cubicBezTo>
                  <a:cubicBezTo>
                    <a:pt x="1490502" y="88224"/>
                    <a:pt x="1455635" y="100691"/>
                    <a:pt x="1423691" y="104301"/>
                  </a:cubicBezTo>
                  <a:cubicBezTo>
                    <a:pt x="1402625" y="106674"/>
                    <a:pt x="1449587" y="90931"/>
                    <a:pt x="1452875" y="89929"/>
                  </a:cubicBezTo>
                  <a:cubicBezTo>
                    <a:pt x="1486483" y="80470"/>
                    <a:pt x="1521878" y="72314"/>
                    <a:pt x="1556987" y="65429"/>
                  </a:cubicBezTo>
                  <a:cubicBezTo>
                    <a:pt x="1593518" y="58277"/>
                    <a:pt x="1631673" y="54299"/>
                    <a:pt x="1668853" y="48717"/>
                  </a:cubicBezTo>
                  <a:cubicBezTo>
                    <a:pt x="1708590" y="42902"/>
                    <a:pt x="1741062" y="32607"/>
                    <a:pt x="1779216" y="24552"/>
                  </a:cubicBezTo>
                  <a:cubicBezTo>
                    <a:pt x="1787091" y="22848"/>
                    <a:pt x="1856093" y="10715"/>
                    <a:pt x="1827153" y="6169"/>
                  </a:cubicBezTo>
                  <a:cubicBezTo>
                    <a:pt x="1792327" y="654"/>
                    <a:pt x="1756608" y="10915"/>
                    <a:pt x="1721133" y="10046"/>
                  </a:cubicBezTo>
                  <a:cubicBezTo>
                    <a:pt x="1707494" y="9746"/>
                    <a:pt x="1712324" y="3796"/>
                    <a:pt x="1700432" y="2660"/>
                  </a:cubicBezTo>
                  <a:cubicBezTo>
                    <a:pt x="1688539" y="1523"/>
                    <a:pt x="1674536" y="2994"/>
                    <a:pt x="1663901" y="888"/>
                  </a:cubicBezTo>
                  <a:cubicBezTo>
                    <a:pt x="1645027" y="-2955"/>
                    <a:pt x="1615842" y="3228"/>
                    <a:pt x="1593924" y="5802"/>
                  </a:cubicBezTo>
                  <a:cubicBezTo>
                    <a:pt x="1566080" y="9144"/>
                    <a:pt x="1543228" y="6804"/>
                    <a:pt x="1515870" y="8877"/>
                  </a:cubicBezTo>
                  <a:cubicBezTo>
                    <a:pt x="1473778" y="12219"/>
                    <a:pt x="1432783" y="20408"/>
                    <a:pt x="1391381" y="27326"/>
                  </a:cubicBezTo>
                  <a:cubicBezTo>
                    <a:pt x="1358910" y="32741"/>
                    <a:pt x="1326762" y="37855"/>
                    <a:pt x="1294656" y="43737"/>
                  </a:cubicBezTo>
                  <a:cubicBezTo>
                    <a:pt x="1279556" y="46776"/>
                    <a:pt x="1264660" y="50456"/>
                    <a:pt x="1250007" y="54767"/>
                  </a:cubicBezTo>
                  <a:cubicBezTo>
                    <a:pt x="1234299" y="59112"/>
                    <a:pt x="1203654" y="61118"/>
                    <a:pt x="1193182" y="69641"/>
                  </a:cubicBezTo>
                  <a:cubicBezTo>
                    <a:pt x="1187418" y="74253"/>
                    <a:pt x="1206657" y="74554"/>
                    <a:pt x="1199230" y="80370"/>
                  </a:cubicBezTo>
                  <a:cubicBezTo>
                    <a:pt x="1192451" y="84517"/>
                    <a:pt x="1184292" y="86850"/>
                    <a:pt x="1175850" y="87054"/>
                  </a:cubicBezTo>
                  <a:cubicBezTo>
                    <a:pt x="1167732" y="87054"/>
                    <a:pt x="1171019" y="81439"/>
                    <a:pt x="1162212" y="80670"/>
                  </a:cubicBezTo>
                  <a:cubicBezTo>
                    <a:pt x="1146260" y="79761"/>
                    <a:pt x="1130308" y="82054"/>
                    <a:pt x="1115696" y="87355"/>
                  </a:cubicBezTo>
                  <a:cubicBezTo>
                    <a:pt x="1093006" y="96480"/>
                    <a:pt x="1070032" y="97716"/>
                    <a:pt x="1043933" y="100992"/>
                  </a:cubicBezTo>
                  <a:cubicBezTo>
                    <a:pt x="1017834" y="104267"/>
                    <a:pt x="1007889" y="111687"/>
                    <a:pt x="984266" y="117704"/>
                  </a:cubicBezTo>
                  <a:cubicBezTo>
                    <a:pt x="955853" y="125024"/>
                    <a:pt x="926385" y="130338"/>
                    <a:pt x="897729" y="137357"/>
                  </a:cubicBezTo>
                  <a:cubicBezTo>
                    <a:pt x="864283" y="145546"/>
                    <a:pt x="907714" y="144042"/>
                    <a:pt x="919606" y="144743"/>
                  </a:cubicBezTo>
                  <a:cubicBezTo>
                    <a:pt x="945949" y="146348"/>
                    <a:pt x="911488" y="153768"/>
                    <a:pt x="900164" y="156375"/>
                  </a:cubicBezTo>
                  <a:cubicBezTo>
                    <a:pt x="883603" y="160152"/>
                    <a:pt x="846910" y="168407"/>
                    <a:pt x="878611" y="171482"/>
                  </a:cubicBezTo>
                  <a:cubicBezTo>
                    <a:pt x="909134" y="174457"/>
                    <a:pt x="950049" y="169845"/>
                    <a:pt x="975052" y="178167"/>
                  </a:cubicBezTo>
                  <a:cubicBezTo>
                    <a:pt x="985484" y="181676"/>
                    <a:pt x="965595" y="183047"/>
                    <a:pt x="960562" y="183281"/>
                  </a:cubicBezTo>
                  <a:cubicBezTo>
                    <a:pt x="939942" y="184183"/>
                    <a:pt x="921839" y="181342"/>
                    <a:pt x="901382" y="182345"/>
                  </a:cubicBezTo>
                  <a:cubicBezTo>
                    <a:pt x="883766" y="183214"/>
                    <a:pt x="865216" y="186857"/>
                    <a:pt x="847884" y="187091"/>
                  </a:cubicBezTo>
                  <a:cubicBezTo>
                    <a:pt x="835017" y="187292"/>
                    <a:pt x="825114" y="184350"/>
                    <a:pt x="811800" y="184651"/>
                  </a:cubicBezTo>
                  <a:cubicBezTo>
                    <a:pt x="795564" y="184985"/>
                    <a:pt x="739429" y="188194"/>
                    <a:pt x="729484" y="199625"/>
                  </a:cubicBezTo>
                  <a:cubicBezTo>
                    <a:pt x="723314" y="206677"/>
                    <a:pt x="769384" y="206911"/>
                    <a:pt x="776852" y="208215"/>
                  </a:cubicBezTo>
                  <a:cubicBezTo>
                    <a:pt x="804169" y="212727"/>
                    <a:pt x="742635" y="220147"/>
                    <a:pt x="735938" y="222119"/>
                  </a:cubicBezTo>
                  <a:cubicBezTo>
                    <a:pt x="715643" y="227935"/>
                    <a:pt x="691776" y="219913"/>
                    <a:pt x="671684" y="220648"/>
                  </a:cubicBezTo>
                  <a:cubicBezTo>
                    <a:pt x="631825" y="222186"/>
                    <a:pt x="670954" y="242207"/>
                    <a:pt x="660482" y="253136"/>
                  </a:cubicBezTo>
                  <a:cubicBezTo>
                    <a:pt x="657072" y="256712"/>
                    <a:pt x="647411" y="264467"/>
                    <a:pt x="638604" y="265369"/>
                  </a:cubicBezTo>
                  <a:cubicBezTo>
                    <a:pt x="634788" y="265770"/>
                    <a:pt x="640349" y="254239"/>
                    <a:pt x="640024" y="252501"/>
                  </a:cubicBezTo>
                  <a:cubicBezTo>
                    <a:pt x="637264" y="237226"/>
                    <a:pt x="616360" y="227667"/>
                    <a:pt x="581778" y="238664"/>
                  </a:cubicBezTo>
                  <a:cubicBezTo>
                    <a:pt x="549712" y="248691"/>
                    <a:pt x="521664" y="261325"/>
                    <a:pt x="488421" y="270149"/>
                  </a:cubicBezTo>
                  <a:cubicBezTo>
                    <a:pt x="477543" y="273023"/>
                    <a:pt x="452621" y="279407"/>
                    <a:pt x="447832" y="286092"/>
                  </a:cubicBezTo>
                  <a:cubicBezTo>
                    <a:pt x="444098" y="291306"/>
                    <a:pt x="481440" y="288565"/>
                    <a:pt x="466341" y="294882"/>
                  </a:cubicBezTo>
                  <a:cubicBezTo>
                    <a:pt x="452256" y="300765"/>
                    <a:pt x="438658" y="297790"/>
                    <a:pt x="424980" y="299428"/>
                  </a:cubicBezTo>
                  <a:cubicBezTo>
                    <a:pt x="411480" y="301360"/>
                    <a:pt x="398288" y="304532"/>
                    <a:pt x="385648" y="308887"/>
                  </a:cubicBezTo>
                  <a:cubicBezTo>
                    <a:pt x="375014" y="311962"/>
                    <a:pt x="364870" y="316093"/>
                    <a:pt x="355449" y="321187"/>
                  </a:cubicBezTo>
                  <a:cubicBezTo>
                    <a:pt x="347331" y="326233"/>
                    <a:pt x="367099" y="327370"/>
                    <a:pt x="370914" y="330044"/>
                  </a:cubicBezTo>
                  <a:cubicBezTo>
                    <a:pt x="375825" y="333386"/>
                    <a:pt x="384065" y="343112"/>
                    <a:pt x="372375" y="348828"/>
                  </a:cubicBezTo>
                  <a:cubicBezTo>
                    <a:pt x="361903" y="353975"/>
                    <a:pt x="341690" y="353775"/>
                    <a:pt x="330608" y="355145"/>
                  </a:cubicBezTo>
                  <a:cubicBezTo>
                    <a:pt x="303779" y="358487"/>
                    <a:pt x="285026" y="367679"/>
                    <a:pt x="263432" y="378541"/>
                  </a:cubicBezTo>
                  <a:cubicBezTo>
                    <a:pt x="240215" y="390139"/>
                    <a:pt x="217850" y="402306"/>
                    <a:pt x="196743" y="414973"/>
                  </a:cubicBezTo>
                  <a:cubicBezTo>
                    <a:pt x="185216" y="421858"/>
                    <a:pt x="158914" y="435629"/>
                    <a:pt x="157128" y="444152"/>
                  </a:cubicBezTo>
                  <a:cubicBezTo>
                    <a:pt x="153799" y="459493"/>
                    <a:pt x="301790" y="394017"/>
                    <a:pt x="246425" y="451873"/>
                  </a:cubicBezTo>
                  <a:cubicBezTo>
                    <a:pt x="230879" y="468117"/>
                    <a:pt x="208758" y="475002"/>
                    <a:pt x="179858" y="483759"/>
                  </a:cubicBezTo>
                  <a:cubicBezTo>
                    <a:pt x="162202" y="489073"/>
                    <a:pt x="129770" y="496092"/>
                    <a:pt x="123438" y="506921"/>
                  </a:cubicBezTo>
                  <a:cubicBezTo>
                    <a:pt x="119014" y="514408"/>
                    <a:pt x="88775" y="524335"/>
                    <a:pt x="77653" y="528948"/>
                  </a:cubicBezTo>
                  <a:cubicBezTo>
                    <a:pt x="54557" y="538373"/>
                    <a:pt x="28296" y="548032"/>
                    <a:pt x="8650" y="560065"/>
                  </a:cubicBezTo>
                  <a:cubicBezTo>
                    <a:pt x="-13593" y="573902"/>
                    <a:pt x="11127" y="579718"/>
                    <a:pt x="34060" y="573769"/>
                  </a:cubicBezTo>
                  <a:cubicBezTo>
                    <a:pt x="52447" y="569022"/>
                    <a:pt x="70956" y="562806"/>
                    <a:pt x="87192" y="565613"/>
                  </a:cubicBezTo>
                  <a:cubicBezTo>
                    <a:pt x="101966" y="568153"/>
                    <a:pt x="124413" y="562572"/>
                    <a:pt x="141298" y="557458"/>
                  </a:cubicBezTo>
                  <a:cubicBezTo>
                    <a:pt x="167681" y="549436"/>
                    <a:pt x="214359" y="520692"/>
                    <a:pt x="238713" y="529750"/>
                  </a:cubicBezTo>
                  <a:cubicBezTo>
                    <a:pt x="261119" y="538106"/>
                    <a:pt x="202182" y="548467"/>
                    <a:pt x="190777" y="551241"/>
                  </a:cubicBezTo>
                  <a:cubicBezTo>
                    <a:pt x="164028" y="557592"/>
                    <a:pt x="148157" y="567518"/>
                    <a:pt x="123520" y="575941"/>
                  </a:cubicBezTo>
                  <a:cubicBezTo>
                    <a:pt x="117593" y="577913"/>
                    <a:pt x="54801" y="596229"/>
                    <a:pt x="70753" y="599338"/>
                  </a:cubicBezTo>
                  <a:cubicBezTo>
                    <a:pt x="82280" y="601376"/>
                    <a:pt x="156681" y="577311"/>
                    <a:pt x="146615" y="590113"/>
                  </a:cubicBezTo>
                  <a:cubicBezTo>
                    <a:pt x="143043" y="594625"/>
                    <a:pt x="135778" y="602179"/>
                    <a:pt x="148239" y="601410"/>
                  </a:cubicBezTo>
                  <a:cubicBezTo>
                    <a:pt x="165449" y="600407"/>
                    <a:pt x="185013" y="598068"/>
                    <a:pt x="202629" y="595962"/>
                  </a:cubicBezTo>
                  <a:cubicBezTo>
                    <a:pt x="216778" y="594912"/>
                    <a:pt x="230721" y="592456"/>
                    <a:pt x="244152" y="588642"/>
                  </a:cubicBezTo>
                  <a:cubicBezTo>
                    <a:pt x="255923" y="584598"/>
                    <a:pt x="240093" y="584798"/>
                    <a:pt x="240743" y="581957"/>
                  </a:cubicBezTo>
                  <a:cubicBezTo>
                    <a:pt x="241839" y="577612"/>
                    <a:pt x="260713" y="574003"/>
                    <a:pt x="266233" y="573067"/>
                  </a:cubicBezTo>
                  <a:cubicBezTo>
                    <a:pt x="281251" y="570560"/>
                    <a:pt x="283281" y="573668"/>
                    <a:pt x="297447" y="565914"/>
                  </a:cubicBezTo>
                  <a:cubicBezTo>
                    <a:pt x="310516" y="558828"/>
                    <a:pt x="324601" y="557625"/>
                    <a:pt x="337103" y="551709"/>
                  </a:cubicBezTo>
                  <a:cubicBezTo>
                    <a:pt x="346357" y="547297"/>
                    <a:pt x="352892" y="539576"/>
                    <a:pt x="365516" y="539977"/>
                  </a:cubicBezTo>
                  <a:cubicBezTo>
                    <a:pt x="390235" y="540746"/>
                    <a:pt x="426766" y="530786"/>
                    <a:pt x="453068" y="526942"/>
                  </a:cubicBezTo>
                  <a:cubicBezTo>
                    <a:pt x="478599" y="523165"/>
                    <a:pt x="516428" y="518854"/>
                    <a:pt x="538672" y="521193"/>
                  </a:cubicBezTo>
                  <a:cubicBezTo>
                    <a:pt x="550321" y="522430"/>
                    <a:pt x="545937" y="530452"/>
                    <a:pt x="555354" y="533293"/>
                  </a:cubicBezTo>
                  <a:cubicBezTo>
                    <a:pt x="571103" y="538039"/>
                    <a:pt x="593549" y="534763"/>
                    <a:pt x="612586" y="535632"/>
                  </a:cubicBezTo>
                  <a:cubicBezTo>
                    <a:pt x="644530" y="537136"/>
                    <a:pt x="634017" y="554884"/>
                    <a:pt x="655773" y="559965"/>
                  </a:cubicBezTo>
                  <a:cubicBezTo>
                    <a:pt x="659832" y="560901"/>
                    <a:pt x="680127" y="562137"/>
                    <a:pt x="677245" y="566148"/>
                  </a:cubicBezTo>
                  <a:cubicBezTo>
                    <a:pt x="669736" y="576175"/>
                    <a:pt x="697012" y="576175"/>
                    <a:pt x="704846" y="579952"/>
                  </a:cubicBezTo>
                  <a:cubicBezTo>
                    <a:pt x="711056" y="582994"/>
                    <a:pt x="699691" y="589979"/>
                    <a:pt x="695023" y="593322"/>
                  </a:cubicBezTo>
                  <a:cubicBezTo>
                    <a:pt x="686540" y="599739"/>
                    <a:pt x="688326" y="600407"/>
                    <a:pt x="693481" y="604752"/>
                  </a:cubicBezTo>
                  <a:cubicBezTo>
                    <a:pt x="698636" y="609097"/>
                    <a:pt x="693481" y="615080"/>
                    <a:pt x="696160" y="619559"/>
                  </a:cubicBezTo>
                  <a:cubicBezTo>
                    <a:pt x="700462" y="626244"/>
                    <a:pt x="724573" y="620829"/>
                    <a:pt x="734396" y="615983"/>
                  </a:cubicBezTo>
                  <a:cubicBezTo>
                    <a:pt x="739388" y="613409"/>
                    <a:pt x="778435" y="584631"/>
                    <a:pt x="776040" y="601978"/>
                  </a:cubicBezTo>
                  <a:cubicBezTo>
                    <a:pt x="773280" y="621665"/>
                    <a:pt x="828564" y="608095"/>
                    <a:pt x="853445" y="612005"/>
                  </a:cubicBezTo>
                  <a:cubicBezTo>
                    <a:pt x="860711" y="613108"/>
                    <a:pt x="880600" y="620194"/>
                    <a:pt x="858438" y="622367"/>
                  </a:cubicBezTo>
                  <a:cubicBezTo>
                    <a:pt x="844069" y="623770"/>
                    <a:pt x="832217" y="621130"/>
                    <a:pt x="817280" y="622968"/>
                  </a:cubicBezTo>
                  <a:cubicBezTo>
                    <a:pt x="811069" y="623637"/>
                    <a:pt x="746288" y="634934"/>
                    <a:pt x="748034" y="640014"/>
                  </a:cubicBezTo>
                  <a:cubicBezTo>
                    <a:pt x="749779" y="645095"/>
                    <a:pt x="794225" y="643022"/>
                    <a:pt x="802180" y="642989"/>
                  </a:cubicBezTo>
                  <a:cubicBezTo>
                    <a:pt x="813976" y="643123"/>
                    <a:pt x="825767" y="642521"/>
                    <a:pt x="837453" y="641184"/>
                  </a:cubicBezTo>
                  <a:cubicBezTo>
                    <a:pt x="850239" y="639513"/>
                    <a:pt x="857991" y="635068"/>
                    <a:pt x="870452" y="637374"/>
                  </a:cubicBezTo>
                  <a:cubicBezTo>
                    <a:pt x="877271" y="638644"/>
                    <a:pt x="891275" y="643256"/>
                    <a:pt x="884415" y="648972"/>
                  </a:cubicBezTo>
                  <a:cubicBezTo>
                    <a:pt x="875932" y="655991"/>
                    <a:pt x="882792" y="664347"/>
                    <a:pt x="884415" y="670463"/>
                  </a:cubicBezTo>
                  <a:cubicBezTo>
                    <a:pt x="888028" y="683832"/>
                    <a:pt x="821217" y="679688"/>
                    <a:pt x="817767" y="698405"/>
                  </a:cubicBezTo>
                  <a:cubicBezTo>
                    <a:pt x="816103" y="707296"/>
                    <a:pt x="813708" y="711775"/>
                    <a:pt x="804981" y="720732"/>
                  </a:cubicBezTo>
                  <a:cubicBezTo>
                    <a:pt x="798974" y="727149"/>
                    <a:pt x="792520" y="737745"/>
                    <a:pt x="806645" y="739550"/>
                  </a:cubicBezTo>
                  <a:cubicBezTo>
                    <a:pt x="814763" y="740619"/>
                    <a:pt x="833759" y="736775"/>
                    <a:pt x="839117" y="740151"/>
                  </a:cubicBezTo>
                  <a:cubicBezTo>
                    <a:pt x="842933" y="742491"/>
                    <a:pt x="821420" y="752618"/>
                    <a:pt x="818457" y="755092"/>
                  </a:cubicBezTo>
                  <a:cubicBezTo>
                    <a:pt x="802546" y="768127"/>
                    <a:pt x="852268" y="771803"/>
                    <a:pt x="865866" y="772739"/>
                  </a:cubicBezTo>
                  <a:cubicBezTo>
                    <a:pt x="886160" y="774076"/>
                    <a:pt x="875323" y="806831"/>
                    <a:pt x="897647" y="800882"/>
                  </a:cubicBezTo>
                  <a:cubicBezTo>
                    <a:pt x="912625" y="796904"/>
                    <a:pt x="906658" y="806798"/>
                    <a:pt x="913356" y="810307"/>
                  </a:cubicBezTo>
                  <a:cubicBezTo>
                    <a:pt x="918673" y="813048"/>
                    <a:pt x="927319" y="815889"/>
                    <a:pt x="933163" y="818262"/>
                  </a:cubicBezTo>
                  <a:cubicBezTo>
                    <a:pt x="940023" y="821003"/>
                    <a:pt x="952647" y="817761"/>
                    <a:pt x="959466" y="820635"/>
                  </a:cubicBezTo>
                  <a:cubicBezTo>
                    <a:pt x="963890" y="822474"/>
                    <a:pt x="960724" y="826785"/>
                    <a:pt x="961698" y="829526"/>
                  </a:cubicBezTo>
                  <a:cubicBezTo>
                    <a:pt x="963525" y="834707"/>
                    <a:pt x="971764" y="837380"/>
                    <a:pt x="979273" y="839854"/>
                  </a:cubicBezTo>
                  <a:cubicBezTo>
                    <a:pt x="990423" y="843029"/>
                    <a:pt x="1001776" y="845683"/>
                    <a:pt x="1013288" y="847809"/>
                  </a:cubicBezTo>
                  <a:cubicBezTo>
                    <a:pt x="1024815" y="850382"/>
                    <a:pt x="1030457" y="856164"/>
                    <a:pt x="1041700" y="858671"/>
                  </a:cubicBezTo>
                  <a:cubicBezTo>
                    <a:pt x="1057003" y="862014"/>
                    <a:pt x="1066054" y="854861"/>
                    <a:pt x="1081073" y="854627"/>
                  </a:cubicBezTo>
                  <a:cubicBezTo>
                    <a:pt x="1085294" y="854884"/>
                    <a:pt x="1089515" y="855376"/>
                    <a:pt x="1093655" y="856098"/>
                  </a:cubicBezTo>
                  <a:cubicBezTo>
                    <a:pt x="1101367" y="856766"/>
                    <a:pt x="1110866" y="853156"/>
                    <a:pt x="1119024" y="852454"/>
                  </a:cubicBezTo>
                  <a:cubicBezTo>
                    <a:pt x="1135260" y="851084"/>
                    <a:pt x="1139319" y="855797"/>
                    <a:pt x="1151821" y="857067"/>
                  </a:cubicBezTo>
                  <a:cubicBezTo>
                    <a:pt x="1165012" y="857976"/>
                    <a:pt x="1178285" y="857742"/>
                    <a:pt x="1191396" y="856365"/>
                  </a:cubicBezTo>
                  <a:cubicBezTo>
                    <a:pt x="1202071" y="855563"/>
                    <a:pt x="1212096" y="855697"/>
                    <a:pt x="1217211" y="849079"/>
                  </a:cubicBezTo>
                  <a:cubicBezTo>
                    <a:pt x="1221595" y="843330"/>
                    <a:pt x="1231092" y="836879"/>
                    <a:pt x="1232391" y="831164"/>
                  </a:cubicBezTo>
                  <a:cubicBezTo>
                    <a:pt x="1233690" y="825448"/>
                    <a:pt x="1232067" y="819432"/>
                    <a:pt x="1233406" y="813416"/>
                  </a:cubicBezTo>
                  <a:cubicBezTo>
                    <a:pt x="1234299" y="809204"/>
                    <a:pt x="1240834" y="806965"/>
                    <a:pt x="1241524" y="802720"/>
                  </a:cubicBezTo>
                  <a:cubicBezTo>
                    <a:pt x="1242092" y="796544"/>
                    <a:pt x="1239576" y="790444"/>
                    <a:pt x="1234542" y="785841"/>
                  </a:cubicBezTo>
                  <a:cubicBezTo>
                    <a:pt x="1231133" y="782499"/>
                    <a:pt x="1215912" y="781964"/>
                    <a:pt x="1222812" y="776483"/>
                  </a:cubicBezTo>
                  <a:cubicBezTo>
                    <a:pt x="1230565" y="770366"/>
                    <a:pt x="1245096" y="772371"/>
                    <a:pt x="1253701" y="767458"/>
                  </a:cubicBezTo>
                  <a:cubicBezTo>
                    <a:pt x="1259830" y="764116"/>
                    <a:pt x="1257029" y="759737"/>
                    <a:pt x="1261535" y="756094"/>
                  </a:cubicBezTo>
                  <a:cubicBezTo>
                    <a:pt x="1268638" y="750312"/>
                    <a:pt x="1283210" y="735238"/>
                    <a:pt x="1277324" y="729823"/>
                  </a:cubicBezTo>
                  <a:cubicBezTo>
                    <a:pt x="1271438" y="724409"/>
                    <a:pt x="1265716" y="721735"/>
                    <a:pt x="1283818" y="716821"/>
                  </a:cubicBezTo>
                  <a:cubicBezTo>
                    <a:pt x="1295995" y="713479"/>
                    <a:pt x="1287877" y="707630"/>
                    <a:pt x="1280896" y="706393"/>
                  </a:cubicBezTo>
                  <a:cubicBezTo>
                    <a:pt x="1278014" y="705892"/>
                    <a:pt x="1252240" y="704856"/>
                    <a:pt x="1264214" y="699341"/>
                  </a:cubicBezTo>
                  <a:cubicBezTo>
                    <a:pt x="1273468" y="695063"/>
                    <a:pt x="1290353" y="703218"/>
                    <a:pt x="1298066" y="695999"/>
                  </a:cubicBezTo>
                  <a:cubicBezTo>
                    <a:pt x="1304235" y="690116"/>
                    <a:pt x="1282682" y="689849"/>
                    <a:pt x="1297660" y="683030"/>
                  </a:cubicBezTo>
                  <a:cubicBezTo>
                    <a:pt x="1310404" y="677248"/>
                    <a:pt x="1326762" y="675744"/>
                    <a:pt x="1339629" y="670296"/>
                  </a:cubicBezTo>
                  <a:cubicBezTo>
                    <a:pt x="1354404" y="664012"/>
                    <a:pt x="1342227" y="647601"/>
                    <a:pt x="1361629" y="647735"/>
                  </a:cubicBezTo>
                  <a:cubicBezTo>
                    <a:pt x="1372264" y="647735"/>
                    <a:pt x="1363131" y="656893"/>
                    <a:pt x="1364754" y="660235"/>
                  </a:cubicBezTo>
                  <a:cubicBezTo>
                    <a:pt x="1367718" y="666385"/>
                    <a:pt x="1377784" y="657896"/>
                    <a:pt x="1383345" y="656091"/>
                  </a:cubicBezTo>
                  <a:cubicBezTo>
                    <a:pt x="1414639" y="646064"/>
                    <a:pt x="1444757" y="642721"/>
                    <a:pt x="1472358" y="628015"/>
                  </a:cubicBezTo>
                  <a:cubicBezTo>
                    <a:pt x="1483764" y="622306"/>
                    <a:pt x="1493789" y="614920"/>
                    <a:pt x="1501948" y="606223"/>
                  </a:cubicBezTo>
                  <a:cubicBezTo>
                    <a:pt x="1507143" y="600140"/>
                    <a:pt x="1507062" y="593990"/>
                    <a:pt x="1516195" y="588475"/>
                  </a:cubicBezTo>
                  <a:cubicBezTo>
                    <a:pt x="1531051" y="579551"/>
                    <a:pt x="1547408" y="578448"/>
                    <a:pt x="1543593" y="567385"/>
                  </a:cubicBezTo>
                  <a:cubicBezTo>
                    <a:pt x="1538641" y="553046"/>
                    <a:pt x="1583005" y="562471"/>
                    <a:pt x="1591123" y="558394"/>
                  </a:cubicBezTo>
                  <a:cubicBezTo>
                    <a:pt x="1596238" y="555820"/>
                    <a:pt x="1594006" y="553380"/>
                    <a:pt x="1602204" y="551341"/>
                  </a:cubicBezTo>
                  <a:cubicBezTo>
                    <a:pt x="1613813" y="548400"/>
                    <a:pt x="1624894" y="547665"/>
                    <a:pt x="1635691" y="543487"/>
                  </a:cubicBezTo>
                  <a:cubicBezTo>
                    <a:pt x="1654200" y="536301"/>
                    <a:pt x="1678757" y="533827"/>
                    <a:pt x="1699417" y="529182"/>
                  </a:cubicBezTo>
                  <a:cubicBezTo>
                    <a:pt x="1724583" y="523500"/>
                    <a:pt x="1751331" y="517116"/>
                    <a:pt x="1773250" y="508024"/>
                  </a:cubicBezTo>
                  <a:cubicBezTo>
                    <a:pt x="1795168" y="498933"/>
                    <a:pt x="1815017" y="488973"/>
                    <a:pt x="1838883" y="480617"/>
                  </a:cubicBezTo>
                  <a:cubicBezTo>
                    <a:pt x="1843389" y="478946"/>
                    <a:pt x="1904801" y="455950"/>
                    <a:pt x="1896967" y="454413"/>
                  </a:cubicBezTo>
                  <a:cubicBezTo>
                    <a:pt x="1894045" y="453811"/>
                    <a:pt x="1862913" y="462502"/>
                    <a:pt x="1857068" y="463270"/>
                  </a:cubicBezTo>
                  <a:cubicBezTo>
                    <a:pt x="1839046" y="465115"/>
                    <a:pt x="1820861" y="465550"/>
                    <a:pt x="1802718" y="464574"/>
                  </a:cubicBezTo>
                  <a:cubicBezTo>
                    <a:pt x="1785305" y="464072"/>
                    <a:pt x="1764279" y="464039"/>
                    <a:pt x="1748531" y="470724"/>
                  </a:cubicBezTo>
                  <a:cubicBezTo>
                    <a:pt x="1732782" y="477408"/>
                    <a:pt x="1735014" y="469688"/>
                    <a:pt x="1742118" y="464707"/>
                  </a:cubicBezTo>
                  <a:cubicBezTo>
                    <a:pt x="1747759" y="460730"/>
                    <a:pt x="1768054" y="457354"/>
                    <a:pt x="1768582" y="453043"/>
                  </a:cubicBezTo>
                  <a:cubicBezTo>
                    <a:pt x="1769109" y="448731"/>
                    <a:pt x="1753929" y="442247"/>
                    <a:pt x="1760464" y="437634"/>
                  </a:cubicBezTo>
                  <a:cubicBezTo>
                    <a:pt x="1776700" y="426304"/>
                    <a:pt x="1826747" y="449099"/>
                    <a:pt x="1840141" y="450469"/>
                  </a:cubicBezTo>
                  <a:cubicBezTo>
                    <a:pt x="1868554" y="453277"/>
                    <a:pt x="1910686" y="448029"/>
                    <a:pt x="1899606" y="430950"/>
                  </a:cubicBezTo>
                  <a:cubicBezTo>
                    <a:pt x="1897130" y="427139"/>
                    <a:pt x="1903665" y="422159"/>
                    <a:pt x="1899606" y="419251"/>
                  </a:cubicBezTo>
                  <a:cubicBezTo>
                    <a:pt x="1894126" y="415307"/>
                    <a:pt x="1882517" y="413202"/>
                    <a:pt x="1873791" y="411297"/>
                  </a:cubicBezTo>
                  <a:cubicBezTo>
                    <a:pt x="1852846" y="406718"/>
                    <a:pt x="1829913" y="403576"/>
                    <a:pt x="1809902" y="398261"/>
                  </a:cubicBezTo>
                  <a:cubicBezTo>
                    <a:pt x="1774792" y="388970"/>
                    <a:pt x="1843024" y="390273"/>
                    <a:pt x="1853983" y="391209"/>
                  </a:cubicBezTo>
                  <a:cubicBezTo>
                    <a:pt x="1874765" y="392813"/>
                    <a:pt x="1896074" y="376102"/>
                    <a:pt x="1883735" y="368514"/>
                  </a:cubicBezTo>
                  <a:cubicBezTo>
                    <a:pt x="1871396" y="360927"/>
                    <a:pt x="1819035" y="372625"/>
                    <a:pt x="1804423" y="377539"/>
                  </a:cubicBezTo>
                  <a:cubicBezTo>
                    <a:pt x="1793545" y="381182"/>
                    <a:pt x="1782707" y="385360"/>
                    <a:pt x="1770733" y="382552"/>
                  </a:cubicBezTo>
                  <a:cubicBezTo>
                    <a:pt x="1761235" y="380313"/>
                    <a:pt x="1763508" y="375232"/>
                    <a:pt x="1773453" y="372325"/>
                  </a:cubicBezTo>
                  <a:cubicBezTo>
                    <a:pt x="1781571" y="369952"/>
                    <a:pt x="1804058" y="367812"/>
                    <a:pt x="1795331" y="361897"/>
                  </a:cubicBezTo>
                  <a:cubicBezTo>
                    <a:pt x="1790094" y="358320"/>
                    <a:pt x="1788471" y="353140"/>
                    <a:pt x="1802271" y="353206"/>
                  </a:cubicBezTo>
                  <a:cubicBezTo>
                    <a:pt x="1823825" y="353206"/>
                    <a:pt x="1851304" y="362398"/>
                    <a:pt x="1873791" y="356248"/>
                  </a:cubicBezTo>
                  <a:cubicBezTo>
                    <a:pt x="1885480" y="352906"/>
                    <a:pt x="1966010" y="341341"/>
                    <a:pt x="1924893" y="333754"/>
                  </a:cubicBezTo>
                  <a:cubicBezTo>
                    <a:pt x="1919819" y="332785"/>
                    <a:pt x="1868067" y="327604"/>
                    <a:pt x="1884790" y="323159"/>
                  </a:cubicBezTo>
                  <a:cubicBezTo>
                    <a:pt x="1907440" y="317075"/>
                    <a:pt x="1937070" y="316474"/>
                    <a:pt x="1961059" y="314368"/>
                  </a:cubicBezTo>
                  <a:cubicBezTo>
                    <a:pt x="1971409" y="313499"/>
                    <a:pt x="1982571" y="307516"/>
                    <a:pt x="1978959" y="302570"/>
                  </a:cubicBezTo>
                  <a:cubicBezTo>
                    <a:pt x="1976361" y="299060"/>
                    <a:pt x="1961586" y="303238"/>
                    <a:pt x="1955376" y="303439"/>
                  </a:cubicBezTo>
                  <a:cubicBezTo>
                    <a:pt x="1943199" y="303739"/>
                    <a:pt x="1888484" y="301132"/>
                    <a:pt x="1900498" y="290069"/>
                  </a:cubicBezTo>
                  <a:cubicBezTo>
                    <a:pt x="1914421" y="277201"/>
                    <a:pt x="1973235" y="288365"/>
                    <a:pt x="1973154" y="267876"/>
                  </a:cubicBezTo>
                  <a:cubicBezTo>
                    <a:pt x="1973154" y="251465"/>
                    <a:pt x="1948800" y="248958"/>
                    <a:pt x="1920388" y="250563"/>
                  </a:cubicBezTo>
                  <a:cubicBezTo>
                    <a:pt x="1907236" y="251298"/>
                    <a:pt x="1891326" y="252401"/>
                    <a:pt x="1879270" y="250563"/>
                  </a:cubicBezTo>
                  <a:cubicBezTo>
                    <a:pt x="1871842" y="249426"/>
                    <a:pt x="1868027" y="245883"/>
                    <a:pt x="1858975" y="244680"/>
                  </a:cubicBezTo>
                  <a:cubicBezTo>
                    <a:pt x="1818385" y="239199"/>
                    <a:pt x="1883532" y="235488"/>
                    <a:pt x="1894654" y="230174"/>
                  </a:cubicBezTo>
                  <a:cubicBezTo>
                    <a:pt x="1919008" y="218309"/>
                    <a:pt x="1959597" y="223489"/>
                    <a:pt x="1988335" y="220147"/>
                  </a:cubicBezTo>
                  <a:cubicBezTo>
                    <a:pt x="2020441" y="216537"/>
                    <a:pt x="1983058" y="197987"/>
                    <a:pt x="1968527" y="203669"/>
                  </a:cubicBezTo>
                  <a:cubicBezTo>
                    <a:pt x="1953996" y="209351"/>
                    <a:pt x="1911986" y="214532"/>
                    <a:pt x="1906912" y="204237"/>
                  </a:cubicBezTo>
                  <a:cubicBezTo>
                    <a:pt x="1901432" y="193074"/>
                    <a:pt x="1958420" y="200026"/>
                    <a:pt x="1956391" y="192840"/>
                  </a:cubicBezTo>
                  <a:cubicBezTo>
                    <a:pt x="1954361" y="185654"/>
                    <a:pt x="1911133" y="186991"/>
                    <a:pt x="1900215" y="188228"/>
                  </a:cubicBezTo>
                  <a:cubicBezTo>
                    <a:pt x="1886292" y="189698"/>
                    <a:pt x="1860599" y="210521"/>
                    <a:pt x="1847448" y="203536"/>
                  </a:cubicBezTo>
                  <a:cubicBezTo>
                    <a:pt x="1844120" y="201831"/>
                    <a:pt x="1863034" y="191904"/>
                    <a:pt x="1865145" y="189297"/>
                  </a:cubicBezTo>
                  <a:cubicBezTo>
                    <a:pt x="1870422" y="182903"/>
                    <a:pt x="1872329" y="175012"/>
                    <a:pt x="1870422" y="167438"/>
                  </a:cubicBezTo>
                  <a:cubicBezTo>
                    <a:pt x="1867824" y="157144"/>
                    <a:pt x="1900174" y="152765"/>
                    <a:pt x="1916167" y="147384"/>
                  </a:cubicBezTo>
                  <a:cubicBezTo>
                    <a:pt x="1941697" y="138727"/>
                    <a:pt x="1919089" y="130472"/>
                    <a:pt x="1938897" y="121781"/>
                  </a:cubicBezTo>
                  <a:cubicBezTo>
                    <a:pt x="1951074" y="116467"/>
                    <a:pt x="2012892" y="110685"/>
                    <a:pt x="1994748" y="103165"/>
                  </a:cubicBezTo>
                  <a:cubicBezTo>
                    <a:pt x="1960653" y="88993"/>
                    <a:pt x="1925746" y="122417"/>
                    <a:pt x="1902569" y="115765"/>
                  </a:cubicBezTo>
                  <a:cubicBezTo>
                    <a:pt x="1891163" y="112423"/>
                    <a:pt x="1917993" y="103833"/>
                    <a:pt x="1923350" y="102396"/>
                  </a:cubicBezTo>
                  <a:cubicBezTo>
                    <a:pt x="1941656" y="96847"/>
                    <a:pt x="1960815" y="95510"/>
                    <a:pt x="1980663" y="92903"/>
                  </a:cubicBezTo>
                  <a:cubicBezTo>
                    <a:pt x="2000228" y="90855"/>
                    <a:pt x="2019508" y="87432"/>
                    <a:pt x="2038342" y="82676"/>
                  </a:cubicBezTo>
                  <a:cubicBezTo>
                    <a:pt x="2060625" y="76292"/>
                    <a:pt x="2030224" y="75791"/>
                    <a:pt x="2020563" y="75991"/>
                  </a:cubicBezTo>
                  <a:cubicBezTo>
                    <a:pt x="1999903" y="76559"/>
                    <a:pt x="1980744" y="80203"/>
                    <a:pt x="1960450" y="81974"/>
                  </a:cubicBezTo>
                  <a:cubicBezTo>
                    <a:pt x="1943321" y="83478"/>
                    <a:pt x="1951520" y="79200"/>
                    <a:pt x="1962682" y="77027"/>
                  </a:cubicBezTo>
                  <a:cubicBezTo>
                    <a:pt x="1983748" y="72849"/>
                    <a:pt x="2006113" y="72014"/>
                    <a:pt x="2027017" y="67535"/>
                  </a:cubicBezTo>
                  <a:cubicBezTo>
                    <a:pt x="2039194" y="64894"/>
                    <a:pt x="2050356" y="61017"/>
                    <a:pt x="2063142" y="58778"/>
                  </a:cubicBezTo>
                  <a:cubicBezTo>
                    <a:pt x="2081042" y="55636"/>
                    <a:pt x="2091555" y="53631"/>
                    <a:pt x="2104625" y="47013"/>
                  </a:cubicBezTo>
                  <a:cubicBezTo>
                    <a:pt x="2114285" y="42100"/>
                    <a:pt x="2137989" y="40328"/>
                    <a:pt x="2150653" y="36986"/>
                  </a:cubicBezTo>
                  <a:cubicBezTo>
                    <a:pt x="2166483" y="32942"/>
                    <a:pt x="2223715" y="19338"/>
                    <a:pt x="2186048" y="14859"/>
                  </a:cubicBezTo>
                  <a:cubicBezTo>
                    <a:pt x="2147528" y="10501"/>
                    <a:pt x="2108481" y="10006"/>
                    <a:pt x="2069799" y="13389"/>
                  </a:cubicBezTo>
                  <a:close/>
                  <a:moveTo>
                    <a:pt x="841349" y="655122"/>
                  </a:moveTo>
                  <a:cubicBezTo>
                    <a:pt x="840253" y="649707"/>
                    <a:pt x="829497" y="652314"/>
                    <a:pt x="821542" y="652047"/>
                  </a:cubicBezTo>
                  <a:cubicBezTo>
                    <a:pt x="809365" y="651645"/>
                    <a:pt x="804088" y="646498"/>
                    <a:pt x="790531" y="646766"/>
                  </a:cubicBezTo>
                  <a:cubicBezTo>
                    <a:pt x="771251" y="647167"/>
                    <a:pt x="748764" y="650576"/>
                    <a:pt x="738860" y="661338"/>
                  </a:cubicBezTo>
                  <a:cubicBezTo>
                    <a:pt x="720838" y="680958"/>
                    <a:pt x="762565" y="672803"/>
                    <a:pt x="781561" y="676279"/>
                  </a:cubicBezTo>
                  <a:cubicBezTo>
                    <a:pt x="795970" y="678886"/>
                    <a:pt x="843460" y="665750"/>
                    <a:pt x="841349" y="65512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E38186E4-45B8-4190-A40C-EA28C536B274}"/>
                </a:ext>
              </a:extLst>
            </p:cNvPr>
            <p:cNvSpPr/>
            <p:nvPr/>
          </p:nvSpPr>
          <p:spPr>
            <a:xfrm>
              <a:off x="990011" y="3290709"/>
              <a:ext cx="3060746" cy="1771142"/>
            </a:xfrm>
            <a:custGeom>
              <a:avLst/>
              <a:gdLst>
                <a:gd name="connsiteX0" fmla="*/ 886583 w 3060746"/>
                <a:gd name="connsiteY0" fmla="*/ 1692735 h 1771142"/>
                <a:gd name="connsiteX1" fmla="*/ 841934 w 3060746"/>
                <a:gd name="connsiteY1" fmla="*/ 1701793 h 1771142"/>
                <a:gd name="connsiteX2" fmla="*/ 799193 w 3060746"/>
                <a:gd name="connsiteY2" fmla="*/ 1703164 h 1771142"/>
                <a:gd name="connsiteX3" fmla="*/ 768264 w 3060746"/>
                <a:gd name="connsiteY3" fmla="*/ 1717870 h 1771142"/>
                <a:gd name="connsiteX4" fmla="*/ 731733 w 3060746"/>
                <a:gd name="connsiteY4" fmla="*/ 1730237 h 1771142"/>
                <a:gd name="connsiteX5" fmla="*/ 731733 w 3060746"/>
                <a:gd name="connsiteY5" fmla="*/ 1736921 h 1771142"/>
                <a:gd name="connsiteX6" fmla="*/ 751784 w 3060746"/>
                <a:gd name="connsiteY6" fmla="*/ 1736687 h 1771142"/>
                <a:gd name="connsiteX7" fmla="*/ 793714 w 3060746"/>
                <a:gd name="connsiteY7" fmla="*/ 1727663 h 1771142"/>
                <a:gd name="connsiteX8" fmla="*/ 814536 w 3060746"/>
                <a:gd name="connsiteY8" fmla="*/ 1722917 h 1771142"/>
                <a:gd name="connsiteX9" fmla="*/ 840027 w 3060746"/>
                <a:gd name="connsiteY9" fmla="*/ 1721246 h 1771142"/>
                <a:gd name="connsiteX10" fmla="*/ 855288 w 3060746"/>
                <a:gd name="connsiteY10" fmla="*/ 1720510 h 1771142"/>
                <a:gd name="connsiteX11" fmla="*/ 890804 w 3060746"/>
                <a:gd name="connsiteY11" fmla="*/ 1708678 h 1771142"/>
                <a:gd name="connsiteX12" fmla="*/ 904564 w 3060746"/>
                <a:gd name="connsiteY12" fmla="*/ 1700590 h 1771142"/>
                <a:gd name="connsiteX13" fmla="*/ 908867 w 3060746"/>
                <a:gd name="connsiteY13" fmla="*/ 1688825 h 1771142"/>
                <a:gd name="connsiteX14" fmla="*/ 886705 w 3060746"/>
                <a:gd name="connsiteY14" fmla="*/ 1692735 h 1771142"/>
                <a:gd name="connsiteX15" fmla="*/ 460309 w 3060746"/>
                <a:gd name="connsiteY15" fmla="*/ 1204250 h 1771142"/>
                <a:gd name="connsiteX16" fmla="*/ 507678 w 3060746"/>
                <a:gd name="connsiteY16" fmla="*/ 1205152 h 1771142"/>
                <a:gd name="connsiteX17" fmla="*/ 538201 w 3060746"/>
                <a:gd name="connsiteY17" fmla="*/ 1185399 h 1771142"/>
                <a:gd name="connsiteX18" fmla="*/ 558861 w 3060746"/>
                <a:gd name="connsiteY18" fmla="*/ 1168954 h 1771142"/>
                <a:gd name="connsiteX19" fmla="*/ 587274 w 3060746"/>
                <a:gd name="connsiteY19" fmla="*/ 1150037 h 1771142"/>
                <a:gd name="connsiteX20" fmla="*/ 585569 w 3060746"/>
                <a:gd name="connsiteY20" fmla="*/ 1130417 h 1771142"/>
                <a:gd name="connsiteX21" fmla="*/ 609923 w 3060746"/>
                <a:gd name="connsiteY21" fmla="*/ 1105583 h 1771142"/>
                <a:gd name="connsiteX22" fmla="*/ 610451 w 3060746"/>
                <a:gd name="connsiteY22" fmla="*/ 1092983 h 1771142"/>
                <a:gd name="connsiteX23" fmla="*/ 628432 w 3060746"/>
                <a:gd name="connsiteY23" fmla="*/ 1075936 h 1771142"/>
                <a:gd name="connsiteX24" fmla="*/ 687450 w 3060746"/>
                <a:gd name="connsiteY24" fmla="*/ 1028408 h 1771142"/>
                <a:gd name="connsiteX25" fmla="*/ 696177 w 3060746"/>
                <a:gd name="connsiteY25" fmla="*/ 1006616 h 1771142"/>
                <a:gd name="connsiteX26" fmla="*/ 594296 w 3060746"/>
                <a:gd name="connsiteY26" fmla="*/ 1039037 h 1771142"/>
                <a:gd name="connsiteX27" fmla="*/ 577005 w 3060746"/>
                <a:gd name="connsiteY27" fmla="*/ 1050535 h 1771142"/>
                <a:gd name="connsiteX28" fmla="*/ 566086 w 3060746"/>
                <a:gd name="connsiteY28" fmla="*/ 1051805 h 1771142"/>
                <a:gd name="connsiteX29" fmla="*/ 499194 w 3060746"/>
                <a:gd name="connsiteY29" fmla="*/ 1076739 h 1771142"/>
                <a:gd name="connsiteX30" fmla="*/ 405554 w 3060746"/>
                <a:gd name="connsiteY30" fmla="*/ 1136099 h 1771142"/>
                <a:gd name="connsiteX31" fmla="*/ 429908 w 3060746"/>
                <a:gd name="connsiteY31" fmla="*/ 1143419 h 1771142"/>
                <a:gd name="connsiteX32" fmla="*/ 420004 w 3060746"/>
                <a:gd name="connsiteY32" fmla="*/ 1175438 h 1771142"/>
                <a:gd name="connsiteX33" fmla="*/ 426782 w 3060746"/>
                <a:gd name="connsiteY33" fmla="*/ 1182457 h 1771142"/>
                <a:gd name="connsiteX34" fmla="*/ 412129 w 3060746"/>
                <a:gd name="connsiteY34" fmla="*/ 1213608 h 1771142"/>
                <a:gd name="connsiteX35" fmla="*/ 460391 w 3060746"/>
                <a:gd name="connsiteY35" fmla="*/ 1204250 h 1771142"/>
                <a:gd name="connsiteX36" fmla="*/ 460309 w 3060746"/>
                <a:gd name="connsiteY36" fmla="*/ 1204250 h 1771142"/>
                <a:gd name="connsiteX37" fmla="*/ 1200585 w 3060746"/>
                <a:gd name="connsiteY37" fmla="*/ 911125 h 1771142"/>
                <a:gd name="connsiteX38" fmla="*/ 1245924 w 3060746"/>
                <a:gd name="connsiteY38" fmla="*/ 890469 h 1771142"/>
                <a:gd name="connsiteX39" fmla="*/ 1169372 w 3060746"/>
                <a:gd name="connsiteY39" fmla="*/ 896385 h 1771142"/>
                <a:gd name="connsiteX40" fmla="*/ 1099761 w 3060746"/>
                <a:gd name="connsiteY40" fmla="*/ 902702 h 1771142"/>
                <a:gd name="connsiteX41" fmla="*/ 1094849 w 3060746"/>
                <a:gd name="connsiteY41" fmla="*/ 891071 h 1771142"/>
                <a:gd name="connsiteX42" fmla="*/ 1060226 w 3060746"/>
                <a:gd name="connsiteY42" fmla="*/ 883885 h 1771142"/>
                <a:gd name="connsiteX43" fmla="*/ 1052108 w 3060746"/>
                <a:gd name="connsiteY43" fmla="*/ 866137 h 1771142"/>
                <a:gd name="connsiteX44" fmla="*/ 1063433 w 3060746"/>
                <a:gd name="connsiteY44" fmla="*/ 842272 h 1771142"/>
                <a:gd name="connsiteX45" fmla="*/ 987530 w 3060746"/>
                <a:gd name="connsiteY45" fmla="*/ 870649 h 1771142"/>
                <a:gd name="connsiteX46" fmla="*/ 1031123 w 3060746"/>
                <a:gd name="connsiteY46" fmla="*/ 871685 h 1771142"/>
                <a:gd name="connsiteX47" fmla="*/ 1026334 w 3060746"/>
                <a:gd name="connsiteY47" fmla="*/ 875963 h 1771142"/>
                <a:gd name="connsiteX48" fmla="*/ 989072 w 3060746"/>
                <a:gd name="connsiteY48" fmla="*/ 883417 h 1771142"/>
                <a:gd name="connsiteX49" fmla="*/ 955342 w 3060746"/>
                <a:gd name="connsiteY49" fmla="*/ 910456 h 1771142"/>
                <a:gd name="connsiteX50" fmla="*/ 1002304 w 3060746"/>
                <a:gd name="connsiteY50" fmla="*/ 931814 h 1771142"/>
                <a:gd name="connsiteX51" fmla="*/ 977951 w 3060746"/>
                <a:gd name="connsiteY51" fmla="*/ 946253 h 1771142"/>
                <a:gd name="connsiteX52" fmla="*/ 957453 w 3060746"/>
                <a:gd name="connsiteY52" fmla="*/ 936593 h 1771142"/>
                <a:gd name="connsiteX53" fmla="*/ 885893 w 3060746"/>
                <a:gd name="connsiteY53" fmla="*/ 941206 h 1771142"/>
                <a:gd name="connsiteX54" fmla="*/ 905985 w 3060746"/>
                <a:gd name="connsiteY54" fmla="*/ 947189 h 1771142"/>
                <a:gd name="connsiteX55" fmla="*/ 887923 w 3060746"/>
                <a:gd name="connsiteY55" fmla="*/ 958987 h 1771142"/>
                <a:gd name="connsiteX56" fmla="*/ 859875 w 3060746"/>
                <a:gd name="connsiteY56" fmla="*/ 975331 h 1771142"/>
                <a:gd name="connsiteX57" fmla="*/ 842381 w 3060746"/>
                <a:gd name="connsiteY57" fmla="*/ 967109 h 1771142"/>
                <a:gd name="connsiteX58" fmla="*/ 792009 w 3060746"/>
                <a:gd name="connsiteY58" fmla="*/ 987765 h 1771142"/>
                <a:gd name="connsiteX59" fmla="*/ 767655 w 3060746"/>
                <a:gd name="connsiteY59" fmla="*/ 1018047 h 1771142"/>
                <a:gd name="connsiteX60" fmla="*/ 771349 w 3060746"/>
                <a:gd name="connsiteY60" fmla="*/ 998862 h 1771142"/>
                <a:gd name="connsiteX61" fmla="*/ 710464 w 3060746"/>
                <a:gd name="connsiteY61" fmla="*/ 1019517 h 1771142"/>
                <a:gd name="connsiteX62" fmla="*/ 635901 w 3060746"/>
                <a:gd name="connsiteY62" fmla="*/ 1083022 h 1771142"/>
                <a:gd name="connsiteX63" fmla="*/ 636672 w 3060746"/>
                <a:gd name="connsiteY63" fmla="*/ 1088170 h 1771142"/>
                <a:gd name="connsiteX64" fmla="*/ 629650 w 3060746"/>
                <a:gd name="connsiteY64" fmla="*/ 1113772 h 1771142"/>
                <a:gd name="connsiteX65" fmla="*/ 665409 w 3060746"/>
                <a:gd name="connsiteY65" fmla="*/ 1105917 h 1771142"/>
                <a:gd name="connsiteX66" fmla="*/ 680306 w 3060746"/>
                <a:gd name="connsiteY66" fmla="*/ 1105917 h 1771142"/>
                <a:gd name="connsiteX67" fmla="*/ 745250 w 3060746"/>
                <a:gd name="connsiteY67" fmla="*/ 1066678 h 1771142"/>
                <a:gd name="connsiteX68" fmla="*/ 718582 w 3060746"/>
                <a:gd name="connsiteY68" fmla="*/ 1088069 h 1771142"/>
                <a:gd name="connsiteX69" fmla="*/ 673933 w 3060746"/>
                <a:gd name="connsiteY69" fmla="*/ 1122495 h 1771142"/>
                <a:gd name="connsiteX70" fmla="*/ 838281 w 3060746"/>
                <a:gd name="connsiteY70" fmla="*/ 1053643 h 1771142"/>
                <a:gd name="connsiteX71" fmla="*/ 884107 w 3060746"/>
                <a:gd name="connsiteY71" fmla="*/ 1042680 h 1771142"/>
                <a:gd name="connsiteX72" fmla="*/ 792496 w 3060746"/>
                <a:gd name="connsiteY72" fmla="*/ 1089105 h 1771142"/>
                <a:gd name="connsiteX73" fmla="*/ 722235 w 3060746"/>
                <a:gd name="connsiteY73" fmla="*/ 1135397 h 1771142"/>
                <a:gd name="connsiteX74" fmla="*/ 775002 w 3060746"/>
                <a:gd name="connsiteY74" fmla="*/ 1129782 h 1771142"/>
                <a:gd name="connsiteX75" fmla="*/ 826916 w 3060746"/>
                <a:gd name="connsiteY75" fmla="*/ 1106920 h 1771142"/>
                <a:gd name="connsiteX76" fmla="*/ 852488 w 3060746"/>
                <a:gd name="connsiteY76" fmla="*/ 1100737 h 1771142"/>
                <a:gd name="connsiteX77" fmla="*/ 912763 w 3060746"/>
                <a:gd name="connsiteY77" fmla="*/ 1090008 h 1771142"/>
                <a:gd name="connsiteX78" fmla="*/ 987124 w 3060746"/>
                <a:gd name="connsiteY78" fmla="*/ 1047493 h 1771142"/>
                <a:gd name="connsiteX79" fmla="*/ 1041230 w 3060746"/>
                <a:gd name="connsiteY79" fmla="*/ 1015473 h 1771142"/>
                <a:gd name="connsiteX80" fmla="*/ 1080683 w 3060746"/>
                <a:gd name="connsiteY80" fmla="*/ 984055 h 1771142"/>
                <a:gd name="connsiteX81" fmla="*/ 1133978 w 3060746"/>
                <a:gd name="connsiteY81" fmla="*/ 972825 h 1771142"/>
                <a:gd name="connsiteX82" fmla="*/ 1233098 w 3060746"/>
                <a:gd name="connsiteY82" fmla="*/ 918411 h 1771142"/>
                <a:gd name="connsiteX83" fmla="*/ 1211098 w 3060746"/>
                <a:gd name="connsiteY83" fmla="*/ 918411 h 1771142"/>
                <a:gd name="connsiteX84" fmla="*/ 1190397 w 3060746"/>
                <a:gd name="connsiteY84" fmla="*/ 934087 h 1771142"/>
                <a:gd name="connsiteX85" fmla="*/ 1200870 w 3060746"/>
                <a:gd name="connsiteY85" fmla="*/ 911058 h 1771142"/>
                <a:gd name="connsiteX86" fmla="*/ 1200585 w 3060746"/>
                <a:gd name="connsiteY86" fmla="*/ 911225 h 1771142"/>
                <a:gd name="connsiteX87" fmla="*/ 545873 w 3060746"/>
                <a:gd name="connsiteY87" fmla="*/ 1010393 h 1771142"/>
                <a:gd name="connsiteX88" fmla="*/ 584392 w 3060746"/>
                <a:gd name="connsiteY88" fmla="*/ 969850 h 1771142"/>
                <a:gd name="connsiteX89" fmla="*/ 545873 w 3060746"/>
                <a:gd name="connsiteY89" fmla="*/ 1010393 h 1771142"/>
                <a:gd name="connsiteX90" fmla="*/ 414565 w 3060746"/>
                <a:gd name="connsiteY90" fmla="*/ 1055013 h 1771142"/>
                <a:gd name="connsiteX91" fmla="*/ 426174 w 3060746"/>
                <a:gd name="connsiteY91" fmla="*/ 1059659 h 1771142"/>
                <a:gd name="connsiteX92" fmla="*/ 442856 w 3060746"/>
                <a:gd name="connsiteY92" fmla="*/ 1048128 h 1771142"/>
                <a:gd name="connsiteX93" fmla="*/ 465180 w 3060746"/>
                <a:gd name="connsiteY93" fmla="*/ 1036697 h 1771142"/>
                <a:gd name="connsiteX94" fmla="*/ 473298 w 3060746"/>
                <a:gd name="connsiteY94" fmla="*/ 1022526 h 1771142"/>
                <a:gd name="connsiteX95" fmla="*/ 494973 w 3060746"/>
                <a:gd name="connsiteY95" fmla="*/ 1025099 h 1771142"/>
                <a:gd name="connsiteX96" fmla="*/ 513766 w 3060746"/>
                <a:gd name="connsiteY96" fmla="*/ 1004677 h 1771142"/>
                <a:gd name="connsiteX97" fmla="*/ 539784 w 3060746"/>
                <a:gd name="connsiteY97" fmla="*/ 985960 h 1771142"/>
                <a:gd name="connsiteX98" fmla="*/ 548186 w 3060746"/>
                <a:gd name="connsiteY98" fmla="*/ 956313 h 1771142"/>
                <a:gd name="connsiteX99" fmla="*/ 574813 w 3060746"/>
                <a:gd name="connsiteY99" fmla="*/ 964168 h 1771142"/>
                <a:gd name="connsiteX100" fmla="*/ 598924 w 3060746"/>
                <a:gd name="connsiteY100" fmla="*/ 941005 h 1771142"/>
                <a:gd name="connsiteX101" fmla="*/ 615159 w 3060746"/>
                <a:gd name="connsiteY101" fmla="*/ 920116 h 1771142"/>
                <a:gd name="connsiteX102" fmla="*/ 606311 w 3060746"/>
                <a:gd name="connsiteY102" fmla="*/ 911994 h 1771142"/>
                <a:gd name="connsiteX103" fmla="*/ 623156 w 3060746"/>
                <a:gd name="connsiteY103" fmla="*/ 897555 h 1771142"/>
                <a:gd name="connsiteX104" fmla="*/ 584514 w 3060746"/>
                <a:gd name="connsiteY104" fmla="*/ 905677 h 1771142"/>
                <a:gd name="connsiteX105" fmla="*/ 568481 w 3060746"/>
                <a:gd name="connsiteY105" fmla="*/ 926901 h 1771142"/>
                <a:gd name="connsiteX106" fmla="*/ 515715 w 3060746"/>
                <a:gd name="connsiteY106" fmla="*/ 950631 h 1771142"/>
                <a:gd name="connsiteX107" fmla="*/ 473298 w 3060746"/>
                <a:gd name="connsiteY107" fmla="*/ 996121 h 1771142"/>
                <a:gd name="connsiteX108" fmla="*/ 460634 w 3060746"/>
                <a:gd name="connsiteY108" fmla="*/ 1014069 h 1771142"/>
                <a:gd name="connsiteX109" fmla="*/ 435590 w 3060746"/>
                <a:gd name="connsiteY109" fmla="*/ 1029945 h 1771142"/>
                <a:gd name="connsiteX110" fmla="*/ 414240 w 3060746"/>
                <a:gd name="connsiteY110" fmla="*/ 1055013 h 1771142"/>
                <a:gd name="connsiteX111" fmla="*/ 633750 w 3060746"/>
                <a:gd name="connsiteY111" fmla="*/ 935691 h 1771142"/>
                <a:gd name="connsiteX112" fmla="*/ 631071 w 3060746"/>
                <a:gd name="connsiteY112" fmla="*/ 948425 h 1771142"/>
                <a:gd name="connsiteX113" fmla="*/ 665978 w 3060746"/>
                <a:gd name="connsiteY113" fmla="*/ 935056 h 1771142"/>
                <a:gd name="connsiteX114" fmla="*/ 614672 w 3060746"/>
                <a:gd name="connsiteY114" fmla="*/ 971822 h 1771142"/>
                <a:gd name="connsiteX115" fmla="*/ 664314 w 3060746"/>
                <a:gd name="connsiteY115" fmla="*/ 948425 h 1771142"/>
                <a:gd name="connsiteX116" fmla="*/ 610370 w 3060746"/>
                <a:gd name="connsiteY116" fmla="*/ 985994 h 1771142"/>
                <a:gd name="connsiteX117" fmla="*/ 626403 w 3060746"/>
                <a:gd name="connsiteY117" fmla="*/ 984423 h 1771142"/>
                <a:gd name="connsiteX118" fmla="*/ 683228 w 3060746"/>
                <a:gd name="connsiteY118" fmla="*/ 963399 h 1771142"/>
                <a:gd name="connsiteX119" fmla="*/ 708354 w 3060746"/>
                <a:gd name="connsiteY119" fmla="*/ 934555 h 1771142"/>
                <a:gd name="connsiteX120" fmla="*/ 720165 w 3060746"/>
                <a:gd name="connsiteY120" fmla="*/ 935089 h 1771142"/>
                <a:gd name="connsiteX121" fmla="*/ 794729 w 3060746"/>
                <a:gd name="connsiteY121" fmla="*/ 898825 h 1771142"/>
                <a:gd name="connsiteX122" fmla="*/ 787666 w 3060746"/>
                <a:gd name="connsiteY122" fmla="*/ 910323 h 1771142"/>
                <a:gd name="connsiteX123" fmla="*/ 743910 w 3060746"/>
                <a:gd name="connsiteY123" fmla="*/ 939000 h 1771142"/>
                <a:gd name="connsiteX124" fmla="*/ 757914 w 3060746"/>
                <a:gd name="connsiteY124" fmla="*/ 951133 h 1771142"/>
                <a:gd name="connsiteX125" fmla="*/ 833167 w 3060746"/>
                <a:gd name="connsiteY125" fmla="*/ 902368 h 1771142"/>
                <a:gd name="connsiteX126" fmla="*/ 855451 w 3060746"/>
                <a:gd name="connsiteY126" fmla="*/ 881378 h 1771142"/>
                <a:gd name="connsiteX127" fmla="*/ 895675 w 3060746"/>
                <a:gd name="connsiteY127" fmla="*/ 862259 h 1771142"/>
                <a:gd name="connsiteX128" fmla="*/ 936265 w 3060746"/>
                <a:gd name="connsiteY128" fmla="*/ 839164 h 1771142"/>
                <a:gd name="connsiteX129" fmla="*/ 981441 w 3060746"/>
                <a:gd name="connsiteY129" fmla="*/ 815366 h 1771142"/>
                <a:gd name="connsiteX130" fmla="*/ 964191 w 3060746"/>
                <a:gd name="connsiteY130" fmla="*/ 786187 h 1771142"/>
                <a:gd name="connsiteX131" fmla="*/ 937117 w 3060746"/>
                <a:gd name="connsiteY131" fmla="*/ 805172 h 1771142"/>
                <a:gd name="connsiteX132" fmla="*/ 898719 w 3060746"/>
                <a:gd name="connsiteY132" fmla="*/ 813361 h 1771142"/>
                <a:gd name="connsiteX133" fmla="*/ 867668 w 3060746"/>
                <a:gd name="connsiteY133" fmla="*/ 806509 h 1771142"/>
                <a:gd name="connsiteX134" fmla="*/ 836577 w 3060746"/>
                <a:gd name="connsiteY134" fmla="*/ 817739 h 1771142"/>
                <a:gd name="connsiteX135" fmla="*/ 817215 w 3060746"/>
                <a:gd name="connsiteY135" fmla="*/ 839966 h 1771142"/>
                <a:gd name="connsiteX136" fmla="*/ 840676 w 3060746"/>
                <a:gd name="connsiteY136" fmla="*/ 836624 h 1771142"/>
                <a:gd name="connsiteX137" fmla="*/ 836617 w 3060746"/>
                <a:gd name="connsiteY137" fmla="*/ 849391 h 1771142"/>
                <a:gd name="connsiteX138" fmla="*/ 854720 w 3060746"/>
                <a:gd name="connsiteY138" fmla="*/ 848890 h 1771142"/>
                <a:gd name="connsiteX139" fmla="*/ 843111 w 3060746"/>
                <a:gd name="connsiteY139" fmla="*/ 863229 h 1771142"/>
                <a:gd name="connsiteX140" fmla="*/ 784094 w 3060746"/>
                <a:gd name="connsiteY140" fmla="*/ 877801 h 1771142"/>
                <a:gd name="connsiteX141" fmla="*/ 739445 w 3060746"/>
                <a:gd name="connsiteY141" fmla="*/ 885723 h 1771142"/>
                <a:gd name="connsiteX142" fmla="*/ 712088 w 3060746"/>
                <a:gd name="connsiteY142" fmla="*/ 895382 h 1771142"/>
                <a:gd name="connsiteX143" fmla="*/ 691793 w 3060746"/>
                <a:gd name="connsiteY143" fmla="*/ 905978 h 1771142"/>
                <a:gd name="connsiteX144" fmla="*/ 661635 w 3060746"/>
                <a:gd name="connsiteY144" fmla="*/ 909320 h 1771142"/>
                <a:gd name="connsiteX145" fmla="*/ 633871 w 3060746"/>
                <a:gd name="connsiteY145" fmla="*/ 935691 h 1771142"/>
                <a:gd name="connsiteX146" fmla="*/ 674339 w 3060746"/>
                <a:gd name="connsiteY146" fmla="*/ 851631 h 1771142"/>
                <a:gd name="connsiteX147" fmla="*/ 628026 w 3060746"/>
                <a:gd name="connsiteY147" fmla="*/ 869379 h 1771142"/>
                <a:gd name="connsiteX148" fmla="*/ 674542 w 3060746"/>
                <a:gd name="connsiteY148" fmla="*/ 851664 h 1771142"/>
                <a:gd name="connsiteX149" fmla="*/ 793105 w 3060746"/>
                <a:gd name="connsiteY149" fmla="*/ 789797 h 1771142"/>
                <a:gd name="connsiteX150" fmla="*/ 791968 w 3060746"/>
                <a:gd name="connsiteY150" fmla="*/ 783112 h 1771142"/>
                <a:gd name="connsiteX151" fmla="*/ 748781 w 3060746"/>
                <a:gd name="connsiteY151" fmla="*/ 804704 h 1771142"/>
                <a:gd name="connsiteX152" fmla="*/ 693863 w 3060746"/>
                <a:gd name="connsiteY152" fmla="*/ 845882 h 1771142"/>
                <a:gd name="connsiteX153" fmla="*/ 762581 w 3060746"/>
                <a:gd name="connsiteY153" fmla="*/ 829170 h 1771142"/>
                <a:gd name="connsiteX154" fmla="*/ 789208 w 3060746"/>
                <a:gd name="connsiteY154" fmla="*/ 804470 h 1771142"/>
                <a:gd name="connsiteX155" fmla="*/ 775286 w 3060746"/>
                <a:gd name="connsiteY155" fmla="*/ 804470 h 1771142"/>
                <a:gd name="connsiteX156" fmla="*/ 793105 w 3060746"/>
                <a:gd name="connsiteY156" fmla="*/ 789730 h 1771142"/>
                <a:gd name="connsiteX157" fmla="*/ 793105 w 3060746"/>
                <a:gd name="connsiteY157" fmla="*/ 789797 h 1771142"/>
                <a:gd name="connsiteX158" fmla="*/ 712737 w 3060746"/>
                <a:gd name="connsiteY158" fmla="*/ 811857 h 1771142"/>
                <a:gd name="connsiteX159" fmla="*/ 754382 w 3060746"/>
                <a:gd name="connsiteY159" fmla="*/ 790299 h 1771142"/>
                <a:gd name="connsiteX160" fmla="*/ 793308 w 3060746"/>
                <a:gd name="connsiteY160" fmla="*/ 775124 h 1771142"/>
                <a:gd name="connsiteX161" fmla="*/ 799275 w 3060746"/>
                <a:gd name="connsiteY161" fmla="*/ 758646 h 1771142"/>
                <a:gd name="connsiteX162" fmla="*/ 754626 w 3060746"/>
                <a:gd name="connsiteY162" fmla="*/ 771448 h 1771142"/>
                <a:gd name="connsiteX163" fmla="*/ 691509 w 3060746"/>
                <a:gd name="connsiteY163" fmla="*/ 810553 h 1771142"/>
                <a:gd name="connsiteX164" fmla="*/ 667520 w 3060746"/>
                <a:gd name="connsiteY164" fmla="*/ 828435 h 1771142"/>
                <a:gd name="connsiteX165" fmla="*/ 712818 w 3060746"/>
                <a:gd name="connsiteY165" fmla="*/ 811723 h 1771142"/>
                <a:gd name="connsiteX166" fmla="*/ 712737 w 3060746"/>
                <a:gd name="connsiteY166" fmla="*/ 811756 h 1771142"/>
                <a:gd name="connsiteX167" fmla="*/ 944545 w 3060746"/>
                <a:gd name="connsiteY167" fmla="*/ 676157 h 1771142"/>
                <a:gd name="connsiteX168" fmla="*/ 983024 w 3060746"/>
                <a:gd name="connsiteY168" fmla="*/ 674185 h 1771142"/>
                <a:gd name="connsiteX169" fmla="*/ 956600 w 3060746"/>
                <a:gd name="connsiteY169" fmla="*/ 694640 h 1771142"/>
                <a:gd name="connsiteX170" fmla="*/ 1010422 w 3060746"/>
                <a:gd name="connsiteY170" fmla="*/ 668369 h 1771142"/>
                <a:gd name="connsiteX171" fmla="*/ 1084945 w 3060746"/>
                <a:gd name="connsiteY171" fmla="*/ 647513 h 1771142"/>
                <a:gd name="connsiteX172" fmla="*/ 1144977 w 3060746"/>
                <a:gd name="connsiteY172" fmla="*/ 629397 h 1771142"/>
                <a:gd name="connsiteX173" fmla="*/ 1134221 w 3060746"/>
                <a:gd name="connsiteY173" fmla="*/ 616596 h 1771142"/>
                <a:gd name="connsiteX174" fmla="*/ 1118554 w 3060746"/>
                <a:gd name="connsiteY174" fmla="*/ 608608 h 1771142"/>
                <a:gd name="connsiteX175" fmla="*/ 1067816 w 3060746"/>
                <a:gd name="connsiteY175" fmla="*/ 621977 h 1771142"/>
                <a:gd name="connsiteX176" fmla="*/ 1035710 w 3060746"/>
                <a:gd name="connsiteY176" fmla="*/ 624417 h 1771142"/>
                <a:gd name="connsiteX177" fmla="*/ 1018378 w 3060746"/>
                <a:gd name="connsiteY177" fmla="*/ 636483 h 1771142"/>
                <a:gd name="connsiteX178" fmla="*/ 1008718 w 3060746"/>
                <a:gd name="connsiteY178" fmla="*/ 631536 h 1771142"/>
                <a:gd name="connsiteX179" fmla="*/ 922992 w 3060746"/>
                <a:gd name="connsiteY179" fmla="*/ 663590 h 1771142"/>
                <a:gd name="connsiteX180" fmla="*/ 944545 w 3060746"/>
                <a:gd name="connsiteY180" fmla="*/ 676123 h 1771142"/>
                <a:gd name="connsiteX181" fmla="*/ 944545 w 3060746"/>
                <a:gd name="connsiteY181" fmla="*/ 676157 h 1771142"/>
                <a:gd name="connsiteX182" fmla="*/ 991873 w 3060746"/>
                <a:gd name="connsiteY182" fmla="*/ 727261 h 1771142"/>
                <a:gd name="connsiteX183" fmla="*/ 929852 w 3060746"/>
                <a:gd name="connsiteY183" fmla="*/ 732074 h 1771142"/>
                <a:gd name="connsiteX184" fmla="*/ 991873 w 3060746"/>
                <a:gd name="connsiteY184" fmla="*/ 727195 h 1771142"/>
                <a:gd name="connsiteX185" fmla="*/ 1129432 w 3060746"/>
                <a:gd name="connsiteY185" fmla="*/ 555097 h 1771142"/>
                <a:gd name="connsiteX186" fmla="*/ 1079547 w 3060746"/>
                <a:gd name="connsiteY186" fmla="*/ 566996 h 1771142"/>
                <a:gd name="connsiteX187" fmla="*/ 1129432 w 3060746"/>
                <a:gd name="connsiteY187" fmla="*/ 555030 h 1771142"/>
                <a:gd name="connsiteX188" fmla="*/ 1058805 w 3060746"/>
                <a:gd name="connsiteY188" fmla="*/ 779770 h 1771142"/>
                <a:gd name="connsiteX189" fmla="*/ 1023330 w 3060746"/>
                <a:gd name="connsiteY189" fmla="*/ 786187 h 1771142"/>
                <a:gd name="connsiteX190" fmla="*/ 1058805 w 3060746"/>
                <a:gd name="connsiteY190" fmla="*/ 779770 h 1771142"/>
                <a:gd name="connsiteX191" fmla="*/ 1195187 w 3060746"/>
                <a:gd name="connsiteY191" fmla="*/ 660615 h 1771142"/>
                <a:gd name="connsiteX192" fmla="*/ 1125251 w 3060746"/>
                <a:gd name="connsiteY192" fmla="*/ 692367 h 1771142"/>
                <a:gd name="connsiteX193" fmla="*/ 1152121 w 3060746"/>
                <a:gd name="connsiteY193" fmla="*/ 698484 h 1771142"/>
                <a:gd name="connsiteX194" fmla="*/ 1088720 w 3060746"/>
                <a:gd name="connsiteY194" fmla="*/ 712722 h 1771142"/>
                <a:gd name="connsiteX195" fmla="*/ 1111410 w 3060746"/>
                <a:gd name="connsiteY195" fmla="*/ 723384 h 1771142"/>
                <a:gd name="connsiteX196" fmla="*/ 1063636 w 3060746"/>
                <a:gd name="connsiteY196" fmla="*/ 728431 h 1771142"/>
                <a:gd name="connsiteX197" fmla="*/ 1003319 w 3060746"/>
                <a:gd name="connsiteY197" fmla="*/ 739695 h 1771142"/>
                <a:gd name="connsiteX198" fmla="*/ 1030190 w 3060746"/>
                <a:gd name="connsiteY198" fmla="*/ 754201 h 1771142"/>
                <a:gd name="connsiteX199" fmla="*/ 1101749 w 3060746"/>
                <a:gd name="connsiteY199" fmla="*/ 742703 h 1771142"/>
                <a:gd name="connsiteX200" fmla="*/ 1165394 w 3060746"/>
                <a:gd name="connsiteY200" fmla="*/ 711686 h 1771142"/>
                <a:gd name="connsiteX201" fmla="*/ 1165394 w 3060746"/>
                <a:gd name="connsiteY201" fmla="*/ 730637 h 1771142"/>
                <a:gd name="connsiteX202" fmla="*/ 1223153 w 3060746"/>
                <a:gd name="connsiteY202" fmla="*/ 713758 h 1771142"/>
                <a:gd name="connsiteX203" fmla="*/ 1252013 w 3060746"/>
                <a:gd name="connsiteY203" fmla="*/ 698584 h 1771142"/>
                <a:gd name="connsiteX204" fmla="*/ 1257371 w 3060746"/>
                <a:gd name="connsiteY204" fmla="*/ 685215 h 1771142"/>
                <a:gd name="connsiteX205" fmla="*/ 1248725 w 3060746"/>
                <a:gd name="connsiteY205" fmla="*/ 673984 h 1771142"/>
                <a:gd name="connsiteX206" fmla="*/ 1247101 w 3060746"/>
                <a:gd name="connsiteY206" fmla="*/ 661918 h 1771142"/>
                <a:gd name="connsiteX207" fmla="*/ 1227821 w 3060746"/>
                <a:gd name="connsiteY207" fmla="*/ 655234 h 1771142"/>
                <a:gd name="connsiteX208" fmla="*/ 1195350 w 3060746"/>
                <a:gd name="connsiteY208" fmla="*/ 660481 h 1771142"/>
                <a:gd name="connsiteX209" fmla="*/ 1233341 w 3060746"/>
                <a:gd name="connsiteY209" fmla="*/ 594670 h 1771142"/>
                <a:gd name="connsiteX210" fmla="*/ 1294754 w 3060746"/>
                <a:gd name="connsiteY210" fmla="*/ 562283 h 1771142"/>
                <a:gd name="connsiteX211" fmla="*/ 1286636 w 3060746"/>
                <a:gd name="connsiteY211" fmla="*/ 552523 h 1771142"/>
                <a:gd name="connsiteX212" fmla="*/ 1241013 w 3060746"/>
                <a:gd name="connsiteY212" fmla="*/ 563285 h 1771142"/>
                <a:gd name="connsiteX213" fmla="*/ 1169494 w 3060746"/>
                <a:gd name="connsiteY213" fmla="*/ 582203 h 1771142"/>
                <a:gd name="connsiteX214" fmla="*/ 1233341 w 3060746"/>
                <a:gd name="connsiteY214" fmla="*/ 594670 h 1771142"/>
                <a:gd name="connsiteX215" fmla="*/ 1357140 w 3060746"/>
                <a:gd name="connsiteY215" fmla="*/ 548579 h 1771142"/>
                <a:gd name="connsiteX216" fmla="*/ 1262810 w 3060746"/>
                <a:gd name="connsiteY216" fmla="*/ 596876 h 1771142"/>
                <a:gd name="connsiteX217" fmla="*/ 1357181 w 3060746"/>
                <a:gd name="connsiteY217" fmla="*/ 548579 h 1771142"/>
                <a:gd name="connsiteX218" fmla="*/ 1399232 w 3060746"/>
                <a:gd name="connsiteY218" fmla="*/ 654532 h 1771142"/>
                <a:gd name="connsiteX219" fmla="*/ 1367572 w 3060746"/>
                <a:gd name="connsiteY219" fmla="*/ 635246 h 1771142"/>
                <a:gd name="connsiteX220" fmla="*/ 1302101 w 3060746"/>
                <a:gd name="connsiteY220" fmla="*/ 668068 h 1771142"/>
                <a:gd name="connsiteX221" fmla="*/ 1311923 w 3060746"/>
                <a:gd name="connsiteY221" fmla="*/ 681204 h 1771142"/>
                <a:gd name="connsiteX222" fmla="*/ 1399232 w 3060746"/>
                <a:gd name="connsiteY222" fmla="*/ 654465 h 1771142"/>
                <a:gd name="connsiteX223" fmla="*/ 1269345 w 3060746"/>
                <a:gd name="connsiteY223" fmla="*/ 826663 h 1771142"/>
                <a:gd name="connsiteX224" fmla="*/ 1305875 w 3060746"/>
                <a:gd name="connsiteY224" fmla="*/ 803969 h 1771142"/>
                <a:gd name="connsiteX225" fmla="*/ 1336967 w 3060746"/>
                <a:gd name="connsiteY225" fmla="*/ 786555 h 1771142"/>
                <a:gd name="connsiteX226" fmla="*/ 1347033 w 3060746"/>
                <a:gd name="connsiteY226" fmla="*/ 766501 h 1771142"/>
                <a:gd name="connsiteX227" fmla="*/ 1337373 w 3060746"/>
                <a:gd name="connsiteY227" fmla="*/ 734648 h 1771142"/>
                <a:gd name="connsiteX228" fmla="*/ 1328078 w 3060746"/>
                <a:gd name="connsiteY228" fmla="*/ 756039 h 1771142"/>
                <a:gd name="connsiteX229" fmla="*/ 1313790 w 3060746"/>
                <a:gd name="connsiteY229" fmla="*/ 752329 h 1771142"/>
                <a:gd name="connsiteX230" fmla="*/ 1292115 w 3060746"/>
                <a:gd name="connsiteY230" fmla="*/ 760451 h 1771142"/>
                <a:gd name="connsiteX231" fmla="*/ 1280344 w 3060746"/>
                <a:gd name="connsiteY231" fmla="*/ 753766 h 1771142"/>
                <a:gd name="connsiteX232" fmla="*/ 1308514 w 3060746"/>
                <a:gd name="connsiteY232" fmla="*/ 727027 h 1771142"/>
                <a:gd name="connsiteX233" fmla="*/ 1276651 w 3060746"/>
                <a:gd name="connsiteY233" fmla="*/ 728498 h 1771142"/>
                <a:gd name="connsiteX234" fmla="*/ 1265529 w 3060746"/>
                <a:gd name="connsiteY234" fmla="*/ 726225 h 1771142"/>
                <a:gd name="connsiteX235" fmla="*/ 1235330 w 3060746"/>
                <a:gd name="connsiteY235" fmla="*/ 743238 h 1771142"/>
                <a:gd name="connsiteX236" fmla="*/ 1248035 w 3060746"/>
                <a:gd name="connsiteY236" fmla="*/ 747383 h 1771142"/>
                <a:gd name="connsiteX237" fmla="*/ 1197460 w 3060746"/>
                <a:gd name="connsiteY237" fmla="*/ 765398 h 1771142"/>
                <a:gd name="connsiteX238" fmla="*/ 1187597 w 3060746"/>
                <a:gd name="connsiteY238" fmla="*/ 790365 h 1771142"/>
                <a:gd name="connsiteX239" fmla="*/ 1217593 w 3060746"/>
                <a:gd name="connsiteY239" fmla="*/ 780773 h 1771142"/>
                <a:gd name="connsiteX240" fmla="*/ 1194051 w 3060746"/>
                <a:gd name="connsiteY240" fmla="*/ 810085 h 1771142"/>
                <a:gd name="connsiteX241" fmla="*/ 1153055 w 3060746"/>
                <a:gd name="connsiteY241" fmla="*/ 816202 h 1771142"/>
                <a:gd name="connsiteX242" fmla="*/ 1148428 w 3060746"/>
                <a:gd name="connsiteY242" fmla="*/ 835019 h 1771142"/>
                <a:gd name="connsiteX243" fmla="*/ 1212072 w 3060746"/>
                <a:gd name="connsiteY243" fmla="*/ 824992 h 1771142"/>
                <a:gd name="connsiteX244" fmla="*/ 1269263 w 3060746"/>
                <a:gd name="connsiteY244" fmla="*/ 826697 h 1771142"/>
                <a:gd name="connsiteX245" fmla="*/ 1269507 w 3060746"/>
                <a:gd name="connsiteY245" fmla="*/ 826563 h 1771142"/>
                <a:gd name="connsiteX246" fmla="*/ 1443150 w 3060746"/>
                <a:gd name="connsiteY246" fmla="*/ 620273 h 1771142"/>
                <a:gd name="connsiteX247" fmla="*/ 1471319 w 3060746"/>
                <a:gd name="connsiteY247" fmla="*/ 618635 h 1771142"/>
                <a:gd name="connsiteX248" fmla="*/ 1514831 w 3060746"/>
                <a:gd name="connsiteY248" fmla="*/ 610613 h 1771142"/>
                <a:gd name="connsiteX249" fmla="*/ 1554406 w 3060746"/>
                <a:gd name="connsiteY249" fmla="*/ 586481 h 1771142"/>
                <a:gd name="connsiteX250" fmla="*/ 1576203 w 3060746"/>
                <a:gd name="connsiteY250" fmla="*/ 584008 h 1771142"/>
                <a:gd name="connsiteX251" fmla="*/ 1651984 w 3060746"/>
                <a:gd name="connsiteY251" fmla="*/ 561982 h 1771142"/>
                <a:gd name="connsiteX252" fmla="*/ 1737223 w 3060746"/>
                <a:gd name="connsiteY252" fmla="*/ 524481 h 1771142"/>
                <a:gd name="connsiteX253" fmla="*/ 1767097 w 3060746"/>
                <a:gd name="connsiteY253" fmla="*/ 513718 h 1771142"/>
                <a:gd name="connsiteX254" fmla="*/ 1857003 w 3060746"/>
                <a:gd name="connsiteY254" fmla="*/ 480863 h 1771142"/>
                <a:gd name="connsiteX255" fmla="*/ 1858464 w 3060746"/>
                <a:gd name="connsiteY255" fmla="*/ 451383 h 1771142"/>
                <a:gd name="connsiteX256" fmla="*/ 1793886 w 3060746"/>
                <a:gd name="connsiteY256" fmla="*/ 466758 h 1771142"/>
                <a:gd name="connsiteX257" fmla="*/ 1714817 w 3060746"/>
                <a:gd name="connsiteY257" fmla="*/ 492661 h 1771142"/>
                <a:gd name="connsiteX258" fmla="*/ 1655800 w 3060746"/>
                <a:gd name="connsiteY258" fmla="*/ 520804 h 1771142"/>
                <a:gd name="connsiteX259" fmla="*/ 1569019 w 3060746"/>
                <a:gd name="connsiteY259" fmla="*/ 553893 h 1771142"/>
                <a:gd name="connsiteX260" fmla="*/ 1547709 w 3060746"/>
                <a:gd name="connsiteY260" fmla="*/ 557236 h 1771142"/>
                <a:gd name="connsiteX261" fmla="*/ 1499326 w 3060746"/>
                <a:gd name="connsiteY261" fmla="*/ 568633 h 1771142"/>
                <a:gd name="connsiteX262" fmla="*/ 1515034 w 3060746"/>
                <a:gd name="connsiteY262" fmla="*/ 544401 h 1771142"/>
                <a:gd name="connsiteX263" fmla="*/ 1435803 w 3060746"/>
                <a:gd name="connsiteY263" fmla="*/ 561514 h 1771142"/>
                <a:gd name="connsiteX264" fmla="*/ 1390465 w 3060746"/>
                <a:gd name="connsiteY264" fmla="*/ 579262 h 1771142"/>
                <a:gd name="connsiteX265" fmla="*/ 1336155 w 3060746"/>
                <a:gd name="connsiteY265" fmla="*/ 588687 h 1771142"/>
                <a:gd name="connsiteX266" fmla="*/ 1259928 w 3060746"/>
                <a:gd name="connsiteY266" fmla="*/ 620273 h 1771142"/>
                <a:gd name="connsiteX267" fmla="*/ 1364041 w 3060746"/>
                <a:gd name="connsiteY267" fmla="*/ 605098 h 1771142"/>
                <a:gd name="connsiteX268" fmla="*/ 1379708 w 3060746"/>
                <a:gd name="connsiteY268" fmla="*/ 594503 h 1771142"/>
                <a:gd name="connsiteX269" fmla="*/ 1415955 w 3060746"/>
                <a:gd name="connsiteY269" fmla="*/ 595205 h 1771142"/>
                <a:gd name="connsiteX270" fmla="*/ 1435722 w 3060746"/>
                <a:gd name="connsiteY270" fmla="*/ 603227 h 1771142"/>
                <a:gd name="connsiteX271" fmla="*/ 1443312 w 3060746"/>
                <a:gd name="connsiteY271" fmla="*/ 620139 h 1771142"/>
                <a:gd name="connsiteX272" fmla="*/ 1473430 w 3060746"/>
                <a:gd name="connsiteY272" fmla="*/ 509774 h 1771142"/>
                <a:gd name="connsiteX273" fmla="*/ 1446843 w 3060746"/>
                <a:gd name="connsiteY273" fmla="*/ 534240 h 1771142"/>
                <a:gd name="connsiteX274" fmla="*/ 1473592 w 3060746"/>
                <a:gd name="connsiteY274" fmla="*/ 509774 h 1771142"/>
                <a:gd name="connsiteX275" fmla="*/ 1210530 w 3060746"/>
                <a:gd name="connsiteY275" fmla="*/ 520236 h 1771142"/>
                <a:gd name="connsiteX276" fmla="*/ 1244098 w 3060746"/>
                <a:gd name="connsiteY276" fmla="*/ 524113 h 1771142"/>
                <a:gd name="connsiteX277" fmla="*/ 1282739 w 3060746"/>
                <a:gd name="connsiteY277" fmla="*/ 512381 h 1771142"/>
                <a:gd name="connsiteX278" fmla="*/ 1354705 w 3060746"/>
                <a:gd name="connsiteY278" fmla="*/ 484005 h 1771142"/>
                <a:gd name="connsiteX279" fmla="*/ 1330351 w 3060746"/>
                <a:gd name="connsiteY279" fmla="*/ 518230 h 1771142"/>
                <a:gd name="connsiteX280" fmla="*/ 1359616 w 3060746"/>
                <a:gd name="connsiteY280" fmla="*/ 516827 h 1771142"/>
                <a:gd name="connsiteX281" fmla="*/ 1369966 w 3060746"/>
                <a:gd name="connsiteY281" fmla="*/ 518832 h 1771142"/>
                <a:gd name="connsiteX282" fmla="*/ 1439578 w 3060746"/>
                <a:gd name="connsiteY282" fmla="*/ 501118 h 1771142"/>
                <a:gd name="connsiteX283" fmla="*/ 1463607 w 3060746"/>
                <a:gd name="connsiteY283" fmla="*/ 485709 h 1771142"/>
                <a:gd name="connsiteX284" fmla="*/ 1504197 w 3060746"/>
                <a:gd name="connsiteY284" fmla="*/ 472607 h 1771142"/>
                <a:gd name="connsiteX285" fmla="*/ 1510610 w 3060746"/>
                <a:gd name="connsiteY285" fmla="*/ 455595 h 1771142"/>
                <a:gd name="connsiteX286" fmla="*/ 1527414 w 3060746"/>
                <a:gd name="connsiteY286" fmla="*/ 445033 h 1771142"/>
                <a:gd name="connsiteX287" fmla="*/ 1541905 w 3060746"/>
                <a:gd name="connsiteY287" fmla="*/ 425246 h 1771142"/>
                <a:gd name="connsiteX288" fmla="*/ 1585985 w 3060746"/>
                <a:gd name="connsiteY288" fmla="*/ 401448 h 1771142"/>
                <a:gd name="connsiteX289" fmla="*/ 1599096 w 3060746"/>
                <a:gd name="connsiteY289" fmla="*/ 388079 h 1771142"/>
                <a:gd name="connsiteX290" fmla="*/ 1553919 w 3060746"/>
                <a:gd name="connsiteY290" fmla="*/ 399878 h 1771142"/>
                <a:gd name="connsiteX291" fmla="*/ 1522381 w 3060746"/>
                <a:gd name="connsiteY291" fmla="*/ 401849 h 1771142"/>
                <a:gd name="connsiteX292" fmla="*/ 1513411 w 3060746"/>
                <a:gd name="connsiteY292" fmla="*/ 393527 h 1771142"/>
                <a:gd name="connsiteX293" fmla="*/ 1500868 w 3060746"/>
                <a:gd name="connsiteY293" fmla="*/ 389449 h 1771142"/>
                <a:gd name="connsiteX294" fmla="*/ 1484389 w 3060746"/>
                <a:gd name="connsiteY294" fmla="*/ 387277 h 1771142"/>
                <a:gd name="connsiteX295" fmla="*/ 1476271 w 3060746"/>
                <a:gd name="connsiteY295" fmla="*/ 398039 h 1771142"/>
                <a:gd name="connsiteX296" fmla="*/ 1447858 w 3060746"/>
                <a:gd name="connsiteY296" fmla="*/ 403688 h 1771142"/>
                <a:gd name="connsiteX297" fmla="*/ 1425250 w 3060746"/>
                <a:gd name="connsiteY297" fmla="*/ 400914 h 1771142"/>
                <a:gd name="connsiteX298" fmla="*/ 1375771 w 3060746"/>
                <a:gd name="connsiteY298" fmla="*/ 410038 h 1771142"/>
                <a:gd name="connsiteX299" fmla="*/ 1267153 w 3060746"/>
                <a:gd name="connsiteY299" fmla="*/ 424878 h 1771142"/>
                <a:gd name="connsiteX300" fmla="*/ 1243814 w 3060746"/>
                <a:gd name="connsiteY300" fmla="*/ 438248 h 1771142"/>
                <a:gd name="connsiteX301" fmla="*/ 1273241 w 3060746"/>
                <a:gd name="connsiteY301" fmla="*/ 435373 h 1771142"/>
                <a:gd name="connsiteX302" fmla="*/ 1240079 w 3060746"/>
                <a:gd name="connsiteY302" fmla="*/ 458469 h 1771142"/>
                <a:gd name="connsiteX303" fmla="*/ 1200504 w 3060746"/>
                <a:gd name="connsiteY303" fmla="*/ 488818 h 1771142"/>
                <a:gd name="connsiteX304" fmla="*/ 1248968 w 3060746"/>
                <a:gd name="connsiteY304" fmla="*/ 492394 h 1771142"/>
                <a:gd name="connsiteX305" fmla="*/ 1208379 w 3060746"/>
                <a:gd name="connsiteY305" fmla="*/ 510142 h 1771142"/>
                <a:gd name="connsiteX306" fmla="*/ 1211058 w 3060746"/>
                <a:gd name="connsiteY306" fmla="*/ 520169 h 1771142"/>
                <a:gd name="connsiteX307" fmla="*/ 1210692 w 3060746"/>
                <a:gd name="connsiteY307" fmla="*/ 520236 h 1771142"/>
                <a:gd name="connsiteX308" fmla="*/ 1356166 w 3060746"/>
                <a:gd name="connsiteY308" fmla="*/ 378687 h 1771142"/>
                <a:gd name="connsiteX309" fmla="*/ 1371915 w 3060746"/>
                <a:gd name="connsiteY309" fmla="*/ 377116 h 1771142"/>
                <a:gd name="connsiteX310" fmla="*/ 1403900 w 3060746"/>
                <a:gd name="connsiteY310" fmla="*/ 370431 h 1771142"/>
                <a:gd name="connsiteX311" fmla="*/ 1405442 w 3060746"/>
                <a:gd name="connsiteY311" fmla="*/ 387711 h 1771142"/>
                <a:gd name="connsiteX312" fmla="*/ 1429268 w 3060746"/>
                <a:gd name="connsiteY312" fmla="*/ 386174 h 1771142"/>
                <a:gd name="connsiteX313" fmla="*/ 1464825 w 3060746"/>
                <a:gd name="connsiteY313" fmla="*/ 378821 h 1771142"/>
                <a:gd name="connsiteX314" fmla="*/ 1527779 w 3060746"/>
                <a:gd name="connsiteY314" fmla="*/ 346266 h 1771142"/>
                <a:gd name="connsiteX315" fmla="*/ 1532245 w 3060746"/>
                <a:gd name="connsiteY315" fmla="*/ 357797 h 1771142"/>
                <a:gd name="connsiteX316" fmla="*/ 1560089 w 3060746"/>
                <a:gd name="connsiteY316" fmla="*/ 352784 h 1771142"/>
                <a:gd name="connsiteX317" fmla="*/ 1627671 w 3060746"/>
                <a:gd name="connsiteY317" fmla="*/ 329020 h 1771142"/>
                <a:gd name="connsiteX318" fmla="*/ 1643907 w 3060746"/>
                <a:gd name="connsiteY318" fmla="*/ 315650 h 1771142"/>
                <a:gd name="connsiteX319" fmla="*/ 1684497 w 3060746"/>
                <a:gd name="connsiteY319" fmla="*/ 304152 h 1771142"/>
                <a:gd name="connsiteX320" fmla="*/ 1755001 w 3060746"/>
                <a:gd name="connsiteY320" fmla="*/ 269826 h 1771142"/>
                <a:gd name="connsiteX321" fmla="*/ 1787473 w 3060746"/>
                <a:gd name="connsiteY321" fmla="*/ 252413 h 1771142"/>
                <a:gd name="connsiteX322" fmla="*/ 1720378 w 3060746"/>
                <a:gd name="connsiteY322" fmla="*/ 297534 h 1771142"/>
                <a:gd name="connsiteX323" fmla="*/ 1676257 w 3060746"/>
                <a:gd name="connsiteY323" fmla="*/ 326646 h 1771142"/>
                <a:gd name="connsiteX324" fmla="*/ 1726142 w 3060746"/>
                <a:gd name="connsiteY324" fmla="*/ 329488 h 1771142"/>
                <a:gd name="connsiteX325" fmla="*/ 1640213 w 3060746"/>
                <a:gd name="connsiteY325" fmla="*/ 338345 h 1771142"/>
                <a:gd name="connsiteX326" fmla="*/ 1545558 w 3060746"/>
                <a:gd name="connsiteY326" fmla="*/ 366253 h 1771142"/>
                <a:gd name="connsiteX327" fmla="*/ 1552052 w 3060746"/>
                <a:gd name="connsiteY327" fmla="*/ 392290 h 1771142"/>
                <a:gd name="connsiteX328" fmla="*/ 1587649 w 3060746"/>
                <a:gd name="connsiteY328" fmla="*/ 383266 h 1771142"/>
                <a:gd name="connsiteX329" fmla="*/ 1635302 w 3060746"/>
                <a:gd name="connsiteY329" fmla="*/ 385706 h 1771142"/>
                <a:gd name="connsiteX330" fmla="*/ 1677109 w 3060746"/>
                <a:gd name="connsiteY330" fmla="*/ 384570 h 1771142"/>
                <a:gd name="connsiteX331" fmla="*/ 1711489 w 3060746"/>
                <a:gd name="connsiteY331" fmla="*/ 379289 h 1771142"/>
                <a:gd name="connsiteX332" fmla="*/ 1653811 w 3060746"/>
                <a:gd name="connsiteY332" fmla="*/ 396869 h 1771142"/>
                <a:gd name="connsiteX333" fmla="*/ 1563458 w 3060746"/>
                <a:gd name="connsiteY333" fmla="*/ 428054 h 1771142"/>
                <a:gd name="connsiteX334" fmla="*/ 1549049 w 3060746"/>
                <a:gd name="connsiteY334" fmla="*/ 459071 h 1771142"/>
                <a:gd name="connsiteX335" fmla="*/ 1590328 w 3060746"/>
                <a:gd name="connsiteY335" fmla="*/ 443662 h 1771142"/>
                <a:gd name="connsiteX336" fmla="*/ 1632745 w 3060746"/>
                <a:gd name="connsiteY336" fmla="*/ 417458 h 1771142"/>
                <a:gd name="connsiteX337" fmla="*/ 1618741 w 3060746"/>
                <a:gd name="connsiteY337" fmla="*/ 444197 h 1771142"/>
                <a:gd name="connsiteX338" fmla="*/ 1665176 w 3060746"/>
                <a:gd name="connsiteY338" fmla="*/ 449946 h 1771142"/>
                <a:gd name="connsiteX339" fmla="*/ 1610420 w 3060746"/>
                <a:gd name="connsiteY339" fmla="*/ 455962 h 1771142"/>
                <a:gd name="connsiteX340" fmla="*/ 1530499 w 3060746"/>
                <a:gd name="connsiteY340" fmla="*/ 483370 h 1771142"/>
                <a:gd name="connsiteX341" fmla="*/ 1578152 w 3060746"/>
                <a:gd name="connsiteY341" fmla="*/ 485141 h 1771142"/>
                <a:gd name="connsiteX342" fmla="*/ 1543001 w 3060746"/>
                <a:gd name="connsiteY342" fmla="*/ 502455 h 1771142"/>
                <a:gd name="connsiteX343" fmla="*/ 1501680 w 3060746"/>
                <a:gd name="connsiteY343" fmla="*/ 525851 h 1771142"/>
                <a:gd name="connsiteX344" fmla="*/ 1533178 w 3060746"/>
                <a:gd name="connsiteY344" fmla="*/ 529193 h 1771142"/>
                <a:gd name="connsiteX345" fmla="*/ 1611963 w 3060746"/>
                <a:gd name="connsiteY345" fmla="*/ 500616 h 1771142"/>
                <a:gd name="connsiteX346" fmla="*/ 1679098 w 3060746"/>
                <a:gd name="connsiteY346" fmla="*/ 476585 h 1771142"/>
                <a:gd name="connsiteX347" fmla="*/ 1724153 w 3060746"/>
                <a:gd name="connsiteY347" fmla="*/ 458135 h 1771142"/>
                <a:gd name="connsiteX348" fmla="*/ 1783251 w 3060746"/>
                <a:gd name="connsiteY348" fmla="*/ 441022 h 1771142"/>
                <a:gd name="connsiteX349" fmla="*/ 1823841 w 3060746"/>
                <a:gd name="connsiteY349" fmla="*/ 436577 h 1771142"/>
                <a:gd name="connsiteX350" fmla="*/ 1864674 w 3060746"/>
                <a:gd name="connsiteY350" fmla="*/ 411810 h 1771142"/>
                <a:gd name="connsiteX351" fmla="*/ 1903072 w 3060746"/>
                <a:gd name="connsiteY351" fmla="*/ 395332 h 1771142"/>
                <a:gd name="connsiteX352" fmla="*/ 1888582 w 3060746"/>
                <a:gd name="connsiteY352" fmla="*/ 382698 h 1771142"/>
                <a:gd name="connsiteX353" fmla="*/ 1861630 w 3060746"/>
                <a:gd name="connsiteY353" fmla="*/ 396067 h 1771142"/>
                <a:gd name="connsiteX354" fmla="*/ 1841132 w 3060746"/>
                <a:gd name="connsiteY354" fmla="*/ 394697 h 1771142"/>
                <a:gd name="connsiteX355" fmla="*/ 1753905 w 3060746"/>
                <a:gd name="connsiteY355" fmla="*/ 419865 h 1771142"/>
                <a:gd name="connsiteX356" fmla="*/ 1818078 w 3060746"/>
                <a:gd name="connsiteY356" fmla="*/ 393527 h 1771142"/>
                <a:gd name="connsiteX357" fmla="*/ 1876040 w 3060746"/>
                <a:gd name="connsiteY357" fmla="*/ 368292 h 1771142"/>
                <a:gd name="connsiteX358" fmla="*/ 1866664 w 3060746"/>
                <a:gd name="connsiteY358" fmla="*/ 355157 h 1771142"/>
                <a:gd name="connsiteX359" fmla="*/ 1941755 w 3060746"/>
                <a:gd name="connsiteY359" fmla="*/ 326780 h 1771142"/>
                <a:gd name="connsiteX360" fmla="*/ 1985023 w 3060746"/>
                <a:gd name="connsiteY360" fmla="*/ 276645 h 1771142"/>
                <a:gd name="connsiteX361" fmla="*/ 1920526 w 3060746"/>
                <a:gd name="connsiteY361" fmla="*/ 286505 h 1771142"/>
                <a:gd name="connsiteX362" fmla="*/ 1893737 w 3060746"/>
                <a:gd name="connsiteY362" fmla="*/ 289112 h 1771142"/>
                <a:gd name="connsiteX363" fmla="*/ 1950563 w 3060746"/>
                <a:gd name="connsiteY363" fmla="*/ 266417 h 1771142"/>
                <a:gd name="connsiteX364" fmla="*/ 1995739 w 3060746"/>
                <a:gd name="connsiteY364" fmla="*/ 249939 h 1771142"/>
                <a:gd name="connsiteX365" fmla="*/ 2008444 w 3060746"/>
                <a:gd name="connsiteY365" fmla="*/ 229885 h 1771142"/>
                <a:gd name="connsiteX366" fmla="*/ 2084184 w 3060746"/>
                <a:gd name="connsiteY366" fmla="*/ 200907 h 1771142"/>
                <a:gd name="connsiteX367" fmla="*/ 2121811 w 3060746"/>
                <a:gd name="connsiteY367" fmla="*/ 176341 h 1771142"/>
                <a:gd name="connsiteX368" fmla="*/ 2212894 w 3060746"/>
                <a:gd name="connsiteY368" fmla="*/ 120757 h 1771142"/>
                <a:gd name="connsiteX369" fmla="*/ 2299919 w 3060746"/>
                <a:gd name="connsiteY369" fmla="*/ 80147 h 1771142"/>
                <a:gd name="connsiteX370" fmla="*/ 2271506 w 3060746"/>
                <a:gd name="connsiteY370" fmla="*/ 79145 h 1771142"/>
                <a:gd name="connsiteX371" fmla="*/ 2198120 w 3060746"/>
                <a:gd name="connsiteY371" fmla="*/ 101906 h 1771142"/>
                <a:gd name="connsiteX372" fmla="*/ 2228115 w 3060746"/>
                <a:gd name="connsiteY372" fmla="*/ 85362 h 1771142"/>
                <a:gd name="connsiteX373" fmla="*/ 2292004 w 3060746"/>
                <a:gd name="connsiteY373" fmla="*/ 66110 h 1771142"/>
                <a:gd name="connsiteX374" fmla="*/ 2371438 w 3060746"/>
                <a:gd name="connsiteY374" fmla="*/ 30346 h 1771142"/>
                <a:gd name="connsiteX375" fmla="*/ 2407238 w 3060746"/>
                <a:gd name="connsiteY375" fmla="*/ 265 h 1771142"/>
                <a:gd name="connsiteX376" fmla="*/ 2329833 w 3060746"/>
                <a:gd name="connsiteY376" fmla="*/ 15406 h 1771142"/>
                <a:gd name="connsiteX377" fmla="*/ 2311527 w 3060746"/>
                <a:gd name="connsiteY377" fmla="*/ 10860 h 1771142"/>
                <a:gd name="connsiteX378" fmla="*/ 2280557 w 3060746"/>
                <a:gd name="connsiteY378" fmla="*/ 18147 h 1771142"/>
                <a:gd name="connsiteX379" fmla="*/ 2192193 w 3060746"/>
                <a:gd name="connsiteY379" fmla="*/ 50200 h 1771142"/>
                <a:gd name="connsiteX380" fmla="*/ 2212245 w 3060746"/>
                <a:gd name="connsiteY380" fmla="*/ 31182 h 1771142"/>
                <a:gd name="connsiteX381" fmla="*/ 2100663 w 3060746"/>
                <a:gd name="connsiteY381" fmla="*/ 59826 h 1771142"/>
                <a:gd name="connsiteX382" fmla="*/ 2046233 w 3060746"/>
                <a:gd name="connsiteY382" fmla="*/ 76103 h 1771142"/>
                <a:gd name="connsiteX383" fmla="*/ 1978488 w 3060746"/>
                <a:gd name="connsiteY383" fmla="*/ 92548 h 1771142"/>
                <a:gd name="connsiteX384" fmla="*/ 1956813 w 3060746"/>
                <a:gd name="connsiteY384" fmla="*/ 105516 h 1771142"/>
                <a:gd name="connsiteX385" fmla="*/ 1949142 w 3060746"/>
                <a:gd name="connsiteY385" fmla="*/ 115877 h 1771142"/>
                <a:gd name="connsiteX386" fmla="*/ 1907131 w 3060746"/>
                <a:gd name="connsiteY386" fmla="*/ 120256 h 1771142"/>
                <a:gd name="connsiteX387" fmla="*/ 1850306 w 3060746"/>
                <a:gd name="connsiteY387" fmla="*/ 140811 h 1771142"/>
                <a:gd name="connsiteX388" fmla="*/ 1819823 w 3060746"/>
                <a:gd name="connsiteY388" fmla="*/ 152576 h 1771142"/>
                <a:gd name="connsiteX389" fmla="*/ 1802247 w 3060746"/>
                <a:gd name="connsiteY389" fmla="*/ 164107 h 1771142"/>
                <a:gd name="connsiteX390" fmla="*/ 1718957 w 3060746"/>
                <a:gd name="connsiteY390" fmla="*/ 187504 h 1771142"/>
                <a:gd name="connsiteX391" fmla="*/ 1725289 w 3060746"/>
                <a:gd name="connsiteY391" fmla="*/ 189610 h 1771142"/>
                <a:gd name="connsiteX392" fmla="*/ 1696268 w 3060746"/>
                <a:gd name="connsiteY392" fmla="*/ 200205 h 1771142"/>
                <a:gd name="connsiteX393" fmla="*/ 1686932 w 3060746"/>
                <a:gd name="connsiteY393" fmla="*/ 215379 h 1771142"/>
                <a:gd name="connsiteX394" fmla="*/ 1630675 w 3060746"/>
                <a:gd name="connsiteY394" fmla="*/ 237974 h 1771142"/>
                <a:gd name="connsiteX395" fmla="*/ 1600273 w 3060746"/>
                <a:gd name="connsiteY395" fmla="*/ 258663 h 1771142"/>
                <a:gd name="connsiteX396" fmla="*/ 1553108 w 3060746"/>
                <a:gd name="connsiteY396" fmla="*/ 265983 h 1771142"/>
                <a:gd name="connsiteX397" fmla="*/ 1524005 w 3060746"/>
                <a:gd name="connsiteY397" fmla="*/ 277647 h 1771142"/>
                <a:gd name="connsiteX398" fmla="*/ 1523477 w 3060746"/>
                <a:gd name="connsiteY398" fmla="*/ 284867 h 1771142"/>
                <a:gd name="connsiteX399" fmla="*/ 1496282 w 3060746"/>
                <a:gd name="connsiteY399" fmla="*/ 297434 h 1771142"/>
                <a:gd name="connsiteX400" fmla="*/ 1505009 w 3060746"/>
                <a:gd name="connsiteY400" fmla="*/ 303417 h 1771142"/>
                <a:gd name="connsiteX401" fmla="*/ 1447574 w 3060746"/>
                <a:gd name="connsiteY401" fmla="*/ 321232 h 1771142"/>
                <a:gd name="connsiteX402" fmla="*/ 1411044 w 3060746"/>
                <a:gd name="connsiteY402" fmla="*/ 348505 h 1771142"/>
                <a:gd name="connsiteX403" fmla="*/ 1375690 w 3060746"/>
                <a:gd name="connsiteY403" fmla="*/ 360337 h 1771142"/>
                <a:gd name="connsiteX404" fmla="*/ 1317768 w 3060746"/>
                <a:gd name="connsiteY404" fmla="*/ 392792 h 1771142"/>
                <a:gd name="connsiteX405" fmla="*/ 1356044 w 3060746"/>
                <a:gd name="connsiteY405" fmla="*/ 378319 h 1771142"/>
                <a:gd name="connsiteX406" fmla="*/ 2051915 w 3060746"/>
                <a:gd name="connsiteY406" fmla="*/ 839264 h 1771142"/>
                <a:gd name="connsiteX407" fmla="*/ 2047450 w 3060746"/>
                <a:gd name="connsiteY407" fmla="*/ 820313 h 1771142"/>
                <a:gd name="connsiteX408" fmla="*/ 2051915 w 3060746"/>
                <a:gd name="connsiteY408" fmla="*/ 839264 h 1771142"/>
                <a:gd name="connsiteX409" fmla="*/ 1918294 w 3060746"/>
                <a:gd name="connsiteY409" fmla="*/ 867741 h 1771142"/>
                <a:gd name="connsiteX410" fmla="*/ 1963592 w 3060746"/>
                <a:gd name="connsiteY410" fmla="*/ 830975 h 1771142"/>
                <a:gd name="connsiteX411" fmla="*/ 1918294 w 3060746"/>
                <a:gd name="connsiteY411" fmla="*/ 867741 h 1771142"/>
                <a:gd name="connsiteX412" fmla="*/ 2001827 w 3060746"/>
                <a:gd name="connsiteY412" fmla="*/ 793307 h 1771142"/>
                <a:gd name="connsiteX413" fmla="*/ 1949061 w 3060746"/>
                <a:gd name="connsiteY413" fmla="*/ 792872 h 1771142"/>
                <a:gd name="connsiteX414" fmla="*/ 1879530 w 3060746"/>
                <a:gd name="connsiteY414" fmla="*/ 795212 h 1771142"/>
                <a:gd name="connsiteX415" fmla="*/ 1833867 w 3060746"/>
                <a:gd name="connsiteY415" fmla="*/ 799390 h 1771142"/>
                <a:gd name="connsiteX416" fmla="*/ 1810244 w 3060746"/>
                <a:gd name="connsiteY416" fmla="*/ 798053 h 1771142"/>
                <a:gd name="connsiteX417" fmla="*/ 1797620 w 3060746"/>
                <a:gd name="connsiteY417" fmla="*/ 823588 h 1771142"/>
                <a:gd name="connsiteX418" fmla="*/ 1799569 w 3060746"/>
                <a:gd name="connsiteY418" fmla="*/ 843642 h 1771142"/>
                <a:gd name="connsiteX419" fmla="*/ 1790477 w 3060746"/>
                <a:gd name="connsiteY419" fmla="*/ 863697 h 1771142"/>
                <a:gd name="connsiteX420" fmla="*/ 1793561 w 3060746"/>
                <a:gd name="connsiteY420" fmla="*/ 873924 h 1771142"/>
                <a:gd name="connsiteX421" fmla="*/ 1832162 w 3060746"/>
                <a:gd name="connsiteY421" fmla="*/ 859385 h 1771142"/>
                <a:gd name="connsiteX422" fmla="*/ 1852457 w 3060746"/>
                <a:gd name="connsiteY422" fmla="*/ 863095 h 1771142"/>
                <a:gd name="connsiteX423" fmla="*/ 1888988 w 3060746"/>
                <a:gd name="connsiteY423" fmla="*/ 837158 h 1771142"/>
                <a:gd name="connsiteX424" fmla="*/ 1917401 w 3060746"/>
                <a:gd name="connsiteY424" fmla="*/ 817104 h 1771142"/>
                <a:gd name="connsiteX425" fmla="*/ 2001868 w 3060746"/>
                <a:gd name="connsiteY425" fmla="*/ 793106 h 1771142"/>
                <a:gd name="connsiteX426" fmla="*/ 2451724 w 3060746"/>
                <a:gd name="connsiteY426" fmla="*/ 581301 h 1771142"/>
                <a:gd name="connsiteX427" fmla="*/ 2526166 w 3060746"/>
                <a:gd name="connsiteY427" fmla="*/ 591328 h 1771142"/>
                <a:gd name="connsiteX428" fmla="*/ 2543173 w 3060746"/>
                <a:gd name="connsiteY428" fmla="*/ 581735 h 1771142"/>
                <a:gd name="connsiteX429" fmla="*/ 2564077 w 3060746"/>
                <a:gd name="connsiteY429" fmla="*/ 565625 h 1771142"/>
                <a:gd name="connsiteX430" fmla="*/ 2575077 w 3060746"/>
                <a:gd name="connsiteY430" fmla="*/ 551621 h 1771142"/>
                <a:gd name="connsiteX431" fmla="*/ 2603774 w 3060746"/>
                <a:gd name="connsiteY431" fmla="*/ 528425 h 1771142"/>
                <a:gd name="connsiteX432" fmla="*/ 2551007 w 3060746"/>
                <a:gd name="connsiteY432" fmla="*/ 527255 h 1771142"/>
                <a:gd name="connsiteX433" fmla="*/ 2532539 w 3060746"/>
                <a:gd name="connsiteY433" fmla="*/ 519701 h 1771142"/>
                <a:gd name="connsiteX434" fmla="*/ 2507373 w 3060746"/>
                <a:gd name="connsiteY434" fmla="*/ 516125 h 1771142"/>
                <a:gd name="connsiteX435" fmla="*/ 2424692 w 3060746"/>
                <a:gd name="connsiteY435" fmla="*/ 525550 h 1771142"/>
                <a:gd name="connsiteX436" fmla="*/ 2349844 w 3060746"/>
                <a:gd name="connsiteY436" fmla="*/ 523244 h 1771142"/>
                <a:gd name="connsiteX437" fmla="*/ 2392747 w 3060746"/>
                <a:gd name="connsiteY437" fmla="*/ 501853 h 1771142"/>
                <a:gd name="connsiteX438" fmla="*/ 2353132 w 3060746"/>
                <a:gd name="connsiteY438" fmla="*/ 501853 h 1771142"/>
                <a:gd name="connsiteX439" fmla="*/ 2362995 w 3060746"/>
                <a:gd name="connsiteY439" fmla="*/ 487481 h 1771142"/>
                <a:gd name="connsiteX440" fmla="*/ 2329833 w 3060746"/>
                <a:gd name="connsiteY440" fmla="*/ 493831 h 1771142"/>
                <a:gd name="connsiteX441" fmla="*/ 2319523 w 3060746"/>
                <a:gd name="connsiteY441" fmla="*/ 488450 h 1771142"/>
                <a:gd name="connsiteX442" fmla="*/ 2306251 w 3060746"/>
                <a:gd name="connsiteY442" fmla="*/ 481498 h 1771142"/>
                <a:gd name="connsiteX443" fmla="*/ 2266432 w 3060746"/>
                <a:gd name="connsiteY443" fmla="*/ 491525 h 1771142"/>
                <a:gd name="connsiteX444" fmla="*/ 2237086 w 3060746"/>
                <a:gd name="connsiteY444" fmla="*/ 489820 h 1771142"/>
                <a:gd name="connsiteX445" fmla="*/ 2177703 w 3060746"/>
                <a:gd name="connsiteY445" fmla="*/ 511746 h 1771142"/>
                <a:gd name="connsiteX446" fmla="*/ 2206116 w 3060746"/>
                <a:gd name="connsiteY446" fmla="*/ 492361 h 1771142"/>
                <a:gd name="connsiteX447" fmla="*/ 2181762 w 3060746"/>
                <a:gd name="connsiteY447" fmla="*/ 487381 h 1771142"/>
                <a:gd name="connsiteX448" fmla="*/ 2131146 w 3060746"/>
                <a:gd name="connsiteY448" fmla="*/ 507134 h 1771142"/>
                <a:gd name="connsiteX449" fmla="*/ 2108457 w 3060746"/>
                <a:gd name="connsiteY449" fmla="*/ 499680 h 1771142"/>
                <a:gd name="connsiteX450" fmla="*/ 2080531 w 3060746"/>
                <a:gd name="connsiteY450" fmla="*/ 503691 h 1771142"/>
                <a:gd name="connsiteX451" fmla="*/ 2040834 w 3060746"/>
                <a:gd name="connsiteY451" fmla="*/ 498076 h 1771142"/>
                <a:gd name="connsiteX452" fmla="*/ 1960954 w 3060746"/>
                <a:gd name="connsiteY452" fmla="*/ 522609 h 1771142"/>
                <a:gd name="connsiteX453" fmla="*/ 1949954 w 3060746"/>
                <a:gd name="connsiteY453" fmla="*/ 534842 h 1771142"/>
                <a:gd name="connsiteX454" fmla="*/ 1950644 w 3060746"/>
                <a:gd name="connsiteY454" fmla="*/ 542362 h 1771142"/>
                <a:gd name="connsiteX455" fmla="*/ 1926290 w 3060746"/>
                <a:gd name="connsiteY455" fmla="*/ 540490 h 1771142"/>
                <a:gd name="connsiteX456" fmla="*/ 1874538 w 3060746"/>
                <a:gd name="connsiteY456" fmla="*/ 569101 h 1771142"/>
                <a:gd name="connsiteX457" fmla="*/ 1860453 w 3060746"/>
                <a:gd name="connsiteY457" fmla="*/ 539922 h 1771142"/>
                <a:gd name="connsiteX458" fmla="*/ 1787067 w 3060746"/>
                <a:gd name="connsiteY458" fmla="*/ 539922 h 1771142"/>
                <a:gd name="connsiteX459" fmla="*/ 1762307 w 3060746"/>
                <a:gd name="connsiteY459" fmla="*/ 557069 h 1771142"/>
                <a:gd name="connsiteX460" fmla="*/ 1724802 w 3060746"/>
                <a:gd name="connsiteY460" fmla="*/ 576454 h 1771142"/>
                <a:gd name="connsiteX461" fmla="*/ 1696024 w 3060746"/>
                <a:gd name="connsiteY461" fmla="*/ 603427 h 1771142"/>
                <a:gd name="connsiteX462" fmla="*/ 1725127 w 3060746"/>
                <a:gd name="connsiteY462" fmla="*/ 612752 h 1771142"/>
                <a:gd name="connsiteX463" fmla="*/ 1727603 w 3060746"/>
                <a:gd name="connsiteY463" fmla="*/ 631804 h 1771142"/>
                <a:gd name="connsiteX464" fmla="*/ 1724478 w 3060746"/>
                <a:gd name="connsiteY464" fmla="*/ 642900 h 1771142"/>
                <a:gd name="connsiteX465" fmla="*/ 1670331 w 3060746"/>
                <a:gd name="connsiteY465" fmla="*/ 623682 h 1771142"/>
                <a:gd name="connsiteX466" fmla="*/ 1680844 w 3060746"/>
                <a:gd name="connsiteY466" fmla="*/ 596274 h 1771142"/>
                <a:gd name="connsiteX467" fmla="*/ 1707755 w 3060746"/>
                <a:gd name="connsiteY467" fmla="*/ 569903 h 1771142"/>
                <a:gd name="connsiteX468" fmla="*/ 1658519 w 3060746"/>
                <a:gd name="connsiteY468" fmla="*/ 585211 h 1771142"/>
                <a:gd name="connsiteX469" fmla="*/ 1578070 w 3060746"/>
                <a:gd name="connsiteY469" fmla="*/ 640293 h 1771142"/>
                <a:gd name="connsiteX470" fmla="*/ 1572428 w 3060746"/>
                <a:gd name="connsiteY470" fmla="*/ 690429 h 1771142"/>
                <a:gd name="connsiteX471" fmla="*/ 1619106 w 3060746"/>
                <a:gd name="connsiteY471" fmla="*/ 690763 h 1771142"/>
                <a:gd name="connsiteX472" fmla="*/ 1665947 w 3060746"/>
                <a:gd name="connsiteY472" fmla="*/ 677594 h 1771142"/>
                <a:gd name="connsiteX473" fmla="*/ 1653040 w 3060746"/>
                <a:gd name="connsiteY473" fmla="*/ 688858 h 1771142"/>
                <a:gd name="connsiteX474" fmla="*/ 1620568 w 3060746"/>
                <a:gd name="connsiteY474" fmla="*/ 712455 h 1771142"/>
                <a:gd name="connsiteX475" fmla="*/ 1664608 w 3060746"/>
                <a:gd name="connsiteY475" fmla="*/ 705770 h 1771142"/>
                <a:gd name="connsiteX476" fmla="*/ 1700083 w 3060746"/>
                <a:gd name="connsiteY476" fmla="*/ 690562 h 1771142"/>
                <a:gd name="connsiteX477" fmla="*/ 1733245 w 3060746"/>
                <a:gd name="connsiteY477" fmla="*/ 689058 h 1771142"/>
                <a:gd name="connsiteX478" fmla="*/ 1801355 w 3060746"/>
                <a:gd name="connsiteY478" fmla="*/ 666497 h 1771142"/>
                <a:gd name="connsiteX479" fmla="*/ 1889191 w 3060746"/>
                <a:gd name="connsiteY479" fmla="*/ 633575 h 1771142"/>
                <a:gd name="connsiteX480" fmla="*/ 1958762 w 3060746"/>
                <a:gd name="connsiteY480" fmla="*/ 615292 h 1771142"/>
                <a:gd name="connsiteX481" fmla="*/ 1951253 w 3060746"/>
                <a:gd name="connsiteY481" fmla="*/ 597545 h 1771142"/>
                <a:gd name="connsiteX482" fmla="*/ 1990990 w 3060746"/>
                <a:gd name="connsiteY482" fmla="*/ 590860 h 1771142"/>
                <a:gd name="connsiteX483" fmla="*/ 2007550 w 3060746"/>
                <a:gd name="connsiteY483" fmla="*/ 592598 h 1771142"/>
                <a:gd name="connsiteX484" fmla="*/ 2026019 w 3060746"/>
                <a:gd name="connsiteY484" fmla="*/ 592932 h 1771142"/>
                <a:gd name="connsiteX485" fmla="*/ 2082601 w 3060746"/>
                <a:gd name="connsiteY485" fmla="*/ 592698 h 1771142"/>
                <a:gd name="connsiteX486" fmla="*/ 2058004 w 3060746"/>
                <a:gd name="connsiteY486" fmla="*/ 616696 h 1771142"/>
                <a:gd name="connsiteX487" fmla="*/ 2084834 w 3060746"/>
                <a:gd name="connsiteY487" fmla="*/ 608808 h 1771142"/>
                <a:gd name="connsiteX488" fmla="*/ 2118604 w 3060746"/>
                <a:gd name="connsiteY488" fmla="*/ 592966 h 1771142"/>
                <a:gd name="connsiteX489" fmla="*/ 2138899 w 3060746"/>
                <a:gd name="connsiteY489" fmla="*/ 600820 h 1771142"/>
                <a:gd name="connsiteX490" fmla="*/ 2174537 w 3060746"/>
                <a:gd name="connsiteY490" fmla="*/ 593634 h 1771142"/>
                <a:gd name="connsiteX491" fmla="*/ 2217278 w 3060746"/>
                <a:gd name="connsiteY491" fmla="*/ 606068 h 1771142"/>
                <a:gd name="connsiteX492" fmla="*/ 2218617 w 3060746"/>
                <a:gd name="connsiteY492" fmla="*/ 627158 h 1771142"/>
                <a:gd name="connsiteX493" fmla="*/ 2251657 w 3060746"/>
                <a:gd name="connsiteY493" fmla="*/ 618769 h 1771142"/>
                <a:gd name="connsiteX494" fmla="*/ 2300771 w 3060746"/>
                <a:gd name="connsiteY494" fmla="*/ 601656 h 1771142"/>
                <a:gd name="connsiteX495" fmla="*/ 2319239 w 3060746"/>
                <a:gd name="connsiteY495" fmla="*/ 617766 h 1771142"/>
                <a:gd name="connsiteX496" fmla="*/ 2294601 w 3060746"/>
                <a:gd name="connsiteY496" fmla="*/ 629731 h 1771142"/>
                <a:gd name="connsiteX497" fmla="*/ 2284251 w 3060746"/>
                <a:gd name="connsiteY497" fmla="*/ 628027 h 1771142"/>
                <a:gd name="connsiteX498" fmla="*/ 2180544 w 3060746"/>
                <a:gd name="connsiteY498" fmla="*/ 663356 h 1771142"/>
                <a:gd name="connsiteX499" fmla="*/ 2192315 w 3060746"/>
                <a:gd name="connsiteY499" fmla="*/ 680970 h 1771142"/>
                <a:gd name="connsiteX500" fmla="*/ 2102531 w 3060746"/>
                <a:gd name="connsiteY500" fmla="*/ 708912 h 1771142"/>
                <a:gd name="connsiteX501" fmla="*/ 2077243 w 3060746"/>
                <a:gd name="connsiteY501" fmla="*/ 725056 h 1771142"/>
                <a:gd name="connsiteX502" fmla="*/ 2094940 w 3060746"/>
                <a:gd name="connsiteY502" fmla="*/ 745644 h 1771142"/>
                <a:gd name="connsiteX503" fmla="*/ 2138168 w 3060746"/>
                <a:gd name="connsiteY503" fmla="*/ 728933 h 1771142"/>
                <a:gd name="connsiteX504" fmla="*/ 2172548 w 3060746"/>
                <a:gd name="connsiteY504" fmla="*/ 719541 h 1771142"/>
                <a:gd name="connsiteX505" fmla="*/ 2178961 w 3060746"/>
                <a:gd name="connsiteY505" fmla="*/ 710015 h 1771142"/>
                <a:gd name="connsiteX506" fmla="*/ 2218901 w 3060746"/>
                <a:gd name="connsiteY506" fmla="*/ 697281 h 1771142"/>
                <a:gd name="connsiteX507" fmla="*/ 2272196 w 3060746"/>
                <a:gd name="connsiteY507" fmla="*/ 700255 h 1771142"/>
                <a:gd name="connsiteX508" fmla="*/ 2305114 w 3060746"/>
                <a:gd name="connsiteY508" fmla="*/ 715396 h 1771142"/>
                <a:gd name="connsiteX509" fmla="*/ 2373224 w 3060746"/>
                <a:gd name="connsiteY509" fmla="*/ 703163 h 1771142"/>
                <a:gd name="connsiteX510" fmla="*/ 2434474 w 3060746"/>
                <a:gd name="connsiteY510" fmla="*/ 703531 h 1771142"/>
                <a:gd name="connsiteX511" fmla="*/ 2383818 w 3060746"/>
                <a:gd name="connsiteY511" fmla="*/ 674887 h 1771142"/>
                <a:gd name="connsiteX512" fmla="*/ 2434352 w 3060746"/>
                <a:gd name="connsiteY512" fmla="*/ 664559 h 1771142"/>
                <a:gd name="connsiteX513" fmla="*/ 2511838 w 3060746"/>
                <a:gd name="connsiteY513" fmla="*/ 656203 h 1771142"/>
                <a:gd name="connsiteX514" fmla="*/ 2527221 w 3060746"/>
                <a:gd name="connsiteY514" fmla="*/ 632038 h 1771142"/>
                <a:gd name="connsiteX515" fmla="*/ 2494750 w 3060746"/>
                <a:gd name="connsiteY515" fmla="*/ 617666 h 1771142"/>
                <a:gd name="connsiteX516" fmla="*/ 2396887 w 3060746"/>
                <a:gd name="connsiteY516" fmla="*/ 612151 h 1771142"/>
                <a:gd name="connsiteX517" fmla="*/ 2405290 w 3060746"/>
                <a:gd name="connsiteY517" fmla="*/ 601823 h 1771142"/>
                <a:gd name="connsiteX518" fmla="*/ 2397983 w 3060746"/>
                <a:gd name="connsiteY518" fmla="*/ 591027 h 1771142"/>
                <a:gd name="connsiteX519" fmla="*/ 2451440 w 3060746"/>
                <a:gd name="connsiteY519" fmla="*/ 581301 h 1771142"/>
                <a:gd name="connsiteX520" fmla="*/ 2124205 w 3060746"/>
                <a:gd name="connsiteY520" fmla="*/ 641697 h 1771142"/>
                <a:gd name="connsiteX521" fmla="*/ 2118604 w 3060746"/>
                <a:gd name="connsiteY521" fmla="*/ 619136 h 1771142"/>
                <a:gd name="connsiteX522" fmla="*/ 2058612 w 3060746"/>
                <a:gd name="connsiteY522" fmla="*/ 636817 h 1771142"/>
                <a:gd name="connsiteX523" fmla="*/ 2067826 w 3060746"/>
                <a:gd name="connsiteY523" fmla="*/ 663556 h 1771142"/>
                <a:gd name="connsiteX524" fmla="*/ 2124205 w 3060746"/>
                <a:gd name="connsiteY524" fmla="*/ 641530 h 1771142"/>
                <a:gd name="connsiteX525" fmla="*/ 1848195 w 3060746"/>
                <a:gd name="connsiteY525" fmla="*/ 521372 h 1771142"/>
                <a:gd name="connsiteX526" fmla="*/ 1871981 w 3060746"/>
                <a:gd name="connsiteY526" fmla="*/ 529528 h 1771142"/>
                <a:gd name="connsiteX527" fmla="*/ 1913423 w 3060746"/>
                <a:gd name="connsiteY527" fmla="*/ 534708 h 1771142"/>
                <a:gd name="connsiteX528" fmla="*/ 1961035 w 3060746"/>
                <a:gd name="connsiteY528" fmla="*/ 512047 h 1771142"/>
                <a:gd name="connsiteX529" fmla="*/ 2008200 w 3060746"/>
                <a:gd name="connsiteY529" fmla="*/ 495770 h 1771142"/>
                <a:gd name="connsiteX530" fmla="*/ 1943581 w 3060746"/>
                <a:gd name="connsiteY530" fmla="*/ 492428 h 1771142"/>
                <a:gd name="connsiteX531" fmla="*/ 1895604 w 3060746"/>
                <a:gd name="connsiteY531" fmla="*/ 505797 h 1771142"/>
                <a:gd name="connsiteX532" fmla="*/ 1848195 w 3060746"/>
                <a:gd name="connsiteY532" fmla="*/ 521305 h 1771142"/>
                <a:gd name="connsiteX533" fmla="*/ 1848236 w 3060746"/>
                <a:gd name="connsiteY533" fmla="*/ 521439 h 1771142"/>
                <a:gd name="connsiteX534" fmla="*/ 2668920 w 3060746"/>
                <a:gd name="connsiteY534" fmla="*/ 954308 h 1771142"/>
                <a:gd name="connsiteX535" fmla="*/ 2761668 w 3060746"/>
                <a:gd name="connsiteY535" fmla="*/ 945885 h 1771142"/>
                <a:gd name="connsiteX536" fmla="*/ 2668961 w 3060746"/>
                <a:gd name="connsiteY536" fmla="*/ 954375 h 1771142"/>
                <a:gd name="connsiteX537" fmla="*/ 3040560 w 3060746"/>
                <a:gd name="connsiteY537" fmla="*/ 906880 h 1771142"/>
                <a:gd name="connsiteX538" fmla="*/ 3032117 w 3060746"/>
                <a:gd name="connsiteY538" fmla="*/ 902334 h 1771142"/>
                <a:gd name="connsiteX539" fmla="*/ 3027652 w 3060746"/>
                <a:gd name="connsiteY539" fmla="*/ 895014 h 1771142"/>
                <a:gd name="connsiteX540" fmla="*/ 3019007 w 3060746"/>
                <a:gd name="connsiteY540" fmla="*/ 879974 h 1771142"/>
                <a:gd name="connsiteX541" fmla="*/ 3002162 w 3060746"/>
                <a:gd name="connsiteY541" fmla="*/ 879172 h 1771142"/>
                <a:gd name="connsiteX542" fmla="*/ 2990432 w 3060746"/>
                <a:gd name="connsiteY542" fmla="*/ 885856 h 1771142"/>
                <a:gd name="connsiteX543" fmla="*/ 2945336 w 3060746"/>
                <a:gd name="connsiteY543" fmla="*/ 884486 h 1771142"/>
                <a:gd name="connsiteX544" fmla="*/ 2939045 w 3060746"/>
                <a:gd name="connsiteY544" fmla="*/ 879707 h 1771142"/>
                <a:gd name="connsiteX545" fmla="*/ 2919887 w 3060746"/>
                <a:gd name="connsiteY545" fmla="*/ 888029 h 1771142"/>
                <a:gd name="connsiteX546" fmla="*/ 2913717 w 3060746"/>
                <a:gd name="connsiteY546" fmla="*/ 884185 h 1771142"/>
                <a:gd name="connsiteX547" fmla="*/ 2927639 w 3060746"/>
                <a:gd name="connsiteY547" fmla="*/ 858683 h 1771142"/>
                <a:gd name="connsiteX548" fmla="*/ 2932551 w 3060746"/>
                <a:gd name="connsiteY548" fmla="*/ 845982 h 1771142"/>
                <a:gd name="connsiteX549" fmla="*/ 2909374 w 3060746"/>
                <a:gd name="connsiteY549" fmla="*/ 856009 h 1771142"/>
                <a:gd name="connsiteX550" fmla="*/ 2880352 w 3060746"/>
                <a:gd name="connsiteY550" fmla="*/ 893410 h 1771142"/>
                <a:gd name="connsiteX551" fmla="*/ 2864360 w 3060746"/>
                <a:gd name="connsiteY551" fmla="*/ 920517 h 1771142"/>
                <a:gd name="connsiteX552" fmla="*/ 2856729 w 3060746"/>
                <a:gd name="connsiteY552" fmla="*/ 932716 h 1771142"/>
                <a:gd name="connsiteX553" fmla="*/ 2852670 w 3060746"/>
                <a:gd name="connsiteY553" fmla="*/ 944080 h 1771142"/>
                <a:gd name="connsiteX554" fmla="*/ 2885791 w 3060746"/>
                <a:gd name="connsiteY554" fmla="*/ 946921 h 1771142"/>
                <a:gd name="connsiteX555" fmla="*/ 2926381 w 3060746"/>
                <a:gd name="connsiteY555" fmla="*/ 936894 h 1771142"/>
                <a:gd name="connsiteX556" fmla="*/ 2958609 w 3060746"/>
                <a:gd name="connsiteY556" fmla="*/ 923892 h 1771142"/>
                <a:gd name="connsiteX557" fmla="*/ 2974561 w 3060746"/>
                <a:gd name="connsiteY557" fmla="*/ 932750 h 1771142"/>
                <a:gd name="connsiteX558" fmla="*/ 2982922 w 3060746"/>
                <a:gd name="connsiteY558" fmla="*/ 935491 h 1771142"/>
                <a:gd name="connsiteX559" fmla="*/ 3016612 w 3060746"/>
                <a:gd name="connsiteY559" fmla="*/ 921185 h 1771142"/>
                <a:gd name="connsiteX560" fmla="*/ 3024162 w 3060746"/>
                <a:gd name="connsiteY560" fmla="*/ 928438 h 1771142"/>
                <a:gd name="connsiteX561" fmla="*/ 3048962 w 3060746"/>
                <a:gd name="connsiteY561" fmla="*/ 924795 h 1771142"/>
                <a:gd name="connsiteX562" fmla="*/ 3040357 w 3060746"/>
                <a:gd name="connsiteY562" fmla="*/ 906980 h 1771142"/>
                <a:gd name="connsiteX563" fmla="*/ 3040601 w 3060746"/>
                <a:gd name="connsiteY563" fmla="*/ 906947 h 1771142"/>
                <a:gd name="connsiteX564" fmla="*/ 543965 w 3060746"/>
                <a:gd name="connsiteY564" fmla="*/ 1751661 h 1771142"/>
                <a:gd name="connsiteX565" fmla="*/ 607366 w 3060746"/>
                <a:gd name="connsiteY565" fmla="*/ 1760117 h 1771142"/>
                <a:gd name="connsiteX566" fmla="*/ 592186 w 3060746"/>
                <a:gd name="connsiteY566" fmla="*/ 1747884 h 1771142"/>
                <a:gd name="connsiteX567" fmla="*/ 543965 w 3060746"/>
                <a:gd name="connsiteY567" fmla="*/ 1751661 h 1771142"/>
                <a:gd name="connsiteX568" fmla="*/ 543965 w 3060746"/>
                <a:gd name="connsiteY568" fmla="*/ 1751661 h 1771142"/>
                <a:gd name="connsiteX569" fmla="*/ 2829493 w 3060746"/>
                <a:gd name="connsiteY569" fmla="*/ 994015 h 1771142"/>
                <a:gd name="connsiteX570" fmla="*/ 2816626 w 3060746"/>
                <a:gd name="connsiteY570" fmla="*/ 984456 h 1771142"/>
                <a:gd name="connsiteX571" fmla="*/ 2794180 w 3060746"/>
                <a:gd name="connsiteY571" fmla="*/ 1006649 h 1771142"/>
                <a:gd name="connsiteX572" fmla="*/ 2792962 w 3060746"/>
                <a:gd name="connsiteY572" fmla="*/ 1014838 h 1771142"/>
                <a:gd name="connsiteX573" fmla="*/ 2779811 w 3060746"/>
                <a:gd name="connsiteY573" fmla="*/ 1020420 h 1771142"/>
                <a:gd name="connsiteX574" fmla="*/ 2734716 w 3060746"/>
                <a:gd name="connsiteY574" fmla="*/ 1030012 h 1771142"/>
                <a:gd name="connsiteX575" fmla="*/ 2703218 w 3060746"/>
                <a:gd name="connsiteY575" fmla="*/ 1026971 h 1771142"/>
                <a:gd name="connsiteX576" fmla="*/ 2672857 w 3060746"/>
                <a:gd name="connsiteY576" fmla="*/ 1015908 h 1771142"/>
                <a:gd name="connsiteX577" fmla="*/ 2677200 w 3060746"/>
                <a:gd name="connsiteY577" fmla="*/ 1001201 h 1771142"/>
                <a:gd name="connsiteX578" fmla="*/ 2659057 w 3060746"/>
                <a:gd name="connsiteY578" fmla="*/ 1006950 h 1771142"/>
                <a:gd name="connsiteX579" fmla="*/ 2646677 w 3060746"/>
                <a:gd name="connsiteY579" fmla="*/ 1009624 h 1771142"/>
                <a:gd name="connsiteX580" fmla="*/ 2662588 w 3060746"/>
                <a:gd name="connsiteY580" fmla="*/ 996756 h 1771142"/>
                <a:gd name="connsiteX581" fmla="*/ 2647895 w 3060746"/>
                <a:gd name="connsiteY581" fmla="*/ 973861 h 1771142"/>
                <a:gd name="connsiteX582" fmla="*/ 2554538 w 3060746"/>
                <a:gd name="connsiteY582" fmla="*/ 1016242 h 1771142"/>
                <a:gd name="connsiteX583" fmla="*/ 2496454 w 3060746"/>
                <a:gd name="connsiteY583" fmla="*/ 1069152 h 1771142"/>
                <a:gd name="connsiteX584" fmla="*/ 2495034 w 3060746"/>
                <a:gd name="connsiteY584" fmla="*/ 1063336 h 1771142"/>
                <a:gd name="connsiteX585" fmla="*/ 2507982 w 3060746"/>
                <a:gd name="connsiteY585" fmla="*/ 1051236 h 1771142"/>
                <a:gd name="connsiteX586" fmla="*/ 2511066 w 3060746"/>
                <a:gd name="connsiteY586" fmla="*/ 1038368 h 1771142"/>
                <a:gd name="connsiteX587" fmla="*/ 2519631 w 3060746"/>
                <a:gd name="connsiteY587" fmla="*/ 1035260 h 1771142"/>
                <a:gd name="connsiteX588" fmla="*/ 2528723 w 3060746"/>
                <a:gd name="connsiteY588" fmla="*/ 1026135 h 1771142"/>
                <a:gd name="connsiteX589" fmla="*/ 2549018 w 3060746"/>
                <a:gd name="connsiteY589" fmla="*/ 1003708 h 1771142"/>
                <a:gd name="connsiteX590" fmla="*/ 2579501 w 3060746"/>
                <a:gd name="connsiteY590" fmla="*/ 989236 h 1771142"/>
                <a:gd name="connsiteX591" fmla="*/ 2597442 w 3060746"/>
                <a:gd name="connsiteY591" fmla="*/ 967577 h 1771142"/>
                <a:gd name="connsiteX592" fmla="*/ 2639371 w 3060746"/>
                <a:gd name="connsiteY592" fmla="*/ 951768 h 1771142"/>
                <a:gd name="connsiteX593" fmla="*/ 2716735 w 3060746"/>
                <a:gd name="connsiteY593" fmla="*/ 929040 h 1771142"/>
                <a:gd name="connsiteX594" fmla="*/ 2831441 w 3060746"/>
                <a:gd name="connsiteY594" fmla="*/ 887160 h 1771142"/>
                <a:gd name="connsiteX595" fmla="*/ 2853888 w 3060746"/>
                <a:gd name="connsiteY595" fmla="*/ 867106 h 1771142"/>
                <a:gd name="connsiteX596" fmla="*/ 2898009 w 3060746"/>
                <a:gd name="connsiteY596" fmla="*/ 853970 h 1771142"/>
                <a:gd name="connsiteX597" fmla="*/ 2923215 w 3060746"/>
                <a:gd name="connsiteY597" fmla="*/ 834184 h 1771142"/>
                <a:gd name="connsiteX598" fmla="*/ 2902920 w 3060746"/>
                <a:gd name="connsiteY598" fmla="*/ 827298 h 1771142"/>
                <a:gd name="connsiteX599" fmla="*/ 2921104 w 3060746"/>
                <a:gd name="connsiteY599" fmla="*/ 815199 h 1771142"/>
                <a:gd name="connsiteX600" fmla="*/ 2914366 w 3060746"/>
                <a:gd name="connsiteY600" fmla="*/ 805606 h 1771142"/>
                <a:gd name="connsiteX601" fmla="*/ 2884898 w 3060746"/>
                <a:gd name="connsiteY601" fmla="*/ 803467 h 1771142"/>
                <a:gd name="connsiteX602" fmla="*/ 2863589 w 3060746"/>
                <a:gd name="connsiteY602" fmla="*/ 813494 h 1771142"/>
                <a:gd name="connsiteX603" fmla="*/ 2840777 w 3060746"/>
                <a:gd name="connsiteY603" fmla="*/ 804136 h 1771142"/>
                <a:gd name="connsiteX604" fmla="*/ 2779893 w 3060746"/>
                <a:gd name="connsiteY604" fmla="*/ 837559 h 1771142"/>
                <a:gd name="connsiteX605" fmla="*/ 2772343 w 3060746"/>
                <a:gd name="connsiteY605" fmla="*/ 831944 h 1771142"/>
                <a:gd name="connsiteX606" fmla="*/ 2794018 w 3060746"/>
                <a:gd name="connsiteY606" fmla="*/ 818575 h 1771142"/>
                <a:gd name="connsiteX607" fmla="*/ 2818372 w 3060746"/>
                <a:gd name="connsiteY607" fmla="*/ 808013 h 1771142"/>
                <a:gd name="connsiteX608" fmla="*/ 2851574 w 3060746"/>
                <a:gd name="connsiteY608" fmla="*/ 792170 h 1771142"/>
                <a:gd name="connsiteX609" fmla="*/ 2825150 w 3060746"/>
                <a:gd name="connsiteY609" fmla="*/ 790499 h 1771142"/>
                <a:gd name="connsiteX610" fmla="*/ 2798117 w 3060746"/>
                <a:gd name="connsiteY610" fmla="*/ 790700 h 1771142"/>
                <a:gd name="connsiteX611" fmla="*/ 2779081 w 3060746"/>
                <a:gd name="connsiteY611" fmla="*/ 794677 h 1771142"/>
                <a:gd name="connsiteX612" fmla="*/ 2754727 w 3060746"/>
                <a:gd name="connsiteY612" fmla="*/ 799490 h 1771142"/>
                <a:gd name="connsiteX613" fmla="*/ 2732484 w 3060746"/>
                <a:gd name="connsiteY613" fmla="*/ 790766 h 1771142"/>
                <a:gd name="connsiteX614" fmla="*/ 2698185 w 3060746"/>
                <a:gd name="connsiteY614" fmla="*/ 786722 h 1771142"/>
                <a:gd name="connsiteX615" fmla="*/ 2666485 w 3060746"/>
                <a:gd name="connsiteY615" fmla="*/ 786722 h 1771142"/>
                <a:gd name="connsiteX616" fmla="*/ 2691447 w 3060746"/>
                <a:gd name="connsiteY616" fmla="*/ 778868 h 1771142"/>
                <a:gd name="connsiteX617" fmla="*/ 2678783 w 3060746"/>
                <a:gd name="connsiteY617" fmla="*/ 756741 h 1771142"/>
                <a:gd name="connsiteX618" fmla="*/ 2655769 w 3060746"/>
                <a:gd name="connsiteY618" fmla="*/ 751828 h 1771142"/>
                <a:gd name="connsiteX619" fmla="*/ 2635474 w 3060746"/>
                <a:gd name="connsiteY619" fmla="*/ 742603 h 1771142"/>
                <a:gd name="connsiteX620" fmla="*/ 2595980 w 3060746"/>
                <a:gd name="connsiteY620" fmla="*/ 727061 h 1771142"/>
                <a:gd name="connsiteX621" fmla="*/ 2556324 w 3060746"/>
                <a:gd name="connsiteY621" fmla="*/ 717903 h 1771142"/>
                <a:gd name="connsiteX622" fmla="*/ 2544878 w 3060746"/>
                <a:gd name="connsiteY622" fmla="*/ 735918 h 1771142"/>
                <a:gd name="connsiteX623" fmla="*/ 2548206 w 3060746"/>
                <a:gd name="connsiteY623" fmla="*/ 745945 h 1771142"/>
                <a:gd name="connsiteX624" fmla="*/ 2541671 w 3060746"/>
                <a:gd name="connsiteY624" fmla="*/ 760217 h 1771142"/>
                <a:gd name="connsiteX625" fmla="*/ 2535096 w 3060746"/>
                <a:gd name="connsiteY625" fmla="*/ 770244 h 1771142"/>
                <a:gd name="connsiteX626" fmla="*/ 2513827 w 3060746"/>
                <a:gd name="connsiteY626" fmla="*/ 776495 h 1771142"/>
                <a:gd name="connsiteX627" fmla="*/ 2490122 w 3060746"/>
                <a:gd name="connsiteY627" fmla="*/ 793574 h 1771142"/>
                <a:gd name="connsiteX628" fmla="*/ 2468326 w 3060746"/>
                <a:gd name="connsiteY628" fmla="*/ 791502 h 1771142"/>
                <a:gd name="connsiteX629" fmla="*/ 2459964 w 3060746"/>
                <a:gd name="connsiteY629" fmla="*/ 794042 h 1771142"/>
                <a:gd name="connsiteX630" fmla="*/ 2447787 w 3060746"/>
                <a:gd name="connsiteY630" fmla="*/ 789764 h 1771142"/>
                <a:gd name="connsiteX631" fmla="*/ 2423433 w 3060746"/>
                <a:gd name="connsiteY631" fmla="*/ 789998 h 1771142"/>
                <a:gd name="connsiteX632" fmla="*/ 2404640 w 3060746"/>
                <a:gd name="connsiteY632" fmla="*/ 784616 h 1771142"/>
                <a:gd name="connsiteX633" fmla="*/ 2406751 w 3060746"/>
                <a:gd name="connsiteY633" fmla="*/ 777932 h 1771142"/>
                <a:gd name="connsiteX634" fmla="*/ 2397253 w 3060746"/>
                <a:gd name="connsiteY634" fmla="*/ 769743 h 1771142"/>
                <a:gd name="connsiteX635" fmla="*/ 2393194 w 3060746"/>
                <a:gd name="connsiteY635" fmla="*/ 758346 h 1771142"/>
                <a:gd name="connsiteX636" fmla="*/ 2398917 w 3060746"/>
                <a:gd name="connsiteY636" fmla="*/ 749054 h 1771142"/>
                <a:gd name="connsiteX637" fmla="*/ 2370504 w 3060746"/>
                <a:gd name="connsiteY637" fmla="*/ 754936 h 1771142"/>
                <a:gd name="connsiteX638" fmla="*/ 2338844 w 3060746"/>
                <a:gd name="connsiteY638" fmla="*/ 761387 h 1771142"/>
                <a:gd name="connsiteX639" fmla="*/ 2312988 w 3060746"/>
                <a:gd name="connsiteY639" fmla="*/ 757711 h 1771142"/>
                <a:gd name="connsiteX640" fmla="*/ 2300284 w 3060746"/>
                <a:gd name="connsiteY640" fmla="*/ 755972 h 1771142"/>
                <a:gd name="connsiteX641" fmla="*/ 2283764 w 3060746"/>
                <a:gd name="connsiteY641" fmla="*/ 756507 h 1771142"/>
                <a:gd name="connsiteX642" fmla="*/ 2276052 w 3060746"/>
                <a:gd name="connsiteY642" fmla="*/ 751728 h 1771142"/>
                <a:gd name="connsiteX643" fmla="*/ 2259004 w 3060746"/>
                <a:gd name="connsiteY643" fmla="*/ 753967 h 1771142"/>
                <a:gd name="connsiteX644" fmla="*/ 2218942 w 3060746"/>
                <a:gd name="connsiteY644" fmla="*/ 764195 h 1771142"/>
                <a:gd name="connsiteX645" fmla="*/ 2158869 w 3060746"/>
                <a:gd name="connsiteY645" fmla="*/ 780405 h 1771142"/>
                <a:gd name="connsiteX646" fmla="*/ 2098756 w 3060746"/>
                <a:gd name="connsiteY646" fmla="*/ 805606 h 1771142"/>
                <a:gd name="connsiteX647" fmla="*/ 2117224 w 3060746"/>
                <a:gd name="connsiteY647" fmla="*/ 814698 h 1771142"/>
                <a:gd name="connsiteX648" fmla="*/ 2120715 w 3060746"/>
                <a:gd name="connsiteY648" fmla="*/ 829471 h 1771142"/>
                <a:gd name="connsiteX649" fmla="*/ 2124368 w 3060746"/>
                <a:gd name="connsiteY649" fmla="*/ 839799 h 1771142"/>
                <a:gd name="connsiteX650" fmla="*/ 2149087 w 3060746"/>
                <a:gd name="connsiteY650" fmla="*/ 852500 h 1771142"/>
                <a:gd name="connsiteX651" fmla="*/ 2137641 w 3060746"/>
                <a:gd name="connsiteY651" fmla="*/ 866838 h 1771142"/>
                <a:gd name="connsiteX652" fmla="*/ 2136098 w 3060746"/>
                <a:gd name="connsiteY652" fmla="*/ 878403 h 1771142"/>
                <a:gd name="connsiteX653" fmla="*/ 2128873 w 3060746"/>
                <a:gd name="connsiteY653" fmla="*/ 895616 h 1771142"/>
                <a:gd name="connsiteX654" fmla="*/ 2162928 w 3060746"/>
                <a:gd name="connsiteY654" fmla="*/ 896686 h 1771142"/>
                <a:gd name="connsiteX655" fmla="*/ 2199459 w 3060746"/>
                <a:gd name="connsiteY655" fmla="*/ 905142 h 1771142"/>
                <a:gd name="connsiteX656" fmla="*/ 2194953 w 3060746"/>
                <a:gd name="connsiteY656" fmla="*/ 955845 h 1771142"/>
                <a:gd name="connsiteX657" fmla="*/ 2161345 w 3060746"/>
                <a:gd name="connsiteY657" fmla="*/ 983721 h 1771142"/>
                <a:gd name="connsiteX658" fmla="*/ 2136991 w 3060746"/>
                <a:gd name="connsiteY658" fmla="*/ 996422 h 1771142"/>
                <a:gd name="connsiteX659" fmla="*/ 2165404 w 3060746"/>
                <a:gd name="connsiteY659" fmla="*/ 1009190 h 1771142"/>
                <a:gd name="connsiteX660" fmla="*/ 2184887 w 3060746"/>
                <a:gd name="connsiteY660" fmla="*/ 1031249 h 1771142"/>
                <a:gd name="connsiteX661" fmla="*/ 2194548 w 3060746"/>
                <a:gd name="connsiteY661" fmla="*/ 1044953 h 1771142"/>
                <a:gd name="connsiteX662" fmla="*/ 2195968 w 3060746"/>
                <a:gd name="connsiteY662" fmla="*/ 1053676 h 1771142"/>
                <a:gd name="connsiteX663" fmla="*/ 2184887 w 3060746"/>
                <a:gd name="connsiteY663" fmla="*/ 1059693 h 1771142"/>
                <a:gd name="connsiteX664" fmla="*/ 2172710 w 3060746"/>
                <a:gd name="connsiteY664" fmla="*/ 1075335 h 1771142"/>
                <a:gd name="connsiteX665" fmla="*/ 2155703 w 3060746"/>
                <a:gd name="connsiteY665" fmla="*/ 1078209 h 1771142"/>
                <a:gd name="connsiteX666" fmla="*/ 2138493 w 3060746"/>
                <a:gd name="connsiteY666" fmla="*/ 1075669 h 1771142"/>
                <a:gd name="connsiteX667" fmla="*/ 2106508 w 3060746"/>
                <a:gd name="connsiteY667" fmla="*/ 1072327 h 1771142"/>
                <a:gd name="connsiteX668" fmla="*/ 2083129 w 3060746"/>
                <a:gd name="connsiteY668" fmla="*/ 1066143 h 1771142"/>
                <a:gd name="connsiteX669" fmla="*/ 2056948 w 3060746"/>
                <a:gd name="connsiteY669" fmla="*/ 1039404 h 1771142"/>
                <a:gd name="connsiteX670" fmla="*/ 2050576 w 3060746"/>
                <a:gd name="connsiteY670" fmla="*/ 1020821 h 1771142"/>
                <a:gd name="connsiteX671" fmla="*/ 2004141 w 3060746"/>
                <a:gd name="connsiteY671" fmla="*/ 1030313 h 1771142"/>
                <a:gd name="connsiteX672" fmla="*/ 1959492 w 3060746"/>
                <a:gd name="connsiteY672" fmla="*/ 1045254 h 1771142"/>
                <a:gd name="connsiteX673" fmla="*/ 1927426 w 3060746"/>
                <a:gd name="connsiteY673" fmla="*/ 1047092 h 1771142"/>
                <a:gd name="connsiteX674" fmla="*/ 1883589 w 3060746"/>
                <a:gd name="connsiteY674" fmla="*/ 1054378 h 1771142"/>
                <a:gd name="connsiteX675" fmla="*/ 1857977 w 3060746"/>
                <a:gd name="connsiteY675" fmla="*/ 1051972 h 1771142"/>
                <a:gd name="connsiteX676" fmla="*/ 1791897 w 3060746"/>
                <a:gd name="connsiteY676" fmla="*/ 1063403 h 1771142"/>
                <a:gd name="connsiteX677" fmla="*/ 1763484 w 3060746"/>
                <a:gd name="connsiteY677" fmla="*/ 1067480 h 1771142"/>
                <a:gd name="connsiteX678" fmla="*/ 1730160 w 3060746"/>
                <a:gd name="connsiteY678" fmla="*/ 1079479 h 1771142"/>
                <a:gd name="connsiteX679" fmla="*/ 1705522 w 3060746"/>
                <a:gd name="connsiteY679" fmla="*/ 1094921 h 1771142"/>
                <a:gd name="connsiteX680" fmla="*/ 1702681 w 3060746"/>
                <a:gd name="connsiteY680" fmla="*/ 1085395 h 1771142"/>
                <a:gd name="connsiteX681" fmla="*/ 1653973 w 3060746"/>
                <a:gd name="connsiteY681" fmla="*/ 1066478 h 1771142"/>
                <a:gd name="connsiteX682" fmla="*/ 1600719 w 3060746"/>
                <a:gd name="connsiteY682" fmla="*/ 1069820 h 1771142"/>
                <a:gd name="connsiteX683" fmla="*/ 1596214 w 3060746"/>
                <a:gd name="connsiteY683" fmla="*/ 1029411 h 1771142"/>
                <a:gd name="connsiteX684" fmla="*/ 1597837 w 3060746"/>
                <a:gd name="connsiteY684" fmla="*/ 1012900 h 1771142"/>
                <a:gd name="connsiteX685" fmla="*/ 1618822 w 3060746"/>
                <a:gd name="connsiteY685" fmla="*/ 992578 h 1771142"/>
                <a:gd name="connsiteX686" fmla="*/ 1626940 w 3060746"/>
                <a:gd name="connsiteY686" fmla="*/ 978172 h 1771142"/>
                <a:gd name="connsiteX687" fmla="*/ 1630512 w 3060746"/>
                <a:gd name="connsiteY687" fmla="*/ 969315 h 1771142"/>
                <a:gd name="connsiteX688" fmla="*/ 1638630 w 3060746"/>
                <a:gd name="connsiteY688" fmla="*/ 962263 h 1771142"/>
                <a:gd name="connsiteX689" fmla="*/ 1631405 w 3060746"/>
                <a:gd name="connsiteY689" fmla="*/ 959422 h 1771142"/>
                <a:gd name="connsiteX690" fmla="*/ 1647885 w 3060746"/>
                <a:gd name="connsiteY690" fmla="*/ 951200 h 1771142"/>
                <a:gd name="connsiteX691" fmla="*/ 1679423 w 3060746"/>
                <a:gd name="connsiteY691" fmla="*/ 932014 h 1771142"/>
                <a:gd name="connsiteX692" fmla="*/ 1629254 w 3060746"/>
                <a:gd name="connsiteY692" fmla="*/ 936760 h 1771142"/>
                <a:gd name="connsiteX693" fmla="*/ 1579937 w 3060746"/>
                <a:gd name="connsiteY693" fmla="*/ 944615 h 1771142"/>
                <a:gd name="connsiteX694" fmla="*/ 1574742 w 3060746"/>
                <a:gd name="connsiteY694" fmla="*/ 942409 h 1771142"/>
                <a:gd name="connsiteX695" fmla="*/ 1616184 w 3060746"/>
                <a:gd name="connsiteY695" fmla="*/ 929541 h 1771142"/>
                <a:gd name="connsiteX696" fmla="*/ 1691519 w 3060746"/>
                <a:gd name="connsiteY696" fmla="*/ 907949 h 1771142"/>
                <a:gd name="connsiteX697" fmla="*/ 1687135 w 3060746"/>
                <a:gd name="connsiteY697" fmla="*/ 894145 h 1771142"/>
                <a:gd name="connsiteX698" fmla="*/ 1724640 w 3060746"/>
                <a:gd name="connsiteY698" fmla="*/ 884319 h 1771142"/>
                <a:gd name="connsiteX699" fmla="*/ 1770222 w 3060746"/>
                <a:gd name="connsiteY699" fmla="*/ 839866 h 1771142"/>
                <a:gd name="connsiteX700" fmla="*/ 1700042 w 3060746"/>
                <a:gd name="connsiteY700" fmla="*/ 852767 h 1771142"/>
                <a:gd name="connsiteX701" fmla="*/ 1666637 w 3060746"/>
                <a:gd name="connsiteY701" fmla="*/ 850093 h 1771142"/>
                <a:gd name="connsiteX702" fmla="*/ 1700083 w 3060746"/>
                <a:gd name="connsiteY702" fmla="*/ 840868 h 1771142"/>
                <a:gd name="connsiteX703" fmla="*/ 1771927 w 3060746"/>
                <a:gd name="connsiteY703" fmla="*/ 819043 h 1771142"/>
                <a:gd name="connsiteX704" fmla="*/ 1792222 w 3060746"/>
                <a:gd name="connsiteY704" fmla="*/ 797418 h 1771142"/>
                <a:gd name="connsiteX705" fmla="*/ 1766447 w 3060746"/>
                <a:gd name="connsiteY705" fmla="*/ 798120 h 1771142"/>
                <a:gd name="connsiteX706" fmla="*/ 1788975 w 3060746"/>
                <a:gd name="connsiteY706" fmla="*/ 783614 h 1771142"/>
                <a:gd name="connsiteX707" fmla="*/ 1829077 w 3060746"/>
                <a:gd name="connsiteY707" fmla="*/ 777765 h 1771142"/>
                <a:gd name="connsiteX708" fmla="*/ 1846369 w 3060746"/>
                <a:gd name="connsiteY708" fmla="*/ 764195 h 1771142"/>
                <a:gd name="connsiteX709" fmla="*/ 1815723 w 3060746"/>
                <a:gd name="connsiteY709" fmla="*/ 761220 h 1771142"/>
                <a:gd name="connsiteX710" fmla="*/ 1843487 w 3060746"/>
                <a:gd name="connsiteY710" fmla="*/ 758346 h 1771142"/>
                <a:gd name="connsiteX711" fmla="*/ 1877420 w 3060746"/>
                <a:gd name="connsiteY711" fmla="*/ 753399 h 1771142"/>
                <a:gd name="connsiteX712" fmla="*/ 1907497 w 3060746"/>
                <a:gd name="connsiteY712" fmla="*/ 728398 h 1771142"/>
                <a:gd name="connsiteX713" fmla="*/ 1924504 w 3060746"/>
                <a:gd name="connsiteY713" fmla="*/ 710884 h 1771142"/>
                <a:gd name="connsiteX714" fmla="*/ 1889921 w 3060746"/>
                <a:gd name="connsiteY714" fmla="*/ 700222 h 1771142"/>
                <a:gd name="connsiteX715" fmla="*/ 1879124 w 3060746"/>
                <a:gd name="connsiteY715" fmla="*/ 690195 h 1771142"/>
                <a:gd name="connsiteX716" fmla="*/ 1909445 w 3060746"/>
                <a:gd name="connsiteY716" fmla="*/ 671110 h 1771142"/>
                <a:gd name="connsiteX717" fmla="*/ 1893209 w 3060746"/>
                <a:gd name="connsiteY717" fmla="*/ 669071 h 1771142"/>
                <a:gd name="connsiteX718" fmla="*/ 1897715 w 3060746"/>
                <a:gd name="connsiteY718" fmla="*/ 660448 h 1771142"/>
                <a:gd name="connsiteX719" fmla="*/ 1873361 w 3060746"/>
                <a:gd name="connsiteY719" fmla="*/ 665963 h 1771142"/>
                <a:gd name="connsiteX720" fmla="*/ 1839509 w 3060746"/>
                <a:gd name="connsiteY720" fmla="*/ 664726 h 1771142"/>
                <a:gd name="connsiteX721" fmla="*/ 1758330 w 3060746"/>
                <a:gd name="connsiteY721" fmla="*/ 689292 h 1771142"/>
                <a:gd name="connsiteX722" fmla="*/ 1761820 w 3060746"/>
                <a:gd name="connsiteY722" fmla="*/ 702896 h 1771142"/>
                <a:gd name="connsiteX723" fmla="*/ 1783576 w 3060746"/>
                <a:gd name="connsiteY723" fmla="*/ 707007 h 1771142"/>
                <a:gd name="connsiteX724" fmla="*/ 1777325 w 3060746"/>
                <a:gd name="connsiteY724" fmla="*/ 717234 h 1771142"/>
                <a:gd name="connsiteX725" fmla="*/ 1765149 w 3060746"/>
                <a:gd name="connsiteY725" fmla="*/ 735116 h 1771142"/>
                <a:gd name="connsiteX726" fmla="*/ 1752972 w 3060746"/>
                <a:gd name="connsiteY726" fmla="*/ 753934 h 1771142"/>
                <a:gd name="connsiteX727" fmla="*/ 1736736 w 3060746"/>
                <a:gd name="connsiteY727" fmla="*/ 747817 h 1771142"/>
                <a:gd name="connsiteX728" fmla="*/ 1757031 w 3060746"/>
                <a:gd name="connsiteY728" fmla="*/ 768707 h 1771142"/>
                <a:gd name="connsiteX729" fmla="*/ 1745138 w 3060746"/>
                <a:gd name="connsiteY729" fmla="*/ 775592 h 1771142"/>
                <a:gd name="connsiteX730" fmla="*/ 1735315 w 3060746"/>
                <a:gd name="connsiteY730" fmla="*/ 785887 h 1771142"/>
                <a:gd name="connsiteX731" fmla="*/ 1699921 w 3060746"/>
                <a:gd name="connsiteY731" fmla="*/ 781241 h 1771142"/>
                <a:gd name="connsiteX732" fmla="*/ 1689733 w 3060746"/>
                <a:gd name="connsiteY732" fmla="*/ 765331 h 1771142"/>
                <a:gd name="connsiteX733" fmla="*/ 1685308 w 3060746"/>
                <a:gd name="connsiteY733" fmla="*/ 750190 h 1771142"/>
                <a:gd name="connsiteX734" fmla="*/ 1643866 w 3060746"/>
                <a:gd name="connsiteY734" fmla="*/ 750424 h 1771142"/>
                <a:gd name="connsiteX735" fmla="*/ 1625520 w 3060746"/>
                <a:gd name="connsiteY735" fmla="*/ 770478 h 1771142"/>
                <a:gd name="connsiteX736" fmla="*/ 1603642 w 3060746"/>
                <a:gd name="connsiteY736" fmla="*/ 785753 h 1771142"/>
                <a:gd name="connsiteX737" fmla="*/ 1588096 w 3060746"/>
                <a:gd name="connsiteY737" fmla="*/ 777397 h 1771142"/>
                <a:gd name="connsiteX738" fmla="*/ 1602262 w 3060746"/>
                <a:gd name="connsiteY738" fmla="*/ 759148 h 1771142"/>
                <a:gd name="connsiteX739" fmla="*/ 1561672 w 3060746"/>
                <a:gd name="connsiteY739" fmla="*/ 766601 h 1771142"/>
                <a:gd name="connsiteX740" fmla="*/ 1533706 w 3060746"/>
                <a:gd name="connsiteY740" fmla="*/ 778767 h 1771142"/>
                <a:gd name="connsiteX741" fmla="*/ 1535492 w 3060746"/>
                <a:gd name="connsiteY741" fmla="*/ 762624 h 1771142"/>
                <a:gd name="connsiteX742" fmla="*/ 1538252 w 3060746"/>
                <a:gd name="connsiteY742" fmla="*/ 753466 h 1771142"/>
                <a:gd name="connsiteX743" fmla="*/ 1515806 w 3060746"/>
                <a:gd name="connsiteY743" fmla="*/ 751694 h 1771142"/>
                <a:gd name="connsiteX744" fmla="*/ 1485485 w 3060746"/>
                <a:gd name="connsiteY744" fmla="*/ 756307 h 1771142"/>
                <a:gd name="connsiteX745" fmla="*/ 1479437 w 3060746"/>
                <a:gd name="connsiteY745" fmla="*/ 742068 h 1771142"/>
                <a:gd name="connsiteX746" fmla="*/ 1440471 w 3060746"/>
                <a:gd name="connsiteY746" fmla="*/ 743205 h 1771142"/>
                <a:gd name="connsiteX747" fmla="*/ 1417091 w 3060746"/>
                <a:gd name="connsiteY747" fmla="*/ 745644 h 1771142"/>
                <a:gd name="connsiteX748" fmla="*/ 1434058 w 3060746"/>
                <a:gd name="connsiteY748" fmla="*/ 730571 h 1771142"/>
                <a:gd name="connsiteX749" fmla="*/ 1438117 w 3060746"/>
                <a:gd name="connsiteY749" fmla="*/ 712622 h 1771142"/>
                <a:gd name="connsiteX750" fmla="*/ 1451146 w 3060746"/>
                <a:gd name="connsiteY750" fmla="*/ 702194 h 1771142"/>
                <a:gd name="connsiteX751" fmla="*/ 1503913 w 3060746"/>
                <a:gd name="connsiteY751" fmla="*/ 667834 h 1771142"/>
                <a:gd name="connsiteX752" fmla="*/ 1499854 w 3060746"/>
                <a:gd name="connsiteY752" fmla="*/ 638288 h 1771142"/>
                <a:gd name="connsiteX753" fmla="*/ 1451471 w 3060746"/>
                <a:gd name="connsiteY753" fmla="*/ 655000 h 1771142"/>
                <a:gd name="connsiteX754" fmla="*/ 1410069 w 3060746"/>
                <a:gd name="connsiteY754" fmla="*/ 667266 h 1771142"/>
                <a:gd name="connsiteX755" fmla="*/ 1367572 w 3060746"/>
                <a:gd name="connsiteY755" fmla="*/ 687855 h 1771142"/>
                <a:gd name="connsiteX756" fmla="*/ 1369885 w 3060746"/>
                <a:gd name="connsiteY756" fmla="*/ 698785 h 1771142"/>
                <a:gd name="connsiteX757" fmla="*/ 1349591 w 3060746"/>
                <a:gd name="connsiteY757" fmla="*/ 708177 h 1771142"/>
                <a:gd name="connsiteX758" fmla="*/ 1357709 w 3060746"/>
                <a:gd name="connsiteY758" fmla="*/ 721011 h 1771142"/>
                <a:gd name="connsiteX759" fmla="*/ 1374797 w 3060746"/>
                <a:gd name="connsiteY759" fmla="*/ 736921 h 1771142"/>
                <a:gd name="connsiteX760" fmla="*/ 1399151 w 3060746"/>
                <a:gd name="connsiteY760" fmla="*/ 752898 h 1771142"/>
                <a:gd name="connsiteX761" fmla="*/ 1384011 w 3060746"/>
                <a:gd name="connsiteY761" fmla="*/ 770044 h 1771142"/>
                <a:gd name="connsiteX762" fmla="*/ 1399719 w 3060746"/>
                <a:gd name="connsiteY762" fmla="*/ 775024 h 1771142"/>
                <a:gd name="connsiteX763" fmla="*/ 1371996 w 3060746"/>
                <a:gd name="connsiteY763" fmla="*/ 784717 h 1771142"/>
                <a:gd name="connsiteX764" fmla="*/ 1375528 w 3060746"/>
                <a:gd name="connsiteY764" fmla="*/ 803969 h 1771142"/>
                <a:gd name="connsiteX765" fmla="*/ 1382387 w 3060746"/>
                <a:gd name="connsiteY765" fmla="*/ 816703 h 1771142"/>
                <a:gd name="connsiteX766" fmla="*/ 1413925 w 3060746"/>
                <a:gd name="connsiteY766" fmla="*/ 823388 h 1771142"/>
                <a:gd name="connsiteX767" fmla="*/ 1463810 w 3060746"/>
                <a:gd name="connsiteY767" fmla="*/ 810520 h 1771142"/>
                <a:gd name="connsiteX768" fmla="*/ 1472375 w 3060746"/>
                <a:gd name="connsiteY768" fmla="*/ 816135 h 1771142"/>
                <a:gd name="connsiteX769" fmla="*/ 1477651 w 3060746"/>
                <a:gd name="connsiteY769" fmla="*/ 822385 h 1771142"/>
                <a:gd name="connsiteX770" fmla="*/ 1471603 w 3060746"/>
                <a:gd name="connsiteY770" fmla="*/ 831543 h 1771142"/>
                <a:gd name="connsiteX771" fmla="*/ 1484511 w 3060746"/>
                <a:gd name="connsiteY771" fmla="*/ 822151 h 1771142"/>
                <a:gd name="connsiteX772" fmla="*/ 1503953 w 3060746"/>
                <a:gd name="connsiteY772" fmla="*/ 824858 h 1771142"/>
                <a:gd name="connsiteX773" fmla="*/ 1496282 w 3060746"/>
                <a:gd name="connsiteY773" fmla="*/ 834150 h 1771142"/>
                <a:gd name="connsiteX774" fmla="*/ 1479031 w 3060746"/>
                <a:gd name="connsiteY774" fmla="*/ 852867 h 1771142"/>
                <a:gd name="connsiteX775" fmla="*/ 1453703 w 3060746"/>
                <a:gd name="connsiteY775" fmla="*/ 868476 h 1771142"/>
                <a:gd name="connsiteX776" fmla="*/ 1472375 w 3060746"/>
                <a:gd name="connsiteY776" fmla="*/ 880709 h 1771142"/>
                <a:gd name="connsiteX777" fmla="*/ 1439497 w 3060746"/>
                <a:gd name="connsiteY777" fmla="*/ 892174 h 1771142"/>
                <a:gd name="connsiteX778" fmla="*/ 1432881 w 3060746"/>
                <a:gd name="connsiteY778" fmla="*/ 870782 h 1771142"/>
                <a:gd name="connsiteX779" fmla="*/ 1403413 w 3060746"/>
                <a:gd name="connsiteY779" fmla="*/ 879105 h 1771142"/>
                <a:gd name="connsiteX780" fmla="*/ 1386730 w 3060746"/>
                <a:gd name="connsiteY780" fmla="*/ 876999 h 1771142"/>
                <a:gd name="connsiteX781" fmla="*/ 1418187 w 3060746"/>
                <a:gd name="connsiteY781" fmla="*/ 863128 h 1771142"/>
                <a:gd name="connsiteX782" fmla="*/ 1446600 w 3060746"/>
                <a:gd name="connsiteY782" fmla="*/ 848054 h 1771142"/>
                <a:gd name="connsiteX783" fmla="*/ 1453216 w 3060746"/>
                <a:gd name="connsiteY783" fmla="*/ 830674 h 1771142"/>
                <a:gd name="connsiteX784" fmla="*/ 1420744 w 3060746"/>
                <a:gd name="connsiteY784" fmla="*/ 840935 h 1771142"/>
                <a:gd name="connsiteX785" fmla="*/ 1414859 w 3060746"/>
                <a:gd name="connsiteY785" fmla="*/ 836690 h 1771142"/>
                <a:gd name="connsiteX786" fmla="*/ 1417457 w 3060746"/>
                <a:gd name="connsiteY786" fmla="*/ 828903 h 1771142"/>
                <a:gd name="connsiteX787" fmla="*/ 1370819 w 3060746"/>
                <a:gd name="connsiteY787" fmla="*/ 843743 h 1771142"/>
                <a:gd name="connsiteX788" fmla="*/ 1340214 w 3060746"/>
                <a:gd name="connsiteY788" fmla="*/ 851330 h 1771142"/>
                <a:gd name="connsiteX789" fmla="*/ 1331569 w 3060746"/>
                <a:gd name="connsiteY789" fmla="*/ 874726 h 1771142"/>
                <a:gd name="connsiteX790" fmla="*/ 1308757 w 3060746"/>
                <a:gd name="connsiteY790" fmla="*/ 890669 h 1771142"/>
                <a:gd name="connsiteX791" fmla="*/ 1351174 w 3060746"/>
                <a:gd name="connsiteY791" fmla="*/ 880642 h 1771142"/>
                <a:gd name="connsiteX792" fmla="*/ 1372686 w 3060746"/>
                <a:gd name="connsiteY792" fmla="*/ 881912 h 1771142"/>
                <a:gd name="connsiteX793" fmla="*/ 1366841 w 3060746"/>
                <a:gd name="connsiteY793" fmla="*/ 888965 h 1771142"/>
                <a:gd name="connsiteX794" fmla="*/ 1352351 w 3060746"/>
                <a:gd name="connsiteY794" fmla="*/ 894379 h 1771142"/>
                <a:gd name="connsiteX795" fmla="*/ 1349793 w 3060746"/>
                <a:gd name="connsiteY795" fmla="*/ 901733 h 1771142"/>
                <a:gd name="connsiteX796" fmla="*/ 1353852 w 3060746"/>
                <a:gd name="connsiteY796" fmla="*/ 912395 h 1771142"/>
                <a:gd name="connsiteX797" fmla="*/ 1317322 w 3060746"/>
                <a:gd name="connsiteY797" fmla="*/ 927268 h 1771142"/>
                <a:gd name="connsiteX798" fmla="*/ 1270684 w 3060746"/>
                <a:gd name="connsiteY798" fmla="*/ 951266 h 1771142"/>
                <a:gd name="connsiteX799" fmla="*/ 1173269 w 3060746"/>
                <a:gd name="connsiteY799" fmla="*/ 983320 h 1771142"/>
                <a:gd name="connsiteX800" fmla="*/ 1140797 w 3060746"/>
                <a:gd name="connsiteY800" fmla="*/ 989403 h 1771142"/>
                <a:gd name="connsiteX801" fmla="*/ 1118513 w 3060746"/>
                <a:gd name="connsiteY801" fmla="*/ 986562 h 1771142"/>
                <a:gd name="connsiteX802" fmla="*/ 1054584 w 3060746"/>
                <a:gd name="connsiteY802" fmla="*/ 1017445 h 1771142"/>
                <a:gd name="connsiteX803" fmla="*/ 1025238 w 3060746"/>
                <a:gd name="connsiteY803" fmla="*/ 1040842 h 1771142"/>
                <a:gd name="connsiteX804" fmla="*/ 1043584 w 3060746"/>
                <a:gd name="connsiteY804" fmla="*/ 1040541 h 1771142"/>
                <a:gd name="connsiteX805" fmla="*/ 1062499 w 3060746"/>
                <a:gd name="connsiteY805" fmla="*/ 1025400 h 1771142"/>
                <a:gd name="connsiteX806" fmla="*/ 1100491 w 3060746"/>
                <a:gd name="connsiteY806" fmla="*/ 999931 h 1771142"/>
                <a:gd name="connsiteX807" fmla="*/ 1105849 w 3060746"/>
                <a:gd name="connsiteY807" fmla="*/ 1004577 h 1771142"/>
                <a:gd name="connsiteX808" fmla="*/ 1075001 w 3060746"/>
                <a:gd name="connsiteY808" fmla="*/ 1027974 h 1771142"/>
                <a:gd name="connsiteX809" fmla="*/ 1092008 w 3060746"/>
                <a:gd name="connsiteY809" fmla="*/ 1055448 h 1771142"/>
                <a:gd name="connsiteX810" fmla="*/ 1072971 w 3060746"/>
                <a:gd name="connsiteY810" fmla="*/ 1074399 h 1771142"/>
                <a:gd name="connsiteX811" fmla="*/ 1060226 w 3060746"/>
                <a:gd name="connsiteY811" fmla="*/ 1072861 h 1771142"/>
                <a:gd name="connsiteX812" fmla="*/ 1034452 w 3060746"/>
                <a:gd name="connsiteY812" fmla="*/ 1066177 h 1771142"/>
                <a:gd name="connsiteX813" fmla="*/ 1027470 w 3060746"/>
                <a:gd name="connsiteY813" fmla="*/ 1064305 h 1771142"/>
                <a:gd name="connsiteX814" fmla="*/ 1013101 w 3060746"/>
                <a:gd name="connsiteY814" fmla="*/ 1070689 h 1771142"/>
                <a:gd name="connsiteX815" fmla="*/ 975921 w 3060746"/>
                <a:gd name="connsiteY815" fmla="*/ 1082253 h 1771142"/>
                <a:gd name="connsiteX816" fmla="*/ 887679 w 3060746"/>
                <a:gd name="connsiteY816" fmla="*/ 1132990 h 1771142"/>
                <a:gd name="connsiteX817" fmla="*/ 823994 w 3060746"/>
                <a:gd name="connsiteY817" fmla="*/ 1155284 h 1771142"/>
                <a:gd name="connsiteX818" fmla="*/ 842300 w 3060746"/>
                <a:gd name="connsiteY818" fmla="*/ 1135430 h 1771142"/>
                <a:gd name="connsiteX819" fmla="*/ 850986 w 3060746"/>
                <a:gd name="connsiteY819" fmla="*/ 1122830 h 1771142"/>
                <a:gd name="connsiteX820" fmla="*/ 805363 w 3060746"/>
                <a:gd name="connsiteY820" fmla="*/ 1130150 h 1771142"/>
                <a:gd name="connsiteX821" fmla="*/ 779507 w 3060746"/>
                <a:gd name="connsiteY821" fmla="*/ 1142884 h 1771142"/>
                <a:gd name="connsiteX822" fmla="*/ 698044 w 3060746"/>
                <a:gd name="connsiteY822" fmla="*/ 1175004 h 1771142"/>
                <a:gd name="connsiteX823" fmla="*/ 659727 w 3060746"/>
                <a:gd name="connsiteY823" fmla="*/ 1190813 h 1771142"/>
                <a:gd name="connsiteX824" fmla="*/ 607894 w 3060746"/>
                <a:gd name="connsiteY824" fmla="*/ 1204550 h 1771142"/>
                <a:gd name="connsiteX825" fmla="*/ 543681 w 3060746"/>
                <a:gd name="connsiteY825" fmla="*/ 1246798 h 1771142"/>
                <a:gd name="connsiteX826" fmla="*/ 510113 w 3060746"/>
                <a:gd name="connsiteY826" fmla="*/ 1269526 h 1771142"/>
                <a:gd name="connsiteX827" fmla="*/ 509910 w 3060746"/>
                <a:gd name="connsiteY827" fmla="*/ 1258061 h 1771142"/>
                <a:gd name="connsiteX828" fmla="*/ 494039 w 3060746"/>
                <a:gd name="connsiteY828" fmla="*/ 1251043 h 1771142"/>
                <a:gd name="connsiteX829" fmla="*/ 481132 w 3060746"/>
                <a:gd name="connsiteY829" fmla="*/ 1268256 h 1771142"/>
                <a:gd name="connsiteX830" fmla="*/ 372554 w 3060746"/>
                <a:gd name="connsiteY830" fmla="*/ 1300008 h 1771142"/>
                <a:gd name="connsiteX831" fmla="*/ 385868 w 3060746"/>
                <a:gd name="connsiteY831" fmla="*/ 1307595 h 1771142"/>
                <a:gd name="connsiteX832" fmla="*/ 373691 w 3060746"/>
                <a:gd name="connsiteY832" fmla="*/ 1318759 h 1771142"/>
                <a:gd name="connsiteX833" fmla="*/ 366872 w 3060746"/>
                <a:gd name="connsiteY833" fmla="*/ 1338211 h 1771142"/>
                <a:gd name="connsiteX834" fmla="*/ 346009 w 3060746"/>
                <a:gd name="connsiteY834" fmla="*/ 1345331 h 1771142"/>
                <a:gd name="connsiteX835" fmla="*/ 312076 w 3060746"/>
                <a:gd name="connsiteY835" fmla="*/ 1382732 h 1771142"/>
                <a:gd name="connsiteX836" fmla="*/ 303633 w 3060746"/>
                <a:gd name="connsiteY836" fmla="*/ 1383868 h 1771142"/>
                <a:gd name="connsiteX837" fmla="*/ 286951 w 3060746"/>
                <a:gd name="connsiteY837" fmla="*/ 1398641 h 1771142"/>
                <a:gd name="connsiteX838" fmla="*/ 272014 w 3060746"/>
                <a:gd name="connsiteY838" fmla="*/ 1424210 h 1771142"/>
                <a:gd name="connsiteX839" fmla="*/ 256305 w 3060746"/>
                <a:gd name="connsiteY839" fmla="*/ 1428087 h 1771142"/>
                <a:gd name="connsiteX840" fmla="*/ 292349 w 3060746"/>
                <a:gd name="connsiteY840" fmla="*/ 1385773 h 1771142"/>
                <a:gd name="connsiteX841" fmla="*/ 335212 w 3060746"/>
                <a:gd name="connsiteY841" fmla="*/ 1347904 h 1771142"/>
                <a:gd name="connsiteX842" fmla="*/ 307043 w 3060746"/>
                <a:gd name="connsiteY842" fmla="*/ 1356628 h 1771142"/>
                <a:gd name="connsiteX843" fmla="*/ 251800 w 3060746"/>
                <a:gd name="connsiteY843" fmla="*/ 1406228 h 1771142"/>
                <a:gd name="connsiteX844" fmla="*/ 237025 w 3060746"/>
                <a:gd name="connsiteY844" fmla="*/ 1424578 h 1771142"/>
                <a:gd name="connsiteX845" fmla="*/ 223103 w 3060746"/>
                <a:gd name="connsiteY845" fmla="*/ 1436477 h 1771142"/>
                <a:gd name="connsiteX846" fmla="*/ 215472 w 3060746"/>
                <a:gd name="connsiteY846" fmla="*/ 1433134 h 1771142"/>
                <a:gd name="connsiteX847" fmla="*/ 191118 w 3060746"/>
                <a:gd name="connsiteY847" fmla="*/ 1453188 h 1771142"/>
                <a:gd name="connsiteX848" fmla="*/ 165384 w 3060746"/>
                <a:gd name="connsiteY848" fmla="*/ 1474078 h 1771142"/>
                <a:gd name="connsiteX849" fmla="*/ 185679 w 3060746"/>
                <a:gd name="connsiteY849" fmla="*/ 1477420 h 1771142"/>
                <a:gd name="connsiteX850" fmla="*/ 153938 w 3060746"/>
                <a:gd name="connsiteY850" fmla="*/ 1494801 h 1771142"/>
                <a:gd name="connsiteX851" fmla="*/ 93987 w 3060746"/>
                <a:gd name="connsiteY851" fmla="*/ 1522977 h 1771142"/>
                <a:gd name="connsiteX852" fmla="*/ 54899 w 3060746"/>
                <a:gd name="connsiteY852" fmla="*/ 1531567 h 1771142"/>
                <a:gd name="connsiteX853" fmla="*/ -60 w 3060746"/>
                <a:gd name="connsiteY853" fmla="*/ 1564456 h 1771142"/>
                <a:gd name="connsiteX854" fmla="*/ 172609 w 3060746"/>
                <a:gd name="connsiteY854" fmla="*/ 1746514 h 1771142"/>
                <a:gd name="connsiteX855" fmla="*/ 195218 w 3060746"/>
                <a:gd name="connsiteY855" fmla="*/ 1770345 h 1771142"/>
                <a:gd name="connsiteX856" fmla="*/ 241246 w 3060746"/>
                <a:gd name="connsiteY856" fmla="*/ 1738325 h 1771142"/>
                <a:gd name="connsiteX857" fmla="*/ 263855 w 3060746"/>
                <a:gd name="connsiteY857" fmla="*/ 1738526 h 1771142"/>
                <a:gd name="connsiteX858" fmla="*/ 309924 w 3060746"/>
                <a:gd name="connsiteY858" fmla="*/ 1733479 h 1771142"/>
                <a:gd name="connsiteX859" fmla="*/ 339271 w 3060746"/>
                <a:gd name="connsiteY859" fmla="*/ 1717201 h 1771142"/>
                <a:gd name="connsiteX860" fmla="*/ 348931 w 3060746"/>
                <a:gd name="connsiteY860" fmla="*/ 1696646 h 1771142"/>
                <a:gd name="connsiteX861" fmla="*/ 373650 w 3060746"/>
                <a:gd name="connsiteY861" fmla="*/ 1679332 h 1771142"/>
                <a:gd name="connsiteX862" fmla="*/ 394595 w 3060746"/>
                <a:gd name="connsiteY862" fmla="*/ 1679332 h 1771142"/>
                <a:gd name="connsiteX863" fmla="*/ 465789 w 3060746"/>
                <a:gd name="connsiteY863" fmla="*/ 1672882 h 1771142"/>
                <a:gd name="connsiteX864" fmla="*/ 532356 w 3060746"/>
                <a:gd name="connsiteY864" fmla="*/ 1679566 h 1771142"/>
                <a:gd name="connsiteX865" fmla="*/ 594986 w 3060746"/>
                <a:gd name="connsiteY865" fmla="*/ 1667901 h 1771142"/>
                <a:gd name="connsiteX866" fmla="*/ 607853 w 3060746"/>
                <a:gd name="connsiteY866" fmla="*/ 1674954 h 1771142"/>
                <a:gd name="connsiteX867" fmla="*/ 598802 w 3060746"/>
                <a:gd name="connsiteY867" fmla="*/ 1699387 h 1771142"/>
                <a:gd name="connsiteX868" fmla="*/ 617514 w 3060746"/>
                <a:gd name="connsiteY868" fmla="*/ 1703230 h 1771142"/>
                <a:gd name="connsiteX869" fmla="*/ 621248 w 3060746"/>
                <a:gd name="connsiteY869" fmla="*/ 1713257 h 1771142"/>
                <a:gd name="connsiteX870" fmla="*/ 652502 w 3060746"/>
                <a:gd name="connsiteY870" fmla="*/ 1702395 h 1771142"/>
                <a:gd name="connsiteX871" fmla="*/ 669712 w 3060746"/>
                <a:gd name="connsiteY871" fmla="*/ 1711386 h 1771142"/>
                <a:gd name="connsiteX872" fmla="*/ 692118 w 3060746"/>
                <a:gd name="connsiteY872" fmla="*/ 1699888 h 1771142"/>
                <a:gd name="connsiteX873" fmla="*/ 720530 w 3060746"/>
                <a:gd name="connsiteY873" fmla="*/ 1698351 h 1771142"/>
                <a:gd name="connsiteX874" fmla="*/ 716877 w 3060746"/>
                <a:gd name="connsiteY874" fmla="*/ 1713124 h 1771142"/>
                <a:gd name="connsiteX875" fmla="*/ 728364 w 3060746"/>
                <a:gd name="connsiteY875" fmla="*/ 1711352 h 1771142"/>
                <a:gd name="connsiteX876" fmla="*/ 738512 w 3060746"/>
                <a:gd name="connsiteY876" fmla="*/ 1717135 h 1771142"/>
                <a:gd name="connsiteX877" fmla="*/ 770983 w 3060746"/>
                <a:gd name="connsiteY877" fmla="*/ 1705135 h 1771142"/>
                <a:gd name="connsiteX878" fmla="*/ 806865 w 3060746"/>
                <a:gd name="connsiteY878" fmla="*/ 1698752 h 1771142"/>
                <a:gd name="connsiteX879" fmla="*/ 833492 w 3060746"/>
                <a:gd name="connsiteY879" fmla="*/ 1688725 h 1771142"/>
                <a:gd name="connsiteX880" fmla="*/ 863366 w 3060746"/>
                <a:gd name="connsiteY880" fmla="*/ 1682574 h 1771142"/>
                <a:gd name="connsiteX881" fmla="*/ 892225 w 3060746"/>
                <a:gd name="connsiteY881" fmla="*/ 1673784 h 1771142"/>
                <a:gd name="connsiteX882" fmla="*/ 916254 w 3060746"/>
                <a:gd name="connsiteY882" fmla="*/ 1678798 h 1771142"/>
                <a:gd name="connsiteX883" fmla="*/ 924697 w 3060746"/>
                <a:gd name="connsiteY883" fmla="*/ 1674219 h 1771142"/>
                <a:gd name="connsiteX884" fmla="*/ 977220 w 3060746"/>
                <a:gd name="connsiteY884" fmla="*/ 1645942 h 1771142"/>
                <a:gd name="connsiteX885" fmla="*/ 1183578 w 3060746"/>
                <a:gd name="connsiteY885" fmla="*/ 1539655 h 1771142"/>
                <a:gd name="connsiteX886" fmla="*/ 1657586 w 3060746"/>
                <a:gd name="connsiteY886" fmla="*/ 1322402 h 1771142"/>
                <a:gd name="connsiteX887" fmla="*/ 1712828 w 3060746"/>
                <a:gd name="connsiteY887" fmla="*/ 1299440 h 1771142"/>
                <a:gd name="connsiteX888" fmla="*/ 1721596 w 3060746"/>
                <a:gd name="connsiteY888" fmla="*/ 1295797 h 1771142"/>
                <a:gd name="connsiteX889" fmla="*/ 1720581 w 3060746"/>
                <a:gd name="connsiteY889" fmla="*/ 1289112 h 1771142"/>
                <a:gd name="connsiteX890" fmla="*/ 1741688 w 3060746"/>
                <a:gd name="connsiteY890" fmla="*/ 1291552 h 1771142"/>
                <a:gd name="connsiteX891" fmla="*/ 1779599 w 3060746"/>
                <a:gd name="connsiteY891" fmla="*/ 1282728 h 1771142"/>
                <a:gd name="connsiteX892" fmla="*/ 1817428 w 3060746"/>
                <a:gd name="connsiteY892" fmla="*/ 1273737 h 1771142"/>
                <a:gd name="connsiteX893" fmla="*/ 1849575 w 3060746"/>
                <a:gd name="connsiteY893" fmla="*/ 1269091 h 1771142"/>
                <a:gd name="connsiteX894" fmla="*/ 1861509 w 3060746"/>
                <a:gd name="connsiteY894" fmla="*/ 1259967 h 1771142"/>
                <a:gd name="connsiteX895" fmla="*/ 1884929 w 3060746"/>
                <a:gd name="connsiteY895" fmla="*/ 1252380 h 1771142"/>
                <a:gd name="connsiteX896" fmla="*/ 1914519 w 3060746"/>
                <a:gd name="connsiteY896" fmla="*/ 1234264 h 1771142"/>
                <a:gd name="connsiteX897" fmla="*/ 1937005 w 3060746"/>
                <a:gd name="connsiteY897" fmla="*/ 1213374 h 1771142"/>
                <a:gd name="connsiteX898" fmla="*/ 2005156 w 3060746"/>
                <a:gd name="connsiteY898" fmla="*/ 1204584 h 1771142"/>
                <a:gd name="connsiteX899" fmla="*/ 2040915 w 3060746"/>
                <a:gd name="connsiteY899" fmla="*/ 1202378 h 1771142"/>
                <a:gd name="connsiteX900" fmla="*/ 2079029 w 3060746"/>
                <a:gd name="connsiteY900" fmla="*/ 1220025 h 1771142"/>
                <a:gd name="connsiteX901" fmla="*/ 2141172 w 3060746"/>
                <a:gd name="connsiteY901" fmla="*/ 1206923 h 1771142"/>
                <a:gd name="connsiteX902" fmla="*/ 2196821 w 3060746"/>
                <a:gd name="connsiteY902" fmla="*/ 1193086 h 1771142"/>
                <a:gd name="connsiteX903" fmla="*/ 2228481 w 3060746"/>
                <a:gd name="connsiteY903" fmla="*/ 1210500 h 1771142"/>
                <a:gd name="connsiteX904" fmla="*/ 2182776 w 3060746"/>
                <a:gd name="connsiteY904" fmla="*/ 1218689 h 1771142"/>
                <a:gd name="connsiteX905" fmla="*/ 2179732 w 3060746"/>
                <a:gd name="connsiteY905" fmla="*/ 1238743 h 1771142"/>
                <a:gd name="connsiteX906" fmla="*/ 2170112 w 3060746"/>
                <a:gd name="connsiteY906" fmla="*/ 1270696 h 1771142"/>
                <a:gd name="connsiteX907" fmla="*/ 2181356 w 3060746"/>
                <a:gd name="connsiteY907" fmla="*/ 1281291 h 1771142"/>
                <a:gd name="connsiteX908" fmla="*/ 2234123 w 3060746"/>
                <a:gd name="connsiteY908" fmla="*/ 1254251 h 1771142"/>
                <a:gd name="connsiteX909" fmla="*/ 2258476 w 3060746"/>
                <a:gd name="connsiteY909" fmla="*/ 1242185 h 1771142"/>
                <a:gd name="connsiteX910" fmla="*/ 2270248 w 3060746"/>
                <a:gd name="connsiteY910" fmla="*/ 1238843 h 1771142"/>
                <a:gd name="connsiteX911" fmla="*/ 2272399 w 3060746"/>
                <a:gd name="connsiteY911" fmla="*/ 1226209 h 1771142"/>
                <a:gd name="connsiteX912" fmla="*/ 2252753 w 3060746"/>
                <a:gd name="connsiteY912" fmla="*/ 1231724 h 1771142"/>
                <a:gd name="connsiteX913" fmla="*/ 2268218 w 3060746"/>
                <a:gd name="connsiteY913" fmla="*/ 1212137 h 1771142"/>
                <a:gd name="connsiteX914" fmla="*/ 2320538 w 3060746"/>
                <a:gd name="connsiteY914" fmla="*/ 1191047 h 1771142"/>
                <a:gd name="connsiteX915" fmla="*/ 2341888 w 3060746"/>
                <a:gd name="connsiteY915" fmla="*/ 1181355 h 1771142"/>
                <a:gd name="connsiteX916" fmla="*/ 2364253 w 3060746"/>
                <a:gd name="connsiteY916" fmla="*/ 1163707 h 1771142"/>
                <a:gd name="connsiteX917" fmla="*/ 2426234 w 3060746"/>
                <a:gd name="connsiteY917" fmla="*/ 1137168 h 1771142"/>
                <a:gd name="connsiteX918" fmla="*/ 2486591 w 3060746"/>
                <a:gd name="connsiteY918" fmla="*/ 1117114 h 1771142"/>
                <a:gd name="connsiteX919" fmla="*/ 2512284 w 3060746"/>
                <a:gd name="connsiteY919" fmla="*/ 1089907 h 1771142"/>
                <a:gd name="connsiteX920" fmla="*/ 2520767 w 3060746"/>
                <a:gd name="connsiteY920" fmla="*/ 1061731 h 1771142"/>
                <a:gd name="connsiteX921" fmla="*/ 2545933 w 3060746"/>
                <a:gd name="connsiteY921" fmla="*/ 1046357 h 1771142"/>
                <a:gd name="connsiteX922" fmla="*/ 2584696 w 3060746"/>
                <a:gd name="connsiteY922" fmla="*/ 1042680 h 1771142"/>
                <a:gd name="connsiteX923" fmla="*/ 2595493 w 3060746"/>
                <a:gd name="connsiteY923" fmla="*/ 1060829 h 1771142"/>
                <a:gd name="connsiteX924" fmla="*/ 2614205 w 3060746"/>
                <a:gd name="connsiteY924" fmla="*/ 1072193 h 1771142"/>
                <a:gd name="connsiteX925" fmla="*/ 2645013 w 3060746"/>
                <a:gd name="connsiteY925" fmla="*/ 1067346 h 1771142"/>
                <a:gd name="connsiteX926" fmla="*/ 2687267 w 3060746"/>
                <a:gd name="connsiteY926" fmla="*/ 1040875 h 1771142"/>
                <a:gd name="connsiteX927" fmla="*/ 2695912 w 3060746"/>
                <a:gd name="connsiteY927" fmla="*/ 1035561 h 1771142"/>
                <a:gd name="connsiteX928" fmla="*/ 2691610 w 3060746"/>
                <a:gd name="connsiteY928" fmla="*/ 1045588 h 1771142"/>
                <a:gd name="connsiteX929" fmla="*/ 2731469 w 3060746"/>
                <a:gd name="connsiteY929" fmla="*/ 1040240 h 1771142"/>
                <a:gd name="connsiteX930" fmla="*/ 2693152 w 3060746"/>
                <a:gd name="connsiteY930" fmla="*/ 1054077 h 1771142"/>
                <a:gd name="connsiteX931" fmla="*/ 2659828 w 3060746"/>
                <a:gd name="connsiteY931" fmla="*/ 1082354 h 1771142"/>
                <a:gd name="connsiteX932" fmla="*/ 2684507 w 3060746"/>
                <a:gd name="connsiteY932" fmla="*/ 1091378 h 1771142"/>
                <a:gd name="connsiteX933" fmla="*/ 2723879 w 3060746"/>
                <a:gd name="connsiteY933" fmla="*/ 1060161 h 1771142"/>
                <a:gd name="connsiteX934" fmla="*/ 2767634 w 3060746"/>
                <a:gd name="connsiteY934" fmla="*/ 1042045 h 1771142"/>
                <a:gd name="connsiteX935" fmla="*/ 2810213 w 3060746"/>
                <a:gd name="connsiteY935" fmla="*/ 1020453 h 1771142"/>
                <a:gd name="connsiteX936" fmla="*/ 2805342 w 3060746"/>
                <a:gd name="connsiteY936" fmla="*/ 1014638 h 1771142"/>
                <a:gd name="connsiteX937" fmla="*/ 2822674 w 3060746"/>
                <a:gd name="connsiteY937" fmla="*/ 1006649 h 1771142"/>
                <a:gd name="connsiteX938" fmla="*/ 2842969 w 3060746"/>
                <a:gd name="connsiteY938" fmla="*/ 997324 h 1771142"/>
                <a:gd name="connsiteX939" fmla="*/ 2828681 w 3060746"/>
                <a:gd name="connsiteY939" fmla="*/ 993982 h 1771142"/>
                <a:gd name="connsiteX940" fmla="*/ 781861 w 3060746"/>
                <a:gd name="connsiteY940" fmla="*/ 1236637 h 1771142"/>
                <a:gd name="connsiteX941" fmla="*/ 754342 w 3060746"/>
                <a:gd name="connsiteY941" fmla="*/ 1266050 h 1771142"/>
                <a:gd name="connsiteX942" fmla="*/ 736645 w 3060746"/>
                <a:gd name="connsiteY942" fmla="*/ 1285001 h 1771142"/>
                <a:gd name="connsiteX943" fmla="*/ 715984 w 3060746"/>
                <a:gd name="connsiteY943" fmla="*/ 1308397 h 1771142"/>
                <a:gd name="connsiteX944" fmla="*/ 695365 w 3060746"/>
                <a:gd name="connsiteY944" fmla="*/ 1324240 h 1771142"/>
                <a:gd name="connsiteX945" fmla="*/ 706973 w 3060746"/>
                <a:gd name="connsiteY945" fmla="*/ 1302849 h 1771142"/>
                <a:gd name="connsiteX946" fmla="*/ 686476 w 3060746"/>
                <a:gd name="connsiteY946" fmla="*/ 1308832 h 1771142"/>
                <a:gd name="connsiteX947" fmla="*/ 673933 w 3060746"/>
                <a:gd name="connsiteY947" fmla="*/ 1332529 h 1771142"/>
                <a:gd name="connsiteX948" fmla="*/ 632288 w 3060746"/>
                <a:gd name="connsiteY948" fmla="*/ 1350244 h 1771142"/>
                <a:gd name="connsiteX949" fmla="*/ 638864 w 3060746"/>
                <a:gd name="connsiteY949" fmla="*/ 1344462 h 1771142"/>
                <a:gd name="connsiteX950" fmla="*/ 640934 w 3060746"/>
                <a:gd name="connsiteY950" fmla="*/ 1335203 h 1771142"/>
                <a:gd name="connsiteX951" fmla="*/ 643247 w 3060746"/>
                <a:gd name="connsiteY951" fmla="*/ 1322770 h 1771142"/>
                <a:gd name="connsiteX952" fmla="*/ 671417 w 3060746"/>
                <a:gd name="connsiteY952" fmla="*/ 1301980 h 1771142"/>
                <a:gd name="connsiteX953" fmla="*/ 628432 w 3060746"/>
                <a:gd name="connsiteY953" fmla="*/ 1314213 h 1771142"/>
                <a:gd name="connsiteX954" fmla="*/ 606676 w 3060746"/>
                <a:gd name="connsiteY954" fmla="*/ 1334501 h 1771142"/>
                <a:gd name="connsiteX955" fmla="*/ 572378 w 3060746"/>
                <a:gd name="connsiteY955" fmla="*/ 1350912 h 1771142"/>
                <a:gd name="connsiteX956" fmla="*/ 702752 w 3060746"/>
                <a:gd name="connsiteY956" fmla="*/ 1252981 h 1771142"/>
                <a:gd name="connsiteX957" fmla="*/ 725158 w 3060746"/>
                <a:gd name="connsiteY957" fmla="*/ 1264813 h 1771142"/>
                <a:gd name="connsiteX958" fmla="*/ 761688 w 3060746"/>
                <a:gd name="connsiteY958" fmla="*/ 1236537 h 1771142"/>
                <a:gd name="connsiteX959" fmla="*/ 781780 w 3060746"/>
                <a:gd name="connsiteY959" fmla="*/ 1236804 h 1771142"/>
                <a:gd name="connsiteX960" fmla="*/ 781861 w 3060746"/>
                <a:gd name="connsiteY960" fmla="*/ 1236637 h 1771142"/>
                <a:gd name="connsiteX961" fmla="*/ 1030393 w 3060746"/>
                <a:gd name="connsiteY961" fmla="*/ 1254385 h 1771142"/>
                <a:gd name="connsiteX962" fmla="*/ 1004253 w 3060746"/>
                <a:gd name="connsiteY962" fmla="*/ 1277447 h 1771142"/>
                <a:gd name="connsiteX963" fmla="*/ 990290 w 3060746"/>
                <a:gd name="connsiteY963" fmla="*/ 1297501 h 1771142"/>
                <a:gd name="connsiteX964" fmla="*/ 907162 w 3060746"/>
                <a:gd name="connsiteY964" fmla="*/ 1339949 h 1771142"/>
                <a:gd name="connsiteX965" fmla="*/ 905904 w 3060746"/>
                <a:gd name="connsiteY965" fmla="*/ 1334836 h 1771142"/>
                <a:gd name="connsiteX966" fmla="*/ 923642 w 3060746"/>
                <a:gd name="connsiteY966" fmla="*/ 1314347 h 1771142"/>
                <a:gd name="connsiteX967" fmla="*/ 945154 w 3060746"/>
                <a:gd name="connsiteY967" fmla="*/ 1290649 h 1771142"/>
                <a:gd name="connsiteX968" fmla="*/ 911911 w 3060746"/>
                <a:gd name="connsiteY968" fmla="*/ 1289146 h 1771142"/>
                <a:gd name="connsiteX969" fmla="*/ 970076 w 3060746"/>
                <a:gd name="connsiteY969" fmla="*/ 1267387 h 1771142"/>
                <a:gd name="connsiteX970" fmla="*/ 1039647 w 3060746"/>
                <a:gd name="connsiteY970" fmla="*/ 1228281 h 1771142"/>
                <a:gd name="connsiteX971" fmla="*/ 1088355 w 3060746"/>
                <a:gd name="connsiteY971" fmla="*/ 1197197 h 1771142"/>
                <a:gd name="connsiteX972" fmla="*/ 1030271 w 3060746"/>
                <a:gd name="connsiteY972" fmla="*/ 1254385 h 1771142"/>
                <a:gd name="connsiteX973" fmla="*/ 1030393 w 3060746"/>
                <a:gd name="connsiteY973" fmla="*/ 1254385 h 1771142"/>
                <a:gd name="connsiteX974" fmla="*/ 1658722 w 3060746"/>
                <a:gd name="connsiteY974" fmla="*/ 1284901 h 1771142"/>
                <a:gd name="connsiteX975" fmla="*/ 1644191 w 3060746"/>
                <a:gd name="connsiteY975" fmla="*/ 1277848 h 1771142"/>
                <a:gd name="connsiteX976" fmla="*/ 1608431 w 3060746"/>
                <a:gd name="connsiteY976" fmla="*/ 1269225 h 1771142"/>
                <a:gd name="connsiteX977" fmla="*/ 1553189 w 3060746"/>
                <a:gd name="connsiteY977" fmla="*/ 1243923 h 1771142"/>
                <a:gd name="connsiteX978" fmla="*/ 1620121 w 3060746"/>
                <a:gd name="connsiteY978" fmla="*/ 1247266 h 1771142"/>
                <a:gd name="connsiteX979" fmla="*/ 1658722 w 3060746"/>
                <a:gd name="connsiteY979" fmla="*/ 1284800 h 1771142"/>
                <a:gd name="connsiteX980" fmla="*/ 1658560 w 3060746"/>
                <a:gd name="connsiteY980" fmla="*/ 1284968 h 177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</a:cxnLst>
              <a:rect l="l" t="t" r="r" b="b"/>
              <a:pathLst>
                <a:path w="3060746" h="1771142">
                  <a:moveTo>
                    <a:pt x="886583" y="1692735"/>
                  </a:moveTo>
                  <a:cubicBezTo>
                    <a:pt x="870591" y="1692735"/>
                    <a:pt x="857318" y="1704567"/>
                    <a:pt x="841934" y="1701793"/>
                  </a:cubicBezTo>
                  <a:cubicBezTo>
                    <a:pt x="833248" y="1700189"/>
                    <a:pt x="811289" y="1695877"/>
                    <a:pt x="799193" y="1703164"/>
                  </a:cubicBezTo>
                  <a:cubicBezTo>
                    <a:pt x="789809" y="1709280"/>
                    <a:pt x="779390" y="1714233"/>
                    <a:pt x="768264" y="1717870"/>
                  </a:cubicBezTo>
                  <a:cubicBezTo>
                    <a:pt x="756087" y="1721379"/>
                    <a:pt x="742327" y="1720878"/>
                    <a:pt x="731733" y="1730237"/>
                  </a:cubicBezTo>
                  <a:cubicBezTo>
                    <a:pt x="727228" y="1734147"/>
                    <a:pt x="723250" y="1738994"/>
                    <a:pt x="731733" y="1736921"/>
                  </a:cubicBezTo>
                  <a:cubicBezTo>
                    <a:pt x="740216" y="1734849"/>
                    <a:pt x="743910" y="1739629"/>
                    <a:pt x="751784" y="1736687"/>
                  </a:cubicBezTo>
                  <a:cubicBezTo>
                    <a:pt x="764919" y="1731470"/>
                    <a:pt x="779158" y="1728405"/>
                    <a:pt x="793714" y="1727663"/>
                  </a:cubicBezTo>
                  <a:cubicBezTo>
                    <a:pt x="802075" y="1727663"/>
                    <a:pt x="806459" y="1724320"/>
                    <a:pt x="814536" y="1722917"/>
                  </a:cubicBezTo>
                  <a:cubicBezTo>
                    <a:pt x="825049" y="1721212"/>
                    <a:pt x="827931" y="1727529"/>
                    <a:pt x="840027" y="1721246"/>
                  </a:cubicBezTo>
                  <a:cubicBezTo>
                    <a:pt x="846521" y="1717903"/>
                    <a:pt x="849281" y="1720945"/>
                    <a:pt x="855288" y="1720510"/>
                  </a:cubicBezTo>
                  <a:cubicBezTo>
                    <a:pt x="869414" y="1719507"/>
                    <a:pt x="875827" y="1716566"/>
                    <a:pt x="890804" y="1708678"/>
                  </a:cubicBezTo>
                  <a:cubicBezTo>
                    <a:pt x="895553" y="1706175"/>
                    <a:pt x="900144" y="1703474"/>
                    <a:pt x="904564" y="1700590"/>
                  </a:cubicBezTo>
                  <a:cubicBezTo>
                    <a:pt x="914468" y="1694106"/>
                    <a:pt x="907812" y="1695075"/>
                    <a:pt x="908867" y="1688825"/>
                  </a:cubicBezTo>
                  <a:cubicBezTo>
                    <a:pt x="909719" y="1683845"/>
                    <a:pt x="891738" y="1692702"/>
                    <a:pt x="886705" y="1692735"/>
                  </a:cubicBezTo>
                  <a:close/>
                  <a:moveTo>
                    <a:pt x="460309" y="1204250"/>
                  </a:moveTo>
                  <a:cubicBezTo>
                    <a:pt x="480280" y="1195961"/>
                    <a:pt x="493918" y="1203548"/>
                    <a:pt x="507678" y="1205152"/>
                  </a:cubicBezTo>
                  <a:cubicBezTo>
                    <a:pt x="528419" y="1207592"/>
                    <a:pt x="523711" y="1193220"/>
                    <a:pt x="538201" y="1185399"/>
                  </a:cubicBezTo>
                  <a:cubicBezTo>
                    <a:pt x="548146" y="1180017"/>
                    <a:pt x="550378" y="1174402"/>
                    <a:pt x="558861" y="1168954"/>
                  </a:cubicBezTo>
                  <a:cubicBezTo>
                    <a:pt x="568847" y="1162504"/>
                    <a:pt x="581105" y="1158560"/>
                    <a:pt x="587274" y="1150037"/>
                  </a:cubicBezTo>
                  <a:cubicBezTo>
                    <a:pt x="593444" y="1141513"/>
                    <a:pt x="584189" y="1137803"/>
                    <a:pt x="585569" y="1130417"/>
                  </a:cubicBezTo>
                  <a:cubicBezTo>
                    <a:pt x="587437" y="1120624"/>
                    <a:pt x="601805" y="1114574"/>
                    <a:pt x="609923" y="1105583"/>
                  </a:cubicBezTo>
                  <a:cubicBezTo>
                    <a:pt x="614388" y="1100503"/>
                    <a:pt x="609923" y="1097160"/>
                    <a:pt x="610451" y="1092983"/>
                  </a:cubicBezTo>
                  <a:cubicBezTo>
                    <a:pt x="611344" y="1086966"/>
                    <a:pt x="621248" y="1081251"/>
                    <a:pt x="628432" y="1075936"/>
                  </a:cubicBezTo>
                  <a:cubicBezTo>
                    <a:pt x="649174" y="1060528"/>
                    <a:pt x="668657" y="1044418"/>
                    <a:pt x="687450" y="1028408"/>
                  </a:cubicBezTo>
                  <a:cubicBezTo>
                    <a:pt x="698044" y="1019384"/>
                    <a:pt x="720774" y="1003140"/>
                    <a:pt x="696177" y="1006616"/>
                  </a:cubicBezTo>
                  <a:cubicBezTo>
                    <a:pt x="667114" y="1010760"/>
                    <a:pt x="619908" y="1017479"/>
                    <a:pt x="594296" y="1039037"/>
                  </a:cubicBezTo>
                  <a:cubicBezTo>
                    <a:pt x="591536" y="1041376"/>
                    <a:pt x="581795" y="1053710"/>
                    <a:pt x="577005" y="1050535"/>
                  </a:cubicBezTo>
                  <a:cubicBezTo>
                    <a:pt x="574042" y="1048596"/>
                    <a:pt x="572175" y="1046524"/>
                    <a:pt x="566086" y="1051805"/>
                  </a:cubicBezTo>
                  <a:cubicBezTo>
                    <a:pt x="552002" y="1064004"/>
                    <a:pt x="516161" y="1074232"/>
                    <a:pt x="499194" y="1076739"/>
                  </a:cubicBezTo>
                  <a:cubicBezTo>
                    <a:pt x="473907" y="1080415"/>
                    <a:pt x="428122" y="1122261"/>
                    <a:pt x="405554" y="1136099"/>
                  </a:cubicBezTo>
                  <a:cubicBezTo>
                    <a:pt x="379536" y="1151942"/>
                    <a:pt x="423657" y="1141513"/>
                    <a:pt x="429908" y="1143419"/>
                  </a:cubicBezTo>
                  <a:cubicBezTo>
                    <a:pt x="439893" y="1146360"/>
                    <a:pt x="419476" y="1168319"/>
                    <a:pt x="420004" y="1175438"/>
                  </a:cubicBezTo>
                  <a:cubicBezTo>
                    <a:pt x="420247" y="1179215"/>
                    <a:pt x="427878" y="1176742"/>
                    <a:pt x="426782" y="1182457"/>
                  </a:cubicBezTo>
                  <a:cubicBezTo>
                    <a:pt x="424956" y="1192083"/>
                    <a:pt x="417568" y="1203381"/>
                    <a:pt x="412129" y="1213608"/>
                  </a:cubicBezTo>
                  <a:cubicBezTo>
                    <a:pt x="400683" y="1235200"/>
                    <a:pt x="446387" y="1209998"/>
                    <a:pt x="460391" y="1204250"/>
                  </a:cubicBezTo>
                  <a:cubicBezTo>
                    <a:pt x="487099" y="1193220"/>
                    <a:pt x="433480" y="1215446"/>
                    <a:pt x="460309" y="1204250"/>
                  </a:cubicBezTo>
                  <a:close/>
                  <a:moveTo>
                    <a:pt x="1200585" y="911125"/>
                  </a:moveTo>
                  <a:cubicBezTo>
                    <a:pt x="1206471" y="902167"/>
                    <a:pt x="1251039" y="901365"/>
                    <a:pt x="1245924" y="890469"/>
                  </a:cubicBezTo>
                  <a:cubicBezTo>
                    <a:pt x="1240567" y="878904"/>
                    <a:pt x="1188165" y="893176"/>
                    <a:pt x="1169372" y="896385"/>
                  </a:cubicBezTo>
                  <a:cubicBezTo>
                    <a:pt x="1150579" y="899593"/>
                    <a:pt x="1103657" y="915737"/>
                    <a:pt x="1099761" y="902702"/>
                  </a:cubicBezTo>
                  <a:cubicBezTo>
                    <a:pt x="1098543" y="898491"/>
                    <a:pt x="1103008" y="892040"/>
                    <a:pt x="1094849" y="891071"/>
                  </a:cubicBezTo>
                  <a:cubicBezTo>
                    <a:pt x="1080967" y="889399"/>
                    <a:pt x="1069278" y="890135"/>
                    <a:pt x="1060226" y="883885"/>
                  </a:cubicBezTo>
                  <a:cubicBezTo>
                    <a:pt x="1054259" y="879807"/>
                    <a:pt x="1049064" y="873857"/>
                    <a:pt x="1052108" y="866137"/>
                  </a:cubicBezTo>
                  <a:cubicBezTo>
                    <a:pt x="1055152" y="858416"/>
                    <a:pt x="1065381" y="849425"/>
                    <a:pt x="1063433" y="842272"/>
                  </a:cubicBezTo>
                  <a:cubicBezTo>
                    <a:pt x="1058562" y="824290"/>
                    <a:pt x="998895" y="859753"/>
                    <a:pt x="987530" y="870649"/>
                  </a:cubicBezTo>
                  <a:cubicBezTo>
                    <a:pt x="977098" y="880676"/>
                    <a:pt x="1022518" y="871317"/>
                    <a:pt x="1031123" y="871685"/>
                  </a:cubicBezTo>
                  <a:cubicBezTo>
                    <a:pt x="1041027" y="872086"/>
                    <a:pt x="1033112" y="875027"/>
                    <a:pt x="1026334" y="875963"/>
                  </a:cubicBezTo>
                  <a:cubicBezTo>
                    <a:pt x="1015699" y="877434"/>
                    <a:pt x="1000113" y="877835"/>
                    <a:pt x="989072" y="883417"/>
                  </a:cubicBezTo>
                  <a:cubicBezTo>
                    <a:pt x="971091" y="892474"/>
                    <a:pt x="941014" y="898424"/>
                    <a:pt x="955342" y="910456"/>
                  </a:cubicBezTo>
                  <a:cubicBezTo>
                    <a:pt x="960822" y="915035"/>
                    <a:pt x="1005633" y="925697"/>
                    <a:pt x="1002304" y="931814"/>
                  </a:cubicBezTo>
                  <a:cubicBezTo>
                    <a:pt x="1000194" y="935658"/>
                    <a:pt x="983796" y="946587"/>
                    <a:pt x="977951" y="946253"/>
                  </a:cubicBezTo>
                  <a:cubicBezTo>
                    <a:pt x="968696" y="945651"/>
                    <a:pt x="963176" y="939836"/>
                    <a:pt x="957453" y="936593"/>
                  </a:cubicBezTo>
                  <a:cubicBezTo>
                    <a:pt x="941542" y="927569"/>
                    <a:pt x="915158" y="930243"/>
                    <a:pt x="885893" y="941206"/>
                  </a:cubicBezTo>
                  <a:cubicBezTo>
                    <a:pt x="851879" y="953940"/>
                    <a:pt x="903712" y="945651"/>
                    <a:pt x="905985" y="947189"/>
                  </a:cubicBezTo>
                  <a:cubicBezTo>
                    <a:pt x="914387" y="952670"/>
                    <a:pt x="894823" y="956915"/>
                    <a:pt x="887923" y="958987"/>
                  </a:cubicBezTo>
                  <a:cubicBezTo>
                    <a:pt x="878668" y="961695"/>
                    <a:pt x="861458" y="978841"/>
                    <a:pt x="859875" y="975331"/>
                  </a:cubicBezTo>
                  <a:cubicBezTo>
                    <a:pt x="856953" y="968914"/>
                    <a:pt x="857764" y="964402"/>
                    <a:pt x="842381" y="967109"/>
                  </a:cubicBezTo>
                  <a:cubicBezTo>
                    <a:pt x="823908" y="970766"/>
                    <a:pt x="806686" y="977828"/>
                    <a:pt x="792009" y="987765"/>
                  </a:cubicBezTo>
                  <a:cubicBezTo>
                    <a:pt x="772120" y="1002070"/>
                    <a:pt x="804511" y="1004477"/>
                    <a:pt x="767655" y="1018047"/>
                  </a:cubicBezTo>
                  <a:cubicBezTo>
                    <a:pt x="734737" y="1030313"/>
                    <a:pt x="781050" y="1004510"/>
                    <a:pt x="771349" y="998862"/>
                  </a:cubicBezTo>
                  <a:cubicBezTo>
                    <a:pt x="752150" y="987731"/>
                    <a:pt x="731611" y="1002538"/>
                    <a:pt x="710464" y="1019517"/>
                  </a:cubicBezTo>
                  <a:cubicBezTo>
                    <a:pt x="685258" y="1039839"/>
                    <a:pt x="654004" y="1061030"/>
                    <a:pt x="635901" y="1083022"/>
                  </a:cubicBezTo>
                  <a:cubicBezTo>
                    <a:pt x="632045" y="1087735"/>
                    <a:pt x="631071" y="1088704"/>
                    <a:pt x="636672" y="1088170"/>
                  </a:cubicBezTo>
                  <a:cubicBezTo>
                    <a:pt x="648443" y="1087066"/>
                    <a:pt x="624941" y="1110162"/>
                    <a:pt x="629650" y="1113772"/>
                  </a:cubicBezTo>
                  <a:cubicBezTo>
                    <a:pt x="637768" y="1120089"/>
                    <a:pt x="658753" y="1103244"/>
                    <a:pt x="665409" y="1105917"/>
                  </a:cubicBezTo>
                  <a:cubicBezTo>
                    <a:pt x="670402" y="1107956"/>
                    <a:pt x="669915" y="1112335"/>
                    <a:pt x="680306" y="1105917"/>
                  </a:cubicBezTo>
                  <a:cubicBezTo>
                    <a:pt x="696826" y="1095690"/>
                    <a:pt x="724630" y="1069686"/>
                    <a:pt x="745250" y="1066678"/>
                  </a:cubicBezTo>
                  <a:cubicBezTo>
                    <a:pt x="753368" y="1065475"/>
                    <a:pt x="720896" y="1086431"/>
                    <a:pt x="718582" y="1088069"/>
                  </a:cubicBezTo>
                  <a:cubicBezTo>
                    <a:pt x="707704" y="1095155"/>
                    <a:pt x="674989" y="1113471"/>
                    <a:pt x="673933" y="1122495"/>
                  </a:cubicBezTo>
                  <a:cubicBezTo>
                    <a:pt x="671052" y="1141814"/>
                    <a:pt x="821964" y="1059693"/>
                    <a:pt x="838281" y="1053643"/>
                  </a:cubicBezTo>
                  <a:cubicBezTo>
                    <a:pt x="841731" y="1052206"/>
                    <a:pt x="895959" y="1032586"/>
                    <a:pt x="884107" y="1042680"/>
                  </a:cubicBezTo>
                  <a:cubicBezTo>
                    <a:pt x="862919" y="1060662"/>
                    <a:pt x="819163" y="1075067"/>
                    <a:pt x="792496" y="1089105"/>
                  </a:cubicBezTo>
                  <a:cubicBezTo>
                    <a:pt x="771876" y="1099934"/>
                    <a:pt x="733113" y="1119822"/>
                    <a:pt x="722235" y="1135397"/>
                  </a:cubicBezTo>
                  <a:cubicBezTo>
                    <a:pt x="713062" y="1148499"/>
                    <a:pt x="770578" y="1130851"/>
                    <a:pt x="775002" y="1129782"/>
                  </a:cubicBezTo>
                  <a:cubicBezTo>
                    <a:pt x="793470" y="1125136"/>
                    <a:pt x="810396" y="1116145"/>
                    <a:pt x="826916" y="1106920"/>
                  </a:cubicBezTo>
                  <a:cubicBezTo>
                    <a:pt x="835521" y="1102141"/>
                    <a:pt x="848835" y="1094286"/>
                    <a:pt x="852488" y="1100737"/>
                  </a:cubicBezTo>
                  <a:cubicBezTo>
                    <a:pt x="859956" y="1113872"/>
                    <a:pt x="893078" y="1098798"/>
                    <a:pt x="912763" y="1090008"/>
                  </a:cubicBezTo>
                  <a:cubicBezTo>
                    <a:pt x="939622" y="1078470"/>
                    <a:pt x="964609" y="1064185"/>
                    <a:pt x="987124" y="1047493"/>
                  </a:cubicBezTo>
                  <a:cubicBezTo>
                    <a:pt x="1004699" y="1034291"/>
                    <a:pt x="1022437" y="1027205"/>
                    <a:pt x="1041230" y="1015473"/>
                  </a:cubicBezTo>
                  <a:cubicBezTo>
                    <a:pt x="1054422" y="1007251"/>
                    <a:pt x="1062662" y="980512"/>
                    <a:pt x="1080683" y="984055"/>
                  </a:cubicBezTo>
                  <a:cubicBezTo>
                    <a:pt x="1095133" y="986929"/>
                    <a:pt x="1116118" y="974797"/>
                    <a:pt x="1133978" y="972825"/>
                  </a:cubicBezTo>
                  <a:cubicBezTo>
                    <a:pt x="1152974" y="970485"/>
                    <a:pt x="1253474" y="928906"/>
                    <a:pt x="1233098" y="918411"/>
                  </a:cubicBezTo>
                  <a:cubicBezTo>
                    <a:pt x="1228430" y="915971"/>
                    <a:pt x="1219257" y="916005"/>
                    <a:pt x="1211098" y="918411"/>
                  </a:cubicBezTo>
                  <a:cubicBezTo>
                    <a:pt x="1198921" y="921987"/>
                    <a:pt x="1200870" y="929508"/>
                    <a:pt x="1190397" y="934087"/>
                  </a:cubicBezTo>
                  <a:cubicBezTo>
                    <a:pt x="1155774" y="949194"/>
                    <a:pt x="1199611" y="912896"/>
                    <a:pt x="1200870" y="911058"/>
                  </a:cubicBezTo>
                  <a:cubicBezTo>
                    <a:pt x="1206146" y="902802"/>
                    <a:pt x="1195065" y="919681"/>
                    <a:pt x="1200585" y="911225"/>
                  </a:cubicBezTo>
                  <a:close/>
                  <a:moveTo>
                    <a:pt x="545873" y="1010393"/>
                  </a:moveTo>
                  <a:cubicBezTo>
                    <a:pt x="572337" y="998327"/>
                    <a:pt x="590156" y="974897"/>
                    <a:pt x="584392" y="969850"/>
                  </a:cubicBezTo>
                  <a:cubicBezTo>
                    <a:pt x="578629" y="964803"/>
                    <a:pt x="532600" y="1016375"/>
                    <a:pt x="545873" y="1010393"/>
                  </a:cubicBezTo>
                  <a:close/>
                  <a:moveTo>
                    <a:pt x="414565" y="1055013"/>
                  </a:moveTo>
                  <a:cubicBezTo>
                    <a:pt x="422358" y="1052640"/>
                    <a:pt x="422683" y="1057954"/>
                    <a:pt x="426174" y="1059659"/>
                  </a:cubicBezTo>
                  <a:cubicBezTo>
                    <a:pt x="429664" y="1061364"/>
                    <a:pt x="439609" y="1050367"/>
                    <a:pt x="442856" y="1048128"/>
                  </a:cubicBezTo>
                  <a:cubicBezTo>
                    <a:pt x="449797" y="1043315"/>
                    <a:pt x="459092" y="1042346"/>
                    <a:pt x="465180" y="1036697"/>
                  </a:cubicBezTo>
                  <a:cubicBezTo>
                    <a:pt x="470376" y="1031884"/>
                    <a:pt x="470295" y="1027238"/>
                    <a:pt x="473298" y="1022526"/>
                  </a:cubicBezTo>
                  <a:cubicBezTo>
                    <a:pt x="475571" y="1019183"/>
                    <a:pt x="490955" y="1025467"/>
                    <a:pt x="494973" y="1025099"/>
                  </a:cubicBezTo>
                  <a:cubicBezTo>
                    <a:pt x="512508" y="1023495"/>
                    <a:pt x="512508" y="1010961"/>
                    <a:pt x="513766" y="1004677"/>
                  </a:cubicBezTo>
                  <a:cubicBezTo>
                    <a:pt x="515877" y="994182"/>
                    <a:pt x="537349" y="997759"/>
                    <a:pt x="539784" y="985960"/>
                  </a:cubicBezTo>
                  <a:cubicBezTo>
                    <a:pt x="541732" y="976702"/>
                    <a:pt x="530854" y="967410"/>
                    <a:pt x="548186" y="956313"/>
                  </a:cubicBezTo>
                  <a:cubicBezTo>
                    <a:pt x="561134" y="948058"/>
                    <a:pt x="562149" y="965839"/>
                    <a:pt x="574813" y="964168"/>
                  </a:cubicBezTo>
                  <a:cubicBezTo>
                    <a:pt x="595108" y="961461"/>
                    <a:pt x="590278" y="947456"/>
                    <a:pt x="598924" y="941005"/>
                  </a:cubicBezTo>
                  <a:cubicBezTo>
                    <a:pt x="615443" y="928906"/>
                    <a:pt x="615565" y="931647"/>
                    <a:pt x="615159" y="920116"/>
                  </a:cubicBezTo>
                  <a:cubicBezTo>
                    <a:pt x="615159" y="916372"/>
                    <a:pt x="602577" y="916339"/>
                    <a:pt x="606311" y="911994"/>
                  </a:cubicBezTo>
                  <a:cubicBezTo>
                    <a:pt x="610654" y="906880"/>
                    <a:pt x="619381" y="902903"/>
                    <a:pt x="623156" y="897555"/>
                  </a:cubicBezTo>
                  <a:cubicBezTo>
                    <a:pt x="625226" y="894547"/>
                    <a:pt x="591293" y="903471"/>
                    <a:pt x="584514" y="905677"/>
                  </a:cubicBezTo>
                  <a:cubicBezTo>
                    <a:pt x="567223" y="911225"/>
                    <a:pt x="583905" y="919514"/>
                    <a:pt x="568481" y="926901"/>
                  </a:cubicBezTo>
                  <a:cubicBezTo>
                    <a:pt x="550987" y="935257"/>
                    <a:pt x="529393" y="938265"/>
                    <a:pt x="515715" y="950631"/>
                  </a:cubicBezTo>
                  <a:cubicBezTo>
                    <a:pt x="499933" y="964706"/>
                    <a:pt x="485739" y="979934"/>
                    <a:pt x="473298" y="996121"/>
                  </a:cubicBezTo>
                  <a:cubicBezTo>
                    <a:pt x="469239" y="1002003"/>
                    <a:pt x="466844" y="1008187"/>
                    <a:pt x="460634" y="1014069"/>
                  </a:cubicBezTo>
                  <a:cubicBezTo>
                    <a:pt x="454424" y="1019952"/>
                    <a:pt x="443465" y="1024364"/>
                    <a:pt x="435590" y="1029945"/>
                  </a:cubicBezTo>
                  <a:cubicBezTo>
                    <a:pt x="432871" y="1031784"/>
                    <a:pt x="402185" y="1058656"/>
                    <a:pt x="414240" y="1055013"/>
                  </a:cubicBezTo>
                  <a:close/>
                  <a:moveTo>
                    <a:pt x="633750" y="935691"/>
                  </a:moveTo>
                  <a:cubicBezTo>
                    <a:pt x="624333" y="940872"/>
                    <a:pt x="616661" y="951133"/>
                    <a:pt x="631071" y="948425"/>
                  </a:cubicBezTo>
                  <a:cubicBezTo>
                    <a:pt x="633709" y="947924"/>
                    <a:pt x="666343" y="934321"/>
                    <a:pt x="665978" y="935056"/>
                  </a:cubicBezTo>
                  <a:cubicBezTo>
                    <a:pt x="661350" y="945685"/>
                    <a:pt x="616539" y="955511"/>
                    <a:pt x="614672" y="971822"/>
                  </a:cubicBezTo>
                  <a:cubicBezTo>
                    <a:pt x="613495" y="981649"/>
                    <a:pt x="656967" y="947623"/>
                    <a:pt x="664314" y="948425"/>
                  </a:cubicBezTo>
                  <a:cubicBezTo>
                    <a:pt x="664679" y="948425"/>
                    <a:pt x="614388" y="982284"/>
                    <a:pt x="610370" y="985994"/>
                  </a:cubicBezTo>
                  <a:cubicBezTo>
                    <a:pt x="600953" y="994517"/>
                    <a:pt x="622547" y="985994"/>
                    <a:pt x="626403" y="984423"/>
                  </a:cubicBezTo>
                  <a:cubicBezTo>
                    <a:pt x="643816" y="977237"/>
                    <a:pt x="667195" y="972758"/>
                    <a:pt x="683228" y="963399"/>
                  </a:cubicBezTo>
                  <a:cubicBezTo>
                    <a:pt x="697029" y="955311"/>
                    <a:pt x="700479" y="943679"/>
                    <a:pt x="708354" y="934555"/>
                  </a:cubicBezTo>
                  <a:cubicBezTo>
                    <a:pt x="718420" y="922890"/>
                    <a:pt x="717730" y="930410"/>
                    <a:pt x="720165" y="935089"/>
                  </a:cubicBezTo>
                  <a:cubicBezTo>
                    <a:pt x="723615" y="941774"/>
                    <a:pt x="784053" y="902100"/>
                    <a:pt x="794729" y="898825"/>
                  </a:cubicBezTo>
                  <a:cubicBezTo>
                    <a:pt x="805404" y="895549"/>
                    <a:pt x="789452" y="908852"/>
                    <a:pt x="787666" y="910323"/>
                  </a:cubicBezTo>
                  <a:cubicBezTo>
                    <a:pt x="774227" y="921011"/>
                    <a:pt x="759574" y="930614"/>
                    <a:pt x="743910" y="939000"/>
                  </a:cubicBezTo>
                  <a:cubicBezTo>
                    <a:pt x="706365" y="959321"/>
                    <a:pt x="725117" y="965304"/>
                    <a:pt x="757914" y="951133"/>
                  </a:cubicBezTo>
                  <a:cubicBezTo>
                    <a:pt x="786042" y="939033"/>
                    <a:pt x="812426" y="919247"/>
                    <a:pt x="833167" y="902368"/>
                  </a:cubicBezTo>
                  <a:cubicBezTo>
                    <a:pt x="841553" y="896101"/>
                    <a:pt x="849029" y="889058"/>
                    <a:pt x="855451" y="881378"/>
                  </a:cubicBezTo>
                  <a:cubicBezTo>
                    <a:pt x="864421" y="869111"/>
                    <a:pt x="882321" y="870649"/>
                    <a:pt x="895675" y="862259"/>
                  </a:cubicBezTo>
                  <a:cubicBezTo>
                    <a:pt x="910612" y="852934"/>
                    <a:pt x="918040" y="846751"/>
                    <a:pt x="936265" y="839164"/>
                  </a:cubicBezTo>
                  <a:cubicBezTo>
                    <a:pt x="950999" y="833081"/>
                    <a:pt x="972025" y="825393"/>
                    <a:pt x="981441" y="815366"/>
                  </a:cubicBezTo>
                  <a:cubicBezTo>
                    <a:pt x="992847" y="803267"/>
                    <a:pt x="989559" y="780338"/>
                    <a:pt x="964191" y="786187"/>
                  </a:cubicBezTo>
                  <a:cubicBezTo>
                    <a:pt x="946899" y="790232"/>
                    <a:pt x="946737" y="797016"/>
                    <a:pt x="937117" y="805172"/>
                  </a:cubicBezTo>
                  <a:cubicBezTo>
                    <a:pt x="924940" y="815466"/>
                    <a:pt x="909882" y="814263"/>
                    <a:pt x="898719" y="813361"/>
                  </a:cubicBezTo>
                  <a:cubicBezTo>
                    <a:pt x="885041" y="812258"/>
                    <a:pt x="876314" y="811756"/>
                    <a:pt x="867668" y="806509"/>
                  </a:cubicBezTo>
                  <a:cubicBezTo>
                    <a:pt x="859023" y="801261"/>
                    <a:pt x="846196" y="809550"/>
                    <a:pt x="836577" y="817739"/>
                  </a:cubicBezTo>
                  <a:cubicBezTo>
                    <a:pt x="828865" y="824424"/>
                    <a:pt x="819001" y="833281"/>
                    <a:pt x="817215" y="839966"/>
                  </a:cubicBezTo>
                  <a:cubicBezTo>
                    <a:pt x="815308" y="847286"/>
                    <a:pt x="834588" y="837225"/>
                    <a:pt x="840676" y="836624"/>
                  </a:cubicBezTo>
                  <a:cubicBezTo>
                    <a:pt x="851798" y="835220"/>
                    <a:pt x="841163" y="845748"/>
                    <a:pt x="836617" y="849391"/>
                  </a:cubicBezTo>
                  <a:cubicBezTo>
                    <a:pt x="829230" y="855207"/>
                    <a:pt x="851960" y="849391"/>
                    <a:pt x="854720" y="848890"/>
                  </a:cubicBezTo>
                  <a:cubicBezTo>
                    <a:pt x="883417" y="843108"/>
                    <a:pt x="857074" y="857146"/>
                    <a:pt x="843111" y="863229"/>
                  </a:cubicBezTo>
                  <a:cubicBezTo>
                    <a:pt x="818758" y="873857"/>
                    <a:pt x="804064" y="878303"/>
                    <a:pt x="784094" y="877801"/>
                  </a:cubicBezTo>
                  <a:cubicBezTo>
                    <a:pt x="771227" y="877467"/>
                    <a:pt x="754017" y="881578"/>
                    <a:pt x="739445" y="885723"/>
                  </a:cubicBezTo>
                  <a:cubicBezTo>
                    <a:pt x="730000" y="888280"/>
                    <a:pt x="720847" y="891512"/>
                    <a:pt x="712088" y="895382"/>
                  </a:cubicBezTo>
                  <a:cubicBezTo>
                    <a:pt x="705350" y="898424"/>
                    <a:pt x="698815" y="904039"/>
                    <a:pt x="691793" y="905978"/>
                  </a:cubicBezTo>
                  <a:cubicBezTo>
                    <a:pt x="679616" y="909320"/>
                    <a:pt x="676328" y="902635"/>
                    <a:pt x="661635" y="909320"/>
                  </a:cubicBezTo>
                  <a:cubicBezTo>
                    <a:pt x="643816" y="917542"/>
                    <a:pt x="649783" y="926934"/>
                    <a:pt x="633871" y="935691"/>
                  </a:cubicBezTo>
                  <a:close/>
                  <a:moveTo>
                    <a:pt x="674339" y="851631"/>
                  </a:moveTo>
                  <a:cubicBezTo>
                    <a:pt x="675922" y="840200"/>
                    <a:pt x="621573" y="869011"/>
                    <a:pt x="628026" y="869379"/>
                  </a:cubicBezTo>
                  <a:cubicBezTo>
                    <a:pt x="642679" y="870014"/>
                    <a:pt x="672959" y="862995"/>
                    <a:pt x="674542" y="851664"/>
                  </a:cubicBezTo>
                  <a:close/>
                  <a:moveTo>
                    <a:pt x="793105" y="789797"/>
                  </a:moveTo>
                  <a:cubicBezTo>
                    <a:pt x="802116" y="784683"/>
                    <a:pt x="804348" y="779202"/>
                    <a:pt x="791968" y="783112"/>
                  </a:cubicBezTo>
                  <a:cubicBezTo>
                    <a:pt x="776910" y="787691"/>
                    <a:pt x="762216" y="797384"/>
                    <a:pt x="748781" y="804704"/>
                  </a:cubicBezTo>
                  <a:cubicBezTo>
                    <a:pt x="735346" y="812024"/>
                    <a:pt x="686597" y="835855"/>
                    <a:pt x="693863" y="845882"/>
                  </a:cubicBezTo>
                  <a:cubicBezTo>
                    <a:pt x="702914" y="858315"/>
                    <a:pt x="743179" y="841437"/>
                    <a:pt x="762581" y="829170"/>
                  </a:cubicBezTo>
                  <a:cubicBezTo>
                    <a:pt x="773703" y="822185"/>
                    <a:pt x="785312" y="812458"/>
                    <a:pt x="789208" y="804470"/>
                  </a:cubicBezTo>
                  <a:cubicBezTo>
                    <a:pt x="793673" y="795145"/>
                    <a:pt x="778046" y="807177"/>
                    <a:pt x="775286" y="804470"/>
                  </a:cubicBezTo>
                  <a:cubicBezTo>
                    <a:pt x="772526" y="801763"/>
                    <a:pt x="789858" y="791602"/>
                    <a:pt x="793105" y="789730"/>
                  </a:cubicBezTo>
                  <a:cubicBezTo>
                    <a:pt x="811208" y="779335"/>
                    <a:pt x="775042" y="800092"/>
                    <a:pt x="793105" y="789797"/>
                  </a:cubicBezTo>
                  <a:close/>
                  <a:moveTo>
                    <a:pt x="712737" y="811857"/>
                  </a:moveTo>
                  <a:cubicBezTo>
                    <a:pt x="730394" y="807044"/>
                    <a:pt x="735549" y="794042"/>
                    <a:pt x="754382" y="790299"/>
                  </a:cubicBezTo>
                  <a:cubicBezTo>
                    <a:pt x="768329" y="787140"/>
                    <a:pt x="781500" y="782003"/>
                    <a:pt x="793308" y="775124"/>
                  </a:cubicBezTo>
                  <a:cubicBezTo>
                    <a:pt x="803415" y="769141"/>
                    <a:pt x="810315" y="759983"/>
                    <a:pt x="799275" y="758646"/>
                  </a:cubicBezTo>
                  <a:cubicBezTo>
                    <a:pt x="787544" y="757243"/>
                    <a:pt x="767574" y="765498"/>
                    <a:pt x="754626" y="771448"/>
                  </a:cubicBezTo>
                  <a:cubicBezTo>
                    <a:pt x="731652" y="781943"/>
                    <a:pt x="712128" y="797718"/>
                    <a:pt x="691509" y="810553"/>
                  </a:cubicBezTo>
                  <a:cubicBezTo>
                    <a:pt x="685136" y="814531"/>
                    <a:pt x="668981" y="823321"/>
                    <a:pt x="667520" y="828435"/>
                  </a:cubicBezTo>
                  <a:cubicBezTo>
                    <a:pt x="664922" y="837593"/>
                    <a:pt x="708394" y="813027"/>
                    <a:pt x="712818" y="811723"/>
                  </a:cubicBezTo>
                  <a:cubicBezTo>
                    <a:pt x="729217" y="807278"/>
                    <a:pt x="696298" y="816269"/>
                    <a:pt x="712737" y="811756"/>
                  </a:cubicBezTo>
                  <a:close/>
                  <a:moveTo>
                    <a:pt x="944545" y="676157"/>
                  </a:moveTo>
                  <a:cubicBezTo>
                    <a:pt x="964150" y="657807"/>
                    <a:pt x="1015618" y="658676"/>
                    <a:pt x="983024" y="674185"/>
                  </a:cubicBezTo>
                  <a:cubicBezTo>
                    <a:pt x="975109" y="677895"/>
                    <a:pt x="920679" y="700122"/>
                    <a:pt x="956600" y="694640"/>
                  </a:cubicBezTo>
                  <a:cubicBezTo>
                    <a:pt x="975840" y="691732"/>
                    <a:pt x="993984" y="676692"/>
                    <a:pt x="1010422" y="668369"/>
                  </a:cubicBezTo>
                  <a:cubicBezTo>
                    <a:pt x="1032905" y="656654"/>
                    <a:pt x="1058448" y="649505"/>
                    <a:pt x="1084945" y="647513"/>
                  </a:cubicBezTo>
                  <a:cubicBezTo>
                    <a:pt x="1103089" y="646477"/>
                    <a:pt x="1130243" y="643335"/>
                    <a:pt x="1144977" y="629397"/>
                  </a:cubicBezTo>
                  <a:cubicBezTo>
                    <a:pt x="1157845" y="617265"/>
                    <a:pt x="1149036" y="616028"/>
                    <a:pt x="1134221" y="616596"/>
                  </a:cubicBezTo>
                  <a:cubicBezTo>
                    <a:pt x="1121760" y="617164"/>
                    <a:pt x="1130162" y="608207"/>
                    <a:pt x="1118554" y="608608"/>
                  </a:cubicBezTo>
                  <a:cubicBezTo>
                    <a:pt x="1101668" y="609209"/>
                    <a:pt x="1083200" y="621008"/>
                    <a:pt x="1067816" y="621977"/>
                  </a:cubicBezTo>
                  <a:cubicBezTo>
                    <a:pt x="1059698" y="622546"/>
                    <a:pt x="1045289" y="617432"/>
                    <a:pt x="1035710" y="624417"/>
                  </a:cubicBezTo>
                  <a:cubicBezTo>
                    <a:pt x="1032341" y="626891"/>
                    <a:pt x="1023939" y="635648"/>
                    <a:pt x="1018378" y="636483"/>
                  </a:cubicBezTo>
                  <a:cubicBezTo>
                    <a:pt x="1012817" y="637319"/>
                    <a:pt x="1013913" y="631770"/>
                    <a:pt x="1008718" y="631536"/>
                  </a:cubicBezTo>
                  <a:cubicBezTo>
                    <a:pt x="987570" y="630534"/>
                    <a:pt x="942922" y="652861"/>
                    <a:pt x="922992" y="663590"/>
                  </a:cubicBezTo>
                  <a:cubicBezTo>
                    <a:pt x="886461" y="683076"/>
                    <a:pt x="929974" y="689727"/>
                    <a:pt x="944545" y="676123"/>
                  </a:cubicBezTo>
                  <a:cubicBezTo>
                    <a:pt x="959117" y="662520"/>
                    <a:pt x="930258" y="689526"/>
                    <a:pt x="944545" y="676157"/>
                  </a:cubicBezTo>
                  <a:close/>
                  <a:moveTo>
                    <a:pt x="991873" y="727261"/>
                  </a:moveTo>
                  <a:cubicBezTo>
                    <a:pt x="999301" y="715229"/>
                    <a:pt x="926158" y="720577"/>
                    <a:pt x="929852" y="732074"/>
                  </a:cubicBezTo>
                  <a:cubicBezTo>
                    <a:pt x="933546" y="743572"/>
                    <a:pt x="984080" y="739829"/>
                    <a:pt x="991873" y="727195"/>
                  </a:cubicBezTo>
                  <a:close/>
                  <a:moveTo>
                    <a:pt x="1129432" y="555097"/>
                  </a:moveTo>
                  <a:cubicBezTo>
                    <a:pt x="1134952" y="542463"/>
                    <a:pt x="1056735" y="567798"/>
                    <a:pt x="1079547" y="566996"/>
                  </a:cubicBezTo>
                  <a:cubicBezTo>
                    <a:pt x="1092657" y="566394"/>
                    <a:pt x="1123749" y="567564"/>
                    <a:pt x="1129432" y="555030"/>
                  </a:cubicBezTo>
                  <a:close/>
                  <a:moveTo>
                    <a:pt x="1058805" y="779770"/>
                  </a:moveTo>
                  <a:cubicBezTo>
                    <a:pt x="1065584" y="769743"/>
                    <a:pt x="1025928" y="773085"/>
                    <a:pt x="1023330" y="786187"/>
                  </a:cubicBezTo>
                  <a:cubicBezTo>
                    <a:pt x="1020732" y="799289"/>
                    <a:pt x="1052108" y="789797"/>
                    <a:pt x="1058805" y="779770"/>
                  </a:cubicBezTo>
                  <a:close/>
                  <a:moveTo>
                    <a:pt x="1195187" y="660615"/>
                  </a:moveTo>
                  <a:cubicBezTo>
                    <a:pt x="1199246" y="671645"/>
                    <a:pt x="1084499" y="683811"/>
                    <a:pt x="1125251" y="692367"/>
                  </a:cubicBezTo>
                  <a:cubicBezTo>
                    <a:pt x="1130284" y="693403"/>
                    <a:pt x="1171889" y="692902"/>
                    <a:pt x="1152121" y="698484"/>
                  </a:cubicBezTo>
                  <a:cubicBezTo>
                    <a:pt x="1139944" y="701826"/>
                    <a:pt x="1094890" y="704567"/>
                    <a:pt x="1088720" y="712722"/>
                  </a:cubicBezTo>
                  <a:cubicBezTo>
                    <a:pt x="1080156" y="723953"/>
                    <a:pt x="1108163" y="718939"/>
                    <a:pt x="1111410" y="723384"/>
                  </a:cubicBezTo>
                  <a:cubicBezTo>
                    <a:pt x="1119000" y="733813"/>
                    <a:pt x="1066761" y="728933"/>
                    <a:pt x="1063636" y="728431"/>
                  </a:cubicBezTo>
                  <a:cubicBezTo>
                    <a:pt x="1049876" y="726192"/>
                    <a:pt x="1019596" y="724588"/>
                    <a:pt x="1003319" y="739695"/>
                  </a:cubicBezTo>
                  <a:cubicBezTo>
                    <a:pt x="991142" y="750859"/>
                    <a:pt x="1020408" y="753934"/>
                    <a:pt x="1030190" y="754201"/>
                  </a:cubicBezTo>
                  <a:cubicBezTo>
                    <a:pt x="1054714" y="754137"/>
                    <a:pt x="1078995" y="750237"/>
                    <a:pt x="1101749" y="742703"/>
                  </a:cubicBezTo>
                  <a:cubicBezTo>
                    <a:pt x="1123993" y="734448"/>
                    <a:pt x="1142989" y="718271"/>
                    <a:pt x="1165394" y="711686"/>
                  </a:cubicBezTo>
                  <a:cubicBezTo>
                    <a:pt x="1179398" y="707542"/>
                    <a:pt x="1164217" y="726961"/>
                    <a:pt x="1165394" y="730637"/>
                  </a:cubicBezTo>
                  <a:cubicBezTo>
                    <a:pt x="1168763" y="743171"/>
                    <a:pt x="1212316" y="719206"/>
                    <a:pt x="1223153" y="713758"/>
                  </a:cubicBezTo>
                  <a:cubicBezTo>
                    <a:pt x="1231880" y="709346"/>
                    <a:pt x="1245518" y="704333"/>
                    <a:pt x="1252013" y="698584"/>
                  </a:cubicBezTo>
                  <a:cubicBezTo>
                    <a:pt x="1257290" y="693905"/>
                    <a:pt x="1254286" y="689894"/>
                    <a:pt x="1257371" y="685215"/>
                  </a:cubicBezTo>
                  <a:cubicBezTo>
                    <a:pt x="1266422" y="671845"/>
                    <a:pt x="1255300" y="681638"/>
                    <a:pt x="1248725" y="673984"/>
                  </a:cubicBezTo>
                  <a:cubicBezTo>
                    <a:pt x="1245884" y="670642"/>
                    <a:pt x="1249821" y="665361"/>
                    <a:pt x="1247101" y="661918"/>
                  </a:cubicBezTo>
                  <a:cubicBezTo>
                    <a:pt x="1243854" y="657774"/>
                    <a:pt x="1235817" y="656036"/>
                    <a:pt x="1227821" y="655234"/>
                  </a:cubicBezTo>
                  <a:cubicBezTo>
                    <a:pt x="1225224" y="654966"/>
                    <a:pt x="1193157" y="654498"/>
                    <a:pt x="1195350" y="660481"/>
                  </a:cubicBezTo>
                  <a:close/>
                  <a:moveTo>
                    <a:pt x="1233341" y="594670"/>
                  </a:moveTo>
                  <a:cubicBezTo>
                    <a:pt x="1253636" y="586281"/>
                    <a:pt x="1280101" y="574616"/>
                    <a:pt x="1294754" y="562283"/>
                  </a:cubicBezTo>
                  <a:cubicBezTo>
                    <a:pt x="1298001" y="559575"/>
                    <a:pt x="1282577" y="558940"/>
                    <a:pt x="1286636" y="552523"/>
                  </a:cubicBezTo>
                  <a:cubicBezTo>
                    <a:pt x="1297352" y="535811"/>
                    <a:pt x="1246046" y="562149"/>
                    <a:pt x="1241013" y="563285"/>
                  </a:cubicBezTo>
                  <a:cubicBezTo>
                    <a:pt x="1230703" y="565458"/>
                    <a:pt x="1168926" y="572009"/>
                    <a:pt x="1169494" y="582203"/>
                  </a:cubicBezTo>
                  <a:cubicBezTo>
                    <a:pt x="1170184" y="593534"/>
                    <a:pt x="1210287" y="604229"/>
                    <a:pt x="1233341" y="594670"/>
                  </a:cubicBezTo>
                  <a:close/>
                  <a:moveTo>
                    <a:pt x="1357140" y="548579"/>
                  </a:moveTo>
                  <a:cubicBezTo>
                    <a:pt x="1351579" y="545504"/>
                    <a:pt x="1241378" y="598013"/>
                    <a:pt x="1262810" y="596876"/>
                  </a:cubicBezTo>
                  <a:cubicBezTo>
                    <a:pt x="1298894" y="594637"/>
                    <a:pt x="1362498" y="551420"/>
                    <a:pt x="1357181" y="548579"/>
                  </a:cubicBezTo>
                  <a:close/>
                  <a:moveTo>
                    <a:pt x="1399232" y="654532"/>
                  </a:moveTo>
                  <a:cubicBezTo>
                    <a:pt x="1435194" y="639023"/>
                    <a:pt x="1380155" y="634478"/>
                    <a:pt x="1367572" y="635246"/>
                  </a:cubicBezTo>
                  <a:cubicBezTo>
                    <a:pt x="1343705" y="636450"/>
                    <a:pt x="1316469" y="655301"/>
                    <a:pt x="1302101" y="668068"/>
                  </a:cubicBezTo>
                  <a:cubicBezTo>
                    <a:pt x="1285865" y="682374"/>
                    <a:pt x="1286555" y="687020"/>
                    <a:pt x="1311923" y="681204"/>
                  </a:cubicBezTo>
                  <a:cubicBezTo>
                    <a:pt x="1339930" y="674853"/>
                    <a:pt x="1372280" y="666197"/>
                    <a:pt x="1399232" y="654465"/>
                  </a:cubicBezTo>
                  <a:close/>
                  <a:moveTo>
                    <a:pt x="1269345" y="826663"/>
                  </a:moveTo>
                  <a:cubicBezTo>
                    <a:pt x="1295322" y="824324"/>
                    <a:pt x="1291831" y="815366"/>
                    <a:pt x="1305875" y="803969"/>
                  </a:cubicBezTo>
                  <a:cubicBezTo>
                    <a:pt x="1314765" y="796816"/>
                    <a:pt x="1328524" y="793942"/>
                    <a:pt x="1336967" y="786555"/>
                  </a:cubicBezTo>
                  <a:cubicBezTo>
                    <a:pt x="1343234" y="781134"/>
                    <a:pt x="1346826" y="773984"/>
                    <a:pt x="1347033" y="766501"/>
                  </a:cubicBezTo>
                  <a:cubicBezTo>
                    <a:pt x="1347439" y="759816"/>
                    <a:pt x="1349956" y="734982"/>
                    <a:pt x="1337373" y="734648"/>
                  </a:cubicBezTo>
                  <a:cubicBezTo>
                    <a:pt x="1306565" y="733879"/>
                    <a:pt x="1331122" y="754702"/>
                    <a:pt x="1328078" y="756039"/>
                  </a:cubicBezTo>
                  <a:cubicBezTo>
                    <a:pt x="1324019" y="757944"/>
                    <a:pt x="1319229" y="751494"/>
                    <a:pt x="1313790" y="752329"/>
                  </a:cubicBezTo>
                  <a:cubicBezTo>
                    <a:pt x="1306647" y="753432"/>
                    <a:pt x="1298894" y="757811"/>
                    <a:pt x="1292115" y="760451"/>
                  </a:cubicBezTo>
                  <a:cubicBezTo>
                    <a:pt x="1276123" y="766735"/>
                    <a:pt x="1267518" y="763225"/>
                    <a:pt x="1280344" y="753766"/>
                  </a:cubicBezTo>
                  <a:cubicBezTo>
                    <a:pt x="1289883" y="746681"/>
                    <a:pt x="1310827" y="734682"/>
                    <a:pt x="1308514" y="727027"/>
                  </a:cubicBezTo>
                  <a:cubicBezTo>
                    <a:pt x="1306444" y="720176"/>
                    <a:pt x="1283673" y="730838"/>
                    <a:pt x="1276651" y="728498"/>
                  </a:cubicBezTo>
                  <a:cubicBezTo>
                    <a:pt x="1271009" y="726626"/>
                    <a:pt x="1280710" y="719775"/>
                    <a:pt x="1265529" y="726225"/>
                  </a:cubicBezTo>
                  <a:cubicBezTo>
                    <a:pt x="1254631" y="730825"/>
                    <a:pt x="1244487" y="736543"/>
                    <a:pt x="1235330" y="743238"/>
                  </a:cubicBezTo>
                  <a:cubicBezTo>
                    <a:pt x="1222788" y="752764"/>
                    <a:pt x="1244828" y="744408"/>
                    <a:pt x="1248035" y="747383"/>
                  </a:cubicBezTo>
                  <a:cubicBezTo>
                    <a:pt x="1253149" y="752062"/>
                    <a:pt x="1204685" y="761989"/>
                    <a:pt x="1197460" y="765398"/>
                  </a:cubicBezTo>
                  <a:cubicBezTo>
                    <a:pt x="1175014" y="775893"/>
                    <a:pt x="1143922" y="807812"/>
                    <a:pt x="1187597" y="790365"/>
                  </a:cubicBezTo>
                  <a:cubicBezTo>
                    <a:pt x="1193726" y="787925"/>
                    <a:pt x="1212965" y="777765"/>
                    <a:pt x="1217593" y="780773"/>
                  </a:cubicBezTo>
                  <a:cubicBezTo>
                    <a:pt x="1224858" y="785586"/>
                    <a:pt x="1208663" y="806074"/>
                    <a:pt x="1194051" y="810085"/>
                  </a:cubicBezTo>
                  <a:cubicBezTo>
                    <a:pt x="1179438" y="814096"/>
                    <a:pt x="1167830" y="810586"/>
                    <a:pt x="1153055" y="816202"/>
                  </a:cubicBezTo>
                  <a:cubicBezTo>
                    <a:pt x="1133572" y="823655"/>
                    <a:pt x="1134140" y="833716"/>
                    <a:pt x="1148428" y="835019"/>
                  </a:cubicBezTo>
                  <a:cubicBezTo>
                    <a:pt x="1167911" y="836791"/>
                    <a:pt x="1191047" y="826764"/>
                    <a:pt x="1212072" y="824992"/>
                  </a:cubicBezTo>
                  <a:cubicBezTo>
                    <a:pt x="1233098" y="823221"/>
                    <a:pt x="1247913" y="828669"/>
                    <a:pt x="1269263" y="826697"/>
                  </a:cubicBezTo>
                  <a:cubicBezTo>
                    <a:pt x="1307661" y="823221"/>
                    <a:pt x="1231393" y="830173"/>
                    <a:pt x="1269507" y="826563"/>
                  </a:cubicBezTo>
                  <a:close/>
                  <a:moveTo>
                    <a:pt x="1443150" y="620273"/>
                  </a:moveTo>
                  <a:cubicBezTo>
                    <a:pt x="1451268" y="624551"/>
                    <a:pt x="1458087" y="624183"/>
                    <a:pt x="1471319" y="618635"/>
                  </a:cubicBezTo>
                  <a:cubicBezTo>
                    <a:pt x="1485566" y="612686"/>
                    <a:pt x="1500219" y="614223"/>
                    <a:pt x="1514831" y="610613"/>
                  </a:cubicBezTo>
                  <a:cubicBezTo>
                    <a:pt x="1536709" y="605232"/>
                    <a:pt x="1542798" y="597678"/>
                    <a:pt x="1554406" y="586481"/>
                  </a:cubicBezTo>
                  <a:cubicBezTo>
                    <a:pt x="1562037" y="579162"/>
                    <a:pt x="1567639" y="584710"/>
                    <a:pt x="1576203" y="584008"/>
                  </a:cubicBezTo>
                  <a:cubicBezTo>
                    <a:pt x="1599299" y="582069"/>
                    <a:pt x="1629376" y="569836"/>
                    <a:pt x="1651984" y="561982"/>
                  </a:cubicBezTo>
                  <a:cubicBezTo>
                    <a:pt x="1678855" y="552590"/>
                    <a:pt x="1719404" y="541426"/>
                    <a:pt x="1737223" y="524481"/>
                  </a:cubicBezTo>
                  <a:cubicBezTo>
                    <a:pt x="1747289" y="514855"/>
                    <a:pt x="1749806" y="517161"/>
                    <a:pt x="1767097" y="513718"/>
                  </a:cubicBezTo>
                  <a:cubicBezTo>
                    <a:pt x="1791451" y="508838"/>
                    <a:pt x="1840848" y="495469"/>
                    <a:pt x="1857003" y="480863"/>
                  </a:cubicBezTo>
                  <a:cubicBezTo>
                    <a:pt x="1864390" y="474178"/>
                    <a:pt x="1877298" y="449679"/>
                    <a:pt x="1858464" y="451383"/>
                  </a:cubicBezTo>
                  <a:cubicBezTo>
                    <a:pt x="1838169" y="453255"/>
                    <a:pt x="1814100" y="460876"/>
                    <a:pt x="1793886" y="466758"/>
                  </a:cubicBezTo>
                  <a:cubicBezTo>
                    <a:pt x="1767259" y="474479"/>
                    <a:pt x="1740713" y="483069"/>
                    <a:pt x="1714817" y="492661"/>
                  </a:cubicBezTo>
                  <a:cubicBezTo>
                    <a:pt x="1691681" y="501251"/>
                    <a:pt x="1676582" y="511111"/>
                    <a:pt x="1655800" y="520804"/>
                  </a:cubicBezTo>
                  <a:cubicBezTo>
                    <a:pt x="1626940" y="534174"/>
                    <a:pt x="1596295" y="538218"/>
                    <a:pt x="1569019" y="553893"/>
                  </a:cubicBezTo>
                  <a:cubicBezTo>
                    <a:pt x="1561185" y="558406"/>
                    <a:pt x="1554934" y="557236"/>
                    <a:pt x="1547709" y="557236"/>
                  </a:cubicBezTo>
                  <a:cubicBezTo>
                    <a:pt x="1530783" y="557236"/>
                    <a:pt x="1516090" y="565959"/>
                    <a:pt x="1499326" y="568633"/>
                  </a:cubicBezTo>
                  <a:cubicBezTo>
                    <a:pt x="1482563" y="571307"/>
                    <a:pt x="1521569" y="545738"/>
                    <a:pt x="1515034" y="544401"/>
                  </a:cubicBezTo>
                  <a:cubicBezTo>
                    <a:pt x="1498555" y="541059"/>
                    <a:pt x="1455043" y="554695"/>
                    <a:pt x="1435803" y="561514"/>
                  </a:cubicBezTo>
                  <a:cubicBezTo>
                    <a:pt x="1420054" y="567029"/>
                    <a:pt x="1406944" y="575151"/>
                    <a:pt x="1390465" y="579262"/>
                  </a:cubicBezTo>
                  <a:cubicBezTo>
                    <a:pt x="1371956" y="583908"/>
                    <a:pt x="1354542" y="584409"/>
                    <a:pt x="1336155" y="588687"/>
                  </a:cubicBezTo>
                  <a:cubicBezTo>
                    <a:pt x="1312776" y="594102"/>
                    <a:pt x="1277584" y="606769"/>
                    <a:pt x="1259928" y="620273"/>
                  </a:cubicBezTo>
                  <a:cubicBezTo>
                    <a:pt x="1236548" y="638021"/>
                    <a:pt x="1349428" y="610947"/>
                    <a:pt x="1364041" y="605098"/>
                  </a:cubicBezTo>
                  <a:cubicBezTo>
                    <a:pt x="1371103" y="602190"/>
                    <a:pt x="1373985" y="596442"/>
                    <a:pt x="1379708" y="594503"/>
                  </a:cubicBezTo>
                  <a:cubicBezTo>
                    <a:pt x="1391885" y="590425"/>
                    <a:pt x="1407106" y="593968"/>
                    <a:pt x="1415955" y="595205"/>
                  </a:cubicBezTo>
                  <a:cubicBezTo>
                    <a:pt x="1424803" y="596442"/>
                    <a:pt x="1436250" y="596408"/>
                    <a:pt x="1435722" y="603227"/>
                  </a:cubicBezTo>
                  <a:cubicBezTo>
                    <a:pt x="1435194" y="610045"/>
                    <a:pt x="1435316" y="615961"/>
                    <a:pt x="1443312" y="620139"/>
                  </a:cubicBezTo>
                  <a:close/>
                  <a:moveTo>
                    <a:pt x="1473430" y="509774"/>
                  </a:moveTo>
                  <a:cubicBezTo>
                    <a:pt x="1442663" y="514052"/>
                    <a:pt x="1416036" y="540390"/>
                    <a:pt x="1446843" y="534240"/>
                  </a:cubicBezTo>
                  <a:cubicBezTo>
                    <a:pt x="1473430" y="529093"/>
                    <a:pt x="1504359" y="505697"/>
                    <a:pt x="1473592" y="509774"/>
                  </a:cubicBezTo>
                  <a:close/>
                  <a:moveTo>
                    <a:pt x="1210530" y="520236"/>
                  </a:moveTo>
                  <a:cubicBezTo>
                    <a:pt x="1227172" y="517495"/>
                    <a:pt x="1229891" y="524848"/>
                    <a:pt x="1244098" y="524113"/>
                  </a:cubicBezTo>
                  <a:cubicBezTo>
                    <a:pt x="1257005" y="523411"/>
                    <a:pt x="1270197" y="517963"/>
                    <a:pt x="1282739" y="512381"/>
                  </a:cubicBezTo>
                  <a:cubicBezTo>
                    <a:pt x="1294023" y="507301"/>
                    <a:pt x="1344841" y="479158"/>
                    <a:pt x="1354705" y="484005"/>
                  </a:cubicBezTo>
                  <a:cubicBezTo>
                    <a:pt x="1373214" y="492962"/>
                    <a:pt x="1246655" y="529193"/>
                    <a:pt x="1330351" y="518230"/>
                  </a:cubicBezTo>
                  <a:cubicBezTo>
                    <a:pt x="1337535" y="517294"/>
                    <a:pt x="1356004" y="513585"/>
                    <a:pt x="1359616" y="516827"/>
                  </a:cubicBezTo>
                  <a:cubicBezTo>
                    <a:pt x="1362295" y="519233"/>
                    <a:pt x="1361849" y="519902"/>
                    <a:pt x="1369966" y="518832"/>
                  </a:cubicBezTo>
                  <a:cubicBezTo>
                    <a:pt x="1390546" y="516158"/>
                    <a:pt x="1419283" y="510075"/>
                    <a:pt x="1439578" y="501118"/>
                  </a:cubicBezTo>
                  <a:cubicBezTo>
                    <a:pt x="1450010" y="496539"/>
                    <a:pt x="1450781" y="490489"/>
                    <a:pt x="1463607" y="485709"/>
                  </a:cubicBezTo>
                  <a:cubicBezTo>
                    <a:pt x="1474566" y="481632"/>
                    <a:pt x="1497459" y="479927"/>
                    <a:pt x="1504197" y="472607"/>
                  </a:cubicBezTo>
                  <a:cubicBezTo>
                    <a:pt x="1509392" y="466858"/>
                    <a:pt x="1508986" y="460976"/>
                    <a:pt x="1510610" y="455595"/>
                  </a:cubicBezTo>
                  <a:cubicBezTo>
                    <a:pt x="1513451" y="446136"/>
                    <a:pt x="1519256" y="450915"/>
                    <a:pt x="1527414" y="445033"/>
                  </a:cubicBezTo>
                  <a:cubicBezTo>
                    <a:pt x="1535573" y="439150"/>
                    <a:pt x="1534355" y="431663"/>
                    <a:pt x="1541905" y="425246"/>
                  </a:cubicBezTo>
                  <a:cubicBezTo>
                    <a:pt x="1552702" y="416121"/>
                    <a:pt x="1571535" y="408701"/>
                    <a:pt x="1585985" y="401448"/>
                  </a:cubicBezTo>
                  <a:cubicBezTo>
                    <a:pt x="1592804" y="398106"/>
                    <a:pt x="1606524" y="391187"/>
                    <a:pt x="1599096" y="388079"/>
                  </a:cubicBezTo>
                  <a:cubicBezTo>
                    <a:pt x="1588705" y="383901"/>
                    <a:pt x="1565853" y="395532"/>
                    <a:pt x="1553919" y="399878"/>
                  </a:cubicBezTo>
                  <a:cubicBezTo>
                    <a:pt x="1544787" y="403220"/>
                    <a:pt x="1520839" y="410372"/>
                    <a:pt x="1522381" y="401849"/>
                  </a:cubicBezTo>
                  <a:cubicBezTo>
                    <a:pt x="1523518" y="395466"/>
                    <a:pt x="1527414" y="392558"/>
                    <a:pt x="1513411" y="393527"/>
                  </a:cubicBezTo>
                  <a:cubicBezTo>
                    <a:pt x="1507160" y="393995"/>
                    <a:pt x="1493847" y="395833"/>
                    <a:pt x="1500868" y="389449"/>
                  </a:cubicBezTo>
                  <a:cubicBezTo>
                    <a:pt x="1508986" y="382029"/>
                    <a:pt x="1491127" y="385104"/>
                    <a:pt x="1484389" y="387277"/>
                  </a:cubicBezTo>
                  <a:cubicBezTo>
                    <a:pt x="1470589" y="391689"/>
                    <a:pt x="1476271" y="393327"/>
                    <a:pt x="1476271" y="398039"/>
                  </a:cubicBezTo>
                  <a:cubicBezTo>
                    <a:pt x="1476271" y="403955"/>
                    <a:pt x="1451268" y="403989"/>
                    <a:pt x="1447858" y="403688"/>
                  </a:cubicBezTo>
                  <a:cubicBezTo>
                    <a:pt x="1438685" y="402886"/>
                    <a:pt x="1436615" y="399476"/>
                    <a:pt x="1425250" y="400914"/>
                  </a:cubicBezTo>
                  <a:cubicBezTo>
                    <a:pt x="1409014" y="402986"/>
                    <a:pt x="1392129" y="407064"/>
                    <a:pt x="1375771" y="410038"/>
                  </a:cubicBezTo>
                  <a:cubicBezTo>
                    <a:pt x="1340174" y="416723"/>
                    <a:pt x="1302709" y="412512"/>
                    <a:pt x="1267153" y="424878"/>
                  </a:cubicBezTo>
                  <a:cubicBezTo>
                    <a:pt x="1261998" y="426683"/>
                    <a:pt x="1242799" y="434036"/>
                    <a:pt x="1243814" y="438248"/>
                  </a:cubicBezTo>
                  <a:cubicBezTo>
                    <a:pt x="1244828" y="442459"/>
                    <a:pt x="1275149" y="428455"/>
                    <a:pt x="1273241" y="435373"/>
                  </a:cubicBezTo>
                  <a:cubicBezTo>
                    <a:pt x="1272145" y="439083"/>
                    <a:pt x="1195471" y="468062"/>
                    <a:pt x="1240079" y="458469"/>
                  </a:cubicBezTo>
                  <a:cubicBezTo>
                    <a:pt x="1282415" y="449411"/>
                    <a:pt x="1203548" y="481197"/>
                    <a:pt x="1200504" y="488818"/>
                  </a:cubicBezTo>
                  <a:cubicBezTo>
                    <a:pt x="1193076" y="506599"/>
                    <a:pt x="1257330" y="483670"/>
                    <a:pt x="1248968" y="492394"/>
                  </a:cubicBezTo>
                  <a:cubicBezTo>
                    <a:pt x="1239876" y="501719"/>
                    <a:pt x="1221773" y="505396"/>
                    <a:pt x="1208379" y="510142"/>
                  </a:cubicBezTo>
                  <a:cubicBezTo>
                    <a:pt x="1186217" y="517896"/>
                    <a:pt x="1193320" y="523211"/>
                    <a:pt x="1211058" y="520169"/>
                  </a:cubicBezTo>
                  <a:cubicBezTo>
                    <a:pt x="1236102" y="516025"/>
                    <a:pt x="1183173" y="524848"/>
                    <a:pt x="1210692" y="520236"/>
                  </a:cubicBezTo>
                  <a:close/>
                  <a:moveTo>
                    <a:pt x="1356166" y="378687"/>
                  </a:moveTo>
                  <a:cubicBezTo>
                    <a:pt x="1370981" y="366788"/>
                    <a:pt x="1391723" y="360170"/>
                    <a:pt x="1371915" y="377116"/>
                  </a:cubicBezTo>
                  <a:cubicBezTo>
                    <a:pt x="1357709" y="389316"/>
                    <a:pt x="1400734" y="370866"/>
                    <a:pt x="1403900" y="370431"/>
                  </a:cubicBezTo>
                  <a:cubicBezTo>
                    <a:pt x="1401667" y="370732"/>
                    <a:pt x="1373335" y="396635"/>
                    <a:pt x="1405442" y="387711"/>
                  </a:cubicBezTo>
                  <a:cubicBezTo>
                    <a:pt x="1418471" y="384135"/>
                    <a:pt x="1420663" y="384068"/>
                    <a:pt x="1429268" y="386174"/>
                  </a:cubicBezTo>
                  <a:cubicBezTo>
                    <a:pt x="1437873" y="388280"/>
                    <a:pt x="1455205" y="381996"/>
                    <a:pt x="1464825" y="378821"/>
                  </a:cubicBezTo>
                  <a:cubicBezTo>
                    <a:pt x="1471644" y="376514"/>
                    <a:pt x="1533462" y="347202"/>
                    <a:pt x="1527779" y="346266"/>
                  </a:cubicBezTo>
                  <a:cubicBezTo>
                    <a:pt x="1534558" y="347403"/>
                    <a:pt x="1527090" y="356293"/>
                    <a:pt x="1532245" y="357797"/>
                  </a:cubicBezTo>
                  <a:cubicBezTo>
                    <a:pt x="1537399" y="359301"/>
                    <a:pt x="1553270" y="354622"/>
                    <a:pt x="1560089" y="352784"/>
                  </a:cubicBezTo>
                  <a:cubicBezTo>
                    <a:pt x="1581277" y="347102"/>
                    <a:pt x="1609284" y="339414"/>
                    <a:pt x="1627671" y="329020"/>
                  </a:cubicBezTo>
                  <a:cubicBezTo>
                    <a:pt x="1636154" y="324207"/>
                    <a:pt x="1631730" y="319594"/>
                    <a:pt x="1643907" y="315650"/>
                  </a:cubicBezTo>
                  <a:cubicBezTo>
                    <a:pt x="1657748" y="310937"/>
                    <a:pt x="1670858" y="309667"/>
                    <a:pt x="1684497" y="304152"/>
                  </a:cubicBezTo>
                  <a:cubicBezTo>
                    <a:pt x="1709106" y="294329"/>
                    <a:pt x="1732689" y="282848"/>
                    <a:pt x="1755001" y="269826"/>
                  </a:cubicBezTo>
                  <a:cubicBezTo>
                    <a:pt x="1765798" y="263442"/>
                    <a:pt x="1778502" y="243422"/>
                    <a:pt x="1787473" y="252413"/>
                  </a:cubicBezTo>
                  <a:cubicBezTo>
                    <a:pt x="1800705" y="265481"/>
                    <a:pt x="1740713" y="289178"/>
                    <a:pt x="1720378" y="297534"/>
                  </a:cubicBezTo>
                  <a:cubicBezTo>
                    <a:pt x="1707268" y="302815"/>
                    <a:pt x="1639198" y="327148"/>
                    <a:pt x="1676257" y="326646"/>
                  </a:cubicBezTo>
                  <a:cubicBezTo>
                    <a:pt x="1682467" y="326479"/>
                    <a:pt x="1747086" y="322669"/>
                    <a:pt x="1726142" y="329488"/>
                  </a:cubicBezTo>
                  <a:cubicBezTo>
                    <a:pt x="1692858" y="340317"/>
                    <a:pt x="1670128" y="334568"/>
                    <a:pt x="1640213" y="338345"/>
                  </a:cubicBezTo>
                  <a:cubicBezTo>
                    <a:pt x="1609162" y="342289"/>
                    <a:pt x="1575270" y="354421"/>
                    <a:pt x="1545558" y="366253"/>
                  </a:cubicBezTo>
                  <a:cubicBezTo>
                    <a:pt x="1520555" y="376281"/>
                    <a:pt x="1533381" y="393159"/>
                    <a:pt x="1552052" y="392290"/>
                  </a:cubicBezTo>
                  <a:cubicBezTo>
                    <a:pt x="1562321" y="391822"/>
                    <a:pt x="1576406" y="385071"/>
                    <a:pt x="1587649" y="383266"/>
                  </a:cubicBezTo>
                  <a:cubicBezTo>
                    <a:pt x="1603532" y="380796"/>
                    <a:pt x="1619914" y="381635"/>
                    <a:pt x="1635302" y="385706"/>
                  </a:cubicBezTo>
                  <a:cubicBezTo>
                    <a:pt x="1646667" y="388614"/>
                    <a:pt x="1661685" y="387444"/>
                    <a:pt x="1677109" y="384570"/>
                  </a:cubicBezTo>
                  <a:cubicBezTo>
                    <a:pt x="1685755" y="382932"/>
                    <a:pt x="1705116" y="376882"/>
                    <a:pt x="1711489" y="379289"/>
                  </a:cubicBezTo>
                  <a:cubicBezTo>
                    <a:pt x="1723057" y="383567"/>
                    <a:pt x="1658276" y="396000"/>
                    <a:pt x="1653811" y="396869"/>
                  </a:cubicBezTo>
                  <a:cubicBezTo>
                    <a:pt x="1620487" y="403554"/>
                    <a:pt x="1591790" y="410974"/>
                    <a:pt x="1563458" y="428054"/>
                  </a:cubicBezTo>
                  <a:cubicBezTo>
                    <a:pt x="1551687" y="435106"/>
                    <a:pt x="1515034" y="464820"/>
                    <a:pt x="1549049" y="459071"/>
                  </a:cubicBezTo>
                  <a:cubicBezTo>
                    <a:pt x="1563011" y="456798"/>
                    <a:pt x="1578273" y="449812"/>
                    <a:pt x="1590328" y="443662"/>
                  </a:cubicBezTo>
                  <a:cubicBezTo>
                    <a:pt x="1602383" y="437512"/>
                    <a:pt x="1620446" y="421035"/>
                    <a:pt x="1632745" y="417458"/>
                  </a:cubicBezTo>
                  <a:cubicBezTo>
                    <a:pt x="1633435" y="417224"/>
                    <a:pt x="1609162" y="443362"/>
                    <a:pt x="1618741" y="444197"/>
                  </a:cubicBezTo>
                  <a:cubicBezTo>
                    <a:pt x="1626859" y="444999"/>
                    <a:pt x="1679626" y="437011"/>
                    <a:pt x="1665176" y="449946"/>
                  </a:cubicBezTo>
                  <a:cubicBezTo>
                    <a:pt x="1646424" y="466658"/>
                    <a:pt x="1623693" y="458369"/>
                    <a:pt x="1610420" y="455962"/>
                  </a:cubicBezTo>
                  <a:cubicBezTo>
                    <a:pt x="1594185" y="452921"/>
                    <a:pt x="1531067" y="468162"/>
                    <a:pt x="1530499" y="483370"/>
                  </a:cubicBezTo>
                  <a:cubicBezTo>
                    <a:pt x="1530012" y="495569"/>
                    <a:pt x="1585214" y="474412"/>
                    <a:pt x="1578152" y="485141"/>
                  </a:cubicBezTo>
                  <a:cubicBezTo>
                    <a:pt x="1573727" y="491826"/>
                    <a:pt x="1552702" y="497875"/>
                    <a:pt x="1543001" y="502455"/>
                  </a:cubicBezTo>
                  <a:cubicBezTo>
                    <a:pt x="1528210" y="508955"/>
                    <a:pt x="1514348" y="516803"/>
                    <a:pt x="1501680" y="525851"/>
                  </a:cubicBezTo>
                  <a:cubicBezTo>
                    <a:pt x="1478828" y="543432"/>
                    <a:pt x="1518403" y="534274"/>
                    <a:pt x="1533178" y="529193"/>
                  </a:cubicBezTo>
                  <a:cubicBezTo>
                    <a:pt x="1556639" y="521005"/>
                    <a:pt x="1587812" y="503992"/>
                    <a:pt x="1611963" y="500616"/>
                  </a:cubicBezTo>
                  <a:cubicBezTo>
                    <a:pt x="1641309" y="496472"/>
                    <a:pt x="1658681" y="493430"/>
                    <a:pt x="1679098" y="476585"/>
                  </a:cubicBezTo>
                  <a:cubicBezTo>
                    <a:pt x="1689164" y="468296"/>
                    <a:pt x="1710271" y="462680"/>
                    <a:pt x="1724153" y="458135"/>
                  </a:cubicBezTo>
                  <a:cubicBezTo>
                    <a:pt x="1742905" y="451951"/>
                    <a:pt x="1764053" y="442860"/>
                    <a:pt x="1783251" y="441022"/>
                  </a:cubicBezTo>
                  <a:cubicBezTo>
                    <a:pt x="1797945" y="439618"/>
                    <a:pt x="1807605" y="442392"/>
                    <a:pt x="1823841" y="436577"/>
                  </a:cubicBezTo>
                  <a:cubicBezTo>
                    <a:pt x="1842431" y="429892"/>
                    <a:pt x="1851239" y="420868"/>
                    <a:pt x="1864674" y="411810"/>
                  </a:cubicBezTo>
                  <a:cubicBezTo>
                    <a:pt x="1875553" y="404490"/>
                    <a:pt x="1892519" y="402652"/>
                    <a:pt x="1903072" y="395332"/>
                  </a:cubicBezTo>
                  <a:cubicBezTo>
                    <a:pt x="1913626" y="388012"/>
                    <a:pt x="1902261" y="379021"/>
                    <a:pt x="1888582" y="382698"/>
                  </a:cubicBezTo>
                  <a:cubicBezTo>
                    <a:pt x="1877663" y="385639"/>
                    <a:pt x="1871534" y="392457"/>
                    <a:pt x="1861630" y="396067"/>
                  </a:cubicBezTo>
                  <a:cubicBezTo>
                    <a:pt x="1857206" y="397705"/>
                    <a:pt x="1847749" y="393761"/>
                    <a:pt x="1841132" y="394697"/>
                  </a:cubicBezTo>
                  <a:cubicBezTo>
                    <a:pt x="1825830" y="396836"/>
                    <a:pt x="1757802" y="426817"/>
                    <a:pt x="1753905" y="419865"/>
                  </a:cubicBezTo>
                  <a:cubicBezTo>
                    <a:pt x="1747817" y="408969"/>
                    <a:pt x="1807768" y="397070"/>
                    <a:pt x="1818078" y="393527"/>
                  </a:cubicBezTo>
                  <a:cubicBezTo>
                    <a:pt x="1836708" y="386842"/>
                    <a:pt x="1861062" y="378018"/>
                    <a:pt x="1876040" y="368292"/>
                  </a:cubicBezTo>
                  <a:cubicBezTo>
                    <a:pt x="1889028" y="359869"/>
                    <a:pt x="1869018" y="359903"/>
                    <a:pt x="1866664" y="355157"/>
                  </a:cubicBezTo>
                  <a:cubicBezTo>
                    <a:pt x="1863497" y="348706"/>
                    <a:pt x="1932094" y="331760"/>
                    <a:pt x="1941755" y="326780"/>
                  </a:cubicBezTo>
                  <a:cubicBezTo>
                    <a:pt x="1965094" y="314413"/>
                    <a:pt x="1989366" y="290014"/>
                    <a:pt x="1985023" y="276645"/>
                  </a:cubicBezTo>
                  <a:cubicBezTo>
                    <a:pt x="1981330" y="265348"/>
                    <a:pt x="1934530" y="281859"/>
                    <a:pt x="1920526" y="286505"/>
                  </a:cubicBezTo>
                  <a:cubicBezTo>
                    <a:pt x="1905102" y="291552"/>
                    <a:pt x="1853999" y="308898"/>
                    <a:pt x="1893737" y="289112"/>
                  </a:cubicBezTo>
                  <a:cubicBezTo>
                    <a:pt x="1911868" y="280244"/>
                    <a:pt x="1930881" y="272651"/>
                    <a:pt x="1950563" y="266417"/>
                  </a:cubicBezTo>
                  <a:cubicBezTo>
                    <a:pt x="1964688" y="261838"/>
                    <a:pt x="1984455" y="257593"/>
                    <a:pt x="1995739" y="249939"/>
                  </a:cubicBezTo>
                  <a:cubicBezTo>
                    <a:pt x="2007023" y="242285"/>
                    <a:pt x="1987174" y="235935"/>
                    <a:pt x="2008444" y="229885"/>
                  </a:cubicBezTo>
                  <a:cubicBezTo>
                    <a:pt x="2029713" y="223836"/>
                    <a:pt x="2085564" y="218588"/>
                    <a:pt x="2084184" y="200907"/>
                  </a:cubicBezTo>
                  <a:cubicBezTo>
                    <a:pt x="2083575" y="192685"/>
                    <a:pt x="2109228" y="183961"/>
                    <a:pt x="2121811" y="176341"/>
                  </a:cubicBezTo>
                  <a:cubicBezTo>
                    <a:pt x="2152253" y="157857"/>
                    <a:pt x="2180382" y="138238"/>
                    <a:pt x="2212894" y="120757"/>
                  </a:cubicBezTo>
                  <a:cubicBezTo>
                    <a:pt x="2238060" y="107187"/>
                    <a:pt x="2279055" y="94988"/>
                    <a:pt x="2299919" y="80147"/>
                  </a:cubicBezTo>
                  <a:cubicBezTo>
                    <a:pt x="2317859" y="67380"/>
                    <a:pt x="2279624" y="76805"/>
                    <a:pt x="2271506" y="79145"/>
                  </a:cubicBezTo>
                  <a:cubicBezTo>
                    <a:pt x="2247801" y="86097"/>
                    <a:pt x="2222433" y="97060"/>
                    <a:pt x="2198120" y="101906"/>
                  </a:cubicBezTo>
                  <a:cubicBezTo>
                    <a:pt x="2182614" y="104948"/>
                    <a:pt x="2224543" y="86732"/>
                    <a:pt x="2228115" y="85362"/>
                  </a:cubicBezTo>
                  <a:cubicBezTo>
                    <a:pt x="2249953" y="76872"/>
                    <a:pt x="2269842" y="72594"/>
                    <a:pt x="2292004" y="66110"/>
                  </a:cubicBezTo>
                  <a:cubicBezTo>
                    <a:pt x="2321066" y="57620"/>
                    <a:pt x="2347733" y="42713"/>
                    <a:pt x="2371438" y="30346"/>
                  </a:cubicBezTo>
                  <a:cubicBezTo>
                    <a:pt x="2375010" y="28374"/>
                    <a:pt x="2438654" y="-5216"/>
                    <a:pt x="2407238" y="265"/>
                  </a:cubicBezTo>
                  <a:cubicBezTo>
                    <a:pt x="2382437" y="4610"/>
                    <a:pt x="2352604" y="20787"/>
                    <a:pt x="2329833" y="15406"/>
                  </a:cubicBezTo>
                  <a:cubicBezTo>
                    <a:pt x="2321269" y="13401"/>
                    <a:pt x="2326586" y="7117"/>
                    <a:pt x="2311527" y="10860"/>
                  </a:cubicBezTo>
                  <a:cubicBezTo>
                    <a:pt x="2306778" y="11997"/>
                    <a:pt x="2283114" y="20887"/>
                    <a:pt x="2280557" y="18147"/>
                  </a:cubicBezTo>
                  <a:cubicBezTo>
                    <a:pt x="2273779" y="10359"/>
                    <a:pt x="2199905" y="46657"/>
                    <a:pt x="2192193" y="50200"/>
                  </a:cubicBezTo>
                  <a:cubicBezTo>
                    <a:pt x="2164105" y="62634"/>
                    <a:pt x="2211149" y="29812"/>
                    <a:pt x="2212245" y="31182"/>
                  </a:cubicBezTo>
                  <a:cubicBezTo>
                    <a:pt x="2210743" y="29243"/>
                    <a:pt x="2110770" y="57486"/>
                    <a:pt x="2100663" y="59826"/>
                  </a:cubicBezTo>
                  <a:cubicBezTo>
                    <a:pt x="2076878" y="64973"/>
                    <a:pt x="2067583" y="64037"/>
                    <a:pt x="2046233" y="76103"/>
                  </a:cubicBezTo>
                  <a:cubicBezTo>
                    <a:pt x="2024882" y="88169"/>
                    <a:pt x="2003857" y="82186"/>
                    <a:pt x="1978488" y="92548"/>
                  </a:cubicBezTo>
                  <a:cubicBezTo>
                    <a:pt x="1970655" y="95723"/>
                    <a:pt x="1959979" y="100670"/>
                    <a:pt x="1956813" y="105516"/>
                  </a:cubicBezTo>
                  <a:cubicBezTo>
                    <a:pt x="1953647" y="110362"/>
                    <a:pt x="1968016" y="113371"/>
                    <a:pt x="1949142" y="115877"/>
                  </a:cubicBezTo>
                  <a:cubicBezTo>
                    <a:pt x="1933596" y="117916"/>
                    <a:pt x="1923733" y="115242"/>
                    <a:pt x="1907131" y="120256"/>
                  </a:cubicBezTo>
                  <a:cubicBezTo>
                    <a:pt x="1887648" y="126172"/>
                    <a:pt x="1869789" y="134728"/>
                    <a:pt x="1850306" y="140811"/>
                  </a:cubicBezTo>
                  <a:cubicBezTo>
                    <a:pt x="1839631" y="144154"/>
                    <a:pt x="1827332" y="146293"/>
                    <a:pt x="1819823" y="152576"/>
                  </a:cubicBezTo>
                  <a:cubicBezTo>
                    <a:pt x="1814343" y="157155"/>
                    <a:pt x="1812233" y="161333"/>
                    <a:pt x="1802247" y="164107"/>
                  </a:cubicBezTo>
                  <a:cubicBezTo>
                    <a:pt x="1798838" y="164943"/>
                    <a:pt x="1712098" y="182758"/>
                    <a:pt x="1718957" y="187504"/>
                  </a:cubicBezTo>
                  <a:cubicBezTo>
                    <a:pt x="1720540" y="188574"/>
                    <a:pt x="1728983" y="185833"/>
                    <a:pt x="1725289" y="189610"/>
                  </a:cubicBezTo>
                  <a:cubicBezTo>
                    <a:pt x="1719282" y="195793"/>
                    <a:pt x="1705441" y="197397"/>
                    <a:pt x="1696268" y="200205"/>
                  </a:cubicBezTo>
                  <a:cubicBezTo>
                    <a:pt x="1671224" y="207859"/>
                    <a:pt x="1692209" y="209463"/>
                    <a:pt x="1686932" y="215379"/>
                  </a:cubicBezTo>
                  <a:cubicBezTo>
                    <a:pt x="1678327" y="224738"/>
                    <a:pt x="1636154" y="227278"/>
                    <a:pt x="1630675" y="237974"/>
                  </a:cubicBezTo>
                  <a:cubicBezTo>
                    <a:pt x="1625966" y="247232"/>
                    <a:pt x="1624180" y="255287"/>
                    <a:pt x="1600273" y="258663"/>
                  </a:cubicBezTo>
                  <a:cubicBezTo>
                    <a:pt x="1583428" y="261036"/>
                    <a:pt x="1571048" y="261069"/>
                    <a:pt x="1553108" y="265983"/>
                  </a:cubicBezTo>
                  <a:cubicBezTo>
                    <a:pt x="1549049" y="267052"/>
                    <a:pt x="1523152" y="274004"/>
                    <a:pt x="1524005" y="277647"/>
                  </a:cubicBezTo>
                  <a:cubicBezTo>
                    <a:pt x="1524857" y="281291"/>
                    <a:pt x="1539510" y="277447"/>
                    <a:pt x="1523477" y="284867"/>
                  </a:cubicBezTo>
                  <a:cubicBezTo>
                    <a:pt x="1514831" y="288911"/>
                    <a:pt x="1503791" y="292554"/>
                    <a:pt x="1496282" y="297434"/>
                  </a:cubicBezTo>
                  <a:cubicBezTo>
                    <a:pt x="1489382" y="301880"/>
                    <a:pt x="1507566" y="298771"/>
                    <a:pt x="1505009" y="303417"/>
                  </a:cubicBezTo>
                  <a:cubicBezTo>
                    <a:pt x="1496526" y="318825"/>
                    <a:pt x="1464419" y="315951"/>
                    <a:pt x="1447574" y="321232"/>
                  </a:cubicBezTo>
                  <a:cubicBezTo>
                    <a:pt x="1425209" y="328217"/>
                    <a:pt x="1419973" y="337008"/>
                    <a:pt x="1411044" y="348505"/>
                  </a:cubicBezTo>
                  <a:cubicBezTo>
                    <a:pt x="1406091" y="354889"/>
                    <a:pt x="1386690" y="355792"/>
                    <a:pt x="1375690" y="360337"/>
                  </a:cubicBezTo>
                  <a:cubicBezTo>
                    <a:pt x="1359454" y="367022"/>
                    <a:pt x="1325074" y="382263"/>
                    <a:pt x="1317768" y="392792"/>
                  </a:cubicBezTo>
                  <a:cubicBezTo>
                    <a:pt x="1312126" y="400847"/>
                    <a:pt x="1352229" y="381327"/>
                    <a:pt x="1356044" y="378319"/>
                  </a:cubicBezTo>
                  <a:close/>
                  <a:moveTo>
                    <a:pt x="2051915" y="839264"/>
                  </a:moveTo>
                  <a:cubicBezTo>
                    <a:pt x="2061575" y="835153"/>
                    <a:pt x="2072941" y="810854"/>
                    <a:pt x="2047450" y="820313"/>
                  </a:cubicBezTo>
                  <a:cubicBezTo>
                    <a:pt x="2021960" y="829772"/>
                    <a:pt x="2037019" y="845648"/>
                    <a:pt x="2051915" y="839264"/>
                  </a:cubicBezTo>
                  <a:close/>
                  <a:moveTo>
                    <a:pt x="1918294" y="867741"/>
                  </a:moveTo>
                  <a:cubicBezTo>
                    <a:pt x="1944718" y="866538"/>
                    <a:pt x="1969274" y="835721"/>
                    <a:pt x="1963592" y="830975"/>
                  </a:cubicBezTo>
                  <a:cubicBezTo>
                    <a:pt x="1957909" y="826229"/>
                    <a:pt x="1886228" y="869178"/>
                    <a:pt x="1918294" y="867741"/>
                  </a:cubicBezTo>
                  <a:close/>
                  <a:moveTo>
                    <a:pt x="2001827" y="793307"/>
                  </a:moveTo>
                  <a:cubicBezTo>
                    <a:pt x="2001056" y="784249"/>
                    <a:pt x="1957179" y="798454"/>
                    <a:pt x="1949061" y="792872"/>
                  </a:cubicBezTo>
                  <a:cubicBezTo>
                    <a:pt x="1935626" y="783313"/>
                    <a:pt x="1904412" y="792137"/>
                    <a:pt x="1879530" y="795212"/>
                  </a:cubicBezTo>
                  <a:cubicBezTo>
                    <a:pt x="1865527" y="796950"/>
                    <a:pt x="1845841" y="801228"/>
                    <a:pt x="1833867" y="799390"/>
                  </a:cubicBezTo>
                  <a:cubicBezTo>
                    <a:pt x="1824450" y="797952"/>
                    <a:pt x="1825384" y="788895"/>
                    <a:pt x="1810244" y="798053"/>
                  </a:cubicBezTo>
                  <a:cubicBezTo>
                    <a:pt x="1795104" y="807211"/>
                    <a:pt x="1797011" y="814764"/>
                    <a:pt x="1797620" y="823588"/>
                  </a:cubicBezTo>
                  <a:cubicBezTo>
                    <a:pt x="1798229" y="831777"/>
                    <a:pt x="1790558" y="837760"/>
                    <a:pt x="1799569" y="843642"/>
                  </a:cubicBezTo>
                  <a:cubicBezTo>
                    <a:pt x="1806997" y="848656"/>
                    <a:pt x="1798310" y="856745"/>
                    <a:pt x="1790477" y="863697"/>
                  </a:cubicBezTo>
                  <a:cubicBezTo>
                    <a:pt x="1786174" y="867473"/>
                    <a:pt x="1775783" y="881043"/>
                    <a:pt x="1793561" y="873924"/>
                  </a:cubicBezTo>
                  <a:cubicBezTo>
                    <a:pt x="1800786" y="870983"/>
                    <a:pt x="1827779" y="852366"/>
                    <a:pt x="1832162" y="859385"/>
                  </a:cubicBezTo>
                  <a:cubicBezTo>
                    <a:pt x="1835653" y="864967"/>
                    <a:pt x="1836789" y="870114"/>
                    <a:pt x="1852457" y="863095"/>
                  </a:cubicBezTo>
                  <a:cubicBezTo>
                    <a:pt x="1866594" y="856524"/>
                    <a:pt x="1879011" y="847707"/>
                    <a:pt x="1888988" y="837158"/>
                  </a:cubicBezTo>
                  <a:cubicBezTo>
                    <a:pt x="1897106" y="828702"/>
                    <a:pt x="1898973" y="821015"/>
                    <a:pt x="1917401" y="817104"/>
                  </a:cubicBezTo>
                  <a:cubicBezTo>
                    <a:pt x="1929984" y="814430"/>
                    <a:pt x="2003289" y="810419"/>
                    <a:pt x="2001868" y="793106"/>
                  </a:cubicBezTo>
                  <a:close/>
                  <a:moveTo>
                    <a:pt x="2451724" y="581301"/>
                  </a:moveTo>
                  <a:cubicBezTo>
                    <a:pt x="2476484" y="575385"/>
                    <a:pt x="2501609" y="592197"/>
                    <a:pt x="2526166" y="591328"/>
                  </a:cubicBezTo>
                  <a:cubicBezTo>
                    <a:pt x="2536800" y="590927"/>
                    <a:pt x="2541834" y="587150"/>
                    <a:pt x="2543173" y="581735"/>
                  </a:cubicBezTo>
                  <a:cubicBezTo>
                    <a:pt x="2545243" y="573078"/>
                    <a:pt x="2548287" y="570806"/>
                    <a:pt x="2564077" y="565625"/>
                  </a:cubicBezTo>
                  <a:cubicBezTo>
                    <a:pt x="2578892" y="560745"/>
                    <a:pt x="2571383" y="558272"/>
                    <a:pt x="2575077" y="551621"/>
                  </a:cubicBezTo>
                  <a:cubicBezTo>
                    <a:pt x="2579663" y="543432"/>
                    <a:pt x="2592124" y="534909"/>
                    <a:pt x="2603774" y="528425"/>
                  </a:cubicBezTo>
                  <a:cubicBezTo>
                    <a:pt x="2637788" y="509173"/>
                    <a:pt x="2560627" y="526453"/>
                    <a:pt x="2551007" y="527255"/>
                  </a:cubicBezTo>
                  <a:cubicBezTo>
                    <a:pt x="2540535" y="528024"/>
                    <a:pt x="2534446" y="524447"/>
                    <a:pt x="2532539" y="519701"/>
                  </a:cubicBezTo>
                  <a:cubicBezTo>
                    <a:pt x="2530956" y="515690"/>
                    <a:pt x="2513867" y="516125"/>
                    <a:pt x="2507373" y="516125"/>
                  </a:cubicBezTo>
                  <a:cubicBezTo>
                    <a:pt x="2479528" y="516125"/>
                    <a:pt x="2453307" y="524380"/>
                    <a:pt x="2424692" y="525550"/>
                  </a:cubicBezTo>
                  <a:cubicBezTo>
                    <a:pt x="2403057" y="526386"/>
                    <a:pt x="2351955" y="540758"/>
                    <a:pt x="2349844" y="523244"/>
                  </a:cubicBezTo>
                  <a:cubicBezTo>
                    <a:pt x="2349032" y="516760"/>
                    <a:pt x="2407400" y="505496"/>
                    <a:pt x="2392747" y="501853"/>
                  </a:cubicBezTo>
                  <a:cubicBezTo>
                    <a:pt x="2390515" y="501251"/>
                    <a:pt x="2334217" y="512983"/>
                    <a:pt x="2353132" y="501853"/>
                  </a:cubicBezTo>
                  <a:cubicBezTo>
                    <a:pt x="2362102" y="496539"/>
                    <a:pt x="2377486" y="491024"/>
                    <a:pt x="2362995" y="487481"/>
                  </a:cubicBezTo>
                  <a:cubicBezTo>
                    <a:pt x="2349479" y="484138"/>
                    <a:pt x="2339412" y="484439"/>
                    <a:pt x="2329833" y="493831"/>
                  </a:cubicBezTo>
                  <a:cubicBezTo>
                    <a:pt x="2318468" y="505028"/>
                    <a:pt x="2315911" y="494332"/>
                    <a:pt x="2319523" y="488450"/>
                  </a:cubicBezTo>
                  <a:cubicBezTo>
                    <a:pt x="2324273" y="480696"/>
                    <a:pt x="2320822" y="479760"/>
                    <a:pt x="2306251" y="481498"/>
                  </a:cubicBezTo>
                  <a:cubicBezTo>
                    <a:pt x="2292353" y="482838"/>
                    <a:pt x="2278865" y="486237"/>
                    <a:pt x="2266432" y="491525"/>
                  </a:cubicBezTo>
                  <a:cubicBezTo>
                    <a:pt x="2244473" y="502321"/>
                    <a:pt x="2248694" y="491859"/>
                    <a:pt x="2237086" y="489820"/>
                  </a:cubicBezTo>
                  <a:cubicBezTo>
                    <a:pt x="2221864" y="487147"/>
                    <a:pt x="2186876" y="521573"/>
                    <a:pt x="2177703" y="511746"/>
                  </a:cubicBezTo>
                  <a:cubicBezTo>
                    <a:pt x="2175957" y="509875"/>
                    <a:pt x="2203153" y="496940"/>
                    <a:pt x="2206116" y="492361"/>
                  </a:cubicBezTo>
                  <a:cubicBezTo>
                    <a:pt x="2212935" y="482334"/>
                    <a:pt x="2193939" y="484038"/>
                    <a:pt x="2181762" y="487381"/>
                  </a:cubicBezTo>
                  <a:cubicBezTo>
                    <a:pt x="2157408" y="494065"/>
                    <a:pt x="2155825" y="509707"/>
                    <a:pt x="2131146" y="507134"/>
                  </a:cubicBezTo>
                  <a:cubicBezTo>
                    <a:pt x="2123028" y="506265"/>
                    <a:pt x="2110852" y="504393"/>
                    <a:pt x="2108457" y="499680"/>
                  </a:cubicBezTo>
                  <a:cubicBezTo>
                    <a:pt x="2106508" y="495536"/>
                    <a:pt x="2086132" y="502354"/>
                    <a:pt x="2080531" y="503691"/>
                  </a:cubicBezTo>
                  <a:cubicBezTo>
                    <a:pt x="2056177" y="509574"/>
                    <a:pt x="2064782" y="495135"/>
                    <a:pt x="2040834" y="498076"/>
                  </a:cubicBezTo>
                  <a:cubicBezTo>
                    <a:pt x="2016886" y="501017"/>
                    <a:pt x="1979949" y="509473"/>
                    <a:pt x="1960954" y="522609"/>
                  </a:cubicBezTo>
                  <a:cubicBezTo>
                    <a:pt x="1955636" y="526219"/>
                    <a:pt x="1950278" y="530865"/>
                    <a:pt x="1949954" y="534842"/>
                  </a:cubicBezTo>
                  <a:cubicBezTo>
                    <a:pt x="1949954" y="537014"/>
                    <a:pt x="1954784" y="539622"/>
                    <a:pt x="1950644" y="542362"/>
                  </a:cubicBezTo>
                  <a:cubicBezTo>
                    <a:pt x="1940090" y="549348"/>
                    <a:pt x="1931932" y="541259"/>
                    <a:pt x="1926290" y="540490"/>
                  </a:cubicBezTo>
                  <a:cubicBezTo>
                    <a:pt x="1910825" y="538352"/>
                    <a:pt x="1888257" y="570171"/>
                    <a:pt x="1874538" y="569101"/>
                  </a:cubicBezTo>
                  <a:cubicBezTo>
                    <a:pt x="1860819" y="568032"/>
                    <a:pt x="1874538" y="544100"/>
                    <a:pt x="1860453" y="539922"/>
                  </a:cubicBezTo>
                  <a:cubicBezTo>
                    <a:pt x="1837642" y="533238"/>
                    <a:pt x="1821771" y="523211"/>
                    <a:pt x="1787067" y="539922"/>
                  </a:cubicBezTo>
                  <a:cubicBezTo>
                    <a:pt x="1775499" y="545471"/>
                    <a:pt x="1770831" y="550651"/>
                    <a:pt x="1762307" y="557069"/>
                  </a:cubicBezTo>
                  <a:cubicBezTo>
                    <a:pt x="1752485" y="564522"/>
                    <a:pt x="1736817" y="570204"/>
                    <a:pt x="1724802" y="576454"/>
                  </a:cubicBezTo>
                  <a:cubicBezTo>
                    <a:pt x="1711083" y="583574"/>
                    <a:pt x="1694157" y="594603"/>
                    <a:pt x="1696024" y="603427"/>
                  </a:cubicBezTo>
                  <a:cubicBezTo>
                    <a:pt x="1698094" y="612886"/>
                    <a:pt x="1720378" y="607237"/>
                    <a:pt x="1725127" y="612752"/>
                  </a:cubicBezTo>
                  <a:cubicBezTo>
                    <a:pt x="1730282" y="619069"/>
                    <a:pt x="1685592" y="639825"/>
                    <a:pt x="1727603" y="631804"/>
                  </a:cubicBezTo>
                  <a:cubicBezTo>
                    <a:pt x="1762672" y="625119"/>
                    <a:pt x="1760075" y="639224"/>
                    <a:pt x="1724478" y="642900"/>
                  </a:cubicBezTo>
                  <a:cubicBezTo>
                    <a:pt x="1688880" y="646577"/>
                    <a:pt x="1689246" y="632873"/>
                    <a:pt x="1670331" y="623682"/>
                  </a:cubicBezTo>
                  <a:cubicBezTo>
                    <a:pt x="1660467" y="618869"/>
                    <a:pt x="1674390" y="604029"/>
                    <a:pt x="1680844" y="596274"/>
                  </a:cubicBezTo>
                  <a:cubicBezTo>
                    <a:pt x="1685999" y="590125"/>
                    <a:pt x="1710637" y="575251"/>
                    <a:pt x="1707755" y="569903"/>
                  </a:cubicBezTo>
                  <a:cubicBezTo>
                    <a:pt x="1704873" y="564555"/>
                    <a:pt x="1663593" y="582872"/>
                    <a:pt x="1658519" y="585211"/>
                  </a:cubicBezTo>
                  <a:cubicBezTo>
                    <a:pt x="1625804" y="600118"/>
                    <a:pt x="1594956" y="619571"/>
                    <a:pt x="1578070" y="640293"/>
                  </a:cubicBezTo>
                  <a:cubicBezTo>
                    <a:pt x="1562687" y="659144"/>
                    <a:pt x="1561834" y="677059"/>
                    <a:pt x="1572428" y="690429"/>
                  </a:cubicBezTo>
                  <a:cubicBezTo>
                    <a:pt x="1582129" y="702628"/>
                    <a:pt x="1590815" y="700623"/>
                    <a:pt x="1619106" y="690763"/>
                  </a:cubicBezTo>
                  <a:cubicBezTo>
                    <a:pt x="1633881" y="685616"/>
                    <a:pt x="1650848" y="679198"/>
                    <a:pt x="1665947" y="677594"/>
                  </a:cubicBezTo>
                  <a:cubicBezTo>
                    <a:pt x="1684456" y="675589"/>
                    <a:pt x="1659331" y="687020"/>
                    <a:pt x="1653040" y="688858"/>
                  </a:cubicBezTo>
                  <a:cubicBezTo>
                    <a:pt x="1635545" y="693905"/>
                    <a:pt x="1577421" y="712990"/>
                    <a:pt x="1620568" y="712455"/>
                  </a:cubicBezTo>
                  <a:cubicBezTo>
                    <a:pt x="1635598" y="712271"/>
                    <a:pt x="1650486" y="710012"/>
                    <a:pt x="1664608" y="705770"/>
                  </a:cubicBezTo>
                  <a:cubicBezTo>
                    <a:pt x="1676541" y="702094"/>
                    <a:pt x="1688150" y="692401"/>
                    <a:pt x="1700083" y="690562"/>
                  </a:cubicBezTo>
                  <a:cubicBezTo>
                    <a:pt x="1713072" y="688557"/>
                    <a:pt x="1717943" y="693370"/>
                    <a:pt x="1733245" y="689058"/>
                  </a:cubicBezTo>
                  <a:cubicBezTo>
                    <a:pt x="1756259" y="682574"/>
                    <a:pt x="1778137" y="672848"/>
                    <a:pt x="1801355" y="666497"/>
                  </a:cubicBezTo>
                  <a:cubicBezTo>
                    <a:pt x="1826277" y="659646"/>
                    <a:pt x="1878800" y="653128"/>
                    <a:pt x="1889191" y="633575"/>
                  </a:cubicBezTo>
                  <a:cubicBezTo>
                    <a:pt x="1892519" y="627158"/>
                    <a:pt x="1949061" y="617833"/>
                    <a:pt x="1958762" y="615292"/>
                  </a:cubicBezTo>
                  <a:cubicBezTo>
                    <a:pt x="2000041" y="604196"/>
                    <a:pt x="1941064" y="607003"/>
                    <a:pt x="1951253" y="597545"/>
                  </a:cubicBezTo>
                  <a:cubicBezTo>
                    <a:pt x="1956692" y="592531"/>
                    <a:pt x="1983724" y="591395"/>
                    <a:pt x="1990990" y="590860"/>
                  </a:cubicBezTo>
                  <a:cubicBezTo>
                    <a:pt x="1997200" y="590392"/>
                    <a:pt x="2003979" y="590359"/>
                    <a:pt x="2007550" y="592598"/>
                  </a:cubicBezTo>
                  <a:cubicBezTo>
                    <a:pt x="2012299" y="595639"/>
                    <a:pt x="2019727" y="592096"/>
                    <a:pt x="2026019" y="592932"/>
                  </a:cubicBezTo>
                  <a:cubicBezTo>
                    <a:pt x="2043594" y="595272"/>
                    <a:pt x="2063848" y="591228"/>
                    <a:pt x="2082601" y="592698"/>
                  </a:cubicBezTo>
                  <a:cubicBezTo>
                    <a:pt x="2101353" y="594169"/>
                    <a:pt x="2058612" y="611349"/>
                    <a:pt x="2058004" y="616696"/>
                  </a:cubicBezTo>
                  <a:cubicBezTo>
                    <a:pt x="2057111" y="624016"/>
                    <a:pt x="2082357" y="610446"/>
                    <a:pt x="2084834" y="608808"/>
                  </a:cubicBezTo>
                  <a:cubicBezTo>
                    <a:pt x="2092667" y="603661"/>
                    <a:pt x="2106590" y="592096"/>
                    <a:pt x="2118604" y="592966"/>
                  </a:cubicBezTo>
                  <a:cubicBezTo>
                    <a:pt x="2127818" y="593668"/>
                    <a:pt x="2131633" y="598648"/>
                    <a:pt x="2138899" y="600820"/>
                  </a:cubicBezTo>
                  <a:cubicBezTo>
                    <a:pt x="2147017" y="603193"/>
                    <a:pt x="2162238" y="593233"/>
                    <a:pt x="2174537" y="593634"/>
                  </a:cubicBezTo>
                  <a:cubicBezTo>
                    <a:pt x="2190773" y="594169"/>
                    <a:pt x="2211352" y="598414"/>
                    <a:pt x="2217278" y="606068"/>
                  </a:cubicBezTo>
                  <a:cubicBezTo>
                    <a:pt x="2221946" y="612084"/>
                    <a:pt x="2213828" y="621844"/>
                    <a:pt x="2218617" y="627158"/>
                  </a:cubicBezTo>
                  <a:cubicBezTo>
                    <a:pt x="2222351" y="631269"/>
                    <a:pt x="2246665" y="620841"/>
                    <a:pt x="2251657" y="618769"/>
                  </a:cubicBezTo>
                  <a:cubicBezTo>
                    <a:pt x="2269314" y="611248"/>
                    <a:pt x="2280070" y="601188"/>
                    <a:pt x="2300771" y="601656"/>
                  </a:cubicBezTo>
                  <a:cubicBezTo>
                    <a:pt x="2323177" y="602157"/>
                    <a:pt x="2343715" y="603461"/>
                    <a:pt x="2319239" y="617766"/>
                  </a:cubicBezTo>
                  <a:cubicBezTo>
                    <a:pt x="2311483" y="622358"/>
                    <a:pt x="2303235" y="626366"/>
                    <a:pt x="2294601" y="629731"/>
                  </a:cubicBezTo>
                  <a:cubicBezTo>
                    <a:pt x="2284048" y="633742"/>
                    <a:pt x="2288553" y="630367"/>
                    <a:pt x="2284251" y="628027"/>
                  </a:cubicBezTo>
                  <a:cubicBezTo>
                    <a:pt x="2260912" y="615226"/>
                    <a:pt x="2154364" y="645975"/>
                    <a:pt x="2180544" y="663356"/>
                  </a:cubicBezTo>
                  <a:cubicBezTo>
                    <a:pt x="2188378" y="668536"/>
                    <a:pt x="2208957" y="670040"/>
                    <a:pt x="2192315" y="680970"/>
                  </a:cubicBezTo>
                  <a:cubicBezTo>
                    <a:pt x="2164633" y="699186"/>
                    <a:pt x="2133419" y="698049"/>
                    <a:pt x="2102531" y="708912"/>
                  </a:cubicBezTo>
                  <a:cubicBezTo>
                    <a:pt x="2094413" y="711853"/>
                    <a:pt x="2085036" y="720777"/>
                    <a:pt x="2077243" y="725056"/>
                  </a:cubicBezTo>
                  <a:cubicBezTo>
                    <a:pt x="2052889" y="738425"/>
                    <a:pt x="2066081" y="754669"/>
                    <a:pt x="2094940" y="745644"/>
                  </a:cubicBezTo>
                  <a:cubicBezTo>
                    <a:pt x="2109918" y="740999"/>
                    <a:pt x="2123353" y="734147"/>
                    <a:pt x="2138168" y="728933"/>
                  </a:cubicBezTo>
                  <a:cubicBezTo>
                    <a:pt x="2149574" y="724855"/>
                    <a:pt x="2161061" y="722950"/>
                    <a:pt x="2172548" y="719541"/>
                  </a:cubicBezTo>
                  <a:cubicBezTo>
                    <a:pt x="2180666" y="717168"/>
                    <a:pt x="2176039" y="713324"/>
                    <a:pt x="2178961" y="710015"/>
                  </a:cubicBezTo>
                  <a:cubicBezTo>
                    <a:pt x="2185293" y="702729"/>
                    <a:pt x="2208308" y="699319"/>
                    <a:pt x="2218901" y="697281"/>
                  </a:cubicBezTo>
                  <a:cubicBezTo>
                    <a:pt x="2242484" y="692735"/>
                    <a:pt x="2249871" y="705637"/>
                    <a:pt x="2272196" y="700255"/>
                  </a:cubicBezTo>
                  <a:cubicBezTo>
                    <a:pt x="2295291" y="694707"/>
                    <a:pt x="2285631" y="715196"/>
                    <a:pt x="2305114" y="715396"/>
                  </a:cubicBezTo>
                  <a:cubicBezTo>
                    <a:pt x="2326424" y="715630"/>
                    <a:pt x="2351143" y="705001"/>
                    <a:pt x="2373224" y="703163"/>
                  </a:cubicBezTo>
                  <a:cubicBezTo>
                    <a:pt x="2393762" y="701492"/>
                    <a:pt x="2413448" y="704734"/>
                    <a:pt x="2434474" y="703531"/>
                  </a:cubicBezTo>
                  <a:cubicBezTo>
                    <a:pt x="2588715" y="695041"/>
                    <a:pt x="2391327" y="666096"/>
                    <a:pt x="2383818" y="674887"/>
                  </a:cubicBezTo>
                  <a:cubicBezTo>
                    <a:pt x="2390150" y="667400"/>
                    <a:pt x="2425503" y="664559"/>
                    <a:pt x="2434352" y="664559"/>
                  </a:cubicBezTo>
                  <a:cubicBezTo>
                    <a:pt x="2459802" y="664559"/>
                    <a:pt x="2484561" y="667066"/>
                    <a:pt x="2511838" y="656203"/>
                  </a:cubicBezTo>
                  <a:cubicBezTo>
                    <a:pt x="2524015" y="651357"/>
                    <a:pt x="2550520" y="631871"/>
                    <a:pt x="2527221" y="632038"/>
                  </a:cubicBezTo>
                  <a:cubicBezTo>
                    <a:pt x="2503923" y="632205"/>
                    <a:pt x="2509199" y="623949"/>
                    <a:pt x="2494750" y="617666"/>
                  </a:cubicBezTo>
                  <a:cubicBezTo>
                    <a:pt x="2472750" y="608107"/>
                    <a:pt x="2412230" y="629665"/>
                    <a:pt x="2396887" y="612151"/>
                  </a:cubicBezTo>
                  <a:cubicBezTo>
                    <a:pt x="2393803" y="608608"/>
                    <a:pt x="2405005" y="605666"/>
                    <a:pt x="2405290" y="601823"/>
                  </a:cubicBezTo>
                  <a:cubicBezTo>
                    <a:pt x="2405290" y="597311"/>
                    <a:pt x="2396238" y="596274"/>
                    <a:pt x="2397983" y="591027"/>
                  </a:cubicBezTo>
                  <a:cubicBezTo>
                    <a:pt x="2403504" y="574315"/>
                    <a:pt x="2435854" y="585044"/>
                    <a:pt x="2451440" y="581301"/>
                  </a:cubicBezTo>
                  <a:close/>
                  <a:moveTo>
                    <a:pt x="2124205" y="641697"/>
                  </a:moveTo>
                  <a:cubicBezTo>
                    <a:pt x="2143607" y="633609"/>
                    <a:pt x="2128873" y="621643"/>
                    <a:pt x="2118604" y="619136"/>
                  </a:cubicBezTo>
                  <a:cubicBezTo>
                    <a:pt x="2103343" y="615092"/>
                    <a:pt x="2070505" y="627091"/>
                    <a:pt x="2058612" y="636817"/>
                  </a:cubicBezTo>
                  <a:cubicBezTo>
                    <a:pt x="2044568" y="648282"/>
                    <a:pt x="2041808" y="665562"/>
                    <a:pt x="2067826" y="663556"/>
                  </a:cubicBezTo>
                  <a:cubicBezTo>
                    <a:pt x="2088365" y="662119"/>
                    <a:pt x="2106630" y="648850"/>
                    <a:pt x="2124205" y="641530"/>
                  </a:cubicBezTo>
                  <a:close/>
                  <a:moveTo>
                    <a:pt x="1848195" y="521372"/>
                  </a:moveTo>
                  <a:cubicBezTo>
                    <a:pt x="1844907" y="530397"/>
                    <a:pt x="1862808" y="527355"/>
                    <a:pt x="1871981" y="529528"/>
                  </a:cubicBezTo>
                  <a:cubicBezTo>
                    <a:pt x="1887121" y="533104"/>
                    <a:pt x="1886187" y="544067"/>
                    <a:pt x="1913423" y="534708"/>
                  </a:cubicBezTo>
                  <a:cubicBezTo>
                    <a:pt x="1930998" y="528692"/>
                    <a:pt x="1942566" y="518331"/>
                    <a:pt x="1961035" y="512047"/>
                  </a:cubicBezTo>
                  <a:cubicBezTo>
                    <a:pt x="1975850" y="506967"/>
                    <a:pt x="1994968" y="502822"/>
                    <a:pt x="2008200" y="495770"/>
                  </a:cubicBezTo>
                  <a:cubicBezTo>
                    <a:pt x="2032554" y="482835"/>
                    <a:pt x="1951050" y="490957"/>
                    <a:pt x="1943581" y="492428"/>
                  </a:cubicBezTo>
                  <a:cubicBezTo>
                    <a:pt x="1926655" y="495536"/>
                    <a:pt x="1912205" y="502455"/>
                    <a:pt x="1895604" y="505797"/>
                  </a:cubicBezTo>
                  <a:cubicBezTo>
                    <a:pt x="1883427" y="508270"/>
                    <a:pt x="1851808" y="511278"/>
                    <a:pt x="1848195" y="521305"/>
                  </a:cubicBezTo>
                  <a:cubicBezTo>
                    <a:pt x="1843812" y="533639"/>
                    <a:pt x="1852619" y="509273"/>
                    <a:pt x="1848236" y="521439"/>
                  </a:cubicBezTo>
                  <a:close/>
                  <a:moveTo>
                    <a:pt x="2668920" y="954308"/>
                  </a:moveTo>
                  <a:cubicBezTo>
                    <a:pt x="2674116" y="959121"/>
                    <a:pt x="2761992" y="954308"/>
                    <a:pt x="2761668" y="945885"/>
                  </a:cubicBezTo>
                  <a:cubicBezTo>
                    <a:pt x="2761343" y="937462"/>
                    <a:pt x="2664536" y="949963"/>
                    <a:pt x="2668961" y="954375"/>
                  </a:cubicBezTo>
                  <a:close/>
                  <a:moveTo>
                    <a:pt x="3040560" y="906880"/>
                  </a:moveTo>
                  <a:cubicBezTo>
                    <a:pt x="3036907" y="913331"/>
                    <a:pt x="3030291" y="905677"/>
                    <a:pt x="3032117" y="902334"/>
                  </a:cubicBezTo>
                  <a:cubicBezTo>
                    <a:pt x="3034390" y="898223"/>
                    <a:pt x="3045715" y="888965"/>
                    <a:pt x="3027652" y="895014"/>
                  </a:cubicBezTo>
                  <a:cubicBezTo>
                    <a:pt x="3001026" y="904039"/>
                    <a:pt x="3017464" y="887260"/>
                    <a:pt x="3019007" y="879974"/>
                  </a:cubicBezTo>
                  <a:cubicBezTo>
                    <a:pt x="3019616" y="876966"/>
                    <a:pt x="3004963" y="878771"/>
                    <a:pt x="3002162" y="879172"/>
                  </a:cubicBezTo>
                  <a:cubicBezTo>
                    <a:pt x="2992015" y="880676"/>
                    <a:pt x="2994247" y="881846"/>
                    <a:pt x="2990432" y="885856"/>
                  </a:cubicBezTo>
                  <a:cubicBezTo>
                    <a:pt x="2981461" y="895115"/>
                    <a:pt x="2953048" y="886157"/>
                    <a:pt x="2945336" y="884486"/>
                  </a:cubicBezTo>
                  <a:cubicBezTo>
                    <a:pt x="2939613" y="883216"/>
                    <a:pt x="2949395" y="878537"/>
                    <a:pt x="2939045" y="879707"/>
                  </a:cubicBezTo>
                  <a:cubicBezTo>
                    <a:pt x="2932713" y="880375"/>
                    <a:pt x="2920374" y="883450"/>
                    <a:pt x="2919887" y="888029"/>
                  </a:cubicBezTo>
                  <a:cubicBezTo>
                    <a:pt x="2919278" y="893778"/>
                    <a:pt x="2913555" y="886024"/>
                    <a:pt x="2913717" y="884185"/>
                  </a:cubicBezTo>
                  <a:cubicBezTo>
                    <a:pt x="2914447" y="876832"/>
                    <a:pt x="2923864" y="866471"/>
                    <a:pt x="2927639" y="858683"/>
                  </a:cubicBezTo>
                  <a:cubicBezTo>
                    <a:pt x="2929303" y="855341"/>
                    <a:pt x="2946879" y="844979"/>
                    <a:pt x="2932551" y="845982"/>
                  </a:cubicBezTo>
                  <a:cubicBezTo>
                    <a:pt x="2923568" y="846804"/>
                    <a:pt x="2915292" y="850384"/>
                    <a:pt x="2909374" y="856009"/>
                  </a:cubicBezTo>
                  <a:cubicBezTo>
                    <a:pt x="2896803" y="866782"/>
                    <a:pt x="2886940" y="879493"/>
                    <a:pt x="2880352" y="893410"/>
                  </a:cubicBezTo>
                  <a:cubicBezTo>
                    <a:pt x="2874832" y="906345"/>
                    <a:pt x="2889607" y="910791"/>
                    <a:pt x="2864360" y="920517"/>
                  </a:cubicBezTo>
                  <a:cubicBezTo>
                    <a:pt x="2857987" y="922990"/>
                    <a:pt x="2844958" y="931480"/>
                    <a:pt x="2856729" y="932716"/>
                  </a:cubicBezTo>
                  <a:cubicBezTo>
                    <a:pt x="2863751" y="933485"/>
                    <a:pt x="2854740" y="941707"/>
                    <a:pt x="2852670" y="944080"/>
                  </a:cubicBezTo>
                  <a:cubicBezTo>
                    <a:pt x="2838748" y="961093"/>
                    <a:pt x="2869352" y="952470"/>
                    <a:pt x="2885791" y="946921"/>
                  </a:cubicBezTo>
                  <a:cubicBezTo>
                    <a:pt x="2899105" y="942409"/>
                    <a:pt x="2913149" y="940905"/>
                    <a:pt x="2926381" y="936894"/>
                  </a:cubicBezTo>
                  <a:cubicBezTo>
                    <a:pt x="2935879" y="933920"/>
                    <a:pt x="2948949" y="922422"/>
                    <a:pt x="2958609" y="923892"/>
                  </a:cubicBezTo>
                  <a:cubicBezTo>
                    <a:pt x="2977240" y="926733"/>
                    <a:pt x="2984221" y="919180"/>
                    <a:pt x="2974561" y="932750"/>
                  </a:cubicBezTo>
                  <a:cubicBezTo>
                    <a:pt x="2970786" y="938031"/>
                    <a:pt x="2974886" y="940738"/>
                    <a:pt x="2982922" y="935491"/>
                  </a:cubicBezTo>
                  <a:cubicBezTo>
                    <a:pt x="2990959" y="930243"/>
                    <a:pt x="3003217" y="919113"/>
                    <a:pt x="3016612" y="921185"/>
                  </a:cubicBezTo>
                  <a:cubicBezTo>
                    <a:pt x="3023959" y="922322"/>
                    <a:pt x="3015435" y="927870"/>
                    <a:pt x="3024162" y="928438"/>
                  </a:cubicBezTo>
                  <a:cubicBezTo>
                    <a:pt x="3032657" y="928786"/>
                    <a:pt x="3041136" y="927539"/>
                    <a:pt x="3048962" y="924795"/>
                  </a:cubicBezTo>
                  <a:cubicBezTo>
                    <a:pt x="3078511" y="914768"/>
                    <a:pt x="3043239" y="901967"/>
                    <a:pt x="3040357" y="906980"/>
                  </a:cubicBezTo>
                  <a:cubicBezTo>
                    <a:pt x="3036826" y="913464"/>
                    <a:pt x="3044375" y="900329"/>
                    <a:pt x="3040601" y="906947"/>
                  </a:cubicBezTo>
                  <a:close/>
                  <a:moveTo>
                    <a:pt x="543965" y="1751661"/>
                  </a:moveTo>
                  <a:cubicBezTo>
                    <a:pt x="526227" y="1771448"/>
                    <a:pt x="592673" y="1765298"/>
                    <a:pt x="607366" y="1760117"/>
                  </a:cubicBezTo>
                  <a:cubicBezTo>
                    <a:pt x="626565" y="1753232"/>
                    <a:pt x="595758" y="1748720"/>
                    <a:pt x="592186" y="1747884"/>
                  </a:cubicBezTo>
                  <a:cubicBezTo>
                    <a:pt x="576843" y="1744107"/>
                    <a:pt x="566979" y="1726192"/>
                    <a:pt x="543965" y="1751661"/>
                  </a:cubicBezTo>
                  <a:cubicBezTo>
                    <a:pt x="526593" y="1771013"/>
                    <a:pt x="561378" y="1732342"/>
                    <a:pt x="543965" y="1751661"/>
                  </a:cubicBezTo>
                  <a:close/>
                  <a:moveTo>
                    <a:pt x="2829493" y="994015"/>
                  </a:moveTo>
                  <a:cubicBezTo>
                    <a:pt x="2815409" y="998895"/>
                    <a:pt x="2833836" y="975231"/>
                    <a:pt x="2816626" y="984456"/>
                  </a:cubicBezTo>
                  <a:cubicBezTo>
                    <a:pt x="2806276" y="989971"/>
                    <a:pt x="2800918" y="999898"/>
                    <a:pt x="2794180" y="1006649"/>
                  </a:cubicBezTo>
                  <a:cubicBezTo>
                    <a:pt x="2791663" y="1009223"/>
                    <a:pt x="2797387" y="1012866"/>
                    <a:pt x="2792962" y="1014838"/>
                  </a:cubicBezTo>
                  <a:cubicBezTo>
                    <a:pt x="2788538" y="1016810"/>
                    <a:pt x="2783870" y="1018749"/>
                    <a:pt x="2779811" y="1020420"/>
                  </a:cubicBezTo>
                  <a:cubicBezTo>
                    <a:pt x="2765593" y="1025804"/>
                    <a:pt x="2750323" y="1029053"/>
                    <a:pt x="2734716" y="1030012"/>
                  </a:cubicBezTo>
                  <a:cubicBezTo>
                    <a:pt x="2724163" y="1030614"/>
                    <a:pt x="2714786" y="1026904"/>
                    <a:pt x="2703218" y="1026971"/>
                  </a:cubicBezTo>
                  <a:cubicBezTo>
                    <a:pt x="2691042" y="1026971"/>
                    <a:pt x="2677403" y="1021957"/>
                    <a:pt x="2672857" y="1015908"/>
                  </a:cubicBezTo>
                  <a:cubicBezTo>
                    <a:pt x="2669570" y="1011496"/>
                    <a:pt x="2681543" y="1005179"/>
                    <a:pt x="2677200" y="1001201"/>
                  </a:cubicBezTo>
                  <a:cubicBezTo>
                    <a:pt x="2672857" y="997224"/>
                    <a:pt x="2661857" y="1004276"/>
                    <a:pt x="2659057" y="1006950"/>
                  </a:cubicBezTo>
                  <a:cubicBezTo>
                    <a:pt x="2656256" y="1009624"/>
                    <a:pt x="2648625" y="1013635"/>
                    <a:pt x="2646677" y="1009624"/>
                  </a:cubicBezTo>
                  <a:cubicBezTo>
                    <a:pt x="2644241" y="1004845"/>
                    <a:pt x="2656418" y="999898"/>
                    <a:pt x="2662588" y="996756"/>
                  </a:cubicBezTo>
                  <a:cubicBezTo>
                    <a:pt x="2691407" y="982183"/>
                    <a:pt x="2684222" y="963934"/>
                    <a:pt x="2647895" y="973861"/>
                  </a:cubicBezTo>
                  <a:cubicBezTo>
                    <a:pt x="2614165" y="983119"/>
                    <a:pt x="2581246" y="1000332"/>
                    <a:pt x="2554538" y="1016242"/>
                  </a:cubicBezTo>
                  <a:cubicBezTo>
                    <a:pt x="2527830" y="1032152"/>
                    <a:pt x="2519834" y="1052440"/>
                    <a:pt x="2496454" y="1069152"/>
                  </a:cubicBezTo>
                  <a:cubicBezTo>
                    <a:pt x="2484277" y="1077942"/>
                    <a:pt x="2490893" y="1067246"/>
                    <a:pt x="2495034" y="1063336"/>
                  </a:cubicBezTo>
                  <a:cubicBezTo>
                    <a:pt x="2499174" y="1059425"/>
                    <a:pt x="2503923" y="1055314"/>
                    <a:pt x="2507982" y="1051236"/>
                  </a:cubicBezTo>
                  <a:cubicBezTo>
                    <a:pt x="2512650" y="1046524"/>
                    <a:pt x="2507982" y="1041544"/>
                    <a:pt x="2511066" y="1038368"/>
                  </a:cubicBezTo>
                  <a:cubicBezTo>
                    <a:pt x="2513993" y="1037476"/>
                    <a:pt x="2516855" y="1036436"/>
                    <a:pt x="2519631" y="1035260"/>
                  </a:cubicBezTo>
                  <a:cubicBezTo>
                    <a:pt x="2523049" y="1032496"/>
                    <a:pt x="2526097" y="1029438"/>
                    <a:pt x="2528723" y="1026135"/>
                  </a:cubicBezTo>
                  <a:cubicBezTo>
                    <a:pt x="2535096" y="1018715"/>
                    <a:pt x="2540413" y="1010727"/>
                    <a:pt x="2549018" y="1003708"/>
                  </a:cubicBezTo>
                  <a:cubicBezTo>
                    <a:pt x="2554173" y="999430"/>
                    <a:pt x="2579420" y="993213"/>
                    <a:pt x="2579501" y="989236"/>
                  </a:cubicBezTo>
                  <a:cubicBezTo>
                    <a:pt x="2579501" y="983052"/>
                    <a:pt x="2589486" y="972825"/>
                    <a:pt x="2597442" y="967577"/>
                  </a:cubicBezTo>
                  <a:cubicBezTo>
                    <a:pt x="2607751" y="960892"/>
                    <a:pt x="2626463" y="955879"/>
                    <a:pt x="2639371" y="951768"/>
                  </a:cubicBezTo>
                  <a:cubicBezTo>
                    <a:pt x="2664861" y="943646"/>
                    <a:pt x="2690757" y="936226"/>
                    <a:pt x="2716735" y="929040"/>
                  </a:cubicBezTo>
                  <a:cubicBezTo>
                    <a:pt x="2759029" y="917375"/>
                    <a:pt x="2801973" y="911058"/>
                    <a:pt x="2831441" y="887160"/>
                  </a:cubicBezTo>
                  <a:cubicBezTo>
                    <a:pt x="2839235" y="880843"/>
                    <a:pt x="2842807" y="872253"/>
                    <a:pt x="2853888" y="867106"/>
                  </a:cubicBezTo>
                  <a:cubicBezTo>
                    <a:pt x="2867607" y="860923"/>
                    <a:pt x="2884858" y="860421"/>
                    <a:pt x="2898009" y="853970"/>
                  </a:cubicBezTo>
                  <a:cubicBezTo>
                    <a:pt x="2909414" y="848221"/>
                    <a:pt x="2913839" y="840601"/>
                    <a:pt x="2923215" y="834184"/>
                  </a:cubicBezTo>
                  <a:cubicBezTo>
                    <a:pt x="2943510" y="820413"/>
                    <a:pt x="2900079" y="832947"/>
                    <a:pt x="2902920" y="827298"/>
                  </a:cubicBezTo>
                  <a:cubicBezTo>
                    <a:pt x="2904665" y="823956"/>
                    <a:pt x="2918425" y="821015"/>
                    <a:pt x="2921104" y="815199"/>
                  </a:cubicBezTo>
                  <a:cubicBezTo>
                    <a:pt x="2923783" y="809383"/>
                    <a:pt x="2923905" y="806776"/>
                    <a:pt x="2914366" y="805606"/>
                  </a:cubicBezTo>
                  <a:cubicBezTo>
                    <a:pt x="2906249" y="804604"/>
                    <a:pt x="2894924" y="797819"/>
                    <a:pt x="2884898" y="803467"/>
                  </a:cubicBezTo>
                  <a:cubicBezTo>
                    <a:pt x="2880027" y="806241"/>
                    <a:pt x="2871666" y="814798"/>
                    <a:pt x="2863589" y="813494"/>
                  </a:cubicBezTo>
                  <a:cubicBezTo>
                    <a:pt x="2852751" y="811656"/>
                    <a:pt x="2876861" y="791903"/>
                    <a:pt x="2840777" y="804136"/>
                  </a:cubicBezTo>
                  <a:cubicBezTo>
                    <a:pt x="2817885" y="811957"/>
                    <a:pt x="2798807" y="827365"/>
                    <a:pt x="2779893" y="837559"/>
                  </a:cubicBezTo>
                  <a:cubicBezTo>
                    <a:pt x="2771775" y="842005"/>
                    <a:pt x="2770963" y="834518"/>
                    <a:pt x="2772343" y="831944"/>
                  </a:cubicBezTo>
                  <a:cubicBezTo>
                    <a:pt x="2774169" y="828602"/>
                    <a:pt x="2789025" y="821549"/>
                    <a:pt x="2794018" y="818575"/>
                  </a:cubicBezTo>
                  <a:cubicBezTo>
                    <a:pt x="2801040" y="814230"/>
                    <a:pt x="2811106" y="812993"/>
                    <a:pt x="2818372" y="808013"/>
                  </a:cubicBezTo>
                  <a:cubicBezTo>
                    <a:pt x="2825637" y="803033"/>
                    <a:pt x="2847637" y="797986"/>
                    <a:pt x="2851574" y="792170"/>
                  </a:cubicBezTo>
                  <a:cubicBezTo>
                    <a:pt x="2857297" y="783781"/>
                    <a:pt x="2831482" y="788059"/>
                    <a:pt x="2825150" y="790499"/>
                  </a:cubicBezTo>
                  <a:cubicBezTo>
                    <a:pt x="2815571" y="794142"/>
                    <a:pt x="2806235" y="791602"/>
                    <a:pt x="2798117" y="790700"/>
                  </a:cubicBezTo>
                  <a:cubicBezTo>
                    <a:pt x="2789999" y="789797"/>
                    <a:pt x="2784236" y="795412"/>
                    <a:pt x="2779081" y="794677"/>
                  </a:cubicBezTo>
                  <a:cubicBezTo>
                    <a:pt x="2766904" y="793006"/>
                    <a:pt x="2765930" y="799457"/>
                    <a:pt x="2754727" y="799490"/>
                  </a:cubicBezTo>
                  <a:cubicBezTo>
                    <a:pt x="2744336" y="799490"/>
                    <a:pt x="2740561" y="792805"/>
                    <a:pt x="2732484" y="790766"/>
                  </a:cubicBezTo>
                  <a:cubicBezTo>
                    <a:pt x="2721313" y="788193"/>
                    <a:pt x="2709782" y="786836"/>
                    <a:pt x="2698185" y="786722"/>
                  </a:cubicBezTo>
                  <a:cubicBezTo>
                    <a:pt x="2691772" y="786722"/>
                    <a:pt x="2669773" y="789530"/>
                    <a:pt x="2666485" y="786722"/>
                  </a:cubicBezTo>
                  <a:cubicBezTo>
                    <a:pt x="2662426" y="783380"/>
                    <a:pt x="2688403" y="780739"/>
                    <a:pt x="2691447" y="778868"/>
                  </a:cubicBezTo>
                  <a:cubicBezTo>
                    <a:pt x="2720834" y="760953"/>
                    <a:pt x="2678702" y="768306"/>
                    <a:pt x="2678783" y="756741"/>
                  </a:cubicBezTo>
                  <a:cubicBezTo>
                    <a:pt x="2678783" y="752597"/>
                    <a:pt x="2660680" y="753132"/>
                    <a:pt x="2655769" y="751828"/>
                  </a:cubicBezTo>
                  <a:cubicBezTo>
                    <a:pt x="2648536" y="749508"/>
                    <a:pt x="2641713" y="746407"/>
                    <a:pt x="2635474" y="742603"/>
                  </a:cubicBezTo>
                  <a:cubicBezTo>
                    <a:pt x="2622830" y="736567"/>
                    <a:pt x="2609627" y="731373"/>
                    <a:pt x="2595980" y="727061"/>
                  </a:cubicBezTo>
                  <a:cubicBezTo>
                    <a:pt x="2588715" y="724454"/>
                    <a:pt x="2560708" y="703664"/>
                    <a:pt x="2556324" y="717903"/>
                  </a:cubicBezTo>
                  <a:cubicBezTo>
                    <a:pt x="2554092" y="725256"/>
                    <a:pt x="2553564" y="729000"/>
                    <a:pt x="2544878" y="735918"/>
                  </a:cubicBezTo>
                  <a:cubicBezTo>
                    <a:pt x="2539682" y="740096"/>
                    <a:pt x="2555269" y="739662"/>
                    <a:pt x="2548206" y="745945"/>
                  </a:cubicBezTo>
                  <a:cubicBezTo>
                    <a:pt x="2543214" y="750324"/>
                    <a:pt x="2548206" y="758346"/>
                    <a:pt x="2541671" y="760217"/>
                  </a:cubicBezTo>
                  <a:cubicBezTo>
                    <a:pt x="2536638" y="761621"/>
                    <a:pt x="2534284" y="770244"/>
                    <a:pt x="2535096" y="770244"/>
                  </a:cubicBezTo>
                  <a:cubicBezTo>
                    <a:pt x="2529819" y="770244"/>
                    <a:pt x="2510011" y="767403"/>
                    <a:pt x="2513827" y="776495"/>
                  </a:cubicBezTo>
                  <a:cubicBezTo>
                    <a:pt x="2516140" y="781943"/>
                    <a:pt x="2498078" y="790532"/>
                    <a:pt x="2490122" y="793574"/>
                  </a:cubicBezTo>
                  <a:cubicBezTo>
                    <a:pt x="2477012" y="798554"/>
                    <a:pt x="2477945" y="789931"/>
                    <a:pt x="2468326" y="791502"/>
                  </a:cubicBezTo>
                  <a:cubicBezTo>
                    <a:pt x="2464672" y="792070"/>
                    <a:pt x="2463780" y="795212"/>
                    <a:pt x="2459964" y="794042"/>
                  </a:cubicBezTo>
                  <a:cubicBezTo>
                    <a:pt x="2456149" y="792872"/>
                    <a:pt x="2453713" y="789630"/>
                    <a:pt x="2447787" y="789764"/>
                  </a:cubicBezTo>
                  <a:cubicBezTo>
                    <a:pt x="2439953" y="789764"/>
                    <a:pt x="2421566" y="799323"/>
                    <a:pt x="2423433" y="789998"/>
                  </a:cubicBezTo>
                  <a:cubicBezTo>
                    <a:pt x="2424651" y="783647"/>
                    <a:pt x="2406548" y="788627"/>
                    <a:pt x="2404640" y="784616"/>
                  </a:cubicBezTo>
                  <a:cubicBezTo>
                    <a:pt x="2403666" y="782611"/>
                    <a:pt x="2408496" y="780338"/>
                    <a:pt x="2406751" y="777932"/>
                  </a:cubicBezTo>
                  <a:cubicBezTo>
                    <a:pt x="2403853" y="775000"/>
                    <a:pt x="2400675" y="772263"/>
                    <a:pt x="2397253" y="769743"/>
                  </a:cubicBezTo>
                  <a:cubicBezTo>
                    <a:pt x="2393446" y="766855"/>
                    <a:pt x="2391883" y="762470"/>
                    <a:pt x="2393194" y="758346"/>
                  </a:cubicBezTo>
                  <a:cubicBezTo>
                    <a:pt x="2394412" y="755538"/>
                    <a:pt x="2400054" y="751661"/>
                    <a:pt x="2398917" y="749054"/>
                  </a:cubicBezTo>
                  <a:cubicBezTo>
                    <a:pt x="2396400" y="743305"/>
                    <a:pt x="2379231" y="756741"/>
                    <a:pt x="2370504" y="754936"/>
                  </a:cubicBezTo>
                  <a:cubicBezTo>
                    <a:pt x="2362670" y="753332"/>
                    <a:pt x="2347896" y="759682"/>
                    <a:pt x="2338844" y="761387"/>
                  </a:cubicBezTo>
                  <a:cubicBezTo>
                    <a:pt x="2322121" y="764462"/>
                    <a:pt x="2324800" y="757644"/>
                    <a:pt x="2312988" y="757711"/>
                  </a:cubicBezTo>
                  <a:cubicBezTo>
                    <a:pt x="2307509" y="757711"/>
                    <a:pt x="2303734" y="758245"/>
                    <a:pt x="2300284" y="755972"/>
                  </a:cubicBezTo>
                  <a:cubicBezTo>
                    <a:pt x="2294926" y="752430"/>
                    <a:pt x="2290299" y="756908"/>
                    <a:pt x="2283764" y="756507"/>
                  </a:cubicBezTo>
                  <a:cubicBezTo>
                    <a:pt x="2279705" y="756240"/>
                    <a:pt x="2280760" y="752196"/>
                    <a:pt x="2276052" y="751728"/>
                  </a:cubicBezTo>
                  <a:cubicBezTo>
                    <a:pt x="2270572" y="751159"/>
                    <a:pt x="2264687" y="753900"/>
                    <a:pt x="2259004" y="753967"/>
                  </a:cubicBezTo>
                  <a:cubicBezTo>
                    <a:pt x="2242322" y="754268"/>
                    <a:pt x="2233879" y="754936"/>
                    <a:pt x="2218942" y="764195"/>
                  </a:cubicBezTo>
                  <a:cubicBezTo>
                    <a:pt x="2202706" y="774222"/>
                    <a:pt x="2177946" y="778500"/>
                    <a:pt x="2158869" y="780405"/>
                  </a:cubicBezTo>
                  <a:cubicBezTo>
                    <a:pt x="2133866" y="782912"/>
                    <a:pt x="2108051" y="790232"/>
                    <a:pt x="2098756" y="805606"/>
                  </a:cubicBezTo>
                  <a:cubicBezTo>
                    <a:pt x="2093560" y="814297"/>
                    <a:pt x="2106427" y="815199"/>
                    <a:pt x="2117224" y="814698"/>
                  </a:cubicBezTo>
                  <a:cubicBezTo>
                    <a:pt x="2131146" y="814029"/>
                    <a:pt x="2124693" y="823455"/>
                    <a:pt x="2120715" y="829471"/>
                  </a:cubicBezTo>
                  <a:cubicBezTo>
                    <a:pt x="2115316" y="837593"/>
                    <a:pt x="2113936" y="836390"/>
                    <a:pt x="2124368" y="839799"/>
                  </a:cubicBezTo>
                  <a:cubicBezTo>
                    <a:pt x="2132486" y="842506"/>
                    <a:pt x="2145028" y="847486"/>
                    <a:pt x="2149087" y="852500"/>
                  </a:cubicBezTo>
                  <a:cubicBezTo>
                    <a:pt x="2156596" y="861791"/>
                    <a:pt x="2138655" y="859920"/>
                    <a:pt x="2137641" y="866838"/>
                  </a:cubicBezTo>
                  <a:cubicBezTo>
                    <a:pt x="2136951" y="871417"/>
                    <a:pt x="2140563" y="872922"/>
                    <a:pt x="2136098" y="878403"/>
                  </a:cubicBezTo>
                  <a:cubicBezTo>
                    <a:pt x="2132039" y="883250"/>
                    <a:pt x="2124652" y="891772"/>
                    <a:pt x="2128873" y="895616"/>
                  </a:cubicBezTo>
                  <a:cubicBezTo>
                    <a:pt x="2133095" y="899460"/>
                    <a:pt x="2154688" y="896619"/>
                    <a:pt x="2162928" y="896686"/>
                  </a:cubicBezTo>
                  <a:cubicBezTo>
                    <a:pt x="2178393" y="896686"/>
                    <a:pt x="2191341" y="898758"/>
                    <a:pt x="2199459" y="905142"/>
                  </a:cubicBezTo>
                  <a:cubicBezTo>
                    <a:pt x="2217440" y="919079"/>
                    <a:pt x="2219754" y="936192"/>
                    <a:pt x="2194953" y="955845"/>
                  </a:cubicBezTo>
                  <a:cubicBezTo>
                    <a:pt x="2183507" y="965003"/>
                    <a:pt x="2176363" y="975900"/>
                    <a:pt x="2161345" y="983721"/>
                  </a:cubicBezTo>
                  <a:cubicBezTo>
                    <a:pt x="2155906" y="986562"/>
                    <a:pt x="2135124" y="992010"/>
                    <a:pt x="2136991" y="996422"/>
                  </a:cubicBezTo>
                  <a:cubicBezTo>
                    <a:pt x="2140563" y="1004410"/>
                    <a:pt x="2160777" y="1002204"/>
                    <a:pt x="2165404" y="1009190"/>
                  </a:cubicBezTo>
                  <a:cubicBezTo>
                    <a:pt x="2170031" y="1016175"/>
                    <a:pt x="2176404" y="1025534"/>
                    <a:pt x="2184887" y="1031249"/>
                  </a:cubicBezTo>
                  <a:cubicBezTo>
                    <a:pt x="2191625" y="1035795"/>
                    <a:pt x="2202990" y="1035694"/>
                    <a:pt x="2194548" y="1044953"/>
                  </a:cubicBezTo>
                  <a:cubicBezTo>
                    <a:pt x="2186430" y="1053643"/>
                    <a:pt x="2187039" y="1051337"/>
                    <a:pt x="2195968" y="1053676"/>
                  </a:cubicBezTo>
                  <a:cubicBezTo>
                    <a:pt x="2210946" y="1057620"/>
                    <a:pt x="2191463" y="1059793"/>
                    <a:pt x="2184887" y="1059693"/>
                  </a:cubicBezTo>
                  <a:cubicBezTo>
                    <a:pt x="2173522" y="1059693"/>
                    <a:pt x="2170884" y="1071926"/>
                    <a:pt x="2172710" y="1075335"/>
                  </a:cubicBezTo>
                  <a:cubicBezTo>
                    <a:pt x="2174131" y="1078176"/>
                    <a:pt x="2157205" y="1078176"/>
                    <a:pt x="2155703" y="1078209"/>
                  </a:cubicBezTo>
                  <a:cubicBezTo>
                    <a:pt x="2144622" y="1078610"/>
                    <a:pt x="2143932" y="1080281"/>
                    <a:pt x="2138493" y="1075669"/>
                  </a:cubicBezTo>
                  <a:cubicBezTo>
                    <a:pt x="2132039" y="1070188"/>
                    <a:pt x="2117346" y="1073196"/>
                    <a:pt x="2106508" y="1072327"/>
                  </a:cubicBezTo>
                  <a:cubicBezTo>
                    <a:pt x="2097498" y="1071524"/>
                    <a:pt x="2093885" y="1066812"/>
                    <a:pt x="2083129" y="1066143"/>
                  </a:cubicBezTo>
                  <a:cubicBezTo>
                    <a:pt x="2060683" y="1064840"/>
                    <a:pt x="2072860" y="1045187"/>
                    <a:pt x="2056948" y="1039404"/>
                  </a:cubicBezTo>
                  <a:cubicBezTo>
                    <a:pt x="2045867" y="1035527"/>
                    <a:pt x="2060398" y="1024364"/>
                    <a:pt x="2050576" y="1020821"/>
                  </a:cubicBezTo>
                  <a:cubicBezTo>
                    <a:pt x="2039657" y="1016910"/>
                    <a:pt x="2017170" y="1026336"/>
                    <a:pt x="2004141" y="1030313"/>
                  </a:cubicBezTo>
                  <a:cubicBezTo>
                    <a:pt x="1989285" y="1034825"/>
                    <a:pt x="1974632" y="1042279"/>
                    <a:pt x="1959492" y="1045254"/>
                  </a:cubicBezTo>
                  <a:cubicBezTo>
                    <a:pt x="1948777" y="1047359"/>
                    <a:pt x="1938020" y="1045955"/>
                    <a:pt x="1927426" y="1047092"/>
                  </a:cubicBezTo>
                  <a:cubicBezTo>
                    <a:pt x="1912895" y="1048629"/>
                    <a:pt x="1897958" y="1052974"/>
                    <a:pt x="1883589" y="1054378"/>
                  </a:cubicBezTo>
                  <a:cubicBezTo>
                    <a:pt x="1872184" y="1055515"/>
                    <a:pt x="1867354" y="1052039"/>
                    <a:pt x="1857977" y="1051972"/>
                  </a:cubicBezTo>
                  <a:cubicBezTo>
                    <a:pt x="1840361" y="1051771"/>
                    <a:pt x="1809919" y="1054612"/>
                    <a:pt x="1791897" y="1063403"/>
                  </a:cubicBezTo>
                  <a:cubicBezTo>
                    <a:pt x="1784307" y="1067113"/>
                    <a:pt x="1771034" y="1066745"/>
                    <a:pt x="1763484" y="1067480"/>
                  </a:cubicBezTo>
                  <a:cubicBezTo>
                    <a:pt x="1749846" y="1068984"/>
                    <a:pt x="1741566" y="1072661"/>
                    <a:pt x="1730160" y="1079479"/>
                  </a:cubicBezTo>
                  <a:cubicBezTo>
                    <a:pt x="1721758" y="1084526"/>
                    <a:pt x="1713924" y="1089874"/>
                    <a:pt x="1705522" y="1094921"/>
                  </a:cubicBezTo>
                  <a:cubicBezTo>
                    <a:pt x="1696105" y="1100570"/>
                    <a:pt x="1703899" y="1086799"/>
                    <a:pt x="1702681" y="1085395"/>
                  </a:cubicBezTo>
                  <a:cubicBezTo>
                    <a:pt x="1697607" y="1079513"/>
                    <a:pt x="1668261" y="1062901"/>
                    <a:pt x="1653973" y="1066478"/>
                  </a:cubicBezTo>
                  <a:cubicBezTo>
                    <a:pt x="1626250" y="1073162"/>
                    <a:pt x="1611395" y="1085262"/>
                    <a:pt x="1600719" y="1069820"/>
                  </a:cubicBezTo>
                  <a:cubicBezTo>
                    <a:pt x="1591993" y="1057219"/>
                    <a:pt x="1591018" y="1045788"/>
                    <a:pt x="1596214" y="1029411"/>
                  </a:cubicBezTo>
                  <a:cubicBezTo>
                    <a:pt x="1598081" y="1023595"/>
                    <a:pt x="1596214" y="1018414"/>
                    <a:pt x="1597837" y="1012900"/>
                  </a:cubicBezTo>
                  <a:cubicBezTo>
                    <a:pt x="1600232" y="1005212"/>
                    <a:pt x="1619837" y="999530"/>
                    <a:pt x="1618822" y="992578"/>
                  </a:cubicBezTo>
                  <a:cubicBezTo>
                    <a:pt x="1617727" y="985125"/>
                    <a:pt x="1616265" y="985626"/>
                    <a:pt x="1626940" y="978172"/>
                  </a:cubicBezTo>
                  <a:cubicBezTo>
                    <a:pt x="1630037" y="975996"/>
                    <a:pt x="1631413" y="972584"/>
                    <a:pt x="1630512" y="969315"/>
                  </a:cubicBezTo>
                  <a:cubicBezTo>
                    <a:pt x="1630512" y="965739"/>
                    <a:pt x="1638102" y="964569"/>
                    <a:pt x="1638630" y="962263"/>
                  </a:cubicBezTo>
                  <a:cubicBezTo>
                    <a:pt x="1639158" y="959956"/>
                    <a:pt x="1629457" y="962463"/>
                    <a:pt x="1631405" y="959422"/>
                  </a:cubicBezTo>
                  <a:cubicBezTo>
                    <a:pt x="1633353" y="956380"/>
                    <a:pt x="1644353" y="952737"/>
                    <a:pt x="1647885" y="951200"/>
                  </a:cubicBezTo>
                  <a:cubicBezTo>
                    <a:pt x="1658966" y="946854"/>
                    <a:pt x="1675080" y="939568"/>
                    <a:pt x="1679423" y="932014"/>
                  </a:cubicBezTo>
                  <a:cubicBezTo>
                    <a:pt x="1690220" y="913264"/>
                    <a:pt x="1637453" y="938699"/>
                    <a:pt x="1629254" y="936760"/>
                  </a:cubicBezTo>
                  <a:cubicBezTo>
                    <a:pt x="1614560" y="933418"/>
                    <a:pt x="1599299" y="939902"/>
                    <a:pt x="1579937" y="944615"/>
                  </a:cubicBezTo>
                  <a:cubicBezTo>
                    <a:pt x="1575878" y="945618"/>
                    <a:pt x="1566096" y="946687"/>
                    <a:pt x="1574742" y="942409"/>
                  </a:cubicBezTo>
                  <a:cubicBezTo>
                    <a:pt x="1586919" y="936393"/>
                    <a:pt x="1603155" y="932817"/>
                    <a:pt x="1616184" y="929541"/>
                  </a:cubicBezTo>
                  <a:cubicBezTo>
                    <a:pt x="1635667" y="924628"/>
                    <a:pt x="1676298" y="920550"/>
                    <a:pt x="1691519" y="907949"/>
                  </a:cubicBezTo>
                  <a:cubicBezTo>
                    <a:pt x="1698378" y="902268"/>
                    <a:pt x="1686486" y="898725"/>
                    <a:pt x="1687135" y="894145"/>
                  </a:cubicBezTo>
                  <a:cubicBezTo>
                    <a:pt x="1687703" y="890201"/>
                    <a:pt x="1719972" y="885556"/>
                    <a:pt x="1724640" y="884319"/>
                  </a:cubicBezTo>
                  <a:cubicBezTo>
                    <a:pt x="1755529" y="875996"/>
                    <a:pt x="1753946" y="853770"/>
                    <a:pt x="1770222" y="839866"/>
                  </a:cubicBezTo>
                  <a:cubicBezTo>
                    <a:pt x="1788691" y="824023"/>
                    <a:pt x="1710149" y="851497"/>
                    <a:pt x="1700042" y="852767"/>
                  </a:cubicBezTo>
                  <a:cubicBezTo>
                    <a:pt x="1693508" y="853469"/>
                    <a:pt x="1662700" y="856778"/>
                    <a:pt x="1666637" y="850093"/>
                  </a:cubicBezTo>
                  <a:cubicBezTo>
                    <a:pt x="1670574" y="843408"/>
                    <a:pt x="1692899" y="841503"/>
                    <a:pt x="1700083" y="840868"/>
                  </a:cubicBezTo>
                  <a:cubicBezTo>
                    <a:pt x="1731215" y="837994"/>
                    <a:pt x="1750983" y="840267"/>
                    <a:pt x="1771927" y="819043"/>
                  </a:cubicBezTo>
                  <a:cubicBezTo>
                    <a:pt x="1777041" y="813862"/>
                    <a:pt x="1791166" y="802598"/>
                    <a:pt x="1792222" y="797418"/>
                  </a:cubicBezTo>
                  <a:cubicBezTo>
                    <a:pt x="1793074" y="793273"/>
                    <a:pt x="1770872" y="798186"/>
                    <a:pt x="1766447" y="798120"/>
                  </a:cubicBezTo>
                  <a:cubicBezTo>
                    <a:pt x="1755610" y="797919"/>
                    <a:pt x="1785930" y="784750"/>
                    <a:pt x="1788975" y="783614"/>
                  </a:cubicBezTo>
                  <a:cubicBezTo>
                    <a:pt x="1806875" y="776929"/>
                    <a:pt x="1810487" y="786956"/>
                    <a:pt x="1829077" y="777765"/>
                  </a:cubicBezTo>
                  <a:cubicBezTo>
                    <a:pt x="1836221" y="774222"/>
                    <a:pt x="1858383" y="766735"/>
                    <a:pt x="1846369" y="764195"/>
                  </a:cubicBezTo>
                  <a:cubicBezTo>
                    <a:pt x="1841092" y="763058"/>
                    <a:pt x="1809838" y="767236"/>
                    <a:pt x="1815723" y="761220"/>
                  </a:cubicBezTo>
                  <a:cubicBezTo>
                    <a:pt x="1821609" y="755204"/>
                    <a:pt x="1836384" y="758880"/>
                    <a:pt x="1843487" y="758346"/>
                  </a:cubicBezTo>
                  <a:cubicBezTo>
                    <a:pt x="1861427" y="756942"/>
                    <a:pt x="1860088" y="765431"/>
                    <a:pt x="1877420" y="753399"/>
                  </a:cubicBezTo>
                  <a:cubicBezTo>
                    <a:pt x="1890084" y="744608"/>
                    <a:pt x="1899216" y="738258"/>
                    <a:pt x="1907497" y="728398"/>
                  </a:cubicBezTo>
                  <a:cubicBezTo>
                    <a:pt x="1913139" y="721713"/>
                    <a:pt x="1927102" y="719240"/>
                    <a:pt x="1924504" y="710884"/>
                  </a:cubicBezTo>
                  <a:cubicBezTo>
                    <a:pt x="1921500" y="701091"/>
                    <a:pt x="1893453" y="708879"/>
                    <a:pt x="1889921" y="700222"/>
                  </a:cubicBezTo>
                  <a:cubicBezTo>
                    <a:pt x="1888785" y="697348"/>
                    <a:pt x="1854527" y="696244"/>
                    <a:pt x="1879124" y="690195"/>
                  </a:cubicBezTo>
                  <a:cubicBezTo>
                    <a:pt x="1887973" y="688022"/>
                    <a:pt x="1914722" y="677460"/>
                    <a:pt x="1909445" y="671110"/>
                  </a:cubicBezTo>
                  <a:cubicBezTo>
                    <a:pt x="1907659" y="669004"/>
                    <a:pt x="1891423" y="672079"/>
                    <a:pt x="1893209" y="669071"/>
                  </a:cubicBezTo>
                  <a:cubicBezTo>
                    <a:pt x="1894995" y="666063"/>
                    <a:pt x="1905386" y="661217"/>
                    <a:pt x="1897715" y="660448"/>
                  </a:cubicBezTo>
                  <a:cubicBezTo>
                    <a:pt x="1890043" y="659679"/>
                    <a:pt x="1881032" y="664124"/>
                    <a:pt x="1873361" y="665963"/>
                  </a:cubicBezTo>
                  <a:cubicBezTo>
                    <a:pt x="1855785" y="670141"/>
                    <a:pt x="1854933" y="660013"/>
                    <a:pt x="1839509" y="664726"/>
                  </a:cubicBezTo>
                  <a:cubicBezTo>
                    <a:pt x="1811989" y="673149"/>
                    <a:pt x="1785240" y="678096"/>
                    <a:pt x="1758330" y="689292"/>
                  </a:cubicBezTo>
                  <a:cubicBezTo>
                    <a:pt x="1749927" y="692835"/>
                    <a:pt x="1758613" y="701559"/>
                    <a:pt x="1761820" y="702896"/>
                  </a:cubicBezTo>
                  <a:cubicBezTo>
                    <a:pt x="1764296" y="703932"/>
                    <a:pt x="1798107" y="698216"/>
                    <a:pt x="1783576" y="707007"/>
                  </a:cubicBezTo>
                  <a:cubicBezTo>
                    <a:pt x="1774281" y="712622"/>
                    <a:pt x="1791248" y="713090"/>
                    <a:pt x="1777325" y="717234"/>
                  </a:cubicBezTo>
                  <a:cubicBezTo>
                    <a:pt x="1761090" y="722081"/>
                    <a:pt x="1763728" y="728599"/>
                    <a:pt x="1765149" y="735116"/>
                  </a:cubicBezTo>
                  <a:cubicBezTo>
                    <a:pt x="1766001" y="739394"/>
                    <a:pt x="1765149" y="750290"/>
                    <a:pt x="1752972" y="753934"/>
                  </a:cubicBezTo>
                  <a:cubicBezTo>
                    <a:pt x="1744367" y="756474"/>
                    <a:pt x="1747857" y="743238"/>
                    <a:pt x="1736736" y="747817"/>
                  </a:cubicBezTo>
                  <a:cubicBezTo>
                    <a:pt x="1708120" y="759448"/>
                    <a:pt x="1760724" y="762256"/>
                    <a:pt x="1757031" y="768707"/>
                  </a:cubicBezTo>
                  <a:cubicBezTo>
                    <a:pt x="1755650" y="771180"/>
                    <a:pt x="1748222" y="773854"/>
                    <a:pt x="1745138" y="775592"/>
                  </a:cubicBezTo>
                  <a:cubicBezTo>
                    <a:pt x="1738725" y="779235"/>
                    <a:pt x="1739739" y="782277"/>
                    <a:pt x="1735315" y="785887"/>
                  </a:cubicBezTo>
                  <a:cubicBezTo>
                    <a:pt x="1734584" y="786455"/>
                    <a:pt x="1702843" y="781675"/>
                    <a:pt x="1699921" y="781241"/>
                  </a:cubicBezTo>
                  <a:cubicBezTo>
                    <a:pt x="1690545" y="779703"/>
                    <a:pt x="1676013" y="774222"/>
                    <a:pt x="1689733" y="765331"/>
                  </a:cubicBezTo>
                  <a:cubicBezTo>
                    <a:pt x="1700205" y="758646"/>
                    <a:pt x="1694806" y="753533"/>
                    <a:pt x="1685308" y="750190"/>
                  </a:cubicBezTo>
                  <a:cubicBezTo>
                    <a:pt x="1679220" y="748051"/>
                    <a:pt x="1652309" y="748753"/>
                    <a:pt x="1643866" y="750424"/>
                  </a:cubicBezTo>
                  <a:cubicBezTo>
                    <a:pt x="1622151" y="754702"/>
                    <a:pt x="1630431" y="763092"/>
                    <a:pt x="1625520" y="770478"/>
                  </a:cubicBezTo>
                  <a:cubicBezTo>
                    <a:pt x="1619188" y="780138"/>
                    <a:pt x="1615535" y="800994"/>
                    <a:pt x="1603642" y="785753"/>
                  </a:cubicBezTo>
                  <a:cubicBezTo>
                    <a:pt x="1599583" y="780305"/>
                    <a:pt x="1596173" y="779737"/>
                    <a:pt x="1588096" y="777397"/>
                  </a:cubicBezTo>
                  <a:cubicBezTo>
                    <a:pt x="1578436" y="774589"/>
                    <a:pt x="1613302" y="760184"/>
                    <a:pt x="1602262" y="759148"/>
                  </a:cubicBezTo>
                  <a:cubicBezTo>
                    <a:pt x="1595889" y="758546"/>
                    <a:pt x="1570602" y="765164"/>
                    <a:pt x="1561672" y="766601"/>
                  </a:cubicBezTo>
                  <a:cubicBezTo>
                    <a:pt x="1552742" y="768038"/>
                    <a:pt x="1541824" y="784616"/>
                    <a:pt x="1533706" y="778767"/>
                  </a:cubicBezTo>
                  <a:cubicBezTo>
                    <a:pt x="1530986" y="776729"/>
                    <a:pt x="1527739" y="764963"/>
                    <a:pt x="1535492" y="762624"/>
                  </a:cubicBezTo>
                  <a:cubicBezTo>
                    <a:pt x="1548967" y="758546"/>
                    <a:pt x="1554082" y="750859"/>
                    <a:pt x="1538252" y="753466"/>
                  </a:cubicBezTo>
                  <a:cubicBezTo>
                    <a:pt x="1525588" y="755571"/>
                    <a:pt x="1525669" y="751293"/>
                    <a:pt x="1515806" y="751694"/>
                  </a:cubicBezTo>
                  <a:cubicBezTo>
                    <a:pt x="1509433" y="751928"/>
                    <a:pt x="1488813" y="758880"/>
                    <a:pt x="1485485" y="756307"/>
                  </a:cubicBezTo>
                  <a:cubicBezTo>
                    <a:pt x="1480655" y="752630"/>
                    <a:pt x="1488976" y="743505"/>
                    <a:pt x="1479437" y="742068"/>
                  </a:cubicBezTo>
                  <a:cubicBezTo>
                    <a:pt x="1466477" y="740407"/>
                    <a:pt x="1453253" y="740791"/>
                    <a:pt x="1440471" y="743205"/>
                  </a:cubicBezTo>
                  <a:cubicBezTo>
                    <a:pt x="1432028" y="744809"/>
                    <a:pt x="1420176" y="751794"/>
                    <a:pt x="1417091" y="745644"/>
                  </a:cubicBezTo>
                  <a:cubicBezTo>
                    <a:pt x="1416320" y="744040"/>
                    <a:pt x="1431582" y="733645"/>
                    <a:pt x="1434058" y="730571"/>
                  </a:cubicBezTo>
                  <a:cubicBezTo>
                    <a:pt x="1437427" y="726359"/>
                    <a:pt x="1454353" y="708945"/>
                    <a:pt x="1438117" y="712622"/>
                  </a:cubicBezTo>
                  <a:cubicBezTo>
                    <a:pt x="1414615" y="717903"/>
                    <a:pt x="1442176" y="704834"/>
                    <a:pt x="1451146" y="702194"/>
                  </a:cubicBezTo>
                  <a:cubicBezTo>
                    <a:pt x="1486135" y="692167"/>
                    <a:pt x="1492020" y="687956"/>
                    <a:pt x="1503913" y="667834"/>
                  </a:cubicBezTo>
                  <a:cubicBezTo>
                    <a:pt x="1510813" y="656136"/>
                    <a:pt x="1539591" y="623214"/>
                    <a:pt x="1499854" y="638288"/>
                  </a:cubicBezTo>
                  <a:cubicBezTo>
                    <a:pt x="1483171" y="644672"/>
                    <a:pt x="1469046" y="651824"/>
                    <a:pt x="1451471" y="655000"/>
                  </a:cubicBezTo>
                  <a:cubicBezTo>
                    <a:pt x="1437082" y="657590"/>
                    <a:pt x="1423163" y="661715"/>
                    <a:pt x="1410069" y="667266"/>
                  </a:cubicBezTo>
                  <a:cubicBezTo>
                    <a:pt x="1395355" y="673333"/>
                    <a:pt x="1381157" y="680211"/>
                    <a:pt x="1367572" y="687855"/>
                  </a:cubicBezTo>
                  <a:cubicBezTo>
                    <a:pt x="1350727" y="697515"/>
                    <a:pt x="1360387" y="696044"/>
                    <a:pt x="1369885" y="698785"/>
                  </a:cubicBezTo>
                  <a:cubicBezTo>
                    <a:pt x="1380033" y="701693"/>
                    <a:pt x="1352188" y="706338"/>
                    <a:pt x="1349591" y="708177"/>
                  </a:cubicBezTo>
                  <a:cubicBezTo>
                    <a:pt x="1344801" y="711753"/>
                    <a:pt x="1356491" y="718939"/>
                    <a:pt x="1357709" y="721011"/>
                  </a:cubicBezTo>
                  <a:cubicBezTo>
                    <a:pt x="1361768" y="727228"/>
                    <a:pt x="1361768" y="735684"/>
                    <a:pt x="1374797" y="736921"/>
                  </a:cubicBezTo>
                  <a:cubicBezTo>
                    <a:pt x="1391033" y="738459"/>
                    <a:pt x="1394158" y="744475"/>
                    <a:pt x="1399151" y="752898"/>
                  </a:cubicBezTo>
                  <a:cubicBezTo>
                    <a:pt x="1403209" y="759582"/>
                    <a:pt x="1391033" y="763560"/>
                    <a:pt x="1384011" y="770044"/>
                  </a:cubicBezTo>
                  <a:cubicBezTo>
                    <a:pt x="1381900" y="772016"/>
                    <a:pt x="1399759" y="771648"/>
                    <a:pt x="1399719" y="775024"/>
                  </a:cubicBezTo>
                  <a:cubicBezTo>
                    <a:pt x="1399719" y="780539"/>
                    <a:pt x="1377760" y="781074"/>
                    <a:pt x="1371996" y="784717"/>
                  </a:cubicBezTo>
                  <a:cubicBezTo>
                    <a:pt x="1361970" y="791000"/>
                    <a:pt x="1364812" y="804136"/>
                    <a:pt x="1375528" y="803969"/>
                  </a:cubicBezTo>
                  <a:cubicBezTo>
                    <a:pt x="1393225" y="803735"/>
                    <a:pt x="1384254" y="807110"/>
                    <a:pt x="1382387" y="816703"/>
                  </a:cubicBezTo>
                  <a:cubicBezTo>
                    <a:pt x="1380398" y="827064"/>
                    <a:pt x="1398623" y="826496"/>
                    <a:pt x="1413925" y="823388"/>
                  </a:cubicBezTo>
                  <a:cubicBezTo>
                    <a:pt x="1430527" y="819845"/>
                    <a:pt x="1447250" y="813361"/>
                    <a:pt x="1463810" y="810520"/>
                  </a:cubicBezTo>
                  <a:cubicBezTo>
                    <a:pt x="1487109" y="806342"/>
                    <a:pt x="1470710" y="811489"/>
                    <a:pt x="1472375" y="816135"/>
                  </a:cubicBezTo>
                  <a:cubicBezTo>
                    <a:pt x="1473389" y="818909"/>
                    <a:pt x="1479275" y="818341"/>
                    <a:pt x="1477651" y="822385"/>
                  </a:cubicBezTo>
                  <a:cubicBezTo>
                    <a:pt x="1476393" y="825427"/>
                    <a:pt x="1472659" y="828535"/>
                    <a:pt x="1471603" y="831543"/>
                  </a:cubicBezTo>
                  <a:cubicBezTo>
                    <a:pt x="1467747" y="842840"/>
                    <a:pt x="1482968" y="826095"/>
                    <a:pt x="1484511" y="822151"/>
                  </a:cubicBezTo>
                  <a:cubicBezTo>
                    <a:pt x="1489219" y="809985"/>
                    <a:pt x="1502452" y="821516"/>
                    <a:pt x="1503953" y="824858"/>
                  </a:cubicBezTo>
                  <a:cubicBezTo>
                    <a:pt x="1505455" y="828201"/>
                    <a:pt x="1501599" y="830808"/>
                    <a:pt x="1496282" y="834150"/>
                  </a:cubicBezTo>
                  <a:cubicBezTo>
                    <a:pt x="1486825" y="840133"/>
                    <a:pt x="1486825" y="846651"/>
                    <a:pt x="1479031" y="852867"/>
                  </a:cubicBezTo>
                  <a:cubicBezTo>
                    <a:pt x="1472050" y="858449"/>
                    <a:pt x="1449441" y="862460"/>
                    <a:pt x="1453703" y="868476"/>
                  </a:cubicBezTo>
                  <a:cubicBezTo>
                    <a:pt x="1456910" y="873055"/>
                    <a:pt x="1472983" y="875161"/>
                    <a:pt x="1472375" y="880709"/>
                  </a:cubicBezTo>
                  <a:cubicBezTo>
                    <a:pt x="1471684" y="887394"/>
                    <a:pt x="1445829" y="891873"/>
                    <a:pt x="1439497" y="892174"/>
                  </a:cubicBezTo>
                  <a:cubicBezTo>
                    <a:pt x="1419202" y="893109"/>
                    <a:pt x="1435803" y="878035"/>
                    <a:pt x="1432881" y="870782"/>
                  </a:cubicBezTo>
                  <a:cubicBezTo>
                    <a:pt x="1431419" y="867173"/>
                    <a:pt x="1409258" y="877467"/>
                    <a:pt x="1403413" y="879105"/>
                  </a:cubicBezTo>
                  <a:cubicBezTo>
                    <a:pt x="1399638" y="880074"/>
                    <a:pt x="1374269" y="882046"/>
                    <a:pt x="1386730" y="876999"/>
                  </a:cubicBezTo>
                  <a:cubicBezTo>
                    <a:pt x="1392900" y="874526"/>
                    <a:pt x="1419730" y="868276"/>
                    <a:pt x="1418187" y="863128"/>
                  </a:cubicBezTo>
                  <a:cubicBezTo>
                    <a:pt x="1415792" y="854940"/>
                    <a:pt x="1434788" y="852867"/>
                    <a:pt x="1446600" y="848054"/>
                  </a:cubicBezTo>
                  <a:cubicBezTo>
                    <a:pt x="1461415" y="841971"/>
                    <a:pt x="1465799" y="832513"/>
                    <a:pt x="1453216" y="830674"/>
                  </a:cubicBezTo>
                  <a:cubicBezTo>
                    <a:pt x="1439862" y="828736"/>
                    <a:pt x="1433408" y="834618"/>
                    <a:pt x="1420744" y="840935"/>
                  </a:cubicBezTo>
                  <a:cubicBezTo>
                    <a:pt x="1408080" y="847252"/>
                    <a:pt x="1400449" y="842138"/>
                    <a:pt x="1414859" y="836690"/>
                  </a:cubicBezTo>
                  <a:cubicBezTo>
                    <a:pt x="1430364" y="830774"/>
                    <a:pt x="1442135" y="820781"/>
                    <a:pt x="1417457" y="828903"/>
                  </a:cubicBezTo>
                  <a:cubicBezTo>
                    <a:pt x="1398907" y="835019"/>
                    <a:pt x="1390383" y="844979"/>
                    <a:pt x="1370819" y="843743"/>
                  </a:cubicBezTo>
                  <a:cubicBezTo>
                    <a:pt x="1362336" y="843208"/>
                    <a:pt x="1348048" y="844578"/>
                    <a:pt x="1340214" y="851330"/>
                  </a:cubicBezTo>
                  <a:cubicBezTo>
                    <a:pt x="1330229" y="859987"/>
                    <a:pt x="1341960" y="866304"/>
                    <a:pt x="1331569" y="874726"/>
                  </a:cubicBezTo>
                  <a:cubicBezTo>
                    <a:pt x="1326292" y="879072"/>
                    <a:pt x="1305672" y="885255"/>
                    <a:pt x="1308757" y="890669"/>
                  </a:cubicBezTo>
                  <a:cubicBezTo>
                    <a:pt x="1312370" y="896886"/>
                    <a:pt x="1343299" y="882681"/>
                    <a:pt x="1351174" y="880642"/>
                  </a:cubicBezTo>
                  <a:cubicBezTo>
                    <a:pt x="1354299" y="879773"/>
                    <a:pt x="1383077" y="877534"/>
                    <a:pt x="1372686" y="881912"/>
                  </a:cubicBezTo>
                  <a:cubicBezTo>
                    <a:pt x="1367450" y="884085"/>
                    <a:pt x="1368059" y="886391"/>
                    <a:pt x="1366841" y="888965"/>
                  </a:cubicBezTo>
                  <a:cubicBezTo>
                    <a:pt x="1365218" y="892307"/>
                    <a:pt x="1355841" y="892976"/>
                    <a:pt x="1352351" y="894379"/>
                  </a:cubicBezTo>
                  <a:cubicBezTo>
                    <a:pt x="1345410" y="897120"/>
                    <a:pt x="1343299" y="901064"/>
                    <a:pt x="1349793" y="901733"/>
                  </a:cubicBezTo>
                  <a:cubicBezTo>
                    <a:pt x="1358723" y="902669"/>
                    <a:pt x="1350686" y="908852"/>
                    <a:pt x="1353852" y="912395"/>
                  </a:cubicBezTo>
                  <a:cubicBezTo>
                    <a:pt x="1357018" y="915938"/>
                    <a:pt x="1322355" y="925163"/>
                    <a:pt x="1317322" y="927268"/>
                  </a:cubicBezTo>
                  <a:cubicBezTo>
                    <a:pt x="1301212" y="934501"/>
                    <a:pt x="1285641" y="942513"/>
                    <a:pt x="1270684" y="951266"/>
                  </a:cubicBezTo>
                  <a:cubicBezTo>
                    <a:pt x="1235127" y="971321"/>
                    <a:pt x="1208257" y="967611"/>
                    <a:pt x="1173269" y="983320"/>
                  </a:cubicBezTo>
                  <a:cubicBezTo>
                    <a:pt x="1161376" y="988634"/>
                    <a:pt x="1153582" y="983821"/>
                    <a:pt x="1140797" y="989403"/>
                  </a:cubicBezTo>
                  <a:cubicBezTo>
                    <a:pt x="1127199" y="995219"/>
                    <a:pt x="1122856" y="991275"/>
                    <a:pt x="1118513" y="986562"/>
                  </a:cubicBezTo>
                  <a:cubicBezTo>
                    <a:pt x="1108447" y="975666"/>
                    <a:pt x="1065259" y="1010627"/>
                    <a:pt x="1054584" y="1017445"/>
                  </a:cubicBezTo>
                  <a:cubicBezTo>
                    <a:pt x="1043909" y="1024264"/>
                    <a:pt x="1026861" y="1032486"/>
                    <a:pt x="1025238" y="1040842"/>
                  </a:cubicBezTo>
                  <a:cubicBezTo>
                    <a:pt x="1023614" y="1049198"/>
                    <a:pt x="1033802" y="1045086"/>
                    <a:pt x="1043584" y="1040541"/>
                  </a:cubicBezTo>
                  <a:cubicBezTo>
                    <a:pt x="1052189" y="1036497"/>
                    <a:pt x="1053691" y="1029912"/>
                    <a:pt x="1062499" y="1025400"/>
                  </a:cubicBezTo>
                  <a:cubicBezTo>
                    <a:pt x="1080034" y="1016476"/>
                    <a:pt x="1085838" y="1010025"/>
                    <a:pt x="1100491" y="999931"/>
                  </a:cubicBezTo>
                  <a:cubicBezTo>
                    <a:pt x="1110963" y="992712"/>
                    <a:pt x="1110517" y="999931"/>
                    <a:pt x="1105849" y="1004577"/>
                  </a:cubicBezTo>
                  <a:cubicBezTo>
                    <a:pt x="1096501" y="1013173"/>
                    <a:pt x="1086171" y="1021008"/>
                    <a:pt x="1075001" y="1027974"/>
                  </a:cubicBezTo>
                  <a:cubicBezTo>
                    <a:pt x="1037090" y="1052707"/>
                    <a:pt x="1075610" y="1045320"/>
                    <a:pt x="1092008" y="1055448"/>
                  </a:cubicBezTo>
                  <a:cubicBezTo>
                    <a:pt x="1094687" y="1057119"/>
                    <a:pt x="1077842" y="1072995"/>
                    <a:pt x="1072971" y="1074399"/>
                  </a:cubicBezTo>
                  <a:cubicBezTo>
                    <a:pt x="1069602" y="1075402"/>
                    <a:pt x="1051499" y="1078878"/>
                    <a:pt x="1060226" y="1072861"/>
                  </a:cubicBezTo>
                  <a:cubicBezTo>
                    <a:pt x="1078289" y="1060461"/>
                    <a:pt x="1046385" y="1060762"/>
                    <a:pt x="1034452" y="1066177"/>
                  </a:cubicBezTo>
                  <a:cubicBezTo>
                    <a:pt x="1027511" y="1069319"/>
                    <a:pt x="1031894" y="1064071"/>
                    <a:pt x="1027470" y="1064305"/>
                  </a:cubicBezTo>
                  <a:cubicBezTo>
                    <a:pt x="1023980" y="1064506"/>
                    <a:pt x="1016552" y="1069452"/>
                    <a:pt x="1013101" y="1070689"/>
                  </a:cubicBezTo>
                  <a:cubicBezTo>
                    <a:pt x="998002" y="1075970"/>
                    <a:pt x="989519" y="1070288"/>
                    <a:pt x="975921" y="1082253"/>
                  </a:cubicBezTo>
                  <a:cubicBezTo>
                    <a:pt x="955910" y="1099834"/>
                    <a:pt x="914428" y="1119554"/>
                    <a:pt x="887679" y="1132990"/>
                  </a:cubicBezTo>
                  <a:cubicBezTo>
                    <a:pt x="880901" y="1136333"/>
                    <a:pt x="823750" y="1165445"/>
                    <a:pt x="823994" y="1155284"/>
                  </a:cubicBezTo>
                  <a:cubicBezTo>
                    <a:pt x="823994" y="1149635"/>
                    <a:pt x="835237" y="1140611"/>
                    <a:pt x="842300" y="1135430"/>
                  </a:cubicBezTo>
                  <a:cubicBezTo>
                    <a:pt x="850702" y="1129214"/>
                    <a:pt x="866856" y="1124167"/>
                    <a:pt x="850986" y="1122830"/>
                  </a:cubicBezTo>
                  <a:cubicBezTo>
                    <a:pt x="837429" y="1121693"/>
                    <a:pt x="821437" y="1124935"/>
                    <a:pt x="805363" y="1130150"/>
                  </a:cubicBezTo>
                  <a:cubicBezTo>
                    <a:pt x="802846" y="1130985"/>
                    <a:pt x="776382" y="1139909"/>
                    <a:pt x="779507" y="1142884"/>
                  </a:cubicBezTo>
                  <a:cubicBezTo>
                    <a:pt x="783566" y="1146895"/>
                    <a:pt x="707217" y="1172364"/>
                    <a:pt x="698044" y="1175004"/>
                  </a:cubicBezTo>
                  <a:cubicBezTo>
                    <a:pt x="685014" y="1178547"/>
                    <a:pt x="672594" y="1185833"/>
                    <a:pt x="659727" y="1190813"/>
                  </a:cubicBezTo>
                  <a:cubicBezTo>
                    <a:pt x="641056" y="1198133"/>
                    <a:pt x="625956" y="1200239"/>
                    <a:pt x="607894" y="1204550"/>
                  </a:cubicBezTo>
                  <a:cubicBezTo>
                    <a:pt x="578182" y="1211636"/>
                    <a:pt x="553747" y="1228749"/>
                    <a:pt x="543681" y="1246798"/>
                  </a:cubicBezTo>
                  <a:cubicBezTo>
                    <a:pt x="539906" y="1253482"/>
                    <a:pt x="520301" y="1266852"/>
                    <a:pt x="510113" y="1269526"/>
                  </a:cubicBezTo>
                  <a:cubicBezTo>
                    <a:pt x="503822" y="1271063"/>
                    <a:pt x="511006" y="1259866"/>
                    <a:pt x="509910" y="1258061"/>
                  </a:cubicBezTo>
                  <a:cubicBezTo>
                    <a:pt x="505149" y="1254990"/>
                    <a:pt x="499779" y="1252617"/>
                    <a:pt x="494039" y="1251043"/>
                  </a:cubicBezTo>
                  <a:cubicBezTo>
                    <a:pt x="483202" y="1251344"/>
                    <a:pt x="481863" y="1264947"/>
                    <a:pt x="481132" y="1268256"/>
                  </a:cubicBezTo>
                  <a:cubicBezTo>
                    <a:pt x="468022" y="1323939"/>
                    <a:pt x="416473" y="1277648"/>
                    <a:pt x="372554" y="1300008"/>
                  </a:cubicBezTo>
                  <a:cubicBezTo>
                    <a:pt x="358795" y="1307027"/>
                    <a:pt x="384731" y="1305590"/>
                    <a:pt x="385868" y="1307595"/>
                  </a:cubicBezTo>
                  <a:cubicBezTo>
                    <a:pt x="387491" y="1310135"/>
                    <a:pt x="374381" y="1315316"/>
                    <a:pt x="373691" y="1318759"/>
                  </a:cubicBezTo>
                  <a:cubicBezTo>
                    <a:pt x="372230" y="1326145"/>
                    <a:pt x="376248" y="1328786"/>
                    <a:pt x="366872" y="1338211"/>
                  </a:cubicBezTo>
                  <a:cubicBezTo>
                    <a:pt x="359200" y="1346066"/>
                    <a:pt x="356806" y="1338211"/>
                    <a:pt x="346009" y="1345331"/>
                  </a:cubicBezTo>
                  <a:cubicBezTo>
                    <a:pt x="331356" y="1354923"/>
                    <a:pt x="330990" y="1376615"/>
                    <a:pt x="312076" y="1382732"/>
                  </a:cubicBezTo>
                  <a:cubicBezTo>
                    <a:pt x="308301" y="1383935"/>
                    <a:pt x="307367" y="1381528"/>
                    <a:pt x="303633" y="1383868"/>
                  </a:cubicBezTo>
                  <a:cubicBezTo>
                    <a:pt x="297378" y="1388230"/>
                    <a:pt x="291777" y="1393186"/>
                    <a:pt x="286951" y="1398641"/>
                  </a:cubicBezTo>
                  <a:cubicBezTo>
                    <a:pt x="276560" y="1409337"/>
                    <a:pt x="270715" y="1415888"/>
                    <a:pt x="272014" y="1424210"/>
                  </a:cubicBezTo>
                  <a:cubicBezTo>
                    <a:pt x="273394" y="1434237"/>
                    <a:pt x="232195" y="1454024"/>
                    <a:pt x="256305" y="1428087"/>
                  </a:cubicBezTo>
                  <a:cubicBezTo>
                    <a:pt x="269335" y="1414049"/>
                    <a:pt x="278183" y="1399677"/>
                    <a:pt x="292349" y="1385773"/>
                  </a:cubicBezTo>
                  <a:cubicBezTo>
                    <a:pt x="305663" y="1372705"/>
                    <a:pt x="323278" y="1361608"/>
                    <a:pt x="335212" y="1347904"/>
                  </a:cubicBezTo>
                  <a:cubicBezTo>
                    <a:pt x="351448" y="1329220"/>
                    <a:pt x="315445" y="1350912"/>
                    <a:pt x="307043" y="1356628"/>
                  </a:cubicBezTo>
                  <a:cubicBezTo>
                    <a:pt x="285571" y="1371167"/>
                    <a:pt x="272298" y="1390586"/>
                    <a:pt x="251800" y="1406228"/>
                  </a:cubicBezTo>
                  <a:cubicBezTo>
                    <a:pt x="236822" y="1417659"/>
                    <a:pt x="253423" y="1416255"/>
                    <a:pt x="237025" y="1424578"/>
                  </a:cubicBezTo>
                  <a:cubicBezTo>
                    <a:pt x="227852" y="1429291"/>
                    <a:pt x="229516" y="1431831"/>
                    <a:pt x="223103" y="1436477"/>
                  </a:cubicBezTo>
                  <a:cubicBezTo>
                    <a:pt x="213767" y="1443161"/>
                    <a:pt x="219572" y="1432265"/>
                    <a:pt x="215472" y="1433134"/>
                  </a:cubicBezTo>
                  <a:cubicBezTo>
                    <a:pt x="195664" y="1436711"/>
                    <a:pt x="202646" y="1444331"/>
                    <a:pt x="191118" y="1453188"/>
                  </a:cubicBezTo>
                  <a:cubicBezTo>
                    <a:pt x="181742" y="1460207"/>
                    <a:pt x="171067" y="1465589"/>
                    <a:pt x="165384" y="1474078"/>
                  </a:cubicBezTo>
                  <a:cubicBezTo>
                    <a:pt x="157835" y="1485442"/>
                    <a:pt x="177845" y="1477822"/>
                    <a:pt x="185679" y="1477420"/>
                  </a:cubicBezTo>
                  <a:cubicBezTo>
                    <a:pt x="205040" y="1476284"/>
                    <a:pt x="155196" y="1494132"/>
                    <a:pt x="153938" y="1494801"/>
                  </a:cubicBezTo>
                  <a:cubicBezTo>
                    <a:pt x="132507" y="1504460"/>
                    <a:pt x="116798" y="1515423"/>
                    <a:pt x="93987" y="1522977"/>
                  </a:cubicBezTo>
                  <a:cubicBezTo>
                    <a:pt x="79902" y="1527623"/>
                    <a:pt x="67279" y="1528124"/>
                    <a:pt x="54899" y="1531567"/>
                  </a:cubicBezTo>
                  <a:cubicBezTo>
                    <a:pt x="39150" y="1535945"/>
                    <a:pt x="14796" y="1555999"/>
                    <a:pt x="-60" y="1564456"/>
                  </a:cubicBezTo>
                  <a:lnTo>
                    <a:pt x="172609" y="1746514"/>
                  </a:lnTo>
                  <a:cubicBezTo>
                    <a:pt x="180159" y="1754469"/>
                    <a:pt x="187696" y="1762413"/>
                    <a:pt x="195218" y="1770345"/>
                  </a:cubicBezTo>
                  <a:cubicBezTo>
                    <a:pt x="199764" y="1775158"/>
                    <a:pt x="237756" y="1740598"/>
                    <a:pt x="241246" y="1738325"/>
                  </a:cubicBezTo>
                  <a:cubicBezTo>
                    <a:pt x="253626" y="1730036"/>
                    <a:pt x="256427" y="1738091"/>
                    <a:pt x="263855" y="1738526"/>
                  </a:cubicBezTo>
                  <a:cubicBezTo>
                    <a:pt x="277331" y="1739328"/>
                    <a:pt x="295637" y="1733211"/>
                    <a:pt x="309924" y="1733479"/>
                  </a:cubicBezTo>
                  <a:cubicBezTo>
                    <a:pt x="325470" y="1733779"/>
                    <a:pt x="328799" y="1728198"/>
                    <a:pt x="339271" y="1717201"/>
                  </a:cubicBezTo>
                  <a:cubicBezTo>
                    <a:pt x="348282" y="1707743"/>
                    <a:pt x="343533" y="1704133"/>
                    <a:pt x="348931" y="1696646"/>
                  </a:cubicBezTo>
                  <a:cubicBezTo>
                    <a:pt x="353680" y="1689961"/>
                    <a:pt x="365167" y="1683276"/>
                    <a:pt x="373650" y="1679332"/>
                  </a:cubicBezTo>
                  <a:cubicBezTo>
                    <a:pt x="385827" y="1674051"/>
                    <a:pt x="385827" y="1679332"/>
                    <a:pt x="394595" y="1679332"/>
                  </a:cubicBezTo>
                  <a:cubicBezTo>
                    <a:pt x="416878" y="1679332"/>
                    <a:pt x="443302" y="1672213"/>
                    <a:pt x="465789" y="1672882"/>
                  </a:cubicBezTo>
                  <a:cubicBezTo>
                    <a:pt x="488276" y="1673550"/>
                    <a:pt x="506622" y="1684246"/>
                    <a:pt x="532356" y="1679566"/>
                  </a:cubicBezTo>
                  <a:cubicBezTo>
                    <a:pt x="547375" y="1676826"/>
                    <a:pt x="590359" y="1656571"/>
                    <a:pt x="594986" y="1667901"/>
                  </a:cubicBezTo>
                  <a:cubicBezTo>
                    <a:pt x="597340" y="1673584"/>
                    <a:pt x="597381" y="1675322"/>
                    <a:pt x="607853" y="1674954"/>
                  </a:cubicBezTo>
                  <a:cubicBezTo>
                    <a:pt x="623277" y="1674419"/>
                    <a:pt x="604281" y="1692067"/>
                    <a:pt x="598802" y="1699387"/>
                  </a:cubicBezTo>
                  <a:cubicBezTo>
                    <a:pt x="602536" y="1702361"/>
                    <a:pt x="625226" y="1695576"/>
                    <a:pt x="617514" y="1703230"/>
                  </a:cubicBezTo>
                  <a:cubicBezTo>
                    <a:pt x="608422" y="1712255"/>
                    <a:pt x="617717" y="1707709"/>
                    <a:pt x="621248" y="1713257"/>
                  </a:cubicBezTo>
                  <a:cubicBezTo>
                    <a:pt x="626849" y="1722215"/>
                    <a:pt x="645358" y="1712990"/>
                    <a:pt x="652502" y="1702395"/>
                  </a:cubicBezTo>
                  <a:cubicBezTo>
                    <a:pt x="660620" y="1690162"/>
                    <a:pt x="667764" y="1711352"/>
                    <a:pt x="669712" y="1711386"/>
                  </a:cubicBezTo>
                  <a:cubicBezTo>
                    <a:pt x="679738" y="1711386"/>
                    <a:pt x="680874" y="1701359"/>
                    <a:pt x="692118" y="1699888"/>
                  </a:cubicBezTo>
                  <a:cubicBezTo>
                    <a:pt x="699302" y="1698986"/>
                    <a:pt x="715660" y="1696345"/>
                    <a:pt x="720530" y="1698351"/>
                  </a:cubicBezTo>
                  <a:cubicBezTo>
                    <a:pt x="725401" y="1700356"/>
                    <a:pt x="707663" y="1709480"/>
                    <a:pt x="716877" y="1713124"/>
                  </a:cubicBezTo>
                  <a:cubicBezTo>
                    <a:pt x="720936" y="1714694"/>
                    <a:pt x="723737" y="1711453"/>
                    <a:pt x="728364" y="1711352"/>
                  </a:cubicBezTo>
                  <a:cubicBezTo>
                    <a:pt x="734412" y="1711352"/>
                    <a:pt x="733032" y="1717235"/>
                    <a:pt x="738512" y="1717135"/>
                  </a:cubicBezTo>
                  <a:cubicBezTo>
                    <a:pt x="750502" y="1715761"/>
                    <a:pt x="761766" y="1711596"/>
                    <a:pt x="770983" y="1705135"/>
                  </a:cubicBezTo>
                  <a:cubicBezTo>
                    <a:pt x="782714" y="1695509"/>
                    <a:pt x="795053" y="1702127"/>
                    <a:pt x="806865" y="1698752"/>
                  </a:cubicBezTo>
                  <a:cubicBezTo>
                    <a:pt x="818676" y="1695376"/>
                    <a:pt x="824684" y="1685382"/>
                    <a:pt x="833492" y="1688725"/>
                  </a:cubicBezTo>
                  <a:cubicBezTo>
                    <a:pt x="846846" y="1693738"/>
                    <a:pt x="845669" y="1693437"/>
                    <a:pt x="863366" y="1682574"/>
                  </a:cubicBezTo>
                  <a:cubicBezTo>
                    <a:pt x="872758" y="1679159"/>
                    <a:pt x="882394" y="1676224"/>
                    <a:pt x="892225" y="1673784"/>
                  </a:cubicBezTo>
                  <a:cubicBezTo>
                    <a:pt x="896852" y="1673416"/>
                    <a:pt x="913454" y="1680469"/>
                    <a:pt x="916254" y="1678798"/>
                  </a:cubicBezTo>
                  <a:lnTo>
                    <a:pt x="924697" y="1674219"/>
                  </a:lnTo>
                  <a:cubicBezTo>
                    <a:pt x="942151" y="1664726"/>
                    <a:pt x="959657" y="1655301"/>
                    <a:pt x="977220" y="1645942"/>
                  </a:cubicBezTo>
                  <a:cubicBezTo>
                    <a:pt x="1045464" y="1609554"/>
                    <a:pt x="1114251" y="1574125"/>
                    <a:pt x="1183578" y="1539655"/>
                  </a:cubicBezTo>
                  <a:cubicBezTo>
                    <a:pt x="1339066" y="1462336"/>
                    <a:pt x="1497065" y="1389918"/>
                    <a:pt x="1657586" y="1322402"/>
                  </a:cubicBezTo>
                  <a:cubicBezTo>
                    <a:pt x="1675961" y="1314671"/>
                    <a:pt x="1694372" y="1307017"/>
                    <a:pt x="1712828" y="1299440"/>
                  </a:cubicBezTo>
                  <a:lnTo>
                    <a:pt x="1721596" y="1295797"/>
                  </a:lnTo>
                  <a:cubicBezTo>
                    <a:pt x="1721060" y="1293591"/>
                    <a:pt x="1720719" y="1291358"/>
                    <a:pt x="1720581" y="1289112"/>
                  </a:cubicBezTo>
                  <a:cubicBezTo>
                    <a:pt x="1722894" y="1277982"/>
                    <a:pt x="1739496" y="1291084"/>
                    <a:pt x="1741688" y="1291552"/>
                  </a:cubicBezTo>
                  <a:cubicBezTo>
                    <a:pt x="1750333" y="1293357"/>
                    <a:pt x="1771805" y="1288845"/>
                    <a:pt x="1779599" y="1282728"/>
                  </a:cubicBezTo>
                  <a:cubicBezTo>
                    <a:pt x="1794495" y="1271063"/>
                    <a:pt x="1801842" y="1279185"/>
                    <a:pt x="1817428" y="1273737"/>
                  </a:cubicBezTo>
                  <a:cubicBezTo>
                    <a:pt x="1830052" y="1269325"/>
                    <a:pt x="1837723" y="1273136"/>
                    <a:pt x="1849575" y="1269091"/>
                  </a:cubicBezTo>
                  <a:cubicBezTo>
                    <a:pt x="1856678" y="1266685"/>
                    <a:pt x="1856557" y="1263175"/>
                    <a:pt x="1861509" y="1259967"/>
                  </a:cubicBezTo>
                  <a:cubicBezTo>
                    <a:pt x="1867719" y="1255923"/>
                    <a:pt x="1877745" y="1253917"/>
                    <a:pt x="1884929" y="1252380"/>
                  </a:cubicBezTo>
                  <a:cubicBezTo>
                    <a:pt x="1904980" y="1248101"/>
                    <a:pt x="1906360" y="1247333"/>
                    <a:pt x="1914519" y="1234264"/>
                  </a:cubicBezTo>
                  <a:cubicBezTo>
                    <a:pt x="1919390" y="1226476"/>
                    <a:pt x="1923408" y="1218221"/>
                    <a:pt x="1937005" y="1213374"/>
                  </a:cubicBezTo>
                  <a:cubicBezTo>
                    <a:pt x="1954865" y="1206957"/>
                    <a:pt x="1995739" y="1193320"/>
                    <a:pt x="2005156" y="1204584"/>
                  </a:cubicBezTo>
                  <a:cubicBezTo>
                    <a:pt x="2012949" y="1213876"/>
                    <a:pt x="2030484" y="1197899"/>
                    <a:pt x="2040915" y="1202378"/>
                  </a:cubicBezTo>
                  <a:cubicBezTo>
                    <a:pt x="2052037" y="1207024"/>
                    <a:pt x="2063848" y="1220259"/>
                    <a:pt x="2079029" y="1220025"/>
                  </a:cubicBezTo>
                  <a:cubicBezTo>
                    <a:pt x="2099324" y="1219725"/>
                    <a:pt x="2118807" y="1210299"/>
                    <a:pt x="2141172" y="1206923"/>
                  </a:cubicBezTo>
                  <a:cubicBezTo>
                    <a:pt x="2158788" y="1204216"/>
                    <a:pt x="2180463" y="1189443"/>
                    <a:pt x="2196821" y="1193086"/>
                  </a:cubicBezTo>
                  <a:cubicBezTo>
                    <a:pt x="2202219" y="1194256"/>
                    <a:pt x="2236680" y="1205319"/>
                    <a:pt x="2228481" y="1210500"/>
                  </a:cubicBezTo>
                  <a:cubicBezTo>
                    <a:pt x="2213503" y="1219892"/>
                    <a:pt x="2196739" y="1212706"/>
                    <a:pt x="2182776" y="1218689"/>
                  </a:cubicBezTo>
                  <a:cubicBezTo>
                    <a:pt x="2181112" y="1219357"/>
                    <a:pt x="2178961" y="1237072"/>
                    <a:pt x="2179732" y="1238743"/>
                  </a:cubicBezTo>
                  <a:cubicBezTo>
                    <a:pt x="2181721" y="1242586"/>
                    <a:pt x="2185212" y="1268824"/>
                    <a:pt x="2170112" y="1270696"/>
                  </a:cubicBezTo>
                  <a:cubicBezTo>
                    <a:pt x="2170234" y="1276010"/>
                    <a:pt x="2174979" y="1280479"/>
                    <a:pt x="2181356" y="1281291"/>
                  </a:cubicBezTo>
                  <a:cubicBezTo>
                    <a:pt x="2196861" y="1267186"/>
                    <a:pt x="2207577" y="1257527"/>
                    <a:pt x="2234123" y="1254251"/>
                  </a:cubicBezTo>
                  <a:cubicBezTo>
                    <a:pt x="2246300" y="1252747"/>
                    <a:pt x="2251211" y="1248870"/>
                    <a:pt x="2258476" y="1242185"/>
                  </a:cubicBezTo>
                  <a:cubicBezTo>
                    <a:pt x="2260060" y="1240782"/>
                    <a:pt x="2272642" y="1231724"/>
                    <a:pt x="2270248" y="1238843"/>
                  </a:cubicBezTo>
                  <a:cubicBezTo>
                    <a:pt x="2278366" y="1232961"/>
                    <a:pt x="2277919" y="1230520"/>
                    <a:pt x="2272399" y="1226209"/>
                  </a:cubicBezTo>
                  <a:cubicBezTo>
                    <a:pt x="2267000" y="1228549"/>
                    <a:pt x="2258517" y="1233128"/>
                    <a:pt x="2252753" y="1231724"/>
                  </a:cubicBezTo>
                  <a:cubicBezTo>
                    <a:pt x="2239278" y="1228381"/>
                    <a:pt x="2260019" y="1216583"/>
                    <a:pt x="2268218" y="1212137"/>
                  </a:cubicBezTo>
                  <a:cubicBezTo>
                    <a:pt x="2284900" y="1203013"/>
                    <a:pt x="2303653" y="1199069"/>
                    <a:pt x="2320538" y="1191047"/>
                  </a:cubicBezTo>
                  <a:cubicBezTo>
                    <a:pt x="2326627" y="1188173"/>
                    <a:pt x="2334542" y="1182424"/>
                    <a:pt x="2341888" y="1181355"/>
                  </a:cubicBezTo>
                  <a:cubicBezTo>
                    <a:pt x="2350980" y="1180051"/>
                    <a:pt x="2358124" y="1169422"/>
                    <a:pt x="2364253" y="1163707"/>
                  </a:cubicBezTo>
                  <a:cubicBezTo>
                    <a:pt x="2380002" y="1149335"/>
                    <a:pt x="2402083" y="1144889"/>
                    <a:pt x="2426234" y="1137168"/>
                  </a:cubicBezTo>
                  <a:cubicBezTo>
                    <a:pt x="2441171" y="1132355"/>
                    <a:pt x="2475754" y="1125437"/>
                    <a:pt x="2486591" y="1117114"/>
                  </a:cubicBezTo>
                  <a:cubicBezTo>
                    <a:pt x="2497428" y="1108792"/>
                    <a:pt x="2508753" y="1099166"/>
                    <a:pt x="2512284" y="1089907"/>
                  </a:cubicBezTo>
                  <a:cubicBezTo>
                    <a:pt x="2515816" y="1080649"/>
                    <a:pt x="2515450" y="1071491"/>
                    <a:pt x="2520767" y="1061731"/>
                  </a:cubicBezTo>
                  <a:cubicBezTo>
                    <a:pt x="2526085" y="1051972"/>
                    <a:pt x="2529779" y="1047727"/>
                    <a:pt x="2545933" y="1046357"/>
                  </a:cubicBezTo>
                  <a:cubicBezTo>
                    <a:pt x="2556324" y="1045488"/>
                    <a:pt x="2582464" y="1034792"/>
                    <a:pt x="2584696" y="1042680"/>
                  </a:cubicBezTo>
                  <a:cubicBezTo>
                    <a:pt x="2586275" y="1049412"/>
                    <a:pt x="2590001" y="1055675"/>
                    <a:pt x="2595493" y="1060829"/>
                  </a:cubicBezTo>
                  <a:cubicBezTo>
                    <a:pt x="2600916" y="1065448"/>
                    <a:pt x="2607240" y="1069292"/>
                    <a:pt x="2614205" y="1072193"/>
                  </a:cubicBezTo>
                  <a:cubicBezTo>
                    <a:pt x="2629751" y="1078878"/>
                    <a:pt x="2628330" y="1076772"/>
                    <a:pt x="2645013" y="1067346"/>
                  </a:cubicBezTo>
                  <a:cubicBezTo>
                    <a:pt x="2661695" y="1057921"/>
                    <a:pt x="2677200" y="1054311"/>
                    <a:pt x="2687267" y="1040875"/>
                  </a:cubicBezTo>
                  <a:cubicBezTo>
                    <a:pt x="2688647" y="1039037"/>
                    <a:pt x="2690879" y="1032853"/>
                    <a:pt x="2695912" y="1035561"/>
                  </a:cubicBezTo>
                  <a:cubicBezTo>
                    <a:pt x="2703178" y="1039505"/>
                    <a:pt x="2692340" y="1041911"/>
                    <a:pt x="2691610" y="1045588"/>
                  </a:cubicBezTo>
                  <a:cubicBezTo>
                    <a:pt x="2690636" y="1050468"/>
                    <a:pt x="2731388" y="1040708"/>
                    <a:pt x="2731469" y="1040240"/>
                  </a:cubicBezTo>
                  <a:cubicBezTo>
                    <a:pt x="2731022" y="1044719"/>
                    <a:pt x="2698997" y="1051938"/>
                    <a:pt x="2693152" y="1054077"/>
                  </a:cubicBezTo>
                  <a:cubicBezTo>
                    <a:pt x="2677809" y="1059592"/>
                    <a:pt x="2664739" y="1073530"/>
                    <a:pt x="2659828" y="1082354"/>
                  </a:cubicBezTo>
                  <a:cubicBezTo>
                    <a:pt x="2654917" y="1091178"/>
                    <a:pt x="2671640" y="1094420"/>
                    <a:pt x="2684507" y="1091378"/>
                  </a:cubicBezTo>
                  <a:cubicBezTo>
                    <a:pt x="2708333" y="1085729"/>
                    <a:pt x="2711986" y="1070722"/>
                    <a:pt x="2723879" y="1060161"/>
                  </a:cubicBezTo>
                  <a:cubicBezTo>
                    <a:pt x="2730982" y="1053910"/>
                    <a:pt x="2756959" y="1046791"/>
                    <a:pt x="2767634" y="1042045"/>
                  </a:cubicBezTo>
                  <a:cubicBezTo>
                    <a:pt x="2774007" y="1039104"/>
                    <a:pt x="2810213" y="1024999"/>
                    <a:pt x="2810213" y="1020453"/>
                  </a:cubicBezTo>
                  <a:cubicBezTo>
                    <a:pt x="2810213" y="1018147"/>
                    <a:pt x="2802095" y="1017779"/>
                    <a:pt x="2805342" y="1014638"/>
                  </a:cubicBezTo>
                  <a:cubicBezTo>
                    <a:pt x="2808590" y="1011496"/>
                    <a:pt x="2817519" y="1008688"/>
                    <a:pt x="2822674" y="1006649"/>
                  </a:cubicBezTo>
                  <a:cubicBezTo>
                    <a:pt x="2829895" y="1004266"/>
                    <a:pt x="2836714" y="1001131"/>
                    <a:pt x="2842969" y="997324"/>
                  </a:cubicBezTo>
                  <a:cubicBezTo>
                    <a:pt x="2853157" y="990038"/>
                    <a:pt x="2835419" y="991575"/>
                    <a:pt x="2828681" y="993982"/>
                  </a:cubicBezTo>
                  <a:close/>
                  <a:moveTo>
                    <a:pt x="781861" y="1236637"/>
                  </a:moveTo>
                  <a:cubicBezTo>
                    <a:pt x="776585" y="1247099"/>
                    <a:pt x="771430" y="1258128"/>
                    <a:pt x="754342" y="1266050"/>
                  </a:cubicBezTo>
                  <a:cubicBezTo>
                    <a:pt x="740866" y="1272266"/>
                    <a:pt x="713752" y="1285736"/>
                    <a:pt x="736645" y="1285001"/>
                  </a:cubicBezTo>
                  <a:cubicBezTo>
                    <a:pt x="750689" y="1284533"/>
                    <a:pt x="720165" y="1304186"/>
                    <a:pt x="715984" y="1308397"/>
                  </a:cubicBezTo>
                  <a:cubicBezTo>
                    <a:pt x="714604" y="1309667"/>
                    <a:pt x="691387" y="1333231"/>
                    <a:pt x="695365" y="1324240"/>
                  </a:cubicBezTo>
                  <a:cubicBezTo>
                    <a:pt x="698490" y="1317188"/>
                    <a:pt x="704416" y="1309835"/>
                    <a:pt x="706973" y="1302849"/>
                  </a:cubicBezTo>
                  <a:cubicBezTo>
                    <a:pt x="711276" y="1290917"/>
                    <a:pt x="692889" y="1302047"/>
                    <a:pt x="686476" y="1308832"/>
                  </a:cubicBezTo>
                  <a:cubicBezTo>
                    <a:pt x="678845" y="1316887"/>
                    <a:pt x="680752" y="1326179"/>
                    <a:pt x="673933" y="1332529"/>
                  </a:cubicBezTo>
                  <a:cubicBezTo>
                    <a:pt x="670159" y="1335872"/>
                    <a:pt x="631111" y="1358332"/>
                    <a:pt x="632288" y="1350244"/>
                  </a:cubicBezTo>
                  <a:cubicBezTo>
                    <a:pt x="634399" y="1348305"/>
                    <a:pt x="636591" y="1346367"/>
                    <a:pt x="638864" y="1344462"/>
                  </a:cubicBezTo>
                  <a:cubicBezTo>
                    <a:pt x="641137" y="1341119"/>
                    <a:pt x="638864" y="1338713"/>
                    <a:pt x="640934" y="1335203"/>
                  </a:cubicBezTo>
                  <a:cubicBezTo>
                    <a:pt x="645521" y="1327783"/>
                    <a:pt x="654044" y="1324574"/>
                    <a:pt x="643247" y="1322770"/>
                  </a:cubicBezTo>
                  <a:cubicBezTo>
                    <a:pt x="629488" y="1320497"/>
                    <a:pt x="668332" y="1306994"/>
                    <a:pt x="671417" y="1301980"/>
                  </a:cubicBezTo>
                  <a:cubicBezTo>
                    <a:pt x="677749" y="1291686"/>
                    <a:pt x="634886" y="1306827"/>
                    <a:pt x="628432" y="1314213"/>
                  </a:cubicBezTo>
                  <a:cubicBezTo>
                    <a:pt x="622149" y="1321640"/>
                    <a:pt x="614847" y="1328448"/>
                    <a:pt x="606676" y="1334501"/>
                  </a:cubicBezTo>
                  <a:cubicBezTo>
                    <a:pt x="602617" y="1337509"/>
                    <a:pt x="576356" y="1353553"/>
                    <a:pt x="572378" y="1350912"/>
                  </a:cubicBezTo>
                  <a:cubicBezTo>
                    <a:pt x="573190" y="1351414"/>
                    <a:pt x="690088" y="1258830"/>
                    <a:pt x="702752" y="1252981"/>
                  </a:cubicBezTo>
                  <a:cubicBezTo>
                    <a:pt x="735467" y="1236470"/>
                    <a:pt x="677992" y="1285068"/>
                    <a:pt x="725158" y="1264813"/>
                  </a:cubicBezTo>
                  <a:cubicBezTo>
                    <a:pt x="744316" y="1256591"/>
                    <a:pt x="752231" y="1248101"/>
                    <a:pt x="761688" y="1236537"/>
                  </a:cubicBezTo>
                  <a:cubicBezTo>
                    <a:pt x="771917" y="1224137"/>
                    <a:pt x="787869" y="1224805"/>
                    <a:pt x="781780" y="1236804"/>
                  </a:cubicBezTo>
                  <a:cubicBezTo>
                    <a:pt x="771917" y="1256290"/>
                    <a:pt x="791847" y="1216984"/>
                    <a:pt x="781861" y="1236637"/>
                  </a:cubicBezTo>
                  <a:close/>
                  <a:moveTo>
                    <a:pt x="1030393" y="1254385"/>
                  </a:moveTo>
                  <a:cubicBezTo>
                    <a:pt x="1023955" y="1263630"/>
                    <a:pt x="1015009" y="1271521"/>
                    <a:pt x="1004253" y="1277447"/>
                  </a:cubicBezTo>
                  <a:cubicBezTo>
                    <a:pt x="987246" y="1287207"/>
                    <a:pt x="996663" y="1288109"/>
                    <a:pt x="990290" y="1297501"/>
                  </a:cubicBezTo>
                  <a:cubicBezTo>
                    <a:pt x="981401" y="1310570"/>
                    <a:pt x="925346" y="1334067"/>
                    <a:pt x="907162" y="1339949"/>
                  </a:cubicBezTo>
                  <a:cubicBezTo>
                    <a:pt x="892631" y="1344629"/>
                    <a:pt x="895513" y="1340885"/>
                    <a:pt x="905904" y="1334836"/>
                  </a:cubicBezTo>
                  <a:cubicBezTo>
                    <a:pt x="921531" y="1325744"/>
                    <a:pt x="920638" y="1324307"/>
                    <a:pt x="923642" y="1314347"/>
                  </a:cubicBezTo>
                  <a:cubicBezTo>
                    <a:pt x="925996" y="1306726"/>
                    <a:pt x="946737" y="1295396"/>
                    <a:pt x="945154" y="1290649"/>
                  </a:cubicBezTo>
                  <a:cubicBezTo>
                    <a:pt x="942516" y="1282628"/>
                    <a:pt x="912682" y="1293658"/>
                    <a:pt x="911911" y="1289146"/>
                  </a:cubicBezTo>
                  <a:cubicBezTo>
                    <a:pt x="910003" y="1276578"/>
                    <a:pt x="961431" y="1267153"/>
                    <a:pt x="970076" y="1267387"/>
                  </a:cubicBezTo>
                  <a:cubicBezTo>
                    <a:pt x="1007135" y="1268055"/>
                    <a:pt x="1017363" y="1247767"/>
                    <a:pt x="1039647" y="1228281"/>
                  </a:cubicBezTo>
                  <a:cubicBezTo>
                    <a:pt x="1043381" y="1224939"/>
                    <a:pt x="1083849" y="1190646"/>
                    <a:pt x="1088355" y="1197197"/>
                  </a:cubicBezTo>
                  <a:cubicBezTo>
                    <a:pt x="1095012" y="1206756"/>
                    <a:pt x="1039647" y="1242319"/>
                    <a:pt x="1030271" y="1254385"/>
                  </a:cubicBezTo>
                  <a:cubicBezTo>
                    <a:pt x="1015537" y="1273503"/>
                    <a:pt x="1044924" y="1235434"/>
                    <a:pt x="1030393" y="1254385"/>
                  </a:cubicBezTo>
                  <a:close/>
                  <a:moveTo>
                    <a:pt x="1658722" y="1284901"/>
                  </a:moveTo>
                  <a:cubicBezTo>
                    <a:pt x="1650239" y="1289012"/>
                    <a:pt x="1646302" y="1280221"/>
                    <a:pt x="1644191" y="1277848"/>
                  </a:cubicBezTo>
                  <a:cubicBezTo>
                    <a:pt x="1636479" y="1269125"/>
                    <a:pt x="1626859" y="1268022"/>
                    <a:pt x="1608431" y="1269225"/>
                  </a:cubicBezTo>
                  <a:cubicBezTo>
                    <a:pt x="1588948" y="1270462"/>
                    <a:pt x="1533259" y="1264746"/>
                    <a:pt x="1553189" y="1243923"/>
                  </a:cubicBezTo>
                  <a:cubicBezTo>
                    <a:pt x="1576974" y="1219190"/>
                    <a:pt x="1607376" y="1240748"/>
                    <a:pt x="1620121" y="1247266"/>
                  </a:cubicBezTo>
                  <a:cubicBezTo>
                    <a:pt x="1628239" y="1251344"/>
                    <a:pt x="1684821" y="1272099"/>
                    <a:pt x="1658722" y="1284800"/>
                  </a:cubicBezTo>
                  <a:cubicBezTo>
                    <a:pt x="1644435" y="1291819"/>
                    <a:pt x="1670168" y="1279286"/>
                    <a:pt x="1658560" y="128496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607713A0-A708-498C-BDE7-75645F55333A}"/>
                </a:ext>
              </a:extLst>
            </p:cNvPr>
            <p:cNvSpPr/>
            <p:nvPr/>
          </p:nvSpPr>
          <p:spPr>
            <a:xfrm>
              <a:off x="1855872" y="4330062"/>
              <a:ext cx="1764396" cy="853808"/>
            </a:xfrm>
            <a:custGeom>
              <a:avLst/>
              <a:gdLst>
                <a:gd name="connsiteX0" fmla="*/ 1718592 w 1764396"/>
                <a:gd name="connsiteY0" fmla="*/ 1121 h 853808"/>
                <a:gd name="connsiteX1" fmla="*/ 1668342 w 1764396"/>
                <a:gd name="connsiteY1" fmla="*/ 8274 h 853808"/>
                <a:gd name="connsiteX2" fmla="*/ 1648493 w 1764396"/>
                <a:gd name="connsiteY2" fmla="*/ 41430 h 853808"/>
                <a:gd name="connsiteX3" fmla="*/ 1598162 w 1764396"/>
                <a:gd name="connsiteY3" fmla="*/ 86184 h 853808"/>
                <a:gd name="connsiteX4" fmla="*/ 1544746 w 1764396"/>
                <a:gd name="connsiteY4" fmla="*/ 103164 h 853808"/>
                <a:gd name="connsiteX5" fmla="*/ 1507809 w 1764396"/>
                <a:gd name="connsiteY5" fmla="*/ 116934 h 853808"/>
                <a:gd name="connsiteX6" fmla="*/ 1484876 w 1764396"/>
                <a:gd name="connsiteY6" fmla="*/ 138158 h 853808"/>
                <a:gd name="connsiteX7" fmla="*/ 1484389 w 1764396"/>
                <a:gd name="connsiteY7" fmla="*/ 149823 h 853808"/>
                <a:gd name="connsiteX8" fmla="*/ 1407268 w 1764396"/>
                <a:gd name="connsiteY8" fmla="*/ 186990 h 853808"/>
                <a:gd name="connsiteX9" fmla="*/ 1334491 w 1764396"/>
                <a:gd name="connsiteY9" fmla="*/ 253202 h 853808"/>
                <a:gd name="connsiteX10" fmla="*/ 1283186 w 1764396"/>
                <a:gd name="connsiteY10" fmla="*/ 255809 h 853808"/>
                <a:gd name="connsiteX11" fmla="*/ 1298123 w 1764396"/>
                <a:gd name="connsiteY11" fmla="*/ 246852 h 853808"/>
                <a:gd name="connsiteX12" fmla="*/ 1316023 w 1764396"/>
                <a:gd name="connsiteY12" fmla="*/ 241938 h 853808"/>
                <a:gd name="connsiteX13" fmla="*/ 1283145 w 1764396"/>
                <a:gd name="connsiteY13" fmla="*/ 215199 h 853808"/>
                <a:gd name="connsiteX14" fmla="*/ 1256802 w 1764396"/>
                <a:gd name="connsiteY14" fmla="*/ 231243 h 853808"/>
                <a:gd name="connsiteX15" fmla="*/ 1256802 w 1764396"/>
                <a:gd name="connsiteY15" fmla="*/ 215400 h 853808"/>
                <a:gd name="connsiteX16" fmla="*/ 1243327 w 1764396"/>
                <a:gd name="connsiteY16" fmla="*/ 195112 h 853808"/>
                <a:gd name="connsiteX17" fmla="*/ 1204644 w 1764396"/>
                <a:gd name="connsiteY17" fmla="*/ 204370 h 853808"/>
                <a:gd name="connsiteX18" fmla="*/ 1200058 w 1764396"/>
                <a:gd name="connsiteY18" fmla="*/ 214899 h 853808"/>
                <a:gd name="connsiteX19" fmla="*/ 1183051 w 1764396"/>
                <a:gd name="connsiteY19" fmla="*/ 226898 h 853808"/>
                <a:gd name="connsiteX20" fmla="*/ 1178789 w 1764396"/>
                <a:gd name="connsiteY20" fmla="*/ 258416 h 853808"/>
                <a:gd name="connsiteX21" fmla="*/ 1193442 w 1764396"/>
                <a:gd name="connsiteY21" fmla="*/ 281812 h 853808"/>
                <a:gd name="connsiteX22" fmla="*/ 1170671 w 1764396"/>
                <a:gd name="connsiteY22" fmla="*/ 304875 h 853808"/>
                <a:gd name="connsiteX23" fmla="*/ 1139579 w 1764396"/>
                <a:gd name="connsiteY23" fmla="*/ 258750 h 853808"/>
                <a:gd name="connsiteX24" fmla="*/ 1137509 w 1764396"/>
                <a:gd name="connsiteY24" fmla="*/ 249659 h 853808"/>
                <a:gd name="connsiteX25" fmla="*/ 1127605 w 1764396"/>
                <a:gd name="connsiteY25" fmla="*/ 249893 h 853808"/>
                <a:gd name="connsiteX26" fmla="*/ 1143841 w 1764396"/>
                <a:gd name="connsiteY26" fmla="*/ 228335 h 853808"/>
                <a:gd name="connsiteX27" fmla="*/ 1190722 w 1764396"/>
                <a:gd name="connsiteY27" fmla="*/ 201362 h 853808"/>
                <a:gd name="connsiteX28" fmla="*/ 1218567 w 1764396"/>
                <a:gd name="connsiteY28" fmla="*/ 189363 h 853808"/>
                <a:gd name="connsiteX29" fmla="*/ 1228024 w 1764396"/>
                <a:gd name="connsiteY29" fmla="*/ 180840 h 853808"/>
                <a:gd name="connsiteX30" fmla="*/ 1205132 w 1764396"/>
                <a:gd name="connsiteY30" fmla="*/ 184583 h 853808"/>
                <a:gd name="connsiteX31" fmla="*/ 1190032 w 1764396"/>
                <a:gd name="connsiteY31" fmla="*/ 186221 h 853808"/>
                <a:gd name="connsiteX32" fmla="*/ 1133491 w 1764396"/>
                <a:gd name="connsiteY32" fmla="*/ 211055 h 853808"/>
                <a:gd name="connsiteX33" fmla="*/ 1108082 w 1764396"/>
                <a:gd name="connsiteY33" fmla="*/ 214197 h 853808"/>
                <a:gd name="connsiteX34" fmla="*/ 1088882 w 1764396"/>
                <a:gd name="connsiteY34" fmla="*/ 214598 h 853808"/>
                <a:gd name="connsiteX35" fmla="*/ 1076705 w 1764396"/>
                <a:gd name="connsiteY35" fmla="*/ 209551 h 853808"/>
                <a:gd name="connsiteX36" fmla="*/ 1031367 w 1764396"/>
                <a:gd name="connsiteY36" fmla="*/ 246317 h 853808"/>
                <a:gd name="connsiteX37" fmla="*/ 1009327 w 1764396"/>
                <a:gd name="connsiteY37" fmla="*/ 250495 h 853808"/>
                <a:gd name="connsiteX38" fmla="*/ 981726 w 1764396"/>
                <a:gd name="connsiteY38" fmla="*/ 261491 h 853808"/>
                <a:gd name="connsiteX39" fmla="*/ 986556 w 1764396"/>
                <a:gd name="connsiteY39" fmla="*/ 242740 h 853808"/>
                <a:gd name="connsiteX40" fmla="*/ 1038592 w 1764396"/>
                <a:gd name="connsiteY40" fmla="*/ 209584 h 853808"/>
                <a:gd name="connsiteX41" fmla="*/ 1000559 w 1764396"/>
                <a:gd name="connsiteY41" fmla="*/ 218542 h 853808"/>
                <a:gd name="connsiteX42" fmla="*/ 972146 w 1764396"/>
                <a:gd name="connsiteY42" fmla="*/ 231543 h 853808"/>
                <a:gd name="connsiteX43" fmla="*/ 938660 w 1764396"/>
                <a:gd name="connsiteY43" fmla="*/ 235788 h 853808"/>
                <a:gd name="connsiteX44" fmla="*/ 899369 w 1764396"/>
                <a:gd name="connsiteY44" fmla="*/ 249759 h 853808"/>
                <a:gd name="connsiteX45" fmla="*/ 868196 w 1764396"/>
                <a:gd name="connsiteY45" fmla="*/ 246183 h 853808"/>
                <a:gd name="connsiteX46" fmla="*/ 855735 w 1764396"/>
                <a:gd name="connsiteY46" fmla="*/ 254338 h 853808"/>
                <a:gd name="connsiteX47" fmla="*/ 850986 w 1764396"/>
                <a:gd name="connsiteY47" fmla="*/ 258750 h 853808"/>
                <a:gd name="connsiteX48" fmla="*/ 711276 w 1764396"/>
                <a:gd name="connsiteY48" fmla="*/ 317743 h 853808"/>
                <a:gd name="connsiteX49" fmla="*/ 214782 w 1764396"/>
                <a:gd name="connsiteY49" fmla="*/ 552610 h 853808"/>
                <a:gd name="connsiteX50" fmla="*/ 50881 w 1764396"/>
                <a:gd name="connsiteY50" fmla="*/ 639512 h 853808"/>
                <a:gd name="connsiteX51" fmla="*/ 74747 w 1764396"/>
                <a:gd name="connsiteY51" fmla="*/ 671331 h 853808"/>
                <a:gd name="connsiteX52" fmla="*/ 66629 w 1764396"/>
                <a:gd name="connsiteY52" fmla="*/ 662841 h 853808"/>
                <a:gd name="connsiteX53" fmla="*/ 44589 w 1764396"/>
                <a:gd name="connsiteY53" fmla="*/ 657093 h 853808"/>
                <a:gd name="connsiteX54" fmla="*/ -60 w 1764396"/>
                <a:gd name="connsiteY54" fmla="*/ 681525 h 853808"/>
                <a:gd name="connsiteX55" fmla="*/ 23848 w 1764396"/>
                <a:gd name="connsiteY55" fmla="*/ 692288 h 853808"/>
                <a:gd name="connsiteX56" fmla="*/ 54290 w 1764396"/>
                <a:gd name="connsiteY56" fmla="*/ 699641 h 853808"/>
                <a:gd name="connsiteX57" fmla="*/ 54290 w 1764396"/>
                <a:gd name="connsiteY57" fmla="*/ 707395 h 853808"/>
                <a:gd name="connsiteX58" fmla="*/ 66102 w 1764396"/>
                <a:gd name="connsiteY58" fmla="*/ 726513 h 853808"/>
                <a:gd name="connsiteX59" fmla="*/ 87898 w 1764396"/>
                <a:gd name="connsiteY59" fmla="*/ 765619 h 853808"/>
                <a:gd name="connsiteX60" fmla="*/ 103728 w 1764396"/>
                <a:gd name="connsiteY60" fmla="*/ 785105 h 853808"/>
                <a:gd name="connsiteX61" fmla="*/ 128975 w 1764396"/>
                <a:gd name="connsiteY61" fmla="*/ 811476 h 853808"/>
                <a:gd name="connsiteX62" fmla="*/ 154303 w 1764396"/>
                <a:gd name="connsiteY62" fmla="*/ 825715 h 853808"/>
                <a:gd name="connsiteX63" fmla="*/ 181052 w 1764396"/>
                <a:gd name="connsiteY63" fmla="*/ 831731 h 853808"/>
                <a:gd name="connsiteX64" fmla="*/ 217583 w 1764396"/>
                <a:gd name="connsiteY64" fmla="*/ 834037 h 853808"/>
                <a:gd name="connsiteX65" fmla="*/ 244169 w 1764396"/>
                <a:gd name="connsiteY65" fmla="*/ 838048 h 853808"/>
                <a:gd name="connsiteX66" fmla="*/ 258457 w 1764396"/>
                <a:gd name="connsiteY66" fmla="*/ 848075 h 853808"/>
                <a:gd name="connsiteX67" fmla="*/ 301360 w 1764396"/>
                <a:gd name="connsiteY67" fmla="*/ 848810 h 853808"/>
                <a:gd name="connsiteX68" fmla="*/ 320640 w 1764396"/>
                <a:gd name="connsiteY68" fmla="*/ 849813 h 853808"/>
                <a:gd name="connsiteX69" fmla="*/ 369672 w 1764396"/>
                <a:gd name="connsiteY69" fmla="*/ 837179 h 853808"/>
                <a:gd name="connsiteX70" fmla="*/ 428649 w 1764396"/>
                <a:gd name="connsiteY70" fmla="*/ 842059 h 853808"/>
                <a:gd name="connsiteX71" fmla="*/ 471431 w 1764396"/>
                <a:gd name="connsiteY71" fmla="*/ 816022 h 853808"/>
                <a:gd name="connsiteX72" fmla="*/ 508205 w 1764396"/>
                <a:gd name="connsiteY72" fmla="*/ 803187 h 853808"/>
                <a:gd name="connsiteX73" fmla="*/ 569902 w 1764396"/>
                <a:gd name="connsiteY73" fmla="*/ 786977 h 853808"/>
                <a:gd name="connsiteX74" fmla="*/ 607123 w 1764396"/>
                <a:gd name="connsiteY74" fmla="*/ 777117 h 853808"/>
                <a:gd name="connsiteX75" fmla="*/ 658996 w 1764396"/>
                <a:gd name="connsiteY75" fmla="*/ 752049 h 853808"/>
                <a:gd name="connsiteX76" fmla="*/ 686922 w 1764396"/>
                <a:gd name="connsiteY76" fmla="*/ 733365 h 853808"/>
                <a:gd name="connsiteX77" fmla="*/ 729298 w 1764396"/>
                <a:gd name="connsiteY77" fmla="*/ 710804 h 853808"/>
                <a:gd name="connsiteX78" fmla="*/ 799437 w 1764396"/>
                <a:gd name="connsiteY78" fmla="*/ 713980 h 853808"/>
                <a:gd name="connsiteX79" fmla="*/ 847657 w 1764396"/>
                <a:gd name="connsiteY79" fmla="*/ 715216 h 853808"/>
                <a:gd name="connsiteX80" fmla="*/ 862838 w 1764396"/>
                <a:gd name="connsiteY80" fmla="*/ 692154 h 853808"/>
                <a:gd name="connsiteX81" fmla="*/ 913251 w 1764396"/>
                <a:gd name="connsiteY81" fmla="*/ 680924 h 853808"/>
                <a:gd name="connsiteX82" fmla="*/ 961958 w 1764396"/>
                <a:gd name="connsiteY82" fmla="*/ 692990 h 853808"/>
                <a:gd name="connsiteX83" fmla="*/ 994998 w 1764396"/>
                <a:gd name="connsiteY83" fmla="*/ 707027 h 853808"/>
                <a:gd name="connsiteX84" fmla="*/ 1049104 w 1764396"/>
                <a:gd name="connsiteY84" fmla="*/ 696432 h 853808"/>
                <a:gd name="connsiteX85" fmla="*/ 1026983 w 1764396"/>
                <a:gd name="connsiteY85" fmla="*/ 683063 h 853808"/>
                <a:gd name="connsiteX86" fmla="*/ 1030068 w 1764396"/>
                <a:gd name="connsiteY86" fmla="*/ 668891 h 853808"/>
                <a:gd name="connsiteX87" fmla="*/ 1035223 w 1764396"/>
                <a:gd name="connsiteY87" fmla="*/ 655221 h 853808"/>
                <a:gd name="connsiteX88" fmla="*/ 1041352 w 1764396"/>
                <a:gd name="connsiteY88" fmla="*/ 642085 h 853808"/>
                <a:gd name="connsiteX89" fmla="*/ 1064244 w 1764396"/>
                <a:gd name="connsiteY89" fmla="*/ 629919 h 853808"/>
                <a:gd name="connsiteX90" fmla="*/ 1075975 w 1764396"/>
                <a:gd name="connsiteY90" fmla="*/ 615447 h 853808"/>
                <a:gd name="connsiteX91" fmla="*/ 1077396 w 1764396"/>
                <a:gd name="connsiteY91" fmla="*/ 605821 h 853808"/>
                <a:gd name="connsiteX92" fmla="*/ 1095499 w 1764396"/>
                <a:gd name="connsiteY92" fmla="*/ 597665 h 853808"/>
                <a:gd name="connsiteX93" fmla="*/ 1109827 w 1764396"/>
                <a:gd name="connsiteY93" fmla="*/ 587638 h 853808"/>
                <a:gd name="connsiteX94" fmla="*/ 1120786 w 1764396"/>
                <a:gd name="connsiteY94" fmla="*/ 580018 h 853808"/>
                <a:gd name="connsiteX95" fmla="*/ 1146966 w 1764396"/>
                <a:gd name="connsiteY95" fmla="*/ 578313 h 853808"/>
                <a:gd name="connsiteX96" fmla="*/ 1156302 w 1764396"/>
                <a:gd name="connsiteY96" fmla="*/ 568286 h 853808"/>
                <a:gd name="connsiteX97" fmla="*/ 1187110 w 1764396"/>
                <a:gd name="connsiteY97" fmla="*/ 568520 h 853808"/>
                <a:gd name="connsiteX98" fmla="*/ 1208582 w 1764396"/>
                <a:gd name="connsiteY98" fmla="*/ 560699 h 853808"/>
                <a:gd name="connsiteX99" fmla="*/ 1212641 w 1764396"/>
                <a:gd name="connsiteY99" fmla="*/ 551574 h 853808"/>
                <a:gd name="connsiteX100" fmla="*/ 1238009 w 1764396"/>
                <a:gd name="connsiteY100" fmla="*/ 553546 h 853808"/>
                <a:gd name="connsiteX101" fmla="*/ 1232205 w 1764396"/>
                <a:gd name="connsiteY101" fmla="*/ 547129 h 853808"/>
                <a:gd name="connsiteX102" fmla="*/ 1219500 w 1764396"/>
                <a:gd name="connsiteY102" fmla="*/ 537637 h 853808"/>
                <a:gd name="connsiteX103" fmla="*/ 1256599 w 1764396"/>
                <a:gd name="connsiteY103" fmla="*/ 520022 h 853808"/>
                <a:gd name="connsiteX104" fmla="*/ 1272470 w 1764396"/>
                <a:gd name="connsiteY104" fmla="*/ 511566 h 853808"/>
                <a:gd name="connsiteX105" fmla="*/ 1294997 w 1764396"/>
                <a:gd name="connsiteY105" fmla="*/ 506185 h 853808"/>
                <a:gd name="connsiteX106" fmla="*/ 1331772 w 1764396"/>
                <a:gd name="connsiteY106" fmla="*/ 494754 h 853808"/>
                <a:gd name="connsiteX107" fmla="*/ 1364852 w 1764396"/>
                <a:gd name="connsiteY107" fmla="*/ 492882 h 853808"/>
                <a:gd name="connsiteX108" fmla="*/ 1403250 w 1764396"/>
                <a:gd name="connsiteY108" fmla="*/ 481051 h 853808"/>
                <a:gd name="connsiteX109" fmla="*/ 1433895 w 1764396"/>
                <a:gd name="connsiteY109" fmla="*/ 494186 h 853808"/>
                <a:gd name="connsiteX110" fmla="*/ 1445504 w 1764396"/>
                <a:gd name="connsiteY110" fmla="*/ 510898 h 853808"/>
                <a:gd name="connsiteX111" fmla="*/ 1462146 w 1764396"/>
                <a:gd name="connsiteY111" fmla="*/ 515310 h 853808"/>
                <a:gd name="connsiteX112" fmla="*/ 1470629 w 1764396"/>
                <a:gd name="connsiteY112" fmla="*/ 525337 h 853808"/>
                <a:gd name="connsiteX113" fmla="*/ 1497378 w 1764396"/>
                <a:gd name="connsiteY113" fmla="*/ 529983 h 853808"/>
                <a:gd name="connsiteX114" fmla="*/ 1518525 w 1764396"/>
                <a:gd name="connsiteY114" fmla="*/ 533960 h 853808"/>
                <a:gd name="connsiteX115" fmla="*/ 1527982 w 1764396"/>
                <a:gd name="connsiteY115" fmla="*/ 514240 h 853808"/>
                <a:gd name="connsiteX116" fmla="*/ 1518444 w 1764396"/>
                <a:gd name="connsiteY116" fmla="*/ 492749 h 853808"/>
                <a:gd name="connsiteX117" fmla="*/ 1497053 w 1764396"/>
                <a:gd name="connsiteY117" fmla="*/ 479079 h 853808"/>
                <a:gd name="connsiteX118" fmla="*/ 1475947 w 1764396"/>
                <a:gd name="connsiteY118" fmla="*/ 465208 h 853808"/>
                <a:gd name="connsiteX119" fmla="*/ 1453216 w 1764396"/>
                <a:gd name="connsiteY119" fmla="*/ 418883 h 853808"/>
                <a:gd name="connsiteX120" fmla="*/ 1466854 w 1764396"/>
                <a:gd name="connsiteY120" fmla="*/ 397224 h 853808"/>
                <a:gd name="connsiteX121" fmla="*/ 1489382 w 1764396"/>
                <a:gd name="connsiteY121" fmla="*/ 376769 h 853808"/>
                <a:gd name="connsiteX122" fmla="*/ 1512315 w 1764396"/>
                <a:gd name="connsiteY122" fmla="*/ 357818 h 853808"/>
                <a:gd name="connsiteX123" fmla="*/ 1533827 w 1764396"/>
                <a:gd name="connsiteY123" fmla="*/ 336059 h 853808"/>
                <a:gd name="connsiteX124" fmla="*/ 1552620 w 1764396"/>
                <a:gd name="connsiteY124" fmla="*/ 319581 h 853808"/>
                <a:gd name="connsiteX125" fmla="*/ 1542676 w 1764396"/>
                <a:gd name="connsiteY125" fmla="*/ 314334 h 853808"/>
                <a:gd name="connsiteX126" fmla="*/ 1549901 w 1764396"/>
                <a:gd name="connsiteY126" fmla="*/ 308986 h 853808"/>
                <a:gd name="connsiteX127" fmla="*/ 1576934 w 1764396"/>
                <a:gd name="connsiteY127" fmla="*/ 297020 h 853808"/>
                <a:gd name="connsiteX128" fmla="*/ 1558100 w 1764396"/>
                <a:gd name="connsiteY128" fmla="*/ 292976 h 853808"/>
                <a:gd name="connsiteX129" fmla="*/ 1557004 w 1764396"/>
                <a:gd name="connsiteY129" fmla="*/ 281010 h 853808"/>
                <a:gd name="connsiteX130" fmla="*/ 1541377 w 1764396"/>
                <a:gd name="connsiteY130" fmla="*/ 273958 h 853808"/>
                <a:gd name="connsiteX131" fmla="*/ 1515765 w 1764396"/>
                <a:gd name="connsiteY131" fmla="*/ 266839 h 853808"/>
                <a:gd name="connsiteX132" fmla="*/ 1526643 w 1764396"/>
                <a:gd name="connsiteY132" fmla="*/ 253937 h 853808"/>
                <a:gd name="connsiteX133" fmla="*/ 1526156 w 1764396"/>
                <a:gd name="connsiteY133" fmla="*/ 229571 h 853808"/>
                <a:gd name="connsiteX134" fmla="*/ 1526805 w 1764396"/>
                <a:gd name="connsiteY134" fmla="*/ 239197 h 853808"/>
                <a:gd name="connsiteX135" fmla="*/ 1544989 w 1764396"/>
                <a:gd name="connsiteY135" fmla="*/ 252366 h 853808"/>
                <a:gd name="connsiteX136" fmla="*/ 1560292 w 1764396"/>
                <a:gd name="connsiteY136" fmla="*/ 261057 h 853808"/>
                <a:gd name="connsiteX137" fmla="*/ 1553879 w 1764396"/>
                <a:gd name="connsiteY137" fmla="*/ 233148 h 853808"/>
                <a:gd name="connsiteX138" fmla="*/ 1551606 w 1764396"/>
                <a:gd name="connsiteY138" fmla="*/ 226062 h 853808"/>
                <a:gd name="connsiteX139" fmla="*/ 1571901 w 1764396"/>
                <a:gd name="connsiteY139" fmla="*/ 223689 h 853808"/>
                <a:gd name="connsiteX140" fmla="*/ 1585173 w 1764396"/>
                <a:gd name="connsiteY140" fmla="*/ 204905 h 853808"/>
                <a:gd name="connsiteX141" fmla="*/ 1586919 w 1764396"/>
                <a:gd name="connsiteY141" fmla="*/ 197217 h 853808"/>
                <a:gd name="connsiteX142" fmla="*/ 1579856 w 1764396"/>
                <a:gd name="connsiteY142" fmla="*/ 192939 h 853808"/>
                <a:gd name="connsiteX143" fmla="*/ 1630796 w 1764396"/>
                <a:gd name="connsiteY143" fmla="*/ 169543 h 853808"/>
                <a:gd name="connsiteX144" fmla="*/ 1626169 w 1764396"/>
                <a:gd name="connsiteY144" fmla="*/ 165398 h 853808"/>
                <a:gd name="connsiteX145" fmla="*/ 1593251 w 1764396"/>
                <a:gd name="connsiteY145" fmla="*/ 178066 h 853808"/>
                <a:gd name="connsiteX146" fmla="*/ 1626859 w 1764396"/>
                <a:gd name="connsiteY146" fmla="*/ 158312 h 853808"/>
                <a:gd name="connsiteX147" fmla="*/ 1644678 w 1764396"/>
                <a:gd name="connsiteY147" fmla="*/ 150023 h 853808"/>
                <a:gd name="connsiteX148" fmla="*/ 1646992 w 1764396"/>
                <a:gd name="connsiteY148" fmla="*/ 142570 h 853808"/>
                <a:gd name="connsiteX149" fmla="*/ 1669478 w 1764396"/>
                <a:gd name="connsiteY149" fmla="*/ 140030 h 853808"/>
                <a:gd name="connsiteX150" fmla="*/ 1671832 w 1764396"/>
                <a:gd name="connsiteY150" fmla="*/ 126961 h 853808"/>
                <a:gd name="connsiteX151" fmla="*/ 1658194 w 1764396"/>
                <a:gd name="connsiteY151" fmla="*/ 125123 h 853808"/>
                <a:gd name="connsiteX152" fmla="*/ 1660833 w 1764396"/>
                <a:gd name="connsiteY152" fmla="*/ 115530 h 853808"/>
                <a:gd name="connsiteX153" fmla="*/ 1663674 w 1764396"/>
                <a:gd name="connsiteY153" fmla="*/ 102729 h 853808"/>
                <a:gd name="connsiteX154" fmla="*/ 1681615 w 1764396"/>
                <a:gd name="connsiteY154" fmla="*/ 88390 h 853808"/>
                <a:gd name="connsiteX155" fmla="*/ 1694563 w 1764396"/>
                <a:gd name="connsiteY155" fmla="*/ 80201 h 853808"/>
                <a:gd name="connsiteX156" fmla="*/ 1709906 w 1764396"/>
                <a:gd name="connsiteY156" fmla="*/ 61986 h 853808"/>
                <a:gd name="connsiteX157" fmla="*/ 1735112 w 1764396"/>
                <a:gd name="connsiteY157" fmla="*/ 59111 h 853808"/>
                <a:gd name="connsiteX158" fmla="*/ 1764337 w 1764396"/>
                <a:gd name="connsiteY158" fmla="*/ 38088 h 853808"/>
                <a:gd name="connsiteX159" fmla="*/ 1719120 w 1764396"/>
                <a:gd name="connsiteY159" fmla="*/ 854 h 853808"/>
                <a:gd name="connsiteX160" fmla="*/ 1718592 w 1764396"/>
                <a:gd name="connsiteY160" fmla="*/ 1121 h 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764396" h="853808">
                  <a:moveTo>
                    <a:pt x="1718592" y="1121"/>
                  </a:moveTo>
                  <a:cubicBezTo>
                    <a:pt x="1717456" y="-650"/>
                    <a:pt x="1671914" y="6536"/>
                    <a:pt x="1668342" y="8274"/>
                  </a:cubicBezTo>
                  <a:cubicBezTo>
                    <a:pt x="1653527" y="15259"/>
                    <a:pt x="1650198" y="33041"/>
                    <a:pt x="1648493" y="41430"/>
                  </a:cubicBezTo>
                  <a:cubicBezTo>
                    <a:pt x="1644434" y="60983"/>
                    <a:pt x="1630188" y="76124"/>
                    <a:pt x="1598162" y="86184"/>
                  </a:cubicBezTo>
                  <a:cubicBezTo>
                    <a:pt x="1580331" y="91756"/>
                    <a:pt x="1562524" y="97415"/>
                    <a:pt x="1544746" y="103164"/>
                  </a:cubicBezTo>
                  <a:cubicBezTo>
                    <a:pt x="1533381" y="106773"/>
                    <a:pt x="1516333" y="110383"/>
                    <a:pt x="1507809" y="116934"/>
                  </a:cubicBezTo>
                  <a:cubicBezTo>
                    <a:pt x="1499622" y="123599"/>
                    <a:pt x="1491963" y="130688"/>
                    <a:pt x="1484876" y="138158"/>
                  </a:cubicBezTo>
                  <a:cubicBezTo>
                    <a:pt x="1478098" y="144843"/>
                    <a:pt x="1489463" y="142971"/>
                    <a:pt x="1484389" y="149823"/>
                  </a:cubicBezTo>
                  <a:cubicBezTo>
                    <a:pt x="1472212" y="166267"/>
                    <a:pt x="1429877" y="177297"/>
                    <a:pt x="1407268" y="186990"/>
                  </a:cubicBezTo>
                  <a:cubicBezTo>
                    <a:pt x="1422612" y="199022"/>
                    <a:pt x="1355273" y="242607"/>
                    <a:pt x="1334491" y="253202"/>
                  </a:cubicBezTo>
                  <a:cubicBezTo>
                    <a:pt x="1319270" y="260823"/>
                    <a:pt x="1282820" y="271685"/>
                    <a:pt x="1283186" y="255809"/>
                  </a:cubicBezTo>
                  <a:cubicBezTo>
                    <a:pt x="1283186" y="251029"/>
                    <a:pt x="1290532" y="247119"/>
                    <a:pt x="1298123" y="246852"/>
                  </a:cubicBezTo>
                  <a:cubicBezTo>
                    <a:pt x="1308148" y="246484"/>
                    <a:pt x="1307174" y="249960"/>
                    <a:pt x="1316023" y="241938"/>
                  </a:cubicBezTo>
                  <a:cubicBezTo>
                    <a:pt x="1299787" y="239933"/>
                    <a:pt x="1303359" y="211857"/>
                    <a:pt x="1283145" y="215199"/>
                  </a:cubicBezTo>
                  <a:cubicBezTo>
                    <a:pt x="1270441" y="217272"/>
                    <a:pt x="1265570" y="225995"/>
                    <a:pt x="1256802" y="231243"/>
                  </a:cubicBezTo>
                  <a:cubicBezTo>
                    <a:pt x="1249253" y="235755"/>
                    <a:pt x="1256031" y="216737"/>
                    <a:pt x="1256802" y="215400"/>
                  </a:cubicBezTo>
                  <a:cubicBezTo>
                    <a:pt x="1261430" y="204972"/>
                    <a:pt x="1258832" y="197585"/>
                    <a:pt x="1243327" y="195112"/>
                  </a:cubicBezTo>
                  <a:cubicBezTo>
                    <a:pt x="1232164" y="193340"/>
                    <a:pt x="1213493" y="195446"/>
                    <a:pt x="1204644" y="204370"/>
                  </a:cubicBezTo>
                  <a:cubicBezTo>
                    <a:pt x="1200870" y="208180"/>
                    <a:pt x="1202412" y="211055"/>
                    <a:pt x="1200058" y="214899"/>
                  </a:cubicBezTo>
                  <a:cubicBezTo>
                    <a:pt x="1196932" y="219879"/>
                    <a:pt x="1188936" y="222987"/>
                    <a:pt x="1183051" y="226898"/>
                  </a:cubicBezTo>
                  <a:cubicBezTo>
                    <a:pt x="1169981" y="235688"/>
                    <a:pt x="1175704" y="251096"/>
                    <a:pt x="1178789" y="258416"/>
                  </a:cubicBezTo>
                  <a:cubicBezTo>
                    <a:pt x="1182198" y="266471"/>
                    <a:pt x="1195025" y="272287"/>
                    <a:pt x="1193442" y="281812"/>
                  </a:cubicBezTo>
                  <a:cubicBezTo>
                    <a:pt x="1192346" y="288497"/>
                    <a:pt x="1181874" y="300797"/>
                    <a:pt x="1170671" y="304875"/>
                  </a:cubicBezTo>
                  <a:cubicBezTo>
                    <a:pt x="1137306" y="317075"/>
                    <a:pt x="1139295" y="267574"/>
                    <a:pt x="1139579" y="258750"/>
                  </a:cubicBezTo>
                  <a:cubicBezTo>
                    <a:pt x="1139579" y="255909"/>
                    <a:pt x="1140229" y="251698"/>
                    <a:pt x="1137509" y="249659"/>
                  </a:cubicBezTo>
                  <a:cubicBezTo>
                    <a:pt x="1134789" y="247620"/>
                    <a:pt x="1129066" y="251665"/>
                    <a:pt x="1127605" y="249893"/>
                  </a:cubicBezTo>
                  <a:cubicBezTo>
                    <a:pt x="1123952" y="245481"/>
                    <a:pt x="1138808" y="232713"/>
                    <a:pt x="1143841" y="228335"/>
                  </a:cubicBezTo>
                  <a:cubicBezTo>
                    <a:pt x="1156586" y="217104"/>
                    <a:pt x="1172619" y="209116"/>
                    <a:pt x="1190722" y="201362"/>
                  </a:cubicBezTo>
                  <a:cubicBezTo>
                    <a:pt x="1199977" y="197418"/>
                    <a:pt x="1209637" y="193741"/>
                    <a:pt x="1218567" y="189363"/>
                  </a:cubicBezTo>
                  <a:cubicBezTo>
                    <a:pt x="1225264" y="186021"/>
                    <a:pt x="1223032" y="183781"/>
                    <a:pt x="1228024" y="180840"/>
                  </a:cubicBezTo>
                  <a:cubicBezTo>
                    <a:pt x="1217430" y="180405"/>
                    <a:pt x="1211788" y="178801"/>
                    <a:pt x="1205132" y="184583"/>
                  </a:cubicBezTo>
                  <a:cubicBezTo>
                    <a:pt x="1199774" y="189363"/>
                    <a:pt x="1195228" y="186890"/>
                    <a:pt x="1190032" y="186221"/>
                  </a:cubicBezTo>
                  <a:cubicBezTo>
                    <a:pt x="1169737" y="183614"/>
                    <a:pt x="1150051" y="203367"/>
                    <a:pt x="1133491" y="211055"/>
                  </a:cubicBezTo>
                  <a:cubicBezTo>
                    <a:pt x="1125089" y="214932"/>
                    <a:pt x="1115022" y="216336"/>
                    <a:pt x="1108082" y="214197"/>
                  </a:cubicBezTo>
                  <a:cubicBezTo>
                    <a:pt x="1099639" y="211589"/>
                    <a:pt x="1098908" y="213829"/>
                    <a:pt x="1088882" y="214598"/>
                  </a:cubicBezTo>
                  <a:cubicBezTo>
                    <a:pt x="1079709" y="215300"/>
                    <a:pt x="1092617" y="197084"/>
                    <a:pt x="1076705" y="209551"/>
                  </a:cubicBezTo>
                  <a:cubicBezTo>
                    <a:pt x="1061931" y="221282"/>
                    <a:pt x="1050403" y="236290"/>
                    <a:pt x="1031367" y="246317"/>
                  </a:cubicBezTo>
                  <a:cubicBezTo>
                    <a:pt x="1022437" y="250929"/>
                    <a:pt x="1018216" y="249057"/>
                    <a:pt x="1009327" y="250495"/>
                  </a:cubicBezTo>
                  <a:cubicBezTo>
                    <a:pt x="998773" y="252199"/>
                    <a:pt x="991792" y="259486"/>
                    <a:pt x="981726" y="261491"/>
                  </a:cubicBezTo>
                  <a:cubicBezTo>
                    <a:pt x="962567" y="265301"/>
                    <a:pt x="981726" y="247019"/>
                    <a:pt x="986556" y="242740"/>
                  </a:cubicBezTo>
                  <a:cubicBezTo>
                    <a:pt x="1000559" y="230440"/>
                    <a:pt x="1027389" y="221082"/>
                    <a:pt x="1038592" y="209584"/>
                  </a:cubicBezTo>
                  <a:cubicBezTo>
                    <a:pt x="1026415" y="211723"/>
                    <a:pt x="1012411" y="213628"/>
                    <a:pt x="1000559" y="218542"/>
                  </a:cubicBezTo>
                  <a:cubicBezTo>
                    <a:pt x="988707" y="223455"/>
                    <a:pt x="988626" y="231911"/>
                    <a:pt x="972146" y="231543"/>
                  </a:cubicBezTo>
                  <a:cubicBezTo>
                    <a:pt x="960659" y="231209"/>
                    <a:pt x="948929" y="237292"/>
                    <a:pt x="938660" y="235788"/>
                  </a:cubicBezTo>
                  <a:cubicBezTo>
                    <a:pt x="921409" y="233215"/>
                    <a:pt x="915524" y="247487"/>
                    <a:pt x="899369" y="249759"/>
                  </a:cubicBezTo>
                  <a:cubicBezTo>
                    <a:pt x="879074" y="252634"/>
                    <a:pt x="880048" y="251230"/>
                    <a:pt x="868196" y="246183"/>
                  </a:cubicBezTo>
                  <a:cubicBezTo>
                    <a:pt x="858820" y="242206"/>
                    <a:pt x="854314" y="249759"/>
                    <a:pt x="855735" y="254338"/>
                  </a:cubicBezTo>
                  <a:cubicBezTo>
                    <a:pt x="856628" y="257246"/>
                    <a:pt x="856019" y="256678"/>
                    <a:pt x="850986" y="258750"/>
                  </a:cubicBezTo>
                  <a:cubicBezTo>
                    <a:pt x="804226" y="278002"/>
                    <a:pt x="757658" y="297665"/>
                    <a:pt x="711276" y="317743"/>
                  </a:cubicBezTo>
                  <a:cubicBezTo>
                    <a:pt x="542962" y="390516"/>
                    <a:pt x="377466" y="468807"/>
                    <a:pt x="214782" y="552610"/>
                  </a:cubicBezTo>
                  <a:cubicBezTo>
                    <a:pt x="159771" y="580887"/>
                    <a:pt x="105137" y="609855"/>
                    <a:pt x="50881" y="639512"/>
                  </a:cubicBezTo>
                  <a:cubicBezTo>
                    <a:pt x="59810" y="640682"/>
                    <a:pt x="94961" y="660402"/>
                    <a:pt x="74747" y="671331"/>
                  </a:cubicBezTo>
                  <a:cubicBezTo>
                    <a:pt x="58511" y="680021"/>
                    <a:pt x="66629" y="666251"/>
                    <a:pt x="66629" y="662841"/>
                  </a:cubicBezTo>
                  <a:cubicBezTo>
                    <a:pt x="67035" y="653349"/>
                    <a:pt x="48851" y="663042"/>
                    <a:pt x="44589" y="657093"/>
                  </a:cubicBezTo>
                  <a:cubicBezTo>
                    <a:pt x="31682" y="667120"/>
                    <a:pt x="15121" y="674339"/>
                    <a:pt x="-60" y="681525"/>
                  </a:cubicBezTo>
                  <a:cubicBezTo>
                    <a:pt x="8667" y="684634"/>
                    <a:pt x="13376" y="690249"/>
                    <a:pt x="23848" y="692288"/>
                  </a:cubicBezTo>
                  <a:cubicBezTo>
                    <a:pt x="31073" y="693691"/>
                    <a:pt x="45401" y="701680"/>
                    <a:pt x="54290" y="699641"/>
                  </a:cubicBezTo>
                  <a:cubicBezTo>
                    <a:pt x="75275" y="694861"/>
                    <a:pt x="54655" y="704253"/>
                    <a:pt x="54290" y="707395"/>
                  </a:cubicBezTo>
                  <a:cubicBezTo>
                    <a:pt x="53478" y="713478"/>
                    <a:pt x="63220" y="721567"/>
                    <a:pt x="66102" y="726513"/>
                  </a:cubicBezTo>
                  <a:cubicBezTo>
                    <a:pt x="73489" y="739114"/>
                    <a:pt x="87533" y="749910"/>
                    <a:pt x="87898" y="765619"/>
                  </a:cubicBezTo>
                  <a:cubicBezTo>
                    <a:pt x="88223" y="776849"/>
                    <a:pt x="90171" y="781662"/>
                    <a:pt x="103728" y="785105"/>
                  </a:cubicBezTo>
                  <a:cubicBezTo>
                    <a:pt x="122115" y="789784"/>
                    <a:pt x="120776" y="800847"/>
                    <a:pt x="128975" y="811476"/>
                  </a:cubicBezTo>
                  <a:cubicBezTo>
                    <a:pt x="134374" y="818495"/>
                    <a:pt x="147890" y="819130"/>
                    <a:pt x="154303" y="825715"/>
                  </a:cubicBezTo>
                  <a:cubicBezTo>
                    <a:pt x="161894" y="833435"/>
                    <a:pt x="166480" y="831062"/>
                    <a:pt x="181052" y="831731"/>
                  </a:cubicBezTo>
                  <a:cubicBezTo>
                    <a:pt x="188805" y="832065"/>
                    <a:pt x="213524" y="830594"/>
                    <a:pt x="217583" y="834037"/>
                  </a:cubicBezTo>
                  <a:cubicBezTo>
                    <a:pt x="224442" y="840053"/>
                    <a:pt x="239339" y="833268"/>
                    <a:pt x="244169" y="838048"/>
                  </a:cubicBezTo>
                  <a:cubicBezTo>
                    <a:pt x="249527" y="843362"/>
                    <a:pt x="246158" y="848075"/>
                    <a:pt x="258457" y="848075"/>
                  </a:cubicBezTo>
                  <a:cubicBezTo>
                    <a:pt x="271486" y="848342"/>
                    <a:pt x="292024" y="843964"/>
                    <a:pt x="301360" y="848810"/>
                  </a:cubicBezTo>
                  <a:cubicBezTo>
                    <a:pt x="310696" y="853657"/>
                    <a:pt x="304810" y="855829"/>
                    <a:pt x="320640" y="849813"/>
                  </a:cubicBezTo>
                  <a:cubicBezTo>
                    <a:pt x="336470" y="843797"/>
                    <a:pt x="354573" y="845401"/>
                    <a:pt x="369672" y="837179"/>
                  </a:cubicBezTo>
                  <a:cubicBezTo>
                    <a:pt x="395122" y="823308"/>
                    <a:pt x="412982" y="836778"/>
                    <a:pt x="428649" y="842059"/>
                  </a:cubicBezTo>
                  <a:cubicBezTo>
                    <a:pt x="437133" y="840822"/>
                    <a:pt x="463759" y="820634"/>
                    <a:pt x="471431" y="816022"/>
                  </a:cubicBezTo>
                  <a:cubicBezTo>
                    <a:pt x="488113" y="805995"/>
                    <a:pt x="489088" y="806396"/>
                    <a:pt x="508205" y="803187"/>
                  </a:cubicBezTo>
                  <a:cubicBezTo>
                    <a:pt x="528135" y="799845"/>
                    <a:pt x="549810" y="792191"/>
                    <a:pt x="569902" y="786977"/>
                  </a:cubicBezTo>
                  <a:cubicBezTo>
                    <a:pt x="580618" y="784169"/>
                    <a:pt x="597016" y="782063"/>
                    <a:pt x="607123" y="777117"/>
                  </a:cubicBezTo>
                  <a:cubicBezTo>
                    <a:pt x="624414" y="768694"/>
                    <a:pt x="641705" y="760338"/>
                    <a:pt x="658996" y="752049"/>
                  </a:cubicBezTo>
                  <a:cubicBezTo>
                    <a:pt x="672959" y="745364"/>
                    <a:pt x="682417" y="743292"/>
                    <a:pt x="686922" y="733365"/>
                  </a:cubicBezTo>
                  <a:cubicBezTo>
                    <a:pt x="690981" y="724775"/>
                    <a:pt x="717689" y="716119"/>
                    <a:pt x="729298" y="710804"/>
                  </a:cubicBezTo>
                  <a:cubicBezTo>
                    <a:pt x="738268" y="706626"/>
                    <a:pt x="795946" y="708565"/>
                    <a:pt x="799437" y="713980"/>
                  </a:cubicBezTo>
                  <a:cubicBezTo>
                    <a:pt x="805688" y="723338"/>
                    <a:pt x="831909" y="717857"/>
                    <a:pt x="847657" y="715216"/>
                  </a:cubicBezTo>
                  <a:cubicBezTo>
                    <a:pt x="860971" y="712977"/>
                    <a:pt x="854030" y="699006"/>
                    <a:pt x="862838" y="692154"/>
                  </a:cubicBezTo>
                  <a:cubicBezTo>
                    <a:pt x="873391" y="683965"/>
                    <a:pt x="901845" y="680556"/>
                    <a:pt x="913251" y="680924"/>
                  </a:cubicBezTo>
                  <a:cubicBezTo>
                    <a:pt x="931881" y="681525"/>
                    <a:pt x="941988" y="692254"/>
                    <a:pt x="961958" y="692990"/>
                  </a:cubicBezTo>
                  <a:cubicBezTo>
                    <a:pt x="975596" y="693491"/>
                    <a:pt x="979453" y="710370"/>
                    <a:pt x="994998" y="707027"/>
                  </a:cubicBezTo>
                  <a:cubicBezTo>
                    <a:pt x="1010544" y="703685"/>
                    <a:pt x="1034127" y="697401"/>
                    <a:pt x="1049104" y="696432"/>
                  </a:cubicBezTo>
                  <a:cubicBezTo>
                    <a:pt x="1046588" y="691251"/>
                    <a:pt x="1024426" y="688377"/>
                    <a:pt x="1026983" y="683063"/>
                  </a:cubicBezTo>
                  <a:cubicBezTo>
                    <a:pt x="1029540" y="677748"/>
                    <a:pt x="1035710" y="673036"/>
                    <a:pt x="1030068" y="668891"/>
                  </a:cubicBezTo>
                  <a:cubicBezTo>
                    <a:pt x="1023695" y="664111"/>
                    <a:pt x="1027917" y="662006"/>
                    <a:pt x="1035223" y="655221"/>
                  </a:cubicBezTo>
                  <a:cubicBezTo>
                    <a:pt x="1041880" y="649071"/>
                    <a:pt x="1038551" y="647534"/>
                    <a:pt x="1041352" y="642085"/>
                  </a:cubicBezTo>
                  <a:cubicBezTo>
                    <a:pt x="1044153" y="636637"/>
                    <a:pt x="1058521" y="634565"/>
                    <a:pt x="1064244" y="629919"/>
                  </a:cubicBezTo>
                  <a:cubicBezTo>
                    <a:pt x="1069387" y="625855"/>
                    <a:pt x="1073393" y="620918"/>
                    <a:pt x="1075975" y="615447"/>
                  </a:cubicBezTo>
                  <a:cubicBezTo>
                    <a:pt x="1077314" y="612305"/>
                    <a:pt x="1072281" y="608428"/>
                    <a:pt x="1077396" y="605821"/>
                  </a:cubicBezTo>
                  <a:cubicBezTo>
                    <a:pt x="1083159" y="602913"/>
                    <a:pt x="1092333" y="602478"/>
                    <a:pt x="1095499" y="597665"/>
                  </a:cubicBezTo>
                  <a:cubicBezTo>
                    <a:pt x="1099964" y="590713"/>
                    <a:pt x="1096473" y="589945"/>
                    <a:pt x="1109827" y="587638"/>
                  </a:cubicBezTo>
                  <a:cubicBezTo>
                    <a:pt x="1120746" y="585833"/>
                    <a:pt x="1112749" y="582190"/>
                    <a:pt x="1120786" y="580018"/>
                  </a:cubicBezTo>
                  <a:cubicBezTo>
                    <a:pt x="1130406" y="577444"/>
                    <a:pt x="1136291" y="582057"/>
                    <a:pt x="1146966" y="578313"/>
                  </a:cubicBezTo>
                  <a:cubicBezTo>
                    <a:pt x="1156667" y="574971"/>
                    <a:pt x="1151025" y="571294"/>
                    <a:pt x="1156302" y="568286"/>
                  </a:cubicBezTo>
                  <a:cubicBezTo>
                    <a:pt x="1164420" y="563674"/>
                    <a:pt x="1178139" y="570325"/>
                    <a:pt x="1187110" y="568520"/>
                  </a:cubicBezTo>
                  <a:cubicBezTo>
                    <a:pt x="1194623" y="566635"/>
                    <a:pt x="1201832" y="564008"/>
                    <a:pt x="1208582" y="560699"/>
                  </a:cubicBezTo>
                  <a:cubicBezTo>
                    <a:pt x="1215522" y="557357"/>
                    <a:pt x="1210084" y="552811"/>
                    <a:pt x="1212641" y="551574"/>
                  </a:cubicBezTo>
                  <a:cubicBezTo>
                    <a:pt x="1216700" y="549602"/>
                    <a:pt x="1232935" y="554014"/>
                    <a:pt x="1238009" y="553546"/>
                  </a:cubicBezTo>
                  <a:cubicBezTo>
                    <a:pt x="1257858" y="551775"/>
                    <a:pt x="1239105" y="547396"/>
                    <a:pt x="1232205" y="547129"/>
                  </a:cubicBezTo>
                  <a:cubicBezTo>
                    <a:pt x="1228958" y="547129"/>
                    <a:pt x="1218161" y="539442"/>
                    <a:pt x="1219500" y="537637"/>
                  </a:cubicBezTo>
                  <a:cubicBezTo>
                    <a:pt x="1226725" y="528077"/>
                    <a:pt x="1244219" y="524936"/>
                    <a:pt x="1256599" y="520022"/>
                  </a:cubicBezTo>
                  <a:cubicBezTo>
                    <a:pt x="1262931" y="517516"/>
                    <a:pt x="1263094" y="505684"/>
                    <a:pt x="1272470" y="511566"/>
                  </a:cubicBezTo>
                  <a:cubicBezTo>
                    <a:pt x="1280141" y="516379"/>
                    <a:pt x="1283876" y="512469"/>
                    <a:pt x="1294997" y="506185"/>
                  </a:cubicBezTo>
                  <a:cubicBezTo>
                    <a:pt x="1306119" y="499901"/>
                    <a:pt x="1317930" y="494086"/>
                    <a:pt x="1331772" y="494754"/>
                  </a:cubicBezTo>
                  <a:cubicBezTo>
                    <a:pt x="1343949" y="495389"/>
                    <a:pt x="1352432" y="506686"/>
                    <a:pt x="1364852" y="492882"/>
                  </a:cubicBezTo>
                  <a:cubicBezTo>
                    <a:pt x="1377273" y="479079"/>
                    <a:pt x="1383848" y="476973"/>
                    <a:pt x="1403250" y="481051"/>
                  </a:cubicBezTo>
                  <a:cubicBezTo>
                    <a:pt x="1415711" y="483658"/>
                    <a:pt x="1434667" y="483658"/>
                    <a:pt x="1433895" y="494186"/>
                  </a:cubicBezTo>
                  <a:cubicBezTo>
                    <a:pt x="1433327" y="501706"/>
                    <a:pt x="1439456" y="505750"/>
                    <a:pt x="1445504" y="510898"/>
                  </a:cubicBezTo>
                  <a:cubicBezTo>
                    <a:pt x="1449563" y="514441"/>
                    <a:pt x="1456666" y="513237"/>
                    <a:pt x="1462146" y="515310"/>
                  </a:cubicBezTo>
                  <a:cubicBezTo>
                    <a:pt x="1467625" y="517382"/>
                    <a:pt x="1467625" y="521995"/>
                    <a:pt x="1470629" y="525337"/>
                  </a:cubicBezTo>
                  <a:cubicBezTo>
                    <a:pt x="1473633" y="528679"/>
                    <a:pt x="1490924" y="527075"/>
                    <a:pt x="1497378" y="529983"/>
                  </a:cubicBezTo>
                  <a:cubicBezTo>
                    <a:pt x="1503832" y="532890"/>
                    <a:pt x="1506957" y="536667"/>
                    <a:pt x="1518525" y="533960"/>
                  </a:cubicBezTo>
                  <a:cubicBezTo>
                    <a:pt x="1530093" y="531253"/>
                    <a:pt x="1526643" y="519488"/>
                    <a:pt x="1527982" y="514240"/>
                  </a:cubicBezTo>
                  <a:cubicBezTo>
                    <a:pt x="1530702" y="504714"/>
                    <a:pt x="1525750" y="499266"/>
                    <a:pt x="1518444" y="492749"/>
                  </a:cubicBezTo>
                  <a:cubicBezTo>
                    <a:pt x="1512741" y="486853"/>
                    <a:pt x="1505407" y="482167"/>
                    <a:pt x="1497053" y="479079"/>
                  </a:cubicBezTo>
                  <a:cubicBezTo>
                    <a:pt x="1488123" y="476405"/>
                    <a:pt x="1484876" y="468784"/>
                    <a:pt x="1475947" y="465208"/>
                  </a:cubicBezTo>
                  <a:cubicBezTo>
                    <a:pt x="1452161" y="455749"/>
                    <a:pt x="1444124" y="439171"/>
                    <a:pt x="1453216" y="418883"/>
                  </a:cubicBezTo>
                  <a:cubicBezTo>
                    <a:pt x="1456455" y="411155"/>
                    <a:pt x="1461050" y="403859"/>
                    <a:pt x="1466854" y="397224"/>
                  </a:cubicBezTo>
                  <a:cubicBezTo>
                    <a:pt x="1475662" y="387732"/>
                    <a:pt x="1485526" y="387197"/>
                    <a:pt x="1489382" y="376769"/>
                  </a:cubicBezTo>
                  <a:cubicBezTo>
                    <a:pt x="1492966" y="367828"/>
                    <a:pt x="1501469" y="360802"/>
                    <a:pt x="1512315" y="357818"/>
                  </a:cubicBezTo>
                  <a:cubicBezTo>
                    <a:pt x="1525506" y="353640"/>
                    <a:pt x="1523396" y="343278"/>
                    <a:pt x="1533827" y="336059"/>
                  </a:cubicBezTo>
                  <a:cubicBezTo>
                    <a:pt x="1540119" y="331681"/>
                    <a:pt x="1563458" y="324127"/>
                    <a:pt x="1552620" y="319581"/>
                  </a:cubicBezTo>
                  <a:cubicBezTo>
                    <a:pt x="1549252" y="318177"/>
                    <a:pt x="1543447" y="317375"/>
                    <a:pt x="1542676" y="314334"/>
                  </a:cubicBezTo>
                  <a:cubicBezTo>
                    <a:pt x="1542270" y="312696"/>
                    <a:pt x="1545233" y="307248"/>
                    <a:pt x="1549901" y="308986"/>
                  </a:cubicBezTo>
                  <a:cubicBezTo>
                    <a:pt x="1559602" y="312663"/>
                    <a:pt x="1572307" y="302101"/>
                    <a:pt x="1576934" y="297020"/>
                  </a:cubicBezTo>
                  <a:cubicBezTo>
                    <a:pt x="1589395" y="283250"/>
                    <a:pt x="1562606" y="297589"/>
                    <a:pt x="1558100" y="292976"/>
                  </a:cubicBezTo>
                  <a:cubicBezTo>
                    <a:pt x="1554650" y="289366"/>
                    <a:pt x="1571901" y="283818"/>
                    <a:pt x="1557004" y="281010"/>
                  </a:cubicBezTo>
                  <a:cubicBezTo>
                    <a:pt x="1546207" y="278938"/>
                    <a:pt x="1530215" y="286893"/>
                    <a:pt x="1541377" y="273958"/>
                  </a:cubicBezTo>
                  <a:cubicBezTo>
                    <a:pt x="1547587" y="266772"/>
                    <a:pt x="1521610" y="267039"/>
                    <a:pt x="1515765" y="266839"/>
                  </a:cubicBezTo>
                  <a:cubicBezTo>
                    <a:pt x="1504278" y="266471"/>
                    <a:pt x="1526968" y="257514"/>
                    <a:pt x="1526643" y="253937"/>
                  </a:cubicBezTo>
                  <a:cubicBezTo>
                    <a:pt x="1526156" y="248823"/>
                    <a:pt x="1511138" y="234485"/>
                    <a:pt x="1526156" y="229571"/>
                  </a:cubicBezTo>
                  <a:cubicBezTo>
                    <a:pt x="1533503" y="227198"/>
                    <a:pt x="1527049" y="237693"/>
                    <a:pt x="1526805" y="239197"/>
                  </a:cubicBezTo>
                  <a:cubicBezTo>
                    <a:pt x="1525547" y="247921"/>
                    <a:pt x="1538049" y="247520"/>
                    <a:pt x="1544989" y="252366"/>
                  </a:cubicBezTo>
                  <a:cubicBezTo>
                    <a:pt x="1550916" y="256544"/>
                    <a:pt x="1551768" y="279941"/>
                    <a:pt x="1560292" y="261057"/>
                  </a:cubicBezTo>
                  <a:cubicBezTo>
                    <a:pt x="1566056" y="248289"/>
                    <a:pt x="1568410" y="238462"/>
                    <a:pt x="1553879" y="233148"/>
                  </a:cubicBezTo>
                  <a:cubicBezTo>
                    <a:pt x="1552499" y="232646"/>
                    <a:pt x="1546248" y="227232"/>
                    <a:pt x="1551606" y="226062"/>
                  </a:cubicBezTo>
                  <a:cubicBezTo>
                    <a:pt x="1560373" y="224090"/>
                    <a:pt x="1563377" y="231711"/>
                    <a:pt x="1571901" y="223689"/>
                  </a:cubicBezTo>
                  <a:cubicBezTo>
                    <a:pt x="1577681" y="218147"/>
                    <a:pt x="1582182" y="211780"/>
                    <a:pt x="1585173" y="204905"/>
                  </a:cubicBezTo>
                  <a:cubicBezTo>
                    <a:pt x="1586387" y="202468"/>
                    <a:pt x="1586980" y="199851"/>
                    <a:pt x="1586919" y="197217"/>
                  </a:cubicBezTo>
                  <a:cubicBezTo>
                    <a:pt x="1586554" y="194276"/>
                    <a:pt x="1580140" y="194878"/>
                    <a:pt x="1579856" y="192939"/>
                  </a:cubicBezTo>
                  <a:cubicBezTo>
                    <a:pt x="1579410" y="189597"/>
                    <a:pt x="1624099" y="173219"/>
                    <a:pt x="1630796" y="169543"/>
                  </a:cubicBezTo>
                  <a:cubicBezTo>
                    <a:pt x="1642973" y="162858"/>
                    <a:pt x="1638914" y="160418"/>
                    <a:pt x="1626169" y="165398"/>
                  </a:cubicBezTo>
                  <a:cubicBezTo>
                    <a:pt x="1618985" y="168172"/>
                    <a:pt x="1601044" y="178400"/>
                    <a:pt x="1593251" y="178066"/>
                  </a:cubicBezTo>
                  <a:cubicBezTo>
                    <a:pt x="1586269" y="177732"/>
                    <a:pt x="1624099" y="159382"/>
                    <a:pt x="1626859" y="158312"/>
                  </a:cubicBezTo>
                  <a:cubicBezTo>
                    <a:pt x="1632379" y="156106"/>
                    <a:pt x="1641756" y="153934"/>
                    <a:pt x="1644678" y="150023"/>
                  </a:cubicBezTo>
                  <a:cubicBezTo>
                    <a:pt x="1645368" y="149121"/>
                    <a:pt x="1645855" y="142570"/>
                    <a:pt x="1646992" y="142570"/>
                  </a:cubicBezTo>
                  <a:cubicBezTo>
                    <a:pt x="1656084" y="142570"/>
                    <a:pt x="1659453" y="145177"/>
                    <a:pt x="1669478" y="140030"/>
                  </a:cubicBezTo>
                  <a:cubicBezTo>
                    <a:pt x="1679504" y="134883"/>
                    <a:pt x="1680762" y="129668"/>
                    <a:pt x="1671832" y="126961"/>
                  </a:cubicBezTo>
                  <a:cubicBezTo>
                    <a:pt x="1669357" y="126192"/>
                    <a:pt x="1657098" y="127295"/>
                    <a:pt x="1658194" y="125123"/>
                  </a:cubicBezTo>
                  <a:cubicBezTo>
                    <a:pt x="1660711" y="120243"/>
                    <a:pt x="1662903" y="119775"/>
                    <a:pt x="1660833" y="115530"/>
                  </a:cubicBezTo>
                  <a:cubicBezTo>
                    <a:pt x="1659087" y="111921"/>
                    <a:pt x="1661117" y="106840"/>
                    <a:pt x="1663674" y="102729"/>
                  </a:cubicBezTo>
                  <a:cubicBezTo>
                    <a:pt x="1667490" y="96746"/>
                    <a:pt x="1678246" y="93638"/>
                    <a:pt x="1681615" y="88390"/>
                  </a:cubicBezTo>
                  <a:cubicBezTo>
                    <a:pt x="1684984" y="83143"/>
                    <a:pt x="1688921" y="84045"/>
                    <a:pt x="1694563" y="80201"/>
                  </a:cubicBezTo>
                  <a:cubicBezTo>
                    <a:pt x="1702031" y="75121"/>
                    <a:pt x="1700245" y="66063"/>
                    <a:pt x="1709906" y="61986"/>
                  </a:cubicBezTo>
                  <a:cubicBezTo>
                    <a:pt x="1717537" y="58643"/>
                    <a:pt x="1727035" y="61183"/>
                    <a:pt x="1735112" y="59111"/>
                  </a:cubicBezTo>
                  <a:cubicBezTo>
                    <a:pt x="1746802" y="56170"/>
                    <a:pt x="1756543" y="43703"/>
                    <a:pt x="1764337" y="38088"/>
                  </a:cubicBezTo>
                  <a:cubicBezTo>
                    <a:pt x="1735924" y="29230"/>
                    <a:pt x="1729957" y="17365"/>
                    <a:pt x="1719120" y="854"/>
                  </a:cubicBezTo>
                  <a:cubicBezTo>
                    <a:pt x="1715629" y="-3358"/>
                    <a:pt x="1721311" y="5266"/>
                    <a:pt x="1718592" y="112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0CE7A8E9-D4A5-4679-8492-08FFF5425D11}"/>
                </a:ext>
              </a:extLst>
            </p:cNvPr>
            <p:cNvSpPr/>
            <p:nvPr/>
          </p:nvSpPr>
          <p:spPr>
            <a:xfrm>
              <a:off x="652802" y="5602226"/>
              <a:ext cx="33518" cy="37941"/>
            </a:xfrm>
            <a:custGeom>
              <a:avLst/>
              <a:gdLst>
                <a:gd name="connsiteX0" fmla="*/ 28830 w 33518"/>
                <a:gd name="connsiteY0" fmla="*/ 1025 h 37941"/>
                <a:gd name="connsiteX1" fmla="*/ 417 w 33518"/>
                <a:gd name="connsiteY1" fmla="*/ 37557 h 37941"/>
                <a:gd name="connsiteX2" fmla="*/ 28830 w 33518"/>
                <a:gd name="connsiteY2" fmla="*/ 1025 h 3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18" h="37941">
                  <a:moveTo>
                    <a:pt x="28830" y="1025"/>
                  </a:moveTo>
                  <a:cubicBezTo>
                    <a:pt x="19291" y="5905"/>
                    <a:pt x="-3642" y="31775"/>
                    <a:pt x="417" y="37557"/>
                  </a:cubicBezTo>
                  <a:cubicBezTo>
                    <a:pt x="1756" y="39295"/>
                    <a:pt x="47948" y="-8969"/>
                    <a:pt x="28830" y="102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E8B842F7-C120-465F-B6F7-72A785C069C9}"/>
                </a:ext>
              </a:extLst>
            </p:cNvPr>
            <p:cNvSpPr/>
            <p:nvPr/>
          </p:nvSpPr>
          <p:spPr>
            <a:xfrm>
              <a:off x="651006" y="5597707"/>
              <a:ext cx="41035" cy="43985"/>
            </a:xfrm>
            <a:custGeom>
              <a:avLst/>
              <a:gdLst>
                <a:gd name="connsiteX0" fmla="*/ 5257 w 41035"/>
                <a:gd name="connsiteY0" fmla="*/ 41808 h 43985"/>
                <a:gd name="connsiteX1" fmla="*/ 5257 w 41035"/>
                <a:gd name="connsiteY1" fmla="*/ 41808 h 43985"/>
                <a:gd name="connsiteX2" fmla="*/ 1969 w 41035"/>
                <a:gd name="connsiteY2" fmla="*/ 43647 h 43985"/>
                <a:gd name="connsiteX3" fmla="*/ 1117 w 41035"/>
                <a:gd name="connsiteY3" fmla="*/ 43647 h 43985"/>
                <a:gd name="connsiteX4" fmla="*/ 630 w 41035"/>
                <a:gd name="connsiteY4" fmla="*/ 43179 h 43985"/>
                <a:gd name="connsiteX5" fmla="*/ 24172 w 41035"/>
                <a:gd name="connsiteY5" fmla="*/ 8452 h 43985"/>
                <a:gd name="connsiteX6" fmla="*/ 24415 w 41035"/>
                <a:gd name="connsiteY6" fmla="*/ 7917 h 43985"/>
                <a:gd name="connsiteX7" fmla="*/ 25958 w 41035"/>
                <a:gd name="connsiteY7" fmla="*/ 6513 h 43985"/>
                <a:gd name="connsiteX8" fmla="*/ 25958 w 41035"/>
                <a:gd name="connsiteY8" fmla="*/ 6513 h 43985"/>
                <a:gd name="connsiteX9" fmla="*/ 26404 w 41035"/>
                <a:gd name="connsiteY9" fmla="*/ 6280 h 43985"/>
                <a:gd name="connsiteX10" fmla="*/ 34522 w 41035"/>
                <a:gd name="connsiteY10" fmla="*/ 2001 h 43985"/>
                <a:gd name="connsiteX11" fmla="*/ 34522 w 41035"/>
                <a:gd name="connsiteY11" fmla="*/ 2001 h 43985"/>
                <a:gd name="connsiteX12" fmla="*/ 34969 w 41035"/>
                <a:gd name="connsiteY12" fmla="*/ 1800 h 43985"/>
                <a:gd name="connsiteX13" fmla="*/ 40976 w 41035"/>
                <a:gd name="connsiteY13" fmla="*/ -339 h 43985"/>
                <a:gd name="connsiteX14" fmla="*/ 36917 w 41035"/>
                <a:gd name="connsiteY14" fmla="*/ 3004 h 43985"/>
                <a:gd name="connsiteX15" fmla="*/ 36917 w 41035"/>
                <a:gd name="connsiteY15" fmla="*/ 3004 h 43985"/>
                <a:gd name="connsiteX16" fmla="*/ 5257 w 41035"/>
                <a:gd name="connsiteY16" fmla="*/ 41808 h 43985"/>
                <a:gd name="connsiteX17" fmla="*/ 26891 w 41035"/>
                <a:gd name="connsiteY17" fmla="*/ 9488 h 43985"/>
                <a:gd name="connsiteX18" fmla="*/ 3796 w 41035"/>
                <a:gd name="connsiteY18" fmla="*/ 39870 h 43985"/>
                <a:gd name="connsiteX19" fmla="*/ 33386 w 41035"/>
                <a:gd name="connsiteY19" fmla="*/ 5711 h 43985"/>
                <a:gd name="connsiteX20" fmla="*/ 33386 w 41035"/>
                <a:gd name="connsiteY20" fmla="*/ 5711 h 43985"/>
                <a:gd name="connsiteX21" fmla="*/ 30910 w 41035"/>
                <a:gd name="connsiteY21" fmla="*/ 6747 h 43985"/>
                <a:gd name="connsiteX22" fmla="*/ 26891 w 41035"/>
                <a:gd name="connsiteY22" fmla="*/ 9488 h 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035" h="43985">
                  <a:moveTo>
                    <a:pt x="5257" y="41808"/>
                  </a:moveTo>
                  <a:lnTo>
                    <a:pt x="5257" y="41808"/>
                  </a:lnTo>
                  <a:cubicBezTo>
                    <a:pt x="4364" y="42644"/>
                    <a:pt x="3232" y="43279"/>
                    <a:pt x="1969" y="43647"/>
                  </a:cubicBezTo>
                  <a:lnTo>
                    <a:pt x="1117" y="43647"/>
                  </a:lnTo>
                  <a:lnTo>
                    <a:pt x="630" y="43179"/>
                  </a:lnTo>
                  <a:cubicBezTo>
                    <a:pt x="-3673" y="37597"/>
                    <a:pt x="13132" y="17510"/>
                    <a:pt x="24172" y="8452"/>
                  </a:cubicBezTo>
                  <a:lnTo>
                    <a:pt x="24415" y="7917"/>
                  </a:lnTo>
                  <a:cubicBezTo>
                    <a:pt x="24793" y="7349"/>
                    <a:pt x="25321" y="6881"/>
                    <a:pt x="25958" y="6513"/>
                  </a:cubicBezTo>
                  <a:lnTo>
                    <a:pt x="25958" y="6513"/>
                  </a:lnTo>
                  <a:lnTo>
                    <a:pt x="26404" y="6280"/>
                  </a:lnTo>
                  <a:cubicBezTo>
                    <a:pt x="28986" y="4708"/>
                    <a:pt x="31697" y="3271"/>
                    <a:pt x="34522" y="2001"/>
                  </a:cubicBezTo>
                  <a:lnTo>
                    <a:pt x="34522" y="2001"/>
                  </a:lnTo>
                  <a:lnTo>
                    <a:pt x="34969" y="1800"/>
                  </a:lnTo>
                  <a:lnTo>
                    <a:pt x="40976" y="-339"/>
                  </a:lnTo>
                  <a:lnTo>
                    <a:pt x="36917" y="3004"/>
                  </a:lnTo>
                  <a:lnTo>
                    <a:pt x="36917" y="3004"/>
                  </a:lnTo>
                  <a:cubicBezTo>
                    <a:pt x="39718" y="7750"/>
                    <a:pt x="11670" y="36595"/>
                    <a:pt x="5257" y="41808"/>
                  </a:cubicBezTo>
                  <a:close/>
                  <a:moveTo>
                    <a:pt x="26891" y="9488"/>
                  </a:moveTo>
                  <a:cubicBezTo>
                    <a:pt x="16866" y="17409"/>
                    <a:pt x="2862" y="34355"/>
                    <a:pt x="3796" y="39870"/>
                  </a:cubicBezTo>
                  <a:cubicBezTo>
                    <a:pt x="12726" y="32417"/>
                    <a:pt x="34563" y="7917"/>
                    <a:pt x="33386" y="5711"/>
                  </a:cubicBezTo>
                  <a:lnTo>
                    <a:pt x="33386" y="5711"/>
                  </a:lnTo>
                  <a:cubicBezTo>
                    <a:pt x="32513" y="5978"/>
                    <a:pt x="31681" y="6313"/>
                    <a:pt x="30910" y="6747"/>
                  </a:cubicBezTo>
                  <a:cubicBezTo>
                    <a:pt x="29469" y="7549"/>
                    <a:pt x="28125" y="8485"/>
                    <a:pt x="26891" y="948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DCEDB522-1463-4B37-8D83-013ACDE60A33}"/>
                </a:ext>
              </a:extLst>
            </p:cNvPr>
            <p:cNvSpPr/>
            <p:nvPr/>
          </p:nvSpPr>
          <p:spPr>
            <a:xfrm>
              <a:off x="608327" y="5685688"/>
              <a:ext cx="14219" cy="22572"/>
            </a:xfrm>
            <a:custGeom>
              <a:avLst/>
              <a:gdLst>
                <a:gd name="connsiteX0" fmla="*/ 5316 w 14219"/>
                <a:gd name="connsiteY0" fmla="*/ 19907 h 22572"/>
                <a:gd name="connsiteX1" fmla="*/ 7873 w 14219"/>
                <a:gd name="connsiteY1" fmla="*/ -147 h 22572"/>
                <a:gd name="connsiteX2" fmla="*/ 5316 w 14219"/>
                <a:gd name="connsiteY2" fmla="*/ 19907 h 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9" h="22572">
                  <a:moveTo>
                    <a:pt x="5316" y="19907"/>
                  </a:moveTo>
                  <a:cubicBezTo>
                    <a:pt x="15626" y="6136"/>
                    <a:pt x="17493" y="-1685"/>
                    <a:pt x="7873" y="-147"/>
                  </a:cubicBezTo>
                  <a:cubicBezTo>
                    <a:pt x="-1747" y="1390"/>
                    <a:pt x="-2639" y="30536"/>
                    <a:pt x="5316" y="1990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6A274E28-BE18-4935-AEC6-F32B90B52EEF}"/>
                </a:ext>
              </a:extLst>
            </p:cNvPr>
            <p:cNvSpPr/>
            <p:nvPr/>
          </p:nvSpPr>
          <p:spPr>
            <a:xfrm>
              <a:off x="606443" y="5686147"/>
              <a:ext cx="8152" cy="23664"/>
            </a:xfrm>
            <a:custGeom>
              <a:avLst/>
              <a:gdLst>
                <a:gd name="connsiteX0" fmla="*/ 6673 w 8152"/>
                <a:gd name="connsiteY0" fmla="*/ 21855 h 23664"/>
                <a:gd name="connsiteX1" fmla="*/ 1640 w 8152"/>
                <a:gd name="connsiteY1" fmla="*/ 22790 h 23664"/>
                <a:gd name="connsiteX2" fmla="*/ 259 w 8152"/>
                <a:gd name="connsiteY2" fmla="*/ 12329 h 23664"/>
                <a:gd name="connsiteX3" fmla="*/ 6186 w 8152"/>
                <a:gd name="connsiteY3" fmla="*/ -339 h 23664"/>
                <a:gd name="connsiteX4" fmla="*/ 8093 w 8152"/>
                <a:gd name="connsiteY4" fmla="*/ 1232 h 23664"/>
                <a:gd name="connsiteX5" fmla="*/ 4034 w 8152"/>
                <a:gd name="connsiteY5" fmla="*/ 11058 h 23664"/>
                <a:gd name="connsiteX6" fmla="*/ 4968 w 8152"/>
                <a:gd name="connsiteY6" fmla="*/ 20083 h 23664"/>
                <a:gd name="connsiteX7" fmla="*/ 4724 w 8152"/>
                <a:gd name="connsiteY7" fmla="*/ 20317 h 23664"/>
                <a:gd name="connsiteX8" fmla="*/ 6673 w 8152"/>
                <a:gd name="connsiteY8" fmla="*/ 21855 h 2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52" h="23664">
                  <a:moveTo>
                    <a:pt x="6673" y="21855"/>
                  </a:moveTo>
                  <a:cubicBezTo>
                    <a:pt x="4806" y="23392"/>
                    <a:pt x="2817" y="23760"/>
                    <a:pt x="1640" y="22790"/>
                  </a:cubicBezTo>
                  <a:cubicBezTo>
                    <a:pt x="-268" y="21186"/>
                    <a:pt x="-309" y="16105"/>
                    <a:pt x="259" y="12329"/>
                  </a:cubicBezTo>
                  <a:cubicBezTo>
                    <a:pt x="609" y="7716"/>
                    <a:pt x="2679" y="3271"/>
                    <a:pt x="6186" y="-339"/>
                  </a:cubicBezTo>
                  <a:lnTo>
                    <a:pt x="8093" y="1232"/>
                  </a:lnTo>
                  <a:cubicBezTo>
                    <a:pt x="5646" y="4140"/>
                    <a:pt x="4237" y="7549"/>
                    <a:pt x="4034" y="11058"/>
                  </a:cubicBezTo>
                  <a:cubicBezTo>
                    <a:pt x="3194" y="14067"/>
                    <a:pt x="3519" y="17242"/>
                    <a:pt x="4968" y="20083"/>
                  </a:cubicBezTo>
                  <a:cubicBezTo>
                    <a:pt x="4968" y="20083"/>
                    <a:pt x="4968" y="20083"/>
                    <a:pt x="4724" y="20317"/>
                  </a:cubicBezTo>
                  <a:cubicBezTo>
                    <a:pt x="5496" y="20852"/>
                    <a:pt x="5983" y="21353"/>
                    <a:pt x="6673" y="2185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16D6E17C-9F93-4D82-8F14-9F298DC4807B}"/>
                </a:ext>
              </a:extLst>
            </p:cNvPr>
            <p:cNvSpPr/>
            <p:nvPr/>
          </p:nvSpPr>
          <p:spPr>
            <a:xfrm>
              <a:off x="472869" y="5553108"/>
              <a:ext cx="49218" cy="38034"/>
            </a:xfrm>
            <a:custGeom>
              <a:avLst/>
              <a:gdLst>
                <a:gd name="connsiteX0" fmla="*/ 20508 w 49218"/>
                <a:gd name="connsiteY0" fmla="*/ 14748 h 38034"/>
                <a:gd name="connsiteX1" fmla="*/ 213 w 49218"/>
                <a:gd name="connsiteY1" fmla="*/ 33499 h 38034"/>
                <a:gd name="connsiteX2" fmla="*/ 29275 w 49218"/>
                <a:gd name="connsiteY2" fmla="*/ 25276 h 38034"/>
                <a:gd name="connsiteX3" fmla="*/ 44496 w 49218"/>
                <a:gd name="connsiteY3" fmla="*/ -259 h 38034"/>
                <a:gd name="connsiteX4" fmla="*/ 20386 w 49218"/>
                <a:gd name="connsiteY4" fmla="*/ 14748 h 3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18" h="38034">
                  <a:moveTo>
                    <a:pt x="20508" y="14748"/>
                  </a:moveTo>
                  <a:cubicBezTo>
                    <a:pt x="14094" y="11406"/>
                    <a:pt x="1430" y="29354"/>
                    <a:pt x="213" y="33499"/>
                  </a:cubicBezTo>
                  <a:cubicBezTo>
                    <a:pt x="-2994" y="45096"/>
                    <a:pt x="23065" y="29421"/>
                    <a:pt x="29275" y="25276"/>
                  </a:cubicBezTo>
                  <a:cubicBezTo>
                    <a:pt x="38408" y="19127"/>
                    <a:pt x="58134" y="1579"/>
                    <a:pt x="44496" y="-259"/>
                  </a:cubicBezTo>
                  <a:cubicBezTo>
                    <a:pt x="33618" y="-1730"/>
                    <a:pt x="25987" y="17723"/>
                    <a:pt x="20386" y="1474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AD70F910-F32C-4CF1-8229-6123A5684A40}"/>
                </a:ext>
              </a:extLst>
            </p:cNvPr>
            <p:cNvSpPr/>
            <p:nvPr/>
          </p:nvSpPr>
          <p:spPr>
            <a:xfrm>
              <a:off x="471045" y="5551766"/>
              <a:ext cx="52995" cy="40996"/>
            </a:xfrm>
            <a:custGeom>
              <a:avLst/>
              <a:gdLst>
                <a:gd name="connsiteX0" fmla="*/ 37755 w 52995"/>
                <a:gd name="connsiteY0" fmla="*/ 23276 h 40996"/>
                <a:gd name="connsiteX1" fmla="*/ 31870 w 52995"/>
                <a:gd name="connsiteY1" fmla="*/ 27655 h 40996"/>
                <a:gd name="connsiteX2" fmla="*/ 2524 w 52995"/>
                <a:gd name="connsiteY2" fmla="*/ 40556 h 40996"/>
                <a:gd name="connsiteX3" fmla="*/ 251 w 52995"/>
                <a:gd name="connsiteY3" fmla="*/ 35409 h 40996"/>
                <a:gd name="connsiteX4" fmla="*/ 13483 w 52995"/>
                <a:gd name="connsiteY4" fmla="*/ 17795 h 40996"/>
                <a:gd name="connsiteX5" fmla="*/ 19490 w 52995"/>
                <a:gd name="connsiteY5" fmla="*/ 14452 h 40996"/>
                <a:gd name="connsiteX6" fmla="*/ 19490 w 52995"/>
                <a:gd name="connsiteY6" fmla="*/ 14452 h 40996"/>
                <a:gd name="connsiteX7" fmla="*/ 21966 w 52995"/>
                <a:gd name="connsiteY7" fmla="*/ 13817 h 40996"/>
                <a:gd name="connsiteX8" fmla="*/ 21966 w 52995"/>
                <a:gd name="connsiteY8" fmla="*/ 13817 h 40996"/>
                <a:gd name="connsiteX9" fmla="*/ 22981 w 52995"/>
                <a:gd name="connsiteY9" fmla="*/ 14352 h 40996"/>
                <a:gd name="connsiteX10" fmla="*/ 23914 w 52995"/>
                <a:gd name="connsiteY10" fmla="*/ 14820 h 40996"/>
                <a:gd name="connsiteX11" fmla="*/ 25781 w 52995"/>
                <a:gd name="connsiteY11" fmla="*/ 14252 h 40996"/>
                <a:gd name="connsiteX12" fmla="*/ 29840 w 52995"/>
                <a:gd name="connsiteY12" fmla="*/ 10141 h 40996"/>
                <a:gd name="connsiteX13" fmla="*/ 36254 w 52995"/>
                <a:gd name="connsiteY13" fmla="*/ 3757 h 40996"/>
                <a:gd name="connsiteX14" fmla="*/ 47538 w 52995"/>
                <a:gd name="connsiteY14" fmla="*/ -321 h 40996"/>
                <a:gd name="connsiteX15" fmla="*/ 52895 w 52995"/>
                <a:gd name="connsiteY15" fmla="*/ 4826 h 40996"/>
                <a:gd name="connsiteX16" fmla="*/ 37755 w 52995"/>
                <a:gd name="connsiteY16" fmla="*/ 23276 h 40996"/>
                <a:gd name="connsiteX17" fmla="*/ 15390 w 52995"/>
                <a:gd name="connsiteY17" fmla="*/ 19366 h 40996"/>
                <a:gd name="connsiteX18" fmla="*/ 4025 w 52995"/>
                <a:gd name="connsiteY18" fmla="*/ 34373 h 40996"/>
                <a:gd name="connsiteX19" fmla="*/ 5081 w 52995"/>
                <a:gd name="connsiteY19" fmla="*/ 37414 h 40996"/>
                <a:gd name="connsiteX20" fmla="*/ 30571 w 52995"/>
                <a:gd name="connsiteY20" fmla="*/ 25649 h 40996"/>
                <a:gd name="connsiteX21" fmla="*/ 49161 w 52995"/>
                <a:gd name="connsiteY21" fmla="*/ 6097 h 40996"/>
                <a:gd name="connsiteX22" fmla="*/ 45102 w 52995"/>
                <a:gd name="connsiteY22" fmla="*/ 2754 h 40996"/>
                <a:gd name="connsiteX23" fmla="*/ 38121 w 52995"/>
                <a:gd name="connsiteY23" fmla="*/ 5294 h 40996"/>
                <a:gd name="connsiteX24" fmla="*/ 32519 w 52995"/>
                <a:gd name="connsiteY24" fmla="*/ 10876 h 40996"/>
                <a:gd name="connsiteX25" fmla="*/ 25822 w 52995"/>
                <a:gd name="connsiteY25" fmla="*/ 17026 h 40996"/>
                <a:gd name="connsiteX26" fmla="*/ 25335 w 52995"/>
                <a:gd name="connsiteY26" fmla="*/ 17627 h 40996"/>
                <a:gd name="connsiteX27" fmla="*/ 24686 w 52995"/>
                <a:gd name="connsiteY27" fmla="*/ 18296 h 40996"/>
                <a:gd name="connsiteX28" fmla="*/ 23833 w 52995"/>
                <a:gd name="connsiteY28" fmla="*/ 18597 h 40996"/>
                <a:gd name="connsiteX29" fmla="*/ 22453 w 52995"/>
                <a:gd name="connsiteY29" fmla="*/ 18597 h 40996"/>
                <a:gd name="connsiteX30" fmla="*/ 22453 w 52995"/>
                <a:gd name="connsiteY30" fmla="*/ 18597 h 40996"/>
                <a:gd name="connsiteX31" fmla="*/ 21641 w 52995"/>
                <a:gd name="connsiteY31" fmla="*/ 18162 h 40996"/>
                <a:gd name="connsiteX32" fmla="*/ 20627 w 52995"/>
                <a:gd name="connsiteY32" fmla="*/ 17661 h 40996"/>
                <a:gd name="connsiteX33" fmla="*/ 20627 w 52995"/>
                <a:gd name="connsiteY33" fmla="*/ 17661 h 40996"/>
                <a:gd name="connsiteX34" fmla="*/ 15390 w 52995"/>
                <a:gd name="connsiteY34" fmla="*/ 19432 h 4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995" h="40996">
                  <a:moveTo>
                    <a:pt x="37755" y="23276"/>
                  </a:moveTo>
                  <a:cubicBezTo>
                    <a:pt x="35726" y="24947"/>
                    <a:pt x="33696" y="26451"/>
                    <a:pt x="31870" y="27655"/>
                  </a:cubicBezTo>
                  <a:cubicBezTo>
                    <a:pt x="31870" y="27655"/>
                    <a:pt x="10195" y="41993"/>
                    <a:pt x="2524" y="40556"/>
                  </a:cubicBezTo>
                  <a:cubicBezTo>
                    <a:pt x="900" y="40255"/>
                    <a:pt x="-764" y="39119"/>
                    <a:pt x="251" y="35409"/>
                  </a:cubicBezTo>
                  <a:cubicBezTo>
                    <a:pt x="3157" y="28858"/>
                    <a:pt x="7662" y="22875"/>
                    <a:pt x="13483" y="17795"/>
                  </a:cubicBezTo>
                  <a:cubicBezTo>
                    <a:pt x="15175" y="16357"/>
                    <a:pt x="17221" y="15188"/>
                    <a:pt x="19490" y="14452"/>
                  </a:cubicBezTo>
                  <a:lnTo>
                    <a:pt x="19490" y="14452"/>
                  </a:lnTo>
                  <a:cubicBezTo>
                    <a:pt x="20505" y="13617"/>
                    <a:pt x="20911" y="13416"/>
                    <a:pt x="21966" y="13817"/>
                  </a:cubicBezTo>
                  <a:lnTo>
                    <a:pt x="21966" y="13817"/>
                  </a:lnTo>
                  <a:lnTo>
                    <a:pt x="22981" y="14352"/>
                  </a:lnTo>
                  <a:lnTo>
                    <a:pt x="23914" y="14820"/>
                  </a:lnTo>
                  <a:cubicBezTo>
                    <a:pt x="24483" y="15087"/>
                    <a:pt x="24807" y="15021"/>
                    <a:pt x="25781" y="14252"/>
                  </a:cubicBezTo>
                  <a:cubicBezTo>
                    <a:pt x="27222" y="12949"/>
                    <a:pt x="28578" y="11578"/>
                    <a:pt x="29840" y="10141"/>
                  </a:cubicBezTo>
                  <a:cubicBezTo>
                    <a:pt x="31768" y="7868"/>
                    <a:pt x="33912" y="5729"/>
                    <a:pt x="36254" y="3757"/>
                  </a:cubicBezTo>
                  <a:cubicBezTo>
                    <a:pt x="39006" y="983"/>
                    <a:pt x="43199" y="-521"/>
                    <a:pt x="47538" y="-321"/>
                  </a:cubicBezTo>
                  <a:cubicBezTo>
                    <a:pt x="51597" y="214"/>
                    <a:pt x="53220" y="1952"/>
                    <a:pt x="52895" y="4826"/>
                  </a:cubicBezTo>
                  <a:cubicBezTo>
                    <a:pt x="52287" y="11077"/>
                    <a:pt x="41165" y="20502"/>
                    <a:pt x="37755" y="23276"/>
                  </a:cubicBezTo>
                  <a:close/>
                  <a:moveTo>
                    <a:pt x="15390" y="19366"/>
                  </a:moveTo>
                  <a:cubicBezTo>
                    <a:pt x="10471" y="23711"/>
                    <a:pt x="6615" y="28825"/>
                    <a:pt x="4025" y="34373"/>
                  </a:cubicBezTo>
                  <a:cubicBezTo>
                    <a:pt x="3295" y="37080"/>
                    <a:pt x="4634" y="37347"/>
                    <a:pt x="5081" y="37414"/>
                  </a:cubicBezTo>
                  <a:cubicBezTo>
                    <a:pt x="9464" y="38250"/>
                    <a:pt x="24077" y="30028"/>
                    <a:pt x="30571" y="25649"/>
                  </a:cubicBezTo>
                  <a:cubicBezTo>
                    <a:pt x="37065" y="21271"/>
                    <a:pt x="48552" y="11244"/>
                    <a:pt x="49161" y="6097"/>
                  </a:cubicBezTo>
                  <a:cubicBezTo>
                    <a:pt x="49161" y="4191"/>
                    <a:pt x="48106" y="3088"/>
                    <a:pt x="45102" y="2754"/>
                  </a:cubicBezTo>
                  <a:cubicBezTo>
                    <a:pt x="42407" y="2587"/>
                    <a:pt x="39789" y="3556"/>
                    <a:pt x="38121" y="5294"/>
                  </a:cubicBezTo>
                  <a:cubicBezTo>
                    <a:pt x="36112" y="7066"/>
                    <a:pt x="34240" y="8904"/>
                    <a:pt x="32519" y="10876"/>
                  </a:cubicBezTo>
                  <a:cubicBezTo>
                    <a:pt x="30648" y="13182"/>
                    <a:pt x="28395" y="15255"/>
                    <a:pt x="25822" y="17026"/>
                  </a:cubicBezTo>
                  <a:lnTo>
                    <a:pt x="25335" y="17627"/>
                  </a:lnTo>
                  <a:cubicBezTo>
                    <a:pt x="25096" y="17828"/>
                    <a:pt x="24880" y="18062"/>
                    <a:pt x="24686" y="18296"/>
                  </a:cubicBezTo>
                  <a:lnTo>
                    <a:pt x="23833" y="18597"/>
                  </a:lnTo>
                  <a:cubicBezTo>
                    <a:pt x="23411" y="18831"/>
                    <a:pt x="22875" y="18831"/>
                    <a:pt x="22453" y="18597"/>
                  </a:cubicBezTo>
                  <a:lnTo>
                    <a:pt x="22453" y="18597"/>
                  </a:lnTo>
                  <a:cubicBezTo>
                    <a:pt x="22169" y="18463"/>
                    <a:pt x="21897" y="18330"/>
                    <a:pt x="21641" y="18162"/>
                  </a:cubicBezTo>
                  <a:lnTo>
                    <a:pt x="20627" y="17661"/>
                  </a:lnTo>
                  <a:lnTo>
                    <a:pt x="20627" y="17661"/>
                  </a:lnTo>
                  <a:cubicBezTo>
                    <a:pt x="19815" y="17093"/>
                    <a:pt x="18435" y="16892"/>
                    <a:pt x="15390" y="1943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659F32AA-D279-4CF9-8C4C-002C65D70E84}"/>
                </a:ext>
              </a:extLst>
            </p:cNvPr>
            <p:cNvSpPr/>
            <p:nvPr/>
          </p:nvSpPr>
          <p:spPr>
            <a:xfrm>
              <a:off x="294219" y="4855383"/>
              <a:ext cx="1310283" cy="734334"/>
            </a:xfrm>
            <a:custGeom>
              <a:avLst/>
              <a:gdLst>
                <a:gd name="connsiteX0" fmla="*/ 1291630 w 1310283"/>
                <a:gd name="connsiteY0" fmla="*/ 107239 h 734334"/>
                <a:gd name="connsiteX1" fmla="*/ 1238620 w 1310283"/>
                <a:gd name="connsiteY1" fmla="*/ 112353 h 734334"/>
                <a:gd name="connsiteX2" fmla="*/ 1175625 w 1310283"/>
                <a:gd name="connsiteY2" fmla="*/ 109211 h 734334"/>
                <a:gd name="connsiteX3" fmla="*/ 1098504 w 1310283"/>
                <a:gd name="connsiteY3" fmla="*/ 113957 h 734334"/>
                <a:gd name="connsiteX4" fmla="*/ 1050771 w 1310283"/>
                <a:gd name="connsiteY4" fmla="*/ 125889 h 734334"/>
                <a:gd name="connsiteX5" fmla="*/ 1043099 w 1310283"/>
                <a:gd name="connsiteY5" fmla="*/ 142902 h 734334"/>
                <a:gd name="connsiteX6" fmla="*/ 1017649 w 1310283"/>
                <a:gd name="connsiteY6" fmla="*/ 167769 h 734334"/>
                <a:gd name="connsiteX7" fmla="*/ 977628 w 1310283"/>
                <a:gd name="connsiteY7" fmla="*/ 171111 h 734334"/>
                <a:gd name="connsiteX8" fmla="*/ 947510 w 1310283"/>
                <a:gd name="connsiteY8" fmla="*/ 169674 h 734334"/>
                <a:gd name="connsiteX9" fmla="*/ 891253 w 1310283"/>
                <a:gd name="connsiteY9" fmla="*/ 205504 h 734334"/>
                <a:gd name="connsiteX10" fmla="*/ 885530 w 1310283"/>
                <a:gd name="connsiteY10" fmla="*/ 199454 h 734334"/>
                <a:gd name="connsiteX11" fmla="*/ 702470 w 1310283"/>
                <a:gd name="connsiteY11" fmla="*/ 6433 h 734334"/>
                <a:gd name="connsiteX12" fmla="*/ 696016 w 1310283"/>
                <a:gd name="connsiteY12" fmla="*/ -252 h 734334"/>
                <a:gd name="connsiteX13" fmla="*/ 611874 w 1310283"/>
                <a:gd name="connsiteY13" fmla="*/ 39857 h 734334"/>
                <a:gd name="connsiteX14" fmla="*/ 539421 w 1310283"/>
                <a:gd name="connsiteY14" fmla="*/ 85346 h 734334"/>
                <a:gd name="connsiteX15" fmla="*/ 495624 w 1310283"/>
                <a:gd name="connsiteY15" fmla="*/ 114391 h 734334"/>
                <a:gd name="connsiteX16" fmla="*/ 439083 w 1310283"/>
                <a:gd name="connsiteY16" fmla="*/ 139760 h 734334"/>
                <a:gd name="connsiteX17" fmla="*/ 368091 w 1310283"/>
                <a:gd name="connsiteY17" fmla="*/ 193639 h 734334"/>
                <a:gd name="connsiteX18" fmla="*/ 356158 w 1310283"/>
                <a:gd name="connsiteY18" fmla="*/ 198184 h 734334"/>
                <a:gd name="connsiteX19" fmla="*/ 340977 w 1310283"/>
                <a:gd name="connsiteY19" fmla="*/ 206373 h 734334"/>
                <a:gd name="connsiteX20" fmla="*/ 316624 w 1310283"/>
                <a:gd name="connsiteY20" fmla="*/ 209080 h 734334"/>
                <a:gd name="connsiteX21" fmla="*/ 284598 w 1310283"/>
                <a:gd name="connsiteY21" fmla="*/ 235819 h 734334"/>
                <a:gd name="connsiteX22" fmla="*/ 267956 w 1310283"/>
                <a:gd name="connsiteY22" fmla="*/ 245846 h 734334"/>
                <a:gd name="connsiteX23" fmla="*/ 258743 w 1310283"/>
                <a:gd name="connsiteY23" fmla="*/ 243674 h 734334"/>
                <a:gd name="connsiteX24" fmla="*/ 238772 w 1310283"/>
                <a:gd name="connsiteY24" fmla="*/ 269176 h 734334"/>
                <a:gd name="connsiteX25" fmla="*/ 233861 w 1310283"/>
                <a:gd name="connsiteY25" fmla="*/ 260218 h 734334"/>
                <a:gd name="connsiteX26" fmla="*/ 205976 w 1310283"/>
                <a:gd name="connsiteY26" fmla="*/ 272218 h 734334"/>
                <a:gd name="connsiteX27" fmla="*/ 185438 w 1310283"/>
                <a:gd name="connsiteY27" fmla="*/ 302299 h 734334"/>
                <a:gd name="connsiteX28" fmla="*/ 151504 w 1310283"/>
                <a:gd name="connsiteY28" fmla="*/ 335990 h 734334"/>
                <a:gd name="connsiteX29" fmla="*/ 127151 w 1310283"/>
                <a:gd name="connsiteY29" fmla="*/ 363665 h 734334"/>
                <a:gd name="connsiteX30" fmla="*/ 138029 w 1310283"/>
                <a:gd name="connsiteY30" fmla="*/ 361392 h 734334"/>
                <a:gd name="connsiteX31" fmla="*/ 131940 w 1310283"/>
                <a:gd name="connsiteY31" fmla="*/ 370984 h 734334"/>
                <a:gd name="connsiteX32" fmla="*/ 113675 w 1310283"/>
                <a:gd name="connsiteY32" fmla="*/ 383886 h 734334"/>
                <a:gd name="connsiteX33" fmla="*/ 85749 w 1310283"/>
                <a:gd name="connsiteY33" fmla="*/ 409990 h 734334"/>
                <a:gd name="connsiteX34" fmla="*/ 66956 w 1310283"/>
                <a:gd name="connsiteY34" fmla="*/ 435057 h 734334"/>
                <a:gd name="connsiteX35" fmla="*/ 60624 w 1310283"/>
                <a:gd name="connsiteY35" fmla="*/ 456148 h 734334"/>
                <a:gd name="connsiteX36" fmla="*/ 63952 w 1310283"/>
                <a:gd name="connsiteY36" fmla="*/ 474698 h 734334"/>
                <a:gd name="connsiteX37" fmla="*/ 7614 w 1310283"/>
                <a:gd name="connsiteY37" fmla="*/ 532019 h 734334"/>
                <a:gd name="connsiteX38" fmla="*/ 18938 w 1310283"/>
                <a:gd name="connsiteY38" fmla="*/ 548196 h 734334"/>
                <a:gd name="connsiteX39" fmla="*/ 105151 w 1310283"/>
                <a:gd name="connsiteY39" fmla="*/ 518917 h 734334"/>
                <a:gd name="connsiteX40" fmla="*/ 156294 w 1310283"/>
                <a:gd name="connsiteY40" fmla="*/ 487065 h 734334"/>
                <a:gd name="connsiteX41" fmla="*/ 174438 w 1310283"/>
                <a:gd name="connsiteY41" fmla="*/ 487867 h 734334"/>
                <a:gd name="connsiteX42" fmla="*/ 210197 w 1310283"/>
                <a:gd name="connsiteY42" fmla="*/ 468280 h 734334"/>
                <a:gd name="connsiteX43" fmla="*/ 200293 w 1310283"/>
                <a:gd name="connsiteY43" fmla="*/ 482352 h 734334"/>
                <a:gd name="connsiteX44" fmla="*/ 175128 w 1310283"/>
                <a:gd name="connsiteY44" fmla="*/ 514405 h 734334"/>
                <a:gd name="connsiteX45" fmla="*/ 162707 w 1310283"/>
                <a:gd name="connsiteY45" fmla="*/ 519485 h 734334"/>
                <a:gd name="connsiteX46" fmla="*/ 146471 w 1310283"/>
                <a:gd name="connsiteY46" fmla="*/ 531184 h 734334"/>
                <a:gd name="connsiteX47" fmla="*/ 122808 w 1310283"/>
                <a:gd name="connsiteY47" fmla="*/ 542313 h 734334"/>
                <a:gd name="connsiteX48" fmla="*/ 79295 w 1310283"/>
                <a:gd name="connsiteY48" fmla="*/ 578712 h 734334"/>
                <a:gd name="connsiteX49" fmla="*/ 79295 w 1310283"/>
                <a:gd name="connsiteY49" fmla="*/ 588271 h 734334"/>
                <a:gd name="connsiteX50" fmla="*/ 46823 w 1310283"/>
                <a:gd name="connsiteY50" fmla="*/ 622463 h 734334"/>
                <a:gd name="connsiteX51" fmla="*/ 72476 w 1310283"/>
                <a:gd name="connsiteY51" fmla="*/ 624335 h 734334"/>
                <a:gd name="connsiteX52" fmla="*/ 85100 w 1310283"/>
                <a:gd name="connsiteY52" fmla="*/ 620525 h 734334"/>
                <a:gd name="connsiteX53" fmla="*/ 93218 w 1310283"/>
                <a:gd name="connsiteY53" fmla="*/ 624803 h 734334"/>
                <a:gd name="connsiteX54" fmla="*/ 161165 w 1310283"/>
                <a:gd name="connsiteY54" fmla="*/ 584695 h 734334"/>
                <a:gd name="connsiteX55" fmla="*/ 190511 w 1310283"/>
                <a:gd name="connsiteY55" fmla="*/ 564941 h 734334"/>
                <a:gd name="connsiteX56" fmla="*/ 209670 w 1310283"/>
                <a:gd name="connsiteY56" fmla="*/ 535094 h 734334"/>
                <a:gd name="connsiteX57" fmla="*/ 237636 w 1310283"/>
                <a:gd name="connsiteY57" fmla="*/ 511497 h 734334"/>
                <a:gd name="connsiteX58" fmla="*/ 239868 w 1310283"/>
                <a:gd name="connsiteY58" fmla="*/ 520421 h 734334"/>
                <a:gd name="connsiteX59" fmla="*/ 248960 w 1310283"/>
                <a:gd name="connsiteY59" fmla="*/ 554480 h 734334"/>
                <a:gd name="connsiteX60" fmla="*/ 228219 w 1310283"/>
                <a:gd name="connsiteY60" fmla="*/ 574868 h 734334"/>
                <a:gd name="connsiteX61" fmla="*/ 216042 w 1310283"/>
                <a:gd name="connsiteY61" fmla="*/ 598264 h 734334"/>
                <a:gd name="connsiteX62" fmla="*/ 192622 w 1310283"/>
                <a:gd name="connsiteY62" fmla="*/ 631889 h 734334"/>
                <a:gd name="connsiteX63" fmla="*/ 181135 w 1310283"/>
                <a:gd name="connsiteY63" fmla="*/ 646428 h 734334"/>
                <a:gd name="connsiteX64" fmla="*/ 176630 w 1310283"/>
                <a:gd name="connsiteY64" fmla="*/ 669824 h 734334"/>
                <a:gd name="connsiteX65" fmla="*/ 167375 w 1310283"/>
                <a:gd name="connsiteY65" fmla="*/ 683194 h 734334"/>
                <a:gd name="connsiteX66" fmla="*/ 198751 w 1310283"/>
                <a:gd name="connsiteY66" fmla="*/ 676710 h 734334"/>
                <a:gd name="connsiteX67" fmla="*/ 217057 w 1310283"/>
                <a:gd name="connsiteY67" fmla="*/ 684731 h 734334"/>
                <a:gd name="connsiteX68" fmla="*/ 277252 w 1310283"/>
                <a:gd name="connsiteY68" fmla="*/ 669490 h 734334"/>
                <a:gd name="connsiteX69" fmla="*/ 303716 w 1310283"/>
                <a:gd name="connsiteY69" fmla="*/ 631722 h 734334"/>
                <a:gd name="connsiteX70" fmla="*/ 324011 w 1310283"/>
                <a:gd name="connsiteY70" fmla="*/ 628145 h 734334"/>
                <a:gd name="connsiteX71" fmla="*/ 336188 w 1310283"/>
                <a:gd name="connsiteY71" fmla="*/ 641849 h 734334"/>
                <a:gd name="connsiteX72" fmla="*/ 369066 w 1310283"/>
                <a:gd name="connsiteY72" fmla="*/ 633359 h 734334"/>
                <a:gd name="connsiteX73" fmla="*/ 374708 w 1310283"/>
                <a:gd name="connsiteY73" fmla="*/ 619990 h 734334"/>
                <a:gd name="connsiteX74" fmla="*/ 404785 w 1310283"/>
                <a:gd name="connsiteY74" fmla="*/ 599936 h 734334"/>
                <a:gd name="connsiteX75" fmla="*/ 432548 w 1310283"/>
                <a:gd name="connsiteY75" fmla="*/ 592449 h 734334"/>
                <a:gd name="connsiteX76" fmla="*/ 431817 w 1310283"/>
                <a:gd name="connsiteY76" fmla="*/ 572963 h 734334"/>
                <a:gd name="connsiteX77" fmla="*/ 449149 w 1310283"/>
                <a:gd name="connsiteY77" fmla="*/ 569621 h 734334"/>
                <a:gd name="connsiteX78" fmla="*/ 475248 w 1310283"/>
                <a:gd name="connsiteY78" fmla="*/ 543584 h 734334"/>
                <a:gd name="connsiteX79" fmla="*/ 473300 w 1310283"/>
                <a:gd name="connsiteY79" fmla="*/ 567916 h 734334"/>
                <a:gd name="connsiteX80" fmla="*/ 486898 w 1310283"/>
                <a:gd name="connsiteY80" fmla="*/ 583057 h 734334"/>
                <a:gd name="connsiteX81" fmla="*/ 478333 w 1310283"/>
                <a:gd name="connsiteY81" fmla="*/ 605284 h 734334"/>
                <a:gd name="connsiteX82" fmla="*/ 458566 w 1310283"/>
                <a:gd name="connsiteY82" fmla="*/ 634830 h 734334"/>
                <a:gd name="connsiteX83" fmla="*/ 438758 w 1310283"/>
                <a:gd name="connsiteY83" fmla="*/ 677645 h 734334"/>
                <a:gd name="connsiteX84" fmla="*/ 412253 w 1310283"/>
                <a:gd name="connsiteY84" fmla="*/ 695661 h 734334"/>
                <a:gd name="connsiteX85" fmla="*/ 401619 w 1310283"/>
                <a:gd name="connsiteY85" fmla="*/ 721464 h 734334"/>
                <a:gd name="connsiteX86" fmla="*/ 419559 w 1310283"/>
                <a:gd name="connsiteY86" fmla="*/ 712306 h 734334"/>
                <a:gd name="connsiteX87" fmla="*/ 431127 w 1310283"/>
                <a:gd name="connsiteY87" fmla="*/ 696196 h 734334"/>
                <a:gd name="connsiteX88" fmla="*/ 456780 w 1310283"/>
                <a:gd name="connsiteY88" fmla="*/ 667351 h 734334"/>
                <a:gd name="connsiteX89" fmla="*/ 494285 w 1310283"/>
                <a:gd name="connsiteY89" fmla="*/ 623533 h 734334"/>
                <a:gd name="connsiteX90" fmla="*/ 522292 w 1310283"/>
                <a:gd name="connsiteY90" fmla="*/ 573865 h 734334"/>
                <a:gd name="connsiteX91" fmla="*/ 527244 w 1310283"/>
                <a:gd name="connsiteY91" fmla="*/ 557655 h 734334"/>
                <a:gd name="connsiteX92" fmla="*/ 538487 w 1310283"/>
                <a:gd name="connsiteY92" fmla="*/ 544286 h 734334"/>
                <a:gd name="connsiteX93" fmla="*/ 550136 w 1310283"/>
                <a:gd name="connsiteY93" fmla="*/ 523697 h 734334"/>
                <a:gd name="connsiteX94" fmla="*/ 568199 w 1310283"/>
                <a:gd name="connsiteY94" fmla="*/ 501904 h 734334"/>
                <a:gd name="connsiteX95" fmla="*/ 564424 w 1310283"/>
                <a:gd name="connsiteY95" fmla="*/ 494217 h 734334"/>
                <a:gd name="connsiteX96" fmla="*/ 573516 w 1310283"/>
                <a:gd name="connsiteY96" fmla="*/ 479343 h 734334"/>
                <a:gd name="connsiteX97" fmla="*/ 546280 w 1310283"/>
                <a:gd name="connsiteY97" fmla="*/ 475734 h 734334"/>
                <a:gd name="connsiteX98" fmla="*/ 562516 w 1310283"/>
                <a:gd name="connsiteY98" fmla="*/ 454142 h 734334"/>
                <a:gd name="connsiteX99" fmla="*/ 571000 w 1310283"/>
                <a:gd name="connsiteY99" fmla="*/ 424963 h 734334"/>
                <a:gd name="connsiteX100" fmla="*/ 582649 w 1310283"/>
                <a:gd name="connsiteY100" fmla="*/ 396587 h 734334"/>
                <a:gd name="connsiteX101" fmla="*/ 600914 w 1310283"/>
                <a:gd name="connsiteY101" fmla="*/ 369179 h 734334"/>
                <a:gd name="connsiteX102" fmla="*/ 607043 w 1310283"/>
                <a:gd name="connsiteY102" fmla="*/ 368812 h 734334"/>
                <a:gd name="connsiteX103" fmla="*/ 624740 w 1310283"/>
                <a:gd name="connsiteY103" fmla="*/ 359787 h 734334"/>
                <a:gd name="connsiteX104" fmla="*/ 633345 w 1310283"/>
                <a:gd name="connsiteY104" fmla="*/ 360055 h 734334"/>
                <a:gd name="connsiteX105" fmla="*/ 616095 w 1310283"/>
                <a:gd name="connsiteY105" fmla="*/ 371385 h 734334"/>
                <a:gd name="connsiteX106" fmla="*/ 596612 w 1310283"/>
                <a:gd name="connsiteY106" fmla="*/ 399829 h 734334"/>
                <a:gd name="connsiteX107" fmla="*/ 600955 w 1310283"/>
                <a:gd name="connsiteY107" fmla="*/ 422022 h 734334"/>
                <a:gd name="connsiteX108" fmla="*/ 612036 w 1310283"/>
                <a:gd name="connsiteY108" fmla="*/ 425732 h 734334"/>
                <a:gd name="connsiteX109" fmla="*/ 627135 w 1310283"/>
                <a:gd name="connsiteY109" fmla="*/ 423860 h 734334"/>
                <a:gd name="connsiteX110" fmla="*/ 662245 w 1310283"/>
                <a:gd name="connsiteY110" fmla="*/ 375363 h 734334"/>
                <a:gd name="connsiteX111" fmla="*/ 701902 w 1310283"/>
                <a:gd name="connsiteY111" fmla="*/ 344947 h 734334"/>
                <a:gd name="connsiteX112" fmla="*/ 685666 w 1310283"/>
                <a:gd name="connsiteY112" fmla="*/ 340034 h 734334"/>
                <a:gd name="connsiteX113" fmla="*/ 677954 w 1310283"/>
                <a:gd name="connsiteY113" fmla="*/ 323656 h 734334"/>
                <a:gd name="connsiteX114" fmla="*/ 716392 w 1310283"/>
                <a:gd name="connsiteY114" fmla="*/ 306042 h 734334"/>
                <a:gd name="connsiteX115" fmla="*/ 746226 w 1310283"/>
                <a:gd name="connsiteY115" fmla="*/ 294511 h 734334"/>
                <a:gd name="connsiteX116" fmla="*/ 729381 w 1310283"/>
                <a:gd name="connsiteY116" fmla="*/ 310120 h 734334"/>
                <a:gd name="connsiteX117" fmla="*/ 737255 w 1310283"/>
                <a:gd name="connsiteY117" fmla="*/ 312393 h 734334"/>
                <a:gd name="connsiteX118" fmla="*/ 753491 w 1310283"/>
                <a:gd name="connsiteY118" fmla="*/ 294110 h 734334"/>
                <a:gd name="connsiteX119" fmla="*/ 768509 w 1310283"/>
                <a:gd name="connsiteY119" fmla="*/ 289464 h 734334"/>
                <a:gd name="connsiteX120" fmla="*/ 779347 w 1310283"/>
                <a:gd name="connsiteY120" fmla="*/ 275393 h 734334"/>
                <a:gd name="connsiteX121" fmla="*/ 796395 w 1310283"/>
                <a:gd name="connsiteY121" fmla="*/ 274724 h 734334"/>
                <a:gd name="connsiteX122" fmla="*/ 834427 w 1310283"/>
                <a:gd name="connsiteY122" fmla="*/ 253734 h 734334"/>
                <a:gd name="connsiteX123" fmla="*/ 888127 w 1310283"/>
                <a:gd name="connsiteY123" fmla="*/ 218272 h 734334"/>
                <a:gd name="connsiteX124" fmla="*/ 932776 w 1310283"/>
                <a:gd name="connsiteY124" fmla="*/ 194006 h 734334"/>
                <a:gd name="connsiteX125" fmla="*/ 950311 w 1310283"/>
                <a:gd name="connsiteY125" fmla="*/ 184882 h 734334"/>
                <a:gd name="connsiteX126" fmla="*/ 957252 w 1310283"/>
                <a:gd name="connsiteY126" fmla="*/ 195945 h 734334"/>
                <a:gd name="connsiteX127" fmla="*/ 1019922 w 1310283"/>
                <a:gd name="connsiteY127" fmla="*/ 178431 h 734334"/>
                <a:gd name="connsiteX128" fmla="*/ 1056818 w 1310283"/>
                <a:gd name="connsiteY128" fmla="*/ 162087 h 734334"/>
                <a:gd name="connsiteX129" fmla="*/ 1078047 w 1310283"/>
                <a:gd name="connsiteY129" fmla="*/ 148918 h 734334"/>
                <a:gd name="connsiteX130" fmla="*/ 1097165 w 1310283"/>
                <a:gd name="connsiteY130" fmla="*/ 142400 h 734334"/>
                <a:gd name="connsiteX131" fmla="*/ 1075409 w 1310283"/>
                <a:gd name="connsiteY131" fmla="*/ 129900 h 734334"/>
                <a:gd name="connsiteX132" fmla="*/ 1093187 w 1310283"/>
                <a:gd name="connsiteY132" fmla="*/ 127861 h 734334"/>
                <a:gd name="connsiteX133" fmla="*/ 1111168 w 1310283"/>
                <a:gd name="connsiteY133" fmla="*/ 144573 h 734334"/>
                <a:gd name="connsiteX134" fmla="*/ 1089980 w 1310283"/>
                <a:gd name="connsiteY134" fmla="*/ 156338 h 734334"/>
                <a:gd name="connsiteX135" fmla="*/ 1072892 w 1310283"/>
                <a:gd name="connsiteY135" fmla="*/ 164025 h 734334"/>
                <a:gd name="connsiteX136" fmla="*/ 1116485 w 1310283"/>
                <a:gd name="connsiteY136" fmla="*/ 169841 h 734334"/>
                <a:gd name="connsiteX137" fmla="*/ 1141123 w 1310283"/>
                <a:gd name="connsiteY137" fmla="*/ 164594 h 734334"/>
                <a:gd name="connsiteX138" fmla="*/ 1120220 w 1310283"/>
                <a:gd name="connsiteY138" fmla="*/ 155636 h 734334"/>
                <a:gd name="connsiteX139" fmla="*/ 1132397 w 1310283"/>
                <a:gd name="connsiteY139" fmla="*/ 151291 h 734334"/>
                <a:gd name="connsiteX140" fmla="*/ 1149769 w 1310283"/>
                <a:gd name="connsiteY140" fmla="*/ 139894 h 734334"/>
                <a:gd name="connsiteX141" fmla="*/ 1137592 w 1310283"/>
                <a:gd name="connsiteY141" fmla="*/ 127126 h 734334"/>
                <a:gd name="connsiteX142" fmla="*/ 1166005 w 1310283"/>
                <a:gd name="connsiteY142" fmla="*/ 128630 h 734334"/>
                <a:gd name="connsiteX143" fmla="*/ 1161946 w 1310283"/>
                <a:gd name="connsiteY143" fmla="*/ 143771 h 734334"/>
                <a:gd name="connsiteX144" fmla="*/ 1150216 w 1310283"/>
                <a:gd name="connsiteY144" fmla="*/ 158778 h 734334"/>
                <a:gd name="connsiteX145" fmla="*/ 1165274 w 1310283"/>
                <a:gd name="connsiteY145" fmla="*/ 167134 h 734334"/>
                <a:gd name="connsiteX146" fmla="*/ 1168440 w 1310283"/>
                <a:gd name="connsiteY146" fmla="*/ 155837 h 734334"/>
                <a:gd name="connsiteX147" fmla="*/ 1180617 w 1310283"/>
                <a:gd name="connsiteY147" fmla="*/ 149152 h 734334"/>
                <a:gd name="connsiteX148" fmla="*/ 1199491 w 1310283"/>
                <a:gd name="connsiteY148" fmla="*/ 143637 h 734334"/>
                <a:gd name="connsiteX149" fmla="*/ 1219502 w 1310283"/>
                <a:gd name="connsiteY149" fmla="*/ 134078 h 734334"/>
                <a:gd name="connsiteX150" fmla="*/ 1193647 w 1310283"/>
                <a:gd name="connsiteY150" fmla="*/ 135983 h 734334"/>
                <a:gd name="connsiteX151" fmla="*/ 1216702 w 1310283"/>
                <a:gd name="connsiteY151" fmla="*/ 126324 h 734334"/>
                <a:gd name="connsiteX152" fmla="*/ 1227823 w 1310283"/>
                <a:gd name="connsiteY152" fmla="*/ 139192 h 734334"/>
                <a:gd name="connsiteX153" fmla="*/ 1202414 w 1310283"/>
                <a:gd name="connsiteY153" fmla="*/ 151993 h 734334"/>
                <a:gd name="connsiteX154" fmla="*/ 1201886 w 1310283"/>
                <a:gd name="connsiteY154" fmla="*/ 162020 h 734334"/>
                <a:gd name="connsiteX155" fmla="*/ 1214063 w 1310283"/>
                <a:gd name="connsiteY155" fmla="*/ 176492 h 734334"/>
                <a:gd name="connsiteX156" fmla="*/ 1224617 w 1310283"/>
                <a:gd name="connsiteY156" fmla="*/ 166031 h 734334"/>
                <a:gd name="connsiteX157" fmla="*/ 1245561 w 1310283"/>
                <a:gd name="connsiteY157" fmla="*/ 152895 h 734334"/>
                <a:gd name="connsiteX158" fmla="*/ 1259037 w 1310283"/>
                <a:gd name="connsiteY158" fmla="*/ 141899 h 734334"/>
                <a:gd name="connsiteX159" fmla="*/ 1269347 w 1310283"/>
                <a:gd name="connsiteY159" fmla="*/ 130702 h 734334"/>
                <a:gd name="connsiteX160" fmla="*/ 1282213 w 1310283"/>
                <a:gd name="connsiteY160" fmla="*/ 139492 h 734334"/>
                <a:gd name="connsiteX161" fmla="*/ 1294390 w 1310283"/>
                <a:gd name="connsiteY161" fmla="*/ 134579 h 734334"/>
                <a:gd name="connsiteX162" fmla="*/ 1309611 w 1310283"/>
                <a:gd name="connsiteY162" fmla="*/ 110949 h 734334"/>
                <a:gd name="connsiteX163" fmla="*/ 1291265 w 1310283"/>
                <a:gd name="connsiteY163" fmla="*/ 107205 h 734334"/>
                <a:gd name="connsiteX164" fmla="*/ 1291630 w 1310283"/>
                <a:gd name="connsiteY164" fmla="*/ 107239 h 73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310283" h="734334">
                  <a:moveTo>
                    <a:pt x="1291630" y="107239"/>
                  </a:moveTo>
                  <a:cubicBezTo>
                    <a:pt x="1290940" y="91229"/>
                    <a:pt x="1256398" y="107239"/>
                    <a:pt x="1238620" y="112353"/>
                  </a:cubicBezTo>
                  <a:cubicBezTo>
                    <a:pt x="1212561" y="119672"/>
                    <a:pt x="1195189" y="112085"/>
                    <a:pt x="1175625" y="109211"/>
                  </a:cubicBezTo>
                  <a:cubicBezTo>
                    <a:pt x="1152489" y="105868"/>
                    <a:pt x="1125293" y="111116"/>
                    <a:pt x="1098504" y="113957"/>
                  </a:cubicBezTo>
                  <a:cubicBezTo>
                    <a:pt x="1078940" y="116063"/>
                    <a:pt x="1073866" y="107272"/>
                    <a:pt x="1050771" y="125889"/>
                  </a:cubicBezTo>
                  <a:cubicBezTo>
                    <a:pt x="1040339" y="134312"/>
                    <a:pt x="1047970" y="135181"/>
                    <a:pt x="1043099" y="142902"/>
                  </a:cubicBezTo>
                  <a:cubicBezTo>
                    <a:pt x="1039649" y="148316"/>
                    <a:pt x="1026214" y="165496"/>
                    <a:pt x="1017649" y="167769"/>
                  </a:cubicBezTo>
                  <a:cubicBezTo>
                    <a:pt x="1004417" y="171111"/>
                    <a:pt x="991063" y="168805"/>
                    <a:pt x="977628" y="171111"/>
                  </a:cubicBezTo>
                  <a:cubicBezTo>
                    <a:pt x="962163" y="173952"/>
                    <a:pt x="959971" y="169072"/>
                    <a:pt x="947510" y="169674"/>
                  </a:cubicBezTo>
                  <a:cubicBezTo>
                    <a:pt x="929570" y="170576"/>
                    <a:pt x="908625" y="206440"/>
                    <a:pt x="891253" y="205504"/>
                  </a:cubicBezTo>
                  <a:cubicBezTo>
                    <a:pt x="888817" y="205504"/>
                    <a:pt x="886666" y="200658"/>
                    <a:pt x="885530" y="199454"/>
                  </a:cubicBezTo>
                  <a:lnTo>
                    <a:pt x="702470" y="6433"/>
                  </a:lnTo>
                  <a:lnTo>
                    <a:pt x="696016" y="-252"/>
                  </a:lnTo>
                  <a:cubicBezTo>
                    <a:pt x="694149" y="-2324"/>
                    <a:pt x="619383" y="33172"/>
                    <a:pt x="611874" y="39857"/>
                  </a:cubicBezTo>
                  <a:cubicBezTo>
                    <a:pt x="587195" y="60579"/>
                    <a:pt x="567793" y="70740"/>
                    <a:pt x="539421" y="85346"/>
                  </a:cubicBezTo>
                  <a:cubicBezTo>
                    <a:pt x="523185" y="93702"/>
                    <a:pt x="511211" y="105768"/>
                    <a:pt x="495624" y="114391"/>
                  </a:cubicBezTo>
                  <a:cubicBezTo>
                    <a:pt x="477237" y="124418"/>
                    <a:pt x="457714" y="129900"/>
                    <a:pt x="439083" y="139760"/>
                  </a:cubicBezTo>
                  <a:cubicBezTo>
                    <a:pt x="412180" y="154593"/>
                    <a:pt x="388232" y="172766"/>
                    <a:pt x="368091" y="193639"/>
                  </a:cubicBezTo>
                  <a:cubicBezTo>
                    <a:pt x="364032" y="197984"/>
                    <a:pt x="360420" y="197616"/>
                    <a:pt x="356158" y="198184"/>
                  </a:cubicBezTo>
                  <a:cubicBezTo>
                    <a:pt x="349664" y="199120"/>
                    <a:pt x="346822" y="203532"/>
                    <a:pt x="340977" y="206373"/>
                  </a:cubicBezTo>
                  <a:cubicBezTo>
                    <a:pt x="332859" y="210384"/>
                    <a:pt x="332454" y="198218"/>
                    <a:pt x="316624" y="209080"/>
                  </a:cubicBezTo>
                  <a:cubicBezTo>
                    <a:pt x="305283" y="217436"/>
                    <a:pt x="294587" y="226364"/>
                    <a:pt x="284598" y="235819"/>
                  </a:cubicBezTo>
                  <a:cubicBezTo>
                    <a:pt x="279930" y="239897"/>
                    <a:pt x="274004" y="244944"/>
                    <a:pt x="267956" y="245846"/>
                  </a:cubicBezTo>
                  <a:cubicBezTo>
                    <a:pt x="264263" y="246481"/>
                    <a:pt x="262274" y="242237"/>
                    <a:pt x="258743" y="243674"/>
                  </a:cubicBezTo>
                  <a:cubicBezTo>
                    <a:pt x="248352" y="247852"/>
                    <a:pt x="248352" y="262124"/>
                    <a:pt x="238772" y="269176"/>
                  </a:cubicBezTo>
                  <a:cubicBezTo>
                    <a:pt x="217097" y="285219"/>
                    <a:pt x="235525" y="262491"/>
                    <a:pt x="233861" y="260218"/>
                  </a:cubicBezTo>
                  <a:cubicBezTo>
                    <a:pt x="231263" y="256542"/>
                    <a:pt x="210928" y="269577"/>
                    <a:pt x="205976" y="272218"/>
                  </a:cubicBezTo>
                  <a:cubicBezTo>
                    <a:pt x="194692" y="278200"/>
                    <a:pt x="188725" y="295614"/>
                    <a:pt x="185438" y="302299"/>
                  </a:cubicBezTo>
                  <a:cubicBezTo>
                    <a:pt x="179593" y="314431"/>
                    <a:pt x="165427" y="326230"/>
                    <a:pt x="151504" y="335990"/>
                  </a:cubicBezTo>
                  <a:cubicBezTo>
                    <a:pt x="147811" y="338530"/>
                    <a:pt x="109453" y="367542"/>
                    <a:pt x="127151" y="363665"/>
                  </a:cubicBezTo>
                  <a:cubicBezTo>
                    <a:pt x="129911" y="363029"/>
                    <a:pt x="136852" y="359319"/>
                    <a:pt x="138029" y="361392"/>
                  </a:cubicBezTo>
                  <a:cubicBezTo>
                    <a:pt x="139206" y="363464"/>
                    <a:pt x="136527" y="368979"/>
                    <a:pt x="131940" y="370984"/>
                  </a:cubicBezTo>
                  <a:cubicBezTo>
                    <a:pt x="119520" y="376432"/>
                    <a:pt x="121143" y="372756"/>
                    <a:pt x="113675" y="383886"/>
                  </a:cubicBezTo>
                  <a:cubicBezTo>
                    <a:pt x="107546" y="393010"/>
                    <a:pt x="95856" y="402436"/>
                    <a:pt x="85749" y="409990"/>
                  </a:cubicBezTo>
                  <a:cubicBezTo>
                    <a:pt x="73937" y="418813"/>
                    <a:pt x="71258" y="424696"/>
                    <a:pt x="66956" y="435057"/>
                  </a:cubicBezTo>
                  <a:cubicBezTo>
                    <a:pt x="64724" y="440371"/>
                    <a:pt x="57458" y="452872"/>
                    <a:pt x="60624" y="456148"/>
                  </a:cubicBezTo>
                  <a:cubicBezTo>
                    <a:pt x="65495" y="461228"/>
                    <a:pt x="67281" y="465005"/>
                    <a:pt x="63952" y="474698"/>
                  </a:cubicBezTo>
                  <a:cubicBezTo>
                    <a:pt x="57377" y="493682"/>
                    <a:pt x="27787" y="516243"/>
                    <a:pt x="7614" y="532019"/>
                  </a:cubicBezTo>
                  <a:cubicBezTo>
                    <a:pt x="-7892" y="544185"/>
                    <a:pt x="2256" y="556285"/>
                    <a:pt x="18938" y="548196"/>
                  </a:cubicBezTo>
                  <a:cubicBezTo>
                    <a:pt x="53196" y="531484"/>
                    <a:pt x="74343" y="518516"/>
                    <a:pt x="105151" y="518917"/>
                  </a:cubicBezTo>
                  <a:cubicBezTo>
                    <a:pt x="125730" y="519218"/>
                    <a:pt x="136527" y="502473"/>
                    <a:pt x="156294" y="487065"/>
                  </a:cubicBezTo>
                  <a:cubicBezTo>
                    <a:pt x="168917" y="477037"/>
                    <a:pt x="169120" y="484491"/>
                    <a:pt x="174438" y="487867"/>
                  </a:cubicBezTo>
                  <a:cubicBezTo>
                    <a:pt x="183002" y="493348"/>
                    <a:pt x="199847" y="472224"/>
                    <a:pt x="210197" y="468280"/>
                  </a:cubicBezTo>
                  <a:cubicBezTo>
                    <a:pt x="225703" y="462298"/>
                    <a:pt x="202079" y="480847"/>
                    <a:pt x="200293" y="482352"/>
                  </a:cubicBezTo>
                  <a:cubicBezTo>
                    <a:pt x="186858" y="493348"/>
                    <a:pt x="186371" y="503809"/>
                    <a:pt x="175128" y="514405"/>
                  </a:cubicBezTo>
                  <a:cubicBezTo>
                    <a:pt x="170703" y="518549"/>
                    <a:pt x="167334" y="517313"/>
                    <a:pt x="162707" y="519485"/>
                  </a:cubicBezTo>
                  <a:cubicBezTo>
                    <a:pt x="156683" y="522761"/>
                    <a:pt x="151222" y="526705"/>
                    <a:pt x="146471" y="531184"/>
                  </a:cubicBezTo>
                  <a:cubicBezTo>
                    <a:pt x="136527" y="539840"/>
                    <a:pt x="124999" y="554346"/>
                    <a:pt x="122808" y="542313"/>
                  </a:cubicBezTo>
                  <a:cubicBezTo>
                    <a:pt x="119073" y="521858"/>
                    <a:pt x="83232" y="568117"/>
                    <a:pt x="79295" y="578712"/>
                  </a:cubicBezTo>
                  <a:cubicBezTo>
                    <a:pt x="78037" y="582054"/>
                    <a:pt x="86804" y="583625"/>
                    <a:pt x="79295" y="588271"/>
                  </a:cubicBezTo>
                  <a:cubicBezTo>
                    <a:pt x="61761" y="599067"/>
                    <a:pt x="57417" y="607890"/>
                    <a:pt x="46823" y="622463"/>
                  </a:cubicBezTo>
                  <a:cubicBezTo>
                    <a:pt x="23931" y="653547"/>
                    <a:pt x="47919" y="640278"/>
                    <a:pt x="72476" y="624335"/>
                  </a:cubicBezTo>
                  <a:cubicBezTo>
                    <a:pt x="77509" y="620993"/>
                    <a:pt x="90214" y="611199"/>
                    <a:pt x="85100" y="620525"/>
                  </a:cubicBezTo>
                  <a:cubicBezTo>
                    <a:pt x="78483" y="632557"/>
                    <a:pt x="84166" y="625371"/>
                    <a:pt x="93218" y="624803"/>
                  </a:cubicBezTo>
                  <a:cubicBezTo>
                    <a:pt x="119479" y="623065"/>
                    <a:pt x="139003" y="604949"/>
                    <a:pt x="161165" y="584695"/>
                  </a:cubicBezTo>
                  <a:cubicBezTo>
                    <a:pt x="171596" y="575102"/>
                    <a:pt x="178172" y="571960"/>
                    <a:pt x="190511" y="564941"/>
                  </a:cubicBezTo>
                  <a:cubicBezTo>
                    <a:pt x="200456" y="559326"/>
                    <a:pt x="204636" y="542548"/>
                    <a:pt x="209670" y="535094"/>
                  </a:cubicBezTo>
                  <a:cubicBezTo>
                    <a:pt x="215474" y="526471"/>
                    <a:pt x="225378" y="514472"/>
                    <a:pt x="237636" y="511497"/>
                  </a:cubicBezTo>
                  <a:cubicBezTo>
                    <a:pt x="247824" y="509024"/>
                    <a:pt x="244861" y="514104"/>
                    <a:pt x="239868" y="520421"/>
                  </a:cubicBezTo>
                  <a:cubicBezTo>
                    <a:pt x="230046" y="532922"/>
                    <a:pt x="291904" y="520421"/>
                    <a:pt x="248960" y="554480"/>
                  </a:cubicBezTo>
                  <a:cubicBezTo>
                    <a:pt x="238935" y="562468"/>
                    <a:pt x="225094" y="566312"/>
                    <a:pt x="228219" y="574868"/>
                  </a:cubicBezTo>
                  <a:cubicBezTo>
                    <a:pt x="231564" y="584059"/>
                    <a:pt x="226437" y="593920"/>
                    <a:pt x="216042" y="598264"/>
                  </a:cubicBezTo>
                  <a:cubicBezTo>
                    <a:pt x="187021" y="611166"/>
                    <a:pt x="174356" y="619689"/>
                    <a:pt x="192622" y="631889"/>
                  </a:cubicBezTo>
                  <a:cubicBezTo>
                    <a:pt x="195991" y="634128"/>
                    <a:pt x="183936" y="643219"/>
                    <a:pt x="181135" y="646428"/>
                  </a:cubicBezTo>
                  <a:cubicBezTo>
                    <a:pt x="171637" y="657458"/>
                    <a:pt x="180770" y="660566"/>
                    <a:pt x="176630" y="669824"/>
                  </a:cubicBezTo>
                  <a:cubicBezTo>
                    <a:pt x="175371" y="672732"/>
                    <a:pt x="164453" y="682325"/>
                    <a:pt x="167375" y="683194"/>
                  </a:cubicBezTo>
                  <a:cubicBezTo>
                    <a:pt x="173301" y="685099"/>
                    <a:pt x="190105" y="683595"/>
                    <a:pt x="198751" y="676710"/>
                  </a:cubicBezTo>
                  <a:cubicBezTo>
                    <a:pt x="220101" y="659664"/>
                    <a:pt x="213282" y="679818"/>
                    <a:pt x="217057" y="684731"/>
                  </a:cubicBezTo>
                  <a:cubicBezTo>
                    <a:pt x="217057" y="684397"/>
                    <a:pt x="273111" y="671964"/>
                    <a:pt x="277252" y="669490"/>
                  </a:cubicBezTo>
                  <a:cubicBezTo>
                    <a:pt x="293487" y="659463"/>
                    <a:pt x="303107" y="641314"/>
                    <a:pt x="303716" y="631722"/>
                  </a:cubicBezTo>
                  <a:cubicBezTo>
                    <a:pt x="303960" y="627778"/>
                    <a:pt x="322469" y="628012"/>
                    <a:pt x="324011" y="628145"/>
                  </a:cubicBezTo>
                  <a:cubicBezTo>
                    <a:pt x="337284" y="629181"/>
                    <a:pt x="329937" y="636401"/>
                    <a:pt x="336188" y="641849"/>
                  </a:cubicBezTo>
                  <a:cubicBezTo>
                    <a:pt x="345726" y="650071"/>
                    <a:pt x="353154" y="651876"/>
                    <a:pt x="369066" y="633359"/>
                  </a:cubicBezTo>
                  <a:cubicBezTo>
                    <a:pt x="374139" y="627510"/>
                    <a:pt x="371095" y="625204"/>
                    <a:pt x="374708" y="619990"/>
                  </a:cubicBezTo>
                  <a:cubicBezTo>
                    <a:pt x="382010" y="610932"/>
                    <a:pt x="392506" y="603947"/>
                    <a:pt x="404785" y="599936"/>
                  </a:cubicBezTo>
                  <a:cubicBezTo>
                    <a:pt x="408844" y="598666"/>
                    <a:pt x="429626" y="597229"/>
                    <a:pt x="432548" y="592449"/>
                  </a:cubicBezTo>
                  <a:cubicBezTo>
                    <a:pt x="434537" y="589106"/>
                    <a:pt x="420696" y="578277"/>
                    <a:pt x="431817" y="572963"/>
                  </a:cubicBezTo>
                  <a:cubicBezTo>
                    <a:pt x="438555" y="569621"/>
                    <a:pt x="438718" y="577308"/>
                    <a:pt x="449149" y="569621"/>
                  </a:cubicBezTo>
                  <a:cubicBezTo>
                    <a:pt x="452883" y="566780"/>
                    <a:pt x="474599" y="543082"/>
                    <a:pt x="475248" y="543584"/>
                  </a:cubicBezTo>
                  <a:cubicBezTo>
                    <a:pt x="479835" y="546926"/>
                    <a:pt x="470540" y="562368"/>
                    <a:pt x="473300" y="567916"/>
                  </a:cubicBezTo>
                  <a:cubicBezTo>
                    <a:pt x="475735" y="572863"/>
                    <a:pt x="488399" y="576305"/>
                    <a:pt x="486898" y="583057"/>
                  </a:cubicBezTo>
                  <a:cubicBezTo>
                    <a:pt x="485558" y="589274"/>
                    <a:pt x="480079" y="598331"/>
                    <a:pt x="478333" y="605284"/>
                  </a:cubicBezTo>
                  <a:cubicBezTo>
                    <a:pt x="475451" y="616481"/>
                    <a:pt x="465507" y="623834"/>
                    <a:pt x="458566" y="634830"/>
                  </a:cubicBezTo>
                  <a:cubicBezTo>
                    <a:pt x="452559" y="644356"/>
                    <a:pt x="448540" y="670292"/>
                    <a:pt x="438758" y="677645"/>
                  </a:cubicBezTo>
                  <a:cubicBezTo>
                    <a:pt x="430234" y="684063"/>
                    <a:pt x="420615" y="689010"/>
                    <a:pt x="412253" y="695661"/>
                  </a:cubicBezTo>
                  <a:cubicBezTo>
                    <a:pt x="400076" y="705320"/>
                    <a:pt x="404866" y="711938"/>
                    <a:pt x="401619" y="721464"/>
                  </a:cubicBezTo>
                  <a:cubicBezTo>
                    <a:pt x="393014" y="746699"/>
                    <a:pt x="410711" y="728683"/>
                    <a:pt x="419559" y="712306"/>
                  </a:cubicBezTo>
                  <a:cubicBezTo>
                    <a:pt x="423618" y="704953"/>
                    <a:pt x="417854" y="698201"/>
                    <a:pt x="431127" y="696196"/>
                  </a:cubicBezTo>
                  <a:cubicBezTo>
                    <a:pt x="442614" y="694458"/>
                    <a:pt x="448824" y="673601"/>
                    <a:pt x="456780" y="667351"/>
                  </a:cubicBezTo>
                  <a:cubicBezTo>
                    <a:pt x="467861" y="658561"/>
                    <a:pt x="497167" y="632023"/>
                    <a:pt x="494285" y="623533"/>
                  </a:cubicBezTo>
                  <a:cubicBezTo>
                    <a:pt x="489942" y="610966"/>
                    <a:pt x="509384" y="589173"/>
                    <a:pt x="522292" y="573865"/>
                  </a:cubicBezTo>
                  <a:cubicBezTo>
                    <a:pt x="529679" y="565075"/>
                    <a:pt x="524687" y="565142"/>
                    <a:pt x="527244" y="557655"/>
                  </a:cubicBezTo>
                  <a:cubicBezTo>
                    <a:pt x="528421" y="554313"/>
                    <a:pt x="536133" y="547828"/>
                    <a:pt x="538487" y="544286"/>
                  </a:cubicBezTo>
                  <a:cubicBezTo>
                    <a:pt x="542818" y="537601"/>
                    <a:pt x="546707" y="530716"/>
                    <a:pt x="550136" y="523697"/>
                  </a:cubicBezTo>
                  <a:cubicBezTo>
                    <a:pt x="553343" y="517513"/>
                    <a:pt x="567590" y="506985"/>
                    <a:pt x="568199" y="501904"/>
                  </a:cubicBezTo>
                  <a:cubicBezTo>
                    <a:pt x="568564" y="498562"/>
                    <a:pt x="565601" y="496757"/>
                    <a:pt x="564424" y="494217"/>
                  </a:cubicBezTo>
                  <a:cubicBezTo>
                    <a:pt x="562476" y="490005"/>
                    <a:pt x="571324" y="484558"/>
                    <a:pt x="573516" y="479343"/>
                  </a:cubicBezTo>
                  <a:cubicBezTo>
                    <a:pt x="582933" y="456649"/>
                    <a:pt x="538487" y="496055"/>
                    <a:pt x="546280" y="475734"/>
                  </a:cubicBezTo>
                  <a:cubicBezTo>
                    <a:pt x="549609" y="467010"/>
                    <a:pt x="554723" y="462097"/>
                    <a:pt x="562516" y="454142"/>
                  </a:cubicBezTo>
                  <a:cubicBezTo>
                    <a:pt x="574693" y="441675"/>
                    <a:pt x="564018" y="436461"/>
                    <a:pt x="571000" y="424963"/>
                  </a:cubicBezTo>
                  <a:cubicBezTo>
                    <a:pt x="575546" y="417476"/>
                    <a:pt x="575059" y="402570"/>
                    <a:pt x="582649" y="396587"/>
                  </a:cubicBezTo>
                  <a:cubicBezTo>
                    <a:pt x="593486" y="388164"/>
                    <a:pt x="590767" y="377201"/>
                    <a:pt x="600914" y="369179"/>
                  </a:cubicBezTo>
                  <a:cubicBezTo>
                    <a:pt x="602700" y="367809"/>
                    <a:pt x="605663" y="369012"/>
                    <a:pt x="607043" y="368812"/>
                  </a:cubicBezTo>
                  <a:cubicBezTo>
                    <a:pt x="613091" y="367943"/>
                    <a:pt x="618896" y="362394"/>
                    <a:pt x="624740" y="359787"/>
                  </a:cubicBezTo>
                  <a:cubicBezTo>
                    <a:pt x="628191" y="358250"/>
                    <a:pt x="633305" y="357180"/>
                    <a:pt x="633345" y="360055"/>
                  </a:cubicBezTo>
                  <a:cubicBezTo>
                    <a:pt x="633345" y="365202"/>
                    <a:pt x="620438" y="369213"/>
                    <a:pt x="616095" y="371385"/>
                  </a:cubicBezTo>
                  <a:cubicBezTo>
                    <a:pt x="603431" y="377636"/>
                    <a:pt x="592959" y="393044"/>
                    <a:pt x="596612" y="399829"/>
                  </a:cubicBezTo>
                  <a:cubicBezTo>
                    <a:pt x="599331" y="404909"/>
                    <a:pt x="594095" y="420585"/>
                    <a:pt x="600955" y="422022"/>
                  </a:cubicBezTo>
                  <a:cubicBezTo>
                    <a:pt x="607815" y="423459"/>
                    <a:pt x="626161" y="408653"/>
                    <a:pt x="612036" y="425732"/>
                  </a:cubicBezTo>
                  <a:cubicBezTo>
                    <a:pt x="597911" y="442811"/>
                    <a:pt x="615040" y="435458"/>
                    <a:pt x="627135" y="423860"/>
                  </a:cubicBezTo>
                  <a:cubicBezTo>
                    <a:pt x="642925" y="408686"/>
                    <a:pt x="649541" y="391038"/>
                    <a:pt x="662245" y="375363"/>
                  </a:cubicBezTo>
                  <a:cubicBezTo>
                    <a:pt x="665533" y="371285"/>
                    <a:pt x="701820" y="344880"/>
                    <a:pt x="701902" y="344947"/>
                  </a:cubicBezTo>
                  <a:cubicBezTo>
                    <a:pt x="697315" y="340101"/>
                    <a:pt x="695854" y="337828"/>
                    <a:pt x="685666" y="340034"/>
                  </a:cubicBezTo>
                  <a:cubicBezTo>
                    <a:pt x="668659" y="343711"/>
                    <a:pt x="672230" y="333817"/>
                    <a:pt x="677954" y="323656"/>
                  </a:cubicBezTo>
                  <a:cubicBezTo>
                    <a:pt x="680227" y="319579"/>
                    <a:pt x="712130" y="305340"/>
                    <a:pt x="716392" y="306042"/>
                  </a:cubicBezTo>
                  <a:cubicBezTo>
                    <a:pt x="718543" y="306343"/>
                    <a:pt x="750244" y="288328"/>
                    <a:pt x="746226" y="294511"/>
                  </a:cubicBezTo>
                  <a:cubicBezTo>
                    <a:pt x="742613" y="300026"/>
                    <a:pt x="732100" y="304304"/>
                    <a:pt x="729381" y="310120"/>
                  </a:cubicBezTo>
                  <a:cubicBezTo>
                    <a:pt x="727798" y="313462"/>
                    <a:pt x="732222" y="316270"/>
                    <a:pt x="737255" y="312393"/>
                  </a:cubicBezTo>
                  <a:cubicBezTo>
                    <a:pt x="744683" y="306744"/>
                    <a:pt x="743100" y="299291"/>
                    <a:pt x="753491" y="294110"/>
                  </a:cubicBezTo>
                  <a:cubicBezTo>
                    <a:pt x="758524" y="292506"/>
                    <a:pt x="763517" y="290935"/>
                    <a:pt x="768509" y="289464"/>
                  </a:cubicBezTo>
                  <a:cubicBezTo>
                    <a:pt x="775328" y="285788"/>
                    <a:pt x="773705" y="278000"/>
                    <a:pt x="779347" y="275393"/>
                  </a:cubicBezTo>
                  <a:cubicBezTo>
                    <a:pt x="784136" y="273187"/>
                    <a:pt x="786207" y="279638"/>
                    <a:pt x="796395" y="274724"/>
                  </a:cubicBezTo>
                  <a:cubicBezTo>
                    <a:pt x="809598" y="268397"/>
                    <a:pt x="822303" y="261385"/>
                    <a:pt x="834427" y="253734"/>
                  </a:cubicBezTo>
                  <a:cubicBezTo>
                    <a:pt x="844575" y="247050"/>
                    <a:pt x="877452" y="218873"/>
                    <a:pt x="888127" y="218272"/>
                  </a:cubicBezTo>
                  <a:cubicBezTo>
                    <a:pt x="907489" y="217135"/>
                    <a:pt x="923075" y="210852"/>
                    <a:pt x="932776" y="194006"/>
                  </a:cubicBezTo>
                  <a:cubicBezTo>
                    <a:pt x="935861" y="188725"/>
                    <a:pt x="943532" y="181773"/>
                    <a:pt x="950311" y="184882"/>
                  </a:cubicBezTo>
                  <a:cubicBezTo>
                    <a:pt x="957089" y="187990"/>
                    <a:pt x="933426" y="206507"/>
                    <a:pt x="957252" y="195945"/>
                  </a:cubicBezTo>
                  <a:cubicBezTo>
                    <a:pt x="976532" y="186757"/>
                    <a:pt x="997833" y="180804"/>
                    <a:pt x="1019922" y="178431"/>
                  </a:cubicBezTo>
                  <a:cubicBezTo>
                    <a:pt x="1028974" y="177462"/>
                    <a:pt x="1067494" y="171479"/>
                    <a:pt x="1056818" y="162087"/>
                  </a:cubicBezTo>
                  <a:cubicBezTo>
                    <a:pt x="1048701" y="155101"/>
                    <a:pt x="1067047" y="153397"/>
                    <a:pt x="1078047" y="148918"/>
                  </a:cubicBezTo>
                  <a:cubicBezTo>
                    <a:pt x="1081091" y="147715"/>
                    <a:pt x="1099438" y="146311"/>
                    <a:pt x="1097165" y="142400"/>
                  </a:cubicBezTo>
                  <a:cubicBezTo>
                    <a:pt x="1094202" y="137153"/>
                    <a:pt x="1074232" y="136418"/>
                    <a:pt x="1075409" y="129900"/>
                  </a:cubicBezTo>
                  <a:cubicBezTo>
                    <a:pt x="1075896" y="126992"/>
                    <a:pt x="1091969" y="127761"/>
                    <a:pt x="1093187" y="127861"/>
                  </a:cubicBezTo>
                  <a:cubicBezTo>
                    <a:pt x="1104268" y="128763"/>
                    <a:pt x="1110072" y="137086"/>
                    <a:pt x="1111168" y="144573"/>
                  </a:cubicBezTo>
                  <a:cubicBezTo>
                    <a:pt x="1112061" y="150790"/>
                    <a:pt x="1096272" y="157541"/>
                    <a:pt x="1089980" y="156338"/>
                  </a:cubicBezTo>
                  <a:cubicBezTo>
                    <a:pt x="1083689" y="155135"/>
                    <a:pt x="1079427" y="156338"/>
                    <a:pt x="1072892" y="164025"/>
                  </a:cubicBezTo>
                  <a:cubicBezTo>
                    <a:pt x="1057671" y="182275"/>
                    <a:pt x="1112183" y="165496"/>
                    <a:pt x="1116485" y="169841"/>
                  </a:cubicBezTo>
                  <a:cubicBezTo>
                    <a:pt x="1120788" y="174186"/>
                    <a:pt x="1155614" y="176526"/>
                    <a:pt x="1141123" y="164594"/>
                  </a:cubicBezTo>
                  <a:cubicBezTo>
                    <a:pt x="1135847" y="160215"/>
                    <a:pt x="1124076" y="160683"/>
                    <a:pt x="1120220" y="155636"/>
                  </a:cubicBezTo>
                  <a:cubicBezTo>
                    <a:pt x="1115146" y="148951"/>
                    <a:pt x="1129068" y="144874"/>
                    <a:pt x="1132397" y="151291"/>
                  </a:cubicBezTo>
                  <a:cubicBezTo>
                    <a:pt x="1137876" y="161318"/>
                    <a:pt x="1144898" y="145542"/>
                    <a:pt x="1149769" y="139894"/>
                  </a:cubicBezTo>
                  <a:cubicBezTo>
                    <a:pt x="1156872" y="131605"/>
                    <a:pt x="1137592" y="132774"/>
                    <a:pt x="1137592" y="127126"/>
                  </a:cubicBezTo>
                  <a:cubicBezTo>
                    <a:pt x="1137592" y="120207"/>
                    <a:pt x="1164422" y="125622"/>
                    <a:pt x="1166005" y="128630"/>
                  </a:cubicBezTo>
                  <a:cubicBezTo>
                    <a:pt x="1166979" y="130334"/>
                    <a:pt x="1163367" y="141398"/>
                    <a:pt x="1161946" y="143771"/>
                  </a:cubicBezTo>
                  <a:cubicBezTo>
                    <a:pt x="1158130" y="150255"/>
                    <a:pt x="1146400" y="152661"/>
                    <a:pt x="1150216" y="158778"/>
                  </a:cubicBezTo>
                  <a:cubicBezTo>
                    <a:pt x="1151474" y="160850"/>
                    <a:pt x="1158861" y="170476"/>
                    <a:pt x="1165274" y="167134"/>
                  </a:cubicBezTo>
                  <a:cubicBezTo>
                    <a:pt x="1169942" y="164727"/>
                    <a:pt x="1167020" y="158410"/>
                    <a:pt x="1168440" y="155837"/>
                  </a:cubicBezTo>
                  <a:cubicBezTo>
                    <a:pt x="1173664" y="155569"/>
                    <a:pt x="1178312" y="153019"/>
                    <a:pt x="1180617" y="149152"/>
                  </a:cubicBezTo>
                  <a:cubicBezTo>
                    <a:pt x="1186381" y="139125"/>
                    <a:pt x="1189709" y="144205"/>
                    <a:pt x="1199491" y="143637"/>
                  </a:cubicBezTo>
                  <a:cubicBezTo>
                    <a:pt x="1202982" y="143436"/>
                    <a:pt x="1231314" y="136117"/>
                    <a:pt x="1219502" y="134078"/>
                  </a:cubicBezTo>
                  <a:cubicBezTo>
                    <a:pt x="1211384" y="132707"/>
                    <a:pt x="1195148" y="143771"/>
                    <a:pt x="1193647" y="135983"/>
                  </a:cubicBezTo>
                  <a:cubicBezTo>
                    <a:pt x="1191901" y="127193"/>
                    <a:pt x="1210735" y="125956"/>
                    <a:pt x="1216702" y="126324"/>
                  </a:cubicBezTo>
                  <a:cubicBezTo>
                    <a:pt x="1227742" y="126792"/>
                    <a:pt x="1236509" y="128529"/>
                    <a:pt x="1227823" y="139192"/>
                  </a:cubicBezTo>
                  <a:cubicBezTo>
                    <a:pt x="1218122" y="151124"/>
                    <a:pt x="1218569" y="149787"/>
                    <a:pt x="1202414" y="151993"/>
                  </a:cubicBezTo>
                  <a:cubicBezTo>
                    <a:pt x="1184879" y="154399"/>
                    <a:pt x="1195270" y="160583"/>
                    <a:pt x="1201886" y="162020"/>
                  </a:cubicBezTo>
                  <a:cubicBezTo>
                    <a:pt x="1212074" y="164193"/>
                    <a:pt x="1205945" y="174353"/>
                    <a:pt x="1214063" y="176492"/>
                  </a:cubicBezTo>
                  <a:cubicBezTo>
                    <a:pt x="1227864" y="180035"/>
                    <a:pt x="1224860" y="169808"/>
                    <a:pt x="1224617" y="166031"/>
                  </a:cubicBezTo>
                  <a:cubicBezTo>
                    <a:pt x="1224089" y="158912"/>
                    <a:pt x="1250472" y="163725"/>
                    <a:pt x="1245561" y="152895"/>
                  </a:cubicBezTo>
                  <a:cubicBezTo>
                    <a:pt x="1242720" y="146578"/>
                    <a:pt x="1243937" y="140596"/>
                    <a:pt x="1259037" y="141899"/>
                  </a:cubicBezTo>
                  <a:cubicBezTo>
                    <a:pt x="1265977" y="142500"/>
                    <a:pt x="1263096" y="133643"/>
                    <a:pt x="1269347" y="130702"/>
                  </a:cubicBezTo>
                  <a:cubicBezTo>
                    <a:pt x="1280914" y="125254"/>
                    <a:pt x="1275354" y="141732"/>
                    <a:pt x="1282213" y="139492"/>
                  </a:cubicBezTo>
                  <a:cubicBezTo>
                    <a:pt x="1290575" y="136785"/>
                    <a:pt x="1288302" y="129800"/>
                    <a:pt x="1294390" y="134579"/>
                  </a:cubicBezTo>
                  <a:cubicBezTo>
                    <a:pt x="1297678" y="130201"/>
                    <a:pt x="1313508" y="113990"/>
                    <a:pt x="1309611" y="110949"/>
                  </a:cubicBezTo>
                  <a:cubicBezTo>
                    <a:pt x="1305715" y="107907"/>
                    <a:pt x="1291549" y="113456"/>
                    <a:pt x="1291265" y="107205"/>
                  </a:cubicBezTo>
                  <a:cubicBezTo>
                    <a:pt x="1291265" y="99384"/>
                    <a:pt x="1291874" y="115026"/>
                    <a:pt x="1291630" y="1072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402C7A3B-91A0-48B3-86B9-8ADE8446FC8C}"/>
                </a:ext>
              </a:extLst>
            </p:cNvPr>
            <p:cNvSpPr/>
            <p:nvPr/>
          </p:nvSpPr>
          <p:spPr>
            <a:xfrm>
              <a:off x="864710" y="5312038"/>
              <a:ext cx="58215" cy="75051"/>
            </a:xfrm>
            <a:custGeom>
              <a:avLst/>
              <a:gdLst>
                <a:gd name="connsiteX0" fmla="*/ 43006 w 58215"/>
                <a:gd name="connsiteY0" fmla="*/ 629 h 75051"/>
                <a:gd name="connsiteX1" fmla="*/ 14594 w 58215"/>
                <a:gd name="connsiteY1" fmla="*/ 52837 h 75051"/>
                <a:gd name="connsiteX2" fmla="*/ 6476 w 58215"/>
                <a:gd name="connsiteY2" fmla="*/ 74128 h 75051"/>
                <a:gd name="connsiteX3" fmla="*/ 32047 w 58215"/>
                <a:gd name="connsiteY3" fmla="*/ 60992 h 75051"/>
                <a:gd name="connsiteX4" fmla="*/ 54980 w 58215"/>
                <a:gd name="connsiteY4" fmla="*/ 18410 h 75051"/>
                <a:gd name="connsiteX5" fmla="*/ 46619 w 58215"/>
                <a:gd name="connsiteY5" fmla="*/ 11726 h 75051"/>
                <a:gd name="connsiteX6" fmla="*/ 42803 w 58215"/>
                <a:gd name="connsiteY6" fmla="*/ 763 h 75051"/>
                <a:gd name="connsiteX7" fmla="*/ 43006 w 58215"/>
                <a:gd name="connsiteY7" fmla="*/ 629 h 7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15" h="75051">
                  <a:moveTo>
                    <a:pt x="43006" y="629"/>
                  </a:moveTo>
                  <a:cubicBezTo>
                    <a:pt x="36066" y="-8429"/>
                    <a:pt x="16420" y="50765"/>
                    <a:pt x="14594" y="52837"/>
                  </a:cubicBezTo>
                  <a:cubicBezTo>
                    <a:pt x="5664" y="62630"/>
                    <a:pt x="-8461" y="70183"/>
                    <a:pt x="6476" y="74128"/>
                  </a:cubicBezTo>
                  <a:cubicBezTo>
                    <a:pt x="19099" y="77470"/>
                    <a:pt x="20276" y="65604"/>
                    <a:pt x="32047" y="60992"/>
                  </a:cubicBezTo>
                  <a:cubicBezTo>
                    <a:pt x="43818" y="56379"/>
                    <a:pt x="66508" y="17541"/>
                    <a:pt x="54980" y="18410"/>
                  </a:cubicBezTo>
                  <a:cubicBezTo>
                    <a:pt x="45482" y="19146"/>
                    <a:pt x="32412" y="25095"/>
                    <a:pt x="46619" y="11726"/>
                  </a:cubicBezTo>
                  <a:cubicBezTo>
                    <a:pt x="64762" y="-5554"/>
                    <a:pt x="47349" y="6746"/>
                    <a:pt x="42803" y="763"/>
                  </a:cubicBezTo>
                  <a:cubicBezTo>
                    <a:pt x="40327" y="-2947"/>
                    <a:pt x="45726" y="4205"/>
                    <a:pt x="43006" y="62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935DE803-B689-49E6-A651-B146DAC2EED1}"/>
                </a:ext>
              </a:extLst>
            </p:cNvPr>
            <p:cNvSpPr/>
            <p:nvPr/>
          </p:nvSpPr>
          <p:spPr>
            <a:xfrm>
              <a:off x="862871" y="5310599"/>
              <a:ext cx="62157" cy="78016"/>
            </a:xfrm>
            <a:custGeom>
              <a:avLst/>
              <a:gdLst>
                <a:gd name="connsiteX0" fmla="*/ 20288 w 62157"/>
                <a:gd name="connsiteY0" fmla="*/ 74697 h 78016"/>
                <a:gd name="connsiteX1" fmla="*/ 7178 w 62157"/>
                <a:gd name="connsiteY1" fmla="*/ 77070 h 78016"/>
                <a:gd name="connsiteX2" fmla="*/ -47 w 62157"/>
                <a:gd name="connsiteY2" fmla="*/ 71221 h 78016"/>
                <a:gd name="connsiteX3" fmla="*/ 8639 w 62157"/>
                <a:gd name="connsiteY3" fmla="*/ 60158 h 78016"/>
                <a:gd name="connsiteX4" fmla="*/ 15052 w 62157"/>
                <a:gd name="connsiteY4" fmla="*/ 53908 h 78016"/>
                <a:gd name="connsiteX5" fmla="*/ 18705 w 62157"/>
                <a:gd name="connsiteY5" fmla="*/ 44683 h 78016"/>
                <a:gd name="connsiteX6" fmla="*/ 40583 w 62157"/>
                <a:gd name="connsiteY6" fmla="*/ 964 h 78016"/>
                <a:gd name="connsiteX7" fmla="*/ 43627 w 62157"/>
                <a:gd name="connsiteY7" fmla="*/ -339 h 78016"/>
                <a:gd name="connsiteX8" fmla="*/ 44277 w 62157"/>
                <a:gd name="connsiteY8" fmla="*/ -339 h 78016"/>
                <a:gd name="connsiteX9" fmla="*/ 44804 w 62157"/>
                <a:gd name="connsiteY9" fmla="*/ -339 h 78016"/>
                <a:gd name="connsiteX10" fmla="*/ 45900 w 62157"/>
                <a:gd name="connsiteY10" fmla="*/ -5 h 78016"/>
                <a:gd name="connsiteX11" fmla="*/ 45900 w 62157"/>
                <a:gd name="connsiteY11" fmla="*/ -5 h 78016"/>
                <a:gd name="connsiteX12" fmla="*/ 46266 w 62157"/>
                <a:gd name="connsiteY12" fmla="*/ 497 h 78016"/>
                <a:gd name="connsiteX13" fmla="*/ 46672 w 62157"/>
                <a:gd name="connsiteY13" fmla="*/ 1031 h 78016"/>
                <a:gd name="connsiteX14" fmla="*/ 46672 w 62157"/>
                <a:gd name="connsiteY14" fmla="*/ 1031 h 78016"/>
                <a:gd name="connsiteX15" fmla="*/ 54059 w 62157"/>
                <a:gd name="connsiteY15" fmla="*/ 2168 h 78016"/>
                <a:gd name="connsiteX16" fmla="*/ 58645 w 62157"/>
                <a:gd name="connsiteY16" fmla="*/ 2870 h 78016"/>
                <a:gd name="connsiteX17" fmla="*/ 49919 w 62157"/>
                <a:gd name="connsiteY17" fmla="*/ 13666 h 78016"/>
                <a:gd name="connsiteX18" fmla="*/ 44317 w 62157"/>
                <a:gd name="connsiteY18" fmla="*/ 20350 h 78016"/>
                <a:gd name="connsiteX19" fmla="*/ 50365 w 62157"/>
                <a:gd name="connsiteY19" fmla="*/ 19715 h 78016"/>
                <a:gd name="connsiteX20" fmla="*/ 57793 w 62157"/>
                <a:gd name="connsiteY20" fmla="*/ 18545 h 78016"/>
                <a:gd name="connsiteX21" fmla="*/ 62096 w 62157"/>
                <a:gd name="connsiteY21" fmla="*/ 22423 h 78016"/>
                <a:gd name="connsiteX22" fmla="*/ 37742 w 62157"/>
                <a:gd name="connsiteY22" fmla="*/ 61863 h 78016"/>
                <a:gd name="connsiteX23" fmla="*/ 37742 w 62157"/>
                <a:gd name="connsiteY23" fmla="*/ 61863 h 78016"/>
                <a:gd name="connsiteX24" fmla="*/ 34007 w 62157"/>
                <a:gd name="connsiteY24" fmla="*/ 63968 h 78016"/>
                <a:gd name="connsiteX25" fmla="*/ 24875 w 62157"/>
                <a:gd name="connsiteY25" fmla="*/ 70653 h 78016"/>
                <a:gd name="connsiteX26" fmla="*/ 20288 w 62157"/>
                <a:gd name="connsiteY26" fmla="*/ 74697 h 78016"/>
                <a:gd name="connsiteX27" fmla="*/ 42207 w 62157"/>
                <a:gd name="connsiteY27" fmla="*/ 2636 h 78016"/>
                <a:gd name="connsiteX28" fmla="*/ 22480 w 62157"/>
                <a:gd name="connsiteY28" fmla="*/ 43981 h 78016"/>
                <a:gd name="connsiteX29" fmla="*/ 17934 w 62157"/>
                <a:gd name="connsiteY29" fmla="*/ 54609 h 78016"/>
                <a:gd name="connsiteX30" fmla="*/ 11074 w 62157"/>
                <a:gd name="connsiteY30" fmla="*/ 61294 h 78016"/>
                <a:gd name="connsiteX31" fmla="*/ 3849 w 62157"/>
                <a:gd name="connsiteY31" fmla="*/ 69851 h 78016"/>
                <a:gd name="connsiteX32" fmla="*/ 9897 w 62157"/>
                <a:gd name="connsiteY32" fmla="*/ 74095 h 78016"/>
                <a:gd name="connsiteX33" fmla="*/ 18502 w 62157"/>
                <a:gd name="connsiteY33" fmla="*/ 73026 h 78016"/>
                <a:gd name="connsiteX34" fmla="*/ 22277 w 62157"/>
                <a:gd name="connsiteY34" fmla="*/ 69684 h 78016"/>
                <a:gd name="connsiteX35" fmla="*/ 34048 w 62157"/>
                <a:gd name="connsiteY35" fmla="*/ 61227 h 78016"/>
                <a:gd name="connsiteX36" fmla="*/ 36037 w 62157"/>
                <a:gd name="connsiteY36" fmla="*/ 60058 h 78016"/>
                <a:gd name="connsiteX37" fmla="*/ 36037 w 62157"/>
                <a:gd name="connsiteY37" fmla="*/ 60058 h 78016"/>
                <a:gd name="connsiteX38" fmla="*/ 58199 w 62157"/>
                <a:gd name="connsiteY38" fmla="*/ 23860 h 78016"/>
                <a:gd name="connsiteX39" fmla="*/ 56210 w 62157"/>
                <a:gd name="connsiteY39" fmla="*/ 21453 h 78016"/>
                <a:gd name="connsiteX40" fmla="*/ 49350 w 62157"/>
                <a:gd name="connsiteY40" fmla="*/ 22523 h 78016"/>
                <a:gd name="connsiteX41" fmla="*/ 40502 w 62157"/>
                <a:gd name="connsiteY41" fmla="*/ 22289 h 78016"/>
                <a:gd name="connsiteX42" fmla="*/ 47402 w 62157"/>
                <a:gd name="connsiteY42" fmla="*/ 12630 h 78016"/>
                <a:gd name="connsiteX43" fmla="*/ 54708 w 62157"/>
                <a:gd name="connsiteY43" fmla="*/ 4909 h 78016"/>
                <a:gd name="connsiteX44" fmla="*/ 52719 w 62157"/>
                <a:gd name="connsiteY44" fmla="*/ 5142 h 78016"/>
                <a:gd name="connsiteX45" fmla="*/ 44601 w 62157"/>
                <a:gd name="connsiteY45" fmla="*/ 4741 h 78016"/>
                <a:gd name="connsiteX46" fmla="*/ 43749 w 62157"/>
                <a:gd name="connsiteY46" fmla="*/ 4374 h 78016"/>
                <a:gd name="connsiteX47" fmla="*/ 43749 w 62157"/>
                <a:gd name="connsiteY47" fmla="*/ 4374 h 78016"/>
                <a:gd name="connsiteX48" fmla="*/ 43343 w 62157"/>
                <a:gd name="connsiteY48" fmla="*/ 3839 h 78016"/>
                <a:gd name="connsiteX49" fmla="*/ 42897 w 62157"/>
                <a:gd name="connsiteY49" fmla="*/ 3237 h 78016"/>
                <a:gd name="connsiteX50" fmla="*/ 42207 w 62157"/>
                <a:gd name="connsiteY50" fmla="*/ 2636 h 7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157" h="78016">
                  <a:moveTo>
                    <a:pt x="20288" y="74697"/>
                  </a:moveTo>
                  <a:cubicBezTo>
                    <a:pt x="16834" y="77505"/>
                    <a:pt x="11740" y="78407"/>
                    <a:pt x="7178" y="77070"/>
                  </a:cubicBezTo>
                  <a:cubicBezTo>
                    <a:pt x="2063" y="75733"/>
                    <a:pt x="-250" y="73728"/>
                    <a:pt x="-47" y="71221"/>
                  </a:cubicBezTo>
                  <a:cubicBezTo>
                    <a:pt x="196" y="67879"/>
                    <a:pt x="4296" y="64135"/>
                    <a:pt x="8639" y="60158"/>
                  </a:cubicBezTo>
                  <a:cubicBezTo>
                    <a:pt x="10908" y="58153"/>
                    <a:pt x="13047" y="56080"/>
                    <a:pt x="15052" y="53908"/>
                  </a:cubicBezTo>
                  <a:cubicBezTo>
                    <a:pt x="15336" y="53406"/>
                    <a:pt x="16960" y="49161"/>
                    <a:pt x="18705" y="44683"/>
                  </a:cubicBezTo>
                  <a:cubicBezTo>
                    <a:pt x="28122" y="20117"/>
                    <a:pt x="34941" y="5076"/>
                    <a:pt x="40583" y="964"/>
                  </a:cubicBezTo>
                  <a:cubicBezTo>
                    <a:pt x="41440" y="330"/>
                    <a:pt x="42491" y="-138"/>
                    <a:pt x="43627" y="-339"/>
                  </a:cubicBezTo>
                  <a:lnTo>
                    <a:pt x="44277" y="-339"/>
                  </a:lnTo>
                  <a:lnTo>
                    <a:pt x="44804" y="-339"/>
                  </a:lnTo>
                  <a:cubicBezTo>
                    <a:pt x="45332" y="-339"/>
                    <a:pt x="45535" y="-339"/>
                    <a:pt x="45900" y="-5"/>
                  </a:cubicBezTo>
                  <a:lnTo>
                    <a:pt x="45900" y="-5"/>
                  </a:lnTo>
                  <a:lnTo>
                    <a:pt x="46266" y="497"/>
                  </a:lnTo>
                  <a:lnTo>
                    <a:pt x="46672" y="1031"/>
                  </a:lnTo>
                  <a:lnTo>
                    <a:pt x="46672" y="1031"/>
                  </a:lnTo>
                  <a:cubicBezTo>
                    <a:pt x="48173" y="3004"/>
                    <a:pt x="51299" y="2569"/>
                    <a:pt x="54059" y="2168"/>
                  </a:cubicBezTo>
                  <a:cubicBezTo>
                    <a:pt x="56088" y="1900"/>
                    <a:pt x="58118" y="1600"/>
                    <a:pt x="58645" y="2870"/>
                  </a:cubicBezTo>
                  <a:cubicBezTo>
                    <a:pt x="59173" y="4140"/>
                    <a:pt x="56941" y="6947"/>
                    <a:pt x="49919" y="13666"/>
                  </a:cubicBezTo>
                  <a:cubicBezTo>
                    <a:pt x="44155" y="19181"/>
                    <a:pt x="44317" y="20350"/>
                    <a:pt x="44317" y="20350"/>
                  </a:cubicBezTo>
                  <a:cubicBezTo>
                    <a:pt x="44317" y="20350"/>
                    <a:pt x="48052" y="20350"/>
                    <a:pt x="50365" y="19715"/>
                  </a:cubicBezTo>
                  <a:cubicBezTo>
                    <a:pt x="52809" y="19181"/>
                    <a:pt x="55289" y="18813"/>
                    <a:pt x="57793" y="18545"/>
                  </a:cubicBezTo>
                  <a:cubicBezTo>
                    <a:pt x="59701" y="18545"/>
                    <a:pt x="61852" y="18946"/>
                    <a:pt x="62096" y="22423"/>
                  </a:cubicBezTo>
                  <a:cubicBezTo>
                    <a:pt x="62299" y="31246"/>
                    <a:pt x="47970" y="54442"/>
                    <a:pt x="37742" y="61863"/>
                  </a:cubicBezTo>
                  <a:lnTo>
                    <a:pt x="37742" y="61863"/>
                  </a:lnTo>
                  <a:cubicBezTo>
                    <a:pt x="36626" y="62698"/>
                    <a:pt x="35367" y="63433"/>
                    <a:pt x="34007" y="63968"/>
                  </a:cubicBezTo>
                  <a:cubicBezTo>
                    <a:pt x="30432" y="65639"/>
                    <a:pt x="27318" y="67912"/>
                    <a:pt x="24875" y="70653"/>
                  </a:cubicBezTo>
                  <a:cubicBezTo>
                    <a:pt x="23466" y="72090"/>
                    <a:pt x="21932" y="73427"/>
                    <a:pt x="20288" y="74697"/>
                  </a:cubicBezTo>
                  <a:close/>
                  <a:moveTo>
                    <a:pt x="42207" y="2636"/>
                  </a:moveTo>
                  <a:cubicBezTo>
                    <a:pt x="36971" y="6479"/>
                    <a:pt x="26742" y="32717"/>
                    <a:pt x="22480" y="43981"/>
                  </a:cubicBezTo>
                  <a:cubicBezTo>
                    <a:pt x="21429" y="47658"/>
                    <a:pt x="19907" y="51200"/>
                    <a:pt x="17934" y="54609"/>
                  </a:cubicBezTo>
                  <a:cubicBezTo>
                    <a:pt x="15742" y="57016"/>
                    <a:pt x="13266" y="59289"/>
                    <a:pt x="11074" y="61294"/>
                  </a:cubicBezTo>
                  <a:cubicBezTo>
                    <a:pt x="7259" y="64637"/>
                    <a:pt x="4012" y="67745"/>
                    <a:pt x="3849" y="69851"/>
                  </a:cubicBezTo>
                  <a:cubicBezTo>
                    <a:pt x="3687" y="71957"/>
                    <a:pt x="5716" y="73193"/>
                    <a:pt x="9897" y="74095"/>
                  </a:cubicBezTo>
                  <a:cubicBezTo>
                    <a:pt x="12759" y="75232"/>
                    <a:pt x="16180" y="74831"/>
                    <a:pt x="18502" y="73026"/>
                  </a:cubicBezTo>
                  <a:cubicBezTo>
                    <a:pt x="19854" y="71990"/>
                    <a:pt x="21116" y="70853"/>
                    <a:pt x="22277" y="69684"/>
                  </a:cubicBezTo>
                  <a:cubicBezTo>
                    <a:pt x="25455" y="66241"/>
                    <a:pt x="29461" y="63366"/>
                    <a:pt x="34048" y="61227"/>
                  </a:cubicBezTo>
                  <a:cubicBezTo>
                    <a:pt x="34779" y="60927"/>
                    <a:pt x="35448" y="60526"/>
                    <a:pt x="36037" y="60058"/>
                  </a:cubicBezTo>
                  <a:lnTo>
                    <a:pt x="36037" y="60058"/>
                  </a:lnTo>
                  <a:cubicBezTo>
                    <a:pt x="44926" y="53607"/>
                    <a:pt x="58402" y="31647"/>
                    <a:pt x="58199" y="23860"/>
                  </a:cubicBezTo>
                  <a:cubicBezTo>
                    <a:pt x="58199" y="22155"/>
                    <a:pt x="57468" y="21353"/>
                    <a:pt x="56210" y="21453"/>
                  </a:cubicBezTo>
                  <a:cubicBezTo>
                    <a:pt x="53897" y="21687"/>
                    <a:pt x="51603" y="22021"/>
                    <a:pt x="49350" y="22523"/>
                  </a:cubicBezTo>
                  <a:cubicBezTo>
                    <a:pt x="45007" y="23392"/>
                    <a:pt x="41232" y="24127"/>
                    <a:pt x="40502" y="22289"/>
                  </a:cubicBezTo>
                  <a:cubicBezTo>
                    <a:pt x="39771" y="20451"/>
                    <a:pt x="41882" y="17877"/>
                    <a:pt x="47402" y="12630"/>
                  </a:cubicBezTo>
                  <a:cubicBezTo>
                    <a:pt x="50138" y="10256"/>
                    <a:pt x="52585" y="7683"/>
                    <a:pt x="54708" y="4909"/>
                  </a:cubicBezTo>
                  <a:cubicBezTo>
                    <a:pt x="54039" y="4942"/>
                    <a:pt x="53377" y="5042"/>
                    <a:pt x="52719" y="5142"/>
                  </a:cubicBezTo>
                  <a:cubicBezTo>
                    <a:pt x="50036" y="5778"/>
                    <a:pt x="47171" y="5644"/>
                    <a:pt x="44601" y="4741"/>
                  </a:cubicBezTo>
                  <a:cubicBezTo>
                    <a:pt x="44236" y="4741"/>
                    <a:pt x="44074" y="4741"/>
                    <a:pt x="43749" y="4374"/>
                  </a:cubicBezTo>
                  <a:lnTo>
                    <a:pt x="43749" y="4374"/>
                  </a:lnTo>
                  <a:cubicBezTo>
                    <a:pt x="43749" y="4374"/>
                    <a:pt x="43465" y="4040"/>
                    <a:pt x="43343" y="3839"/>
                  </a:cubicBezTo>
                  <a:lnTo>
                    <a:pt x="42897" y="3237"/>
                  </a:lnTo>
                  <a:cubicBezTo>
                    <a:pt x="42531" y="2669"/>
                    <a:pt x="42247" y="2636"/>
                    <a:pt x="42207" y="263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A386D1F5-6042-4A05-821C-A769D919CE12}"/>
                </a:ext>
              </a:extLst>
            </p:cNvPr>
            <p:cNvSpPr/>
            <p:nvPr/>
          </p:nvSpPr>
          <p:spPr>
            <a:xfrm>
              <a:off x="5470978" y="4062935"/>
              <a:ext cx="409341" cy="152581"/>
            </a:xfrm>
            <a:custGeom>
              <a:avLst/>
              <a:gdLst>
                <a:gd name="connsiteX0" fmla="*/ 403991 w 409341"/>
                <a:gd name="connsiteY0" fmla="*/ 13159 h 152581"/>
                <a:gd name="connsiteX1" fmla="*/ 336937 w 409341"/>
                <a:gd name="connsiteY1" fmla="*/ 11120 h 152581"/>
                <a:gd name="connsiteX2" fmla="*/ 317657 w 409341"/>
                <a:gd name="connsiteY2" fmla="*/ 8614 h 152581"/>
                <a:gd name="connsiteX3" fmla="*/ 292329 w 409341"/>
                <a:gd name="connsiteY3" fmla="*/ 10819 h 152581"/>
                <a:gd name="connsiteX4" fmla="*/ 172467 w 409341"/>
                <a:gd name="connsiteY4" fmla="*/ 592 h 152581"/>
                <a:gd name="connsiteX5" fmla="*/ 50333 w 409341"/>
                <a:gd name="connsiteY5" fmla="*/ 2865 h 152581"/>
                <a:gd name="connsiteX6" fmla="*/ 15223 w 409341"/>
                <a:gd name="connsiteY6" fmla="*/ 12892 h 152581"/>
                <a:gd name="connsiteX7" fmla="*/ 3533 w 409341"/>
                <a:gd name="connsiteY7" fmla="*/ 23220 h 152581"/>
                <a:gd name="connsiteX8" fmla="*/ 16846 w 409341"/>
                <a:gd name="connsiteY8" fmla="*/ 41904 h 152581"/>
                <a:gd name="connsiteX9" fmla="*/ 34746 w 409341"/>
                <a:gd name="connsiteY9" fmla="*/ 36756 h 152581"/>
                <a:gd name="connsiteX10" fmla="*/ 50536 w 409341"/>
                <a:gd name="connsiteY10" fmla="*/ 40934 h 152581"/>
                <a:gd name="connsiteX11" fmla="*/ 69126 w 409341"/>
                <a:gd name="connsiteY11" fmla="*/ 39597 h 152581"/>
                <a:gd name="connsiteX12" fmla="*/ 90192 w 409341"/>
                <a:gd name="connsiteY12" fmla="*/ 41536 h 152581"/>
                <a:gd name="connsiteX13" fmla="*/ 99893 w 409341"/>
                <a:gd name="connsiteY13" fmla="*/ 44343 h 152581"/>
                <a:gd name="connsiteX14" fmla="*/ 79598 w 409341"/>
                <a:gd name="connsiteY14" fmla="*/ 54972 h 152581"/>
                <a:gd name="connsiteX15" fmla="*/ 83657 w 409341"/>
                <a:gd name="connsiteY15" fmla="*/ 66704 h 152581"/>
                <a:gd name="connsiteX16" fmla="*/ 79882 w 409341"/>
                <a:gd name="connsiteY16" fmla="*/ 82179 h 152581"/>
                <a:gd name="connsiteX17" fmla="*/ 66731 w 409341"/>
                <a:gd name="connsiteY17" fmla="*/ 87426 h 152581"/>
                <a:gd name="connsiteX18" fmla="*/ 80816 w 409341"/>
                <a:gd name="connsiteY18" fmla="*/ 98222 h 152581"/>
                <a:gd name="connsiteX19" fmla="*/ 72170 w 409341"/>
                <a:gd name="connsiteY19" fmla="*/ 105475 h 152581"/>
                <a:gd name="connsiteX20" fmla="*/ 83860 w 409341"/>
                <a:gd name="connsiteY20" fmla="*/ 115502 h 152581"/>
                <a:gd name="connsiteX21" fmla="*/ 70709 w 409341"/>
                <a:gd name="connsiteY21" fmla="*/ 122521 h 152581"/>
                <a:gd name="connsiteX22" fmla="*/ 73794 w 409341"/>
                <a:gd name="connsiteY22" fmla="*/ 135222 h 152581"/>
                <a:gd name="connsiteX23" fmla="*/ 116616 w 409341"/>
                <a:gd name="connsiteY23" fmla="*/ 149828 h 152581"/>
                <a:gd name="connsiteX24" fmla="*/ 148195 w 409341"/>
                <a:gd name="connsiteY24" fmla="*/ 144748 h 152581"/>
                <a:gd name="connsiteX25" fmla="*/ 165729 w 409341"/>
                <a:gd name="connsiteY25" fmla="*/ 141171 h 152581"/>
                <a:gd name="connsiteX26" fmla="*/ 202260 w 409341"/>
                <a:gd name="connsiteY26" fmla="*/ 135690 h 152581"/>
                <a:gd name="connsiteX27" fmla="*/ 231566 w 409341"/>
                <a:gd name="connsiteY27" fmla="*/ 133718 h 152581"/>
                <a:gd name="connsiteX28" fmla="*/ 254378 w 409341"/>
                <a:gd name="connsiteY28" fmla="*/ 121084 h 152581"/>
                <a:gd name="connsiteX29" fmla="*/ 279219 w 409341"/>
                <a:gd name="connsiteY29" fmla="*/ 113162 h 152581"/>
                <a:gd name="connsiteX30" fmla="*/ 285672 w 409341"/>
                <a:gd name="connsiteY30" fmla="*/ 100495 h 152581"/>
                <a:gd name="connsiteX31" fmla="*/ 300041 w 409341"/>
                <a:gd name="connsiteY31" fmla="*/ 82781 h 152581"/>
                <a:gd name="connsiteX32" fmla="*/ 325410 w 409341"/>
                <a:gd name="connsiteY32" fmla="*/ 52064 h 152581"/>
                <a:gd name="connsiteX33" fmla="*/ 333528 w 409341"/>
                <a:gd name="connsiteY33" fmla="*/ 42806 h 152581"/>
                <a:gd name="connsiteX34" fmla="*/ 370058 w 409341"/>
                <a:gd name="connsiteY34" fmla="*/ 35887 h 152581"/>
                <a:gd name="connsiteX35" fmla="*/ 404235 w 409341"/>
                <a:gd name="connsiteY35" fmla="*/ 13126 h 152581"/>
                <a:gd name="connsiteX36" fmla="*/ 403991 w 409341"/>
                <a:gd name="connsiteY36" fmla="*/ 13159 h 152581"/>
                <a:gd name="connsiteX37" fmla="*/ 408984 w 409341"/>
                <a:gd name="connsiteY37" fmla="*/ 68141 h 152581"/>
                <a:gd name="connsiteX38" fmla="*/ 381464 w 409341"/>
                <a:gd name="connsiteY38" fmla="*/ 73990 h 152581"/>
                <a:gd name="connsiteX39" fmla="*/ 408984 w 409341"/>
                <a:gd name="connsiteY39" fmla="*/ 68141 h 15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09341" h="152581">
                  <a:moveTo>
                    <a:pt x="403991" y="13159"/>
                  </a:moveTo>
                  <a:cubicBezTo>
                    <a:pt x="382519" y="13494"/>
                    <a:pt x="357476" y="15031"/>
                    <a:pt x="336937" y="11120"/>
                  </a:cubicBezTo>
                  <a:cubicBezTo>
                    <a:pt x="334664" y="10686"/>
                    <a:pt x="317373" y="3333"/>
                    <a:pt x="317657" y="8614"/>
                  </a:cubicBezTo>
                  <a:cubicBezTo>
                    <a:pt x="317941" y="13895"/>
                    <a:pt x="296672" y="11956"/>
                    <a:pt x="292329" y="10819"/>
                  </a:cubicBezTo>
                  <a:cubicBezTo>
                    <a:pt x="254499" y="-43"/>
                    <a:pt x="215574" y="-1781"/>
                    <a:pt x="172467" y="592"/>
                  </a:cubicBezTo>
                  <a:cubicBezTo>
                    <a:pt x="136505" y="2497"/>
                    <a:pt x="83170" y="9249"/>
                    <a:pt x="50333" y="2865"/>
                  </a:cubicBezTo>
                  <a:cubicBezTo>
                    <a:pt x="31783" y="-745"/>
                    <a:pt x="31580" y="11488"/>
                    <a:pt x="15223" y="12892"/>
                  </a:cubicBezTo>
                  <a:cubicBezTo>
                    <a:pt x="4507" y="13794"/>
                    <a:pt x="-5681" y="17972"/>
                    <a:pt x="3533" y="23220"/>
                  </a:cubicBezTo>
                  <a:cubicBezTo>
                    <a:pt x="14573" y="29503"/>
                    <a:pt x="17496" y="32445"/>
                    <a:pt x="16846" y="41904"/>
                  </a:cubicBezTo>
                  <a:cubicBezTo>
                    <a:pt x="21879" y="41235"/>
                    <a:pt x="30566" y="35219"/>
                    <a:pt x="34746" y="36756"/>
                  </a:cubicBezTo>
                  <a:cubicBezTo>
                    <a:pt x="42296" y="39664"/>
                    <a:pt x="37141" y="42171"/>
                    <a:pt x="50536" y="40934"/>
                  </a:cubicBezTo>
                  <a:cubicBezTo>
                    <a:pt x="57395" y="40299"/>
                    <a:pt x="63484" y="42204"/>
                    <a:pt x="69126" y="39597"/>
                  </a:cubicBezTo>
                  <a:cubicBezTo>
                    <a:pt x="80775" y="34183"/>
                    <a:pt x="83251" y="38795"/>
                    <a:pt x="90192" y="41536"/>
                  </a:cubicBezTo>
                  <a:cubicBezTo>
                    <a:pt x="92100" y="42338"/>
                    <a:pt x="100745" y="42271"/>
                    <a:pt x="99893" y="44343"/>
                  </a:cubicBezTo>
                  <a:cubicBezTo>
                    <a:pt x="97863" y="49056"/>
                    <a:pt x="84672" y="51396"/>
                    <a:pt x="79598" y="54972"/>
                  </a:cubicBezTo>
                  <a:cubicBezTo>
                    <a:pt x="74524" y="58548"/>
                    <a:pt x="82277" y="63562"/>
                    <a:pt x="83657" y="66704"/>
                  </a:cubicBezTo>
                  <a:cubicBezTo>
                    <a:pt x="86011" y="71918"/>
                    <a:pt x="78299" y="76463"/>
                    <a:pt x="79882" y="82179"/>
                  </a:cubicBezTo>
                  <a:cubicBezTo>
                    <a:pt x="81140" y="86658"/>
                    <a:pt x="71115" y="84853"/>
                    <a:pt x="66731" y="87426"/>
                  </a:cubicBezTo>
                  <a:cubicBezTo>
                    <a:pt x="61049" y="90769"/>
                    <a:pt x="77974" y="96183"/>
                    <a:pt x="80816" y="98222"/>
                  </a:cubicBezTo>
                  <a:cubicBezTo>
                    <a:pt x="84875" y="101063"/>
                    <a:pt x="74200" y="102267"/>
                    <a:pt x="72170" y="105475"/>
                  </a:cubicBezTo>
                  <a:cubicBezTo>
                    <a:pt x="68111" y="111792"/>
                    <a:pt x="78827" y="111625"/>
                    <a:pt x="83860" y="115502"/>
                  </a:cubicBezTo>
                  <a:cubicBezTo>
                    <a:pt x="87432" y="118310"/>
                    <a:pt x="73144" y="120182"/>
                    <a:pt x="70709" y="122521"/>
                  </a:cubicBezTo>
                  <a:cubicBezTo>
                    <a:pt x="66082" y="126933"/>
                    <a:pt x="68882" y="131746"/>
                    <a:pt x="73794" y="135222"/>
                  </a:cubicBezTo>
                  <a:cubicBezTo>
                    <a:pt x="98148" y="131278"/>
                    <a:pt x="102207" y="143177"/>
                    <a:pt x="116616" y="149828"/>
                  </a:cubicBezTo>
                  <a:cubicBezTo>
                    <a:pt x="132852" y="157449"/>
                    <a:pt x="133339" y="144581"/>
                    <a:pt x="148195" y="144748"/>
                  </a:cubicBezTo>
                  <a:cubicBezTo>
                    <a:pt x="154364" y="145119"/>
                    <a:pt x="160493" y="143866"/>
                    <a:pt x="165729" y="141171"/>
                  </a:cubicBezTo>
                  <a:cubicBezTo>
                    <a:pt x="176242" y="136626"/>
                    <a:pt x="189677" y="136693"/>
                    <a:pt x="202260" y="135690"/>
                  </a:cubicBezTo>
                  <a:cubicBezTo>
                    <a:pt x="211799" y="134921"/>
                    <a:pt x="222230" y="135022"/>
                    <a:pt x="231566" y="133718"/>
                  </a:cubicBezTo>
                  <a:cubicBezTo>
                    <a:pt x="245286" y="131813"/>
                    <a:pt x="244555" y="125329"/>
                    <a:pt x="254378" y="121084"/>
                  </a:cubicBezTo>
                  <a:cubicBezTo>
                    <a:pt x="261521" y="118009"/>
                    <a:pt x="275403" y="118109"/>
                    <a:pt x="279219" y="113162"/>
                  </a:cubicBezTo>
                  <a:cubicBezTo>
                    <a:pt x="283034" y="108216"/>
                    <a:pt x="278772" y="104472"/>
                    <a:pt x="285672" y="100495"/>
                  </a:cubicBezTo>
                  <a:cubicBezTo>
                    <a:pt x="298701" y="92941"/>
                    <a:pt x="305317" y="92941"/>
                    <a:pt x="300041" y="82781"/>
                  </a:cubicBezTo>
                  <a:cubicBezTo>
                    <a:pt x="292410" y="68141"/>
                    <a:pt x="309985" y="62258"/>
                    <a:pt x="325410" y="52064"/>
                  </a:cubicBezTo>
                  <a:cubicBezTo>
                    <a:pt x="329996" y="49023"/>
                    <a:pt x="326830" y="45380"/>
                    <a:pt x="333528" y="42806"/>
                  </a:cubicBezTo>
                  <a:cubicBezTo>
                    <a:pt x="344446" y="38628"/>
                    <a:pt x="358774" y="39731"/>
                    <a:pt x="370058" y="35887"/>
                  </a:cubicBezTo>
                  <a:cubicBezTo>
                    <a:pt x="386051" y="30406"/>
                    <a:pt x="408497" y="24724"/>
                    <a:pt x="404235" y="13126"/>
                  </a:cubicBezTo>
                  <a:cubicBezTo>
                    <a:pt x="392585" y="13326"/>
                    <a:pt x="406630" y="20278"/>
                    <a:pt x="403991" y="13159"/>
                  </a:cubicBezTo>
                  <a:close/>
                  <a:moveTo>
                    <a:pt x="408984" y="68141"/>
                  </a:moveTo>
                  <a:cubicBezTo>
                    <a:pt x="406264" y="59618"/>
                    <a:pt x="374442" y="71684"/>
                    <a:pt x="381464" y="73990"/>
                  </a:cubicBezTo>
                  <a:cubicBezTo>
                    <a:pt x="395792" y="78603"/>
                    <a:pt x="411663" y="76664"/>
                    <a:pt x="408984" y="6814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A18C5305-B750-4D15-9612-5065B8F3EDC0}"/>
                </a:ext>
              </a:extLst>
            </p:cNvPr>
            <p:cNvSpPr/>
            <p:nvPr/>
          </p:nvSpPr>
          <p:spPr>
            <a:xfrm>
              <a:off x="6184814" y="3979688"/>
              <a:ext cx="108851" cy="29931"/>
            </a:xfrm>
            <a:custGeom>
              <a:avLst/>
              <a:gdLst>
                <a:gd name="connsiteX0" fmla="*/ 99 w 108851"/>
                <a:gd name="connsiteY0" fmla="*/ 25950 h 29931"/>
                <a:gd name="connsiteX1" fmla="*/ 20800 w 108851"/>
                <a:gd name="connsiteY1" fmla="*/ 24746 h 29931"/>
                <a:gd name="connsiteX2" fmla="*/ 32206 w 108851"/>
                <a:gd name="connsiteY2" fmla="*/ 29459 h 29931"/>
                <a:gd name="connsiteX3" fmla="*/ 66423 w 108851"/>
                <a:gd name="connsiteY3" fmla="*/ 29125 h 29931"/>
                <a:gd name="connsiteX4" fmla="*/ 84729 w 108851"/>
                <a:gd name="connsiteY4" fmla="*/ 18262 h 29931"/>
                <a:gd name="connsiteX5" fmla="*/ 107987 w 108851"/>
                <a:gd name="connsiteY5" fmla="*/ 6698 h 29931"/>
                <a:gd name="connsiteX6" fmla="*/ 99179 w 108851"/>
                <a:gd name="connsiteY6" fmla="*/ -188 h 29931"/>
                <a:gd name="connsiteX7" fmla="*/ 54977 w 108851"/>
                <a:gd name="connsiteY7" fmla="*/ 7266 h 29931"/>
                <a:gd name="connsiteX8" fmla="*/ 15077 w 108851"/>
                <a:gd name="connsiteY8" fmla="*/ 3923 h 29931"/>
                <a:gd name="connsiteX9" fmla="*/ 1276 w 108851"/>
                <a:gd name="connsiteY9" fmla="*/ 7065 h 29931"/>
                <a:gd name="connsiteX10" fmla="*/ 99 w 108851"/>
                <a:gd name="connsiteY10" fmla="*/ 25883 h 29931"/>
                <a:gd name="connsiteX11" fmla="*/ 99 w 108851"/>
                <a:gd name="connsiteY11" fmla="*/ 25950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51" h="29931">
                  <a:moveTo>
                    <a:pt x="99" y="25950"/>
                  </a:moveTo>
                  <a:cubicBezTo>
                    <a:pt x="6797" y="24275"/>
                    <a:pt x="13859" y="23864"/>
                    <a:pt x="20800" y="24746"/>
                  </a:cubicBezTo>
                  <a:cubicBezTo>
                    <a:pt x="30014" y="26752"/>
                    <a:pt x="20353" y="30328"/>
                    <a:pt x="32206" y="29459"/>
                  </a:cubicBezTo>
                  <a:cubicBezTo>
                    <a:pt x="43571" y="28714"/>
                    <a:pt x="55017" y="28603"/>
                    <a:pt x="66423" y="29125"/>
                  </a:cubicBezTo>
                  <a:cubicBezTo>
                    <a:pt x="67681" y="29125"/>
                    <a:pt x="84201" y="19766"/>
                    <a:pt x="84729" y="18262"/>
                  </a:cubicBezTo>
                  <a:cubicBezTo>
                    <a:pt x="87083" y="11577"/>
                    <a:pt x="98326" y="10842"/>
                    <a:pt x="107987" y="6698"/>
                  </a:cubicBezTo>
                  <a:cubicBezTo>
                    <a:pt x="111234" y="5294"/>
                    <a:pt x="103928" y="-1424"/>
                    <a:pt x="99179" y="-188"/>
                  </a:cubicBezTo>
                  <a:cubicBezTo>
                    <a:pt x="85378" y="3456"/>
                    <a:pt x="69467" y="4057"/>
                    <a:pt x="54977" y="7266"/>
                  </a:cubicBezTo>
                  <a:cubicBezTo>
                    <a:pt x="44342" y="9639"/>
                    <a:pt x="26320" y="4425"/>
                    <a:pt x="15077" y="3923"/>
                  </a:cubicBezTo>
                  <a:cubicBezTo>
                    <a:pt x="5741" y="3589"/>
                    <a:pt x="2332" y="1283"/>
                    <a:pt x="1276" y="7065"/>
                  </a:cubicBezTo>
                  <a:cubicBezTo>
                    <a:pt x="59" y="13285"/>
                    <a:pt x="-307" y="19592"/>
                    <a:pt x="99" y="25883"/>
                  </a:cubicBezTo>
                  <a:cubicBezTo>
                    <a:pt x="8217" y="24379"/>
                    <a:pt x="-429" y="17861"/>
                    <a:pt x="99" y="259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C7446D32-B8DA-4E88-ACE2-2C0E3B2DD397}"/>
                </a:ext>
              </a:extLst>
            </p:cNvPr>
            <p:cNvSpPr/>
            <p:nvPr/>
          </p:nvSpPr>
          <p:spPr>
            <a:xfrm>
              <a:off x="6403305" y="4097892"/>
              <a:ext cx="204258" cy="133001"/>
            </a:xfrm>
            <a:custGeom>
              <a:avLst/>
              <a:gdLst>
                <a:gd name="connsiteX0" fmla="*/ 202118 w 204258"/>
                <a:gd name="connsiteY0" fmla="*/ 395 h 133001"/>
                <a:gd name="connsiteX1" fmla="*/ 180889 w 204258"/>
                <a:gd name="connsiteY1" fmla="*/ 6779 h 133001"/>
                <a:gd name="connsiteX2" fmla="*/ 150041 w 204258"/>
                <a:gd name="connsiteY2" fmla="*/ 4206 h 133001"/>
                <a:gd name="connsiteX3" fmla="*/ 94271 w 204258"/>
                <a:gd name="connsiteY3" fmla="*/ 1966 h 133001"/>
                <a:gd name="connsiteX4" fmla="*/ 69308 w 204258"/>
                <a:gd name="connsiteY4" fmla="*/ 7180 h 133001"/>
                <a:gd name="connsiteX5" fmla="*/ 44427 w 204258"/>
                <a:gd name="connsiteY5" fmla="*/ 11559 h 133001"/>
                <a:gd name="connsiteX6" fmla="*/ 17556 w 204258"/>
                <a:gd name="connsiteY6" fmla="*/ 21586 h 133001"/>
                <a:gd name="connsiteX7" fmla="*/ -60 w 204258"/>
                <a:gd name="connsiteY7" fmla="*/ 36660 h 133001"/>
                <a:gd name="connsiteX8" fmla="*/ 17434 w 204258"/>
                <a:gd name="connsiteY8" fmla="*/ 48459 h 133001"/>
                <a:gd name="connsiteX9" fmla="*/ 35294 w 204258"/>
                <a:gd name="connsiteY9" fmla="*/ 58486 h 133001"/>
                <a:gd name="connsiteX10" fmla="*/ 59404 w 204258"/>
                <a:gd name="connsiteY10" fmla="*/ 58285 h 133001"/>
                <a:gd name="connsiteX11" fmla="*/ 58552 w 204258"/>
                <a:gd name="connsiteY11" fmla="*/ 63499 h 133001"/>
                <a:gd name="connsiteX12" fmla="*/ 30829 w 204258"/>
                <a:gd name="connsiteY12" fmla="*/ 65705 h 133001"/>
                <a:gd name="connsiteX13" fmla="*/ 40043 w 204258"/>
                <a:gd name="connsiteY13" fmla="*/ 78373 h 133001"/>
                <a:gd name="connsiteX14" fmla="*/ 61109 w 204258"/>
                <a:gd name="connsiteY14" fmla="*/ 91742 h 133001"/>
                <a:gd name="connsiteX15" fmla="*/ 86153 w 204258"/>
                <a:gd name="connsiteY15" fmla="*/ 98427 h 133001"/>
                <a:gd name="connsiteX16" fmla="*/ 80633 w 204258"/>
                <a:gd name="connsiteY16" fmla="*/ 85492 h 133001"/>
                <a:gd name="connsiteX17" fmla="*/ 97275 w 204258"/>
                <a:gd name="connsiteY17" fmla="*/ 83787 h 133001"/>
                <a:gd name="connsiteX18" fmla="*/ 87898 w 204258"/>
                <a:gd name="connsiteY18" fmla="*/ 75164 h 133001"/>
                <a:gd name="connsiteX19" fmla="*/ 87533 w 204258"/>
                <a:gd name="connsiteY19" fmla="*/ 71454 h 133001"/>
                <a:gd name="connsiteX20" fmla="*/ 106894 w 204258"/>
                <a:gd name="connsiteY20" fmla="*/ 74128 h 133001"/>
                <a:gd name="connsiteX21" fmla="*/ 106610 w 204258"/>
                <a:gd name="connsiteY21" fmla="*/ 56848 h 133001"/>
                <a:gd name="connsiteX22" fmla="*/ 86640 w 204258"/>
                <a:gd name="connsiteY22" fmla="*/ 56848 h 133001"/>
                <a:gd name="connsiteX23" fmla="*/ 96219 w 204258"/>
                <a:gd name="connsiteY23" fmla="*/ 50163 h 133001"/>
                <a:gd name="connsiteX24" fmla="*/ 78563 w 204258"/>
                <a:gd name="connsiteY24" fmla="*/ 21619 h 133001"/>
                <a:gd name="connsiteX25" fmla="*/ 108072 w 204258"/>
                <a:gd name="connsiteY25" fmla="*/ 27936 h 133001"/>
                <a:gd name="connsiteX26" fmla="*/ 116677 w 204258"/>
                <a:gd name="connsiteY26" fmla="*/ 16238 h 133001"/>
                <a:gd name="connsiteX27" fmla="*/ 138554 w 204258"/>
                <a:gd name="connsiteY27" fmla="*/ 17575 h 133001"/>
                <a:gd name="connsiteX28" fmla="*/ 158606 w 204258"/>
                <a:gd name="connsiteY28" fmla="*/ 13765 h 133001"/>
                <a:gd name="connsiteX29" fmla="*/ 194365 w 204258"/>
                <a:gd name="connsiteY29" fmla="*/ 14634 h 133001"/>
                <a:gd name="connsiteX30" fmla="*/ 202483 w 204258"/>
                <a:gd name="connsiteY30" fmla="*/ 9720 h 133001"/>
                <a:gd name="connsiteX31" fmla="*/ 202036 w 204258"/>
                <a:gd name="connsiteY31" fmla="*/ 395 h 133001"/>
                <a:gd name="connsiteX32" fmla="*/ 202118 w 204258"/>
                <a:gd name="connsiteY32" fmla="*/ 395 h 133001"/>
                <a:gd name="connsiteX33" fmla="*/ 166033 w 204258"/>
                <a:gd name="connsiteY33" fmla="*/ 126001 h 133001"/>
                <a:gd name="connsiteX34" fmla="*/ 129746 w 204258"/>
                <a:gd name="connsiteY34" fmla="*/ 123461 h 133001"/>
                <a:gd name="connsiteX35" fmla="*/ 96422 w 204258"/>
                <a:gd name="connsiteY35" fmla="*/ 122124 h 133001"/>
                <a:gd name="connsiteX36" fmla="*/ 133968 w 204258"/>
                <a:gd name="connsiteY36" fmla="*/ 131783 h 133001"/>
                <a:gd name="connsiteX37" fmla="*/ 185435 w 204258"/>
                <a:gd name="connsiteY37" fmla="*/ 127739 h 133001"/>
                <a:gd name="connsiteX38" fmla="*/ 166033 w 204258"/>
                <a:gd name="connsiteY38" fmla="*/ 126001 h 13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4258" h="133001">
                  <a:moveTo>
                    <a:pt x="202118" y="395"/>
                  </a:moveTo>
                  <a:cubicBezTo>
                    <a:pt x="187546" y="395"/>
                    <a:pt x="190550" y="5777"/>
                    <a:pt x="180889" y="6779"/>
                  </a:cubicBezTo>
                  <a:cubicBezTo>
                    <a:pt x="171229" y="7782"/>
                    <a:pt x="159174" y="5543"/>
                    <a:pt x="150041" y="4206"/>
                  </a:cubicBezTo>
                  <a:cubicBezTo>
                    <a:pt x="133196" y="1732"/>
                    <a:pt x="108883" y="-3281"/>
                    <a:pt x="94271" y="1966"/>
                  </a:cubicBezTo>
                  <a:cubicBezTo>
                    <a:pt x="86356" y="4837"/>
                    <a:pt x="77913" y="6599"/>
                    <a:pt x="69308" y="7180"/>
                  </a:cubicBezTo>
                  <a:cubicBezTo>
                    <a:pt x="59729" y="7615"/>
                    <a:pt x="55142" y="11726"/>
                    <a:pt x="44427" y="11559"/>
                  </a:cubicBezTo>
                  <a:cubicBezTo>
                    <a:pt x="25309" y="11258"/>
                    <a:pt x="30585" y="15169"/>
                    <a:pt x="17556" y="21586"/>
                  </a:cubicBezTo>
                  <a:cubicBezTo>
                    <a:pt x="10331" y="25420"/>
                    <a:pt x="4324" y="30580"/>
                    <a:pt x="-60" y="36660"/>
                  </a:cubicBezTo>
                  <a:cubicBezTo>
                    <a:pt x="8992" y="39300"/>
                    <a:pt x="15811" y="42743"/>
                    <a:pt x="17434" y="48459"/>
                  </a:cubicBezTo>
                  <a:cubicBezTo>
                    <a:pt x="19058" y="54174"/>
                    <a:pt x="19708" y="61828"/>
                    <a:pt x="35294" y="58486"/>
                  </a:cubicBezTo>
                  <a:cubicBezTo>
                    <a:pt x="45198" y="56447"/>
                    <a:pt x="48486" y="54441"/>
                    <a:pt x="59404" y="58285"/>
                  </a:cubicBezTo>
                  <a:cubicBezTo>
                    <a:pt x="68090" y="61360"/>
                    <a:pt x="71581" y="65237"/>
                    <a:pt x="58552" y="63499"/>
                  </a:cubicBezTo>
                  <a:cubicBezTo>
                    <a:pt x="50718" y="62463"/>
                    <a:pt x="35213" y="60558"/>
                    <a:pt x="30829" y="65705"/>
                  </a:cubicBezTo>
                  <a:cubicBezTo>
                    <a:pt x="26770" y="70317"/>
                    <a:pt x="43006" y="73593"/>
                    <a:pt x="40043" y="78373"/>
                  </a:cubicBezTo>
                  <a:cubicBezTo>
                    <a:pt x="34523" y="87230"/>
                    <a:pt x="51083" y="88968"/>
                    <a:pt x="61109" y="91742"/>
                  </a:cubicBezTo>
                  <a:cubicBezTo>
                    <a:pt x="64356" y="92578"/>
                    <a:pt x="83920" y="103006"/>
                    <a:pt x="86153" y="98427"/>
                  </a:cubicBezTo>
                  <a:cubicBezTo>
                    <a:pt x="88101" y="94583"/>
                    <a:pt x="82540" y="89202"/>
                    <a:pt x="80633" y="85492"/>
                  </a:cubicBezTo>
                  <a:cubicBezTo>
                    <a:pt x="77020" y="78606"/>
                    <a:pt x="90577" y="84222"/>
                    <a:pt x="97275" y="83787"/>
                  </a:cubicBezTo>
                  <a:cubicBezTo>
                    <a:pt x="113510" y="82784"/>
                    <a:pt x="96422" y="75298"/>
                    <a:pt x="87898" y="75164"/>
                  </a:cubicBezTo>
                  <a:cubicBezTo>
                    <a:pt x="81566" y="75164"/>
                    <a:pt x="84164" y="72323"/>
                    <a:pt x="87533" y="71454"/>
                  </a:cubicBezTo>
                  <a:cubicBezTo>
                    <a:pt x="94839" y="69649"/>
                    <a:pt x="100034" y="73593"/>
                    <a:pt x="106894" y="74128"/>
                  </a:cubicBezTo>
                  <a:cubicBezTo>
                    <a:pt x="132750" y="76100"/>
                    <a:pt x="130761" y="57416"/>
                    <a:pt x="106610" y="56848"/>
                  </a:cubicBezTo>
                  <a:cubicBezTo>
                    <a:pt x="97518" y="56681"/>
                    <a:pt x="94677" y="61962"/>
                    <a:pt x="86640" y="56848"/>
                  </a:cubicBezTo>
                  <a:cubicBezTo>
                    <a:pt x="77954" y="51467"/>
                    <a:pt x="91795" y="52670"/>
                    <a:pt x="96219" y="50163"/>
                  </a:cubicBezTo>
                  <a:cubicBezTo>
                    <a:pt x="106691" y="43813"/>
                    <a:pt x="52666" y="23625"/>
                    <a:pt x="78563" y="21619"/>
                  </a:cubicBezTo>
                  <a:cubicBezTo>
                    <a:pt x="90537" y="20717"/>
                    <a:pt x="94027" y="28805"/>
                    <a:pt x="108072" y="27936"/>
                  </a:cubicBezTo>
                  <a:cubicBezTo>
                    <a:pt x="125890" y="26833"/>
                    <a:pt x="109411" y="21252"/>
                    <a:pt x="116677" y="16238"/>
                  </a:cubicBezTo>
                  <a:cubicBezTo>
                    <a:pt x="123008" y="11927"/>
                    <a:pt x="133359" y="13999"/>
                    <a:pt x="138554" y="17575"/>
                  </a:cubicBezTo>
                  <a:cubicBezTo>
                    <a:pt x="143750" y="21152"/>
                    <a:pt x="153207" y="14233"/>
                    <a:pt x="158606" y="13765"/>
                  </a:cubicBezTo>
                  <a:cubicBezTo>
                    <a:pt x="169971" y="12394"/>
                    <a:pt x="193553" y="25363"/>
                    <a:pt x="194365" y="14634"/>
                  </a:cubicBezTo>
                  <a:cubicBezTo>
                    <a:pt x="194365" y="12428"/>
                    <a:pt x="200494" y="11292"/>
                    <a:pt x="202483" y="9720"/>
                  </a:cubicBezTo>
                  <a:cubicBezTo>
                    <a:pt x="205974" y="7147"/>
                    <a:pt x="203254" y="3236"/>
                    <a:pt x="202036" y="395"/>
                  </a:cubicBezTo>
                  <a:cubicBezTo>
                    <a:pt x="194974" y="395"/>
                    <a:pt x="203051" y="2668"/>
                    <a:pt x="202118" y="395"/>
                  </a:cubicBezTo>
                  <a:close/>
                  <a:moveTo>
                    <a:pt x="166033" y="126001"/>
                  </a:moveTo>
                  <a:cubicBezTo>
                    <a:pt x="156982" y="122659"/>
                    <a:pt x="139975" y="124397"/>
                    <a:pt x="129746" y="123461"/>
                  </a:cubicBezTo>
                  <a:cubicBezTo>
                    <a:pt x="118503" y="122458"/>
                    <a:pt x="106042" y="115105"/>
                    <a:pt x="96422" y="122124"/>
                  </a:cubicBezTo>
                  <a:cubicBezTo>
                    <a:pt x="93540" y="124196"/>
                    <a:pt x="129341" y="131082"/>
                    <a:pt x="133968" y="131783"/>
                  </a:cubicBezTo>
                  <a:cubicBezTo>
                    <a:pt x="140340" y="132653"/>
                    <a:pt x="186085" y="134424"/>
                    <a:pt x="185435" y="127739"/>
                  </a:cubicBezTo>
                  <a:cubicBezTo>
                    <a:pt x="185435" y="126202"/>
                    <a:pt x="168834" y="127004"/>
                    <a:pt x="166033" y="1260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367656EB-3FBF-4AC4-B5E2-BE3E84A2D86F}"/>
                </a:ext>
              </a:extLst>
            </p:cNvPr>
            <p:cNvSpPr/>
            <p:nvPr/>
          </p:nvSpPr>
          <p:spPr>
            <a:xfrm>
              <a:off x="6772790" y="4234827"/>
              <a:ext cx="74213" cy="17814"/>
            </a:xfrm>
            <a:custGeom>
              <a:avLst/>
              <a:gdLst>
                <a:gd name="connsiteX0" fmla="*/ 49382 w 74213"/>
                <a:gd name="connsiteY0" fmla="*/ 12329 h 17814"/>
                <a:gd name="connsiteX1" fmla="*/ 74060 w 74213"/>
                <a:gd name="connsiteY1" fmla="*/ -339 h 17814"/>
                <a:gd name="connsiteX2" fmla="*/ 715 w 74213"/>
                <a:gd name="connsiteY2" fmla="*/ 7616 h 17814"/>
                <a:gd name="connsiteX3" fmla="*/ 49423 w 74213"/>
                <a:gd name="connsiteY3" fmla="*/ 12329 h 17814"/>
                <a:gd name="connsiteX4" fmla="*/ 49382 w 74213"/>
                <a:gd name="connsiteY4" fmla="*/ 12329 h 1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13" h="17814">
                  <a:moveTo>
                    <a:pt x="49382" y="12329"/>
                  </a:moveTo>
                  <a:cubicBezTo>
                    <a:pt x="47880" y="4976"/>
                    <a:pt x="75969" y="3739"/>
                    <a:pt x="74060" y="-339"/>
                  </a:cubicBezTo>
                  <a:cubicBezTo>
                    <a:pt x="75360" y="2369"/>
                    <a:pt x="4530" y="1901"/>
                    <a:pt x="715" y="7616"/>
                  </a:cubicBezTo>
                  <a:cubicBezTo>
                    <a:pt x="-7403" y="19816"/>
                    <a:pt x="51006" y="19849"/>
                    <a:pt x="49423" y="12329"/>
                  </a:cubicBezTo>
                  <a:cubicBezTo>
                    <a:pt x="48936" y="9454"/>
                    <a:pt x="50113" y="15170"/>
                    <a:pt x="49382" y="1232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4812887B-015B-4508-B26F-3698F2188E47}"/>
                </a:ext>
              </a:extLst>
            </p:cNvPr>
            <p:cNvSpPr/>
            <p:nvPr/>
          </p:nvSpPr>
          <p:spPr>
            <a:xfrm>
              <a:off x="4894682" y="3539638"/>
              <a:ext cx="369449" cy="97718"/>
            </a:xfrm>
            <a:custGeom>
              <a:avLst/>
              <a:gdLst>
                <a:gd name="connsiteX0" fmla="*/ 316361 w 369449"/>
                <a:gd name="connsiteY0" fmla="*/ 58298 h 97718"/>
                <a:gd name="connsiteX1" fmla="*/ 339862 w 369449"/>
                <a:gd name="connsiteY1" fmla="*/ 45564 h 97718"/>
                <a:gd name="connsiteX2" fmla="*/ 367585 w 369449"/>
                <a:gd name="connsiteY2" fmla="*/ 30155 h 97718"/>
                <a:gd name="connsiteX3" fmla="*/ 339172 w 369449"/>
                <a:gd name="connsiteY3" fmla="*/ 17655 h 97718"/>
                <a:gd name="connsiteX4" fmla="*/ 320095 w 369449"/>
                <a:gd name="connsiteY4" fmla="*/ 1144 h 97718"/>
                <a:gd name="connsiteX5" fmla="*/ 281819 w 369449"/>
                <a:gd name="connsiteY5" fmla="*/ 2146 h 97718"/>
                <a:gd name="connsiteX6" fmla="*/ 259292 w 369449"/>
                <a:gd name="connsiteY6" fmla="*/ 7528 h 97718"/>
                <a:gd name="connsiteX7" fmla="*/ 238753 w 369449"/>
                <a:gd name="connsiteY7" fmla="*/ 12942 h 97718"/>
                <a:gd name="connsiteX8" fmla="*/ 205064 w 369449"/>
                <a:gd name="connsiteY8" fmla="*/ 18123 h 97718"/>
                <a:gd name="connsiteX9" fmla="*/ 168127 w 369449"/>
                <a:gd name="connsiteY9" fmla="*/ 21465 h 97718"/>
                <a:gd name="connsiteX10" fmla="*/ 150227 w 369449"/>
                <a:gd name="connsiteY10" fmla="*/ 25276 h 97718"/>
                <a:gd name="connsiteX11" fmla="*/ 138050 w 369449"/>
                <a:gd name="connsiteY11" fmla="*/ 35303 h 97718"/>
                <a:gd name="connsiteX12" fmla="*/ 109921 w 369449"/>
                <a:gd name="connsiteY12" fmla="*/ 47937 h 97718"/>
                <a:gd name="connsiteX13" fmla="*/ 95512 w 369449"/>
                <a:gd name="connsiteY13" fmla="*/ 37509 h 97718"/>
                <a:gd name="connsiteX14" fmla="*/ 86054 w 369449"/>
                <a:gd name="connsiteY14" fmla="*/ 28685 h 97718"/>
                <a:gd name="connsiteX15" fmla="*/ 46399 w 369449"/>
                <a:gd name="connsiteY15" fmla="*/ 24407 h 97718"/>
                <a:gd name="connsiteX16" fmla="*/ 52852 w 369449"/>
                <a:gd name="connsiteY16" fmla="*/ 35002 h 97718"/>
                <a:gd name="connsiteX17" fmla="*/ 25170 w 369449"/>
                <a:gd name="connsiteY17" fmla="*/ 35002 h 97718"/>
                <a:gd name="connsiteX18" fmla="*/ 1222 w 369449"/>
                <a:gd name="connsiteY18" fmla="*/ 56928 h 97718"/>
                <a:gd name="connsiteX19" fmla="*/ 69494 w 369449"/>
                <a:gd name="connsiteY19" fmla="*/ 56393 h 97718"/>
                <a:gd name="connsiteX20" fmla="*/ 63081 w 369449"/>
                <a:gd name="connsiteY20" fmla="*/ 64749 h 97718"/>
                <a:gd name="connsiteX21" fmla="*/ 14373 w 369449"/>
                <a:gd name="connsiteY21" fmla="*/ 75879 h 97718"/>
                <a:gd name="connsiteX22" fmla="*/ 46439 w 369449"/>
                <a:gd name="connsiteY22" fmla="*/ 71901 h 97718"/>
                <a:gd name="connsiteX23" fmla="*/ 67140 w 369449"/>
                <a:gd name="connsiteY23" fmla="*/ 75411 h 97718"/>
                <a:gd name="connsiteX24" fmla="*/ 86542 w 369449"/>
                <a:gd name="connsiteY24" fmla="*/ 78753 h 97718"/>
                <a:gd name="connsiteX25" fmla="*/ 69981 w 369449"/>
                <a:gd name="connsiteY25" fmla="*/ 90351 h 97718"/>
                <a:gd name="connsiteX26" fmla="*/ 76841 w 369449"/>
                <a:gd name="connsiteY26" fmla="*/ 97036 h 97718"/>
                <a:gd name="connsiteX27" fmla="*/ 136711 w 369449"/>
                <a:gd name="connsiteY27" fmla="*/ 91187 h 97718"/>
                <a:gd name="connsiteX28" fmla="*/ 185946 w 369449"/>
                <a:gd name="connsiteY28" fmla="*/ 95766 h 97718"/>
                <a:gd name="connsiteX29" fmla="*/ 228971 w 369449"/>
                <a:gd name="connsiteY29" fmla="*/ 83065 h 97718"/>
                <a:gd name="connsiteX30" fmla="*/ 266030 w 369449"/>
                <a:gd name="connsiteY30" fmla="*/ 73439 h 97718"/>
                <a:gd name="connsiteX31" fmla="*/ 315996 w 369449"/>
                <a:gd name="connsiteY31" fmla="*/ 58632 h 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9449" h="97718">
                  <a:moveTo>
                    <a:pt x="316361" y="58298"/>
                  </a:moveTo>
                  <a:cubicBezTo>
                    <a:pt x="332353" y="56426"/>
                    <a:pt x="329715" y="49775"/>
                    <a:pt x="339862" y="45564"/>
                  </a:cubicBezTo>
                  <a:cubicBezTo>
                    <a:pt x="352039" y="40617"/>
                    <a:pt x="360888" y="38244"/>
                    <a:pt x="367585" y="30155"/>
                  </a:cubicBezTo>
                  <a:cubicBezTo>
                    <a:pt x="376352" y="19493"/>
                    <a:pt x="350943" y="18858"/>
                    <a:pt x="339172" y="17655"/>
                  </a:cubicBezTo>
                  <a:cubicBezTo>
                    <a:pt x="330283" y="16719"/>
                    <a:pt x="319730" y="5723"/>
                    <a:pt x="320095" y="1144"/>
                  </a:cubicBezTo>
                  <a:cubicBezTo>
                    <a:pt x="320095" y="2046"/>
                    <a:pt x="287948" y="3684"/>
                    <a:pt x="281819" y="2146"/>
                  </a:cubicBezTo>
                  <a:cubicBezTo>
                    <a:pt x="268221" y="-1196"/>
                    <a:pt x="256491" y="-2633"/>
                    <a:pt x="259292" y="7528"/>
                  </a:cubicBezTo>
                  <a:cubicBezTo>
                    <a:pt x="261403" y="15315"/>
                    <a:pt x="238185" y="8931"/>
                    <a:pt x="238753" y="12942"/>
                  </a:cubicBezTo>
                  <a:cubicBezTo>
                    <a:pt x="239971" y="20964"/>
                    <a:pt x="201695" y="7996"/>
                    <a:pt x="205064" y="18123"/>
                  </a:cubicBezTo>
                  <a:cubicBezTo>
                    <a:pt x="205064" y="18390"/>
                    <a:pt x="175961" y="15349"/>
                    <a:pt x="168127" y="21465"/>
                  </a:cubicBezTo>
                  <a:cubicBezTo>
                    <a:pt x="160293" y="27582"/>
                    <a:pt x="165854" y="35403"/>
                    <a:pt x="150227" y="25276"/>
                  </a:cubicBezTo>
                  <a:cubicBezTo>
                    <a:pt x="135371" y="15616"/>
                    <a:pt x="136183" y="31659"/>
                    <a:pt x="138050" y="35303"/>
                  </a:cubicBezTo>
                  <a:cubicBezTo>
                    <a:pt x="141622" y="41753"/>
                    <a:pt x="117106" y="40684"/>
                    <a:pt x="109921" y="47937"/>
                  </a:cubicBezTo>
                  <a:cubicBezTo>
                    <a:pt x="106228" y="51613"/>
                    <a:pt x="92874" y="41052"/>
                    <a:pt x="95512" y="37509"/>
                  </a:cubicBezTo>
                  <a:cubicBezTo>
                    <a:pt x="99571" y="31860"/>
                    <a:pt x="98475" y="31325"/>
                    <a:pt x="86054" y="28685"/>
                  </a:cubicBezTo>
                  <a:cubicBezTo>
                    <a:pt x="73147" y="25784"/>
                    <a:pt x="59793" y="24343"/>
                    <a:pt x="46399" y="24407"/>
                  </a:cubicBezTo>
                  <a:cubicBezTo>
                    <a:pt x="18919" y="25142"/>
                    <a:pt x="51716" y="32930"/>
                    <a:pt x="52852" y="35002"/>
                  </a:cubicBezTo>
                  <a:cubicBezTo>
                    <a:pt x="53664" y="36439"/>
                    <a:pt x="27930" y="33899"/>
                    <a:pt x="25170" y="35002"/>
                  </a:cubicBezTo>
                  <a:cubicBezTo>
                    <a:pt x="18838" y="37141"/>
                    <a:pt x="-5922" y="54120"/>
                    <a:pt x="1222" y="56928"/>
                  </a:cubicBezTo>
                  <a:cubicBezTo>
                    <a:pt x="10923" y="60705"/>
                    <a:pt x="96568" y="40517"/>
                    <a:pt x="69494" y="56393"/>
                  </a:cubicBezTo>
                  <a:cubicBezTo>
                    <a:pt x="63122" y="60103"/>
                    <a:pt x="84350" y="61573"/>
                    <a:pt x="63081" y="64749"/>
                  </a:cubicBezTo>
                  <a:cubicBezTo>
                    <a:pt x="59428" y="65250"/>
                    <a:pt x="7391" y="70999"/>
                    <a:pt x="14373" y="75879"/>
                  </a:cubicBezTo>
                  <a:cubicBezTo>
                    <a:pt x="18432" y="78453"/>
                    <a:pt x="41325" y="72771"/>
                    <a:pt x="46439" y="71901"/>
                  </a:cubicBezTo>
                  <a:cubicBezTo>
                    <a:pt x="64258" y="68793"/>
                    <a:pt x="59590" y="69762"/>
                    <a:pt x="67140" y="75411"/>
                  </a:cubicBezTo>
                  <a:cubicBezTo>
                    <a:pt x="73350" y="80057"/>
                    <a:pt x="80412" y="71333"/>
                    <a:pt x="86542" y="78753"/>
                  </a:cubicBezTo>
                  <a:cubicBezTo>
                    <a:pt x="92671" y="86173"/>
                    <a:pt x="90195" y="86407"/>
                    <a:pt x="69981" y="90351"/>
                  </a:cubicBezTo>
                  <a:cubicBezTo>
                    <a:pt x="51838" y="93928"/>
                    <a:pt x="63243" y="98707"/>
                    <a:pt x="76841" y="97036"/>
                  </a:cubicBezTo>
                  <a:cubicBezTo>
                    <a:pt x="100789" y="93694"/>
                    <a:pt x="112641" y="87845"/>
                    <a:pt x="136711" y="91187"/>
                  </a:cubicBezTo>
                  <a:cubicBezTo>
                    <a:pt x="152500" y="93426"/>
                    <a:pt x="168127" y="97471"/>
                    <a:pt x="185946" y="95766"/>
                  </a:cubicBezTo>
                  <a:cubicBezTo>
                    <a:pt x="197798" y="94629"/>
                    <a:pt x="224790" y="90284"/>
                    <a:pt x="228971" y="83065"/>
                  </a:cubicBezTo>
                  <a:cubicBezTo>
                    <a:pt x="232381" y="77149"/>
                    <a:pt x="257059" y="75912"/>
                    <a:pt x="266030" y="73439"/>
                  </a:cubicBezTo>
                  <a:cubicBezTo>
                    <a:pt x="283930" y="68526"/>
                    <a:pt x="295092" y="61106"/>
                    <a:pt x="315996" y="5863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04FA0CF4-7469-468F-AA00-D342CE3E9F7D}"/>
                </a:ext>
              </a:extLst>
            </p:cNvPr>
            <p:cNvSpPr/>
            <p:nvPr/>
          </p:nvSpPr>
          <p:spPr>
            <a:xfrm>
              <a:off x="5413047" y="3811841"/>
              <a:ext cx="137872" cy="87325"/>
            </a:xfrm>
            <a:custGeom>
              <a:avLst/>
              <a:gdLst>
                <a:gd name="connsiteX0" fmla="*/ 126488 w 137872"/>
                <a:gd name="connsiteY0" fmla="*/ 22099 h 87325"/>
                <a:gd name="connsiteX1" fmla="*/ 99253 w 137872"/>
                <a:gd name="connsiteY1" fmla="*/ 16450 h 87325"/>
                <a:gd name="connsiteX2" fmla="*/ 85249 w 137872"/>
                <a:gd name="connsiteY2" fmla="*/ 22801 h 87325"/>
                <a:gd name="connsiteX3" fmla="*/ 89511 w 137872"/>
                <a:gd name="connsiteY3" fmla="*/ 374 h 87325"/>
                <a:gd name="connsiteX4" fmla="*/ 57486 w 137872"/>
                <a:gd name="connsiteY4" fmla="*/ 1343 h 87325"/>
                <a:gd name="connsiteX5" fmla="*/ 62478 w 137872"/>
                <a:gd name="connsiteY5" fmla="*/ 10635 h 87325"/>
                <a:gd name="connsiteX6" fmla="*/ 56552 w 137872"/>
                <a:gd name="connsiteY6" fmla="*/ 17821 h 87325"/>
                <a:gd name="connsiteX7" fmla="*/ 35486 w 137872"/>
                <a:gd name="connsiteY7" fmla="*/ 23670 h 87325"/>
                <a:gd name="connsiteX8" fmla="*/ 13892 w 137872"/>
                <a:gd name="connsiteY8" fmla="*/ 23369 h 87325"/>
                <a:gd name="connsiteX9" fmla="*/ 9833 w 137872"/>
                <a:gd name="connsiteY9" fmla="*/ 30622 h 87325"/>
                <a:gd name="connsiteX10" fmla="*/ 9833 w 137872"/>
                <a:gd name="connsiteY10" fmla="*/ 42655 h 87325"/>
                <a:gd name="connsiteX11" fmla="*/ 33619 w 137872"/>
                <a:gd name="connsiteY11" fmla="*/ 52114 h 87325"/>
                <a:gd name="connsiteX12" fmla="*/ 25014 w 137872"/>
                <a:gd name="connsiteY12" fmla="*/ 58063 h 87325"/>
                <a:gd name="connsiteX13" fmla="*/ 20143 w 137872"/>
                <a:gd name="connsiteY13" fmla="*/ 66085 h 87325"/>
                <a:gd name="connsiteX14" fmla="*/ 376 w 137872"/>
                <a:gd name="connsiteY14" fmla="*/ 75811 h 87325"/>
                <a:gd name="connsiteX15" fmla="*/ 19737 w 137872"/>
                <a:gd name="connsiteY15" fmla="*/ 86139 h 87325"/>
                <a:gd name="connsiteX16" fmla="*/ 90526 w 137872"/>
                <a:gd name="connsiteY16" fmla="*/ 70998 h 87325"/>
                <a:gd name="connsiteX17" fmla="*/ 137813 w 137872"/>
                <a:gd name="connsiteY17" fmla="*/ 52982 h 87325"/>
                <a:gd name="connsiteX18" fmla="*/ 134200 w 137872"/>
                <a:gd name="connsiteY18" fmla="*/ 36271 h 87325"/>
                <a:gd name="connsiteX19" fmla="*/ 126082 w 137872"/>
                <a:gd name="connsiteY19" fmla="*/ 22032 h 87325"/>
                <a:gd name="connsiteX20" fmla="*/ 126488 w 137872"/>
                <a:gd name="connsiteY20" fmla="*/ 22099 h 87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7872" h="87325">
                  <a:moveTo>
                    <a:pt x="126488" y="22099"/>
                  </a:moveTo>
                  <a:cubicBezTo>
                    <a:pt x="120765" y="20294"/>
                    <a:pt x="106193" y="11069"/>
                    <a:pt x="99253" y="16450"/>
                  </a:cubicBezTo>
                  <a:cubicBezTo>
                    <a:pt x="93733" y="20729"/>
                    <a:pt x="98075" y="25542"/>
                    <a:pt x="85249" y="22801"/>
                  </a:cubicBezTo>
                  <a:cubicBezTo>
                    <a:pt x="60327" y="17487"/>
                    <a:pt x="85817" y="11404"/>
                    <a:pt x="89511" y="374"/>
                  </a:cubicBezTo>
                  <a:cubicBezTo>
                    <a:pt x="78511" y="1009"/>
                    <a:pt x="68567" y="-2167"/>
                    <a:pt x="57486" y="1343"/>
                  </a:cubicBezTo>
                  <a:cubicBezTo>
                    <a:pt x="46405" y="4853"/>
                    <a:pt x="53995" y="9732"/>
                    <a:pt x="62478" y="10635"/>
                  </a:cubicBezTo>
                  <a:cubicBezTo>
                    <a:pt x="76319" y="12139"/>
                    <a:pt x="62925" y="16517"/>
                    <a:pt x="56552" y="17821"/>
                  </a:cubicBezTo>
                  <a:cubicBezTo>
                    <a:pt x="49571" y="19292"/>
                    <a:pt x="42670" y="22834"/>
                    <a:pt x="35486" y="23670"/>
                  </a:cubicBezTo>
                  <a:cubicBezTo>
                    <a:pt x="28302" y="24506"/>
                    <a:pt x="21239" y="22901"/>
                    <a:pt x="13892" y="23369"/>
                  </a:cubicBezTo>
                  <a:cubicBezTo>
                    <a:pt x="457" y="24272"/>
                    <a:pt x="4151" y="27681"/>
                    <a:pt x="9833" y="30622"/>
                  </a:cubicBezTo>
                  <a:cubicBezTo>
                    <a:pt x="18316" y="34967"/>
                    <a:pt x="4841" y="39011"/>
                    <a:pt x="9833" y="42655"/>
                  </a:cubicBezTo>
                  <a:cubicBezTo>
                    <a:pt x="14826" y="46298"/>
                    <a:pt x="35648" y="46766"/>
                    <a:pt x="33619" y="52114"/>
                  </a:cubicBezTo>
                  <a:cubicBezTo>
                    <a:pt x="32767" y="54420"/>
                    <a:pt x="27652" y="56325"/>
                    <a:pt x="25014" y="58063"/>
                  </a:cubicBezTo>
                  <a:cubicBezTo>
                    <a:pt x="20955" y="60837"/>
                    <a:pt x="22781" y="63177"/>
                    <a:pt x="20143" y="66085"/>
                  </a:cubicBezTo>
                  <a:cubicBezTo>
                    <a:pt x="16084" y="70563"/>
                    <a:pt x="3664" y="71165"/>
                    <a:pt x="376" y="75811"/>
                  </a:cubicBezTo>
                  <a:cubicBezTo>
                    <a:pt x="-2912" y="80457"/>
                    <a:pt x="13283" y="85036"/>
                    <a:pt x="19737" y="86139"/>
                  </a:cubicBezTo>
                  <a:cubicBezTo>
                    <a:pt x="42508" y="89982"/>
                    <a:pt x="74818" y="80022"/>
                    <a:pt x="90526" y="70998"/>
                  </a:cubicBezTo>
                  <a:cubicBezTo>
                    <a:pt x="108142" y="60971"/>
                    <a:pt x="137123" y="70998"/>
                    <a:pt x="137813" y="52982"/>
                  </a:cubicBezTo>
                  <a:cubicBezTo>
                    <a:pt x="137813" y="47280"/>
                    <a:pt x="136595" y="41618"/>
                    <a:pt x="134200" y="36271"/>
                  </a:cubicBezTo>
                  <a:cubicBezTo>
                    <a:pt x="132861" y="32928"/>
                    <a:pt x="124621" y="25441"/>
                    <a:pt x="126082" y="22032"/>
                  </a:cubicBezTo>
                  <a:cubicBezTo>
                    <a:pt x="122429" y="20762"/>
                    <a:pt x="126123" y="22834"/>
                    <a:pt x="126488" y="2209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2B4B6A2D-A0BB-427A-83A6-1A3697AFDD92}"/>
                </a:ext>
              </a:extLst>
            </p:cNvPr>
            <p:cNvSpPr/>
            <p:nvPr/>
          </p:nvSpPr>
          <p:spPr>
            <a:xfrm>
              <a:off x="5485393" y="3660260"/>
              <a:ext cx="332681" cy="264004"/>
            </a:xfrm>
            <a:custGeom>
              <a:avLst/>
              <a:gdLst>
                <a:gd name="connsiteX0" fmla="*/ 58729 w 332681"/>
                <a:gd name="connsiteY0" fmla="*/ 145939 h 264004"/>
                <a:gd name="connsiteX1" fmla="*/ 22929 w 332681"/>
                <a:gd name="connsiteY1" fmla="*/ 151086 h 264004"/>
                <a:gd name="connsiteX2" fmla="*/ 117 w 332681"/>
                <a:gd name="connsiteY2" fmla="*/ 169469 h 264004"/>
                <a:gd name="connsiteX3" fmla="*/ 23619 w 332681"/>
                <a:gd name="connsiteY3" fmla="*/ 173513 h 264004"/>
                <a:gd name="connsiteX4" fmla="*/ 54143 w 332681"/>
                <a:gd name="connsiteY4" fmla="*/ 173680 h 264004"/>
                <a:gd name="connsiteX5" fmla="*/ 79146 w 332681"/>
                <a:gd name="connsiteY5" fmla="*/ 163954 h 264004"/>
                <a:gd name="connsiteX6" fmla="*/ 58851 w 332681"/>
                <a:gd name="connsiteY6" fmla="*/ 145939 h 264004"/>
                <a:gd name="connsiteX7" fmla="*/ 332548 w 332681"/>
                <a:gd name="connsiteY7" fmla="*/ 196074 h 264004"/>
                <a:gd name="connsiteX8" fmla="*/ 313511 w 332681"/>
                <a:gd name="connsiteY8" fmla="*/ 187384 h 264004"/>
                <a:gd name="connsiteX9" fmla="*/ 292851 w 332681"/>
                <a:gd name="connsiteY9" fmla="*/ 191128 h 264004"/>
                <a:gd name="connsiteX10" fmla="*/ 281608 w 332681"/>
                <a:gd name="connsiteY10" fmla="*/ 179697 h 264004"/>
                <a:gd name="connsiteX11" fmla="*/ 268619 w 332681"/>
                <a:gd name="connsiteY11" fmla="*/ 168500 h 264004"/>
                <a:gd name="connsiteX12" fmla="*/ 256888 w 332681"/>
                <a:gd name="connsiteY12" fmla="*/ 155130 h 264004"/>
                <a:gd name="connsiteX13" fmla="*/ 231885 w 332681"/>
                <a:gd name="connsiteY13" fmla="*/ 147309 h 264004"/>
                <a:gd name="connsiteX14" fmla="*/ 219708 w 332681"/>
                <a:gd name="connsiteY14" fmla="*/ 132971 h 264004"/>
                <a:gd name="connsiteX15" fmla="*/ 195355 w 332681"/>
                <a:gd name="connsiteY15" fmla="*/ 122943 h 264004"/>
                <a:gd name="connsiteX16" fmla="*/ 164872 w 332681"/>
                <a:gd name="connsiteY16" fmla="*/ 121874 h 264004"/>
                <a:gd name="connsiteX17" fmla="*/ 176034 w 332681"/>
                <a:gd name="connsiteY17" fmla="*/ 110209 h 264004"/>
                <a:gd name="connsiteX18" fmla="*/ 199901 w 332681"/>
                <a:gd name="connsiteY18" fmla="*/ 79326 h 264004"/>
                <a:gd name="connsiteX19" fmla="*/ 144536 w 332681"/>
                <a:gd name="connsiteY19" fmla="*/ 79326 h 264004"/>
                <a:gd name="connsiteX20" fmla="*/ 122374 w 332681"/>
                <a:gd name="connsiteY20" fmla="*/ 77889 h 264004"/>
                <a:gd name="connsiteX21" fmla="*/ 147012 w 332681"/>
                <a:gd name="connsiteY21" fmla="*/ 64519 h 264004"/>
                <a:gd name="connsiteX22" fmla="*/ 142953 w 332681"/>
                <a:gd name="connsiteY22" fmla="*/ 55428 h 264004"/>
                <a:gd name="connsiteX23" fmla="*/ 83326 w 332681"/>
                <a:gd name="connsiteY23" fmla="*/ 72908 h 264004"/>
                <a:gd name="connsiteX24" fmla="*/ 71637 w 332681"/>
                <a:gd name="connsiteY24" fmla="*/ 83871 h 264004"/>
                <a:gd name="connsiteX25" fmla="*/ 61246 w 332681"/>
                <a:gd name="connsiteY25" fmla="*/ 92996 h 264004"/>
                <a:gd name="connsiteX26" fmla="*/ 38110 w 332681"/>
                <a:gd name="connsiteY26" fmla="*/ 92729 h 264004"/>
                <a:gd name="connsiteX27" fmla="*/ 69364 w 332681"/>
                <a:gd name="connsiteY27" fmla="*/ 99413 h 264004"/>
                <a:gd name="connsiteX28" fmla="*/ 67253 w 332681"/>
                <a:gd name="connsiteY28" fmla="*/ 117696 h 264004"/>
                <a:gd name="connsiteX29" fmla="*/ 47689 w 332681"/>
                <a:gd name="connsiteY29" fmla="*/ 134007 h 264004"/>
                <a:gd name="connsiteX30" fmla="*/ 69729 w 332681"/>
                <a:gd name="connsiteY30" fmla="*/ 126887 h 264004"/>
                <a:gd name="connsiteX31" fmla="*/ 74438 w 332681"/>
                <a:gd name="connsiteY31" fmla="*/ 134508 h 264004"/>
                <a:gd name="connsiteX32" fmla="*/ 102850 w 332681"/>
                <a:gd name="connsiteY32" fmla="*/ 121974 h 264004"/>
                <a:gd name="connsiteX33" fmla="*/ 107478 w 332681"/>
                <a:gd name="connsiteY33" fmla="*/ 136413 h 264004"/>
                <a:gd name="connsiteX34" fmla="*/ 95828 w 332681"/>
                <a:gd name="connsiteY34" fmla="*/ 151420 h 264004"/>
                <a:gd name="connsiteX35" fmla="*/ 143603 w 332681"/>
                <a:gd name="connsiteY35" fmla="*/ 146574 h 264004"/>
                <a:gd name="connsiteX36" fmla="*/ 152897 w 332681"/>
                <a:gd name="connsiteY36" fmla="*/ 151153 h 264004"/>
                <a:gd name="connsiteX37" fmla="*/ 165399 w 332681"/>
                <a:gd name="connsiteY37" fmla="*/ 162283 h 264004"/>
                <a:gd name="connsiteX38" fmla="*/ 166820 w 332681"/>
                <a:gd name="connsiteY38" fmla="*/ 175151 h 264004"/>
                <a:gd name="connsiteX39" fmla="*/ 149325 w 332681"/>
                <a:gd name="connsiteY39" fmla="*/ 186382 h 264004"/>
                <a:gd name="connsiteX40" fmla="*/ 130167 w 332681"/>
                <a:gd name="connsiteY40" fmla="*/ 184276 h 264004"/>
                <a:gd name="connsiteX41" fmla="*/ 119086 w 332681"/>
                <a:gd name="connsiteY41" fmla="*/ 194303 h 264004"/>
                <a:gd name="connsiteX42" fmla="*/ 119086 w 332681"/>
                <a:gd name="connsiteY42" fmla="*/ 214357 h 264004"/>
                <a:gd name="connsiteX43" fmla="*/ 97574 w 332681"/>
                <a:gd name="connsiteY43" fmla="*/ 223916 h 264004"/>
                <a:gd name="connsiteX44" fmla="*/ 120142 w 332681"/>
                <a:gd name="connsiteY44" fmla="*/ 223716 h 264004"/>
                <a:gd name="connsiteX45" fmla="*/ 142953 w 332681"/>
                <a:gd name="connsiteY45" fmla="*/ 226323 h 264004"/>
                <a:gd name="connsiteX46" fmla="*/ 162883 w 332681"/>
                <a:gd name="connsiteY46" fmla="*/ 228094 h 264004"/>
                <a:gd name="connsiteX47" fmla="*/ 180823 w 332681"/>
                <a:gd name="connsiteY47" fmla="*/ 225487 h 264004"/>
                <a:gd name="connsiteX48" fmla="*/ 166982 w 332681"/>
                <a:gd name="connsiteY48" fmla="*/ 233041 h 264004"/>
                <a:gd name="connsiteX49" fmla="*/ 134998 w 332681"/>
                <a:gd name="connsiteY49" fmla="*/ 236383 h 264004"/>
                <a:gd name="connsiteX50" fmla="*/ 98467 w 332681"/>
                <a:gd name="connsiteY50" fmla="*/ 259780 h 264004"/>
                <a:gd name="connsiteX51" fmla="*/ 134024 w 332681"/>
                <a:gd name="connsiteY51" fmla="*/ 254900 h 264004"/>
                <a:gd name="connsiteX52" fmla="*/ 152654 w 332681"/>
                <a:gd name="connsiteY52" fmla="*/ 254332 h 264004"/>
                <a:gd name="connsiteX53" fmla="*/ 170027 w 332681"/>
                <a:gd name="connsiteY53" fmla="*/ 247647 h 264004"/>
                <a:gd name="connsiteX54" fmla="*/ 204731 w 332681"/>
                <a:gd name="connsiteY54" fmla="*/ 243202 h 264004"/>
                <a:gd name="connsiteX55" fmla="*/ 228273 w 332681"/>
                <a:gd name="connsiteY55" fmla="*/ 243001 h 264004"/>
                <a:gd name="connsiteX56" fmla="*/ 283434 w 332681"/>
                <a:gd name="connsiteY56" fmla="*/ 236951 h 264004"/>
                <a:gd name="connsiteX57" fmla="*/ 303729 w 332681"/>
                <a:gd name="connsiteY57" fmla="*/ 223749 h 264004"/>
                <a:gd name="connsiteX58" fmla="*/ 311035 w 332681"/>
                <a:gd name="connsiteY58" fmla="*/ 210981 h 264004"/>
                <a:gd name="connsiteX59" fmla="*/ 332264 w 332681"/>
                <a:gd name="connsiteY59" fmla="*/ 196308 h 264004"/>
                <a:gd name="connsiteX60" fmla="*/ 332548 w 332681"/>
                <a:gd name="connsiteY60" fmla="*/ 195907 h 264004"/>
                <a:gd name="connsiteX61" fmla="*/ 26014 w 332681"/>
                <a:gd name="connsiteY61" fmla="*/ 83905 h 264004"/>
                <a:gd name="connsiteX62" fmla="*/ 47121 w 332681"/>
                <a:gd name="connsiteY62" fmla="*/ 67427 h 264004"/>
                <a:gd name="connsiteX63" fmla="*/ 26014 w 332681"/>
                <a:gd name="connsiteY63" fmla="*/ 83738 h 264004"/>
                <a:gd name="connsiteX64" fmla="*/ 215974 w 332681"/>
                <a:gd name="connsiteY64" fmla="*/ 18996 h 264004"/>
                <a:gd name="connsiteX65" fmla="*/ 220317 w 332681"/>
                <a:gd name="connsiteY65" fmla="*/ -122 h 264004"/>
                <a:gd name="connsiteX66" fmla="*/ 215974 w 332681"/>
                <a:gd name="connsiteY66" fmla="*/ 18829 h 2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32681" h="264004">
                  <a:moveTo>
                    <a:pt x="58729" y="145939"/>
                  </a:moveTo>
                  <a:cubicBezTo>
                    <a:pt x="47364" y="141293"/>
                    <a:pt x="33645" y="148713"/>
                    <a:pt x="22929" y="151086"/>
                  </a:cubicBezTo>
                  <a:cubicBezTo>
                    <a:pt x="17856" y="152223"/>
                    <a:pt x="2635" y="165024"/>
                    <a:pt x="117" y="169469"/>
                  </a:cubicBezTo>
                  <a:cubicBezTo>
                    <a:pt x="-2399" y="173914"/>
                    <a:pt x="22726" y="177190"/>
                    <a:pt x="23619" y="173513"/>
                  </a:cubicBezTo>
                  <a:cubicBezTo>
                    <a:pt x="26501" y="160512"/>
                    <a:pt x="43386" y="170171"/>
                    <a:pt x="54143" y="173680"/>
                  </a:cubicBezTo>
                  <a:cubicBezTo>
                    <a:pt x="56294" y="169235"/>
                    <a:pt x="73504" y="167297"/>
                    <a:pt x="79146" y="163954"/>
                  </a:cubicBezTo>
                  <a:cubicBezTo>
                    <a:pt x="90511" y="157270"/>
                    <a:pt x="66360" y="149081"/>
                    <a:pt x="58851" y="145939"/>
                  </a:cubicBezTo>
                  <a:close/>
                  <a:moveTo>
                    <a:pt x="332548" y="196074"/>
                  </a:moveTo>
                  <a:cubicBezTo>
                    <a:pt x="332954" y="191128"/>
                    <a:pt x="321061" y="188420"/>
                    <a:pt x="313511" y="187384"/>
                  </a:cubicBezTo>
                  <a:cubicBezTo>
                    <a:pt x="299873" y="185579"/>
                    <a:pt x="302633" y="188821"/>
                    <a:pt x="292851" y="191128"/>
                  </a:cubicBezTo>
                  <a:cubicBezTo>
                    <a:pt x="277630" y="194737"/>
                    <a:pt x="281121" y="182705"/>
                    <a:pt x="281608" y="179697"/>
                  </a:cubicBezTo>
                  <a:cubicBezTo>
                    <a:pt x="281608" y="178694"/>
                    <a:pt x="269431" y="171909"/>
                    <a:pt x="268619" y="168500"/>
                  </a:cubicBezTo>
                  <a:cubicBezTo>
                    <a:pt x="266589" y="163102"/>
                    <a:pt x="262490" y="158403"/>
                    <a:pt x="256888" y="155130"/>
                  </a:cubicBezTo>
                  <a:cubicBezTo>
                    <a:pt x="249866" y="150618"/>
                    <a:pt x="239232" y="151086"/>
                    <a:pt x="231885" y="147309"/>
                  </a:cubicBezTo>
                  <a:cubicBezTo>
                    <a:pt x="224538" y="143532"/>
                    <a:pt x="222266" y="137951"/>
                    <a:pt x="219708" y="132971"/>
                  </a:cubicBezTo>
                  <a:cubicBezTo>
                    <a:pt x="215650" y="124715"/>
                    <a:pt x="204649" y="128124"/>
                    <a:pt x="195355" y="122943"/>
                  </a:cubicBezTo>
                  <a:cubicBezTo>
                    <a:pt x="187237" y="118130"/>
                    <a:pt x="175384" y="120972"/>
                    <a:pt x="164872" y="121874"/>
                  </a:cubicBezTo>
                  <a:cubicBezTo>
                    <a:pt x="154359" y="122776"/>
                    <a:pt x="174491" y="110811"/>
                    <a:pt x="176034" y="110209"/>
                  </a:cubicBezTo>
                  <a:cubicBezTo>
                    <a:pt x="189631" y="104861"/>
                    <a:pt x="200388" y="87548"/>
                    <a:pt x="199901" y="79326"/>
                  </a:cubicBezTo>
                  <a:cubicBezTo>
                    <a:pt x="199535" y="73777"/>
                    <a:pt x="150868" y="78557"/>
                    <a:pt x="144536" y="79326"/>
                  </a:cubicBezTo>
                  <a:cubicBezTo>
                    <a:pt x="138204" y="80094"/>
                    <a:pt x="122049" y="84172"/>
                    <a:pt x="122374" y="77889"/>
                  </a:cubicBezTo>
                  <a:cubicBezTo>
                    <a:pt x="122374" y="75148"/>
                    <a:pt x="143359" y="67561"/>
                    <a:pt x="147012" y="64519"/>
                  </a:cubicBezTo>
                  <a:cubicBezTo>
                    <a:pt x="155130" y="57834"/>
                    <a:pt x="157403" y="42025"/>
                    <a:pt x="142953" y="55428"/>
                  </a:cubicBezTo>
                  <a:cubicBezTo>
                    <a:pt x="128503" y="68831"/>
                    <a:pt x="86493" y="50782"/>
                    <a:pt x="83326" y="72908"/>
                  </a:cubicBezTo>
                  <a:cubicBezTo>
                    <a:pt x="82556" y="78356"/>
                    <a:pt x="78578" y="79593"/>
                    <a:pt x="71637" y="83871"/>
                  </a:cubicBezTo>
                  <a:cubicBezTo>
                    <a:pt x="68552" y="85743"/>
                    <a:pt x="71353" y="96840"/>
                    <a:pt x="61246" y="92996"/>
                  </a:cubicBezTo>
                  <a:cubicBezTo>
                    <a:pt x="57471" y="91559"/>
                    <a:pt x="38556" y="84272"/>
                    <a:pt x="38110" y="92729"/>
                  </a:cubicBezTo>
                  <a:cubicBezTo>
                    <a:pt x="37744" y="99848"/>
                    <a:pt x="63275" y="96940"/>
                    <a:pt x="69364" y="99413"/>
                  </a:cubicBezTo>
                  <a:cubicBezTo>
                    <a:pt x="75452" y="101887"/>
                    <a:pt x="36527" y="113718"/>
                    <a:pt x="67253" y="117696"/>
                  </a:cubicBezTo>
                  <a:cubicBezTo>
                    <a:pt x="91323" y="120804"/>
                    <a:pt x="36648" y="131667"/>
                    <a:pt x="47689" y="134007"/>
                  </a:cubicBezTo>
                  <a:cubicBezTo>
                    <a:pt x="53372" y="135210"/>
                    <a:pt x="65346" y="128358"/>
                    <a:pt x="69729" y="126887"/>
                  </a:cubicBezTo>
                  <a:cubicBezTo>
                    <a:pt x="74113" y="125417"/>
                    <a:pt x="73545" y="133405"/>
                    <a:pt x="74438" y="134508"/>
                  </a:cubicBezTo>
                  <a:cubicBezTo>
                    <a:pt x="84382" y="146540"/>
                    <a:pt x="102850" y="121974"/>
                    <a:pt x="102850" y="121974"/>
                  </a:cubicBezTo>
                  <a:cubicBezTo>
                    <a:pt x="104474" y="121974"/>
                    <a:pt x="107680" y="134909"/>
                    <a:pt x="107478" y="136413"/>
                  </a:cubicBezTo>
                  <a:cubicBezTo>
                    <a:pt x="106828" y="141393"/>
                    <a:pt x="94164" y="146674"/>
                    <a:pt x="95828" y="151420"/>
                  </a:cubicBezTo>
                  <a:cubicBezTo>
                    <a:pt x="98223" y="158105"/>
                    <a:pt x="138448" y="149649"/>
                    <a:pt x="143603" y="146574"/>
                  </a:cubicBezTo>
                  <a:cubicBezTo>
                    <a:pt x="153425" y="140625"/>
                    <a:pt x="160326" y="146306"/>
                    <a:pt x="152897" y="151153"/>
                  </a:cubicBezTo>
                  <a:cubicBezTo>
                    <a:pt x="142344" y="158038"/>
                    <a:pt x="155008" y="160578"/>
                    <a:pt x="165399" y="162283"/>
                  </a:cubicBezTo>
                  <a:cubicBezTo>
                    <a:pt x="174329" y="163787"/>
                    <a:pt x="166373" y="171341"/>
                    <a:pt x="166820" y="175151"/>
                  </a:cubicBezTo>
                  <a:cubicBezTo>
                    <a:pt x="167713" y="183072"/>
                    <a:pt x="165318" y="185512"/>
                    <a:pt x="149325" y="186382"/>
                  </a:cubicBezTo>
                  <a:cubicBezTo>
                    <a:pt x="140640" y="186883"/>
                    <a:pt x="136743" y="184610"/>
                    <a:pt x="130167" y="184276"/>
                  </a:cubicBezTo>
                  <a:cubicBezTo>
                    <a:pt x="119777" y="183774"/>
                    <a:pt x="123429" y="191228"/>
                    <a:pt x="119086" y="194303"/>
                  </a:cubicBezTo>
                  <a:cubicBezTo>
                    <a:pt x="103175" y="205199"/>
                    <a:pt x="155901" y="202358"/>
                    <a:pt x="119086" y="214357"/>
                  </a:cubicBezTo>
                  <a:cubicBezTo>
                    <a:pt x="114743" y="215761"/>
                    <a:pt x="89618" y="219705"/>
                    <a:pt x="97574" y="223916"/>
                  </a:cubicBezTo>
                  <a:cubicBezTo>
                    <a:pt x="105529" y="228128"/>
                    <a:pt x="111659" y="224651"/>
                    <a:pt x="120142" y="223716"/>
                  </a:cubicBezTo>
                  <a:cubicBezTo>
                    <a:pt x="123673" y="223315"/>
                    <a:pt x="138813" y="225955"/>
                    <a:pt x="142953" y="226323"/>
                  </a:cubicBezTo>
                  <a:cubicBezTo>
                    <a:pt x="149529" y="227409"/>
                    <a:pt x="156185" y="228000"/>
                    <a:pt x="162883" y="228094"/>
                  </a:cubicBezTo>
                  <a:cubicBezTo>
                    <a:pt x="166942" y="227860"/>
                    <a:pt x="176764" y="224417"/>
                    <a:pt x="180823" y="225487"/>
                  </a:cubicBezTo>
                  <a:cubicBezTo>
                    <a:pt x="185897" y="226857"/>
                    <a:pt x="168240" y="232807"/>
                    <a:pt x="166982" y="233041"/>
                  </a:cubicBezTo>
                  <a:cubicBezTo>
                    <a:pt x="156388" y="234779"/>
                    <a:pt x="144414" y="232372"/>
                    <a:pt x="134998" y="236383"/>
                  </a:cubicBezTo>
                  <a:cubicBezTo>
                    <a:pt x="121075" y="242366"/>
                    <a:pt x="105489" y="250989"/>
                    <a:pt x="98467" y="259780"/>
                  </a:cubicBezTo>
                  <a:cubicBezTo>
                    <a:pt x="88969" y="271177"/>
                    <a:pt x="125581" y="253763"/>
                    <a:pt x="134024" y="254900"/>
                  </a:cubicBezTo>
                  <a:cubicBezTo>
                    <a:pt x="141046" y="255836"/>
                    <a:pt x="147743" y="259780"/>
                    <a:pt x="152654" y="254332"/>
                  </a:cubicBezTo>
                  <a:cubicBezTo>
                    <a:pt x="157565" y="248883"/>
                    <a:pt x="159960" y="249886"/>
                    <a:pt x="170027" y="247647"/>
                  </a:cubicBezTo>
                  <a:cubicBezTo>
                    <a:pt x="181676" y="244973"/>
                    <a:pt x="193650" y="247212"/>
                    <a:pt x="204731" y="243202"/>
                  </a:cubicBezTo>
                  <a:cubicBezTo>
                    <a:pt x="214513" y="239659"/>
                    <a:pt x="217760" y="241029"/>
                    <a:pt x="228273" y="243001"/>
                  </a:cubicBezTo>
                  <a:cubicBezTo>
                    <a:pt x="238785" y="244973"/>
                    <a:pt x="272150" y="239057"/>
                    <a:pt x="283434" y="236951"/>
                  </a:cubicBezTo>
                  <a:cubicBezTo>
                    <a:pt x="294718" y="234846"/>
                    <a:pt x="340706" y="219638"/>
                    <a:pt x="303729" y="223749"/>
                  </a:cubicBezTo>
                  <a:cubicBezTo>
                    <a:pt x="287128" y="225654"/>
                    <a:pt x="307788" y="212385"/>
                    <a:pt x="311035" y="210981"/>
                  </a:cubicBezTo>
                  <a:cubicBezTo>
                    <a:pt x="319722" y="207037"/>
                    <a:pt x="331736" y="202826"/>
                    <a:pt x="332264" y="196308"/>
                  </a:cubicBezTo>
                  <a:cubicBezTo>
                    <a:pt x="333197" y="188320"/>
                    <a:pt x="331939" y="203494"/>
                    <a:pt x="332548" y="195907"/>
                  </a:cubicBezTo>
                  <a:close/>
                  <a:moveTo>
                    <a:pt x="26014" y="83905"/>
                  </a:moveTo>
                  <a:cubicBezTo>
                    <a:pt x="39449" y="82802"/>
                    <a:pt x="53899" y="70301"/>
                    <a:pt x="47121" y="67427"/>
                  </a:cubicBezTo>
                  <a:cubicBezTo>
                    <a:pt x="40342" y="64553"/>
                    <a:pt x="15948" y="84573"/>
                    <a:pt x="26014" y="83738"/>
                  </a:cubicBezTo>
                  <a:close/>
                  <a:moveTo>
                    <a:pt x="215974" y="18996"/>
                  </a:moveTo>
                  <a:cubicBezTo>
                    <a:pt x="224092" y="14350"/>
                    <a:pt x="233347" y="-2428"/>
                    <a:pt x="220317" y="-122"/>
                  </a:cubicBezTo>
                  <a:cubicBezTo>
                    <a:pt x="207288" y="2184"/>
                    <a:pt x="212443" y="20868"/>
                    <a:pt x="215974" y="1882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01E4A08-8EBB-4DB6-BBEA-F4C142C60E72}"/>
                </a:ext>
              </a:extLst>
            </p:cNvPr>
            <p:cNvSpPr/>
            <p:nvPr/>
          </p:nvSpPr>
          <p:spPr>
            <a:xfrm>
              <a:off x="6025946" y="3726809"/>
              <a:ext cx="155655" cy="75462"/>
            </a:xfrm>
            <a:custGeom>
              <a:avLst/>
              <a:gdLst>
                <a:gd name="connsiteX0" fmla="*/ 78924 w 155655"/>
                <a:gd name="connsiteY0" fmla="*/ 27249 h 75462"/>
                <a:gd name="connsiteX1" fmla="*/ 67803 w 155655"/>
                <a:gd name="connsiteY1" fmla="*/ 845 h 75462"/>
                <a:gd name="connsiteX2" fmla="*/ 45275 w 155655"/>
                <a:gd name="connsiteY2" fmla="*/ 12509 h 75462"/>
                <a:gd name="connsiteX3" fmla="*/ 35006 w 155655"/>
                <a:gd name="connsiteY3" fmla="*/ 21333 h 75462"/>
                <a:gd name="connsiteX4" fmla="*/ 10084 w 155655"/>
                <a:gd name="connsiteY4" fmla="*/ 18726 h 75462"/>
                <a:gd name="connsiteX5" fmla="*/ 1113 w 155655"/>
                <a:gd name="connsiteY5" fmla="*/ 43627 h 75462"/>
                <a:gd name="connsiteX6" fmla="*/ 8947 w 155655"/>
                <a:gd name="connsiteY6" fmla="*/ 53654 h 75462"/>
                <a:gd name="connsiteX7" fmla="*/ 16253 w 155655"/>
                <a:gd name="connsiteY7" fmla="*/ 65686 h 75462"/>
                <a:gd name="connsiteX8" fmla="*/ 63744 w 155655"/>
                <a:gd name="connsiteY8" fmla="*/ 70633 h 75462"/>
                <a:gd name="connsiteX9" fmla="*/ 53677 w 155655"/>
                <a:gd name="connsiteY9" fmla="*/ 59770 h 75462"/>
                <a:gd name="connsiteX10" fmla="*/ 78599 w 155655"/>
                <a:gd name="connsiteY10" fmla="*/ 65486 h 75462"/>
                <a:gd name="connsiteX11" fmla="*/ 83713 w 155655"/>
                <a:gd name="connsiteY11" fmla="*/ 52117 h 75462"/>
                <a:gd name="connsiteX12" fmla="*/ 64109 w 155655"/>
                <a:gd name="connsiteY12" fmla="*/ 51381 h 75462"/>
                <a:gd name="connsiteX13" fmla="*/ 73525 w 155655"/>
                <a:gd name="connsiteY13" fmla="*/ 40819 h 75462"/>
                <a:gd name="connsiteX14" fmla="*/ 91953 w 155655"/>
                <a:gd name="connsiteY14" fmla="*/ 36474 h 75462"/>
                <a:gd name="connsiteX15" fmla="*/ 78924 w 155655"/>
                <a:gd name="connsiteY15" fmla="*/ 27015 h 75462"/>
                <a:gd name="connsiteX16" fmla="*/ 154096 w 155655"/>
                <a:gd name="connsiteY16" fmla="*/ 42858 h 75462"/>
                <a:gd name="connsiteX17" fmla="*/ 140377 w 155655"/>
                <a:gd name="connsiteY17" fmla="*/ 46200 h 75462"/>
                <a:gd name="connsiteX18" fmla="*/ 132259 w 155655"/>
                <a:gd name="connsiteY18" fmla="*/ 41087 h 75462"/>
                <a:gd name="connsiteX19" fmla="*/ 120529 w 155655"/>
                <a:gd name="connsiteY19" fmla="*/ 44262 h 75462"/>
                <a:gd name="connsiteX20" fmla="*/ 106484 w 155655"/>
                <a:gd name="connsiteY20" fmla="*/ 54022 h 75462"/>
                <a:gd name="connsiteX21" fmla="*/ 121949 w 155655"/>
                <a:gd name="connsiteY21" fmla="*/ 62946 h 75462"/>
                <a:gd name="connsiteX22" fmla="*/ 108270 w 155655"/>
                <a:gd name="connsiteY22" fmla="*/ 69363 h 75462"/>
                <a:gd name="connsiteX23" fmla="*/ 145532 w 155655"/>
                <a:gd name="connsiteY23" fmla="*/ 62678 h 75462"/>
                <a:gd name="connsiteX24" fmla="*/ 153893 w 155655"/>
                <a:gd name="connsiteY24" fmla="*/ 42624 h 75462"/>
                <a:gd name="connsiteX25" fmla="*/ 154096 w 155655"/>
                <a:gd name="connsiteY25" fmla="*/ 42858 h 75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5655" h="75462">
                  <a:moveTo>
                    <a:pt x="78924" y="27249"/>
                  </a:moveTo>
                  <a:cubicBezTo>
                    <a:pt x="64636" y="23706"/>
                    <a:pt x="101817" y="-6642"/>
                    <a:pt x="67803" y="845"/>
                  </a:cubicBezTo>
                  <a:cubicBezTo>
                    <a:pt x="55382" y="3585"/>
                    <a:pt x="59685" y="12142"/>
                    <a:pt x="45275" y="12509"/>
                  </a:cubicBezTo>
                  <a:cubicBezTo>
                    <a:pt x="29770" y="12944"/>
                    <a:pt x="44545" y="22169"/>
                    <a:pt x="35006" y="21333"/>
                  </a:cubicBezTo>
                  <a:cubicBezTo>
                    <a:pt x="26888" y="20631"/>
                    <a:pt x="18770" y="10705"/>
                    <a:pt x="10084" y="18726"/>
                  </a:cubicBezTo>
                  <a:cubicBezTo>
                    <a:pt x="1398" y="26748"/>
                    <a:pt x="-2093" y="34536"/>
                    <a:pt x="1113" y="43627"/>
                  </a:cubicBezTo>
                  <a:cubicBezTo>
                    <a:pt x="2169" y="47631"/>
                    <a:pt x="4970" y="51187"/>
                    <a:pt x="8947" y="53654"/>
                  </a:cubicBezTo>
                  <a:cubicBezTo>
                    <a:pt x="16010" y="58300"/>
                    <a:pt x="12276" y="60974"/>
                    <a:pt x="16253" y="65686"/>
                  </a:cubicBezTo>
                  <a:cubicBezTo>
                    <a:pt x="21084" y="71402"/>
                    <a:pt x="51120" y="71536"/>
                    <a:pt x="63744" y="70633"/>
                  </a:cubicBezTo>
                  <a:cubicBezTo>
                    <a:pt x="62891" y="69898"/>
                    <a:pt x="42434" y="60305"/>
                    <a:pt x="53677" y="59770"/>
                  </a:cubicBezTo>
                  <a:cubicBezTo>
                    <a:pt x="62729" y="59336"/>
                    <a:pt x="69466" y="64851"/>
                    <a:pt x="78599" y="65486"/>
                  </a:cubicBezTo>
                  <a:cubicBezTo>
                    <a:pt x="95119" y="66656"/>
                    <a:pt x="95972" y="54289"/>
                    <a:pt x="83713" y="52117"/>
                  </a:cubicBezTo>
                  <a:cubicBezTo>
                    <a:pt x="75596" y="50679"/>
                    <a:pt x="71131" y="56395"/>
                    <a:pt x="64109" y="51381"/>
                  </a:cubicBezTo>
                  <a:cubicBezTo>
                    <a:pt x="60293" y="48640"/>
                    <a:pt x="71983" y="43293"/>
                    <a:pt x="73525" y="40819"/>
                  </a:cubicBezTo>
                  <a:cubicBezTo>
                    <a:pt x="75677" y="37310"/>
                    <a:pt x="86758" y="37811"/>
                    <a:pt x="91953" y="36474"/>
                  </a:cubicBezTo>
                  <a:cubicBezTo>
                    <a:pt x="103359" y="33600"/>
                    <a:pt x="83105" y="28051"/>
                    <a:pt x="78924" y="27015"/>
                  </a:cubicBezTo>
                  <a:close/>
                  <a:moveTo>
                    <a:pt x="154096" y="42858"/>
                  </a:moveTo>
                  <a:cubicBezTo>
                    <a:pt x="148698" y="41087"/>
                    <a:pt x="145653" y="48975"/>
                    <a:pt x="140377" y="46200"/>
                  </a:cubicBezTo>
                  <a:cubicBezTo>
                    <a:pt x="139362" y="45699"/>
                    <a:pt x="134167" y="40452"/>
                    <a:pt x="132259" y="41087"/>
                  </a:cubicBezTo>
                  <a:cubicBezTo>
                    <a:pt x="125440" y="43560"/>
                    <a:pt x="131447" y="44696"/>
                    <a:pt x="120529" y="44262"/>
                  </a:cubicBezTo>
                  <a:cubicBezTo>
                    <a:pt x="110868" y="43894"/>
                    <a:pt x="104293" y="49710"/>
                    <a:pt x="106484" y="54022"/>
                  </a:cubicBezTo>
                  <a:cubicBezTo>
                    <a:pt x="108676" y="58333"/>
                    <a:pt x="115577" y="60706"/>
                    <a:pt x="121949" y="62946"/>
                  </a:cubicBezTo>
                  <a:cubicBezTo>
                    <a:pt x="134126" y="66990"/>
                    <a:pt x="107134" y="66622"/>
                    <a:pt x="108270" y="69363"/>
                  </a:cubicBezTo>
                  <a:cubicBezTo>
                    <a:pt x="113709" y="82732"/>
                    <a:pt x="142244" y="69564"/>
                    <a:pt x="145532" y="62678"/>
                  </a:cubicBezTo>
                  <a:cubicBezTo>
                    <a:pt x="146831" y="59938"/>
                    <a:pt x="157709" y="43861"/>
                    <a:pt x="153893" y="42624"/>
                  </a:cubicBezTo>
                  <a:cubicBezTo>
                    <a:pt x="150078" y="41387"/>
                    <a:pt x="158967" y="44195"/>
                    <a:pt x="154096" y="4285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D670789C-3834-469E-8B87-527F52BBFDB0}"/>
                </a:ext>
              </a:extLst>
            </p:cNvPr>
            <p:cNvSpPr/>
            <p:nvPr/>
          </p:nvSpPr>
          <p:spPr>
            <a:xfrm>
              <a:off x="6133094" y="3422086"/>
              <a:ext cx="437081" cy="362666"/>
            </a:xfrm>
            <a:custGeom>
              <a:avLst/>
              <a:gdLst>
                <a:gd name="connsiteX0" fmla="*/ 432347 w 437081"/>
                <a:gd name="connsiteY0" fmla="*/ 89049 h 362666"/>
                <a:gd name="connsiteX1" fmla="*/ 432103 w 437081"/>
                <a:gd name="connsiteY1" fmla="*/ 77652 h 362666"/>
                <a:gd name="connsiteX2" fmla="*/ 425447 w 437081"/>
                <a:gd name="connsiteY2" fmla="*/ 63414 h 362666"/>
                <a:gd name="connsiteX3" fmla="*/ 424838 w 437081"/>
                <a:gd name="connsiteY3" fmla="*/ 54322 h 362666"/>
                <a:gd name="connsiteX4" fmla="*/ 418060 w 437081"/>
                <a:gd name="connsiteY4" fmla="*/ 47404 h 362666"/>
                <a:gd name="connsiteX5" fmla="*/ 412986 w 437081"/>
                <a:gd name="connsiteY5" fmla="*/ 27650 h 362666"/>
                <a:gd name="connsiteX6" fmla="*/ 371381 w 437081"/>
                <a:gd name="connsiteY6" fmla="*/ 16788 h 362666"/>
                <a:gd name="connsiteX7" fmla="*/ 330102 w 437081"/>
                <a:gd name="connsiteY7" fmla="*/ 744 h 362666"/>
                <a:gd name="connsiteX8" fmla="*/ 309807 w 437081"/>
                <a:gd name="connsiteY8" fmla="*/ 10069 h 362666"/>
                <a:gd name="connsiteX9" fmla="*/ 279486 w 437081"/>
                <a:gd name="connsiteY9" fmla="*/ 13813 h 362666"/>
                <a:gd name="connsiteX10" fmla="*/ 240561 w 437081"/>
                <a:gd name="connsiteY10" fmla="*/ 11239 h 362666"/>
                <a:gd name="connsiteX11" fmla="*/ 238085 w 437081"/>
                <a:gd name="connsiteY11" fmla="*/ 25578 h 362666"/>
                <a:gd name="connsiteX12" fmla="*/ 199159 w 437081"/>
                <a:gd name="connsiteY12" fmla="*/ 28920 h 362666"/>
                <a:gd name="connsiteX13" fmla="*/ 174805 w 437081"/>
                <a:gd name="connsiteY13" fmla="*/ 46602 h 362666"/>
                <a:gd name="connsiteX14" fmla="*/ 173344 w 437081"/>
                <a:gd name="connsiteY14" fmla="*/ 54757 h 362666"/>
                <a:gd name="connsiteX15" fmla="*/ 159016 w 437081"/>
                <a:gd name="connsiteY15" fmla="*/ 62110 h 362666"/>
                <a:gd name="connsiteX16" fmla="*/ 146108 w 437081"/>
                <a:gd name="connsiteY16" fmla="*/ 77117 h 362666"/>
                <a:gd name="connsiteX17" fmla="*/ 112662 w 437081"/>
                <a:gd name="connsiteY17" fmla="*/ 84838 h 362666"/>
                <a:gd name="connsiteX18" fmla="*/ 95452 w 437081"/>
                <a:gd name="connsiteY18" fmla="*/ 115454 h 362666"/>
                <a:gd name="connsiteX19" fmla="*/ 97482 w 437081"/>
                <a:gd name="connsiteY19" fmla="*/ 128456 h 362666"/>
                <a:gd name="connsiteX20" fmla="*/ 79866 w 437081"/>
                <a:gd name="connsiteY20" fmla="*/ 139720 h 362666"/>
                <a:gd name="connsiteX21" fmla="*/ 45040 w 437081"/>
                <a:gd name="connsiteY21" fmla="*/ 146204 h 362666"/>
                <a:gd name="connsiteX22" fmla="*/ 36516 w 437081"/>
                <a:gd name="connsiteY22" fmla="*/ 169400 h 362666"/>
                <a:gd name="connsiteX23" fmla="*/ 33147 w 437081"/>
                <a:gd name="connsiteY23" fmla="*/ 179427 h 362666"/>
                <a:gd name="connsiteX24" fmla="*/ 38383 w 437081"/>
                <a:gd name="connsiteY24" fmla="*/ 191259 h 362666"/>
                <a:gd name="connsiteX25" fmla="*/ 45567 w 437081"/>
                <a:gd name="connsiteY25" fmla="*/ 206233 h 362666"/>
                <a:gd name="connsiteX26" fmla="*/ 48855 w 437081"/>
                <a:gd name="connsiteY26" fmla="*/ 220772 h 362666"/>
                <a:gd name="connsiteX27" fmla="*/ 49424 w 437081"/>
                <a:gd name="connsiteY27" fmla="*/ 233540 h 362666"/>
                <a:gd name="connsiteX28" fmla="*/ 39195 w 437081"/>
                <a:gd name="connsiteY28" fmla="*/ 247110 h 362666"/>
                <a:gd name="connsiteX29" fmla="*/ 22269 w 437081"/>
                <a:gd name="connsiteY29" fmla="*/ 256669 h 362666"/>
                <a:gd name="connsiteX30" fmla="*/ 16058 w 437081"/>
                <a:gd name="connsiteY30" fmla="*/ 273380 h 362666"/>
                <a:gd name="connsiteX31" fmla="*/ 2340 w 437081"/>
                <a:gd name="connsiteY31" fmla="*/ 282773 h 362666"/>
                <a:gd name="connsiteX32" fmla="*/ 22269 w 437081"/>
                <a:gd name="connsiteY32" fmla="*/ 302526 h 362666"/>
                <a:gd name="connsiteX33" fmla="*/ 44269 w 437081"/>
                <a:gd name="connsiteY33" fmla="*/ 325622 h 362666"/>
                <a:gd name="connsiteX34" fmla="*/ 52387 w 437081"/>
                <a:gd name="connsiteY34" fmla="*/ 342801 h 362666"/>
                <a:gd name="connsiteX35" fmla="*/ 60910 w 437081"/>
                <a:gd name="connsiteY35" fmla="*/ 360783 h 362666"/>
                <a:gd name="connsiteX36" fmla="*/ 94559 w 437081"/>
                <a:gd name="connsiteY36" fmla="*/ 360148 h 362666"/>
                <a:gd name="connsiteX37" fmla="*/ 104504 w 437081"/>
                <a:gd name="connsiteY37" fmla="*/ 347447 h 362666"/>
                <a:gd name="connsiteX38" fmla="*/ 138234 w 437081"/>
                <a:gd name="connsiteY38" fmla="*/ 344506 h 362666"/>
                <a:gd name="connsiteX39" fmla="*/ 160112 w 437081"/>
                <a:gd name="connsiteY39" fmla="*/ 334713 h 362666"/>
                <a:gd name="connsiteX40" fmla="*/ 175130 w 437081"/>
                <a:gd name="connsiteY40" fmla="*/ 337721 h 362666"/>
                <a:gd name="connsiteX41" fmla="*/ 190514 w 437081"/>
                <a:gd name="connsiteY41" fmla="*/ 319538 h 362666"/>
                <a:gd name="connsiteX42" fmla="*/ 171152 w 437081"/>
                <a:gd name="connsiteY42" fmla="*/ 326223 h 362666"/>
                <a:gd name="connsiteX43" fmla="*/ 178499 w 437081"/>
                <a:gd name="connsiteY43" fmla="*/ 310648 h 362666"/>
                <a:gd name="connsiteX44" fmla="*/ 183167 w 437081"/>
                <a:gd name="connsiteY44" fmla="*/ 288956 h 362666"/>
                <a:gd name="connsiteX45" fmla="*/ 215638 w 437081"/>
                <a:gd name="connsiteY45" fmla="*/ 276455 h 362666"/>
                <a:gd name="connsiteX46" fmla="*/ 236583 w 437081"/>
                <a:gd name="connsiteY46" fmla="*/ 261682 h 362666"/>
                <a:gd name="connsiteX47" fmla="*/ 253671 w 437081"/>
                <a:gd name="connsiteY47" fmla="*/ 250485 h 362666"/>
                <a:gd name="connsiteX48" fmla="*/ 225989 w 437081"/>
                <a:gd name="connsiteY48" fmla="*/ 234542 h 362666"/>
                <a:gd name="connsiteX49" fmla="*/ 199037 w 437081"/>
                <a:gd name="connsiteY49" fmla="*/ 227523 h 362666"/>
                <a:gd name="connsiteX50" fmla="*/ 199037 w 437081"/>
                <a:gd name="connsiteY50" fmla="*/ 203592 h 362666"/>
                <a:gd name="connsiteX51" fmla="*/ 212513 w 437081"/>
                <a:gd name="connsiteY51" fmla="*/ 182903 h 362666"/>
                <a:gd name="connsiteX52" fmla="*/ 243686 w 437081"/>
                <a:gd name="connsiteY52" fmla="*/ 170269 h 362666"/>
                <a:gd name="connsiteX53" fmla="*/ 327829 w 437081"/>
                <a:gd name="connsiteY53" fmla="*/ 142895 h 362666"/>
                <a:gd name="connsiteX54" fmla="*/ 345891 w 437081"/>
                <a:gd name="connsiteY54" fmla="*/ 129960 h 362666"/>
                <a:gd name="connsiteX55" fmla="*/ 352426 w 437081"/>
                <a:gd name="connsiteY55" fmla="*/ 111677 h 362666"/>
                <a:gd name="connsiteX56" fmla="*/ 437015 w 437081"/>
                <a:gd name="connsiteY56" fmla="*/ 97706 h 362666"/>
                <a:gd name="connsiteX57" fmla="*/ 432672 w 437081"/>
                <a:gd name="connsiteY57" fmla="*/ 89116 h 362666"/>
                <a:gd name="connsiteX58" fmla="*/ 248638 w 437081"/>
                <a:gd name="connsiteY58" fmla="*/ 304531 h 362666"/>
                <a:gd name="connsiteX59" fmla="*/ 224812 w 437081"/>
                <a:gd name="connsiteY59" fmla="*/ 326123 h 362666"/>
                <a:gd name="connsiteX60" fmla="*/ 248638 w 437081"/>
                <a:gd name="connsiteY60" fmla="*/ 304531 h 362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37081" h="362666">
                  <a:moveTo>
                    <a:pt x="432347" y="89049"/>
                  </a:moveTo>
                  <a:cubicBezTo>
                    <a:pt x="418669" y="81596"/>
                    <a:pt x="426665" y="82899"/>
                    <a:pt x="432103" y="77652"/>
                  </a:cubicBezTo>
                  <a:cubicBezTo>
                    <a:pt x="439085" y="70967"/>
                    <a:pt x="430034" y="68828"/>
                    <a:pt x="425447" y="63414"/>
                  </a:cubicBezTo>
                  <a:cubicBezTo>
                    <a:pt x="423052" y="60539"/>
                    <a:pt x="424838" y="57197"/>
                    <a:pt x="424838" y="54322"/>
                  </a:cubicBezTo>
                  <a:cubicBezTo>
                    <a:pt x="424838" y="50579"/>
                    <a:pt x="420414" y="50545"/>
                    <a:pt x="418060" y="47404"/>
                  </a:cubicBezTo>
                  <a:cubicBezTo>
                    <a:pt x="412458" y="39984"/>
                    <a:pt x="428857" y="33433"/>
                    <a:pt x="412986" y="27650"/>
                  </a:cubicBezTo>
                  <a:cubicBezTo>
                    <a:pt x="400322" y="23038"/>
                    <a:pt x="385141" y="20397"/>
                    <a:pt x="371381" y="16788"/>
                  </a:cubicBezTo>
                  <a:cubicBezTo>
                    <a:pt x="355470" y="12676"/>
                    <a:pt x="345201" y="5323"/>
                    <a:pt x="330102" y="744"/>
                  </a:cubicBezTo>
                  <a:cubicBezTo>
                    <a:pt x="316463" y="-3400"/>
                    <a:pt x="310984" y="5357"/>
                    <a:pt x="309807" y="10069"/>
                  </a:cubicBezTo>
                  <a:cubicBezTo>
                    <a:pt x="306560" y="22436"/>
                    <a:pt x="296493" y="16520"/>
                    <a:pt x="279486" y="13813"/>
                  </a:cubicBezTo>
                  <a:cubicBezTo>
                    <a:pt x="274534" y="12977"/>
                    <a:pt x="242712" y="9969"/>
                    <a:pt x="240561" y="11239"/>
                  </a:cubicBezTo>
                  <a:cubicBezTo>
                    <a:pt x="233944" y="15050"/>
                    <a:pt x="245147" y="22002"/>
                    <a:pt x="238085" y="25578"/>
                  </a:cubicBezTo>
                  <a:cubicBezTo>
                    <a:pt x="229439" y="29923"/>
                    <a:pt x="210200" y="26514"/>
                    <a:pt x="199159" y="28920"/>
                  </a:cubicBezTo>
                  <a:cubicBezTo>
                    <a:pt x="189458" y="31093"/>
                    <a:pt x="177241" y="41521"/>
                    <a:pt x="174805" y="46602"/>
                  </a:cubicBezTo>
                  <a:cubicBezTo>
                    <a:pt x="172938" y="50211"/>
                    <a:pt x="180569" y="51080"/>
                    <a:pt x="173344" y="54757"/>
                  </a:cubicBezTo>
                  <a:cubicBezTo>
                    <a:pt x="168270" y="56812"/>
                    <a:pt x="163481" y="59276"/>
                    <a:pt x="159016" y="62110"/>
                  </a:cubicBezTo>
                  <a:cubicBezTo>
                    <a:pt x="151831" y="67658"/>
                    <a:pt x="150898" y="71636"/>
                    <a:pt x="146108" y="77117"/>
                  </a:cubicBezTo>
                  <a:cubicBezTo>
                    <a:pt x="140304" y="84036"/>
                    <a:pt x="114610" y="77786"/>
                    <a:pt x="112662" y="84838"/>
                  </a:cubicBezTo>
                  <a:cubicBezTo>
                    <a:pt x="109131" y="97338"/>
                    <a:pt x="111688" y="104458"/>
                    <a:pt x="95452" y="115454"/>
                  </a:cubicBezTo>
                  <a:cubicBezTo>
                    <a:pt x="86928" y="121236"/>
                    <a:pt x="80596" y="125481"/>
                    <a:pt x="97482" y="128456"/>
                  </a:cubicBezTo>
                  <a:cubicBezTo>
                    <a:pt x="110146" y="130695"/>
                    <a:pt x="95168" y="142360"/>
                    <a:pt x="79866" y="139720"/>
                  </a:cubicBezTo>
                  <a:cubicBezTo>
                    <a:pt x="67689" y="137905"/>
                    <a:pt x="55106" y="140244"/>
                    <a:pt x="45040" y="146204"/>
                  </a:cubicBezTo>
                  <a:cubicBezTo>
                    <a:pt x="28520" y="155295"/>
                    <a:pt x="39195" y="160008"/>
                    <a:pt x="36516" y="169400"/>
                  </a:cubicBezTo>
                  <a:cubicBezTo>
                    <a:pt x="35501" y="172742"/>
                    <a:pt x="32457" y="175750"/>
                    <a:pt x="33147" y="179427"/>
                  </a:cubicBezTo>
                  <a:cubicBezTo>
                    <a:pt x="33837" y="183103"/>
                    <a:pt x="40534" y="186914"/>
                    <a:pt x="38383" y="191259"/>
                  </a:cubicBezTo>
                  <a:cubicBezTo>
                    <a:pt x="35014" y="197943"/>
                    <a:pt x="30712" y="202188"/>
                    <a:pt x="45567" y="206233"/>
                  </a:cubicBezTo>
                  <a:cubicBezTo>
                    <a:pt x="55918" y="209074"/>
                    <a:pt x="64442" y="217764"/>
                    <a:pt x="48855" y="220772"/>
                  </a:cubicBezTo>
                  <a:cubicBezTo>
                    <a:pt x="30590" y="224281"/>
                    <a:pt x="47597" y="227189"/>
                    <a:pt x="49424" y="233540"/>
                  </a:cubicBezTo>
                  <a:cubicBezTo>
                    <a:pt x="50722" y="238252"/>
                    <a:pt x="51534" y="246642"/>
                    <a:pt x="39195" y="247110"/>
                  </a:cubicBezTo>
                  <a:cubicBezTo>
                    <a:pt x="21538" y="247745"/>
                    <a:pt x="26774" y="248781"/>
                    <a:pt x="22269" y="256669"/>
                  </a:cubicBezTo>
                  <a:cubicBezTo>
                    <a:pt x="19265" y="261983"/>
                    <a:pt x="20645" y="268434"/>
                    <a:pt x="16058" y="273380"/>
                  </a:cubicBezTo>
                  <a:cubicBezTo>
                    <a:pt x="11472" y="278327"/>
                    <a:pt x="-6469" y="268634"/>
                    <a:pt x="2340" y="282773"/>
                  </a:cubicBezTo>
                  <a:cubicBezTo>
                    <a:pt x="7373" y="290828"/>
                    <a:pt x="20767" y="293635"/>
                    <a:pt x="22269" y="302526"/>
                  </a:cubicBezTo>
                  <a:cubicBezTo>
                    <a:pt x="23324" y="308709"/>
                    <a:pt x="34771" y="321444"/>
                    <a:pt x="44269" y="325622"/>
                  </a:cubicBezTo>
                  <a:cubicBezTo>
                    <a:pt x="56648" y="331070"/>
                    <a:pt x="45080" y="339893"/>
                    <a:pt x="52387" y="342801"/>
                  </a:cubicBezTo>
                  <a:cubicBezTo>
                    <a:pt x="66349" y="348350"/>
                    <a:pt x="53726" y="353330"/>
                    <a:pt x="60910" y="360783"/>
                  </a:cubicBezTo>
                  <a:cubicBezTo>
                    <a:pt x="64076" y="364126"/>
                    <a:pt x="89729" y="361151"/>
                    <a:pt x="94559" y="360148"/>
                  </a:cubicBezTo>
                  <a:cubicBezTo>
                    <a:pt x="105518" y="357875"/>
                    <a:pt x="93707" y="349219"/>
                    <a:pt x="104504" y="347447"/>
                  </a:cubicBezTo>
                  <a:cubicBezTo>
                    <a:pt x="117614" y="345275"/>
                    <a:pt x="121024" y="340462"/>
                    <a:pt x="138234" y="344506"/>
                  </a:cubicBezTo>
                  <a:cubicBezTo>
                    <a:pt x="158001" y="349252"/>
                    <a:pt x="150411" y="336016"/>
                    <a:pt x="160112" y="334713"/>
                  </a:cubicBezTo>
                  <a:cubicBezTo>
                    <a:pt x="167824" y="333677"/>
                    <a:pt x="166525" y="343670"/>
                    <a:pt x="175130" y="337721"/>
                  </a:cubicBezTo>
                  <a:cubicBezTo>
                    <a:pt x="177646" y="335983"/>
                    <a:pt x="195628" y="321210"/>
                    <a:pt x="190514" y="319538"/>
                  </a:cubicBezTo>
                  <a:cubicBezTo>
                    <a:pt x="186170" y="318168"/>
                    <a:pt x="173669" y="328329"/>
                    <a:pt x="171152" y="326223"/>
                  </a:cubicBezTo>
                  <a:cubicBezTo>
                    <a:pt x="166687" y="322212"/>
                    <a:pt x="176632" y="314525"/>
                    <a:pt x="178499" y="310648"/>
                  </a:cubicBezTo>
                  <a:cubicBezTo>
                    <a:pt x="181909" y="303562"/>
                    <a:pt x="179920" y="296008"/>
                    <a:pt x="183167" y="288956"/>
                  </a:cubicBezTo>
                  <a:cubicBezTo>
                    <a:pt x="187510" y="279597"/>
                    <a:pt x="201635" y="280567"/>
                    <a:pt x="215638" y="276455"/>
                  </a:cubicBezTo>
                  <a:cubicBezTo>
                    <a:pt x="230616" y="272077"/>
                    <a:pt x="227815" y="266729"/>
                    <a:pt x="236583" y="261682"/>
                  </a:cubicBezTo>
                  <a:cubicBezTo>
                    <a:pt x="241210" y="259042"/>
                    <a:pt x="257487" y="254998"/>
                    <a:pt x="253671" y="250485"/>
                  </a:cubicBezTo>
                  <a:cubicBezTo>
                    <a:pt x="248475" y="244402"/>
                    <a:pt x="236015" y="238720"/>
                    <a:pt x="225989" y="234542"/>
                  </a:cubicBezTo>
                  <a:cubicBezTo>
                    <a:pt x="217303" y="230932"/>
                    <a:pt x="198834" y="233640"/>
                    <a:pt x="199037" y="227523"/>
                  </a:cubicBezTo>
                  <a:cubicBezTo>
                    <a:pt x="199281" y="219769"/>
                    <a:pt x="190635" y="210578"/>
                    <a:pt x="199037" y="203592"/>
                  </a:cubicBezTo>
                  <a:cubicBezTo>
                    <a:pt x="206465" y="197342"/>
                    <a:pt x="204476" y="188117"/>
                    <a:pt x="212513" y="182903"/>
                  </a:cubicBezTo>
                  <a:cubicBezTo>
                    <a:pt x="220550" y="177689"/>
                    <a:pt x="236867" y="175483"/>
                    <a:pt x="243686" y="170269"/>
                  </a:cubicBezTo>
                  <a:cubicBezTo>
                    <a:pt x="262235" y="155897"/>
                    <a:pt x="299538" y="152253"/>
                    <a:pt x="327829" y="142895"/>
                  </a:cubicBezTo>
                  <a:cubicBezTo>
                    <a:pt x="335947" y="140221"/>
                    <a:pt x="351817" y="135943"/>
                    <a:pt x="345891" y="129960"/>
                  </a:cubicBezTo>
                  <a:cubicBezTo>
                    <a:pt x="334648" y="118529"/>
                    <a:pt x="349585" y="122005"/>
                    <a:pt x="352426" y="111677"/>
                  </a:cubicBezTo>
                  <a:cubicBezTo>
                    <a:pt x="356932" y="94965"/>
                    <a:pt x="409252" y="93127"/>
                    <a:pt x="437015" y="97706"/>
                  </a:cubicBezTo>
                  <a:cubicBezTo>
                    <a:pt x="437137" y="94457"/>
                    <a:pt x="435554" y="91322"/>
                    <a:pt x="432672" y="89116"/>
                  </a:cubicBezTo>
                  <a:close/>
                  <a:moveTo>
                    <a:pt x="248638" y="304531"/>
                  </a:moveTo>
                  <a:cubicBezTo>
                    <a:pt x="229561" y="304297"/>
                    <a:pt x="220225" y="322914"/>
                    <a:pt x="224812" y="326123"/>
                  </a:cubicBezTo>
                  <a:cubicBezTo>
                    <a:pt x="228668" y="328730"/>
                    <a:pt x="267634" y="304799"/>
                    <a:pt x="248638" y="30453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B39C09FF-9866-42C2-8148-ADDBB9CC5AE4}"/>
                </a:ext>
              </a:extLst>
            </p:cNvPr>
            <p:cNvSpPr/>
            <p:nvPr/>
          </p:nvSpPr>
          <p:spPr>
            <a:xfrm>
              <a:off x="6485433" y="3690407"/>
              <a:ext cx="205999" cy="54197"/>
            </a:xfrm>
            <a:custGeom>
              <a:avLst/>
              <a:gdLst>
                <a:gd name="connsiteX0" fmla="*/ 195730 w 205999"/>
                <a:gd name="connsiteY0" fmla="*/ 16591 h 54197"/>
                <a:gd name="connsiteX1" fmla="*/ 203604 w 205999"/>
                <a:gd name="connsiteY1" fmla="*/ 5795 h 54197"/>
                <a:gd name="connsiteX2" fmla="*/ 138376 w 205999"/>
                <a:gd name="connsiteY2" fmla="*/ 414 h 54197"/>
                <a:gd name="connsiteX3" fmla="*/ 71444 w 205999"/>
                <a:gd name="connsiteY3" fmla="*/ 2587 h 54197"/>
                <a:gd name="connsiteX4" fmla="*/ 46157 w 205999"/>
                <a:gd name="connsiteY4" fmla="*/ 9271 h 54197"/>
                <a:gd name="connsiteX5" fmla="*/ 50581 w 205999"/>
                <a:gd name="connsiteY5" fmla="*/ 20502 h 54197"/>
                <a:gd name="connsiteX6" fmla="*/ 78994 w 205999"/>
                <a:gd name="connsiteY6" fmla="*/ 37815 h 54197"/>
                <a:gd name="connsiteX7" fmla="*/ 131314 w 205999"/>
                <a:gd name="connsiteY7" fmla="*/ 46037 h 54197"/>
                <a:gd name="connsiteX8" fmla="*/ 180914 w 205999"/>
                <a:gd name="connsiteY8" fmla="*/ 53858 h 54197"/>
                <a:gd name="connsiteX9" fmla="*/ 188140 w 205999"/>
                <a:gd name="connsiteY9" fmla="*/ 40823 h 54197"/>
                <a:gd name="connsiteX10" fmla="*/ 195852 w 205999"/>
                <a:gd name="connsiteY10" fmla="*/ 16625 h 54197"/>
                <a:gd name="connsiteX11" fmla="*/ 17135 w 205999"/>
                <a:gd name="connsiteY11" fmla="*/ 20234 h 54197"/>
                <a:gd name="connsiteX12" fmla="*/ 12791 w 205999"/>
                <a:gd name="connsiteY12" fmla="*/ 33035 h 54197"/>
                <a:gd name="connsiteX13" fmla="*/ 17135 w 205999"/>
                <a:gd name="connsiteY13" fmla="*/ 20234 h 54197"/>
                <a:gd name="connsiteX14" fmla="*/ 32640 w 205999"/>
                <a:gd name="connsiteY14" fmla="*/ 13550 h 54197"/>
                <a:gd name="connsiteX15" fmla="*/ 10965 w 205999"/>
                <a:gd name="connsiteY15" fmla="*/ 13984 h 54197"/>
                <a:gd name="connsiteX16" fmla="*/ 32559 w 205999"/>
                <a:gd name="connsiteY16" fmla="*/ 13516 h 5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5999" h="54197">
                  <a:moveTo>
                    <a:pt x="195730" y="16591"/>
                  </a:moveTo>
                  <a:cubicBezTo>
                    <a:pt x="200113" y="12447"/>
                    <a:pt x="210586" y="11678"/>
                    <a:pt x="203604" y="5795"/>
                  </a:cubicBezTo>
                  <a:cubicBezTo>
                    <a:pt x="187368" y="11477"/>
                    <a:pt x="156398" y="1316"/>
                    <a:pt x="138376" y="414"/>
                  </a:cubicBezTo>
                  <a:cubicBezTo>
                    <a:pt x="119299" y="-555"/>
                    <a:pt x="88654" y="-1224"/>
                    <a:pt x="71444" y="2587"/>
                  </a:cubicBezTo>
                  <a:cubicBezTo>
                    <a:pt x="62798" y="4258"/>
                    <a:pt x="54356" y="6491"/>
                    <a:pt x="46157" y="9271"/>
                  </a:cubicBezTo>
                  <a:cubicBezTo>
                    <a:pt x="43924" y="10140"/>
                    <a:pt x="50216" y="18095"/>
                    <a:pt x="50581" y="20502"/>
                  </a:cubicBezTo>
                  <a:cubicBezTo>
                    <a:pt x="52732" y="31498"/>
                    <a:pt x="96041" y="29493"/>
                    <a:pt x="78994" y="37815"/>
                  </a:cubicBezTo>
                  <a:cubicBezTo>
                    <a:pt x="103916" y="37815"/>
                    <a:pt x="112236" y="38417"/>
                    <a:pt x="131314" y="46037"/>
                  </a:cubicBezTo>
                  <a:cubicBezTo>
                    <a:pt x="146535" y="52120"/>
                    <a:pt x="162690" y="51652"/>
                    <a:pt x="180914" y="53858"/>
                  </a:cubicBezTo>
                  <a:cubicBezTo>
                    <a:pt x="175476" y="45503"/>
                    <a:pt x="199058" y="51051"/>
                    <a:pt x="188140" y="40823"/>
                  </a:cubicBezTo>
                  <a:cubicBezTo>
                    <a:pt x="177221" y="30596"/>
                    <a:pt x="187449" y="24512"/>
                    <a:pt x="195852" y="16625"/>
                  </a:cubicBezTo>
                  <a:close/>
                  <a:moveTo>
                    <a:pt x="17135" y="20234"/>
                  </a:moveTo>
                  <a:cubicBezTo>
                    <a:pt x="1427" y="21805"/>
                    <a:pt x="-10020" y="38651"/>
                    <a:pt x="12791" y="33035"/>
                  </a:cubicBezTo>
                  <a:cubicBezTo>
                    <a:pt x="29271" y="29025"/>
                    <a:pt x="56304" y="16324"/>
                    <a:pt x="17135" y="20234"/>
                  </a:cubicBezTo>
                  <a:close/>
                  <a:moveTo>
                    <a:pt x="32640" y="13550"/>
                  </a:moveTo>
                  <a:cubicBezTo>
                    <a:pt x="36943" y="9940"/>
                    <a:pt x="3740" y="10207"/>
                    <a:pt x="10965" y="13984"/>
                  </a:cubicBezTo>
                  <a:cubicBezTo>
                    <a:pt x="16283" y="16691"/>
                    <a:pt x="28256" y="17126"/>
                    <a:pt x="32559" y="1351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1DD24637-37B8-4A8B-800F-97AE7FC1486D}"/>
                </a:ext>
              </a:extLst>
            </p:cNvPr>
            <p:cNvSpPr/>
            <p:nvPr/>
          </p:nvSpPr>
          <p:spPr>
            <a:xfrm>
              <a:off x="6740807" y="4790963"/>
              <a:ext cx="238344" cy="176141"/>
            </a:xfrm>
            <a:custGeom>
              <a:avLst/>
              <a:gdLst>
                <a:gd name="connsiteX0" fmla="*/ 208168 w 238344"/>
                <a:gd name="connsiteY0" fmla="*/ 52804 h 176141"/>
                <a:gd name="connsiteX1" fmla="*/ 238285 w 238344"/>
                <a:gd name="connsiteY1" fmla="*/ 31614 h 176141"/>
                <a:gd name="connsiteX2" fmla="*/ 213526 w 238344"/>
                <a:gd name="connsiteY2" fmla="*/ 30410 h 176141"/>
                <a:gd name="connsiteX3" fmla="*/ 192216 w 238344"/>
                <a:gd name="connsiteY3" fmla="*/ 27068 h 176141"/>
                <a:gd name="connsiteX4" fmla="*/ 167862 w 238344"/>
                <a:gd name="connsiteY4" fmla="*/ 35691 h 176141"/>
                <a:gd name="connsiteX5" fmla="*/ 147567 w 238344"/>
                <a:gd name="connsiteY5" fmla="*/ 31213 h 176141"/>
                <a:gd name="connsiteX6" fmla="*/ 102350 w 238344"/>
                <a:gd name="connsiteY6" fmla="*/ 14768 h 176141"/>
                <a:gd name="connsiteX7" fmla="*/ 77063 w 238344"/>
                <a:gd name="connsiteY7" fmla="*/ 9688 h 176141"/>
                <a:gd name="connsiteX8" fmla="*/ 53967 w 238344"/>
                <a:gd name="connsiteY8" fmla="*/ 764 h 176141"/>
                <a:gd name="connsiteX9" fmla="*/ 13661 w 238344"/>
                <a:gd name="connsiteY9" fmla="*/ 9788 h 176141"/>
                <a:gd name="connsiteX10" fmla="*/ 24864 w 238344"/>
                <a:gd name="connsiteY10" fmla="*/ 17242 h 176141"/>
                <a:gd name="connsiteX11" fmla="*/ 26853 w 238344"/>
                <a:gd name="connsiteY11" fmla="*/ 27035 h 176141"/>
                <a:gd name="connsiteX12" fmla="*/ 34241 w 238344"/>
                <a:gd name="connsiteY12" fmla="*/ 34789 h 176141"/>
                <a:gd name="connsiteX13" fmla="*/ 36351 w 238344"/>
                <a:gd name="connsiteY13" fmla="*/ 45986 h 176141"/>
                <a:gd name="connsiteX14" fmla="*/ 4326 w 238344"/>
                <a:gd name="connsiteY14" fmla="*/ 79410 h 176141"/>
                <a:gd name="connsiteX15" fmla="*/ 2702 w 238344"/>
                <a:gd name="connsiteY15" fmla="*/ 98962 h 176141"/>
                <a:gd name="connsiteX16" fmla="*/ 55469 w 238344"/>
                <a:gd name="connsiteY16" fmla="*/ 121189 h 176141"/>
                <a:gd name="connsiteX17" fmla="*/ 101173 w 238344"/>
                <a:gd name="connsiteY17" fmla="*/ 140876 h 176141"/>
                <a:gd name="connsiteX18" fmla="*/ 99387 w 238344"/>
                <a:gd name="connsiteY18" fmla="*/ 151738 h 176141"/>
                <a:gd name="connsiteX19" fmla="*/ 142006 w 238344"/>
                <a:gd name="connsiteY19" fmla="*/ 175803 h 176141"/>
                <a:gd name="connsiteX20" fmla="*/ 167943 w 238344"/>
                <a:gd name="connsiteY20" fmla="*/ 147460 h 176141"/>
                <a:gd name="connsiteX21" fmla="*/ 193271 w 238344"/>
                <a:gd name="connsiteY21" fmla="*/ 134625 h 176141"/>
                <a:gd name="connsiteX22" fmla="*/ 211536 w 238344"/>
                <a:gd name="connsiteY22" fmla="*/ 127740 h 176141"/>
                <a:gd name="connsiteX23" fmla="*/ 200374 w 238344"/>
                <a:gd name="connsiteY23" fmla="*/ 113468 h 176141"/>
                <a:gd name="connsiteX24" fmla="*/ 208168 w 238344"/>
                <a:gd name="connsiteY24" fmla="*/ 52804 h 17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8344" h="176141">
                  <a:moveTo>
                    <a:pt x="208168" y="52804"/>
                  </a:moveTo>
                  <a:cubicBezTo>
                    <a:pt x="218031" y="45618"/>
                    <a:pt x="228016" y="38566"/>
                    <a:pt x="238285" y="31614"/>
                  </a:cubicBezTo>
                  <a:cubicBezTo>
                    <a:pt x="230857" y="31814"/>
                    <a:pt x="220101" y="34288"/>
                    <a:pt x="213526" y="30410"/>
                  </a:cubicBezTo>
                  <a:cubicBezTo>
                    <a:pt x="205773" y="25831"/>
                    <a:pt x="203784" y="25163"/>
                    <a:pt x="192216" y="27068"/>
                  </a:cubicBezTo>
                  <a:cubicBezTo>
                    <a:pt x="182149" y="28639"/>
                    <a:pt x="177035" y="33753"/>
                    <a:pt x="167862" y="35691"/>
                  </a:cubicBezTo>
                  <a:cubicBezTo>
                    <a:pt x="164493" y="36427"/>
                    <a:pt x="151139" y="31881"/>
                    <a:pt x="147567" y="31213"/>
                  </a:cubicBezTo>
                  <a:cubicBezTo>
                    <a:pt x="129383" y="27870"/>
                    <a:pt x="115826" y="23893"/>
                    <a:pt x="102350" y="14768"/>
                  </a:cubicBezTo>
                  <a:cubicBezTo>
                    <a:pt x="96465" y="10758"/>
                    <a:pt x="84775" y="11025"/>
                    <a:pt x="77063" y="9688"/>
                  </a:cubicBezTo>
                  <a:cubicBezTo>
                    <a:pt x="68052" y="8117"/>
                    <a:pt x="62166" y="2602"/>
                    <a:pt x="53967" y="764"/>
                  </a:cubicBezTo>
                  <a:cubicBezTo>
                    <a:pt x="35742" y="-3314"/>
                    <a:pt x="25798" y="4875"/>
                    <a:pt x="13661" y="9788"/>
                  </a:cubicBezTo>
                  <a:cubicBezTo>
                    <a:pt x="13661" y="11392"/>
                    <a:pt x="22916" y="15938"/>
                    <a:pt x="24864" y="17242"/>
                  </a:cubicBezTo>
                  <a:cubicBezTo>
                    <a:pt x="27746" y="19180"/>
                    <a:pt x="26569" y="24628"/>
                    <a:pt x="26853" y="27035"/>
                  </a:cubicBezTo>
                  <a:cubicBezTo>
                    <a:pt x="27300" y="30979"/>
                    <a:pt x="29451" y="31681"/>
                    <a:pt x="34241" y="34789"/>
                  </a:cubicBezTo>
                  <a:cubicBezTo>
                    <a:pt x="39842" y="38432"/>
                    <a:pt x="37569" y="41106"/>
                    <a:pt x="36351" y="45986"/>
                  </a:cubicBezTo>
                  <a:cubicBezTo>
                    <a:pt x="32779" y="60458"/>
                    <a:pt x="13864" y="67043"/>
                    <a:pt x="4326" y="79410"/>
                  </a:cubicBezTo>
                  <a:cubicBezTo>
                    <a:pt x="49340" y="89971"/>
                    <a:pt x="-13574" y="92177"/>
                    <a:pt x="2702" y="98962"/>
                  </a:cubicBezTo>
                  <a:cubicBezTo>
                    <a:pt x="20318" y="106315"/>
                    <a:pt x="37894" y="113725"/>
                    <a:pt x="55469" y="121189"/>
                  </a:cubicBezTo>
                  <a:cubicBezTo>
                    <a:pt x="70771" y="127717"/>
                    <a:pt x="85993" y="134281"/>
                    <a:pt x="101173" y="140876"/>
                  </a:cubicBezTo>
                  <a:cubicBezTo>
                    <a:pt x="104014" y="142112"/>
                    <a:pt x="96181" y="149900"/>
                    <a:pt x="99387" y="151738"/>
                  </a:cubicBezTo>
                  <a:cubicBezTo>
                    <a:pt x="113513" y="159827"/>
                    <a:pt x="127719" y="167848"/>
                    <a:pt x="142006" y="175803"/>
                  </a:cubicBezTo>
                  <a:cubicBezTo>
                    <a:pt x="150124" y="166144"/>
                    <a:pt x="158648" y="156651"/>
                    <a:pt x="167943" y="147460"/>
                  </a:cubicBezTo>
                  <a:cubicBezTo>
                    <a:pt x="174965" y="140575"/>
                    <a:pt x="184504" y="139739"/>
                    <a:pt x="193271" y="134625"/>
                  </a:cubicBezTo>
                  <a:cubicBezTo>
                    <a:pt x="196072" y="132987"/>
                    <a:pt x="215799" y="133088"/>
                    <a:pt x="211536" y="127740"/>
                  </a:cubicBezTo>
                  <a:cubicBezTo>
                    <a:pt x="208898" y="124398"/>
                    <a:pt x="199928" y="116944"/>
                    <a:pt x="200374" y="113468"/>
                  </a:cubicBezTo>
                  <a:cubicBezTo>
                    <a:pt x="202972" y="93237"/>
                    <a:pt x="205570" y="73015"/>
                    <a:pt x="208168" y="5280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DC5AC8AC-F577-49F8-B1A6-C22DC197E408}"/>
                </a:ext>
              </a:extLst>
            </p:cNvPr>
            <p:cNvSpPr/>
            <p:nvPr/>
          </p:nvSpPr>
          <p:spPr>
            <a:xfrm>
              <a:off x="6618227" y="4801043"/>
              <a:ext cx="160371" cy="86995"/>
            </a:xfrm>
            <a:custGeom>
              <a:avLst/>
              <a:gdLst>
                <a:gd name="connsiteX0" fmla="*/ 149919 w 160371"/>
                <a:gd name="connsiteY0" fmla="*/ 20097 h 86995"/>
                <a:gd name="connsiteX1" fmla="*/ 147565 w 160371"/>
                <a:gd name="connsiteY1" fmla="*/ 7095 h 86995"/>
                <a:gd name="connsiteX2" fmla="*/ 137255 w 160371"/>
                <a:gd name="connsiteY2" fmla="*/ 243 h 86995"/>
                <a:gd name="connsiteX3" fmla="*/ 123699 w 160371"/>
                <a:gd name="connsiteY3" fmla="*/ 5691 h 86995"/>
                <a:gd name="connsiteX4" fmla="*/ 87168 w 160371"/>
                <a:gd name="connsiteY4" fmla="*/ 6460 h 86995"/>
                <a:gd name="connsiteX5" fmla="*/ 73935 w 160371"/>
                <a:gd name="connsiteY5" fmla="*/ 2215 h 86995"/>
                <a:gd name="connsiteX6" fmla="*/ 54087 w 160371"/>
                <a:gd name="connsiteY6" fmla="*/ 2950 h 86995"/>
                <a:gd name="connsiteX7" fmla="*/ 44305 w 160371"/>
                <a:gd name="connsiteY7" fmla="*/ 18292 h 86995"/>
                <a:gd name="connsiteX8" fmla="*/ 52870 w 160371"/>
                <a:gd name="connsiteY8" fmla="*/ 27216 h 86995"/>
                <a:gd name="connsiteX9" fmla="*/ 41707 w 160371"/>
                <a:gd name="connsiteY9" fmla="*/ 37243 h 86995"/>
                <a:gd name="connsiteX10" fmla="*/ 15405 w 160371"/>
                <a:gd name="connsiteY10" fmla="*/ 53286 h 86995"/>
                <a:gd name="connsiteX11" fmla="*/ 6800 w 160371"/>
                <a:gd name="connsiteY11" fmla="*/ 69196 h 86995"/>
                <a:gd name="connsiteX12" fmla="*/ -60 w 160371"/>
                <a:gd name="connsiteY12" fmla="*/ 86309 h 86995"/>
                <a:gd name="connsiteX13" fmla="*/ 44346 w 160371"/>
                <a:gd name="connsiteY13" fmla="*/ 82365 h 86995"/>
                <a:gd name="connsiteX14" fmla="*/ 65128 w 160371"/>
                <a:gd name="connsiteY14" fmla="*/ 82766 h 86995"/>
                <a:gd name="connsiteX15" fmla="*/ 89482 w 160371"/>
                <a:gd name="connsiteY15" fmla="*/ 65887 h 86995"/>
                <a:gd name="connsiteX16" fmla="*/ 126743 w 160371"/>
                <a:gd name="connsiteY16" fmla="*/ 69229 h 86995"/>
                <a:gd name="connsiteX17" fmla="*/ 148824 w 160371"/>
                <a:gd name="connsiteY17" fmla="*/ 51247 h 86995"/>
                <a:gd name="connsiteX18" fmla="*/ 160270 w 160371"/>
                <a:gd name="connsiteY18" fmla="*/ 28252 h 86995"/>
                <a:gd name="connsiteX19" fmla="*/ 149919 w 160371"/>
                <a:gd name="connsiteY19" fmla="*/ 20097 h 8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0371" h="86995">
                  <a:moveTo>
                    <a:pt x="149919" y="20097"/>
                  </a:moveTo>
                  <a:cubicBezTo>
                    <a:pt x="149554" y="16955"/>
                    <a:pt x="151137" y="9501"/>
                    <a:pt x="147565" y="7095"/>
                  </a:cubicBezTo>
                  <a:lnTo>
                    <a:pt x="137255" y="243"/>
                  </a:lnTo>
                  <a:cubicBezTo>
                    <a:pt x="133196" y="-2464"/>
                    <a:pt x="127230" y="5123"/>
                    <a:pt x="123699" y="5691"/>
                  </a:cubicBezTo>
                  <a:cubicBezTo>
                    <a:pt x="112131" y="7563"/>
                    <a:pt x="97600" y="-1261"/>
                    <a:pt x="87168" y="6460"/>
                  </a:cubicBezTo>
                  <a:cubicBezTo>
                    <a:pt x="84814" y="8231"/>
                    <a:pt x="75884" y="2850"/>
                    <a:pt x="73935" y="2215"/>
                  </a:cubicBezTo>
                  <a:cubicBezTo>
                    <a:pt x="68172" y="310"/>
                    <a:pt x="59770" y="2215"/>
                    <a:pt x="54087" y="2950"/>
                  </a:cubicBezTo>
                  <a:cubicBezTo>
                    <a:pt x="44102" y="4287"/>
                    <a:pt x="44874" y="12510"/>
                    <a:pt x="44305" y="18292"/>
                  </a:cubicBezTo>
                  <a:cubicBezTo>
                    <a:pt x="43899" y="22370"/>
                    <a:pt x="53235" y="23439"/>
                    <a:pt x="52870" y="27216"/>
                  </a:cubicBezTo>
                  <a:cubicBezTo>
                    <a:pt x="52585" y="29723"/>
                    <a:pt x="44995" y="35672"/>
                    <a:pt x="41707" y="37243"/>
                  </a:cubicBezTo>
                  <a:cubicBezTo>
                    <a:pt x="31316" y="42156"/>
                    <a:pt x="19342" y="43928"/>
                    <a:pt x="15405" y="53286"/>
                  </a:cubicBezTo>
                  <a:cubicBezTo>
                    <a:pt x="13132" y="58734"/>
                    <a:pt x="8627" y="63648"/>
                    <a:pt x="6800" y="69196"/>
                  </a:cubicBezTo>
                  <a:cubicBezTo>
                    <a:pt x="4974" y="74744"/>
                    <a:pt x="6800" y="81997"/>
                    <a:pt x="-60" y="86309"/>
                  </a:cubicBezTo>
                  <a:cubicBezTo>
                    <a:pt x="14634" y="88147"/>
                    <a:pt x="29409" y="82097"/>
                    <a:pt x="44346" y="82365"/>
                  </a:cubicBezTo>
                  <a:lnTo>
                    <a:pt x="65128" y="82766"/>
                  </a:lnTo>
                  <a:cubicBezTo>
                    <a:pt x="70729" y="82766"/>
                    <a:pt x="78400" y="67057"/>
                    <a:pt x="89482" y="65887"/>
                  </a:cubicBezTo>
                  <a:cubicBezTo>
                    <a:pt x="102064" y="65005"/>
                    <a:pt x="114688" y="66141"/>
                    <a:pt x="126743" y="69229"/>
                  </a:cubicBezTo>
                  <a:cubicBezTo>
                    <a:pt x="132507" y="61742"/>
                    <a:pt x="140990" y="57665"/>
                    <a:pt x="148824" y="51247"/>
                  </a:cubicBezTo>
                  <a:cubicBezTo>
                    <a:pt x="156657" y="44830"/>
                    <a:pt x="159012" y="36708"/>
                    <a:pt x="160270" y="28252"/>
                  </a:cubicBezTo>
                  <a:cubicBezTo>
                    <a:pt x="160960" y="25511"/>
                    <a:pt x="153045" y="22136"/>
                    <a:pt x="149919" y="2009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CD04020-96F4-40A4-86CC-CED38BBD4BD5}"/>
                </a:ext>
              </a:extLst>
            </p:cNvPr>
            <p:cNvSpPr/>
            <p:nvPr/>
          </p:nvSpPr>
          <p:spPr>
            <a:xfrm>
              <a:off x="7543958" y="4132244"/>
              <a:ext cx="538747" cy="228958"/>
            </a:xfrm>
            <a:custGeom>
              <a:avLst/>
              <a:gdLst>
                <a:gd name="connsiteX0" fmla="*/ 535157 w 538747"/>
                <a:gd name="connsiteY0" fmla="*/ 187074 h 228958"/>
                <a:gd name="connsiteX1" fmla="*/ 506460 w 538747"/>
                <a:gd name="connsiteY1" fmla="*/ 169460 h 228958"/>
                <a:gd name="connsiteX2" fmla="*/ 486733 w 538747"/>
                <a:gd name="connsiteY2" fmla="*/ 168557 h 228958"/>
                <a:gd name="connsiteX3" fmla="*/ 465789 w 538747"/>
                <a:gd name="connsiteY3" fmla="*/ 157461 h 228958"/>
                <a:gd name="connsiteX4" fmla="*/ 425199 w 538747"/>
                <a:gd name="connsiteY4" fmla="*/ 152648 h 228958"/>
                <a:gd name="connsiteX5" fmla="*/ 404174 w 538747"/>
                <a:gd name="connsiteY5" fmla="*/ 160068 h 228958"/>
                <a:gd name="connsiteX6" fmla="*/ 385868 w 538747"/>
                <a:gd name="connsiteY6" fmla="*/ 151478 h 228958"/>
                <a:gd name="connsiteX7" fmla="*/ 354613 w 538747"/>
                <a:gd name="connsiteY7" fmla="*/ 140883 h 228958"/>
                <a:gd name="connsiteX8" fmla="*/ 333872 w 538747"/>
                <a:gd name="connsiteY8" fmla="*/ 122466 h 228958"/>
                <a:gd name="connsiteX9" fmla="*/ 332046 w 538747"/>
                <a:gd name="connsiteY9" fmla="*/ 102746 h 228958"/>
                <a:gd name="connsiteX10" fmla="*/ 309477 w 538747"/>
                <a:gd name="connsiteY10" fmla="*/ 84263 h 228958"/>
                <a:gd name="connsiteX11" fmla="*/ 251516 w 538747"/>
                <a:gd name="connsiteY11" fmla="*/ 71696 h 228958"/>
                <a:gd name="connsiteX12" fmla="*/ 204472 w 538747"/>
                <a:gd name="connsiteY12" fmla="*/ 65011 h 228958"/>
                <a:gd name="connsiteX13" fmla="*/ 168753 w 538747"/>
                <a:gd name="connsiteY13" fmla="*/ 34930 h 228958"/>
                <a:gd name="connsiteX14" fmla="*/ 117691 w 538747"/>
                <a:gd name="connsiteY14" fmla="*/ 33426 h 228958"/>
                <a:gd name="connsiteX15" fmla="*/ 119396 w 538747"/>
                <a:gd name="connsiteY15" fmla="*/ 6052 h 228958"/>
                <a:gd name="connsiteX16" fmla="*/ 105149 w 538747"/>
                <a:gd name="connsiteY16" fmla="*/ 27577 h 228958"/>
                <a:gd name="connsiteX17" fmla="*/ 104824 w 538747"/>
                <a:gd name="connsiteY17" fmla="*/ 1439 h 228958"/>
                <a:gd name="connsiteX18" fmla="*/ 41382 w 538747"/>
                <a:gd name="connsiteY18" fmla="*/ -64 h 228958"/>
                <a:gd name="connsiteX19" fmla="*/ 18936 w 538747"/>
                <a:gd name="connsiteY19" fmla="*/ 8358 h 228958"/>
                <a:gd name="connsiteX20" fmla="*/ 7084 w 538747"/>
                <a:gd name="connsiteY20" fmla="*/ 49402 h 228958"/>
                <a:gd name="connsiteX21" fmla="*/ -60 w 538747"/>
                <a:gd name="connsiteY21" fmla="*/ 73100 h 228958"/>
                <a:gd name="connsiteX22" fmla="*/ 32128 w 538747"/>
                <a:gd name="connsiteY22" fmla="*/ 78581 h 228958"/>
                <a:gd name="connsiteX23" fmla="*/ 46619 w 538747"/>
                <a:gd name="connsiteY23" fmla="*/ 68019 h 228958"/>
                <a:gd name="connsiteX24" fmla="*/ 68699 w 538747"/>
                <a:gd name="connsiteY24" fmla="*/ 65479 h 228958"/>
                <a:gd name="connsiteX25" fmla="*/ 88994 w 538747"/>
                <a:gd name="connsiteY25" fmla="*/ 61802 h 228958"/>
                <a:gd name="connsiteX26" fmla="*/ 111643 w 538747"/>
                <a:gd name="connsiteY26" fmla="*/ 71328 h 228958"/>
                <a:gd name="connsiteX27" fmla="*/ 136443 w 538747"/>
                <a:gd name="connsiteY27" fmla="*/ 84063 h 228958"/>
                <a:gd name="connsiteX28" fmla="*/ 160229 w 538747"/>
                <a:gd name="connsiteY28" fmla="*/ 103883 h 228958"/>
                <a:gd name="connsiteX29" fmla="*/ 182756 w 538747"/>
                <a:gd name="connsiteY29" fmla="*/ 108395 h 228958"/>
                <a:gd name="connsiteX30" fmla="*/ 198992 w 538747"/>
                <a:gd name="connsiteY30" fmla="*/ 130321 h 228958"/>
                <a:gd name="connsiteX31" fmla="*/ 238405 w 538747"/>
                <a:gd name="connsiteY31" fmla="*/ 161973 h 228958"/>
                <a:gd name="connsiteX32" fmla="*/ 269213 w 538747"/>
                <a:gd name="connsiteY32" fmla="*/ 176947 h 228958"/>
                <a:gd name="connsiteX33" fmla="*/ 296733 w 538747"/>
                <a:gd name="connsiteY33" fmla="*/ 192556 h 228958"/>
                <a:gd name="connsiteX34" fmla="*/ 317312 w 538747"/>
                <a:gd name="connsiteY34" fmla="*/ 213145 h 228958"/>
                <a:gd name="connsiteX35" fmla="*/ 355628 w 538747"/>
                <a:gd name="connsiteY35" fmla="*/ 228620 h 228958"/>
                <a:gd name="connsiteX36" fmla="*/ 369672 w 538747"/>
                <a:gd name="connsiteY36" fmla="*/ 214883 h 228958"/>
                <a:gd name="connsiteX37" fmla="*/ 374381 w 538747"/>
                <a:gd name="connsiteY37" fmla="*/ 198505 h 228958"/>
                <a:gd name="connsiteX38" fmla="*/ 358997 w 538747"/>
                <a:gd name="connsiteY38" fmla="*/ 183799 h 228958"/>
                <a:gd name="connsiteX39" fmla="*/ 384894 w 538747"/>
                <a:gd name="connsiteY39" fmla="*/ 181793 h 228958"/>
                <a:gd name="connsiteX40" fmla="*/ 402996 w 538747"/>
                <a:gd name="connsiteY40" fmla="*/ 174774 h 228958"/>
                <a:gd name="connsiteX41" fmla="*/ 428487 w 538747"/>
                <a:gd name="connsiteY41" fmla="*/ 168491 h 228958"/>
                <a:gd name="connsiteX42" fmla="*/ 463962 w 538747"/>
                <a:gd name="connsiteY42" fmla="*/ 171365 h 228958"/>
                <a:gd name="connsiteX43" fmla="*/ 451785 w 538747"/>
                <a:gd name="connsiteY43" fmla="*/ 184367 h 228958"/>
                <a:gd name="connsiteX44" fmla="*/ 497124 w 538747"/>
                <a:gd name="connsiteY44" fmla="*/ 190082 h 228958"/>
                <a:gd name="connsiteX45" fmla="*/ 518759 w 538747"/>
                <a:gd name="connsiteY45" fmla="*/ 192455 h 228958"/>
                <a:gd name="connsiteX46" fmla="*/ 538688 w 538747"/>
                <a:gd name="connsiteY46" fmla="*/ 191419 h 228958"/>
                <a:gd name="connsiteX47" fmla="*/ 534994 w 538747"/>
                <a:gd name="connsiteY47" fmla="*/ 186974 h 228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38747" h="228958">
                  <a:moveTo>
                    <a:pt x="535157" y="187074"/>
                  </a:moveTo>
                  <a:cubicBezTo>
                    <a:pt x="526552" y="180219"/>
                    <a:pt x="516892" y="174300"/>
                    <a:pt x="506460" y="169460"/>
                  </a:cubicBezTo>
                  <a:cubicBezTo>
                    <a:pt x="495866" y="164680"/>
                    <a:pt x="496759" y="169460"/>
                    <a:pt x="486733" y="168557"/>
                  </a:cubicBezTo>
                  <a:cubicBezTo>
                    <a:pt x="474556" y="167388"/>
                    <a:pt x="471999" y="162541"/>
                    <a:pt x="465789" y="157461"/>
                  </a:cubicBezTo>
                  <a:cubicBezTo>
                    <a:pt x="456250" y="149707"/>
                    <a:pt x="436727" y="151411"/>
                    <a:pt x="425199" y="152648"/>
                  </a:cubicBezTo>
                  <a:cubicBezTo>
                    <a:pt x="413672" y="153885"/>
                    <a:pt x="411723" y="156726"/>
                    <a:pt x="404174" y="160068"/>
                  </a:cubicBezTo>
                  <a:cubicBezTo>
                    <a:pt x="391997" y="165482"/>
                    <a:pt x="392281" y="155322"/>
                    <a:pt x="385868" y="151478"/>
                  </a:cubicBezTo>
                  <a:cubicBezTo>
                    <a:pt x="376329" y="146381"/>
                    <a:pt x="365735" y="142788"/>
                    <a:pt x="354613" y="140883"/>
                  </a:cubicBezTo>
                  <a:cubicBezTo>
                    <a:pt x="339677" y="137808"/>
                    <a:pt x="339960" y="129820"/>
                    <a:pt x="333872" y="122466"/>
                  </a:cubicBezTo>
                  <a:cubicBezTo>
                    <a:pt x="327784" y="115113"/>
                    <a:pt x="332533" y="110100"/>
                    <a:pt x="332046" y="102746"/>
                  </a:cubicBezTo>
                  <a:cubicBezTo>
                    <a:pt x="331802" y="98702"/>
                    <a:pt x="315201" y="87672"/>
                    <a:pt x="309477" y="84263"/>
                  </a:cubicBezTo>
                  <a:cubicBezTo>
                    <a:pt x="298356" y="77579"/>
                    <a:pt x="265925" y="74905"/>
                    <a:pt x="251516" y="71696"/>
                  </a:cubicBezTo>
                  <a:cubicBezTo>
                    <a:pt x="235767" y="68153"/>
                    <a:pt x="219855" y="68354"/>
                    <a:pt x="204472" y="65011"/>
                  </a:cubicBezTo>
                  <a:cubicBezTo>
                    <a:pt x="194122" y="62705"/>
                    <a:pt x="177074" y="40712"/>
                    <a:pt x="168753" y="34930"/>
                  </a:cubicBezTo>
                  <a:cubicBezTo>
                    <a:pt x="162827" y="42016"/>
                    <a:pt x="112414" y="46695"/>
                    <a:pt x="117691" y="33426"/>
                  </a:cubicBezTo>
                  <a:cubicBezTo>
                    <a:pt x="118016" y="32624"/>
                    <a:pt x="140096" y="2008"/>
                    <a:pt x="119396" y="6052"/>
                  </a:cubicBezTo>
                  <a:cubicBezTo>
                    <a:pt x="106610" y="8559"/>
                    <a:pt x="114728" y="23198"/>
                    <a:pt x="105149" y="27577"/>
                  </a:cubicBezTo>
                  <a:cubicBezTo>
                    <a:pt x="96544" y="31521"/>
                    <a:pt x="101090" y="4749"/>
                    <a:pt x="104824" y="1439"/>
                  </a:cubicBezTo>
                  <a:cubicBezTo>
                    <a:pt x="83636" y="871"/>
                    <a:pt x="62530" y="370"/>
                    <a:pt x="41382" y="-64"/>
                  </a:cubicBezTo>
                  <a:cubicBezTo>
                    <a:pt x="21371" y="-465"/>
                    <a:pt x="21818" y="-1736"/>
                    <a:pt x="18936" y="8358"/>
                  </a:cubicBezTo>
                  <a:cubicBezTo>
                    <a:pt x="14958" y="22062"/>
                    <a:pt x="11021" y="35742"/>
                    <a:pt x="7084" y="49402"/>
                  </a:cubicBezTo>
                  <a:cubicBezTo>
                    <a:pt x="6029" y="53246"/>
                    <a:pt x="5907" y="71161"/>
                    <a:pt x="-60" y="73100"/>
                  </a:cubicBezTo>
                  <a:cubicBezTo>
                    <a:pt x="6029" y="75807"/>
                    <a:pt x="26567" y="83127"/>
                    <a:pt x="32128" y="78581"/>
                  </a:cubicBezTo>
                  <a:cubicBezTo>
                    <a:pt x="37689" y="74036"/>
                    <a:pt x="34239" y="69991"/>
                    <a:pt x="46619" y="68019"/>
                  </a:cubicBezTo>
                  <a:cubicBezTo>
                    <a:pt x="55102" y="66682"/>
                    <a:pt x="63991" y="70292"/>
                    <a:pt x="68699" y="65479"/>
                  </a:cubicBezTo>
                  <a:cubicBezTo>
                    <a:pt x="70688" y="63440"/>
                    <a:pt x="84367" y="61435"/>
                    <a:pt x="88994" y="61802"/>
                  </a:cubicBezTo>
                  <a:cubicBezTo>
                    <a:pt x="99060" y="62672"/>
                    <a:pt x="104297" y="68019"/>
                    <a:pt x="111643" y="71328"/>
                  </a:cubicBezTo>
                  <a:cubicBezTo>
                    <a:pt x="121994" y="75941"/>
                    <a:pt x="133805" y="76241"/>
                    <a:pt x="136443" y="84063"/>
                  </a:cubicBezTo>
                  <a:cubicBezTo>
                    <a:pt x="140868" y="97432"/>
                    <a:pt x="133034" y="98401"/>
                    <a:pt x="160229" y="103883"/>
                  </a:cubicBezTo>
                  <a:cubicBezTo>
                    <a:pt x="167657" y="105353"/>
                    <a:pt x="175531" y="106490"/>
                    <a:pt x="182756" y="108395"/>
                  </a:cubicBezTo>
                  <a:cubicBezTo>
                    <a:pt x="189981" y="110300"/>
                    <a:pt x="197085" y="126644"/>
                    <a:pt x="198992" y="130321"/>
                  </a:cubicBezTo>
                  <a:cubicBezTo>
                    <a:pt x="205568" y="141852"/>
                    <a:pt x="222981" y="152548"/>
                    <a:pt x="238405" y="161973"/>
                  </a:cubicBezTo>
                  <a:cubicBezTo>
                    <a:pt x="247741" y="167655"/>
                    <a:pt x="259877" y="171365"/>
                    <a:pt x="269213" y="176947"/>
                  </a:cubicBezTo>
                  <a:cubicBezTo>
                    <a:pt x="279401" y="182996"/>
                    <a:pt x="283866" y="188545"/>
                    <a:pt x="296733" y="192556"/>
                  </a:cubicBezTo>
                  <a:cubicBezTo>
                    <a:pt x="318002" y="199240"/>
                    <a:pt x="318164" y="202014"/>
                    <a:pt x="317312" y="213145"/>
                  </a:cubicBezTo>
                  <a:cubicBezTo>
                    <a:pt x="329935" y="214448"/>
                    <a:pt x="346252" y="222871"/>
                    <a:pt x="355628" y="228620"/>
                  </a:cubicBezTo>
                  <a:cubicBezTo>
                    <a:pt x="356805" y="222232"/>
                    <a:pt x="362244" y="216928"/>
                    <a:pt x="369672" y="214883"/>
                  </a:cubicBezTo>
                  <a:cubicBezTo>
                    <a:pt x="383473" y="210805"/>
                    <a:pt x="369672" y="205357"/>
                    <a:pt x="374381" y="198505"/>
                  </a:cubicBezTo>
                  <a:cubicBezTo>
                    <a:pt x="377709" y="193659"/>
                    <a:pt x="361757" y="188478"/>
                    <a:pt x="358997" y="183799"/>
                  </a:cubicBezTo>
                  <a:cubicBezTo>
                    <a:pt x="354938" y="177114"/>
                    <a:pt x="380144" y="181392"/>
                    <a:pt x="384894" y="181793"/>
                  </a:cubicBezTo>
                  <a:cubicBezTo>
                    <a:pt x="395731" y="182662"/>
                    <a:pt x="395771" y="173270"/>
                    <a:pt x="402996" y="174774"/>
                  </a:cubicBezTo>
                  <a:cubicBezTo>
                    <a:pt x="417040" y="177682"/>
                    <a:pt x="415945" y="165783"/>
                    <a:pt x="428487" y="168491"/>
                  </a:cubicBezTo>
                  <a:cubicBezTo>
                    <a:pt x="441029" y="171198"/>
                    <a:pt x="453287" y="168190"/>
                    <a:pt x="463962" y="171365"/>
                  </a:cubicBezTo>
                  <a:cubicBezTo>
                    <a:pt x="474637" y="174540"/>
                    <a:pt x="454789" y="182829"/>
                    <a:pt x="451785" y="184367"/>
                  </a:cubicBezTo>
                  <a:cubicBezTo>
                    <a:pt x="465505" y="187041"/>
                    <a:pt x="484988" y="186205"/>
                    <a:pt x="497124" y="190082"/>
                  </a:cubicBezTo>
                  <a:cubicBezTo>
                    <a:pt x="503862" y="192221"/>
                    <a:pt x="513360" y="195865"/>
                    <a:pt x="518759" y="192455"/>
                  </a:cubicBezTo>
                  <a:cubicBezTo>
                    <a:pt x="524157" y="189046"/>
                    <a:pt x="534994" y="193558"/>
                    <a:pt x="538688" y="191419"/>
                  </a:cubicBezTo>
                  <a:cubicBezTo>
                    <a:pt x="538688" y="189815"/>
                    <a:pt x="537592" y="188344"/>
                    <a:pt x="534994" y="18697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ECE48954-CB8B-4300-BC20-4AB03EF9F32A}"/>
                </a:ext>
              </a:extLst>
            </p:cNvPr>
            <p:cNvSpPr/>
            <p:nvPr/>
          </p:nvSpPr>
          <p:spPr>
            <a:xfrm>
              <a:off x="5919452" y="3026621"/>
              <a:ext cx="906744" cy="691640"/>
            </a:xfrm>
            <a:custGeom>
              <a:avLst/>
              <a:gdLst>
                <a:gd name="connsiteX0" fmla="*/ 879299 w 906744"/>
                <a:gd name="connsiteY0" fmla="*/ 389425 h 691640"/>
                <a:gd name="connsiteX1" fmla="*/ 862333 w 906744"/>
                <a:gd name="connsiteY1" fmla="*/ 385748 h 691640"/>
                <a:gd name="connsiteX2" fmla="*/ 841307 w 906744"/>
                <a:gd name="connsiteY2" fmla="*/ 377626 h 691640"/>
                <a:gd name="connsiteX3" fmla="*/ 870492 w 906744"/>
                <a:gd name="connsiteY3" fmla="*/ 380969 h 691640"/>
                <a:gd name="connsiteX4" fmla="*/ 883115 w 906744"/>
                <a:gd name="connsiteY4" fmla="*/ 377626 h 691640"/>
                <a:gd name="connsiteX5" fmla="*/ 904465 w 906744"/>
                <a:gd name="connsiteY5" fmla="*/ 376222 h 691640"/>
                <a:gd name="connsiteX6" fmla="*/ 863876 w 906744"/>
                <a:gd name="connsiteY6" fmla="*/ 358876 h 691640"/>
                <a:gd name="connsiteX7" fmla="*/ 816548 w 906744"/>
                <a:gd name="connsiteY7" fmla="*/ 360747 h 691640"/>
                <a:gd name="connsiteX8" fmla="*/ 807943 w 906744"/>
                <a:gd name="connsiteY8" fmla="*/ 361750 h 691640"/>
                <a:gd name="connsiteX9" fmla="*/ 808470 w 906744"/>
                <a:gd name="connsiteY9" fmla="*/ 353661 h 691640"/>
                <a:gd name="connsiteX10" fmla="*/ 818496 w 906744"/>
                <a:gd name="connsiteY10" fmla="*/ 349885 h 691640"/>
                <a:gd name="connsiteX11" fmla="*/ 776121 w 906744"/>
                <a:gd name="connsiteY11" fmla="*/ 350319 h 691640"/>
                <a:gd name="connsiteX12" fmla="*/ 752781 w 906744"/>
                <a:gd name="connsiteY12" fmla="*/ 355266 h 691640"/>
                <a:gd name="connsiteX13" fmla="*/ 718320 w 906744"/>
                <a:gd name="connsiteY13" fmla="*/ 359644 h 691640"/>
                <a:gd name="connsiteX14" fmla="*/ 693642 w 906744"/>
                <a:gd name="connsiteY14" fmla="*/ 366697 h 691640"/>
                <a:gd name="connsiteX15" fmla="*/ 710162 w 906744"/>
                <a:gd name="connsiteY15" fmla="*/ 354731 h 691640"/>
                <a:gd name="connsiteX16" fmla="*/ 728306 w 906744"/>
                <a:gd name="connsiteY16" fmla="*/ 344704 h 691640"/>
                <a:gd name="connsiteX17" fmla="*/ 717874 w 906744"/>
                <a:gd name="connsiteY17" fmla="*/ 337652 h 691640"/>
                <a:gd name="connsiteX18" fmla="*/ 701029 w 906744"/>
                <a:gd name="connsiteY18" fmla="*/ 344804 h 691640"/>
                <a:gd name="connsiteX19" fmla="*/ 679232 w 906744"/>
                <a:gd name="connsiteY19" fmla="*/ 341830 h 691640"/>
                <a:gd name="connsiteX20" fmla="*/ 674118 w 906744"/>
                <a:gd name="connsiteY20" fmla="*/ 344203 h 691640"/>
                <a:gd name="connsiteX21" fmla="*/ 674118 w 906744"/>
                <a:gd name="connsiteY21" fmla="*/ 350887 h 691640"/>
                <a:gd name="connsiteX22" fmla="*/ 652606 w 906744"/>
                <a:gd name="connsiteY22" fmla="*/ 348247 h 691640"/>
                <a:gd name="connsiteX23" fmla="*/ 628252 w 906744"/>
                <a:gd name="connsiteY23" fmla="*/ 358274 h 691640"/>
                <a:gd name="connsiteX24" fmla="*/ 622854 w 906744"/>
                <a:gd name="connsiteY24" fmla="*/ 368669 h 691640"/>
                <a:gd name="connsiteX25" fmla="*/ 616197 w 906744"/>
                <a:gd name="connsiteY25" fmla="*/ 357873 h 691640"/>
                <a:gd name="connsiteX26" fmla="*/ 616197 w 906744"/>
                <a:gd name="connsiteY26" fmla="*/ 351823 h 691640"/>
                <a:gd name="connsiteX27" fmla="*/ 640551 w 906744"/>
                <a:gd name="connsiteY27" fmla="*/ 344771 h 691640"/>
                <a:gd name="connsiteX28" fmla="*/ 628374 w 906744"/>
                <a:gd name="connsiteY28" fmla="*/ 344203 h 691640"/>
                <a:gd name="connsiteX29" fmla="*/ 594562 w 906744"/>
                <a:gd name="connsiteY29" fmla="*/ 354698 h 691640"/>
                <a:gd name="connsiteX30" fmla="*/ 562090 w 906744"/>
                <a:gd name="connsiteY30" fmla="*/ 360480 h 691640"/>
                <a:gd name="connsiteX31" fmla="*/ 583116 w 906744"/>
                <a:gd name="connsiteY31" fmla="*/ 368903 h 691640"/>
                <a:gd name="connsiteX32" fmla="*/ 556124 w 906744"/>
                <a:gd name="connsiteY32" fmla="*/ 366429 h 691640"/>
                <a:gd name="connsiteX33" fmla="*/ 542689 w 906744"/>
                <a:gd name="connsiteY33" fmla="*/ 359444 h 691640"/>
                <a:gd name="connsiteX34" fmla="*/ 532419 w 906744"/>
                <a:gd name="connsiteY34" fmla="*/ 362987 h 691640"/>
                <a:gd name="connsiteX35" fmla="*/ 544921 w 906744"/>
                <a:gd name="connsiteY35" fmla="*/ 369504 h 691640"/>
                <a:gd name="connsiteX36" fmla="*/ 538508 w 906744"/>
                <a:gd name="connsiteY36" fmla="*/ 377693 h 691640"/>
                <a:gd name="connsiteX37" fmla="*/ 531689 w 906744"/>
                <a:gd name="connsiteY37" fmla="*/ 368836 h 691640"/>
                <a:gd name="connsiteX38" fmla="*/ 508349 w 906744"/>
                <a:gd name="connsiteY38" fmla="*/ 370540 h 691640"/>
                <a:gd name="connsiteX39" fmla="*/ 509730 w 906744"/>
                <a:gd name="connsiteY39" fmla="*/ 360146 h 691640"/>
                <a:gd name="connsiteX40" fmla="*/ 473199 w 906744"/>
                <a:gd name="connsiteY40" fmla="*/ 361583 h 691640"/>
                <a:gd name="connsiteX41" fmla="*/ 471332 w 906744"/>
                <a:gd name="connsiteY41" fmla="*/ 372680 h 691640"/>
                <a:gd name="connsiteX42" fmla="*/ 449454 w 906744"/>
                <a:gd name="connsiteY42" fmla="*/ 378863 h 691640"/>
                <a:gd name="connsiteX43" fmla="*/ 427251 w 906744"/>
                <a:gd name="connsiteY43" fmla="*/ 375888 h 691640"/>
                <a:gd name="connsiteX44" fmla="*/ 404034 w 906744"/>
                <a:gd name="connsiteY44" fmla="*/ 389057 h 691640"/>
                <a:gd name="connsiteX45" fmla="*/ 430539 w 906744"/>
                <a:gd name="connsiteY45" fmla="*/ 390127 h 691640"/>
                <a:gd name="connsiteX46" fmla="*/ 432122 w 906744"/>
                <a:gd name="connsiteY46" fmla="*/ 400455 h 691640"/>
                <a:gd name="connsiteX47" fmla="*/ 409473 w 906744"/>
                <a:gd name="connsiteY47" fmla="*/ 399987 h 691640"/>
                <a:gd name="connsiteX48" fmla="*/ 387554 w 906744"/>
                <a:gd name="connsiteY48" fmla="*/ 395107 h 691640"/>
                <a:gd name="connsiteX49" fmla="*/ 380127 w 906744"/>
                <a:gd name="connsiteY49" fmla="*/ 384177 h 691640"/>
                <a:gd name="connsiteX50" fmla="*/ 354393 w 906744"/>
                <a:gd name="connsiteY50" fmla="*/ 395809 h 691640"/>
                <a:gd name="connsiteX51" fmla="*/ 338157 w 906744"/>
                <a:gd name="connsiteY51" fmla="*/ 399719 h 691640"/>
                <a:gd name="connsiteX52" fmla="*/ 337142 w 906744"/>
                <a:gd name="connsiteY52" fmla="*/ 404098 h 691640"/>
                <a:gd name="connsiteX53" fmla="*/ 310272 w 906744"/>
                <a:gd name="connsiteY53" fmla="*/ 414827 h 691640"/>
                <a:gd name="connsiteX54" fmla="*/ 274431 w 906744"/>
                <a:gd name="connsiteY54" fmla="*/ 424553 h 691640"/>
                <a:gd name="connsiteX55" fmla="*/ 318471 w 906744"/>
                <a:gd name="connsiteY55" fmla="*/ 415729 h 691640"/>
                <a:gd name="connsiteX56" fmla="*/ 353094 w 906744"/>
                <a:gd name="connsiteY56" fmla="*/ 410114 h 691640"/>
                <a:gd name="connsiteX57" fmla="*/ 381506 w 906744"/>
                <a:gd name="connsiteY57" fmla="*/ 406237 h 691640"/>
                <a:gd name="connsiteX58" fmla="*/ 395551 w 906744"/>
                <a:gd name="connsiteY58" fmla="*/ 411785 h 691640"/>
                <a:gd name="connsiteX59" fmla="*/ 392831 w 906744"/>
                <a:gd name="connsiteY59" fmla="*/ 421311 h 691640"/>
                <a:gd name="connsiteX60" fmla="*/ 374160 w 906744"/>
                <a:gd name="connsiteY60" fmla="*/ 415361 h 691640"/>
                <a:gd name="connsiteX61" fmla="*/ 346884 w 906744"/>
                <a:gd name="connsiteY61" fmla="*/ 424586 h 691640"/>
                <a:gd name="connsiteX62" fmla="*/ 336330 w 906744"/>
                <a:gd name="connsiteY62" fmla="*/ 437956 h 691640"/>
                <a:gd name="connsiteX63" fmla="*/ 322733 w 906744"/>
                <a:gd name="connsiteY63" fmla="*/ 443671 h 691640"/>
                <a:gd name="connsiteX64" fmla="*/ 291966 w 906744"/>
                <a:gd name="connsiteY64" fmla="*/ 461854 h 691640"/>
                <a:gd name="connsiteX65" fmla="*/ 286121 w 906744"/>
                <a:gd name="connsiteY65" fmla="*/ 474387 h 691640"/>
                <a:gd name="connsiteX66" fmla="*/ 263228 w 906744"/>
                <a:gd name="connsiteY66" fmla="*/ 476025 h 691640"/>
                <a:gd name="connsiteX67" fmla="*/ 257302 w 906744"/>
                <a:gd name="connsiteY67" fmla="*/ 486988 h 691640"/>
                <a:gd name="connsiteX68" fmla="*/ 253893 w 906744"/>
                <a:gd name="connsiteY68" fmla="*/ 492102 h 691640"/>
                <a:gd name="connsiteX69" fmla="*/ 253893 w 906744"/>
                <a:gd name="connsiteY69" fmla="*/ 503700 h 691640"/>
                <a:gd name="connsiteX70" fmla="*/ 234369 w 906744"/>
                <a:gd name="connsiteY70" fmla="*/ 503967 h 691640"/>
                <a:gd name="connsiteX71" fmla="*/ 218133 w 906744"/>
                <a:gd name="connsiteY71" fmla="*/ 508212 h 691640"/>
                <a:gd name="connsiteX72" fmla="*/ 215048 w 906744"/>
                <a:gd name="connsiteY72" fmla="*/ 514496 h 691640"/>
                <a:gd name="connsiteX73" fmla="*/ 202871 w 906744"/>
                <a:gd name="connsiteY73" fmla="*/ 522952 h 691640"/>
                <a:gd name="connsiteX74" fmla="*/ 175839 w 906744"/>
                <a:gd name="connsiteY74" fmla="*/ 532143 h 691640"/>
                <a:gd name="connsiteX75" fmla="*/ 159278 w 906744"/>
                <a:gd name="connsiteY75" fmla="*/ 539530 h 691640"/>
                <a:gd name="connsiteX76" fmla="*/ 147426 w 906744"/>
                <a:gd name="connsiteY76" fmla="*/ 551629 h 691640"/>
                <a:gd name="connsiteX77" fmla="*/ 133666 w 906744"/>
                <a:gd name="connsiteY77" fmla="*/ 545246 h 691640"/>
                <a:gd name="connsiteX78" fmla="*/ 119946 w 906744"/>
                <a:gd name="connsiteY78" fmla="*/ 550326 h 691640"/>
                <a:gd name="connsiteX79" fmla="*/ 115319 w 906744"/>
                <a:gd name="connsiteY79" fmla="*/ 557579 h 691640"/>
                <a:gd name="connsiteX80" fmla="*/ 74080 w 906744"/>
                <a:gd name="connsiteY80" fmla="*/ 569210 h 691640"/>
                <a:gd name="connsiteX81" fmla="*/ 90600 w 906744"/>
                <a:gd name="connsiteY81" fmla="*/ 574224 h 691640"/>
                <a:gd name="connsiteX82" fmla="*/ 61334 w 906744"/>
                <a:gd name="connsiteY82" fmla="*/ 573689 h 691640"/>
                <a:gd name="connsiteX83" fmla="*/ 43110 w 906744"/>
                <a:gd name="connsiteY83" fmla="*/ 580006 h 691640"/>
                <a:gd name="connsiteX84" fmla="*/ 29593 w 906744"/>
                <a:gd name="connsiteY84" fmla="*/ 590033 h 691640"/>
                <a:gd name="connsiteX85" fmla="*/ 1708 w 906744"/>
                <a:gd name="connsiteY85" fmla="*/ 594478 h 691640"/>
                <a:gd name="connsiteX86" fmla="*/ 12749 w 906744"/>
                <a:gd name="connsiteY86" fmla="*/ 606143 h 691640"/>
                <a:gd name="connsiteX87" fmla="*/ 5564 w 906744"/>
                <a:gd name="connsiteY87" fmla="*/ 611458 h 691640"/>
                <a:gd name="connsiteX88" fmla="*/ 11125 w 906744"/>
                <a:gd name="connsiteY88" fmla="*/ 616805 h 691640"/>
                <a:gd name="connsiteX89" fmla="*/ 1586 w 906744"/>
                <a:gd name="connsiteY89" fmla="*/ 623490 h 691640"/>
                <a:gd name="connsiteX90" fmla="*/ 2520 w 906744"/>
                <a:gd name="connsiteY90" fmla="*/ 632247 h 691640"/>
                <a:gd name="connsiteX91" fmla="*/ 18756 w 906744"/>
                <a:gd name="connsiteY91" fmla="*/ 638364 h 691640"/>
                <a:gd name="connsiteX92" fmla="*/ 30527 w 906744"/>
                <a:gd name="connsiteY92" fmla="*/ 640770 h 691640"/>
                <a:gd name="connsiteX93" fmla="*/ 50294 w 906744"/>
                <a:gd name="connsiteY93" fmla="*/ 633317 h 691640"/>
                <a:gd name="connsiteX94" fmla="*/ 56464 w 906744"/>
                <a:gd name="connsiteY94" fmla="*/ 637495 h 691640"/>
                <a:gd name="connsiteX95" fmla="*/ 44693 w 906744"/>
                <a:gd name="connsiteY95" fmla="*/ 640402 h 691640"/>
                <a:gd name="connsiteX96" fmla="*/ 21881 w 906744"/>
                <a:gd name="connsiteY96" fmla="*/ 648491 h 691640"/>
                <a:gd name="connsiteX97" fmla="*/ 15955 w 906744"/>
                <a:gd name="connsiteY97" fmla="*/ 643812 h 691640"/>
                <a:gd name="connsiteX98" fmla="*/ 7310 w 906744"/>
                <a:gd name="connsiteY98" fmla="*/ 648926 h 691640"/>
                <a:gd name="connsiteX99" fmla="*/ 10476 w 906744"/>
                <a:gd name="connsiteY99" fmla="*/ 656145 h 691640"/>
                <a:gd name="connsiteX100" fmla="*/ 8974 w 906744"/>
                <a:gd name="connsiteY100" fmla="*/ 663131 h 691640"/>
                <a:gd name="connsiteX101" fmla="*/ 40350 w 906744"/>
                <a:gd name="connsiteY101" fmla="*/ 657749 h 691640"/>
                <a:gd name="connsiteX102" fmla="*/ 42541 w 906744"/>
                <a:gd name="connsiteY102" fmla="*/ 662830 h 691640"/>
                <a:gd name="connsiteX103" fmla="*/ 34423 w 906744"/>
                <a:gd name="connsiteY103" fmla="*/ 669849 h 691640"/>
                <a:gd name="connsiteX104" fmla="*/ 25940 w 906744"/>
                <a:gd name="connsiteY104" fmla="*/ 678071 h 691640"/>
                <a:gd name="connsiteX105" fmla="*/ 57682 w 906744"/>
                <a:gd name="connsiteY105" fmla="*/ 686260 h 691640"/>
                <a:gd name="connsiteX106" fmla="*/ 97419 w 906744"/>
                <a:gd name="connsiteY106" fmla="*/ 691039 h 691640"/>
                <a:gd name="connsiteX107" fmla="*/ 137400 w 906744"/>
                <a:gd name="connsiteY107" fmla="*/ 678405 h 691640"/>
                <a:gd name="connsiteX108" fmla="*/ 160414 w 906744"/>
                <a:gd name="connsiteY108" fmla="*/ 667075 h 691640"/>
                <a:gd name="connsiteX109" fmla="*/ 188827 w 906744"/>
                <a:gd name="connsiteY109" fmla="*/ 659253 h 691640"/>
                <a:gd name="connsiteX110" fmla="*/ 201004 w 906744"/>
                <a:gd name="connsiteY110" fmla="*/ 657281 h 691640"/>
                <a:gd name="connsiteX111" fmla="*/ 210461 w 906744"/>
                <a:gd name="connsiteY111" fmla="*/ 662729 h 691640"/>
                <a:gd name="connsiteX112" fmla="*/ 214520 w 906744"/>
                <a:gd name="connsiteY112" fmla="*/ 669180 h 691640"/>
                <a:gd name="connsiteX113" fmla="*/ 225155 w 906744"/>
                <a:gd name="connsiteY113" fmla="*/ 669949 h 691640"/>
                <a:gd name="connsiteX114" fmla="*/ 242690 w 906744"/>
                <a:gd name="connsiteY114" fmla="*/ 642776 h 691640"/>
                <a:gd name="connsiteX115" fmla="*/ 263472 w 906744"/>
                <a:gd name="connsiteY115" fmla="*/ 635656 h 691640"/>
                <a:gd name="connsiteX116" fmla="*/ 254501 w 906744"/>
                <a:gd name="connsiteY116" fmla="*/ 617641 h 691640"/>
                <a:gd name="connsiteX117" fmla="*/ 268911 w 906744"/>
                <a:gd name="connsiteY117" fmla="*/ 605074 h 691640"/>
                <a:gd name="connsiteX118" fmla="*/ 248616 w 906744"/>
                <a:gd name="connsiteY118" fmla="*/ 592105 h 691640"/>
                <a:gd name="connsiteX119" fmla="*/ 252675 w 906744"/>
                <a:gd name="connsiteY119" fmla="*/ 583516 h 691640"/>
                <a:gd name="connsiteX120" fmla="*/ 247358 w 906744"/>
                <a:gd name="connsiteY120" fmla="*/ 570982 h 691640"/>
                <a:gd name="connsiteX121" fmla="*/ 248941 w 906744"/>
                <a:gd name="connsiteY121" fmla="*/ 549791 h 691640"/>
                <a:gd name="connsiteX122" fmla="*/ 284010 w 906744"/>
                <a:gd name="connsiteY122" fmla="*/ 534149 h 691640"/>
                <a:gd name="connsiteX123" fmla="*/ 314655 w 906744"/>
                <a:gd name="connsiteY123" fmla="*/ 529135 h 691640"/>
                <a:gd name="connsiteX124" fmla="*/ 299799 w 906744"/>
                <a:gd name="connsiteY124" fmla="*/ 518206 h 691640"/>
                <a:gd name="connsiteX125" fmla="*/ 327197 w 906744"/>
                <a:gd name="connsiteY125" fmla="*/ 488125 h 691640"/>
                <a:gd name="connsiteX126" fmla="*/ 355610 w 906744"/>
                <a:gd name="connsiteY126" fmla="*/ 474989 h 691640"/>
                <a:gd name="connsiteX127" fmla="*/ 373145 w 906744"/>
                <a:gd name="connsiteY127" fmla="*/ 457509 h 691640"/>
                <a:gd name="connsiteX128" fmla="*/ 387474 w 906744"/>
                <a:gd name="connsiteY128" fmla="*/ 450155 h 691640"/>
                <a:gd name="connsiteX129" fmla="*/ 391248 w 906744"/>
                <a:gd name="connsiteY129" fmla="*/ 440128 h 691640"/>
                <a:gd name="connsiteX130" fmla="*/ 427251 w 906744"/>
                <a:gd name="connsiteY130" fmla="*/ 423015 h 691640"/>
                <a:gd name="connsiteX131" fmla="*/ 453472 w 906744"/>
                <a:gd name="connsiteY131" fmla="*/ 413657 h 691640"/>
                <a:gd name="connsiteX132" fmla="*/ 486999 w 906744"/>
                <a:gd name="connsiteY132" fmla="*/ 408777 h 691640"/>
                <a:gd name="connsiteX133" fmla="*/ 523530 w 906744"/>
                <a:gd name="connsiteY133" fmla="*/ 408576 h 691640"/>
                <a:gd name="connsiteX134" fmla="*/ 547884 w 906744"/>
                <a:gd name="connsiteY134" fmla="*/ 397413 h 691640"/>
                <a:gd name="connsiteX135" fmla="*/ 592086 w 906744"/>
                <a:gd name="connsiteY135" fmla="*/ 398616 h 691640"/>
                <a:gd name="connsiteX136" fmla="*/ 619728 w 906744"/>
                <a:gd name="connsiteY136" fmla="*/ 406638 h 691640"/>
                <a:gd name="connsiteX137" fmla="*/ 637344 w 906744"/>
                <a:gd name="connsiteY137" fmla="*/ 409044 h 691640"/>
                <a:gd name="connsiteX138" fmla="*/ 652241 w 906744"/>
                <a:gd name="connsiteY138" fmla="*/ 406437 h 691640"/>
                <a:gd name="connsiteX139" fmla="*/ 687635 w 906744"/>
                <a:gd name="connsiteY139" fmla="*/ 414526 h 691640"/>
                <a:gd name="connsiteX140" fmla="*/ 700299 w 906744"/>
                <a:gd name="connsiteY140" fmla="*/ 407641 h 691640"/>
                <a:gd name="connsiteX141" fmla="*/ 716535 w 906744"/>
                <a:gd name="connsiteY141" fmla="*/ 404064 h 691640"/>
                <a:gd name="connsiteX142" fmla="*/ 724652 w 906744"/>
                <a:gd name="connsiteY142" fmla="*/ 385715 h 691640"/>
                <a:gd name="connsiteX143" fmla="*/ 763659 w 906744"/>
                <a:gd name="connsiteY143" fmla="*/ 378194 h 691640"/>
                <a:gd name="connsiteX144" fmla="*/ 809201 w 906744"/>
                <a:gd name="connsiteY144" fmla="*/ 381303 h 691640"/>
                <a:gd name="connsiteX145" fmla="*/ 841064 w 906744"/>
                <a:gd name="connsiteY145" fmla="*/ 403028 h 691640"/>
                <a:gd name="connsiteX146" fmla="*/ 893425 w 906744"/>
                <a:gd name="connsiteY146" fmla="*/ 396343 h 691640"/>
                <a:gd name="connsiteX147" fmla="*/ 879827 w 906744"/>
                <a:gd name="connsiteY147" fmla="*/ 389659 h 691640"/>
                <a:gd name="connsiteX148" fmla="*/ 879299 w 906744"/>
                <a:gd name="connsiteY148" fmla="*/ 389425 h 691640"/>
                <a:gd name="connsiteX149" fmla="*/ 245450 w 906744"/>
                <a:gd name="connsiteY149" fmla="*/ 43892 h 691640"/>
                <a:gd name="connsiteX150" fmla="*/ 225885 w 906744"/>
                <a:gd name="connsiteY150" fmla="*/ 65717 h 691640"/>
                <a:gd name="connsiteX151" fmla="*/ 295335 w 906744"/>
                <a:gd name="connsiteY151" fmla="*/ 83499 h 691640"/>
                <a:gd name="connsiteX152" fmla="*/ 320744 w 906744"/>
                <a:gd name="connsiteY152" fmla="*/ 76647 h 691640"/>
                <a:gd name="connsiteX153" fmla="*/ 329389 w 906744"/>
                <a:gd name="connsiteY153" fmla="*/ 68993 h 691640"/>
                <a:gd name="connsiteX154" fmla="*/ 344245 w 906744"/>
                <a:gd name="connsiteY154" fmla="*/ 66586 h 691640"/>
                <a:gd name="connsiteX155" fmla="*/ 362308 w 906744"/>
                <a:gd name="connsiteY155" fmla="*/ 62509 h 691640"/>
                <a:gd name="connsiteX156" fmla="*/ 360156 w 906744"/>
                <a:gd name="connsiteY156" fmla="*/ 75076 h 691640"/>
                <a:gd name="connsiteX157" fmla="*/ 396159 w 906744"/>
                <a:gd name="connsiteY157" fmla="*/ 68057 h 691640"/>
                <a:gd name="connsiteX158" fmla="*/ 396159 w 906744"/>
                <a:gd name="connsiteY158" fmla="*/ 79254 h 691640"/>
                <a:gd name="connsiteX159" fmla="*/ 363363 w 906744"/>
                <a:gd name="connsiteY159" fmla="*/ 82997 h 691640"/>
                <a:gd name="connsiteX160" fmla="*/ 326832 w 906744"/>
                <a:gd name="connsiteY160" fmla="*/ 89014 h 691640"/>
                <a:gd name="connsiteX161" fmla="*/ 325493 w 906744"/>
                <a:gd name="connsiteY161" fmla="*/ 100311 h 691640"/>
                <a:gd name="connsiteX162" fmla="*/ 411584 w 906744"/>
                <a:gd name="connsiteY162" fmla="*/ 100311 h 691640"/>
                <a:gd name="connsiteX163" fmla="*/ 344002 w 906744"/>
                <a:gd name="connsiteY163" fmla="*/ 105592 h 691640"/>
                <a:gd name="connsiteX164" fmla="*/ 337426 w 906744"/>
                <a:gd name="connsiteY164" fmla="*/ 109402 h 691640"/>
                <a:gd name="connsiteX165" fmla="*/ 310718 w 906744"/>
                <a:gd name="connsiteY165" fmla="*/ 108800 h 691640"/>
                <a:gd name="connsiteX166" fmla="*/ 335518 w 906744"/>
                <a:gd name="connsiteY166" fmla="*/ 122905 h 691640"/>
                <a:gd name="connsiteX167" fmla="*/ 351024 w 906744"/>
                <a:gd name="connsiteY167" fmla="*/ 127751 h 691640"/>
                <a:gd name="connsiteX168" fmla="*/ 379843 w 906744"/>
                <a:gd name="connsiteY168" fmla="*/ 128955 h 691640"/>
                <a:gd name="connsiteX169" fmla="*/ 360075 w 906744"/>
                <a:gd name="connsiteY169" fmla="*/ 135038 h 691640"/>
                <a:gd name="connsiteX170" fmla="*/ 389706 w 906744"/>
                <a:gd name="connsiteY170" fmla="*/ 142993 h 691640"/>
                <a:gd name="connsiteX171" fmla="*/ 430580 w 906744"/>
                <a:gd name="connsiteY171" fmla="*/ 121033 h 691640"/>
                <a:gd name="connsiteX172" fmla="*/ 466136 w 906744"/>
                <a:gd name="connsiteY172" fmla="*/ 108800 h 691640"/>
                <a:gd name="connsiteX173" fmla="*/ 472184 w 906744"/>
                <a:gd name="connsiteY173" fmla="*/ 96333 h 691640"/>
                <a:gd name="connsiteX174" fmla="*/ 489678 w 906744"/>
                <a:gd name="connsiteY174" fmla="*/ 90350 h 691640"/>
                <a:gd name="connsiteX175" fmla="*/ 517807 w 906744"/>
                <a:gd name="connsiteY175" fmla="*/ 73104 h 691640"/>
                <a:gd name="connsiteX176" fmla="*/ 563064 w 906744"/>
                <a:gd name="connsiteY176" fmla="*/ 71132 h 691640"/>
                <a:gd name="connsiteX177" fmla="*/ 545895 w 906744"/>
                <a:gd name="connsiteY177" fmla="*/ 77817 h 691640"/>
                <a:gd name="connsiteX178" fmla="*/ 577068 w 906744"/>
                <a:gd name="connsiteY178" fmla="*/ 104555 h 691640"/>
                <a:gd name="connsiteX179" fmla="*/ 565987 w 906744"/>
                <a:gd name="connsiteY179" fmla="*/ 117724 h 691640"/>
                <a:gd name="connsiteX180" fmla="*/ 615060 w 906744"/>
                <a:gd name="connsiteY180" fmla="*/ 115017 h 691640"/>
                <a:gd name="connsiteX181" fmla="*/ 618875 w 906744"/>
                <a:gd name="connsiteY181" fmla="*/ 123841 h 691640"/>
                <a:gd name="connsiteX182" fmla="*/ 661657 w 906744"/>
                <a:gd name="connsiteY182" fmla="*/ 119997 h 691640"/>
                <a:gd name="connsiteX183" fmla="*/ 699365 w 906744"/>
                <a:gd name="connsiteY183" fmla="*/ 110371 h 691640"/>
                <a:gd name="connsiteX184" fmla="*/ 668801 w 906744"/>
                <a:gd name="connsiteY184" fmla="*/ 105124 h 691640"/>
                <a:gd name="connsiteX185" fmla="*/ 644447 w 906744"/>
                <a:gd name="connsiteY185" fmla="*/ 99943 h 691640"/>
                <a:gd name="connsiteX186" fmla="*/ 616968 w 906744"/>
                <a:gd name="connsiteY186" fmla="*/ 91119 h 691640"/>
                <a:gd name="connsiteX187" fmla="*/ 612909 w 906744"/>
                <a:gd name="connsiteY187" fmla="*/ 83365 h 691640"/>
                <a:gd name="connsiteX188" fmla="*/ 581817 w 906744"/>
                <a:gd name="connsiteY188" fmla="*/ 73104 h 691640"/>
                <a:gd name="connsiteX189" fmla="*/ 568017 w 906744"/>
                <a:gd name="connsiteY189" fmla="*/ 61205 h 691640"/>
                <a:gd name="connsiteX190" fmla="*/ 548980 w 906744"/>
                <a:gd name="connsiteY190" fmla="*/ 54821 h 691640"/>
                <a:gd name="connsiteX191" fmla="*/ 523489 w 906744"/>
                <a:gd name="connsiteY191" fmla="*/ 52816 h 691640"/>
                <a:gd name="connsiteX192" fmla="*/ 488948 w 906744"/>
                <a:gd name="connsiteY192" fmla="*/ 48805 h 691640"/>
                <a:gd name="connsiteX193" fmla="*/ 474579 w 906744"/>
                <a:gd name="connsiteY193" fmla="*/ 35202 h 691640"/>
                <a:gd name="connsiteX194" fmla="*/ 441580 w 906744"/>
                <a:gd name="connsiteY194" fmla="*/ 39346 h 691640"/>
                <a:gd name="connsiteX195" fmla="*/ 452133 w 906744"/>
                <a:gd name="connsiteY195" fmla="*/ 25810 h 691640"/>
                <a:gd name="connsiteX196" fmla="*/ 421447 w 906744"/>
                <a:gd name="connsiteY196" fmla="*/ 20328 h 691640"/>
                <a:gd name="connsiteX197" fmla="*/ 403506 w 906744"/>
                <a:gd name="connsiteY197" fmla="*/ 17153 h 691640"/>
                <a:gd name="connsiteX198" fmla="*/ 386337 w 906744"/>
                <a:gd name="connsiteY198" fmla="*/ 21598 h 691640"/>
                <a:gd name="connsiteX199" fmla="*/ 388407 w 906744"/>
                <a:gd name="connsiteY199" fmla="*/ 33430 h 691640"/>
                <a:gd name="connsiteX200" fmla="*/ 403141 w 906744"/>
                <a:gd name="connsiteY200" fmla="*/ 52080 h 691640"/>
                <a:gd name="connsiteX201" fmla="*/ 366285 w 906744"/>
                <a:gd name="connsiteY201" fmla="*/ 37942 h 691640"/>
                <a:gd name="connsiteX202" fmla="*/ 345990 w 906744"/>
                <a:gd name="connsiteY202" fmla="*/ 22367 h 691640"/>
                <a:gd name="connsiteX203" fmla="*/ 321840 w 906744"/>
                <a:gd name="connsiteY203" fmla="*/ 34667 h 691640"/>
                <a:gd name="connsiteX204" fmla="*/ 320541 w 906744"/>
                <a:gd name="connsiteY204" fmla="*/ 42521 h 691640"/>
                <a:gd name="connsiteX205" fmla="*/ 312423 w 906744"/>
                <a:gd name="connsiteY205" fmla="*/ 40650 h 691640"/>
                <a:gd name="connsiteX206" fmla="*/ 283320 w 906744"/>
                <a:gd name="connsiteY206" fmla="*/ 29820 h 691640"/>
                <a:gd name="connsiteX207" fmla="*/ 307674 w 906744"/>
                <a:gd name="connsiteY207" fmla="*/ 20629 h 691640"/>
                <a:gd name="connsiteX208" fmla="*/ 244597 w 906744"/>
                <a:gd name="connsiteY208" fmla="*/ 23637 h 691640"/>
                <a:gd name="connsiteX209" fmla="*/ 198609 w 906744"/>
                <a:gd name="connsiteY209" fmla="*/ 32762 h 691640"/>
                <a:gd name="connsiteX210" fmla="*/ 217402 w 906744"/>
                <a:gd name="connsiteY210" fmla="*/ 48972 h 691640"/>
                <a:gd name="connsiteX211" fmla="*/ 245490 w 906744"/>
                <a:gd name="connsiteY211" fmla="*/ 43959 h 691640"/>
                <a:gd name="connsiteX212" fmla="*/ 211557 w 906744"/>
                <a:gd name="connsiteY212" fmla="*/ 74441 h 691640"/>
                <a:gd name="connsiteX213" fmla="*/ 237819 w 906744"/>
                <a:gd name="connsiteY213" fmla="*/ 82830 h 691640"/>
                <a:gd name="connsiteX214" fmla="*/ 200517 w 906744"/>
                <a:gd name="connsiteY214" fmla="*/ 60035 h 691640"/>
                <a:gd name="connsiteX215" fmla="*/ 185661 w 906744"/>
                <a:gd name="connsiteY215" fmla="*/ 63846 h 691640"/>
                <a:gd name="connsiteX216" fmla="*/ 211557 w 906744"/>
                <a:gd name="connsiteY216" fmla="*/ 74441 h 691640"/>
                <a:gd name="connsiteX217" fmla="*/ 475391 w 906744"/>
                <a:gd name="connsiteY217" fmla="*/ 16618 h 691640"/>
                <a:gd name="connsiteX218" fmla="*/ 474579 w 906744"/>
                <a:gd name="connsiteY218" fmla="*/ 24372 h 691640"/>
                <a:gd name="connsiteX219" fmla="*/ 509324 w 906744"/>
                <a:gd name="connsiteY219" fmla="*/ 28717 h 691640"/>
                <a:gd name="connsiteX220" fmla="*/ 593020 w 906744"/>
                <a:gd name="connsiteY220" fmla="*/ 28049 h 691640"/>
                <a:gd name="connsiteX221" fmla="*/ 587987 w 906744"/>
                <a:gd name="connsiteY221" fmla="*/ 32394 h 691640"/>
                <a:gd name="connsiteX222" fmla="*/ 529619 w 906744"/>
                <a:gd name="connsiteY222" fmla="*/ 37341 h 691640"/>
                <a:gd name="connsiteX223" fmla="*/ 578326 w 906744"/>
                <a:gd name="connsiteY223" fmla="*/ 45997 h 691640"/>
                <a:gd name="connsiteX224" fmla="*/ 630646 w 906744"/>
                <a:gd name="connsiteY224" fmla="*/ 49340 h 691640"/>
                <a:gd name="connsiteX225" fmla="*/ 711096 w 906744"/>
                <a:gd name="connsiteY225" fmla="*/ 52381 h 691640"/>
                <a:gd name="connsiteX226" fmla="*/ 776364 w 906744"/>
                <a:gd name="connsiteY226" fmla="*/ 39012 h 691640"/>
                <a:gd name="connsiteX227" fmla="*/ 781843 w 906744"/>
                <a:gd name="connsiteY227" fmla="*/ 22935 h 691640"/>
                <a:gd name="connsiteX228" fmla="*/ 739833 w 906744"/>
                <a:gd name="connsiteY228" fmla="*/ 20428 h 691640"/>
                <a:gd name="connsiteX229" fmla="*/ 703302 w 906744"/>
                <a:gd name="connsiteY229" fmla="*/ 13409 h 691640"/>
                <a:gd name="connsiteX230" fmla="*/ 669816 w 906744"/>
                <a:gd name="connsiteY230" fmla="*/ 16752 h 691640"/>
                <a:gd name="connsiteX231" fmla="*/ 651672 w 906744"/>
                <a:gd name="connsiteY231" fmla="*/ 11872 h 691640"/>
                <a:gd name="connsiteX232" fmla="*/ 625979 w 906744"/>
                <a:gd name="connsiteY232" fmla="*/ 6858 h 691640"/>
                <a:gd name="connsiteX233" fmla="*/ 626222 w 906744"/>
                <a:gd name="connsiteY233" fmla="*/ 20896 h 691640"/>
                <a:gd name="connsiteX234" fmla="*/ 598337 w 906744"/>
                <a:gd name="connsiteY234" fmla="*/ 15782 h 691640"/>
                <a:gd name="connsiteX235" fmla="*/ 576013 w 906744"/>
                <a:gd name="connsiteY235" fmla="*/ 13376 h 691640"/>
                <a:gd name="connsiteX236" fmla="*/ 553080 w 906744"/>
                <a:gd name="connsiteY236" fmla="*/ 4652 h 691640"/>
                <a:gd name="connsiteX237" fmla="*/ 523287 w 906744"/>
                <a:gd name="connsiteY237" fmla="*/ 341 h 691640"/>
                <a:gd name="connsiteX238" fmla="*/ 511110 w 906744"/>
                <a:gd name="connsiteY238" fmla="*/ 5455 h 691640"/>
                <a:gd name="connsiteX239" fmla="*/ 500962 w 906744"/>
                <a:gd name="connsiteY239" fmla="*/ 10234 h 691640"/>
                <a:gd name="connsiteX240" fmla="*/ 482453 w 906744"/>
                <a:gd name="connsiteY240" fmla="*/ 5154 h 691640"/>
                <a:gd name="connsiteX241" fmla="*/ 466217 w 906744"/>
                <a:gd name="connsiteY241" fmla="*/ 3382 h 691640"/>
                <a:gd name="connsiteX242" fmla="*/ 454527 w 906744"/>
                <a:gd name="connsiteY242" fmla="*/ 9265 h 691640"/>
                <a:gd name="connsiteX243" fmla="*/ 475269 w 906744"/>
                <a:gd name="connsiteY243" fmla="*/ 16652 h 69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</a:cxnLst>
              <a:rect l="l" t="t" r="r" b="b"/>
              <a:pathLst>
                <a:path w="906744" h="691640">
                  <a:moveTo>
                    <a:pt x="879299" y="389425"/>
                  </a:moveTo>
                  <a:cubicBezTo>
                    <a:pt x="874429" y="396611"/>
                    <a:pt x="864647" y="387319"/>
                    <a:pt x="862333" y="385748"/>
                  </a:cubicBezTo>
                  <a:cubicBezTo>
                    <a:pt x="858274" y="382941"/>
                    <a:pt x="842809" y="380601"/>
                    <a:pt x="841307" y="377626"/>
                  </a:cubicBezTo>
                  <a:cubicBezTo>
                    <a:pt x="840211" y="375287"/>
                    <a:pt x="866960" y="381303"/>
                    <a:pt x="870492" y="380969"/>
                  </a:cubicBezTo>
                  <a:cubicBezTo>
                    <a:pt x="874875" y="380367"/>
                    <a:pt x="879137" y="379241"/>
                    <a:pt x="883115" y="377626"/>
                  </a:cubicBezTo>
                  <a:cubicBezTo>
                    <a:pt x="890056" y="375053"/>
                    <a:pt x="896794" y="376958"/>
                    <a:pt x="904465" y="376222"/>
                  </a:cubicBezTo>
                  <a:cubicBezTo>
                    <a:pt x="916642" y="375053"/>
                    <a:pt x="875281" y="358608"/>
                    <a:pt x="863876" y="358876"/>
                  </a:cubicBezTo>
                  <a:cubicBezTo>
                    <a:pt x="851699" y="359143"/>
                    <a:pt x="818131" y="343033"/>
                    <a:pt x="816548" y="360747"/>
                  </a:cubicBezTo>
                  <a:cubicBezTo>
                    <a:pt x="816020" y="366931"/>
                    <a:pt x="803356" y="364925"/>
                    <a:pt x="807943" y="361750"/>
                  </a:cubicBezTo>
                  <a:cubicBezTo>
                    <a:pt x="812002" y="359076"/>
                    <a:pt x="806075" y="356269"/>
                    <a:pt x="808470" y="353661"/>
                  </a:cubicBezTo>
                  <a:cubicBezTo>
                    <a:pt x="810865" y="351054"/>
                    <a:pt x="818252" y="353127"/>
                    <a:pt x="818496" y="349885"/>
                  </a:cubicBezTo>
                  <a:cubicBezTo>
                    <a:pt x="819470" y="336515"/>
                    <a:pt x="762929" y="342197"/>
                    <a:pt x="776121" y="350319"/>
                  </a:cubicBezTo>
                  <a:cubicBezTo>
                    <a:pt x="782736" y="354363"/>
                    <a:pt x="743649" y="371911"/>
                    <a:pt x="752781" y="355266"/>
                  </a:cubicBezTo>
                  <a:cubicBezTo>
                    <a:pt x="763619" y="335513"/>
                    <a:pt x="729239" y="354297"/>
                    <a:pt x="718320" y="359644"/>
                  </a:cubicBezTo>
                  <a:cubicBezTo>
                    <a:pt x="714951" y="361282"/>
                    <a:pt x="700704" y="369671"/>
                    <a:pt x="693642" y="366697"/>
                  </a:cubicBezTo>
                  <a:cubicBezTo>
                    <a:pt x="682602" y="362184"/>
                    <a:pt x="706468" y="356369"/>
                    <a:pt x="710162" y="354731"/>
                  </a:cubicBezTo>
                  <a:cubicBezTo>
                    <a:pt x="714951" y="352592"/>
                    <a:pt x="720106" y="344303"/>
                    <a:pt x="728306" y="344704"/>
                  </a:cubicBezTo>
                  <a:cubicBezTo>
                    <a:pt x="741781" y="345406"/>
                    <a:pt x="729199" y="336549"/>
                    <a:pt x="717874" y="337652"/>
                  </a:cubicBezTo>
                  <a:cubicBezTo>
                    <a:pt x="709756" y="338387"/>
                    <a:pt x="708741" y="345272"/>
                    <a:pt x="701029" y="344804"/>
                  </a:cubicBezTo>
                  <a:cubicBezTo>
                    <a:pt x="699081" y="344804"/>
                    <a:pt x="679111" y="341061"/>
                    <a:pt x="679232" y="341830"/>
                  </a:cubicBezTo>
                  <a:cubicBezTo>
                    <a:pt x="677974" y="343136"/>
                    <a:pt x="676148" y="343989"/>
                    <a:pt x="674118" y="344203"/>
                  </a:cubicBezTo>
                  <a:cubicBezTo>
                    <a:pt x="668192" y="346208"/>
                    <a:pt x="674443" y="348147"/>
                    <a:pt x="674118" y="350887"/>
                  </a:cubicBezTo>
                  <a:cubicBezTo>
                    <a:pt x="673306" y="355700"/>
                    <a:pt x="659100" y="347244"/>
                    <a:pt x="652606" y="348247"/>
                  </a:cubicBezTo>
                  <a:cubicBezTo>
                    <a:pt x="648547" y="348848"/>
                    <a:pt x="628536" y="356135"/>
                    <a:pt x="628252" y="358274"/>
                  </a:cubicBezTo>
                  <a:cubicBezTo>
                    <a:pt x="628252" y="356970"/>
                    <a:pt x="638805" y="375587"/>
                    <a:pt x="622854" y="368669"/>
                  </a:cubicBezTo>
                  <a:cubicBezTo>
                    <a:pt x="616643" y="365995"/>
                    <a:pt x="621311" y="360747"/>
                    <a:pt x="616197" y="357873"/>
                  </a:cubicBezTo>
                  <a:cubicBezTo>
                    <a:pt x="612787" y="355968"/>
                    <a:pt x="604994" y="354865"/>
                    <a:pt x="616197" y="351823"/>
                  </a:cubicBezTo>
                  <a:cubicBezTo>
                    <a:pt x="625573" y="349216"/>
                    <a:pt x="634827" y="350553"/>
                    <a:pt x="640551" y="344771"/>
                  </a:cubicBezTo>
                  <a:cubicBezTo>
                    <a:pt x="644366" y="340827"/>
                    <a:pt x="628780" y="339590"/>
                    <a:pt x="628374" y="344203"/>
                  </a:cubicBezTo>
                  <a:cubicBezTo>
                    <a:pt x="628008" y="350052"/>
                    <a:pt x="569113" y="340860"/>
                    <a:pt x="594562" y="354698"/>
                  </a:cubicBezTo>
                  <a:cubicBezTo>
                    <a:pt x="629429" y="373549"/>
                    <a:pt x="559330" y="350119"/>
                    <a:pt x="562090" y="360480"/>
                  </a:cubicBezTo>
                  <a:cubicBezTo>
                    <a:pt x="563186" y="364524"/>
                    <a:pt x="581533" y="364992"/>
                    <a:pt x="583116" y="368903"/>
                  </a:cubicBezTo>
                  <a:cubicBezTo>
                    <a:pt x="582710" y="367800"/>
                    <a:pt x="559330" y="367365"/>
                    <a:pt x="556124" y="366429"/>
                  </a:cubicBezTo>
                  <a:cubicBezTo>
                    <a:pt x="550482" y="364791"/>
                    <a:pt x="549102" y="359377"/>
                    <a:pt x="542689" y="359444"/>
                  </a:cubicBezTo>
                  <a:cubicBezTo>
                    <a:pt x="540497" y="359444"/>
                    <a:pt x="529375" y="360848"/>
                    <a:pt x="532419" y="362987"/>
                  </a:cubicBezTo>
                  <a:cubicBezTo>
                    <a:pt x="536803" y="366028"/>
                    <a:pt x="545408" y="364457"/>
                    <a:pt x="544921" y="369504"/>
                  </a:cubicBezTo>
                  <a:cubicBezTo>
                    <a:pt x="544921" y="371309"/>
                    <a:pt x="545652" y="378829"/>
                    <a:pt x="538508" y="377693"/>
                  </a:cubicBezTo>
                  <a:cubicBezTo>
                    <a:pt x="527589" y="376022"/>
                    <a:pt x="535910" y="371543"/>
                    <a:pt x="531689" y="368836"/>
                  </a:cubicBezTo>
                  <a:cubicBezTo>
                    <a:pt x="525681" y="365025"/>
                    <a:pt x="514154" y="371276"/>
                    <a:pt x="508349" y="370540"/>
                  </a:cubicBezTo>
                  <a:cubicBezTo>
                    <a:pt x="506807" y="370340"/>
                    <a:pt x="511069" y="361583"/>
                    <a:pt x="509730" y="360146"/>
                  </a:cubicBezTo>
                  <a:cubicBezTo>
                    <a:pt x="506239" y="356269"/>
                    <a:pt x="478760" y="359945"/>
                    <a:pt x="473199" y="361583"/>
                  </a:cubicBezTo>
                  <a:cubicBezTo>
                    <a:pt x="469789" y="362552"/>
                    <a:pt x="488948" y="374651"/>
                    <a:pt x="471332" y="372680"/>
                  </a:cubicBezTo>
                  <a:cubicBezTo>
                    <a:pt x="456719" y="371075"/>
                    <a:pt x="460495" y="382707"/>
                    <a:pt x="449454" y="378863"/>
                  </a:cubicBezTo>
                  <a:cubicBezTo>
                    <a:pt x="441336" y="376089"/>
                    <a:pt x="440200" y="372178"/>
                    <a:pt x="427251" y="375888"/>
                  </a:cubicBezTo>
                  <a:cubicBezTo>
                    <a:pt x="420798" y="377693"/>
                    <a:pt x="402897" y="385046"/>
                    <a:pt x="404034" y="389057"/>
                  </a:cubicBezTo>
                  <a:cubicBezTo>
                    <a:pt x="405495" y="393837"/>
                    <a:pt x="425425" y="384879"/>
                    <a:pt x="430539" y="390127"/>
                  </a:cubicBezTo>
                  <a:cubicBezTo>
                    <a:pt x="431595" y="391196"/>
                    <a:pt x="434598" y="400154"/>
                    <a:pt x="432122" y="400455"/>
                  </a:cubicBezTo>
                  <a:cubicBezTo>
                    <a:pt x="425587" y="400922"/>
                    <a:pt x="412355" y="391330"/>
                    <a:pt x="409473" y="399987"/>
                  </a:cubicBezTo>
                  <a:cubicBezTo>
                    <a:pt x="407322" y="406671"/>
                    <a:pt x="394901" y="391965"/>
                    <a:pt x="387554" y="395107"/>
                  </a:cubicBezTo>
                  <a:cubicBezTo>
                    <a:pt x="356057" y="408476"/>
                    <a:pt x="392709" y="385080"/>
                    <a:pt x="380127" y="384177"/>
                  </a:cubicBezTo>
                  <a:cubicBezTo>
                    <a:pt x="373876" y="383743"/>
                    <a:pt x="360116" y="394204"/>
                    <a:pt x="354393" y="395809"/>
                  </a:cubicBezTo>
                  <a:cubicBezTo>
                    <a:pt x="351267" y="396678"/>
                    <a:pt x="340186" y="397914"/>
                    <a:pt x="338157" y="399719"/>
                  </a:cubicBezTo>
                  <a:cubicBezTo>
                    <a:pt x="336127" y="401524"/>
                    <a:pt x="343840" y="401791"/>
                    <a:pt x="337142" y="404098"/>
                  </a:cubicBezTo>
                  <a:cubicBezTo>
                    <a:pt x="327116" y="407440"/>
                    <a:pt x="321880" y="412520"/>
                    <a:pt x="310272" y="414827"/>
                  </a:cubicBezTo>
                  <a:cubicBezTo>
                    <a:pt x="306213" y="415562"/>
                    <a:pt x="270412" y="421511"/>
                    <a:pt x="274431" y="424553"/>
                  </a:cubicBezTo>
                  <a:cubicBezTo>
                    <a:pt x="276826" y="426425"/>
                    <a:pt x="313559" y="417133"/>
                    <a:pt x="318471" y="415729"/>
                  </a:cubicBezTo>
                  <a:cubicBezTo>
                    <a:pt x="324925" y="413824"/>
                    <a:pt x="344692" y="407139"/>
                    <a:pt x="353094" y="410114"/>
                  </a:cubicBezTo>
                  <a:cubicBezTo>
                    <a:pt x="366813" y="415027"/>
                    <a:pt x="370142" y="407908"/>
                    <a:pt x="381506" y="406237"/>
                  </a:cubicBezTo>
                  <a:cubicBezTo>
                    <a:pt x="387554" y="405301"/>
                    <a:pt x="402410" y="408209"/>
                    <a:pt x="395551" y="411785"/>
                  </a:cubicBezTo>
                  <a:cubicBezTo>
                    <a:pt x="388691" y="415361"/>
                    <a:pt x="397621" y="419807"/>
                    <a:pt x="392831" y="421311"/>
                  </a:cubicBezTo>
                  <a:cubicBezTo>
                    <a:pt x="381669" y="424921"/>
                    <a:pt x="383374" y="415930"/>
                    <a:pt x="374160" y="415361"/>
                  </a:cubicBezTo>
                  <a:cubicBezTo>
                    <a:pt x="372577" y="415361"/>
                    <a:pt x="349806" y="423450"/>
                    <a:pt x="346884" y="424586"/>
                  </a:cubicBezTo>
                  <a:cubicBezTo>
                    <a:pt x="337873" y="428263"/>
                    <a:pt x="342825" y="434613"/>
                    <a:pt x="336330" y="437956"/>
                  </a:cubicBezTo>
                  <a:cubicBezTo>
                    <a:pt x="329836" y="441298"/>
                    <a:pt x="328212" y="437722"/>
                    <a:pt x="322733" y="443671"/>
                  </a:cubicBezTo>
                  <a:cubicBezTo>
                    <a:pt x="316279" y="450724"/>
                    <a:pt x="303290" y="456640"/>
                    <a:pt x="291966" y="461854"/>
                  </a:cubicBezTo>
                  <a:cubicBezTo>
                    <a:pt x="280641" y="467068"/>
                    <a:pt x="291641" y="469407"/>
                    <a:pt x="286121" y="474387"/>
                  </a:cubicBezTo>
                  <a:cubicBezTo>
                    <a:pt x="282062" y="478064"/>
                    <a:pt x="269885" y="475992"/>
                    <a:pt x="263228" y="476025"/>
                  </a:cubicBezTo>
                  <a:cubicBezTo>
                    <a:pt x="252350" y="476025"/>
                    <a:pt x="257424" y="483746"/>
                    <a:pt x="257302" y="486988"/>
                  </a:cubicBezTo>
                  <a:cubicBezTo>
                    <a:pt x="257505" y="489101"/>
                    <a:pt x="256165" y="491116"/>
                    <a:pt x="253893" y="492102"/>
                  </a:cubicBezTo>
                  <a:cubicBezTo>
                    <a:pt x="246018" y="495444"/>
                    <a:pt x="253893" y="499923"/>
                    <a:pt x="253893" y="503700"/>
                  </a:cubicBezTo>
                  <a:cubicBezTo>
                    <a:pt x="253893" y="506608"/>
                    <a:pt x="237657" y="503433"/>
                    <a:pt x="234369" y="503967"/>
                  </a:cubicBezTo>
                  <a:cubicBezTo>
                    <a:pt x="228037" y="504937"/>
                    <a:pt x="227306" y="507811"/>
                    <a:pt x="218133" y="508212"/>
                  </a:cubicBezTo>
                  <a:cubicBezTo>
                    <a:pt x="205347" y="508780"/>
                    <a:pt x="205022" y="510117"/>
                    <a:pt x="215048" y="514496"/>
                  </a:cubicBezTo>
                  <a:cubicBezTo>
                    <a:pt x="244192" y="527297"/>
                    <a:pt x="216469" y="518741"/>
                    <a:pt x="202871" y="522952"/>
                  </a:cubicBezTo>
                  <a:cubicBezTo>
                    <a:pt x="194307" y="525592"/>
                    <a:pt x="181074" y="527598"/>
                    <a:pt x="175839" y="532143"/>
                  </a:cubicBezTo>
                  <a:cubicBezTo>
                    <a:pt x="169750" y="537424"/>
                    <a:pt x="168086" y="536188"/>
                    <a:pt x="159278" y="539530"/>
                  </a:cubicBezTo>
                  <a:cubicBezTo>
                    <a:pt x="151647" y="542471"/>
                    <a:pt x="155219" y="548722"/>
                    <a:pt x="147426" y="551629"/>
                  </a:cubicBezTo>
                  <a:cubicBezTo>
                    <a:pt x="141297" y="553936"/>
                    <a:pt x="137603" y="546549"/>
                    <a:pt x="133666" y="545246"/>
                  </a:cubicBezTo>
                  <a:cubicBezTo>
                    <a:pt x="125548" y="542572"/>
                    <a:pt x="115928" y="545647"/>
                    <a:pt x="119946" y="550326"/>
                  </a:cubicBezTo>
                  <a:cubicBezTo>
                    <a:pt x="125020" y="556242"/>
                    <a:pt x="129485" y="556409"/>
                    <a:pt x="115319" y="557579"/>
                  </a:cubicBezTo>
                  <a:cubicBezTo>
                    <a:pt x="108338" y="558147"/>
                    <a:pt x="67220" y="567372"/>
                    <a:pt x="74080" y="569210"/>
                  </a:cubicBezTo>
                  <a:cubicBezTo>
                    <a:pt x="75500" y="569611"/>
                    <a:pt x="95187" y="572285"/>
                    <a:pt x="90600" y="574224"/>
                  </a:cubicBezTo>
                  <a:cubicBezTo>
                    <a:pt x="84633" y="576664"/>
                    <a:pt x="67869" y="574224"/>
                    <a:pt x="61334" y="573689"/>
                  </a:cubicBezTo>
                  <a:cubicBezTo>
                    <a:pt x="50659" y="572653"/>
                    <a:pt x="53216" y="580842"/>
                    <a:pt x="43110" y="580006"/>
                  </a:cubicBezTo>
                  <a:cubicBezTo>
                    <a:pt x="21678" y="578268"/>
                    <a:pt x="31664" y="586691"/>
                    <a:pt x="29593" y="590033"/>
                  </a:cubicBezTo>
                  <a:cubicBezTo>
                    <a:pt x="27929" y="593008"/>
                    <a:pt x="7959" y="587660"/>
                    <a:pt x="1708" y="594478"/>
                  </a:cubicBezTo>
                  <a:cubicBezTo>
                    <a:pt x="-5963" y="602901"/>
                    <a:pt x="13885" y="601163"/>
                    <a:pt x="12749" y="606143"/>
                  </a:cubicBezTo>
                  <a:cubicBezTo>
                    <a:pt x="12302" y="608182"/>
                    <a:pt x="5118" y="609486"/>
                    <a:pt x="5564" y="611458"/>
                  </a:cubicBezTo>
                  <a:cubicBezTo>
                    <a:pt x="6092" y="614131"/>
                    <a:pt x="19162" y="612293"/>
                    <a:pt x="11125" y="616805"/>
                  </a:cubicBezTo>
                  <a:cubicBezTo>
                    <a:pt x="7066" y="619078"/>
                    <a:pt x="-1052" y="619613"/>
                    <a:pt x="1586" y="623490"/>
                  </a:cubicBezTo>
                  <a:cubicBezTo>
                    <a:pt x="5199" y="628804"/>
                    <a:pt x="8771" y="627401"/>
                    <a:pt x="2520" y="632247"/>
                  </a:cubicBezTo>
                  <a:cubicBezTo>
                    <a:pt x="-7100" y="639767"/>
                    <a:pt x="14413" y="637829"/>
                    <a:pt x="18756" y="638364"/>
                  </a:cubicBezTo>
                  <a:cubicBezTo>
                    <a:pt x="24682" y="639099"/>
                    <a:pt x="21759" y="643110"/>
                    <a:pt x="30527" y="640770"/>
                  </a:cubicBezTo>
                  <a:cubicBezTo>
                    <a:pt x="37224" y="638999"/>
                    <a:pt x="42704" y="634085"/>
                    <a:pt x="50294" y="633317"/>
                  </a:cubicBezTo>
                  <a:cubicBezTo>
                    <a:pt x="54962" y="632949"/>
                    <a:pt x="56870" y="635723"/>
                    <a:pt x="56464" y="637495"/>
                  </a:cubicBezTo>
                  <a:cubicBezTo>
                    <a:pt x="55733" y="640670"/>
                    <a:pt x="48995" y="639767"/>
                    <a:pt x="44693" y="640402"/>
                  </a:cubicBezTo>
                  <a:cubicBezTo>
                    <a:pt x="36210" y="641672"/>
                    <a:pt x="31460" y="655443"/>
                    <a:pt x="21881" y="648491"/>
                  </a:cubicBezTo>
                  <a:cubicBezTo>
                    <a:pt x="20014" y="647154"/>
                    <a:pt x="21678" y="643010"/>
                    <a:pt x="15955" y="643812"/>
                  </a:cubicBezTo>
                  <a:cubicBezTo>
                    <a:pt x="11896" y="644380"/>
                    <a:pt x="7432" y="646686"/>
                    <a:pt x="7310" y="648926"/>
                  </a:cubicBezTo>
                  <a:cubicBezTo>
                    <a:pt x="7310" y="651934"/>
                    <a:pt x="13641" y="652736"/>
                    <a:pt x="10476" y="656145"/>
                  </a:cubicBezTo>
                  <a:cubicBezTo>
                    <a:pt x="8933" y="657816"/>
                    <a:pt x="3494" y="661660"/>
                    <a:pt x="8974" y="663131"/>
                  </a:cubicBezTo>
                  <a:cubicBezTo>
                    <a:pt x="22166" y="666673"/>
                    <a:pt x="28051" y="652602"/>
                    <a:pt x="40350" y="657749"/>
                  </a:cubicBezTo>
                  <a:cubicBezTo>
                    <a:pt x="42339" y="658551"/>
                    <a:pt x="47372" y="661794"/>
                    <a:pt x="42541" y="662830"/>
                  </a:cubicBezTo>
                  <a:cubicBezTo>
                    <a:pt x="34180" y="664668"/>
                    <a:pt x="39294" y="667208"/>
                    <a:pt x="34423" y="669849"/>
                  </a:cubicBezTo>
                  <a:cubicBezTo>
                    <a:pt x="29553" y="672489"/>
                    <a:pt x="12830" y="672222"/>
                    <a:pt x="25940" y="678071"/>
                  </a:cubicBezTo>
                  <a:cubicBezTo>
                    <a:pt x="35885" y="682225"/>
                    <a:pt x="46641" y="684993"/>
                    <a:pt x="57682" y="686260"/>
                  </a:cubicBezTo>
                  <a:cubicBezTo>
                    <a:pt x="72172" y="687830"/>
                    <a:pt x="81224" y="692443"/>
                    <a:pt x="97419" y="691039"/>
                  </a:cubicBezTo>
                  <a:cubicBezTo>
                    <a:pt x="112315" y="689736"/>
                    <a:pt x="126400" y="683185"/>
                    <a:pt x="137400" y="678405"/>
                  </a:cubicBezTo>
                  <a:cubicBezTo>
                    <a:pt x="145477" y="675213"/>
                    <a:pt x="153189" y="671420"/>
                    <a:pt x="160414" y="667075"/>
                  </a:cubicBezTo>
                  <a:cubicBezTo>
                    <a:pt x="168532" y="661760"/>
                    <a:pt x="185864" y="669481"/>
                    <a:pt x="188827" y="659253"/>
                  </a:cubicBezTo>
                  <a:cubicBezTo>
                    <a:pt x="190653" y="652769"/>
                    <a:pt x="194266" y="649494"/>
                    <a:pt x="201004" y="657281"/>
                  </a:cubicBezTo>
                  <a:cubicBezTo>
                    <a:pt x="203805" y="660624"/>
                    <a:pt x="205915" y="660457"/>
                    <a:pt x="210461" y="662729"/>
                  </a:cubicBezTo>
                  <a:cubicBezTo>
                    <a:pt x="213181" y="664070"/>
                    <a:pt x="214764" y="666570"/>
                    <a:pt x="214520" y="669180"/>
                  </a:cubicBezTo>
                  <a:cubicBezTo>
                    <a:pt x="218092" y="668769"/>
                    <a:pt x="221745" y="669033"/>
                    <a:pt x="225155" y="669949"/>
                  </a:cubicBezTo>
                  <a:cubicBezTo>
                    <a:pt x="230553" y="672021"/>
                    <a:pt x="237007" y="643210"/>
                    <a:pt x="242690" y="642776"/>
                  </a:cubicBezTo>
                  <a:cubicBezTo>
                    <a:pt x="255272" y="641840"/>
                    <a:pt x="261767" y="643244"/>
                    <a:pt x="263472" y="635656"/>
                  </a:cubicBezTo>
                  <a:cubicBezTo>
                    <a:pt x="264730" y="630275"/>
                    <a:pt x="250808" y="621117"/>
                    <a:pt x="254501" y="617641"/>
                  </a:cubicBezTo>
                  <a:cubicBezTo>
                    <a:pt x="258195" y="614165"/>
                    <a:pt x="281900" y="613931"/>
                    <a:pt x="268911" y="605074"/>
                  </a:cubicBezTo>
                  <a:cubicBezTo>
                    <a:pt x="261645" y="600094"/>
                    <a:pt x="244841" y="600328"/>
                    <a:pt x="248616" y="592105"/>
                  </a:cubicBezTo>
                  <a:cubicBezTo>
                    <a:pt x="250036" y="589131"/>
                    <a:pt x="253689" y="586758"/>
                    <a:pt x="252675" y="583516"/>
                  </a:cubicBezTo>
                  <a:cubicBezTo>
                    <a:pt x="251498" y="578970"/>
                    <a:pt x="245693" y="575795"/>
                    <a:pt x="247358" y="570982"/>
                  </a:cubicBezTo>
                  <a:cubicBezTo>
                    <a:pt x="249834" y="563929"/>
                    <a:pt x="243948" y="556409"/>
                    <a:pt x="248941" y="549791"/>
                  </a:cubicBezTo>
                  <a:cubicBezTo>
                    <a:pt x="253933" y="543173"/>
                    <a:pt x="268099" y="535285"/>
                    <a:pt x="284010" y="534149"/>
                  </a:cubicBezTo>
                  <a:cubicBezTo>
                    <a:pt x="298135" y="533146"/>
                    <a:pt x="309865" y="540366"/>
                    <a:pt x="314655" y="529135"/>
                  </a:cubicBezTo>
                  <a:cubicBezTo>
                    <a:pt x="317700" y="521949"/>
                    <a:pt x="297242" y="524289"/>
                    <a:pt x="299799" y="518206"/>
                  </a:cubicBezTo>
                  <a:cubicBezTo>
                    <a:pt x="304589" y="506842"/>
                    <a:pt x="328212" y="501494"/>
                    <a:pt x="327197" y="488125"/>
                  </a:cubicBezTo>
                  <a:cubicBezTo>
                    <a:pt x="326021" y="473151"/>
                    <a:pt x="335802" y="481039"/>
                    <a:pt x="355610" y="474989"/>
                  </a:cubicBezTo>
                  <a:cubicBezTo>
                    <a:pt x="361780" y="473084"/>
                    <a:pt x="368193" y="461285"/>
                    <a:pt x="373145" y="457509"/>
                  </a:cubicBezTo>
                  <a:cubicBezTo>
                    <a:pt x="377610" y="454674"/>
                    <a:pt x="382400" y="452211"/>
                    <a:pt x="387474" y="450155"/>
                  </a:cubicBezTo>
                  <a:cubicBezTo>
                    <a:pt x="394861" y="446412"/>
                    <a:pt x="385565" y="443471"/>
                    <a:pt x="391248" y="440128"/>
                  </a:cubicBezTo>
                  <a:cubicBezTo>
                    <a:pt x="402248" y="433076"/>
                    <a:pt x="403101" y="422481"/>
                    <a:pt x="427251" y="423015"/>
                  </a:cubicBezTo>
                  <a:cubicBezTo>
                    <a:pt x="444786" y="423383"/>
                    <a:pt x="455258" y="423015"/>
                    <a:pt x="453472" y="413657"/>
                  </a:cubicBezTo>
                  <a:cubicBezTo>
                    <a:pt x="451199" y="402025"/>
                    <a:pt x="469992" y="408242"/>
                    <a:pt x="486999" y="408777"/>
                  </a:cubicBezTo>
                  <a:cubicBezTo>
                    <a:pt x="496822" y="409044"/>
                    <a:pt x="523043" y="420074"/>
                    <a:pt x="523530" y="408576"/>
                  </a:cubicBezTo>
                  <a:cubicBezTo>
                    <a:pt x="523855" y="401624"/>
                    <a:pt x="529984" y="391296"/>
                    <a:pt x="547884" y="397413"/>
                  </a:cubicBezTo>
                  <a:cubicBezTo>
                    <a:pt x="560061" y="385280"/>
                    <a:pt x="578083" y="390728"/>
                    <a:pt x="592086" y="398616"/>
                  </a:cubicBezTo>
                  <a:cubicBezTo>
                    <a:pt x="600204" y="403329"/>
                    <a:pt x="607876" y="404766"/>
                    <a:pt x="619728" y="406638"/>
                  </a:cubicBezTo>
                  <a:cubicBezTo>
                    <a:pt x="625532" y="407684"/>
                    <a:pt x="631418" y="408486"/>
                    <a:pt x="637344" y="409044"/>
                  </a:cubicBezTo>
                  <a:cubicBezTo>
                    <a:pt x="645746" y="409646"/>
                    <a:pt x="645462" y="406671"/>
                    <a:pt x="652241" y="406437"/>
                  </a:cubicBezTo>
                  <a:cubicBezTo>
                    <a:pt x="666203" y="405936"/>
                    <a:pt x="678056" y="411217"/>
                    <a:pt x="687635" y="414526"/>
                  </a:cubicBezTo>
                  <a:cubicBezTo>
                    <a:pt x="693966" y="416698"/>
                    <a:pt x="699812" y="409479"/>
                    <a:pt x="700299" y="407641"/>
                  </a:cubicBezTo>
                  <a:cubicBezTo>
                    <a:pt x="702206" y="401691"/>
                    <a:pt x="707239" y="405401"/>
                    <a:pt x="716535" y="404064"/>
                  </a:cubicBezTo>
                  <a:cubicBezTo>
                    <a:pt x="729158" y="402293"/>
                    <a:pt x="711989" y="389458"/>
                    <a:pt x="724652" y="385715"/>
                  </a:cubicBezTo>
                  <a:cubicBezTo>
                    <a:pt x="740888" y="381035"/>
                    <a:pt x="743121" y="377125"/>
                    <a:pt x="763659" y="378194"/>
                  </a:cubicBezTo>
                  <a:cubicBezTo>
                    <a:pt x="785862" y="379331"/>
                    <a:pt x="789068" y="371510"/>
                    <a:pt x="809201" y="381303"/>
                  </a:cubicBezTo>
                  <a:cubicBezTo>
                    <a:pt x="829334" y="391096"/>
                    <a:pt x="842687" y="387352"/>
                    <a:pt x="841064" y="403028"/>
                  </a:cubicBezTo>
                  <a:cubicBezTo>
                    <a:pt x="851617" y="398817"/>
                    <a:pt x="879584" y="395608"/>
                    <a:pt x="893425" y="396343"/>
                  </a:cubicBezTo>
                  <a:cubicBezTo>
                    <a:pt x="925125" y="397814"/>
                    <a:pt x="886362" y="380066"/>
                    <a:pt x="879827" y="389659"/>
                  </a:cubicBezTo>
                  <a:cubicBezTo>
                    <a:pt x="876823" y="393068"/>
                    <a:pt x="881573" y="386149"/>
                    <a:pt x="879299" y="389425"/>
                  </a:cubicBezTo>
                  <a:close/>
                  <a:moveTo>
                    <a:pt x="245450" y="43892"/>
                  </a:moveTo>
                  <a:cubicBezTo>
                    <a:pt x="255394" y="44861"/>
                    <a:pt x="217362" y="59333"/>
                    <a:pt x="225885" y="65717"/>
                  </a:cubicBezTo>
                  <a:cubicBezTo>
                    <a:pt x="238874" y="75410"/>
                    <a:pt x="270818" y="84267"/>
                    <a:pt x="295335" y="83499"/>
                  </a:cubicBezTo>
                  <a:cubicBezTo>
                    <a:pt x="306821" y="83164"/>
                    <a:pt x="316360" y="81928"/>
                    <a:pt x="320744" y="76647"/>
                  </a:cubicBezTo>
                  <a:cubicBezTo>
                    <a:pt x="322773" y="74207"/>
                    <a:pt x="324113" y="70530"/>
                    <a:pt x="329389" y="68993"/>
                  </a:cubicBezTo>
                  <a:cubicBezTo>
                    <a:pt x="334666" y="67455"/>
                    <a:pt x="341039" y="69461"/>
                    <a:pt x="344245" y="66586"/>
                  </a:cubicBezTo>
                  <a:cubicBezTo>
                    <a:pt x="346396" y="64648"/>
                    <a:pt x="356828" y="56559"/>
                    <a:pt x="362308" y="62509"/>
                  </a:cubicBezTo>
                  <a:cubicBezTo>
                    <a:pt x="366367" y="66586"/>
                    <a:pt x="346559" y="74508"/>
                    <a:pt x="360156" y="75076"/>
                  </a:cubicBezTo>
                  <a:cubicBezTo>
                    <a:pt x="376068" y="75778"/>
                    <a:pt x="383130" y="70230"/>
                    <a:pt x="396159" y="68057"/>
                  </a:cubicBezTo>
                  <a:cubicBezTo>
                    <a:pt x="408336" y="66052"/>
                    <a:pt x="406023" y="77650"/>
                    <a:pt x="396159" y="79254"/>
                  </a:cubicBezTo>
                  <a:cubicBezTo>
                    <a:pt x="385565" y="80992"/>
                    <a:pt x="373186" y="80123"/>
                    <a:pt x="363363" y="82997"/>
                  </a:cubicBezTo>
                  <a:cubicBezTo>
                    <a:pt x="351754" y="86908"/>
                    <a:pt x="339374" y="88950"/>
                    <a:pt x="326832" y="89014"/>
                  </a:cubicBezTo>
                  <a:cubicBezTo>
                    <a:pt x="294360" y="90183"/>
                    <a:pt x="286242" y="102182"/>
                    <a:pt x="325493" y="100311"/>
                  </a:cubicBezTo>
                  <a:cubicBezTo>
                    <a:pt x="341404" y="99509"/>
                    <a:pt x="399731" y="93225"/>
                    <a:pt x="411584" y="100311"/>
                  </a:cubicBezTo>
                  <a:cubicBezTo>
                    <a:pt x="411056" y="99943"/>
                    <a:pt x="349847" y="102851"/>
                    <a:pt x="344002" y="105592"/>
                  </a:cubicBezTo>
                  <a:cubicBezTo>
                    <a:pt x="340552" y="107163"/>
                    <a:pt x="343352" y="109502"/>
                    <a:pt x="337426" y="109402"/>
                  </a:cubicBezTo>
                  <a:cubicBezTo>
                    <a:pt x="328740" y="109235"/>
                    <a:pt x="319283" y="107564"/>
                    <a:pt x="310718" y="108800"/>
                  </a:cubicBezTo>
                  <a:cubicBezTo>
                    <a:pt x="288678" y="112143"/>
                    <a:pt x="331256" y="121702"/>
                    <a:pt x="335518" y="122905"/>
                  </a:cubicBezTo>
                  <a:cubicBezTo>
                    <a:pt x="341648" y="124610"/>
                    <a:pt x="343231" y="127417"/>
                    <a:pt x="351024" y="127751"/>
                  </a:cubicBezTo>
                  <a:cubicBezTo>
                    <a:pt x="353703" y="127751"/>
                    <a:pt x="380410" y="126615"/>
                    <a:pt x="379843" y="128955"/>
                  </a:cubicBezTo>
                  <a:cubicBezTo>
                    <a:pt x="379356" y="130726"/>
                    <a:pt x="356666" y="133433"/>
                    <a:pt x="360075" y="135038"/>
                  </a:cubicBezTo>
                  <a:cubicBezTo>
                    <a:pt x="367868" y="138681"/>
                    <a:pt x="383820" y="138213"/>
                    <a:pt x="389706" y="142993"/>
                  </a:cubicBezTo>
                  <a:cubicBezTo>
                    <a:pt x="405455" y="155727"/>
                    <a:pt x="426236" y="123774"/>
                    <a:pt x="430580" y="121033"/>
                  </a:cubicBezTo>
                  <a:cubicBezTo>
                    <a:pt x="440605" y="114349"/>
                    <a:pt x="451483" y="112477"/>
                    <a:pt x="466136" y="108800"/>
                  </a:cubicBezTo>
                  <a:cubicBezTo>
                    <a:pt x="477623" y="105892"/>
                    <a:pt x="469627" y="101013"/>
                    <a:pt x="472184" y="96333"/>
                  </a:cubicBezTo>
                  <a:cubicBezTo>
                    <a:pt x="474742" y="91654"/>
                    <a:pt x="493778" y="94395"/>
                    <a:pt x="489678" y="90350"/>
                  </a:cubicBezTo>
                  <a:cubicBezTo>
                    <a:pt x="481804" y="82630"/>
                    <a:pt x="502505" y="74140"/>
                    <a:pt x="517807" y="73104"/>
                  </a:cubicBezTo>
                  <a:cubicBezTo>
                    <a:pt x="528442" y="72369"/>
                    <a:pt x="553648" y="69461"/>
                    <a:pt x="563064" y="71132"/>
                  </a:cubicBezTo>
                  <a:cubicBezTo>
                    <a:pt x="578286" y="73806"/>
                    <a:pt x="547275" y="76413"/>
                    <a:pt x="545895" y="77817"/>
                  </a:cubicBezTo>
                  <a:cubicBezTo>
                    <a:pt x="535017" y="88111"/>
                    <a:pt x="590097" y="92389"/>
                    <a:pt x="577068" y="104555"/>
                  </a:cubicBezTo>
                  <a:cubicBezTo>
                    <a:pt x="574470" y="106962"/>
                    <a:pt x="551253" y="115886"/>
                    <a:pt x="565987" y="117724"/>
                  </a:cubicBezTo>
                  <a:cubicBezTo>
                    <a:pt x="583238" y="119897"/>
                    <a:pt x="598459" y="113847"/>
                    <a:pt x="615060" y="115017"/>
                  </a:cubicBezTo>
                  <a:cubicBezTo>
                    <a:pt x="623178" y="115585"/>
                    <a:pt x="617455" y="121535"/>
                    <a:pt x="618875" y="123841"/>
                  </a:cubicBezTo>
                  <a:cubicBezTo>
                    <a:pt x="624274" y="132464"/>
                    <a:pt x="655406" y="122370"/>
                    <a:pt x="661657" y="119997"/>
                  </a:cubicBezTo>
                  <a:cubicBezTo>
                    <a:pt x="672657" y="115752"/>
                    <a:pt x="689745" y="114382"/>
                    <a:pt x="699365" y="110371"/>
                  </a:cubicBezTo>
                  <a:cubicBezTo>
                    <a:pt x="713653" y="104355"/>
                    <a:pt x="670952" y="105023"/>
                    <a:pt x="668801" y="105124"/>
                  </a:cubicBezTo>
                  <a:cubicBezTo>
                    <a:pt x="665351" y="105124"/>
                    <a:pt x="633934" y="103854"/>
                    <a:pt x="644447" y="99943"/>
                  </a:cubicBezTo>
                  <a:cubicBezTo>
                    <a:pt x="665229" y="92256"/>
                    <a:pt x="626709" y="92623"/>
                    <a:pt x="616968" y="91119"/>
                  </a:cubicBezTo>
                  <a:cubicBezTo>
                    <a:pt x="596389" y="87777"/>
                    <a:pt x="617820" y="87944"/>
                    <a:pt x="612909" y="83365"/>
                  </a:cubicBezTo>
                  <a:cubicBezTo>
                    <a:pt x="606983" y="78051"/>
                    <a:pt x="582791" y="77883"/>
                    <a:pt x="581817" y="73104"/>
                  </a:cubicBezTo>
                  <a:cubicBezTo>
                    <a:pt x="580356" y="65784"/>
                    <a:pt x="585227" y="64547"/>
                    <a:pt x="568017" y="61205"/>
                  </a:cubicBezTo>
                  <a:cubicBezTo>
                    <a:pt x="556368" y="58966"/>
                    <a:pt x="559452" y="55924"/>
                    <a:pt x="548980" y="54821"/>
                  </a:cubicBezTo>
                  <a:cubicBezTo>
                    <a:pt x="541390" y="53986"/>
                    <a:pt x="523124" y="60871"/>
                    <a:pt x="523489" y="52816"/>
                  </a:cubicBezTo>
                  <a:cubicBezTo>
                    <a:pt x="523733" y="47501"/>
                    <a:pt x="495280" y="48738"/>
                    <a:pt x="488948" y="48805"/>
                  </a:cubicBezTo>
                  <a:cubicBezTo>
                    <a:pt x="479653" y="48805"/>
                    <a:pt x="481195" y="37675"/>
                    <a:pt x="474579" y="35202"/>
                  </a:cubicBezTo>
                  <a:cubicBezTo>
                    <a:pt x="467963" y="32728"/>
                    <a:pt x="441863" y="42354"/>
                    <a:pt x="441580" y="39346"/>
                  </a:cubicBezTo>
                  <a:cubicBezTo>
                    <a:pt x="441133" y="34934"/>
                    <a:pt x="460535" y="29987"/>
                    <a:pt x="452133" y="25810"/>
                  </a:cubicBezTo>
                  <a:cubicBezTo>
                    <a:pt x="442594" y="21942"/>
                    <a:pt x="432082" y="20061"/>
                    <a:pt x="421447" y="20328"/>
                  </a:cubicBezTo>
                  <a:cubicBezTo>
                    <a:pt x="409270" y="20729"/>
                    <a:pt x="413329" y="24172"/>
                    <a:pt x="403506" y="17153"/>
                  </a:cubicBezTo>
                  <a:cubicBezTo>
                    <a:pt x="388772" y="6758"/>
                    <a:pt x="395023" y="20863"/>
                    <a:pt x="386337" y="21598"/>
                  </a:cubicBezTo>
                  <a:cubicBezTo>
                    <a:pt x="365433" y="23370"/>
                    <a:pt x="382927" y="29286"/>
                    <a:pt x="388407" y="33430"/>
                  </a:cubicBezTo>
                  <a:cubicBezTo>
                    <a:pt x="395185" y="38504"/>
                    <a:pt x="400259" y="44924"/>
                    <a:pt x="403141" y="52080"/>
                  </a:cubicBezTo>
                  <a:cubicBezTo>
                    <a:pt x="407200" y="62408"/>
                    <a:pt x="369898" y="41117"/>
                    <a:pt x="366285" y="37942"/>
                  </a:cubicBezTo>
                  <a:cubicBezTo>
                    <a:pt x="360359" y="32695"/>
                    <a:pt x="361658" y="24339"/>
                    <a:pt x="345990" y="22367"/>
                  </a:cubicBezTo>
                  <a:cubicBezTo>
                    <a:pt x="338685" y="21431"/>
                    <a:pt x="323260" y="31625"/>
                    <a:pt x="321840" y="34667"/>
                  </a:cubicBezTo>
                  <a:cubicBezTo>
                    <a:pt x="320419" y="37708"/>
                    <a:pt x="325899" y="40382"/>
                    <a:pt x="320541" y="42521"/>
                  </a:cubicBezTo>
                  <a:cubicBezTo>
                    <a:pt x="316807" y="44059"/>
                    <a:pt x="312423" y="42856"/>
                    <a:pt x="312423" y="40650"/>
                  </a:cubicBezTo>
                  <a:cubicBezTo>
                    <a:pt x="312423" y="37575"/>
                    <a:pt x="289043" y="27715"/>
                    <a:pt x="283320" y="29820"/>
                  </a:cubicBezTo>
                  <a:cubicBezTo>
                    <a:pt x="287379" y="28350"/>
                    <a:pt x="341648" y="22534"/>
                    <a:pt x="307674" y="20629"/>
                  </a:cubicBezTo>
                  <a:cubicBezTo>
                    <a:pt x="286526" y="19459"/>
                    <a:pt x="263025" y="27314"/>
                    <a:pt x="244597" y="23637"/>
                  </a:cubicBezTo>
                  <a:cubicBezTo>
                    <a:pt x="233395" y="21398"/>
                    <a:pt x="199665" y="26979"/>
                    <a:pt x="198609" y="32762"/>
                  </a:cubicBezTo>
                  <a:cubicBezTo>
                    <a:pt x="197757" y="37307"/>
                    <a:pt x="203886" y="49106"/>
                    <a:pt x="217402" y="48972"/>
                  </a:cubicBezTo>
                  <a:cubicBezTo>
                    <a:pt x="227956" y="48972"/>
                    <a:pt x="233922" y="42789"/>
                    <a:pt x="245490" y="43959"/>
                  </a:cubicBezTo>
                  <a:close/>
                  <a:moveTo>
                    <a:pt x="211557" y="74441"/>
                  </a:moveTo>
                  <a:cubicBezTo>
                    <a:pt x="221543" y="75611"/>
                    <a:pt x="226941" y="83231"/>
                    <a:pt x="237819" y="82830"/>
                  </a:cubicBezTo>
                  <a:cubicBezTo>
                    <a:pt x="234125" y="82830"/>
                    <a:pt x="206443" y="62408"/>
                    <a:pt x="200517" y="60035"/>
                  </a:cubicBezTo>
                  <a:cubicBezTo>
                    <a:pt x="193779" y="57294"/>
                    <a:pt x="180750" y="59367"/>
                    <a:pt x="185661" y="63846"/>
                  </a:cubicBezTo>
                  <a:cubicBezTo>
                    <a:pt x="192845" y="69387"/>
                    <a:pt x="201856" y="73074"/>
                    <a:pt x="211557" y="74441"/>
                  </a:cubicBezTo>
                  <a:close/>
                  <a:moveTo>
                    <a:pt x="475391" y="16618"/>
                  </a:moveTo>
                  <a:cubicBezTo>
                    <a:pt x="481317" y="18891"/>
                    <a:pt x="461590" y="19960"/>
                    <a:pt x="474579" y="24372"/>
                  </a:cubicBezTo>
                  <a:cubicBezTo>
                    <a:pt x="484442" y="27715"/>
                    <a:pt x="497796" y="28316"/>
                    <a:pt x="509324" y="28717"/>
                  </a:cubicBezTo>
                  <a:cubicBezTo>
                    <a:pt x="537412" y="29720"/>
                    <a:pt x="565054" y="27782"/>
                    <a:pt x="593020" y="28049"/>
                  </a:cubicBezTo>
                  <a:cubicBezTo>
                    <a:pt x="617374" y="28283"/>
                    <a:pt x="602193" y="31391"/>
                    <a:pt x="587987" y="32394"/>
                  </a:cubicBezTo>
                  <a:cubicBezTo>
                    <a:pt x="571223" y="33464"/>
                    <a:pt x="543622" y="32695"/>
                    <a:pt x="529619" y="37341"/>
                  </a:cubicBezTo>
                  <a:cubicBezTo>
                    <a:pt x="522028" y="39814"/>
                    <a:pt x="573983" y="45596"/>
                    <a:pt x="578326" y="45997"/>
                  </a:cubicBezTo>
                  <a:cubicBezTo>
                    <a:pt x="595496" y="47334"/>
                    <a:pt x="616765" y="44961"/>
                    <a:pt x="630646" y="49340"/>
                  </a:cubicBezTo>
                  <a:cubicBezTo>
                    <a:pt x="660358" y="58832"/>
                    <a:pt x="680735" y="52949"/>
                    <a:pt x="711096" y="52381"/>
                  </a:cubicBezTo>
                  <a:cubicBezTo>
                    <a:pt x="740564" y="51813"/>
                    <a:pt x="751360" y="43323"/>
                    <a:pt x="776364" y="39012"/>
                  </a:cubicBezTo>
                  <a:cubicBezTo>
                    <a:pt x="797430" y="35335"/>
                    <a:pt x="819064" y="26211"/>
                    <a:pt x="781843" y="22935"/>
                  </a:cubicBezTo>
                  <a:cubicBezTo>
                    <a:pt x="767881" y="21732"/>
                    <a:pt x="753756" y="21765"/>
                    <a:pt x="739833" y="20428"/>
                  </a:cubicBezTo>
                  <a:cubicBezTo>
                    <a:pt x="727291" y="19192"/>
                    <a:pt x="715885" y="15181"/>
                    <a:pt x="703302" y="13409"/>
                  </a:cubicBezTo>
                  <a:cubicBezTo>
                    <a:pt x="685483" y="10802"/>
                    <a:pt x="681668" y="11905"/>
                    <a:pt x="669816" y="16752"/>
                  </a:cubicBezTo>
                  <a:cubicBezTo>
                    <a:pt x="657963" y="21598"/>
                    <a:pt x="652809" y="16752"/>
                    <a:pt x="651672" y="11872"/>
                  </a:cubicBezTo>
                  <a:cubicBezTo>
                    <a:pt x="650170" y="5555"/>
                    <a:pt x="637506" y="3015"/>
                    <a:pt x="625979" y="6858"/>
                  </a:cubicBezTo>
                  <a:cubicBezTo>
                    <a:pt x="615385" y="10401"/>
                    <a:pt x="625654" y="16384"/>
                    <a:pt x="626222" y="20896"/>
                  </a:cubicBezTo>
                  <a:cubicBezTo>
                    <a:pt x="626791" y="25408"/>
                    <a:pt x="600610" y="17286"/>
                    <a:pt x="598337" y="15782"/>
                  </a:cubicBezTo>
                  <a:cubicBezTo>
                    <a:pt x="590219" y="10334"/>
                    <a:pt x="590219" y="11905"/>
                    <a:pt x="576013" y="13376"/>
                  </a:cubicBezTo>
                  <a:cubicBezTo>
                    <a:pt x="564526" y="14579"/>
                    <a:pt x="561928" y="7427"/>
                    <a:pt x="553080" y="4652"/>
                  </a:cubicBezTo>
                  <a:cubicBezTo>
                    <a:pt x="551415" y="4151"/>
                    <a:pt x="522028" y="-2433"/>
                    <a:pt x="523287" y="341"/>
                  </a:cubicBezTo>
                  <a:cubicBezTo>
                    <a:pt x="525966" y="6290"/>
                    <a:pt x="529497" y="10368"/>
                    <a:pt x="511110" y="5455"/>
                  </a:cubicBezTo>
                  <a:cubicBezTo>
                    <a:pt x="494102" y="1009"/>
                    <a:pt x="499623" y="4218"/>
                    <a:pt x="500962" y="10234"/>
                  </a:cubicBezTo>
                  <a:cubicBezTo>
                    <a:pt x="502464" y="17119"/>
                    <a:pt x="484726" y="6156"/>
                    <a:pt x="482453" y="5154"/>
                  </a:cubicBezTo>
                  <a:cubicBezTo>
                    <a:pt x="478394" y="3382"/>
                    <a:pt x="471575" y="1277"/>
                    <a:pt x="466217" y="3382"/>
                  </a:cubicBezTo>
                  <a:cubicBezTo>
                    <a:pt x="466217" y="3382"/>
                    <a:pt x="455299" y="10368"/>
                    <a:pt x="454527" y="9265"/>
                  </a:cubicBezTo>
                  <a:cubicBezTo>
                    <a:pt x="456598" y="12206"/>
                    <a:pt x="470276" y="14713"/>
                    <a:pt x="475269" y="1665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E7A0D6E-15FC-4566-BD6E-95305216612B}"/>
                </a:ext>
              </a:extLst>
            </p:cNvPr>
            <p:cNvSpPr/>
            <p:nvPr/>
          </p:nvSpPr>
          <p:spPr>
            <a:xfrm>
              <a:off x="11777845" y="5475123"/>
              <a:ext cx="77660" cy="70717"/>
            </a:xfrm>
            <a:custGeom>
              <a:avLst/>
              <a:gdLst>
                <a:gd name="connsiteX0" fmla="*/ 38856 w 77660"/>
                <a:gd name="connsiteY0" fmla="*/ 23613 h 70717"/>
                <a:gd name="connsiteX1" fmla="*/ 214 w 77660"/>
                <a:gd name="connsiteY1" fmla="*/ 16 h 70717"/>
                <a:gd name="connsiteX2" fmla="*/ 43726 w 77660"/>
                <a:gd name="connsiteY2" fmla="*/ 46809 h 70717"/>
                <a:gd name="connsiteX3" fmla="*/ 74128 w 77660"/>
                <a:gd name="connsiteY3" fmla="*/ 61782 h 70717"/>
                <a:gd name="connsiteX4" fmla="*/ 38856 w 77660"/>
                <a:gd name="connsiteY4" fmla="*/ 23746 h 7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660" h="70717">
                  <a:moveTo>
                    <a:pt x="38856" y="23613"/>
                  </a:moveTo>
                  <a:cubicBezTo>
                    <a:pt x="32889" y="21507"/>
                    <a:pt x="3055" y="-3594"/>
                    <a:pt x="214" y="16"/>
                  </a:cubicBezTo>
                  <a:cubicBezTo>
                    <a:pt x="-3845" y="5297"/>
                    <a:pt x="38490" y="38186"/>
                    <a:pt x="43726" y="46809"/>
                  </a:cubicBezTo>
                  <a:cubicBezTo>
                    <a:pt x="51033" y="58440"/>
                    <a:pt x="89146" y="83575"/>
                    <a:pt x="74128" y="61782"/>
                  </a:cubicBezTo>
                  <a:cubicBezTo>
                    <a:pt x="68771" y="53961"/>
                    <a:pt x="50262" y="27691"/>
                    <a:pt x="38856" y="2374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26E02445-8E1D-403F-BFCE-34148271BA46}"/>
                </a:ext>
              </a:extLst>
            </p:cNvPr>
            <p:cNvSpPr/>
            <p:nvPr/>
          </p:nvSpPr>
          <p:spPr>
            <a:xfrm>
              <a:off x="11775862" y="5473516"/>
              <a:ext cx="81478" cy="73590"/>
            </a:xfrm>
            <a:custGeom>
              <a:avLst/>
              <a:gdLst>
                <a:gd name="connsiteX0" fmla="*/ 55613 w 81478"/>
                <a:gd name="connsiteY0" fmla="*/ 60147 h 73590"/>
                <a:gd name="connsiteX1" fmla="*/ 44005 w 81478"/>
                <a:gd name="connsiteY1" fmla="*/ 48248 h 73590"/>
                <a:gd name="connsiteX2" fmla="*/ 26836 w 81478"/>
                <a:gd name="connsiteY2" fmla="*/ 31269 h 73590"/>
                <a:gd name="connsiteX3" fmla="*/ 371 w 81478"/>
                <a:gd name="connsiteY3" fmla="*/ 352 h 73590"/>
                <a:gd name="connsiteX4" fmla="*/ 2766 w 81478"/>
                <a:gd name="connsiteY4" fmla="*/ -249 h 73590"/>
                <a:gd name="connsiteX5" fmla="*/ 26795 w 81478"/>
                <a:gd name="connsiteY5" fmla="*/ 14424 h 73590"/>
                <a:gd name="connsiteX6" fmla="*/ 40595 w 81478"/>
                <a:gd name="connsiteY6" fmla="*/ 23749 h 73590"/>
                <a:gd name="connsiteX7" fmla="*/ 40595 w 81478"/>
                <a:gd name="connsiteY7" fmla="*/ 23749 h 73590"/>
                <a:gd name="connsiteX8" fmla="*/ 42219 w 81478"/>
                <a:gd name="connsiteY8" fmla="*/ 24317 h 73590"/>
                <a:gd name="connsiteX9" fmla="*/ 42665 w 81478"/>
                <a:gd name="connsiteY9" fmla="*/ 24317 h 73590"/>
                <a:gd name="connsiteX10" fmla="*/ 42665 w 81478"/>
                <a:gd name="connsiteY10" fmla="*/ 24317 h 73590"/>
                <a:gd name="connsiteX11" fmla="*/ 43883 w 81478"/>
                <a:gd name="connsiteY11" fmla="*/ 24986 h 73590"/>
                <a:gd name="connsiteX12" fmla="*/ 44613 w 81478"/>
                <a:gd name="connsiteY12" fmla="*/ 25587 h 73590"/>
                <a:gd name="connsiteX13" fmla="*/ 77613 w 81478"/>
                <a:gd name="connsiteY13" fmla="*/ 62988 h 73590"/>
                <a:gd name="connsiteX14" fmla="*/ 80048 w 81478"/>
                <a:gd name="connsiteY14" fmla="*/ 73015 h 73590"/>
                <a:gd name="connsiteX15" fmla="*/ 55613 w 81478"/>
                <a:gd name="connsiteY15" fmla="*/ 60147 h 73590"/>
                <a:gd name="connsiteX16" fmla="*/ 36414 w 81478"/>
                <a:gd name="connsiteY16" fmla="*/ 24150 h 73590"/>
                <a:gd name="connsiteX17" fmla="*/ 25252 w 81478"/>
                <a:gd name="connsiteY17" fmla="*/ 16296 h 73590"/>
                <a:gd name="connsiteX18" fmla="*/ 4308 w 81478"/>
                <a:gd name="connsiteY18" fmla="*/ 2926 h 73590"/>
                <a:gd name="connsiteX19" fmla="*/ 29068 w 81478"/>
                <a:gd name="connsiteY19" fmla="*/ 30033 h 73590"/>
                <a:gd name="connsiteX20" fmla="*/ 47415 w 81478"/>
                <a:gd name="connsiteY20" fmla="*/ 48349 h 73590"/>
                <a:gd name="connsiteX21" fmla="*/ 57481 w 81478"/>
                <a:gd name="connsiteY21" fmla="*/ 58610 h 73590"/>
                <a:gd name="connsiteX22" fmla="*/ 77288 w 81478"/>
                <a:gd name="connsiteY22" fmla="*/ 70275 h 73590"/>
                <a:gd name="connsiteX23" fmla="*/ 74488 w 81478"/>
                <a:gd name="connsiteY23" fmla="*/ 63356 h 73590"/>
                <a:gd name="connsiteX24" fmla="*/ 46846 w 81478"/>
                <a:gd name="connsiteY24" fmla="*/ 30266 h 73590"/>
                <a:gd name="connsiteX25" fmla="*/ 41407 w 81478"/>
                <a:gd name="connsiteY25" fmla="*/ 26924 h 73590"/>
                <a:gd name="connsiteX26" fmla="*/ 38931 w 81478"/>
                <a:gd name="connsiteY26" fmla="*/ 26055 h 73590"/>
                <a:gd name="connsiteX27" fmla="*/ 38931 w 81478"/>
                <a:gd name="connsiteY27" fmla="*/ 26055 h 73590"/>
                <a:gd name="connsiteX28" fmla="*/ 37632 w 81478"/>
                <a:gd name="connsiteY28" fmla="*/ 25353 h 73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1478" h="73590">
                  <a:moveTo>
                    <a:pt x="55613" y="60147"/>
                  </a:moveTo>
                  <a:cubicBezTo>
                    <a:pt x="51068" y="56671"/>
                    <a:pt x="47171" y="52660"/>
                    <a:pt x="44005" y="48248"/>
                  </a:cubicBezTo>
                  <a:cubicBezTo>
                    <a:pt x="38809" y="42232"/>
                    <a:pt x="33087" y="36550"/>
                    <a:pt x="26836" y="31269"/>
                  </a:cubicBezTo>
                  <a:cubicBezTo>
                    <a:pt x="11655" y="17398"/>
                    <a:pt x="-2755" y="4363"/>
                    <a:pt x="371" y="352"/>
                  </a:cubicBezTo>
                  <a:cubicBezTo>
                    <a:pt x="939" y="-249"/>
                    <a:pt x="1913" y="-483"/>
                    <a:pt x="2766" y="-249"/>
                  </a:cubicBezTo>
                  <a:cubicBezTo>
                    <a:pt x="6825" y="319"/>
                    <a:pt x="14943" y="5901"/>
                    <a:pt x="26795" y="14424"/>
                  </a:cubicBezTo>
                  <a:cubicBezTo>
                    <a:pt x="31138" y="17799"/>
                    <a:pt x="35724" y="20908"/>
                    <a:pt x="40595" y="23749"/>
                  </a:cubicBezTo>
                  <a:lnTo>
                    <a:pt x="40595" y="23749"/>
                  </a:lnTo>
                  <a:lnTo>
                    <a:pt x="42219" y="24317"/>
                  </a:lnTo>
                  <a:lnTo>
                    <a:pt x="42665" y="24317"/>
                  </a:lnTo>
                  <a:lnTo>
                    <a:pt x="42665" y="24317"/>
                  </a:lnTo>
                  <a:cubicBezTo>
                    <a:pt x="43112" y="24451"/>
                    <a:pt x="43558" y="24685"/>
                    <a:pt x="43883" y="24986"/>
                  </a:cubicBezTo>
                  <a:lnTo>
                    <a:pt x="44613" y="25587"/>
                  </a:lnTo>
                  <a:cubicBezTo>
                    <a:pt x="53016" y="30801"/>
                    <a:pt x="64015" y="43268"/>
                    <a:pt x="77613" y="62988"/>
                  </a:cubicBezTo>
                  <a:cubicBezTo>
                    <a:pt x="81672" y="68904"/>
                    <a:pt x="82484" y="72313"/>
                    <a:pt x="80048" y="73015"/>
                  </a:cubicBezTo>
                  <a:cubicBezTo>
                    <a:pt x="75746" y="74787"/>
                    <a:pt x="63204" y="66230"/>
                    <a:pt x="55613" y="60147"/>
                  </a:cubicBezTo>
                  <a:close/>
                  <a:moveTo>
                    <a:pt x="36414" y="24150"/>
                  </a:moveTo>
                  <a:cubicBezTo>
                    <a:pt x="33654" y="22345"/>
                    <a:pt x="29961" y="19671"/>
                    <a:pt x="25252" y="16296"/>
                  </a:cubicBezTo>
                  <a:cubicBezTo>
                    <a:pt x="18108" y="11115"/>
                    <a:pt x="7271" y="3294"/>
                    <a:pt x="4308" y="2926"/>
                  </a:cubicBezTo>
                  <a:cubicBezTo>
                    <a:pt x="2116" y="5466"/>
                    <a:pt x="18352" y="20206"/>
                    <a:pt x="29068" y="30033"/>
                  </a:cubicBezTo>
                  <a:cubicBezTo>
                    <a:pt x="35806" y="35681"/>
                    <a:pt x="41975" y="41798"/>
                    <a:pt x="47415" y="48349"/>
                  </a:cubicBezTo>
                  <a:cubicBezTo>
                    <a:pt x="50175" y="52125"/>
                    <a:pt x="53584" y="55602"/>
                    <a:pt x="57481" y="58610"/>
                  </a:cubicBezTo>
                  <a:cubicBezTo>
                    <a:pt x="66411" y="65896"/>
                    <a:pt x="75462" y="70876"/>
                    <a:pt x="77288" y="70275"/>
                  </a:cubicBezTo>
                  <a:cubicBezTo>
                    <a:pt x="78019" y="70007"/>
                    <a:pt x="77735" y="68069"/>
                    <a:pt x="74488" y="63356"/>
                  </a:cubicBezTo>
                  <a:cubicBezTo>
                    <a:pt x="60606" y="43302"/>
                    <a:pt x="51757" y="34277"/>
                    <a:pt x="46846" y="30266"/>
                  </a:cubicBezTo>
                  <a:cubicBezTo>
                    <a:pt x="45263" y="28930"/>
                    <a:pt x="43396" y="27793"/>
                    <a:pt x="41407" y="26924"/>
                  </a:cubicBezTo>
                  <a:lnTo>
                    <a:pt x="38931" y="26055"/>
                  </a:lnTo>
                  <a:lnTo>
                    <a:pt x="38931" y="26055"/>
                  </a:lnTo>
                  <a:cubicBezTo>
                    <a:pt x="38403" y="25922"/>
                    <a:pt x="37957" y="25687"/>
                    <a:pt x="37632" y="2535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9487A12F-A752-40E8-BE8D-57EC7E30D045}"/>
                </a:ext>
              </a:extLst>
            </p:cNvPr>
            <p:cNvSpPr/>
            <p:nvPr/>
          </p:nvSpPr>
          <p:spPr>
            <a:xfrm>
              <a:off x="9654605" y="4966909"/>
              <a:ext cx="618513" cy="154301"/>
            </a:xfrm>
            <a:custGeom>
              <a:avLst/>
              <a:gdLst>
                <a:gd name="connsiteX0" fmla="*/ 589973 w 618513"/>
                <a:gd name="connsiteY0" fmla="*/ 78168 h 154301"/>
                <a:gd name="connsiteX1" fmla="*/ 556285 w 618513"/>
                <a:gd name="connsiteY1" fmla="*/ 65033 h 154301"/>
                <a:gd name="connsiteX2" fmla="*/ 528643 w 618513"/>
                <a:gd name="connsiteY2" fmla="*/ 34617 h 154301"/>
                <a:gd name="connsiteX3" fmla="*/ 512407 w 618513"/>
                <a:gd name="connsiteY3" fmla="*/ 6241 h 154301"/>
                <a:gd name="connsiteX4" fmla="*/ 495197 w 618513"/>
                <a:gd name="connsiteY4" fmla="*/ 291 h 154301"/>
                <a:gd name="connsiteX5" fmla="*/ 493208 w 618513"/>
                <a:gd name="connsiteY5" fmla="*/ 12157 h 154301"/>
                <a:gd name="connsiteX6" fmla="*/ 469991 w 618513"/>
                <a:gd name="connsiteY6" fmla="*/ 24824 h 154301"/>
                <a:gd name="connsiteX7" fmla="*/ 440604 w 618513"/>
                <a:gd name="connsiteY7" fmla="*/ 24022 h 154301"/>
                <a:gd name="connsiteX8" fmla="*/ 426640 w 618513"/>
                <a:gd name="connsiteY8" fmla="*/ 23821 h 154301"/>
                <a:gd name="connsiteX9" fmla="*/ 406345 w 618513"/>
                <a:gd name="connsiteY9" fmla="*/ 23821 h 154301"/>
                <a:gd name="connsiteX10" fmla="*/ 407401 w 618513"/>
                <a:gd name="connsiteY10" fmla="*/ 33849 h 154301"/>
                <a:gd name="connsiteX11" fmla="*/ 397091 w 618513"/>
                <a:gd name="connsiteY11" fmla="*/ 43876 h 154301"/>
                <a:gd name="connsiteX12" fmla="*/ 420187 w 618513"/>
                <a:gd name="connsiteY12" fmla="*/ 47218 h 154301"/>
                <a:gd name="connsiteX13" fmla="*/ 431268 w 618513"/>
                <a:gd name="connsiteY13" fmla="*/ 50059 h 154301"/>
                <a:gd name="connsiteX14" fmla="*/ 433581 w 618513"/>
                <a:gd name="connsiteY14" fmla="*/ 37458 h 154301"/>
                <a:gd name="connsiteX15" fmla="*/ 480503 w 618513"/>
                <a:gd name="connsiteY15" fmla="*/ 65334 h 154301"/>
                <a:gd name="connsiteX16" fmla="*/ 515004 w 618513"/>
                <a:gd name="connsiteY16" fmla="*/ 74759 h 154301"/>
                <a:gd name="connsiteX17" fmla="*/ 570774 w 618513"/>
                <a:gd name="connsiteY17" fmla="*/ 94646 h 154301"/>
                <a:gd name="connsiteX18" fmla="*/ 573737 w 618513"/>
                <a:gd name="connsiteY18" fmla="*/ 89465 h 154301"/>
                <a:gd name="connsiteX19" fmla="*/ 584494 w 618513"/>
                <a:gd name="connsiteY19" fmla="*/ 87694 h 154301"/>
                <a:gd name="connsiteX20" fmla="*/ 618427 w 618513"/>
                <a:gd name="connsiteY20" fmla="*/ 88195 h 154301"/>
                <a:gd name="connsiteX21" fmla="*/ 589731 w 618513"/>
                <a:gd name="connsiteY21" fmla="*/ 78168 h 154301"/>
                <a:gd name="connsiteX22" fmla="*/ 392545 w 618513"/>
                <a:gd name="connsiteY22" fmla="*/ 56877 h 154301"/>
                <a:gd name="connsiteX23" fmla="*/ 373995 w 618513"/>
                <a:gd name="connsiteY23" fmla="*/ 76063 h 154301"/>
                <a:gd name="connsiteX24" fmla="*/ 355771 w 618513"/>
                <a:gd name="connsiteY24" fmla="*/ 80809 h 154301"/>
                <a:gd name="connsiteX25" fmla="*/ 338074 w 618513"/>
                <a:gd name="connsiteY25" fmla="*/ 89933 h 154301"/>
                <a:gd name="connsiteX26" fmla="*/ 291964 w 618513"/>
                <a:gd name="connsiteY26" fmla="*/ 89933 h 154301"/>
                <a:gd name="connsiteX27" fmla="*/ 266108 w 618513"/>
                <a:gd name="connsiteY27" fmla="*/ 79505 h 154301"/>
                <a:gd name="connsiteX28" fmla="*/ 266636 w 618513"/>
                <a:gd name="connsiteY28" fmla="*/ 72820 h 154301"/>
                <a:gd name="connsiteX29" fmla="*/ 229456 w 618513"/>
                <a:gd name="connsiteY29" fmla="*/ 81377 h 154301"/>
                <a:gd name="connsiteX30" fmla="*/ 212124 w 618513"/>
                <a:gd name="connsiteY30" fmla="*/ 81377 h 154301"/>
                <a:gd name="connsiteX31" fmla="*/ 201976 w 618513"/>
                <a:gd name="connsiteY31" fmla="*/ 84452 h 154301"/>
                <a:gd name="connsiteX32" fmla="*/ 192884 w 618513"/>
                <a:gd name="connsiteY32" fmla="*/ 76163 h 154301"/>
                <a:gd name="connsiteX33" fmla="*/ 166217 w 618513"/>
                <a:gd name="connsiteY33" fmla="*/ 65902 h 154301"/>
                <a:gd name="connsiteX34" fmla="*/ 109025 w 618513"/>
                <a:gd name="connsiteY34" fmla="*/ 45647 h 154301"/>
                <a:gd name="connsiteX35" fmla="*/ 72982 w 618513"/>
                <a:gd name="connsiteY35" fmla="*/ 45146 h 154301"/>
                <a:gd name="connsiteX36" fmla="*/ 49318 w 618513"/>
                <a:gd name="connsiteY36" fmla="*/ 43307 h 154301"/>
                <a:gd name="connsiteX37" fmla="*/ 87432 w 618513"/>
                <a:gd name="connsiteY37" fmla="*/ 61456 h 154301"/>
                <a:gd name="connsiteX38" fmla="*/ 144258 w 618513"/>
                <a:gd name="connsiteY38" fmla="*/ 77399 h 154301"/>
                <a:gd name="connsiteX39" fmla="*/ 170032 w 618513"/>
                <a:gd name="connsiteY39" fmla="*/ 99994 h 154301"/>
                <a:gd name="connsiteX40" fmla="*/ 199459 w 618513"/>
                <a:gd name="connsiteY40" fmla="*/ 119212 h 154301"/>
                <a:gd name="connsiteX41" fmla="*/ 216466 w 618513"/>
                <a:gd name="connsiteY41" fmla="*/ 114032 h 154301"/>
                <a:gd name="connsiteX42" fmla="*/ 226249 w 618513"/>
                <a:gd name="connsiteY42" fmla="*/ 115903 h 154301"/>
                <a:gd name="connsiteX43" fmla="*/ 245853 w 618513"/>
                <a:gd name="connsiteY43" fmla="*/ 130376 h 154301"/>
                <a:gd name="connsiteX44" fmla="*/ 271101 w 618513"/>
                <a:gd name="connsiteY44" fmla="*/ 132615 h 154301"/>
                <a:gd name="connsiteX45" fmla="*/ 286078 w 618513"/>
                <a:gd name="connsiteY45" fmla="*/ 144113 h 154301"/>
                <a:gd name="connsiteX46" fmla="*/ 305033 w 618513"/>
                <a:gd name="connsiteY46" fmla="*/ 141406 h 154301"/>
                <a:gd name="connsiteX47" fmla="*/ 307672 w 618513"/>
                <a:gd name="connsiteY47" fmla="*/ 148090 h 154301"/>
                <a:gd name="connsiteX48" fmla="*/ 332472 w 618513"/>
                <a:gd name="connsiteY48" fmla="*/ 153906 h 154301"/>
                <a:gd name="connsiteX49" fmla="*/ 355284 w 618513"/>
                <a:gd name="connsiteY49" fmla="*/ 137194 h 154301"/>
                <a:gd name="connsiteX50" fmla="*/ 378623 w 618513"/>
                <a:gd name="connsiteY50" fmla="*/ 118243 h 154301"/>
                <a:gd name="connsiteX51" fmla="*/ 410201 w 618513"/>
                <a:gd name="connsiteY51" fmla="*/ 115135 h 154301"/>
                <a:gd name="connsiteX52" fmla="*/ 429644 w 618513"/>
                <a:gd name="connsiteY52" fmla="*/ 79973 h 154301"/>
                <a:gd name="connsiteX53" fmla="*/ 427655 w 618513"/>
                <a:gd name="connsiteY53" fmla="*/ 64197 h 154301"/>
                <a:gd name="connsiteX54" fmla="*/ 392586 w 618513"/>
                <a:gd name="connsiteY54" fmla="*/ 57145 h 154301"/>
                <a:gd name="connsiteX55" fmla="*/ 129239 w 618513"/>
                <a:gd name="connsiteY55" fmla="*/ 80040 h 154301"/>
                <a:gd name="connsiteX56" fmla="*/ 83941 w 618513"/>
                <a:gd name="connsiteY56" fmla="*/ 75127 h 154301"/>
                <a:gd name="connsiteX57" fmla="*/ 100665 w 618513"/>
                <a:gd name="connsiteY57" fmla="*/ 92707 h 154301"/>
                <a:gd name="connsiteX58" fmla="*/ 127819 w 618513"/>
                <a:gd name="connsiteY58" fmla="*/ 99192 h 154301"/>
                <a:gd name="connsiteX59" fmla="*/ 152700 w 618513"/>
                <a:gd name="connsiteY59" fmla="*/ 98156 h 154301"/>
                <a:gd name="connsiteX60" fmla="*/ 129239 w 618513"/>
                <a:gd name="connsiteY60" fmla="*/ 80040 h 154301"/>
                <a:gd name="connsiteX61" fmla="*/ 60561 w 618513"/>
                <a:gd name="connsiteY61" fmla="*/ 70381 h 154301"/>
                <a:gd name="connsiteX62" fmla="*/ 46761 w 618513"/>
                <a:gd name="connsiteY62" fmla="*/ 54103 h 154301"/>
                <a:gd name="connsiteX63" fmla="*/ 5197 w 618513"/>
                <a:gd name="connsiteY63" fmla="*/ 44845 h 154301"/>
                <a:gd name="connsiteX64" fmla="*/ 13558 w 618513"/>
                <a:gd name="connsiteY64" fmla="*/ 55407 h 154301"/>
                <a:gd name="connsiteX65" fmla="*/ 20256 w 618513"/>
                <a:gd name="connsiteY65" fmla="*/ 65434 h 154301"/>
                <a:gd name="connsiteX66" fmla="*/ 3614 w 618513"/>
                <a:gd name="connsiteY66" fmla="*/ 84352 h 154301"/>
                <a:gd name="connsiteX67" fmla="*/ 26994 w 618513"/>
                <a:gd name="connsiteY67" fmla="*/ 91705 h 154301"/>
                <a:gd name="connsiteX68" fmla="*/ 64824 w 618513"/>
                <a:gd name="connsiteY68" fmla="*/ 81678 h 154301"/>
                <a:gd name="connsiteX69" fmla="*/ 60561 w 618513"/>
                <a:gd name="connsiteY69" fmla="*/ 70381 h 1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18513" h="154301">
                  <a:moveTo>
                    <a:pt x="589973" y="78168"/>
                  </a:moveTo>
                  <a:cubicBezTo>
                    <a:pt x="586767" y="70280"/>
                    <a:pt x="564199" y="69946"/>
                    <a:pt x="556285" y="65033"/>
                  </a:cubicBezTo>
                  <a:cubicBezTo>
                    <a:pt x="543701" y="57178"/>
                    <a:pt x="535137" y="43942"/>
                    <a:pt x="528643" y="34617"/>
                  </a:cubicBezTo>
                  <a:cubicBezTo>
                    <a:pt x="522148" y="25292"/>
                    <a:pt x="519754" y="14931"/>
                    <a:pt x="512407" y="6241"/>
                  </a:cubicBezTo>
                  <a:cubicBezTo>
                    <a:pt x="508348" y="1662"/>
                    <a:pt x="500027" y="-1815"/>
                    <a:pt x="495197" y="291"/>
                  </a:cubicBezTo>
                  <a:cubicBezTo>
                    <a:pt x="490366" y="2397"/>
                    <a:pt x="496536" y="8981"/>
                    <a:pt x="493208" y="12157"/>
                  </a:cubicBezTo>
                  <a:cubicBezTo>
                    <a:pt x="488580" y="16602"/>
                    <a:pt x="478595" y="23788"/>
                    <a:pt x="469991" y="24824"/>
                  </a:cubicBezTo>
                  <a:cubicBezTo>
                    <a:pt x="455825" y="26562"/>
                    <a:pt x="461426" y="33414"/>
                    <a:pt x="440604" y="24022"/>
                  </a:cubicBezTo>
                  <a:cubicBezTo>
                    <a:pt x="431998" y="20145"/>
                    <a:pt x="430294" y="20212"/>
                    <a:pt x="426640" y="23821"/>
                  </a:cubicBezTo>
                  <a:cubicBezTo>
                    <a:pt x="422988" y="27431"/>
                    <a:pt x="412271" y="22050"/>
                    <a:pt x="406345" y="23821"/>
                  </a:cubicBezTo>
                  <a:cubicBezTo>
                    <a:pt x="400419" y="25593"/>
                    <a:pt x="408132" y="30306"/>
                    <a:pt x="407401" y="33849"/>
                  </a:cubicBezTo>
                  <a:cubicBezTo>
                    <a:pt x="406914" y="36121"/>
                    <a:pt x="394940" y="41603"/>
                    <a:pt x="397091" y="43876"/>
                  </a:cubicBezTo>
                  <a:cubicBezTo>
                    <a:pt x="401637" y="48388"/>
                    <a:pt x="414504" y="44611"/>
                    <a:pt x="420187" y="47218"/>
                  </a:cubicBezTo>
                  <a:cubicBezTo>
                    <a:pt x="423069" y="48555"/>
                    <a:pt x="431998" y="56443"/>
                    <a:pt x="431268" y="50059"/>
                  </a:cubicBezTo>
                  <a:cubicBezTo>
                    <a:pt x="430821" y="45781"/>
                    <a:pt x="410404" y="21816"/>
                    <a:pt x="433581" y="37458"/>
                  </a:cubicBezTo>
                  <a:cubicBezTo>
                    <a:pt x="450061" y="48622"/>
                    <a:pt x="466581" y="49858"/>
                    <a:pt x="480503" y="65334"/>
                  </a:cubicBezTo>
                  <a:cubicBezTo>
                    <a:pt x="501163" y="88396"/>
                    <a:pt x="491341" y="73288"/>
                    <a:pt x="515004" y="74759"/>
                  </a:cubicBezTo>
                  <a:cubicBezTo>
                    <a:pt x="534447" y="75962"/>
                    <a:pt x="553524" y="93543"/>
                    <a:pt x="570774" y="94646"/>
                  </a:cubicBezTo>
                  <a:cubicBezTo>
                    <a:pt x="575118" y="94913"/>
                    <a:pt x="576092" y="92407"/>
                    <a:pt x="573737" y="89465"/>
                  </a:cubicBezTo>
                  <a:cubicBezTo>
                    <a:pt x="571384" y="86524"/>
                    <a:pt x="582992" y="87627"/>
                    <a:pt x="584494" y="87694"/>
                  </a:cubicBezTo>
                  <a:cubicBezTo>
                    <a:pt x="590907" y="87961"/>
                    <a:pt x="616316" y="92473"/>
                    <a:pt x="618427" y="88195"/>
                  </a:cubicBezTo>
                  <a:cubicBezTo>
                    <a:pt x="619442" y="86056"/>
                    <a:pt x="591962" y="83683"/>
                    <a:pt x="589731" y="78168"/>
                  </a:cubicBezTo>
                  <a:close/>
                  <a:moveTo>
                    <a:pt x="392545" y="56877"/>
                  </a:moveTo>
                  <a:cubicBezTo>
                    <a:pt x="372250" y="52666"/>
                    <a:pt x="375213" y="68876"/>
                    <a:pt x="373995" y="76063"/>
                  </a:cubicBezTo>
                  <a:cubicBezTo>
                    <a:pt x="373265" y="80274"/>
                    <a:pt x="360641" y="79940"/>
                    <a:pt x="355771" y="80809"/>
                  </a:cubicBezTo>
                  <a:cubicBezTo>
                    <a:pt x="347409" y="82313"/>
                    <a:pt x="345989" y="88663"/>
                    <a:pt x="338074" y="89933"/>
                  </a:cubicBezTo>
                  <a:cubicBezTo>
                    <a:pt x="322853" y="92497"/>
                    <a:pt x="307185" y="92497"/>
                    <a:pt x="291964" y="89933"/>
                  </a:cubicBezTo>
                  <a:cubicBezTo>
                    <a:pt x="284293" y="88697"/>
                    <a:pt x="266879" y="88329"/>
                    <a:pt x="266108" y="79505"/>
                  </a:cubicBezTo>
                  <a:cubicBezTo>
                    <a:pt x="265905" y="76965"/>
                    <a:pt x="273333" y="74592"/>
                    <a:pt x="266636" y="72820"/>
                  </a:cubicBezTo>
                  <a:cubicBezTo>
                    <a:pt x="244352" y="66437"/>
                    <a:pt x="245042" y="80909"/>
                    <a:pt x="229456" y="81377"/>
                  </a:cubicBezTo>
                  <a:cubicBezTo>
                    <a:pt x="225397" y="81377"/>
                    <a:pt x="214072" y="78903"/>
                    <a:pt x="212124" y="81377"/>
                  </a:cubicBezTo>
                  <a:cubicBezTo>
                    <a:pt x="209566" y="84719"/>
                    <a:pt x="211799" y="87594"/>
                    <a:pt x="201976" y="84452"/>
                  </a:cubicBezTo>
                  <a:cubicBezTo>
                    <a:pt x="192153" y="81310"/>
                    <a:pt x="195036" y="80441"/>
                    <a:pt x="192884" y="76163"/>
                  </a:cubicBezTo>
                  <a:cubicBezTo>
                    <a:pt x="190408" y="71183"/>
                    <a:pt x="171331" y="67205"/>
                    <a:pt x="166217" y="65902"/>
                  </a:cubicBezTo>
                  <a:cubicBezTo>
                    <a:pt x="145232" y="60487"/>
                    <a:pt x="128265" y="44811"/>
                    <a:pt x="109025" y="45647"/>
                  </a:cubicBezTo>
                  <a:cubicBezTo>
                    <a:pt x="97011" y="46476"/>
                    <a:pt x="84956" y="46309"/>
                    <a:pt x="72982" y="45146"/>
                  </a:cubicBezTo>
                  <a:cubicBezTo>
                    <a:pt x="65960" y="44277"/>
                    <a:pt x="52118" y="38227"/>
                    <a:pt x="49318" y="43307"/>
                  </a:cubicBezTo>
                  <a:cubicBezTo>
                    <a:pt x="45259" y="50694"/>
                    <a:pt x="80004" y="63027"/>
                    <a:pt x="87432" y="61456"/>
                  </a:cubicBezTo>
                  <a:cubicBezTo>
                    <a:pt x="99609" y="58849"/>
                    <a:pt x="131268" y="72386"/>
                    <a:pt x="144258" y="77399"/>
                  </a:cubicBezTo>
                  <a:cubicBezTo>
                    <a:pt x="161873" y="84084"/>
                    <a:pt x="183345" y="91003"/>
                    <a:pt x="170032" y="99994"/>
                  </a:cubicBezTo>
                  <a:cubicBezTo>
                    <a:pt x="155825" y="109586"/>
                    <a:pt x="184482" y="120449"/>
                    <a:pt x="199459" y="119212"/>
                  </a:cubicBezTo>
                  <a:cubicBezTo>
                    <a:pt x="206481" y="118577"/>
                    <a:pt x="222717" y="122555"/>
                    <a:pt x="216466" y="114032"/>
                  </a:cubicBezTo>
                  <a:cubicBezTo>
                    <a:pt x="210216" y="105509"/>
                    <a:pt x="223854" y="108617"/>
                    <a:pt x="226249" y="115903"/>
                  </a:cubicBezTo>
                  <a:cubicBezTo>
                    <a:pt x="228197" y="121853"/>
                    <a:pt x="237614" y="127602"/>
                    <a:pt x="245853" y="130376"/>
                  </a:cubicBezTo>
                  <a:cubicBezTo>
                    <a:pt x="252997" y="132749"/>
                    <a:pt x="266473" y="129674"/>
                    <a:pt x="271101" y="132615"/>
                  </a:cubicBezTo>
                  <a:cubicBezTo>
                    <a:pt x="276946" y="136325"/>
                    <a:pt x="276621" y="142976"/>
                    <a:pt x="286078" y="144113"/>
                  </a:cubicBezTo>
                  <a:cubicBezTo>
                    <a:pt x="292451" y="143565"/>
                    <a:pt x="298782" y="142662"/>
                    <a:pt x="305033" y="141406"/>
                  </a:cubicBezTo>
                  <a:cubicBezTo>
                    <a:pt x="307063" y="143979"/>
                    <a:pt x="302720" y="144748"/>
                    <a:pt x="307672" y="148090"/>
                  </a:cubicBezTo>
                  <a:cubicBezTo>
                    <a:pt x="314896" y="152288"/>
                    <a:pt x="323665" y="154337"/>
                    <a:pt x="332472" y="153906"/>
                  </a:cubicBezTo>
                  <a:cubicBezTo>
                    <a:pt x="347085" y="153304"/>
                    <a:pt x="342945" y="139233"/>
                    <a:pt x="355284" y="137194"/>
                  </a:cubicBezTo>
                  <a:cubicBezTo>
                    <a:pt x="367623" y="135155"/>
                    <a:pt x="380409" y="128370"/>
                    <a:pt x="378623" y="118243"/>
                  </a:cubicBezTo>
                  <a:cubicBezTo>
                    <a:pt x="376958" y="108751"/>
                    <a:pt x="400948" y="114199"/>
                    <a:pt x="410201" y="115135"/>
                  </a:cubicBezTo>
                  <a:cubicBezTo>
                    <a:pt x="432647" y="117341"/>
                    <a:pt x="428224" y="90969"/>
                    <a:pt x="429644" y="79973"/>
                  </a:cubicBezTo>
                  <a:cubicBezTo>
                    <a:pt x="430131" y="76196"/>
                    <a:pt x="436382" y="67840"/>
                    <a:pt x="427655" y="64197"/>
                  </a:cubicBezTo>
                  <a:cubicBezTo>
                    <a:pt x="416169" y="59417"/>
                    <a:pt x="403951" y="59518"/>
                    <a:pt x="392586" y="57145"/>
                  </a:cubicBezTo>
                  <a:close/>
                  <a:moveTo>
                    <a:pt x="129239" y="80040"/>
                  </a:moveTo>
                  <a:cubicBezTo>
                    <a:pt x="117062" y="85922"/>
                    <a:pt x="96767" y="63094"/>
                    <a:pt x="83941" y="75127"/>
                  </a:cubicBezTo>
                  <a:cubicBezTo>
                    <a:pt x="76838" y="81811"/>
                    <a:pt x="87189" y="101865"/>
                    <a:pt x="100665" y="92707"/>
                  </a:cubicBezTo>
                  <a:cubicBezTo>
                    <a:pt x="106793" y="88596"/>
                    <a:pt x="120959" y="93042"/>
                    <a:pt x="127819" y="99192"/>
                  </a:cubicBezTo>
                  <a:cubicBezTo>
                    <a:pt x="135327" y="106077"/>
                    <a:pt x="148925" y="100662"/>
                    <a:pt x="152700" y="98156"/>
                  </a:cubicBezTo>
                  <a:cubicBezTo>
                    <a:pt x="162929" y="91471"/>
                    <a:pt x="139265" y="75160"/>
                    <a:pt x="129239" y="80040"/>
                  </a:cubicBezTo>
                  <a:close/>
                  <a:moveTo>
                    <a:pt x="60561" y="70381"/>
                  </a:moveTo>
                  <a:cubicBezTo>
                    <a:pt x="64093" y="65267"/>
                    <a:pt x="44325" y="59250"/>
                    <a:pt x="46761" y="54103"/>
                  </a:cubicBezTo>
                  <a:cubicBezTo>
                    <a:pt x="50048" y="46349"/>
                    <a:pt x="9784" y="44577"/>
                    <a:pt x="5197" y="44845"/>
                  </a:cubicBezTo>
                  <a:cubicBezTo>
                    <a:pt x="-5275" y="45346"/>
                    <a:pt x="1138" y="58214"/>
                    <a:pt x="13558" y="55407"/>
                  </a:cubicBezTo>
                  <a:cubicBezTo>
                    <a:pt x="26994" y="52265"/>
                    <a:pt x="25735" y="58749"/>
                    <a:pt x="20256" y="65434"/>
                  </a:cubicBezTo>
                  <a:cubicBezTo>
                    <a:pt x="14776" y="72119"/>
                    <a:pt x="1991" y="73723"/>
                    <a:pt x="3614" y="84352"/>
                  </a:cubicBezTo>
                  <a:cubicBezTo>
                    <a:pt x="5359" y="95649"/>
                    <a:pt x="18348" y="94111"/>
                    <a:pt x="26994" y="91705"/>
                  </a:cubicBezTo>
                  <a:cubicBezTo>
                    <a:pt x="39171" y="88362"/>
                    <a:pt x="53255" y="85655"/>
                    <a:pt x="64824" y="81678"/>
                  </a:cubicBezTo>
                  <a:cubicBezTo>
                    <a:pt x="72738" y="78937"/>
                    <a:pt x="57923" y="74224"/>
                    <a:pt x="60561" y="7038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F562C0D2-2D9D-43E2-B8C5-5254A22FAE87}"/>
                </a:ext>
              </a:extLst>
            </p:cNvPr>
            <p:cNvSpPr/>
            <p:nvPr/>
          </p:nvSpPr>
          <p:spPr>
            <a:xfrm>
              <a:off x="8095516" y="4254715"/>
              <a:ext cx="1885653" cy="828110"/>
            </a:xfrm>
            <a:custGeom>
              <a:avLst/>
              <a:gdLst>
                <a:gd name="connsiteX0" fmla="*/ 1884214 w 1885653"/>
                <a:gd name="connsiteY0" fmla="*/ 558738 h 828110"/>
                <a:gd name="connsiteX1" fmla="*/ 1853407 w 1885653"/>
                <a:gd name="connsiteY1" fmla="*/ 541491 h 828110"/>
                <a:gd name="connsiteX2" fmla="*/ 1825928 w 1885653"/>
                <a:gd name="connsiteY2" fmla="*/ 536912 h 828110"/>
                <a:gd name="connsiteX3" fmla="*/ 1796541 w 1885653"/>
                <a:gd name="connsiteY3" fmla="*/ 524412 h 828110"/>
                <a:gd name="connsiteX4" fmla="*/ 1780994 w 1885653"/>
                <a:gd name="connsiteY4" fmla="*/ 492693 h 828110"/>
                <a:gd name="connsiteX5" fmla="*/ 1742597 w 1885653"/>
                <a:gd name="connsiteY5" fmla="*/ 457063 h 828110"/>
                <a:gd name="connsiteX6" fmla="*/ 1704889 w 1885653"/>
                <a:gd name="connsiteY6" fmla="*/ 430324 h 828110"/>
                <a:gd name="connsiteX7" fmla="*/ 1709435 w 1885653"/>
                <a:gd name="connsiteY7" fmla="*/ 419194 h 828110"/>
                <a:gd name="connsiteX8" fmla="*/ 1705376 w 1885653"/>
                <a:gd name="connsiteY8" fmla="*/ 399140 h 828110"/>
                <a:gd name="connsiteX9" fmla="*/ 1700667 w 1885653"/>
                <a:gd name="connsiteY9" fmla="*/ 387241 h 828110"/>
                <a:gd name="connsiteX10" fmla="*/ 1698922 w 1885653"/>
                <a:gd name="connsiteY10" fmla="*/ 365315 h 828110"/>
                <a:gd name="connsiteX11" fmla="*/ 1692671 w 1885653"/>
                <a:gd name="connsiteY11" fmla="*/ 355021 h 828110"/>
                <a:gd name="connsiteX12" fmla="*/ 1687354 w 1885653"/>
                <a:gd name="connsiteY12" fmla="*/ 340248 h 828110"/>
                <a:gd name="connsiteX13" fmla="*/ 1581212 w 1885653"/>
                <a:gd name="connsiteY13" fmla="*/ 281690 h 828110"/>
                <a:gd name="connsiteX14" fmla="*/ 1541393 w 1885653"/>
                <a:gd name="connsiteY14" fmla="*/ 268320 h 828110"/>
                <a:gd name="connsiteX15" fmla="*/ 1517932 w 1885653"/>
                <a:gd name="connsiteY15" fmla="*/ 273467 h 828110"/>
                <a:gd name="connsiteX16" fmla="*/ 1528851 w 1885653"/>
                <a:gd name="connsiteY16" fmla="*/ 282826 h 828110"/>
                <a:gd name="connsiteX17" fmla="*/ 1502751 w 1885653"/>
                <a:gd name="connsiteY17" fmla="*/ 294691 h 828110"/>
                <a:gd name="connsiteX18" fmla="*/ 1462446 w 1885653"/>
                <a:gd name="connsiteY18" fmla="*/ 307760 h 828110"/>
                <a:gd name="connsiteX19" fmla="*/ 1440933 w 1885653"/>
                <a:gd name="connsiteY19" fmla="*/ 312305 h 828110"/>
                <a:gd name="connsiteX20" fmla="*/ 1411871 w 1885653"/>
                <a:gd name="connsiteY20" fmla="*/ 308963 h 828110"/>
                <a:gd name="connsiteX21" fmla="*/ 1375341 w 1885653"/>
                <a:gd name="connsiteY21" fmla="*/ 287305 h 828110"/>
                <a:gd name="connsiteX22" fmla="*/ 1340839 w 1885653"/>
                <a:gd name="connsiteY22" fmla="*/ 300674 h 828110"/>
                <a:gd name="connsiteX23" fmla="*/ 1332721 w 1885653"/>
                <a:gd name="connsiteY23" fmla="*/ 306891 h 828110"/>
                <a:gd name="connsiteX24" fmla="*/ 1319733 w 1885653"/>
                <a:gd name="connsiteY24" fmla="*/ 311704 h 828110"/>
                <a:gd name="connsiteX25" fmla="*/ 1344655 w 1885653"/>
                <a:gd name="connsiteY25" fmla="*/ 326377 h 828110"/>
                <a:gd name="connsiteX26" fmla="*/ 1374772 w 1885653"/>
                <a:gd name="connsiteY26" fmla="*/ 342587 h 828110"/>
                <a:gd name="connsiteX27" fmla="*/ 1401318 w 1885653"/>
                <a:gd name="connsiteY27" fmla="*/ 344626 h 828110"/>
                <a:gd name="connsiteX28" fmla="*/ 1425672 w 1885653"/>
                <a:gd name="connsiteY28" fmla="*/ 370563 h 828110"/>
                <a:gd name="connsiteX29" fmla="*/ 1436307 w 1885653"/>
                <a:gd name="connsiteY29" fmla="*/ 388645 h 828110"/>
                <a:gd name="connsiteX30" fmla="*/ 1404443 w 1885653"/>
                <a:gd name="connsiteY30" fmla="*/ 378050 h 828110"/>
                <a:gd name="connsiteX31" fmla="*/ 1363650 w 1885653"/>
                <a:gd name="connsiteY31" fmla="*/ 366519 h 828110"/>
                <a:gd name="connsiteX32" fmla="*/ 1310884 w 1885653"/>
                <a:gd name="connsiteY32" fmla="*/ 362374 h 828110"/>
                <a:gd name="connsiteX33" fmla="*/ 1274800 w 1885653"/>
                <a:gd name="connsiteY33" fmla="*/ 357695 h 828110"/>
                <a:gd name="connsiteX34" fmla="*/ 1230151 w 1885653"/>
                <a:gd name="connsiteY34" fmla="*/ 351010 h 828110"/>
                <a:gd name="connsiteX35" fmla="*/ 1190576 w 1885653"/>
                <a:gd name="connsiteY35" fmla="*/ 335435 h 828110"/>
                <a:gd name="connsiteX36" fmla="*/ 1155953 w 1885653"/>
                <a:gd name="connsiteY36" fmla="*/ 330622 h 828110"/>
                <a:gd name="connsiteX37" fmla="*/ 1157130 w 1885653"/>
                <a:gd name="connsiteY37" fmla="*/ 349439 h 828110"/>
                <a:gd name="connsiteX38" fmla="*/ 1127052 w 1885653"/>
                <a:gd name="connsiteY38" fmla="*/ 350275 h 828110"/>
                <a:gd name="connsiteX39" fmla="*/ 1083094 w 1885653"/>
                <a:gd name="connsiteY39" fmla="*/ 351010 h 828110"/>
                <a:gd name="connsiteX40" fmla="*/ 1041490 w 1885653"/>
                <a:gd name="connsiteY40" fmla="*/ 338309 h 828110"/>
                <a:gd name="connsiteX41" fmla="*/ 943871 w 1885653"/>
                <a:gd name="connsiteY41" fmla="*/ 318790 h 828110"/>
                <a:gd name="connsiteX42" fmla="*/ 917691 w 1885653"/>
                <a:gd name="connsiteY42" fmla="*/ 310467 h 828110"/>
                <a:gd name="connsiteX43" fmla="*/ 880430 w 1885653"/>
                <a:gd name="connsiteY43" fmla="*/ 291215 h 828110"/>
                <a:gd name="connsiteX44" fmla="*/ 850718 w 1885653"/>
                <a:gd name="connsiteY44" fmla="*/ 277111 h 828110"/>
                <a:gd name="connsiteX45" fmla="*/ 815080 w 1885653"/>
                <a:gd name="connsiteY45" fmla="*/ 256789 h 828110"/>
                <a:gd name="connsiteX46" fmla="*/ 742018 w 1885653"/>
                <a:gd name="connsiteY46" fmla="*/ 231487 h 828110"/>
                <a:gd name="connsiteX47" fmla="*/ 682270 w 1885653"/>
                <a:gd name="connsiteY47" fmla="*/ 207523 h 828110"/>
                <a:gd name="connsiteX48" fmla="*/ 672367 w 1885653"/>
                <a:gd name="connsiteY48" fmla="*/ 183290 h 828110"/>
                <a:gd name="connsiteX49" fmla="*/ 646673 w 1885653"/>
                <a:gd name="connsiteY49" fmla="*/ 160696 h 828110"/>
                <a:gd name="connsiteX50" fmla="*/ 588752 w 1885653"/>
                <a:gd name="connsiteY50" fmla="*/ 129378 h 828110"/>
                <a:gd name="connsiteX51" fmla="*/ 554981 w 1885653"/>
                <a:gd name="connsiteY51" fmla="*/ 112666 h 828110"/>
                <a:gd name="connsiteX52" fmla="*/ 571582 w 1885653"/>
                <a:gd name="connsiteY52" fmla="*/ 92612 h 828110"/>
                <a:gd name="connsiteX53" fmla="*/ 563464 w 1885653"/>
                <a:gd name="connsiteY53" fmla="*/ 66943 h 828110"/>
                <a:gd name="connsiteX54" fmla="*/ 534362 w 1885653"/>
                <a:gd name="connsiteY54" fmla="*/ 45184 h 828110"/>
                <a:gd name="connsiteX55" fmla="*/ 503960 w 1885653"/>
                <a:gd name="connsiteY55" fmla="*/ 22155 h 828110"/>
                <a:gd name="connsiteX56" fmla="*/ 499901 w 1885653"/>
                <a:gd name="connsiteY56" fmla="*/ 8786 h 828110"/>
                <a:gd name="connsiteX57" fmla="*/ 481107 w 1885653"/>
                <a:gd name="connsiteY57" fmla="*/ -339 h 828110"/>
                <a:gd name="connsiteX58" fmla="*/ 465967 w 1885653"/>
                <a:gd name="connsiteY58" fmla="*/ 7081 h 828110"/>
                <a:gd name="connsiteX59" fmla="*/ 443684 w 1885653"/>
                <a:gd name="connsiteY59" fmla="*/ 11293 h 828110"/>
                <a:gd name="connsiteX60" fmla="*/ 423389 w 1885653"/>
                <a:gd name="connsiteY60" fmla="*/ 19013 h 828110"/>
                <a:gd name="connsiteX61" fmla="*/ 422699 w 1885653"/>
                <a:gd name="connsiteY61" fmla="*/ 33152 h 828110"/>
                <a:gd name="connsiteX62" fmla="*/ 370541 w 1885653"/>
                <a:gd name="connsiteY62" fmla="*/ 24261 h 828110"/>
                <a:gd name="connsiteX63" fmla="*/ 345132 w 1885653"/>
                <a:gd name="connsiteY63" fmla="*/ 14234 h 828110"/>
                <a:gd name="connsiteX64" fmla="*/ 331007 w 1885653"/>
                <a:gd name="connsiteY64" fmla="*/ 24528 h 828110"/>
                <a:gd name="connsiteX65" fmla="*/ 310346 w 1885653"/>
                <a:gd name="connsiteY65" fmla="*/ 42744 h 828110"/>
                <a:gd name="connsiteX66" fmla="*/ 298778 w 1885653"/>
                <a:gd name="connsiteY66" fmla="*/ 47892 h 828110"/>
                <a:gd name="connsiteX67" fmla="*/ 269837 w 1885653"/>
                <a:gd name="connsiteY67" fmla="*/ 39034 h 828110"/>
                <a:gd name="connsiteX68" fmla="*/ 238178 w 1885653"/>
                <a:gd name="connsiteY68" fmla="*/ 41775 h 828110"/>
                <a:gd name="connsiteX69" fmla="*/ 237244 w 1885653"/>
                <a:gd name="connsiteY69" fmla="*/ 57116 h 828110"/>
                <a:gd name="connsiteX70" fmla="*/ 243739 w 1885653"/>
                <a:gd name="connsiteY70" fmla="*/ 74229 h 828110"/>
                <a:gd name="connsiteX71" fmla="*/ 228761 w 1885653"/>
                <a:gd name="connsiteY71" fmla="*/ 80246 h 828110"/>
                <a:gd name="connsiteX72" fmla="*/ 215935 w 1885653"/>
                <a:gd name="connsiteY72" fmla="*/ 93916 h 828110"/>
                <a:gd name="connsiteX73" fmla="*/ 155618 w 1885653"/>
                <a:gd name="connsiteY73" fmla="*/ 97559 h 828110"/>
                <a:gd name="connsiteX74" fmla="*/ 102405 w 1885653"/>
                <a:gd name="connsiteY74" fmla="*/ 94685 h 828110"/>
                <a:gd name="connsiteX75" fmla="*/ 81663 w 1885653"/>
                <a:gd name="connsiteY75" fmla="*/ 96857 h 828110"/>
                <a:gd name="connsiteX76" fmla="*/ 57310 w 1885653"/>
                <a:gd name="connsiteY76" fmla="*/ 88100 h 828110"/>
                <a:gd name="connsiteX77" fmla="*/ 31698 w 1885653"/>
                <a:gd name="connsiteY77" fmla="*/ 89470 h 828110"/>
                <a:gd name="connsiteX78" fmla="*/ 7059 w 1885653"/>
                <a:gd name="connsiteY78" fmla="*/ 95253 h 828110"/>
                <a:gd name="connsiteX79" fmla="*/ 1945 w 1885653"/>
                <a:gd name="connsiteY79" fmla="*/ 113703 h 828110"/>
                <a:gd name="connsiteX80" fmla="*/ 28735 w 1885653"/>
                <a:gd name="connsiteY80" fmla="*/ 130982 h 828110"/>
                <a:gd name="connsiteX81" fmla="*/ 26380 w 1885653"/>
                <a:gd name="connsiteY81" fmla="*/ 154379 h 828110"/>
                <a:gd name="connsiteX82" fmla="*/ 49192 w 1885653"/>
                <a:gd name="connsiteY82" fmla="*/ 171458 h 828110"/>
                <a:gd name="connsiteX83" fmla="*/ 55848 w 1885653"/>
                <a:gd name="connsiteY83" fmla="*/ 185530 h 828110"/>
                <a:gd name="connsiteX84" fmla="*/ 84261 w 1885653"/>
                <a:gd name="connsiteY84" fmla="*/ 200136 h 828110"/>
                <a:gd name="connsiteX85" fmla="*/ 102161 w 1885653"/>
                <a:gd name="connsiteY85" fmla="*/ 207155 h 828110"/>
                <a:gd name="connsiteX86" fmla="*/ 169540 w 1885653"/>
                <a:gd name="connsiteY86" fmla="*/ 229114 h 828110"/>
                <a:gd name="connsiteX87" fmla="*/ 135770 w 1885653"/>
                <a:gd name="connsiteY87" fmla="*/ 241147 h 828110"/>
                <a:gd name="connsiteX88" fmla="*/ 116692 w 1885653"/>
                <a:gd name="connsiteY88" fmla="*/ 241782 h 828110"/>
                <a:gd name="connsiteX89" fmla="*/ 123877 w 1885653"/>
                <a:gd name="connsiteY89" fmla="*/ 257992 h 828110"/>
                <a:gd name="connsiteX90" fmla="*/ 120711 w 1885653"/>
                <a:gd name="connsiteY90" fmla="*/ 268019 h 828110"/>
                <a:gd name="connsiteX91" fmla="*/ 102770 w 1885653"/>
                <a:gd name="connsiteY91" fmla="*/ 261702 h 828110"/>
                <a:gd name="connsiteX92" fmla="*/ 100091 w 1885653"/>
                <a:gd name="connsiteY92" fmla="*/ 282926 h 828110"/>
                <a:gd name="connsiteX93" fmla="*/ 148149 w 1885653"/>
                <a:gd name="connsiteY93" fmla="*/ 324405 h 828110"/>
                <a:gd name="connsiteX94" fmla="*/ 174411 w 1885653"/>
                <a:gd name="connsiteY94" fmla="*/ 325875 h 828110"/>
                <a:gd name="connsiteX95" fmla="*/ 198765 w 1885653"/>
                <a:gd name="connsiteY95" fmla="*/ 341752 h 828110"/>
                <a:gd name="connsiteX96" fmla="*/ 249908 w 1885653"/>
                <a:gd name="connsiteY96" fmla="*/ 380824 h 828110"/>
                <a:gd name="connsiteX97" fmla="*/ 315096 w 1885653"/>
                <a:gd name="connsiteY97" fmla="*/ 411707 h 828110"/>
                <a:gd name="connsiteX98" fmla="*/ 336405 w 1885653"/>
                <a:gd name="connsiteY98" fmla="*/ 418793 h 828110"/>
                <a:gd name="connsiteX99" fmla="*/ 350976 w 1885653"/>
                <a:gd name="connsiteY99" fmla="*/ 417189 h 828110"/>
                <a:gd name="connsiteX100" fmla="*/ 352072 w 1885653"/>
                <a:gd name="connsiteY100" fmla="*/ 435873 h 828110"/>
                <a:gd name="connsiteX101" fmla="*/ 382109 w 1885653"/>
                <a:gd name="connsiteY101" fmla="*/ 426982 h 828110"/>
                <a:gd name="connsiteX102" fmla="*/ 413769 w 1885653"/>
                <a:gd name="connsiteY102" fmla="*/ 438078 h 828110"/>
                <a:gd name="connsiteX103" fmla="*/ 441005 w 1885653"/>
                <a:gd name="connsiteY103" fmla="*/ 450746 h 828110"/>
                <a:gd name="connsiteX104" fmla="*/ 478104 w 1885653"/>
                <a:gd name="connsiteY104" fmla="*/ 445231 h 828110"/>
                <a:gd name="connsiteX105" fmla="*/ 491458 w 1885653"/>
                <a:gd name="connsiteY105" fmla="*/ 446702 h 828110"/>
                <a:gd name="connsiteX106" fmla="*/ 512443 w 1885653"/>
                <a:gd name="connsiteY106" fmla="*/ 444763 h 828110"/>
                <a:gd name="connsiteX107" fmla="*/ 547269 w 1885653"/>
                <a:gd name="connsiteY107" fmla="*/ 454790 h 828110"/>
                <a:gd name="connsiteX108" fmla="*/ 567928 w 1885653"/>
                <a:gd name="connsiteY108" fmla="*/ 468728 h 828110"/>
                <a:gd name="connsiteX109" fmla="*/ 575844 w 1885653"/>
                <a:gd name="connsiteY109" fmla="*/ 478588 h 828110"/>
                <a:gd name="connsiteX110" fmla="*/ 594556 w 1885653"/>
                <a:gd name="connsiteY110" fmla="*/ 483000 h 828110"/>
                <a:gd name="connsiteX111" fmla="*/ 605231 w 1885653"/>
                <a:gd name="connsiteY111" fmla="*/ 501349 h 828110"/>
                <a:gd name="connsiteX112" fmla="*/ 616677 w 1885653"/>
                <a:gd name="connsiteY112" fmla="*/ 515487 h 828110"/>
                <a:gd name="connsiteX113" fmla="*/ 598736 w 1885653"/>
                <a:gd name="connsiteY113" fmla="*/ 536511 h 828110"/>
                <a:gd name="connsiteX114" fmla="*/ 565372 w 1885653"/>
                <a:gd name="connsiteY114" fmla="*/ 549546 h 828110"/>
                <a:gd name="connsiteX115" fmla="*/ 591471 w 1885653"/>
                <a:gd name="connsiteY115" fmla="*/ 570570 h 828110"/>
                <a:gd name="connsiteX116" fmla="*/ 590293 w 1885653"/>
                <a:gd name="connsiteY116" fmla="*/ 585543 h 828110"/>
                <a:gd name="connsiteX117" fmla="*/ 602024 w 1885653"/>
                <a:gd name="connsiteY117" fmla="*/ 592696 h 828110"/>
                <a:gd name="connsiteX118" fmla="*/ 594191 w 1885653"/>
                <a:gd name="connsiteY118" fmla="*/ 603826 h 828110"/>
                <a:gd name="connsiteX119" fmla="*/ 609655 w 1885653"/>
                <a:gd name="connsiteY119" fmla="*/ 617998 h 828110"/>
                <a:gd name="connsiteX120" fmla="*/ 631615 w 1885653"/>
                <a:gd name="connsiteY120" fmla="*/ 629529 h 828110"/>
                <a:gd name="connsiteX121" fmla="*/ 644766 w 1885653"/>
                <a:gd name="connsiteY121" fmla="*/ 641060 h 828110"/>
                <a:gd name="connsiteX122" fmla="*/ 656455 w 1885653"/>
                <a:gd name="connsiteY122" fmla="*/ 633406 h 828110"/>
                <a:gd name="connsiteX123" fmla="*/ 664086 w 1885653"/>
                <a:gd name="connsiteY123" fmla="*/ 624950 h 828110"/>
                <a:gd name="connsiteX124" fmla="*/ 693919 w 1885653"/>
                <a:gd name="connsiteY124" fmla="*/ 629596 h 828110"/>
                <a:gd name="connsiteX125" fmla="*/ 719572 w 1885653"/>
                <a:gd name="connsiteY125" fmla="*/ 637818 h 828110"/>
                <a:gd name="connsiteX126" fmla="*/ 751192 w 1885653"/>
                <a:gd name="connsiteY126" fmla="*/ 646341 h 828110"/>
                <a:gd name="connsiteX127" fmla="*/ 797464 w 1885653"/>
                <a:gd name="connsiteY127" fmla="*/ 660947 h 828110"/>
                <a:gd name="connsiteX128" fmla="*/ 800427 w 1885653"/>
                <a:gd name="connsiteY128" fmla="*/ 672979 h 828110"/>
                <a:gd name="connsiteX129" fmla="*/ 818855 w 1885653"/>
                <a:gd name="connsiteY129" fmla="*/ 692733 h 828110"/>
                <a:gd name="connsiteX130" fmla="*/ 841098 w 1885653"/>
                <a:gd name="connsiteY130" fmla="*/ 703395 h 828110"/>
                <a:gd name="connsiteX131" fmla="*/ 853275 w 1885653"/>
                <a:gd name="connsiteY131" fmla="*/ 702659 h 828110"/>
                <a:gd name="connsiteX132" fmla="*/ 861393 w 1885653"/>
                <a:gd name="connsiteY132" fmla="*/ 711751 h 828110"/>
                <a:gd name="connsiteX133" fmla="*/ 883920 w 1885653"/>
                <a:gd name="connsiteY133" fmla="*/ 718435 h 828110"/>
                <a:gd name="connsiteX134" fmla="*/ 875802 w 1885653"/>
                <a:gd name="connsiteY134" fmla="*/ 735147 h 828110"/>
                <a:gd name="connsiteX135" fmla="*/ 889441 w 1885653"/>
                <a:gd name="connsiteY135" fmla="*/ 735481 h 828110"/>
                <a:gd name="connsiteX136" fmla="*/ 918381 w 1885653"/>
                <a:gd name="connsiteY136" fmla="*/ 734178 h 828110"/>
                <a:gd name="connsiteX137" fmla="*/ 974395 w 1885653"/>
                <a:gd name="connsiteY137" fmla="*/ 740863 h 828110"/>
                <a:gd name="connsiteX138" fmla="*/ 1001265 w 1885653"/>
                <a:gd name="connsiteY138" fmla="*/ 739760 h 828110"/>
                <a:gd name="connsiteX139" fmla="*/ 1026674 w 1885653"/>
                <a:gd name="connsiteY139" fmla="*/ 750689 h 828110"/>
                <a:gd name="connsiteX140" fmla="*/ 1064626 w 1885653"/>
                <a:gd name="connsiteY140" fmla="*/ 760716 h 828110"/>
                <a:gd name="connsiteX141" fmla="*/ 1098234 w 1885653"/>
                <a:gd name="connsiteY141" fmla="*/ 763791 h 828110"/>
                <a:gd name="connsiteX142" fmla="*/ 1137850 w 1885653"/>
                <a:gd name="connsiteY142" fmla="*/ 762053 h 828110"/>
                <a:gd name="connsiteX143" fmla="*/ 1160864 w 1885653"/>
                <a:gd name="connsiteY143" fmla="*/ 762053 h 828110"/>
                <a:gd name="connsiteX144" fmla="*/ 1184203 w 1885653"/>
                <a:gd name="connsiteY144" fmla="*/ 758109 h 828110"/>
                <a:gd name="connsiteX145" fmla="*/ 1196989 w 1885653"/>
                <a:gd name="connsiteY145" fmla="*/ 758811 h 828110"/>
                <a:gd name="connsiteX146" fmla="*/ 1204335 w 1885653"/>
                <a:gd name="connsiteY146" fmla="*/ 748784 h 828110"/>
                <a:gd name="connsiteX147" fmla="*/ 1210871 w 1885653"/>
                <a:gd name="connsiteY147" fmla="*/ 745442 h 828110"/>
                <a:gd name="connsiteX148" fmla="*/ 1213956 w 1885653"/>
                <a:gd name="connsiteY148" fmla="*/ 739225 h 828110"/>
                <a:gd name="connsiteX149" fmla="*/ 1246753 w 1885653"/>
                <a:gd name="connsiteY149" fmla="*/ 739559 h 828110"/>
                <a:gd name="connsiteX150" fmla="*/ 1258483 w 1885653"/>
                <a:gd name="connsiteY150" fmla="*/ 734546 h 828110"/>
                <a:gd name="connsiteX151" fmla="*/ 1278452 w 1885653"/>
                <a:gd name="connsiteY151" fmla="*/ 735147 h 828110"/>
                <a:gd name="connsiteX152" fmla="*/ 1287423 w 1885653"/>
                <a:gd name="connsiteY152" fmla="*/ 725488 h 828110"/>
                <a:gd name="connsiteX153" fmla="*/ 1296312 w 1885653"/>
                <a:gd name="connsiteY153" fmla="*/ 722948 h 828110"/>
                <a:gd name="connsiteX154" fmla="*/ 1297083 w 1885653"/>
                <a:gd name="connsiteY154" fmla="*/ 717533 h 828110"/>
                <a:gd name="connsiteX155" fmla="*/ 1317053 w 1885653"/>
                <a:gd name="connsiteY155" fmla="*/ 717533 h 828110"/>
                <a:gd name="connsiteX156" fmla="*/ 1302806 w 1885653"/>
                <a:gd name="connsiteY156" fmla="*/ 710548 h 828110"/>
                <a:gd name="connsiteX157" fmla="*/ 1291563 w 1885653"/>
                <a:gd name="connsiteY157" fmla="*/ 700888 h 828110"/>
                <a:gd name="connsiteX158" fmla="*/ 1278169 w 1885653"/>
                <a:gd name="connsiteY158" fmla="*/ 696443 h 828110"/>
                <a:gd name="connsiteX159" fmla="*/ 1292254 w 1885653"/>
                <a:gd name="connsiteY159" fmla="*/ 695306 h 828110"/>
                <a:gd name="connsiteX160" fmla="*/ 1310031 w 1885653"/>
                <a:gd name="connsiteY160" fmla="*/ 686951 h 828110"/>
                <a:gd name="connsiteX161" fmla="*/ 1294688 w 1885653"/>
                <a:gd name="connsiteY161" fmla="*/ 674082 h 828110"/>
                <a:gd name="connsiteX162" fmla="*/ 1281619 w 1885653"/>
                <a:gd name="connsiteY162" fmla="*/ 660713 h 828110"/>
                <a:gd name="connsiteX163" fmla="*/ 1320219 w 1885653"/>
                <a:gd name="connsiteY163" fmla="*/ 671342 h 828110"/>
                <a:gd name="connsiteX164" fmla="*/ 1308042 w 1885653"/>
                <a:gd name="connsiteY164" fmla="*/ 650352 h 828110"/>
                <a:gd name="connsiteX165" fmla="*/ 1303131 w 1885653"/>
                <a:gd name="connsiteY165" fmla="*/ 626955 h 828110"/>
                <a:gd name="connsiteX166" fmla="*/ 1288681 w 1885653"/>
                <a:gd name="connsiteY166" fmla="*/ 605664 h 828110"/>
                <a:gd name="connsiteX167" fmla="*/ 1291928 w 1885653"/>
                <a:gd name="connsiteY167" fmla="*/ 591025 h 828110"/>
                <a:gd name="connsiteX168" fmla="*/ 1311939 w 1885653"/>
                <a:gd name="connsiteY168" fmla="*/ 591392 h 828110"/>
                <a:gd name="connsiteX169" fmla="*/ 1320707 w 1885653"/>
                <a:gd name="connsiteY169" fmla="*/ 587749 h 828110"/>
                <a:gd name="connsiteX170" fmla="*/ 1332071 w 1885653"/>
                <a:gd name="connsiteY170" fmla="*/ 591092 h 828110"/>
                <a:gd name="connsiteX171" fmla="*/ 1353301 w 1885653"/>
                <a:gd name="connsiteY171" fmla="*/ 589354 h 828110"/>
                <a:gd name="connsiteX172" fmla="*/ 1401683 w 1885653"/>
                <a:gd name="connsiteY172" fmla="*/ 594568 h 828110"/>
                <a:gd name="connsiteX173" fmla="*/ 1376030 w 1885653"/>
                <a:gd name="connsiteY173" fmla="*/ 578357 h 828110"/>
                <a:gd name="connsiteX174" fmla="*/ 1350459 w 1885653"/>
                <a:gd name="connsiteY174" fmla="*/ 561813 h 828110"/>
                <a:gd name="connsiteX175" fmla="*/ 1303902 w 1885653"/>
                <a:gd name="connsiteY175" fmla="*/ 545870 h 828110"/>
                <a:gd name="connsiteX176" fmla="*/ 1272081 w 1885653"/>
                <a:gd name="connsiteY176" fmla="*/ 514585 h 828110"/>
                <a:gd name="connsiteX177" fmla="*/ 1314902 w 1885653"/>
                <a:gd name="connsiteY177" fmla="*/ 517627 h 828110"/>
                <a:gd name="connsiteX178" fmla="*/ 1343843 w 1885653"/>
                <a:gd name="connsiteY178" fmla="*/ 513482 h 828110"/>
                <a:gd name="connsiteX179" fmla="*/ 1388492 w 1885653"/>
                <a:gd name="connsiteY179" fmla="*/ 515955 h 828110"/>
                <a:gd name="connsiteX180" fmla="*/ 1412846 w 1885653"/>
                <a:gd name="connsiteY180" fmla="*/ 537647 h 828110"/>
                <a:gd name="connsiteX181" fmla="*/ 1390237 w 1885653"/>
                <a:gd name="connsiteY181" fmla="*/ 546271 h 828110"/>
                <a:gd name="connsiteX182" fmla="*/ 1394296 w 1885653"/>
                <a:gd name="connsiteY182" fmla="*/ 557267 h 828110"/>
                <a:gd name="connsiteX183" fmla="*/ 1449701 w 1885653"/>
                <a:gd name="connsiteY183" fmla="*/ 562548 h 828110"/>
                <a:gd name="connsiteX184" fmla="*/ 1474055 w 1885653"/>
                <a:gd name="connsiteY184" fmla="*/ 567294 h 828110"/>
                <a:gd name="connsiteX185" fmla="*/ 1493619 w 1885653"/>
                <a:gd name="connsiteY185" fmla="*/ 567294 h 828110"/>
                <a:gd name="connsiteX186" fmla="*/ 1562621 w 1885653"/>
                <a:gd name="connsiteY186" fmla="*/ 574179 h 828110"/>
                <a:gd name="connsiteX187" fmla="*/ 1589736 w 1885653"/>
                <a:gd name="connsiteY187" fmla="*/ 578324 h 828110"/>
                <a:gd name="connsiteX188" fmla="*/ 1619488 w 1885653"/>
                <a:gd name="connsiteY188" fmla="*/ 593164 h 828110"/>
                <a:gd name="connsiteX189" fmla="*/ 1634628 w 1885653"/>
                <a:gd name="connsiteY189" fmla="*/ 589654 h 828110"/>
                <a:gd name="connsiteX190" fmla="*/ 1663974 w 1885653"/>
                <a:gd name="connsiteY190" fmla="*/ 592128 h 828110"/>
                <a:gd name="connsiteX191" fmla="*/ 1689221 w 1885653"/>
                <a:gd name="connsiteY191" fmla="*/ 590289 h 828110"/>
                <a:gd name="connsiteX192" fmla="*/ 1727010 w 1885653"/>
                <a:gd name="connsiteY192" fmla="*/ 599414 h 828110"/>
                <a:gd name="connsiteX193" fmla="*/ 1736954 w 1885653"/>
                <a:gd name="connsiteY193" fmla="*/ 577020 h 828110"/>
                <a:gd name="connsiteX194" fmla="*/ 1767113 w 1885653"/>
                <a:gd name="connsiteY194" fmla="*/ 572775 h 828110"/>
                <a:gd name="connsiteX195" fmla="*/ 1798894 w 1885653"/>
                <a:gd name="connsiteY195" fmla="*/ 589487 h 828110"/>
                <a:gd name="connsiteX196" fmla="*/ 1831123 w 1885653"/>
                <a:gd name="connsiteY196" fmla="*/ 583337 h 828110"/>
                <a:gd name="connsiteX197" fmla="*/ 1866233 w 1885653"/>
                <a:gd name="connsiteY197" fmla="*/ 571773 h 828110"/>
                <a:gd name="connsiteX198" fmla="*/ 1880642 w 1885653"/>
                <a:gd name="connsiteY198" fmla="*/ 569868 h 828110"/>
                <a:gd name="connsiteX199" fmla="*/ 1883199 w 1885653"/>
                <a:gd name="connsiteY199" fmla="*/ 558203 h 828110"/>
                <a:gd name="connsiteX200" fmla="*/ 1197476 w 1885653"/>
                <a:gd name="connsiteY200" fmla="*/ 795577 h 828110"/>
                <a:gd name="connsiteX201" fmla="*/ 1196218 w 1885653"/>
                <a:gd name="connsiteY201" fmla="*/ 827764 h 828110"/>
                <a:gd name="connsiteX202" fmla="*/ 1236807 w 1885653"/>
                <a:gd name="connsiteY202" fmla="*/ 812690 h 828110"/>
                <a:gd name="connsiteX203" fmla="*/ 1258158 w 1885653"/>
                <a:gd name="connsiteY203" fmla="*/ 793037 h 828110"/>
                <a:gd name="connsiteX204" fmla="*/ 1197517 w 1885653"/>
                <a:gd name="connsiteY204" fmla="*/ 795577 h 828110"/>
                <a:gd name="connsiteX205" fmla="*/ 869795 w 1885653"/>
                <a:gd name="connsiteY205" fmla="*/ 744004 h 828110"/>
                <a:gd name="connsiteX206" fmla="*/ 862489 w 1885653"/>
                <a:gd name="connsiteY206" fmla="*/ 772582 h 828110"/>
                <a:gd name="connsiteX207" fmla="*/ 894960 w 1885653"/>
                <a:gd name="connsiteY207" fmla="*/ 763591 h 828110"/>
                <a:gd name="connsiteX208" fmla="*/ 869795 w 1885653"/>
                <a:gd name="connsiteY208" fmla="*/ 744004 h 82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885653" h="828110">
                  <a:moveTo>
                    <a:pt x="1884214" y="558738"/>
                  </a:moveTo>
                  <a:cubicBezTo>
                    <a:pt x="1892332" y="549145"/>
                    <a:pt x="1862377" y="545101"/>
                    <a:pt x="1853407" y="541491"/>
                  </a:cubicBezTo>
                  <a:cubicBezTo>
                    <a:pt x="1839931" y="536010"/>
                    <a:pt x="1837739" y="537881"/>
                    <a:pt x="1825928" y="536912"/>
                  </a:cubicBezTo>
                  <a:cubicBezTo>
                    <a:pt x="1818621" y="536310"/>
                    <a:pt x="1803319" y="527754"/>
                    <a:pt x="1796541" y="524412"/>
                  </a:cubicBezTo>
                  <a:cubicBezTo>
                    <a:pt x="1777666" y="515220"/>
                    <a:pt x="1772673" y="501550"/>
                    <a:pt x="1780994" y="492693"/>
                  </a:cubicBezTo>
                  <a:cubicBezTo>
                    <a:pt x="1784282" y="489350"/>
                    <a:pt x="1750511" y="461141"/>
                    <a:pt x="1742597" y="457063"/>
                  </a:cubicBezTo>
                  <a:cubicBezTo>
                    <a:pt x="1734682" y="452985"/>
                    <a:pt x="1707243" y="435405"/>
                    <a:pt x="1704889" y="430324"/>
                  </a:cubicBezTo>
                  <a:cubicBezTo>
                    <a:pt x="1702534" y="425244"/>
                    <a:pt x="1710044" y="423639"/>
                    <a:pt x="1709435" y="419194"/>
                  </a:cubicBezTo>
                  <a:cubicBezTo>
                    <a:pt x="1708541" y="412509"/>
                    <a:pt x="1704685" y="405290"/>
                    <a:pt x="1705376" y="399140"/>
                  </a:cubicBezTo>
                  <a:cubicBezTo>
                    <a:pt x="1705863" y="395463"/>
                    <a:pt x="1702453" y="391218"/>
                    <a:pt x="1700667" y="387241"/>
                  </a:cubicBezTo>
                  <a:cubicBezTo>
                    <a:pt x="1697014" y="379153"/>
                    <a:pt x="1701885" y="373136"/>
                    <a:pt x="1698922" y="365315"/>
                  </a:cubicBezTo>
                  <a:cubicBezTo>
                    <a:pt x="1697826" y="362374"/>
                    <a:pt x="1691656" y="357528"/>
                    <a:pt x="1692671" y="355021"/>
                  </a:cubicBezTo>
                  <a:cubicBezTo>
                    <a:pt x="1694944" y="349339"/>
                    <a:pt x="1694822" y="347501"/>
                    <a:pt x="1687354" y="340248"/>
                  </a:cubicBezTo>
                  <a:cubicBezTo>
                    <a:pt x="1663447" y="316851"/>
                    <a:pt x="1620056" y="293889"/>
                    <a:pt x="1581212" y="281690"/>
                  </a:cubicBezTo>
                  <a:cubicBezTo>
                    <a:pt x="1567898" y="277512"/>
                    <a:pt x="1554991" y="270192"/>
                    <a:pt x="1541393" y="268320"/>
                  </a:cubicBezTo>
                  <a:cubicBezTo>
                    <a:pt x="1535711" y="267518"/>
                    <a:pt x="1514361" y="267685"/>
                    <a:pt x="1517932" y="273467"/>
                  </a:cubicBezTo>
                  <a:cubicBezTo>
                    <a:pt x="1520652" y="277946"/>
                    <a:pt x="1528120" y="276810"/>
                    <a:pt x="1528851" y="282826"/>
                  </a:cubicBezTo>
                  <a:cubicBezTo>
                    <a:pt x="1530637" y="296997"/>
                    <a:pt x="1518298" y="292184"/>
                    <a:pt x="1502751" y="294691"/>
                  </a:cubicBezTo>
                  <a:cubicBezTo>
                    <a:pt x="1488667" y="297542"/>
                    <a:pt x="1475110" y="301937"/>
                    <a:pt x="1462446" y="307760"/>
                  </a:cubicBezTo>
                  <a:cubicBezTo>
                    <a:pt x="1455424" y="310701"/>
                    <a:pt x="1455302" y="316884"/>
                    <a:pt x="1440933" y="312305"/>
                  </a:cubicBezTo>
                  <a:cubicBezTo>
                    <a:pt x="1431719" y="309364"/>
                    <a:pt x="1420638" y="309966"/>
                    <a:pt x="1411871" y="308963"/>
                  </a:cubicBezTo>
                  <a:cubicBezTo>
                    <a:pt x="1392997" y="306991"/>
                    <a:pt x="1386625" y="294959"/>
                    <a:pt x="1375341" y="287305"/>
                  </a:cubicBezTo>
                  <a:cubicBezTo>
                    <a:pt x="1363813" y="291760"/>
                    <a:pt x="1352326" y="296219"/>
                    <a:pt x="1340839" y="300674"/>
                  </a:cubicBezTo>
                  <a:cubicBezTo>
                    <a:pt x="1337470" y="302085"/>
                    <a:pt x="1334670" y="304237"/>
                    <a:pt x="1332721" y="306891"/>
                  </a:cubicBezTo>
                  <a:cubicBezTo>
                    <a:pt x="1329921" y="309932"/>
                    <a:pt x="1318961" y="307091"/>
                    <a:pt x="1319733" y="311704"/>
                  </a:cubicBezTo>
                  <a:cubicBezTo>
                    <a:pt x="1321356" y="321062"/>
                    <a:pt x="1333249" y="323135"/>
                    <a:pt x="1344655" y="326377"/>
                  </a:cubicBezTo>
                  <a:cubicBezTo>
                    <a:pt x="1358617" y="330388"/>
                    <a:pt x="1363367" y="337340"/>
                    <a:pt x="1374772" y="342587"/>
                  </a:cubicBezTo>
                  <a:cubicBezTo>
                    <a:pt x="1381551" y="345696"/>
                    <a:pt x="1389871" y="339044"/>
                    <a:pt x="1401318" y="344626"/>
                  </a:cubicBezTo>
                  <a:cubicBezTo>
                    <a:pt x="1411709" y="349706"/>
                    <a:pt x="1419705" y="363711"/>
                    <a:pt x="1425672" y="370563"/>
                  </a:cubicBezTo>
                  <a:cubicBezTo>
                    <a:pt x="1429244" y="374641"/>
                    <a:pt x="1440366" y="385236"/>
                    <a:pt x="1436307" y="388645"/>
                  </a:cubicBezTo>
                  <a:cubicBezTo>
                    <a:pt x="1430259" y="393725"/>
                    <a:pt x="1410735" y="381960"/>
                    <a:pt x="1404443" y="378050"/>
                  </a:cubicBezTo>
                  <a:cubicBezTo>
                    <a:pt x="1392673" y="370496"/>
                    <a:pt x="1376559" y="371666"/>
                    <a:pt x="1363650" y="366519"/>
                  </a:cubicBezTo>
                  <a:cubicBezTo>
                    <a:pt x="1344736" y="358931"/>
                    <a:pt x="1325131" y="357828"/>
                    <a:pt x="1310884" y="362374"/>
                  </a:cubicBezTo>
                  <a:cubicBezTo>
                    <a:pt x="1299154" y="366084"/>
                    <a:pt x="1289533" y="362574"/>
                    <a:pt x="1274800" y="357695"/>
                  </a:cubicBezTo>
                  <a:cubicBezTo>
                    <a:pt x="1258564" y="352280"/>
                    <a:pt x="1246102" y="353450"/>
                    <a:pt x="1230151" y="351010"/>
                  </a:cubicBezTo>
                  <a:cubicBezTo>
                    <a:pt x="1215498" y="348794"/>
                    <a:pt x="1201860" y="343420"/>
                    <a:pt x="1190576" y="335435"/>
                  </a:cubicBezTo>
                  <a:cubicBezTo>
                    <a:pt x="1180754" y="328148"/>
                    <a:pt x="1162163" y="323569"/>
                    <a:pt x="1155953" y="330622"/>
                  </a:cubicBezTo>
                  <a:cubicBezTo>
                    <a:pt x="1151488" y="335735"/>
                    <a:pt x="1161879" y="343991"/>
                    <a:pt x="1157130" y="349439"/>
                  </a:cubicBezTo>
                  <a:cubicBezTo>
                    <a:pt x="1152381" y="354887"/>
                    <a:pt x="1136835" y="350843"/>
                    <a:pt x="1127052" y="350275"/>
                  </a:cubicBezTo>
                  <a:cubicBezTo>
                    <a:pt x="1111467" y="349339"/>
                    <a:pt x="1099493" y="352948"/>
                    <a:pt x="1083094" y="351010"/>
                  </a:cubicBezTo>
                  <a:cubicBezTo>
                    <a:pt x="1068319" y="349098"/>
                    <a:pt x="1054194" y="344780"/>
                    <a:pt x="1041490" y="338309"/>
                  </a:cubicBezTo>
                  <a:cubicBezTo>
                    <a:pt x="1006542" y="321898"/>
                    <a:pt x="979509" y="319425"/>
                    <a:pt x="943871" y="318790"/>
                  </a:cubicBezTo>
                  <a:cubicBezTo>
                    <a:pt x="933277" y="318589"/>
                    <a:pt x="923861" y="318155"/>
                    <a:pt x="917691" y="310467"/>
                  </a:cubicBezTo>
                  <a:cubicBezTo>
                    <a:pt x="910344" y="301242"/>
                    <a:pt x="891754" y="299304"/>
                    <a:pt x="880430" y="291215"/>
                  </a:cubicBezTo>
                  <a:cubicBezTo>
                    <a:pt x="870972" y="284530"/>
                    <a:pt x="860378" y="283127"/>
                    <a:pt x="850718" y="277111"/>
                  </a:cubicBezTo>
                  <a:cubicBezTo>
                    <a:pt x="838216" y="269356"/>
                    <a:pt x="830423" y="262805"/>
                    <a:pt x="815080" y="256789"/>
                  </a:cubicBezTo>
                  <a:cubicBezTo>
                    <a:pt x="791092" y="247464"/>
                    <a:pt x="766779" y="239476"/>
                    <a:pt x="742018" y="231487"/>
                  </a:cubicBezTo>
                  <a:cubicBezTo>
                    <a:pt x="725133" y="225972"/>
                    <a:pt x="687871" y="218118"/>
                    <a:pt x="682270" y="207523"/>
                  </a:cubicBezTo>
                  <a:cubicBezTo>
                    <a:pt x="677927" y="199762"/>
                    <a:pt x="674598" y="191636"/>
                    <a:pt x="672367" y="183290"/>
                  </a:cubicBezTo>
                  <a:cubicBezTo>
                    <a:pt x="669565" y="172762"/>
                    <a:pt x="653898" y="169687"/>
                    <a:pt x="646673" y="160696"/>
                  </a:cubicBezTo>
                  <a:cubicBezTo>
                    <a:pt x="633968" y="144887"/>
                    <a:pt x="612497" y="138737"/>
                    <a:pt x="588752" y="129378"/>
                  </a:cubicBezTo>
                  <a:cubicBezTo>
                    <a:pt x="577671" y="125000"/>
                    <a:pt x="562531" y="119351"/>
                    <a:pt x="554981" y="112666"/>
                  </a:cubicBezTo>
                  <a:cubicBezTo>
                    <a:pt x="548446" y="106817"/>
                    <a:pt x="567157" y="97057"/>
                    <a:pt x="571582" y="92612"/>
                  </a:cubicBezTo>
                  <a:cubicBezTo>
                    <a:pt x="580715" y="83387"/>
                    <a:pt x="562043" y="77371"/>
                    <a:pt x="563464" y="66943"/>
                  </a:cubicBezTo>
                  <a:cubicBezTo>
                    <a:pt x="564763" y="57718"/>
                    <a:pt x="545604" y="50799"/>
                    <a:pt x="534362" y="45184"/>
                  </a:cubicBezTo>
                  <a:cubicBezTo>
                    <a:pt x="522793" y="38881"/>
                    <a:pt x="512564" y="31106"/>
                    <a:pt x="503960" y="22155"/>
                  </a:cubicBezTo>
                  <a:cubicBezTo>
                    <a:pt x="499901" y="17576"/>
                    <a:pt x="500591" y="13231"/>
                    <a:pt x="499901" y="8786"/>
                  </a:cubicBezTo>
                  <a:cubicBezTo>
                    <a:pt x="492837" y="6379"/>
                    <a:pt x="485248" y="3973"/>
                    <a:pt x="481107" y="-339"/>
                  </a:cubicBezTo>
                  <a:cubicBezTo>
                    <a:pt x="477536" y="2803"/>
                    <a:pt x="467550" y="3004"/>
                    <a:pt x="465967" y="7081"/>
                  </a:cubicBezTo>
                  <a:cubicBezTo>
                    <a:pt x="463045" y="14234"/>
                    <a:pt x="455332" y="12797"/>
                    <a:pt x="443684" y="11293"/>
                  </a:cubicBezTo>
                  <a:cubicBezTo>
                    <a:pt x="432725" y="9855"/>
                    <a:pt x="425825" y="14000"/>
                    <a:pt x="423389" y="19013"/>
                  </a:cubicBezTo>
                  <a:cubicBezTo>
                    <a:pt x="421644" y="22356"/>
                    <a:pt x="427732" y="31113"/>
                    <a:pt x="422699" y="33152"/>
                  </a:cubicBezTo>
                  <a:cubicBezTo>
                    <a:pt x="408290" y="39068"/>
                    <a:pt x="386168" y="28539"/>
                    <a:pt x="370541" y="24261"/>
                  </a:cubicBezTo>
                  <a:cubicBezTo>
                    <a:pt x="365873" y="22957"/>
                    <a:pt x="348542" y="13398"/>
                    <a:pt x="345132" y="14234"/>
                  </a:cubicBezTo>
                  <a:cubicBezTo>
                    <a:pt x="339531" y="15404"/>
                    <a:pt x="334659" y="22022"/>
                    <a:pt x="331007" y="24528"/>
                  </a:cubicBezTo>
                  <a:cubicBezTo>
                    <a:pt x="327354" y="27035"/>
                    <a:pt x="305313" y="38399"/>
                    <a:pt x="310346" y="42744"/>
                  </a:cubicBezTo>
                  <a:cubicBezTo>
                    <a:pt x="319601" y="50799"/>
                    <a:pt x="310022" y="51635"/>
                    <a:pt x="298778" y="47892"/>
                  </a:cubicBezTo>
                  <a:cubicBezTo>
                    <a:pt x="285262" y="43446"/>
                    <a:pt x="285140" y="39870"/>
                    <a:pt x="269837" y="39034"/>
                  </a:cubicBezTo>
                  <a:cubicBezTo>
                    <a:pt x="257093" y="38299"/>
                    <a:pt x="232292" y="31313"/>
                    <a:pt x="238178" y="41775"/>
                  </a:cubicBezTo>
                  <a:cubicBezTo>
                    <a:pt x="241385" y="47490"/>
                    <a:pt x="235824" y="51802"/>
                    <a:pt x="237244" y="57116"/>
                  </a:cubicBezTo>
                  <a:cubicBezTo>
                    <a:pt x="238665" y="62431"/>
                    <a:pt x="244022" y="68748"/>
                    <a:pt x="243739" y="74229"/>
                  </a:cubicBezTo>
                  <a:cubicBezTo>
                    <a:pt x="243495" y="78207"/>
                    <a:pt x="233591" y="78875"/>
                    <a:pt x="228761" y="80246"/>
                  </a:cubicBezTo>
                  <a:cubicBezTo>
                    <a:pt x="221211" y="82351"/>
                    <a:pt x="223038" y="94083"/>
                    <a:pt x="215935" y="93916"/>
                  </a:cubicBezTo>
                  <a:cubicBezTo>
                    <a:pt x="196533" y="93481"/>
                    <a:pt x="169703" y="91810"/>
                    <a:pt x="155618" y="97559"/>
                  </a:cubicBezTo>
                  <a:cubicBezTo>
                    <a:pt x="139382" y="104244"/>
                    <a:pt x="119859" y="88902"/>
                    <a:pt x="102405" y="94685"/>
                  </a:cubicBezTo>
                  <a:cubicBezTo>
                    <a:pt x="95342" y="97057"/>
                    <a:pt x="89092" y="95654"/>
                    <a:pt x="81663" y="96857"/>
                  </a:cubicBezTo>
                  <a:cubicBezTo>
                    <a:pt x="71475" y="98562"/>
                    <a:pt x="67863" y="88133"/>
                    <a:pt x="57310" y="88100"/>
                  </a:cubicBezTo>
                  <a:cubicBezTo>
                    <a:pt x="48745" y="87729"/>
                    <a:pt x="40140" y="88190"/>
                    <a:pt x="31698" y="89470"/>
                  </a:cubicBezTo>
                  <a:cubicBezTo>
                    <a:pt x="16517" y="92378"/>
                    <a:pt x="15827" y="86763"/>
                    <a:pt x="7059" y="95253"/>
                  </a:cubicBezTo>
                  <a:cubicBezTo>
                    <a:pt x="2595" y="99598"/>
                    <a:pt x="-3169" y="107085"/>
                    <a:pt x="1945" y="113703"/>
                  </a:cubicBezTo>
                  <a:cubicBezTo>
                    <a:pt x="6329" y="119385"/>
                    <a:pt x="29587" y="123028"/>
                    <a:pt x="28735" y="130982"/>
                  </a:cubicBezTo>
                  <a:cubicBezTo>
                    <a:pt x="28491" y="133556"/>
                    <a:pt x="27801" y="154379"/>
                    <a:pt x="26380" y="154379"/>
                  </a:cubicBezTo>
                  <a:cubicBezTo>
                    <a:pt x="33646" y="159927"/>
                    <a:pt x="43509" y="165375"/>
                    <a:pt x="49192" y="171458"/>
                  </a:cubicBezTo>
                  <a:cubicBezTo>
                    <a:pt x="53251" y="176004"/>
                    <a:pt x="49192" y="180249"/>
                    <a:pt x="55848" y="185530"/>
                  </a:cubicBezTo>
                  <a:cubicBezTo>
                    <a:pt x="64453" y="191479"/>
                    <a:pt x="73992" y="196396"/>
                    <a:pt x="84261" y="200136"/>
                  </a:cubicBezTo>
                  <a:cubicBezTo>
                    <a:pt x="93678" y="203177"/>
                    <a:pt x="96032" y="200738"/>
                    <a:pt x="102161" y="207155"/>
                  </a:cubicBezTo>
                  <a:cubicBezTo>
                    <a:pt x="118884" y="191379"/>
                    <a:pt x="182326" y="218953"/>
                    <a:pt x="169540" y="229114"/>
                  </a:cubicBezTo>
                  <a:cubicBezTo>
                    <a:pt x="159880" y="235648"/>
                    <a:pt x="148190" y="239816"/>
                    <a:pt x="135770" y="241147"/>
                  </a:cubicBezTo>
                  <a:cubicBezTo>
                    <a:pt x="126597" y="242049"/>
                    <a:pt x="121198" y="236133"/>
                    <a:pt x="116692" y="241782"/>
                  </a:cubicBezTo>
                  <a:cubicBezTo>
                    <a:pt x="112633" y="246728"/>
                    <a:pt x="119980" y="252578"/>
                    <a:pt x="123877" y="257992"/>
                  </a:cubicBezTo>
                  <a:cubicBezTo>
                    <a:pt x="126759" y="262036"/>
                    <a:pt x="130006" y="267652"/>
                    <a:pt x="120711" y="268019"/>
                  </a:cubicBezTo>
                  <a:cubicBezTo>
                    <a:pt x="111416" y="268387"/>
                    <a:pt x="110036" y="263307"/>
                    <a:pt x="102770" y="261702"/>
                  </a:cubicBezTo>
                  <a:cubicBezTo>
                    <a:pt x="92947" y="259496"/>
                    <a:pt x="97250" y="279951"/>
                    <a:pt x="100091" y="282926"/>
                  </a:cubicBezTo>
                  <a:cubicBezTo>
                    <a:pt x="104922" y="287873"/>
                    <a:pt x="157282" y="319692"/>
                    <a:pt x="148149" y="324405"/>
                  </a:cubicBezTo>
                  <a:cubicBezTo>
                    <a:pt x="157648" y="326243"/>
                    <a:pt x="167064" y="324104"/>
                    <a:pt x="174411" y="325875"/>
                  </a:cubicBezTo>
                  <a:cubicBezTo>
                    <a:pt x="185898" y="328650"/>
                    <a:pt x="191702" y="336170"/>
                    <a:pt x="198765" y="341752"/>
                  </a:cubicBezTo>
                  <a:cubicBezTo>
                    <a:pt x="215001" y="354620"/>
                    <a:pt x="231683" y="368791"/>
                    <a:pt x="249908" y="380824"/>
                  </a:cubicBezTo>
                  <a:cubicBezTo>
                    <a:pt x="269473" y="393792"/>
                    <a:pt x="292365" y="401680"/>
                    <a:pt x="315096" y="411707"/>
                  </a:cubicBezTo>
                  <a:cubicBezTo>
                    <a:pt x="322036" y="414391"/>
                    <a:pt x="329140" y="416757"/>
                    <a:pt x="336405" y="418793"/>
                  </a:cubicBezTo>
                  <a:cubicBezTo>
                    <a:pt x="341154" y="417657"/>
                    <a:pt x="346065" y="417115"/>
                    <a:pt x="350976" y="417189"/>
                  </a:cubicBezTo>
                  <a:cubicBezTo>
                    <a:pt x="360881" y="419963"/>
                    <a:pt x="350976" y="432296"/>
                    <a:pt x="352072" y="435873"/>
                  </a:cubicBezTo>
                  <a:cubicBezTo>
                    <a:pt x="362911" y="431728"/>
                    <a:pt x="366929" y="426681"/>
                    <a:pt x="382109" y="426982"/>
                  </a:cubicBezTo>
                  <a:cubicBezTo>
                    <a:pt x="398669" y="427349"/>
                    <a:pt x="399238" y="432329"/>
                    <a:pt x="413769" y="438078"/>
                  </a:cubicBezTo>
                  <a:cubicBezTo>
                    <a:pt x="425621" y="442791"/>
                    <a:pt x="432440" y="441955"/>
                    <a:pt x="441005" y="450746"/>
                  </a:cubicBezTo>
                  <a:cubicBezTo>
                    <a:pt x="458256" y="451481"/>
                    <a:pt x="463491" y="448206"/>
                    <a:pt x="478104" y="445231"/>
                  </a:cubicBezTo>
                  <a:cubicBezTo>
                    <a:pt x="481392" y="444563"/>
                    <a:pt x="487399" y="447203"/>
                    <a:pt x="491458" y="446702"/>
                  </a:cubicBezTo>
                  <a:cubicBezTo>
                    <a:pt x="498399" y="445602"/>
                    <a:pt x="505380" y="444954"/>
                    <a:pt x="512443" y="444763"/>
                  </a:cubicBezTo>
                  <a:cubicBezTo>
                    <a:pt x="524294" y="444763"/>
                    <a:pt x="537892" y="455826"/>
                    <a:pt x="547269" y="454790"/>
                  </a:cubicBezTo>
                  <a:cubicBezTo>
                    <a:pt x="564195" y="452685"/>
                    <a:pt x="563220" y="460606"/>
                    <a:pt x="567928" y="468728"/>
                  </a:cubicBezTo>
                  <a:cubicBezTo>
                    <a:pt x="570324" y="472839"/>
                    <a:pt x="569918" y="475078"/>
                    <a:pt x="575844" y="478588"/>
                  </a:cubicBezTo>
                  <a:cubicBezTo>
                    <a:pt x="584205" y="483568"/>
                    <a:pt x="585545" y="480894"/>
                    <a:pt x="594556" y="483000"/>
                  </a:cubicBezTo>
                  <a:cubicBezTo>
                    <a:pt x="612699" y="487211"/>
                    <a:pt x="601984" y="494798"/>
                    <a:pt x="605231" y="501349"/>
                  </a:cubicBezTo>
                  <a:cubicBezTo>
                    <a:pt x="608721" y="508468"/>
                    <a:pt x="621467" y="505561"/>
                    <a:pt x="616677" y="515487"/>
                  </a:cubicBezTo>
                  <a:cubicBezTo>
                    <a:pt x="612943" y="523476"/>
                    <a:pt x="613349" y="533770"/>
                    <a:pt x="598736" y="536511"/>
                  </a:cubicBezTo>
                  <a:cubicBezTo>
                    <a:pt x="587169" y="538683"/>
                    <a:pt x="570608" y="542627"/>
                    <a:pt x="565372" y="549546"/>
                  </a:cubicBezTo>
                  <a:cubicBezTo>
                    <a:pt x="552221" y="566859"/>
                    <a:pt x="585179" y="556498"/>
                    <a:pt x="591471" y="570570"/>
                  </a:cubicBezTo>
                  <a:cubicBezTo>
                    <a:pt x="593622" y="575383"/>
                    <a:pt x="583353" y="578625"/>
                    <a:pt x="590293" y="585543"/>
                  </a:cubicBezTo>
                  <a:cubicBezTo>
                    <a:pt x="593378" y="588585"/>
                    <a:pt x="599346" y="589287"/>
                    <a:pt x="602024" y="592696"/>
                  </a:cubicBezTo>
                  <a:cubicBezTo>
                    <a:pt x="605718" y="597542"/>
                    <a:pt x="596666" y="600718"/>
                    <a:pt x="594191" y="603826"/>
                  </a:cubicBezTo>
                  <a:cubicBezTo>
                    <a:pt x="588711" y="610511"/>
                    <a:pt x="615379" y="611279"/>
                    <a:pt x="609655" y="617998"/>
                  </a:cubicBezTo>
                  <a:cubicBezTo>
                    <a:pt x="602917" y="625852"/>
                    <a:pt x="623334" y="628827"/>
                    <a:pt x="631615" y="629529"/>
                  </a:cubicBezTo>
                  <a:cubicBezTo>
                    <a:pt x="642005" y="630364"/>
                    <a:pt x="640544" y="636581"/>
                    <a:pt x="644766" y="641060"/>
                  </a:cubicBezTo>
                  <a:cubicBezTo>
                    <a:pt x="653939" y="650786"/>
                    <a:pt x="657348" y="637149"/>
                    <a:pt x="656455" y="633406"/>
                  </a:cubicBezTo>
                  <a:cubicBezTo>
                    <a:pt x="656050" y="631634"/>
                    <a:pt x="660514" y="620672"/>
                    <a:pt x="664086" y="624950"/>
                  </a:cubicBezTo>
                  <a:cubicBezTo>
                    <a:pt x="669769" y="631935"/>
                    <a:pt x="685801" y="625284"/>
                    <a:pt x="693919" y="629596"/>
                  </a:cubicBezTo>
                  <a:cubicBezTo>
                    <a:pt x="704189" y="635044"/>
                    <a:pt x="709465" y="631868"/>
                    <a:pt x="719572" y="637818"/>
                  </a:cubicBezTo>
                  <a:cubicBezTo>
                    <a:pt x="723631" y="640091"/>
                    <a:pt x="747579" y="647845"/>
                    <a:pt x="751192" y="646341"/>
                  </a:cubicBezTo>
                  <a:cubicBezTo>
                    <a:pt x="774084" y="636648"/>
                    <a:pt x="778549" y="652691"/>
                    <a:pt x="797464" y="660947"/>
                  </a:cubicBezTo>
                  <a:cubicBezTo>
                    <a:pt x="811995" y="667297"/>
                    <a:pt x="803147" y="667632"/>
                    <a:pt x="800427" y="672979"/>
                  </a:cubicBezTo>
                  <a:cubicBezTo>
                    <a:pt x="798033" y="677592"/>
                    <a:pt x="813335" y="689156"/>
                    <a:pt x="818855" y="692733"/>
                  </a:cubicBezTo>
                  <a:cubicBezTo>
                    <a:pt x="825917" y="697379"/>
                    <a:pt x="830504" y="702125"/>
                    <a:pt x="841098" y="703395"/>
                  </a:cubicBezTo>
                  <a:cubicBezTo>
                    <a:pt x="846415" y="703996"/>
                    <a:pt x="846943" y="699819"/>
                    <a:pt x="853275" y="702659"/>
                  </a:cubicBezTo>
                  <a:cubicBezTo>
                    <a:pt x="859607" y="705501"/>
                    <a:pt x="858633" y="708475"/>
                    <a:pt x="861393" y="711751"/>
                  </a:cubicBezTo>
                  <a:cubicBezTo>
                    <a:pt x="867035" y="718001"/>
                    <a:pt x="882459" y="710748"/>
                    <a:pt x="883920" y="718435"/>
                  </a:cubicBezTo>
                  <a:cubicBezTo>
                    <a:pt x="885382" y="726123"/>
                    <a:pt x="871459" y="725120"/>
                    <a:pt x="875802" y="735147"/>
                  </a:cubicBezTo>
                  <a:cubicBezTo>
                    <a:pt x="880146" y="745174"/>
                    <a:pt x="888507" y="742668"/>
                    <a:pt x="889441" y="735481"/>
                  </a:cubicBezTo>
                  <a:cubicBezTo>
                    <a:pt x="890171" y="729499"/>
                    <a:pt x="912049" y="733309"/>
                    <a:pt x="918381" y="734178"/>
                  </a:cubicBezTo>
                  <a:cubicBezTo>
                    <a:pt x="936890" y="737236"/>
                    <a:pt x="955601" y="739469"/>
                    <a:pt x="974395" y="740863"/>
                  </a:cubicBezTo>
                  <a:cubicBezTo>
                    <a:pt x="979062" y="741063"/>
                    <a:pt x="997571" y="738490"/>
                    <a:pt x="1001265" y="739760"/>
                  </a:cubicBezTo>
                  <a:cubicBezTo>
                    <a:pt x="1009952" y="742701"/>
                    <a:pt x="1016445" y="750990"/>
                    <a:pt x="1026674" y="750689"/>
                  </a:cubicBezTo>
                  <a:cubicBezTo>
                    <a:pt x="1037836" y="750355"/>
                    <a:pt x="1053748" y="756772"/>
                    <a:pt x="1064626" y="760716"/>
                  </a:cubicBezTo>
                  <a:cubicBezTo>
                    <a:pt x="1081309" y="766565"/>
                    <a:pt x="1082851" y="764393"/>
                    <a:pt x="1098234" y="763791"/>
                  </a:cubicBezTo>
                  <a:cubicBezTo>
                    <a:pt x="1109396" y="763290"/>
                    <a:pt x="1129976" y="765730"/>
                    <a:pt x="1137850" y="762053"/>
                  </a:cubicBezTo>
                  <a:cubicBezTo>
                    <a:pt x="1145724" y="758377"/>
                    <a:pt x="1150554" y="762053"/>
                    <a:pt x="1160864" y="762053"/>
                  </a:cubicBezTo>
                  <a:cubicBezTo>
                    <a:pt x="1169469" y="761853"/>
                    <a:pt x="1176695" y="759112"/>
                    <a:pt x="1184203" y="758109"/>
                  </a:cubicBezTo>
                  <a:cubicBezTo>
                    <a:pt x="1188262" y="757575"/>
                    <a:pt x="1193011" y="759680"/>
                    <a:pt x="1196989" y="758811"/>
                  </a:cubicBezTo>
                  <a:cubicBezTo>
                    <a:pt x="1202550" y="757541"/>
                    <a:pt x="1200358" y="751191"/>
                    <a:pt x="1204335" y="748784"/>
                  </a:cubicBezTo>
                  <a:cubicBezTo>
                    <a:pt x="1207502" y="747013"/>
                    <a:pt x="1212453" y="750288"/>
                    <a:pt x="1210871" y="745442"/>
                  </a:cubicBezTo>
                  <a:cubicBezTo>
                    <a:pt x="1209653" y="741765"/>
                    <a:pt x="1205635" y="737554"/>
                    <a:pt x="1213956" y="739225"/>
                  </a:cubicBezTo>
                  <a:cubicBezTo>
                    <a:pt x="1226538" y="741765"/>
                    <a:pt x="1237863" y="744305"/>
                    <a:pt x="1246753" y="739559"/>
                  </a:cubicBezTo>
                  <a:cubicBezTo>
                    <a:pt x="1250812" y="737353"/>
                    <a:pt x="1252232" y="735047"/>
                    <a:pt x="1258483" y="734546"/>
                  </a:cubicBezTo>
                  <a:cubicBezTo>
                    <a:pt x="1264734" y="734044"/>
                    <a:pt x="1273582" y="736584"/>
                    <a:pt x="1278452" y="735147"/>
                  </a:cubicBezTo>
                  <a:cubicBezTo>
                    <a:pt x="1283243" y="733392"/>
                    <a:pt x="1286611" y="729753"/>
                    <a:pt x="1287423" y="725488"/>
                  </a:cubicBezTo>
                  <a:cubicBezTo>
                    <a:pt x="1288600" y="721009"/>
                    <a:pt x="1294202" y="724920"/>
                    <a:pt x="1296312" y="722948"/>
                  </a:cubicBezTo>
                  <a:cubicBezTo>
                    <a:pt x="1298423" y="720976"/>
                    <a:pt x="1292984" y="719305"/>
                    <a:pt x="1297083" y="717533"/>
                  </a:cubicBezTo>
                  <a:cubicBezTo>
                    <a:pt x="1301183" y="715762"/>
                    <a:pt x="1314415" y="719338"/>
                    <a:pt x="1317053" y="717533"/>
                  </a:cubicBezTo>
                  <a:cubicBezTo>
                    <a:pt x="1319692" y="715728"/>
                    <a:pt x="1304876" y="710514"/>
                    <a:pt x="1302806" y="710548"/>
                  </a:cubicBezTo>
                  <a:cubicBezTo>
                    <a:pt x="1296677" y="710548"/>
                    <a:pt x="1296109" y="702793"/>
                    <a:pt x="1291563" y="700888"/>
                  </a:cubicBezTo>
                  <a:cubicBezTo>
                    <a:pt x="1286246" y="698615"/>
                    <a:pt x="1283445" y="701423"/>
                    <a:pt x="1278169" y="696443"/>
                  </a:cubicBezTo>
                  <a:cubicBezTo>
                    <a:pt x="1271715" y="690092"/>
                    <a:pt x="1288437" y="694872"/>
                    <a:pt x="1292254" y="695306"/>
                  </a:cubicBezTo>
                  <a:cubicBezTo>
                    <a:pt x="1307312" y="697044"/>
                    <a:pt x="1326064" y="701256"/>
                    <a:pt x="1310031" y="686951"/>
                  </a:cubicBezTo>
                  <a:cubicBezTo>
                    <a:pt x="1304268" y="681803"/>
                    <a:pt x="1298625" y="680266"/>
                    <a:pt x="1294688" y="674082"/>
                  </a:cubicBezTo>
                  <a:cubicBezTo>
                    <a:pt x="1294039" y="673046"/>
                    <a:pt x="1281822" y="659777"/>
                    <a:pt x="1281619" y="660713"/>
                  </a:cubicBezTo>
                  <a:cubicBezTo>
                    <a:pt x="1282836" y="656000"/>
                    <a:pt x="1340352" y="699518"/>
                    <a:pt x="1320219" y="671342"/>
                  </a:cubicBezTo>
                  <a:cubicBezTo>
                    <a:pt x="1315917" y="665325"/>
                    <a:pt x="1303984" y="655499"/>
                    <a:pt x="1308042" y="650352"/>
                  </a:cubicBezTo>
                  <a:cubicBezTo>
                    <a:pt x="1312101" y="645204"/>
                    <a:pt x="1304227" y="633640"/>
                    <a:pt x="1303131" y="626955"/>
                  </a:cubicBezTo>
                  <a:cubicBezTo>
                    <a:pt x="1301588" y="617797"/>
                    <a:pt x="1299762" y="614154"/>
                    <a:pt x="1288681" y="605664"/>
                  </a:cubicBezTo>
                  <a:cubicBezTo>
                    <a:pt x="1279508" y="598612"/>
                    <a:pt x="1281862" y="593097"/>
                    <a:pt x="1291928" y="591025"/>
                  </a:cubicBezTo>
                  <a:cubicBezTo>
                    <a:pt x="1298261" y="589755"/>
                    <a:pt x="1305445" y="592027"/>
                    <a:pt x="1311939" y="591392"/>
                  </a:cubicBezTo>
                  <a:cubicBezTo>
                    <a:pt x="1315998" y="590958"/>
                    <a:pt x="1316972" y="588284"/>
                    <a:pt x="1320707" y="587749"/>
                  </a:cubicBezTo>
                  <a:cubicBezTo>
                    <a:pt x="1323182" y="587415"/>
                    <a:pt x="1328825" y="591092"/>
                    <a:pt x="1332071" y="591092"/>
                  </a:cubicBezTo>
                  <a:cubicBezTo>
                    <a:pt x="1340189" y="591559"/>
                    <a:pt x="1343802" y="586111"/>
                    <a:pt x="1353301" y="589354"/>
                  </a:cubicBezTo>
                  <a:cubicBezTo>
                    <a:pt x="1362798" y="592596"/>
                    <a:pt x="1406635" y="605430"/>
                    <a:pt x="1401683" y="594568"/>
                  </a:cubicBezTo>
                  <a:cubicBezTo>
                    <a:pt x="1397299" y="585042"/>
                    <a:pt x="1386340" y="584541"/>
                    <a:pt x="1376030" y="578357"/>
                  </a:cubicBezTo>
                  <a:cubicBezTo>
                    <a:pt x="1364219" y="571271"/>
                    <a:pt x="1366898" y="561378"/>
                    <a:pt x="1350459" y="561813"/>
                  </a:cubicBezTo>
                  <a:cubicBezTo>
                    <a:pt x="1337754" y="562147"/>
                    <a:pt x="1288519" y="565389"/>
                    <a:pt x="1303902" y="545870"/>
                  </a:cubicBezTo>
                  <a:cubicBezTo>
                    <a:pt x="1316485" y="529926"/>
                    <a:pt x="1264896" y="530194"/>
                    <a:pt x="1272081" y="514585"/>
                  </a:cubicBezTo>
                  <a:cubicBezTo>
                    <a:pt x="1279630" y="498107"/>
                    <a:pt x="1296028" y="512513"/>
                    <a:pt x="1314902" y="517627"/>
                  </a:cubicBezTo>
                  <a:cubicBezTo>
                    <a:pt x="1328703" y="521336"/>
                    <a:pt x="1330936" y="510674"/>
                    <a:pt x="1343843" y="513482"/>
                  </a:cubicBezTo>
                  <a:cubicBezTo>
                    <a:pt x="1362595" y="517593"/>
                    <a:pt x="1370835" y="516256"/>
                    <a:pt x="1388492" y="515955"/>
                  </a:cubicBezTo>
                  <a:cubicBezTo>
                    <a:pt x="1414550" y="515521"/>
                    <a:pt x="1446697" y="534405"/>
                    <a:pt x="1412846" y="537647"/>
                  </a:cubicBezTo>
                  <a:cubicBezTo>
                    <a:pt x="1402129" y="538683"/>
                    <a:pt x="1392022" y="538617"/>
                    <a:pt x="1390237" y="546271"/>
                  </a:cubicBezTo>
                  <a:cubicBezTo>
                    <a:pt x="1388978" y="551752"/>
                    <a:pt x="1367304" y="552955"/>
                    <a:pt x="1394296" y="557267"/>
                  </a:cubicBezTo>
                  <a:cubicBezTo>
                    <a:pt x="1412927" y="560208"/>
                    <a:pt x="1431152" y="560108"/>
                    <a:pt x="1449701" y="562548"/>
                  </a:cubicBezTo>
                  <a:cubicBezTo>
                    <a:pt x="1458021" y="563280"/>
                    <a:pt x="1466221" y="564874"/>
                    <a:pt x="1474055" y="567294"/>
                  </a:cubicBezTo>
                  <a:cubicBezTo>
                    <a:pt x="1486841" y="571840"/>
                    <a:pt x="1482173" y="565523"/>
                    <a:pt x="1493619" y="567294"/>
                  </a:cubicBezTo>
                  <a:cubicBezTo>
                    <a:pt x="1515010" y="570403"/>
                    <a:pt x="1545006" y="578524"/>
                    <a:pt x="1562621" y="574179"/>
                  </a:cubicBezTo>
                  <a:cubicBezTo>
                    <a:pt x="1571227" y="572040"/>
                    <a:pt x="1581658" y="568765"/>
                    <a:pt x="1589736" y="578324"/>
                  </a:cubicBezTo>
                  <a:cubicBezTo>
                    <a:pt x="1592130" y="581131"/>
                    <a:pt x="1615876" y="595871"/>
                    <a:pt x="1619488" y="593164"/>
                  </a:cubicBezTo>
                  <a:cubicBezTo>
                    <a:pt x="1626226" y="588084"/>
                    <a:pt x="1613927" y="582234"/>
                    <a:pt x="1634628" y="589654"/>
                  </a:cubicBezTo>
                  <a:cubicBezTo>
                    <a:pt x="1641000" y="591961"/>
                    <a:pt x="1657926" y="591994"/>
                    <a:pt x="1663974" y="592128"/>
                  </a:cubicBezTo>
                  <a:cubicBezTo>
                    <a:pt x="1672092" y="592128"/>
                    <a:pt x="1678546" y="580730"/>
                    <a:pt x="1689221" y="590289"/>
                  </a:cubicBezTo>
                  <a:cubicBezTo>
                    <a:pt x="1704442" y="603960"/>
                    <a:pt x="1717633" y="614120"/>
                    <a:pt x="1727010" y="599414"/>
                  </a:cubicBezTo>
                  <a:cubicBezTo>
                    <a:pt x="1731109" y="592201"/>
                    <a:pt x="1734438" y="584708"/>
                    <a:pt x="1736954" y="577020"/>
                  </a:cubicBezTo>
                  <a:cubicBezTo>
                    <a:pt x="1740120" y="568898"/>
                    <a:pt x="1753434" y="570904"/>
                    <a:pt x="1767113" y="572775"/>
                  </a:cubicBezTo>
                  <a:cubicBezTo>
                    <a:pt x="1778762" y="574346"/>
                    <a:pt x="1785460" y="589755"/>
                    <a:pt x="1798894" y="589487"/>
                  </a:cubicBezTo>
                  <a:cubicBezTo>
                    <a:pt x="1810259" y="589487"/>
                    <a:pt x="1819189" y="583204"/>
                    <a:pt x="1831123" y="583337"/>
                  </a:cubicBezTo>
                  <a:cubicBezTo>
                    <a:pt x="1849023" y="583605"/>
                    <a:pt x="1852757" y="575917"/>
                    <a:pt x="1866233" y="571773"/>
                  </a:cubicBezTo>
                  <a:cubicBezTo>
                    <a:pt x="1869318" y="570804"/>
                    <a:pt x="1879709" y="572107"/>
                    <a:pt x="1880642" y="569868"/>
                  </a:cubicBezTo>
                  <a:cubicBezTo>
                    <a:pt x="1882266" y="566024"/>
                    <a:pt x="1880155" y="561712"/>
                    <a:pt x="1883199" y="558203"/>
                  </a:cubicBezTo>
                  <a:close/>
                  <a:moveTo>
                    <a:pt x="1197476" y="795577"/>
                  </a:moveTo>
                  <a:cubicBezTo>
                    <a:pt x="1195203" y="797215"/>
                    <a:pt x="1179454" y="827396"/>
                    <a:pt x="1196218" y="827764"/>
                  </a:cubicBezTo>
                  <a:cubicBezTo>
                    <a:pt x="1211196" y="828098"/>
                    <a:pt x="1226944" y="817737"/>
                    <a:pt x="1236807" y="812690"/>
                  </a:cubicBezTo>
                  <a:cubicBezTo>
                    <a:pt x="1241962" y="810083"/>
                    <a:pt x="1266194" y="800457"/>
                    <a:pt x="1258158" y="793037"/>
                  </a:cubicBezTo>
                  <a:cubicBezTo>
                    <a:pt x="1242287" y="778431"/>
                    <a:pt x="1205838" y="789695"/>
                    <a:pt x="1197517" y="795577"/>
                  </a:cubicBezTo>
                  <a:close/>
                  <a:moveTo>
                    <a:pt x="869795" y="744004"/>
                  </a:moveTo>
                  <a:cubicBezTo>
                    <a:pt x="830139" y="729599"/>
                    <a:pt x="815161" y="766733"/>
                    <a:pt x="862489" y="772582"/>
                  </a:cubicBezTo>
                  <a:cubicBezTo>
                    <a:pt x="877750" y="774487"/>
                    <a:pt x="884083" y="767468"/>
                    <a:pt x="894960" y="763591"/>
                  </a:cubicBezTo>
                  <a:cubicBezTo>
                    <a:pt x="915743" y="756037"/>
                    <a:pt x="883758" y="749152"/>
                    <a:pt x="869795" y="74400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168D2DF0-3F49-4F89-A352-A1B0D145CEB4}"/>
                </a:ext>
              </a:extLst>
            </p:cNvPr>
            <p:cNvSpPr/>
            <p:nvPr/>
          </p:nvSpPr>
          <p:spPr>
            <a:xfrm>
              <a:off x="9067530" y="5140575"/>
              <a:ext cx="250020" cy="257086"/>
            </a:xfrm>
            <a:custGeom>
              <a:avLst/>
              <a:gdLst>
                <a:gd name="connsiteX0" fmla="*/ 181910 w 250020"/>
                <a:gd name="connsiteY0" fmla="*/ 95151 h 257086"/>
                <a:gd name="connsiteX1" fmla="*/ 205776 w 250020"/>
                <a:gd name="connsiteY1" fmla="*/ 122291 h 257086"/>
                <a:gd name="connsiteX2" fmla="*/ 199769 w 250020"/>
                <a:gd name="connsiteY2" fmla="*/ 134691 h 257086"/>
                <a:gd name="connsiteX3" fmla="*/ 214584 w 250020"/>
                <a:gd name="connsiteY3" fmla="*/ 142011 h 257086"/>
                <a:gd name="connsiteX4" fmla="*/ 207805 w 250020"/>
                <a:gd name="connsiteY4" fmla="*/ 155113 h 257086"/>
                <a:gd name="connsiteX5" fmla="*/ 213123 w 250020"/>
                <a:gd name="connsiteY5" fmla="*/ 174933 h 257086"/>
                <a:gd name="connsiteX6" fmla="*/ 224244 w 250020"/>
                <a:gd name="connsiteY6" fmla="*/ 174632 h 257086"/>
                <a:gd name="connsiteX7" fmla="*/ 241617 w 250020"/>
                <a:gd name="connsiteY7" fmla="*/ 170789 h 257086"/>
                <a:gd name="connsiteX8" fmla="*/ 238979 w 250020"/>
                <a:gd name="connsiteY8" fmla="*/ 139972 h 257086"/>
                <a:gd name="connsiteX9" fmla="*/ 223798 w 250020"/>
                <a:gd name="connsiteY9" fmla="*/ 126903 h 257086"/>
                <a:gd name="connsiteX10" fmla="*/ 219171 w 250020"/>
                <a:gd name="connsiteY10" fmla="*/ 111261 h 257086"/>
                <a:gd name="connsiteX11" fmla="*/ 186090 w 250020"/>
                <a:gd name="connsiteY11" fmla="*/ 85024 h 257086"/>
                <a:gd name="connsiteX12" fmla="*/ 173548 w 250020"/>
                <a:gd name="connsiteY12" fmla="*/ 77537 h 257086"/>
                <a:gd name="connsiteX13" fmla="*/ 174076 w 250020"/>
                <a:gd name="connsiteY13" fmla="*/ 60825 h 257086"/>
                <a:gd name="connsiteX14" fmla="*/ 216492 w 250020"/>
                <a:gd name="connsiteY14" fmla="*/ 42776 h 257086"/>
                <a:gd name="connsiteX15" fmla="*/ 220307 w 250020"/>
                <a:gd name="connsiteY15" fmla="*/ 25262 h 257086"/>
                <a:gd name="connsiteX16" fmla="*/ 216248 w 250020"/>
                <a:gd name="connsiteY16" fmla="*/ 17107 h 257086"/>
                <a:gd name="connsiteX17" fmla="*/ 176470 w 250020"/>
                <a:gd name="connsiteY17" fmla="*/ 763 h 257086"/>
                <a:gd name="connsiteX18" fmla="*/ 159585 w 250020"/>
                <a:gd name="connsiteY18" fmla="*/ 25797 h 257086"/>
                <a:gd name="connsiteX19" fmla="*/ 154593 w 250020"/>
                <a:gd name="connsiteY19" fmla="*/ 32482 h 257086"/>
                <a:gd name="connsiteX20" fmla="*/ 143796 w 250020"/>
                <a:gd name="connsiteY20" fmla="*/ 25797 h 257086"/>
                <a:gd name="connsiteX21" fmla="*/ 134866 w 250020"/>
                <a:gd name="connsiteY21" fmla="*/ 48391 h 257086"/>
                <a:gd name="connsiteX22" fmla="*/ 140224 w 250020"/>
                <a:gd name="connsiteY22" fmla="*/ 60892 h 257086"/>
                <a:gd name="connsiteX23" fmla="*/ 141157 w 250020"/>
                <a:gd name="connsiteY23" fmla="*/ 74529 h 257086"/>
                <a:gd name="connsiteX24" fmla="*/ 169245 w 250020"/>
                <a:gd name="connsiteY24" fmla="*/ 83854 h 257086"/>
                <a:gd name="connsiteX25" fmla="*/ 181950 w 250020"/>
                <a:gd name="connsiteY25" fmla="*/ 95184 h 257086"/>
                <a:gd name="connsiteX26" fmla="*/ 181910 w 250020"/>
                <a:gd name="connsiteY26" fmla="*/ 95151 h 257086"/>
                <a:gd name="connsiteX27" fmla="*/ 128940 w 250020"/>
                <a:gd name="connsiteY27" fmla="*/ 78105 h 257086"/>
                <a:gd name="connsiteX28" fmla="*/ 144242 w 250020"/>
                <a:gd name="connsiteY28" fmla="*/ 104844 h 257086"/>
                <a:gd name="connsiteX29" fmla="*/ 129143 w 250020"/>
                <a:gd name="connsiteY29" fmla="*/ 78105 h 257086"/>
                <a:gd name="connsiteX30" fmla="*/ 146109 w 250020"/>
                <a:gd name="connsiteY30" fmla="*/ 140106 h 257086"/>
                <a:gd name="connsiteX31" fmla="*/ 154755 w 250020"/>
                <a:gd name="connsiteY31" fmla="*/ 142813 h 257086"/>
                <a:gd name="connsiteX32" fmla="*/ 164132 w 250020"/>
                <a:gd name="connsiteY32" fmla="*/ 140874 h 257086"/>
                <a:gd name="connsiteX33" fmla="*/ 153862 w 250020"/>
                <a:gd name="connsiteY33" fmla="*/ 155681 h 257086"/>
                <a:gd name="connsiteX34" fmla="*/ 156825 w 250020"/>
                <a:gd name="connsiteY34" fmla="*/ 174365 h 257086"/>
                <a:gd name="connsiteX35" fmla="*/ 187876 w 250020"/>
                <a:gd name="connsiteY35" fmla="*/ 166443 h 257086"/>
                <a:gd name="connsiteX36" fmla="*/ 194452 w 250020"/>
                <a:gd name="connsiteY36" fmla="*/ 160628 h 257086"/>
                <a:gd name="connsiteX37" fmla="*/ 184669 w 250020"/>
                <a:gd name="connsiteY37" fmla="*/ 155514 h 257086"/>
                <a:gd name="connsiteX38" fmla="*/ 182518 w 250020"/>
                <a:gd name="connsiteY38" fmla="*/ 141175 h 257086"/>
                <a:gd name="connsiteX39" fmla="*/ 160397 w 250020"/>
                <a:gd name="connsiteY39" fmla="*/ 119985 h 257086"/>
                <a:gd name="connsiteX40" fmla="*/ 146109 w 250020"/>
                <a:gd name="connsiteY40" fmla="*/ 140039 h 257086"/>
                <a:gd name="connsiteX41" fmla="*/ 48694 w 250020"/>
                <a:gd name="connsiteY41" fmla="*/ 110559 h 257086"/>
                <a:gd name="connsiteX42" fmla="*/ 433 w 250020"/>
                <a:gd name="connsiteY42" fmla="*/ 121088 h 257086"/>
                <a:gd name="connsiteX43" fmla="*/ 32905 w 250020"/>
                <a:gd name="connsiteY43" fmla="*/ 120352 h 257086"/>
                <a:gd name="connsiteX44" fmla="*/ 80273 w 250020"/>
                <a:gd name="connsiteY44" fmla="*/ 109155 h 257086"/>
                <a:gd name="connsiteX45" fmla="*/ 48856 w 250020"/>
                <a:gd name="connsiteY45" fmla="*/ 110559 h 257086"/>
                <a:gd name="connsiteX46" fmla="*/ 182031 w 250020"/>
                <a:gd name="connsiteY46" fmla="*/ 177406 h 257086"/>
                <a:gd name="connsiteX47" fmla="*/ 205979 w 250020"/>
                <a:gd name="connsiteY47" fmla="*/ 178610 h 257086"/>
                <a:gd name="connsiteX48" fmla="*/ 181910 w 250020"/>
                <a:gd name="connsiteY48" fmla="*/ 177406 h 257086"/>
                <a:gd name="connsiteX49" fmla="*/ 229156 w 250020"/>
                <a:gd name="connsiteY49" fmla="*/ 242382 h 257086"/>
                <a:gd name="connsiteX50" fmla="*/ 239669 w 250020"/>
                <a:gd name="connsiteY50" fmla="*/ 225670 h 257086"/>
                <a:gd name="connsiteX51" fmla="*/ 245189 w 250020"/>
                <a:gd name="connsiteY51" fmla="*/ 200502 h 257086"/>
                <a:gd name="connsiteX52" fmla="*/ 228181 w 250020"/>
                <a:gd name="connsiteY52" fmla="*/ 193817 h 257086"/>
                <a:gd name="connsiteX53" fmla="*/ 216411 w 250020"/>
                <a:gd name="connsiteY53" fmla="*/ 198664 h 257086"/>
                <a:gd name="connsiteX54" fmla="*/ 195791 w 250020"/>
                <a:gd name="connsiteY54" fmla="*/ 199399 h 257086"/>
                <a:gd name="connsiteX55" fmla="*/ 173385 w 250020"/>
                <a:gd name="connsiteY55" fmla="*/ 193717 h 257086"/>
                <a:gd name="connsiteX56" fmla="*/ 144972 w 250020"/>
                <a:gd name="connsiteY56" fmla="*/ 184125 h 257086"/>
                <a:gd name="connsiteX57" fmla="*/ 113191 w 250020"/>
                <a:gd name="connsiteY57" fmla="*/ 186264 h 257086"/>
                <a:gd name="connsiteX58" fmla="*/ 115180 w 250020"/>
                <a:gd name="connsiteY58" fmla="*/ 196291 h 257086"/>
                <a:gd name="connsiteX59" fmla="*/ 131740 w 250020"/>
                <a:gd name="connsiteY59" fmla="*/ 196291 h 257086"/>
                <a:gd name="connsiteX60" fmla="*/ 146840 w 250020"/>
                <a:gd name="connsiteY60" fmla="*/ 199031 h 257086"/>
                <a:gd name="connsiteX61" fmla="*/ 158043 w 250020"/>
                <a:gd name="connsiteY61" fmla="*/ 227408 h 257086"/>
                <a:gd name="connsiteX62" fmla="*/ 190149 w 250020"/>
                <a:gd name="connsiteY62" fmla="*/ 256487 h 257086"/>
                <a:gd name="connsiteX63" fmla="*/ 197334 w 250020"/>
                <a:gd name="connsiteY63" fmla="*/ 237435 h 257086"/>
                <a:gd name="connsiteX64" fmla="*/ 229237 w 250020"/>
                <a:gd name="connsiteY64" fmla="*/ 242850 h 25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50020" h="257086">
                  <a:moveTo>
                    <a:pt x="181910" y="95151"/>
                  </a:moveTo>
                  <a:cubicBezTo>
                    <a:pt x="190920" y="97925"/>
                    <a:pt x="215680" y="117578"/>
                    <a:pt x="205776" y="122291"/>
                  </a:cubicBezTo>
                  <a:cubicBezTo>
                    <a:pt x="201027" y="124497"/>
                    <a:pt x="199241" y="130413"/>
                    <a:pt x="199769" y="134691"/>
                  </a:cubicBezTo>
                  <a:cubicBezTo>
                    <a:pt x="200500" y="141108"/>
                    <a:pt x="209267" y="137566"/>
                    <a:pt x="214584" y="142011"/>
                  </a:cubicBezTo>
                  <a:cubicBezTo>
                    <a:pt x="222702" y="148963"/>
                    <a:pt x="207644" y="149798"/>
                    <a:pt x="207805" y="155113"/>
                  </a:cubicBezTo>
                  <a:cubicBezTo>
                    <a:pt x="207805" y="161564"/>
                    <a:pt x="214788" y="168683"/>
                    <a:pt x="213123" y="174933"/>
                  </a:cubicBezTo>
                  <a:cubicBezTo>
                    <a:pt x="210769" y="183490"/>
                    <a:pt x="222987" y="178676"/>
                    <a:pt x="224244" y="174632"/>
                  </a:cubicBezTo>
                  <a:cubicBezTo>
                    <a:pt x="226071" y="168683"/>
                    <a:pt x="233296" y="170521"/>
                    <a:pt x="241617" y="170789"/>
                  </a:cubicBezTo>
                  <a:cubicBezTo>
                    <a:pt x="257326" y="171290"/>
                    <a:pt x="247583" y="146556"/>
                    <a:pt x="238979" y="139972"/>
                  </a:cubicBezTo>
                  <a:cubicBezTo>
                    <a:pt x="234270" y="136329"/>
                    <a:pt x="224732" y="131649"/>
                    <a:pt x="223798" y="126903"/>
                  </a:cubicBezTo>
                  <a:cubicBezTo>
                    <a:pt x="222540" y="120519"/>
                    <a:pt x="225137" y="118280"/>
                    <a:pt x="219171" y="111261"/>
                  </a:cubicBezTo>
                  <a:cubicBezTo>
                    <a:pt x="209511" y="99964"/>
                    <a:pt x="209389" y="90505"/>
                    <a:pt x="186090" y="85024"/>
                  </a:cubicBezTo>
                  <a:cubicBezTo>
                    <a:pt x="177972" y="83185"/>
                    <a:pt x="170666" y="84088"/>
                    <a:pt x="173548" y="77537"/>
                  </a:cubicBezTo>
                  <a:cubicBezTo>
                    <a:pt x="176105" y="71721"/>
                    <a:pt x="173061" y="66473"/>
                    <a:pt x="174076" y="60825"/>
                  </a:cubicBezTo>
                  <a:cubicBezTo>
                    <a:pt x="176309" y="47790"/>
                    <a:pt x="211825" y="55811"/>
                    <a:pt x="216492" y="42776"/>
                  </a:cubicBezTo>
                  <a:cubicBezTo>
                    <a:pt x="218359" y="37529"/>
                    <a:pt x="215884" y="29407"/>
                    <a:pt x="220307" y="25262"/>
                  </a:cubicBezTo>
                  <a:cubicBezTo>
                    <a:pt x="226111" y="19781"/>
                    <a:pt x="224366" y="20416"/>
                    <a:pt x="216248" y="17107"/>
                  </a:cubicBezTo>
                  <a:cubicBezTo>
                    <a:pt x="206426" y="13029"/>
                    <a:pt x="186739" y="-4919"/>
                    <a:pt x="176470" y="763"/>
                  </a:cubicBezTo>
                  <a:cubicBezTo>
                    <a:pt x="166201" y="6445"/>
                    <a:pt x="164010" y="17675"/>
                    <a:pt x="159585" y="25797"/>
                  </a:cubicBezTo>
                  <a:cubicBezTo>
                    <a:pt x="158570" y="28321"/>
                    <a:pt x="156866" y="30610"/>
                    <a:pt x="154593" y="32482"/>
                  </a:cubicBezTo>
                  <a:cubicBezTo>
                    <a:pt x="150331" y="35122"/>
                    <a:pt x="146475" y="26967"/>
                    <a:pt x="143796" y="25797"/>
                  </a:cubicBezTo>
                  <a:cubicBezTo>
                    <a:pt x="138519" y="23123"/>
                    <a:pt x="132228" y="44715"/>
                    <a:pt x="134866" y="48391"/>
                  </a:cubicBezTo>
                  <a:cubicBezTo>
                    <a:pt x="138722" y="53806"/>
                    <a:pt x="144891" y="54876"/>
                    <a:pt x="140224" y="60892"/>
                  </a:cubicBezTo>
                  <a:cubicBezTo>
                    <a:pt x="136612" y="65504"/>
                    <a:pt x="129265" y="68646"/>
                    <a:pt x="141157" y="74529"/>
                  </a:cubicBezTo>
                  <a:cubicBezTo>
                    <a:pt x="148870" y="78339"/>
                    <a:pt x="163522" y="78874"/>
                    <a:pt x="169245" y="83854"/>
                  </a:cubicBezTo>
                  <a:cubicBezTo>
                    <a:pt x="174969" y="88834"/>
                    <a:pt x="172250" y="92143"/>
                    <a:pt x="181950" y="95184"/>
                  </a:cubicBezTo>
                  <a:cubicBezTo>
                    <a:pt x="197902" y="100098"/>
                    <a:pt x="166282" y="90171"/>
                    <a:pt x="181910" y="95151"/>
                  </a:cubicBezTo>
                  <a:close/>
                  <a:moveTo>
                    <a:pt x="128940" y="78105"/>
                  </a:moveTo>
                  <a:cubicBezTo>
                    <a:pt x="127438" y="85425"/>
                    <a:pt x="124881" y="100766"/>
                    <a:pt x="144242" y="104844"/>
                  </a:cubicBezTo>
                  <a:cubicBezTo>
                    <a:pt x="163604" y="108921"/>
                    <a:pt x="130198" y="72991"/>
                    <a:pt x="129143" y="78105"/>
                  </a:cubicBezTo>
                  <a:close/>
                  <a:moveTo>
                    <a:pt x="146109" y="140106"/>
                  </a:moveTo>
                  <a:cubicBezTo>
                    <a:pt x="148950" y="141108"/>
                    <a:pt x="151833" y="142011"/>
                    <a:pt x="154755" y="142813"/>
                  </a:cubicBezTo>
                  <a:cubicBezTo>
                    <a:pt x="160356" y="144083"/>
                    <a:pt x="160681" y="140373"/>
                    <a:pt x="164132" y="140874"/>
                  </a:cubicBezTo>
                  <a:cubicBezTo>
                    <a:pt x="173102" y="142111"/>
                    <a:pt x="155201" y="155113"/>
                    <a:pt x="153862" y="155681"/>
                  </a:cubicBezTo>
                  <a:cubicBezTo>
                    <a:pt x="147490" y="158422"/>
                    <a:pt x="140549" y="173228"/>
                    <a:pt x="156825" y="174365"/>
                  </a:cubicBezTo>
                  <a:cubicBezTo>
                    <a:pt x="168637" y="175200"/>
                    <a:pt x="180124" y="170488"/>
                    <a:pt x="187876" y="166443"/>
                  </a:cubicBezTo>
                  <a:cubicBezTo>
                    <a:pt x="190190" y="165240"/>
                    <a:pt x="194736" y="163101"/>
                    <a:pt x="194452" y="160628"/>
                  </a:cubicBezTo>
                  <a:cubicBezTo>
                    <a:pt x="194005" y="156216"/>
                    <a:pt x="185441" y="157921"/>
                    <a:pt x="184669" y="155514"/>
                  </a:cubicBezTo>
                  <a:cubicBezTo>
                    <a:pt x="183046" y="150601"/>
                    <a:pt x="186902" y="147726"/>
                    <a:pt x="182518" y="141175"/>
                  </a:cubicBezTo>
                  <a:cubicBezTo>
                    <a:pt x="178135" y="134624"/>
                    <a:pt x="170341" y="124998"/>
                    <a:pt x="160397" y="119985"/>
                  </a:cubicBezTo>
                  <a:cubicBezTo>
                    <a:pt x="144161" y="111963"/>
                    <a:pt x="135556" y="137098"/>
                    <a:pt x="146109" y="140039"/>
                  </a:cubicBezTo>
                  <a:close/>
                  <a:moveTo>
                    <a:pt x="48694" y="110559"/>
                  </a:moveTo>
                  <a:cubicBezTo>
                    <a:pt x="35502" y="113634"/>
                    <a:pt x="8104" y="113267"/>
                    <a:pt x="433" y="121088"/>
                  </a:cubicBezTo>
                  <a:cubicBezTo>
                    <a:pt x="-4600" y="126101"/>
                    <a:pt x="30550" y="120753"/>
                    <a:pt x="32905" y="120352"/>
                  </a:cubicBezTo>
                  <a:cubicBezTo>
                    <a:pt x="44878" y="118013"/>
                    <a:pt x="77838" y="118046"/>
                    <a:pt x="80273" y="109155"/>
                  </a:cubicBezTo>
                  <a:cubicBezTo>
                    <a:pt x="85224" y="91040"/>
                    <a:pt x="56852" y="108687"/>
                    <a:pt x="48856" y="110559"/>
                  </a:cubicBezTo>
                  <a:close/>
                  <a:moveTo>
                    <a:pt x="182031" y="177406"/>
                  </a:moveTo>
                  <a:cubicBezTo>
                    <a:pt x="182316" y="183189"/>
                    <a:pt x="209308" y="185762"/>
                    <a:pt x="205979" y="178610"/>
                  </a:cubicBezTo>
                  <a:cubicBezTo>
                    <a:pt x="202651" y="171457"/>
                    <a:pt x="181910" y="173061"/>
                    <a:pt x="181910" y="177406"/>
                  </a:cubicBezTo>
                  <a:close/>
                  <a:moveTo>
                    <a:pt x="229156" y="242382"/>
                  </a:moveTo>
                  <a:cubicBezTo>
                    <a:pt x="238288" y="240911"/>
                    <a:pt x="238735" y="231118"/>
                    <a:pt x="239669" y="225670"/>
                  </a:cubicBezTo>
                  <a:cubicBezTo>
                    <a:pt x="240724" y="218986"/>
                    <a:pt x="248476" y="207421"/>
                    <a:pt x="245189" y="200502"/>
                  </a:cubicBezTo>
                  <a:cubicBezTo>
                    <a:pt x="243119" y="196157"/>
                    <a:pt x="233377" y="191177"/>
                    <a:pt x="228181" y="193817"/>
                  </a:cubicBezTo>
                  <a:cubicBezTo>
                    <a:pt x="220632" y="197394"/>
                    <a:pt x="231957" y="203276"/>
                    <a:pt x="216411" y="198664"/>
                  </a:cubicBezTo>
                  <a:cubicBezTo>
                    <a:pt x="206629" y="195756"/>
                    <a:pt x="206020" y="203243"/>
                    <a:pt x="195791" y="199399"/>
                  </a:cubicBezTo>
                  <a:cubicBezTo>
                    <a:pt x="183858" y="194887"/>
                    <a:pt x="185969" y="205048"/>
                    <a:pt x="173385" y="193717"/>
                  </a:cubicBezTo>
                  <a:cubicBezTo>
                    <a:pt x="162223" y="183690"/>
                    <a:pt x="160803" y="182821"/>
                    <a:pt x="144972" y="184125"/>
                  </a:cubicBezTo>
                  <a:cubicBezTo>
                    <a:pt x="133567" y="185094"/>
                    <a:pt x="121999" y="181384"/>
                    <a:pt x="113191" y="186264"/>
                  </a:cubicBezTo>
                  <a:cubicBezTo>
                    <a:pt x="108767" y="188737"/>
                    <a:pt x="102353" y="195388"/>
                    <a:pt x="115180" y="196291"/>
                  </a:cubicBezTo>
                  <a:cubicBezTo>
                    <a:pt x="120903" y="196759"/>
                    <a:pt x="125855" y="195288"/>
                    <a:pt x="131740" y="196291"/>
                  </a:cubicBezTo>
                  <a:cubicBezTo>
                    <a:pt x="137626" y="197293"/>
                    <a:pt x="140671" y="199867"/>
                    <a:pt x="146840" y="199031"/>
                  </a:cubicBezTo>
                  <a:cubicBezTo>
                    <a:pt x="171518" y="195689"/>
                    <a:pt x="158124" y="222428"/>
                    <a:pt x="158043" y="227408"/>
                  </a:cubicBezTo>
                  <a:cubicBezTo>
                    <a:pt x="157962" y="232388"/>
                    <a:pt x="186456" y="259695"/>
                    <a:pt x="190149" y="256487"/>
                  </a:cubicBezTo>
                  <a:cubicBezTo>
                    <a:pt x="195791" y="251540"/>
                    <a:pt x="192747" y="242850"/>
                    <a:pt x="197334" y="237435"/>
                  </a:cubicBezTo>
                  <a:cubicBezTo>
                    <a:pt x="200581" y="233625"/>
                    <a:pt x="221688" y="244120"/>
                    <a:pt x="229237" y="2428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86DA69A0-334F-4F54-9CBA-DB6CCDF49C82}"/>
                </a:ext>
              </a:extLst>
            </p:cNvPr>
            <p:cNvSpPr/>
            <p:nvPr/>
          </p:nvSpPr>
          <p:spPr>
            <a:xfrm>
              <a:off x="9493695" y="5705866"/>
              <a:ext cx="345044" cy="234940"/>
            </a:xfrm>
            <a:custGeom>
              <a:avLst/>
              <a:gdLst>
                <a:gd name="connsiteX0" fmla="*/ 200121 w 345044"/>
                <a:gd name="connsiteY0" fmla="*/ 222296 h 234940"/>
                <a:gd name="connsiteX1" fmla="*/ 186118 w 345044"/>
                <a:gd name="connsiteY1" fmla="*/ 195858 h 234940"/>
                <a:gd name="connsiteX2" fmla="*/ 174468 w 345044"/>
                <a:gd name="connsiteY2" fmla="*/ 162434 h 234940"/>
                <a:gd name="connsiteX3" fmla="*/ 175605 w 345044"/>
                <a:gd name="connsiteY3" fmla="*/ 140809 h 234940"/>
                <a:gd name="connsiteX4" fmla="*/ 177797 w 345044"/>
                <a:gd name="connsiteY4" fmla="*/ 122861 h 234940"/>
                <a:gd name="connsiteX5" fmla="*/ 152550 w 345044"/>
                <a:gd name="connsiteY5" fmla="*/ 95119 h 234940"/>
                <a:gd name="connsiteX6" fmla="*/ 140779 w 345044"/>
                <a:gd name="connsiteY6" fmla="*/ 69851 h 234940"/>
                <a:gd name="connsiteX7" fmla="*/ 66378 w 345044"/>
                <a:gd name="connsiteY7" fmla="*/ -339 h 234940"/>
                <a:gd name="connsiteX8" fmla="*/ 27087 w 345044"/>
                <a:gd name="connsiteY8" fmla="*/ 51869 h 234940"/>
                <a:gd name="connsiteX9" fmla="*/ 3910 w 345044"/>
                <a:gd name="connsiteY9" fmla="*/ 82619 h 234940"/>
                <a:gd name="connsiteX10" fmla="*/ 19010 w 345044"/>
                <a:gd name="connsiteY10" fmla="*/ 109358 h 234940"/>
                <a:gd name="connsiteX11" fmla="*/ 58950 w 345044"/>
                <a:gd name="connsiteY11" fmla="*/ 115508 h 234940"/>
                <a:gd name="connsiteX12" fmla="*/ 88580 w 345044"/>
                <a:gd name="connsiteY12" fmla="*/ 114204 h 234940"/>
                <a:gd name="connsiteX13" fmla="*/ 122392 w 345044"/>
                <a:gd name="connsiteY13" fmla="*/ 144686 h 234940"/>
                <a:gd name="connsiteX14" fmla="*/ 151738 w 345044"/>
                <a:gd name="connsiteY14" fmla="*/ 200504 h 234940"/>
                <a:gd name="connsiteX15" fmla="*/ 190744 w 345044"/>
                <a:gd name="connsiteY15" fmla="*/ 229716 h 234940"/>
                <a:gd name="connsiteX16" fmla="*/ 200121 w 345044"/>
                <a:gd name="connsiteY16" fmla="*/ 222463 h 234940"/>
                <a:gd name="connsiteX17" fmla="*/ 200121 w 345044"/>
                <a:gd name="connsiteY17" fmla="*/ 222296 h 234940"/>
                <a:gd name="connsiteX18" fmla="*/ 301230 w 345044"/>
                <a:gd name="connsiteY18" fmla="*/ 170490 h 234940"/>
                <a:gd name="connsiteX19" fmla="*/ 235150 w 345044"/>
                <a:gd name="connsiteY19" fmla="*/ 148229 h 234940"/>
                <a:gd name="connsiteX20" fmla="*/ 214409 w 345044"/>
                <a:gd name="connsiteY20" fmla="*/ 136731 h 234940"/>
                <a:gd name="connsiteX21" fmla="*/ 225733 w 345044"/>
                <a:gd name="connsiteY21" fmla="*/ 157120 h 234940"/>
                <a:gd name="connsiteX22" fmla="*/ 296643 w 345044"/>
                <a:gd name="connsiteY22" fmla="*/ 183224 h 234940"/>
                <a:gd name="connsiteX23" fmla="*/ 318197 w 345044"/>
                <a:gd name="connsiteY23" fmla="*/ 178043 h 234940"/>
                <a:gd name="connsiteX24" fmla="*/ 301230 w 345044"/>
                <a:gd name="connsiteY24" fmla="*/ 170490 h 234940"/>
                <a:gd name="connsiteX25" fmla="*/ 338289 w 345044"/>
                <a:gd name="connsiteY25" fmla="*/ 168317 h 234940"/>
                <a:gd name="connsiteX26" fmla="*/ 328060 w 345044"/>
                <a:gd name="connsiteY26" fmla="*/ 156385 h 234940"/>
                <a:gd name="connsiteX27" fmla="*/ 332606 w 345044"/>
                <a:gd name="connsiteY27" fmla="*/ 171158 h 234940"/>
                <a:gd name="connsiteX28" fmla="*/ 330577 w 345044"/>
                <a:gd name="connsiteY28" fmla="*/ 183792 h 234940"/>
                <a:gd name="connsiteX29" fmla="*/ 342754 w 345044"/>
                <a:gd name="connsiteY29" fmla="*/ 187435 h 234940"/>
                <a:gd name="connsiteX30" fmla="*/ 338248 w 345044"/>
                <a:gd name="connsiteY30" fmla="*/ 168317 h 23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5044" h="234940">
                  <a:moveTo>
                    <a:pt x="200121" y="222296"/>
                  </a:moveTo>
                  <a:cubicBezTo>
                    <a:pt x="191110" y="212870"/>
                    <a:pt x="195210" y="203412"/>
                    <a:pt x="186118" y="195858"/>
                  </a:cubicBezTo>
                  <a:cubicBezTo>
                    <a:pt x="167934" y="180817"/>
                    <a:pt x="174468" y="177274"/>
                    <a:pt x="174468" y="162434"/>
                  </a:cubicBezTo>
                  <a:cubicBezTo>
                    <a:pt x="174468" y="160228"/>
                    <a:pt x="156446" y="129479"/>
                    <a:pt x="175605" y="140809"/>
                  </a:cubicBezTo>
                  <a:cubicBezTo>
                    <a:pt x="198620" y="154546"/>
                    <a:pt x="185752" y="130181"/>
                    <a:pt x="177797" y="122861"/>
                  </a:cubicBezTo>
                  <a:cubicBezTo>
                    <a:pt x="169841" y="115541"/>
                    <a:pt x="152875" y="104010"/>
                    <a:pt x="152550" y="95119"/>
                  </a:cubicBezTo>
                  <a:cubicBezTo>
                    <a:pt x="152225" y="86228"/>
                    <a:pt x="148247" y="79277"/>
                    <a:pt x="140779" y="69851"/>
                  </a:cubicBezTo>
                  <a:cubicBezTo>
                    <a:pt x="120241" y="43848"/>
                    <a:pt x="93695" y="22523"/>
                    <a:pt x="66378" y="-339"/>
                  </a:cubicBezTo>
                  <a:lnTo>
                    <a:pt x="27087" y="51869"/>
                  </a:lnTo>
                  <a:lnTo>
                    <a:pt x="3910" y="82619"/>
                  </a:lnTo>
                  <a:cubicBezTo>
                    <a:pt x="-3924" y="93014"/>
                    <a:pt x="-798" y="98294"/>
                    <a:pt x="19010" y="109358"/>
                  </a:cubicBezTo>
                  <a:cubicBezTo>
                    <a:pt x="37802" y="119853"/>
                    <a:pt x="43364" y="114806"/>
                    <a:pt x="58950" y="115508"/>
                  </a:cubicBezTo>
                  <a:cubicBezTo>
                    <a:pt x="70437" y="116076"/>
                    <a:pt x="75429" y="107720"/>
                    <a:pt x="88580" y="114204"/>
                  </a:cubicBezTo>
                  <a:cubicBezTo>
                    <a:pt x="102909" y="121758"/>
                    <a:pt x="114557" y="132253"/>
                    <a:pt x="122392" y="144686"/>
                  </a:cubicBezTo>
                  <a:cubicBezTo>
                    <a:pt x="130753" y="158056"/>
                    <a:pt x="129779" y="192115"/>
                    <a:pt x="151738" y="200504"/>
                  </a:cubicBezTo>
                  <a:cubicBezTo>
                    <a:pt x="168379" y="206888"/>
                    <a:pt x="177390" y="220558"/>
                    <a:pt x="190744" y="229716"/>
                  </a:cubicBezTo>
                  <a:cubicBezTo>
                    <a:pt x="205642" y="240111"/>
                    <a:pt x="209416" y="232123"/>
                    <a:pt x="200121" y="222463"/>
                  </a:cubicBezTo>
                  <a:cubicBezTo>
                    <a:pt x="196346" y="218352"/>
                    <a:pt x="203936" y="226307"/>
                    <a:pt x="200121" y="222296"/>
                  </a:cubicBezTo>
                  <a:close/>
                  <a:moveTo>
                    <a:pt x="301230" y="170490"/>
                  </a:moveTo>
                  <a:cubicBezTo>
                    <a:pt x="292259" y="181185"/>
                    <a:pt x="245784" y="155616"/>
                    <a:pt x="235150" y="148229"/>
                  </a:cubicBezTo>
                  <a:cubicBezTo>
                    <a:pt x="230888" y="145221"/>
                    <a:pt x="220456" y="136164"/>
                    <a:pt x="214409" y="136731"/>
                  </a:cubicBezTo>
                  <a:cubicBezTo>
                    <a:pt x="205113" y="137601"/>
                    <a:pt x="222933" y="154580"/>
                    <a:pt x="225733" y="157120"/>
                  </a:cubicBezTo>
                  <a:cubicBezTo>
                    <a:pt x="244242" y="173631"/>
                    <a:pt x="272127" y="182188"/>
                    <a:pt x="296643" y="183224"/>
                  </a:cubicBezTo>
                  <a:cubicBezTo>
                    <a:pt x="303869" y="183524"/>
                    <a:pt x="312636" y="180216"/>
                    <a:pt x="318197" y="178043"/>
                  </a:cubicBezTo>
                  <a:cubicBezTo>
                    <a:pt x="329359" y="173732"/>
                    <a:pt x="306913" y="163705"/>
                    <a:pt x="301230" y="170490"/>
                  </a:cubicBezTo>
                  <a:close/>
                  <a:moveTo>
                    <a:pt x="338289" y="168317"/>
                  </a:moveTo>
                  <a:cubicBezTo>
                    <a:pt x="336625" y="166044"/>
                    <a:pt x="331916" y="157722"/>
                    <a:pt x="328060" y="156385"/>
                  </a:cubicBezTo>
                  <a:cubicBezTo>
                    <a:pt x="327167" y="156084"/>
                    <a:pt x="332485" y="170556"/>
                    <a:pt x="332606" y="171158"/>
                  </a:cubicBezTo>
                  <a:cubicBezTo>
                    <a:pt x="333581" y="176171"/>
                    <a:pt x="330617" y="179247"/>
                    <a:pt x="330577" y="183792"/>
                  </a:cubicBezTo>
                  <a:cubicBezTo>
                    <a:pt x="330577" y="187435"/>
                    <a:pt x="340481" y="188873"/>
                    <a:pt x="342754" y="187435"/>
                  </a:cubicBezTo>
                  <a:cubicBezTo>
                    <a:pt x="348436" y="184093"/>
                    <a:pt x="341901" y="173331"/>
                    <a:pt x="338248" y="168317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BA083CFC-7794-40E1-AD8B-2E5C8C16421D}"/>
                </a:ext>
              </a:extLst>
            </p:cNvPr>
            <p:cNvSpPr/>
            <p:nvPr/>
          </p:nvSpPr>
          <p:spPr>
            <a:xfrm>
              <a:off x="8067306" y="4925650"/>
              <a:ext cx="57559" cy="66327"/>
            </a:xfrm>
            <a:custGeom>
              <a:avLst/>
              <a:gdLst>
                <a:gd name="connsiteX0" fmla="*/ 26706 w 57559"/>
                <a:gd name="connsiteY0" fmla="*/ -162 h 66327"/>
                <a:gd name="connsiteX1" fmla="*/ 647 w 57559"/>
                <a:gd name="connsiteY1" fmla="*/ 38209 h 66327"/>
                <a:gd name="connsiteX2" fmla="*/ 34986 w 57559"/>
                <a:gd name="connsiteY2" fmla="*/ 64246 h 66327"/>
                <a:gd name="connsiteX3" fmla="*/ 53739 w 57559"/>
                <a:gd name="connsiteY3" fmla="*/ 30822 h 66327"/>
                <a:gd name="connsiteX4" fmla="*/ 26706 w 57559"/>
                <a:gd name="connsiteY4" fmla="*/ -162 h 6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59" h="66327">
                  <a:moveTo>
                    <a:pt x="26706" y="-162"/>
                  </a:moveTo>
                  <a:cubicBezTo>
                    <a:pt x="10227" y="-3136"/>
                    <a:pt x="2109" y="32259"/>
                    <a:pt x="647" y="38209"/>
                  </a:cubicBezTo>
                  <a:cubicBezTo>
                    <a:pt x="-2762" y="52547"/>
                    <a:pt x="5762" y="71933"/>
                    <a:pt x="34986" y="64246"/>
                  </a:cubicBezTo>
                  <a:cubicBezTo>
                    <a:pt x="57189" y="58463"/>
                    <a:pt x="61938" y="46163"/>
                    <a:pt x="53739" y="30822"/>
                  </a:cubicBezTo>
                  <a:cubicBezTo>
                    <a:pt x="50735" y="25140"/>
                    <a:pt x="38477" y="1944"/>
                    <a:pt x="26706" y="-16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C3EA2CBF-36D7-40E2-97A2-B7E7FD344B8B}"/>
                </a:ext>
              </a:extLst>
            </p:cNvPr>
            <p:cNvSpPr/>
            <p:nvPr/>
          </p:nvSpPr>
          <p:spPr>
            <a:xfrm>
              <a:off x="6939174" y="5121049"/>
              <a:ext cx="212223" cy="226932"/>
            </a:xfrm>
            <a:custGeom>
              <a:avLst/>
              <a:gdLst>
                <a:gd name="connsiteX0" fmla="*/ 193875 w 212223"/>
                <a:gd name="connsiteY0" fmla="*/ 3008 h 226932"/>
                <a:gd name="connsiteX1" fmla="*/ 192413 w 212223"/>
                <a:gd name="connsiteY1" fmla="*/ -130 h 226932"/>
                <a:gd name="connsiteX2" fmla="*/ 191074 w 212223"/>
                <a:gd name="connsiteY2" fmla="*/ -334 h 226932"/>
                <a:gd name="connsiteX3" fmla="*/ 170779 w 212223"/>
                <a:gd name="connsiteY3" fmla="*/ 22795 h 226932"/>
                <a:gd name="connsiteX4" fmla="*/ 147643 w 212223"/>
                <a:gd name="connsiteY4" fmla="*/ 24299 h 226932"/>
                <a:gd name="connsiteX5" fmla="*/ 142041 w 212223"/>
                <a:gd name="connsiteY5" fmla="*/ 35462 h 226932"/>
                <a:gd name="connsiteX6" fmla="*/ 127916 w 212223"/>
                <a:gd name="connsiteY6" fmla="*/ 46091 h 226932"/>
                <a:gd name="connsiteX7" fmla="*/ 101858 w 212223"/>
                <a:gd name="connsiteY7" fmla="*/ 50470 h 226932"/>
                <a:gd name="connsiteX8" fmla="*/ 75190 w 212223"/>
                <a:gd name="connsiteY8" fmla="*/ 52943 h 226932"/>
                <a:gd name="connsiteX9" fmla="*/ 42718 w 212223"/>
                <a:gd name="connsiteY9" fmla="*/ 54982 h 226932"/>
                <a:gd name="connsiteX10" fmla="*/ 36102 w 212223"/>
                <a:gd name="connsiteY10" fmla="*/ 71694 h 226932"/>
                <a:gd name="connsiteX11" fmla="*/ 27375 w 212223"/>
                <a:gd name="connsiteY11" fmla="*/ 94422 h 226932"/>
                <a:gd name="connsiteX12" fmla="*/ 24818 w 212223"/>
                <a:gd name="connsiteY12" fmla="*/ 135967 h 226932"/>
                <a:gd name="connsiteX13" fmla="*/ 1236 w 212223"/>
                <a:gd name="connsiteY13" fmla="*/ 175607 h 226932"/>
                <a:gd name="connsiteX14" fmla="*/ 21003 w 212223"/>
                <a:gd name="connsiteY14" fmla="*/ 217688 h 226932"/>
                <a:gd name="connsiteX15" fmla="*/ 46088 w 212223"/>
                <a:gd name="connsiteY15" fmla="*/ 226345 h 226932"/>
                <a:gd name="connsiteX16" fmla="*/ 68696 w 212223"/>
                <a:gd name="connsiteY16" fmla="*/ 224272 h 226932"/>
                <a:gd name="connsiteX17" fmla="*/ 100153 w 212223"/>
                <a:gd name="connsiteY17" fmla="*/ 206792 h 226932"/>
                <a:gd name="connsiteX18" fmla="*/ 160713 w 212223"/>
                <a:gd name="connsiteY18" fmla="*/ 122999 h 226932"/>
                <a:gd name="connsiteX19" fmla="*/ 177355 w 212223"/>
                <a:gd name="connsiteY19" fmla="*/ 94255 h 226932"/>
                <a:gd name="connsiteX20" fmla="*/ 186244 w 212223"/>
                <a:gd name="connsiteY20" fmla="*/ 79615 h 226932"/>
                <a:gd name="connsiteX21" fmla="*/ 194849 w 212223"/>
                <a:gd name="connsiteY21" fmla="*/ 66446 h 226932"/>
                <a:gd name="connsiteX22" fmla="*/ 210841 w 212223"/>
                <a:gd name="connsiteY22" fmla="*/ 66446 h 226932"/>
                <a:gd name="connsiteX23" fmla="*/ 208649 w 212223"/>
                <a:gd name="connsiteY23" fmla="*/ 46760 h 226932"/>
                <a:gd name="connsiteX24" fmla="*/ 205808 w 212223"/>
                <a:gd name="connsiteY24" fmla="*/ 24399 h 226932"/>
                <a:gd name="connsiteX25" fmla="*/ 193631 w 212223"/>
                <a:gd name="connsiteY25" fmla="*/ 2807 h 226932"/>
                <a:gd name="connsiteX26" fmla="*/ 193875 w 212223"/>
                <a:gd name="connsiteY26" fmla="*/ 3008 h 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2223" h="226932">
                  <a:moveTo>
                    <a:pt x="193875" y="3008"/>
                  </a:moveTo>
                  <a:cubicBezTo>
                    <a:pt x="194524" y="1812"/>
                    <a:pt x="193875" y="408"/>
                    <a:pt x="192413" y="-130"/>
                  </a:cubicBezTo>
                  <a:cubicBezTo>
                    <a:pt x="192008" y="-287"/>
                    <a:pt x="191521" y="-358"/>
                    <a:pt x="191074" y="-334"/>
                  </a:cubicBezTo>
                  <a:cubicBezTo>
                    <a:pt x="178085" y="3911"/>
                    <a:pt x="182712" y="19386"/>
                    <a:pt x="170779" y="22795"/>
                  </a:cubicBezTo>
                  <a:cubicBezTo>
                    <a:pt x="163311" y="24934"/>
                    <a:pt x="154543" y="21190"/>
                    <a:pt x="147643" y="24299"/>
                  </a:cubicBezTo>
                  <a:cubicBezTo>
                    <a:pt x="144477" y="25736"/>
                    <a:pt x="143097" y="32889"/>
                    <a:pt x="142041" y="35462"/>
                  </a:cubicBezTo>
                  <a:cubicBezTo>
                    <a:pt x="139403" y="41779"/>
                    <a:pt x="142041" y="44988"/>
                    <a:pt x="127916" y="46091"/>
                  </a:cubicBezTo>
                  <a:cubicBezTo>
                    <a:pt x="118987" y="46355"/>
                    <a:pt x="110179" y="47836"/>
                    <a:pt x="101858" y="50470"/>
                  </a:cubicBezTo>
                  <a:cubicBezTo>
                    <a:pt x="91589" y="53812"/>
                    <a:pt x="86434" y="53077"/>
                    <a:pt x="75190" y="52943"/>
                  </a:cubicBezTo>
                  <a:cubicBezTo>
                    <a:pt x="69995" y="52943"/>
                    <a:pt x="44992" y="52442"/>
                    <a:pt x="42718" y="54982"/>
                  </a:cubicBezTo>
                  <a:cubicBezTo>
                    <a:pt x="38416" y="59795"/>
                    <a:pt x="39512" y="66480"/>
                    <a:pt x="36102" y="71694"/>
                  </a:cubicBezTo>
                  <a:cubicBezTo>
                    <a:pt x="30745" y="79849"/>
                    <a:pt x="25427" y="84729"/>
                    <a:pt x="27375" y="94422"/>
                  </a:cubicBezTo>
                  <a:cubicBezTo>
                    <a:pt x="30541" y="110030"/>
                    <a:pt x="42556" y="122932"/>
                    <a:pt x="24818" y="135967"/>
                  </a:cubicBezTo>
                  <a:cubicBezTo>
                    <a:pt x="9070" y="147532"/>
                    <a:pt x="-4366" y="158328"/>
                    <a:pt x="1236" y="175607"/>
                  </a:cubicBezTo>
                  <a:cubicBezTo>
                    <a:pt x="5538" y="188810"/>
                    <a:pt x="3752" y="208129"/>
                    <a:pt x="21003" y="217688"/>
                  </a:cubicBezTo>
                  <a:cubicBezTo>
                    <a:pt x="28553" y="221932"/>
                    <a:pt x="37117" y="224907"/>
                    <a:pt x="46088" y="226345"/>
                  </a:cubicBezTo>
                  <a:cubicBezTo>
                    <a:pt x="54936" y="227648"/>
                    <a:pt x="60213" y="223370"/>
                    <a:pt x="68696" y="224272"/>
                  </a:cubicBezTo>
                  <a:cubicBezTo>
                    <a:pt x="87367" y="226211"/>
                    <a:pt x="93050" y="216083"/>
                    <a:pt x="100153" y="206792"/>
                  </a:cubicBezTo>
                  <a:cubicBezTo>
                    <a:pt x="121057" y="179217"/>
                    <a:pt x="140743" y="150941"/>
                    <a:pt x="160713" y="122999"/>
                  </a:cubicBezTo>
                  <a:cubicBezTo>
                    <a:pt x="166436" y="114877"/>
                    <a:pt x="177598" y="103780"/>
                    <a:pt x="177355" y="94255"/>
                  </a:cubicBezTo>
                  <a:cubicBezTo>
                    <a:pt x="177355" y="88472"/>
                    <a:pt x="185473" y="85130"/>
                    <a:pt x="186244" y="79615"/>
                  </a:cubicBezTo>
                  <a:cubicBezTo>
                    <a:pt x="186244" y="78880"/>
                    <a:pt x="188071" y="55851"/>
                    <a:pt x="194849" y="66446"/>
                  </a:cubicBezTo>
                  <a:cubicBezTo>
                    <a:pt x="199192" y="73131"/>
                    <a:pt x="207472" y="73131"/>
                    <a:pt x="210841" y="66446"/>
                  </a:cubicBezTo>
                  <a:cubicBezTo>
                    <a:pt x="214210" y="59761"/>
                    <a:pt x="210273" y="53077"/>
                    <a:pt x="208649" y="46760"/>
                  </a:cubicBezTo>
                  <a:cubicBezTo>
                    <a:pt x="206701" y="39306"/>
                    <a:pt x="208649" y="31752"/>
                    <a:pt x="205808" y="24399"/>
                  </a:cubicBezTo>
                  <a:cubicBezTo>
                    <a:pt x="202967" y="17046"/>
                    <a:pt x="195376" y="10127"/>
                    <a:pt x="193631" y="2807"/>
                  </a:cubicBezTo>
                  <a:cubicBezTo>
                    <a:pt x="191926" y="-5615"/>
                    <a:pt x="195174" y="8957"/>
                    <a:pt x="193875" y="300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FFBBF7BA-BEFF-45C3-AAFE-DDCDFCD9F474}"/>
                </a:ext>
              </a:extLst>
            </p:cNvPr>
            <p:cNvSpPr/>
            <p:nvPr/>
          </p:nvSpPr>
          <p:spPr>
            <a:xfrm>
              <a:off x="7035373" y="4597804"/>
              <a:ext cx="334418" cy="132428"/>
            </a:xfrm>
            <a:custGeom>
              <a:avLst/>
              <a:gdLst>
                <a:gd name="connsiteX0" fmla="*/ 257153 w 334418"/>
                <a:gd name="connsiteY0" fmla="*/ 6484 h 132428"/>
                <a:gd name="connsiteX1" fmla="*/ 181737 w 334418"/>
                <a:gd name="connsiteY1" fmla="*/ 4712 h 132428"/>
                <a:gd name="connsiteX2" fmla="*/ 149266 w 334418"/>
                <a:gd name="connsiteY2" fmla="*/ 17313 h 132428"/>
                <a:gd name="connsiteX3" fmla="*/ 109406 w 334418"/>
                <a:gd name="connsiteY3" fmla="*/ 14205 h 132428"/>
                <a:gd name="connsiteX4" fmla="*/ 76447 w 334418"/>
                <a:gd name="connsiteY4" fmla="*/ 7185 h 132428"/>
                <a:gd name="connsiteX5" fmla="*/ 52093 w 334418"/>
                <a:gd name="connsiteY5" fmla="*/ 4111 h 132428"/>
                <a:gd name="connsiteX6" fmla="*/ 30581 w 334418"/>
                <a:gd name="connsiteY6" fmla="*/ -301 h 132428"/>
                <a:gd name="connsiteX7" fmla="*/ 9190 w 334418"/>
                <a:gd name="connsiteY7" fmla="*/ 15441 h 132428"/>
                <a:gd name="connsiteX8" fmla="*/ 2858 w 334418"/>
                <a:gd name="connsiteY8" fmla="*/ 27340 h 132428"/>
                <a:gd name="connsiteX9" fmla="*/ 1154 w 334418"/>
                <a:gd name="connsiteY9" fmla="*/ 44052 h 132428"/>
                <a:gd name="connsiteX10" fmla="*/ 11382 w 334418"/>
                <a:gd name="connsiteY10" fmla="*/ 73832 h 132428"/>
                <a:gd name="connsiteX11" fmla="*/ 34965 w 334418"/>
                <a:gd name="connsiteY11" fmla="*/ 85096 h 132428"/>
                <a:gd name="connsiteX12" fmla="*/ 86919 w 334418"/>
                <a:gd name="connsiteY12" fmla="*/ 80517 h 132428"/>
                <a:gd name="connsiteX13" fmla="*/ 134856 w 334418"/>
                <a:gd name="connsiteY13" fmla="*/ 77743 h 132428"/>
                <a:gd name="connsiteX14" fmla="*/ 172889 w 334418"/>
                <a:gd name="connsiteY14" fmla="*/ 77743 h 132428"/>
                <a:gd name="connsiteX15" fmla="*/ 195457 w 334418"/>
                <a:gd name="connsiteY15" fmla="*/ 70523 h 132428"/>
                <a:gd name="connsiteX16" fmla="*/ 220257 w 334418"/>
                <a:gd name="connsiteY16" fmla="*/ 68919 h 132428"/>
                <a:gd name="connsiteX17" fmla="*/ 278097 w 334418"/>
                <a:gd name="connsiteY17" fmla="*/ 63638 h 132428"/>
                <a:gd name="connsiteX18" fmla="*/ 285079 w 334418"/>
                <a:gd name="connsiteY18" fmla="*/ 56719 h 132428"/>
                <a:gd name="connsiteX19" fmla="*/ 313492 w 334418"/>
                <a:gd name="connsiteY19" fmla="*/ 53611 h 132428"/>
                <a:gd name="connsiteX20" fmla="*/ 293197 w 334418"/>
                <a:gd name="connsiteY20" fmla="*/ 17313 h 132428"/>
                <a:gd name="connsiteX21" fmla="*/ 286824 w 334418"/>
                <a:gd name="connsiteY21" fmla="*/ 5982 h 132428"/>
                <a:gd name="connsiteX22" fmla="*/ 257478 w 334418"/>
                <a:gd name="connsiteY22" fmla="*/ 6684 h 132428"/>
                <a:gd name="connsiteX23" fmla="*/ 257153 w 334418"/>
                <a:gd name="connsiteY23" fmla="*/ 6484 h 132428"/>
                <a:gd name="connsiteX24" fmla="*/ 304318 w 334418"/>
                <a:gd name="connsiteY24" fmla="*/ 127945 h 132428"/>
                <a:gd name="connsiteX25" fmla="*/ 334314 w 334418"/>
                <a:gd name="connsiteY25" fmla="*/ 129081 h 132428"/>
                <a:gd name="connsiteX26" fmla="*/ 304318 w 334418"/>
                <a:gd name="connsiteY26" fmla="*/ 127945 h 13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34418" h="132428">
                  <a:moveTo>
                    <a:pt x="257153" y="6484"/>
                  </a:moveTo>
                  <a:cubicBezTo>
                    <a:pt x="228740" y="6149"/>
                    <a:pt x="207390" y="-2441"/>
                    <a:pt x="181737" y="4712"/>
                  </a:cubicBezTo>
                  <a:cubicBezTo>
                    <a:pt x="171143" y="7687"/>
                    <a:pt x="155395" y="11196"/>
                    <a:pt x="149266" y="17313"/>
                  </a:cubicBezTo>
                  <a:cubicBezTo>
                    <a:pt x="139321" y="26972"/>
                    <a:pt x="123978" y="16678"/>
                    <a:pt x="109406" y="14205"/>
                  </a:cubicBezTo>
                  <a:cubicBezTo>
                    <a:pt x="97798" y="12232"/>
                    <a:pt x="87731" y="9358"/>
                    <a:pt x="76447" y="7185"/>
                  </a:cubicBezTo>
                  <a:cubicBezTo>
                    <a:pt x="68451" y="5518"/>
                    <a:pt x="60293" y="4488"/>
                    <a:pt x="52093" y="4111"/>
                  </a:cubicBezTo>
                  <a:cubicBezTo>
                    <a:pt x="44828" y="3910"/>
                    <a:pt x="37157" y="-803"/>
                    <a:pt x="30581" y="-301"/>
                  </a:cubicBezTo>
                  <a:cubicBezTo>
                    <a:pt x="10286" y="1203"/>
                    <a:pt x="23559" y="13068"/>
                    <a:pt x="9190" y="15441"/>
                  </a:cubicBezTo>
                  <a:cubicBezTo>
                    <a:pt x="-4001" y="17781"/>
                    <a:pt x="7850" y="21190"/>
                    <a:pt x="2858" y="27340"/>
                  </a:cubicBezTo>
                  <a:cubicBezTo>
                    <a:pt x="-1201" y="32086"/>
                    <a:pt x="-267" y="38704"/>
                    <a:pt x="1154" y="44052"/>
                  </a:cubicBezTo>
                  <a:cubicBezTo>
                    <a:pt x="3995" y="54647"/>
                    <a:pt x="11544" y="62869"/>
                    <a:pt x="11382" y="73832"/>
                  </a:cubicBezTo>
                  <a:cubicBezTo>
                    <a:pt x="11382" y="83291"/>
                    <a:pt x="20027" y="84093"/>
                    <a:pt x="34965" y="85096"/>
                  </a:cubicBezTo>
                  <a:cubicBezTo>
                    <a:pt x="54691" y="86433"/>
                    <a:pt x="68289" y="81286"/>
                    <a:pt x="86919" y="80517"/>
                  </a:cubicBezTo>
                  <a:cubicBezTo>
                    <a:pt x="104373" y="79815"/>
                    <a:pt x="118945" y="83258"/>
                    <a:pt x="134856" y="77743"/>
                  </a:cubicBezTo>
                  <a:cubicBezTo>
                    <a:pt x="148210" y="73164"/>
                    <a:pt x="159210" y="79046"/>
                    <a:pt x="172889" y="77743"/>
                  </a:cubicBezTo>
                  <a:cubicBezTo>
                    <a:pt x="181859" y="76773"/>
                    <a:pt x="187217" y="72228"/>
                    <a:pt x="195457" y="70523"/>
                  </a:cubicBezTo>
                  <a:cubicBezTo>
                    <a:pt x="203615" y="69240"/>
                    <a:pt x="211936" y="68702"/>
                    <a:pt x="220257" y="68919"/>
                  </a:cubicBezTo>
                  <a:cubicBezTo>
                    <a:pt x="237426" y="68651"/>
                    <a:pt x="265839" y="71392"/>
                    <a:pt x="278097" y="63638"/>
                  </a:cubicBezTo>
                  <a:cubicBezTo>
                    <a:pt x="281263" y="61633"/>
                    <a:pt x="282440" y="58925"/>
                    <a:pt x="285079" y="56719"/>
                  </a:cubicBezTo>
                  <a:cubicBezTo>
                    <a:pt x="290843" y="51873"/>
                    <a:pt x="304359" y="54313"/>
                    <a:pt x="313492" y="53611"/>
                  </a:cubicBezTo>
                  <a:lnTo>
                    <a:pt x="293197" y="17313"/>
                  </a:lnTo>
                  <a:lnTo>
                    <a:pt x="286824" y="5982"/>
                  </a:lnTo>
                  <a:cubicBezTo>
                    <a:pt x="277123" y="6283"/>
                    <a:pt x="267300" y="6818"/>
                    <a:pt x="257478" y="6684"/>
                  </a:cubicBezTo>
                  <a:cubicBezTo>
                    <a:pt x="241648" y="6316"/>
                    <a:pt x="261455" y="6550"/>
                    <a:pt x="257153" y="6484"/>
                  </a:cubicBezTo>
                  <a:close/>
                  <a:moveTo>
                    <a:pt x="304318" y="127945"/>
                  </a:moveTo>
                  <a:cubicBezTo>
                    <a:pt x="312436" y="135098"/>
                    <a:pt x="332731" y="131287"/>
                    <a:pt x="334314" y="129081"/>
                  </a:cubicBezTo>
                  <a:cubicBezTo>
                    <a:pt x="335897" y="126875"/>
                    <a:pt x="294982" y="119856"/>
                    <a:pt x="304318" y="12794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2460B95F-219C-4847-873F-F968BD765CF2}"/>
                </a:ext>
              </a:extLst>
            </p:cNvPr>
            <p:cNvSpPr/>
            <p:nvPr/>
          </p:nvSpPr>
          <p:spPr>
            <a:xfrm>
              <a:off x="7434516" y="5899842"/>
              <a:ext cx="46983" cy="25794"/>
            </a:xfrm>
            <a:custGeom>
              <a:avLst/>
              <a:gdLst>
                <a:gd name="connsiteX0" fmla="*/ 19436 w 46983"/>
                <a:gd name="connsiteY0" fmla="*/ 1380 h 25794"/>
                <a:gd name="connsiteX1" fmla="*/ 845 w 46983"/>
                <a:gd name="connsiteY1" fmla="*/ 8867 h 25794"/>
                <a:gd name="connsiteX2" fmla="*/ 24550 w 46983"/>
                <a:gd name="connsiteY2" fmla="*/ 22237 h 25794"/>
                <a:gd name="connsiteX3" fmla="*/ 45860 w 46983"/>
                <a:gd name="connsiteY3" fmla="*/ 16087 h 25794"/>
                <a:gd name="connsiteX4" fmla="*/ 19436 w 46983"/>
                <a:gd name="connsiteY4" fmla="*/ 1380 h 25794"/>
                <a:gd name="connsiteX5" fmla="*/ 19436 w 46983"/>
                <a:gd name="connsiteY5" fmla="*/ 1380 h 25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983" h="25794">
                  <a:moveTo>
                    <a:pt x="19436" y="1380"/>
                  </a:moveTo>
                  <a:cubicBezTo>
                    <a:pt x="17934" y="-4536"/>
                    <a:pt x="1860" y="6528"/>
                    <a:pt x="845" y="8867"/>
                  </a:cubicBezTo>
                  <a:cubicBezTo>
                    <a:pt x="-5040" y="21936"/>
                    <a:pt x="19517" y="17190"/>
                    <a:pt x="24550" y="22237"/>
                  </a:cubicBezTo>
                  <a:cubicBezTo>
                    <a:pt x="31328" y="28921"/>
                    <a:pt x="51786" y="24376"/>
                    <a:pt x="45860" y="16087"/>
                  </a:cubicBezTo>
                  <a:cubicBezTo>
                    <a:pt x="41232" y="9603"/>
                    <a:pt x="21181" y="8366"/>
                    <a:pt x="19436" y="1380"/>
                  </a:cubicBezTo>
                  <a:cubicBezTo>
                    <a:pt x="18015" y="-4234"/>
                    <a:pt x="20856" y="7029"/>
                    <a:pt x="19436" y="138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0AF33CAF-25CF-48FA-AD59-EF53F2F95678}"/>
                </a:ext>
              </a:extLst>
            </p:cNvPr>
            <p:cNvSpPr/>
            <p:nvPr/>
          </p:nvSpPr>
          <p:spPr>
            <a:xfrm>
              <a:off x="7433016" y="5898654"/>
              <a:ext cx="49706" cy="28125"/>
            </a:xfrm>
            <a:custGeom>
              <a:avLst/>
              <a:gdLst>
                <a:gd name="connsiteX0" fmla="*/ 31570 w 49706"/>
                <a:gd name="connsiteY0" fmla="*/ 27403 h 28125"/>
                <a:gd name="connsiteX1" fmla="*/ 31570 w 49706"/>
                <a:gd name="connsiteY1" fmla="*/ 27403 h 28125"/>
                <a:gd name="connsiteX2" fmla="*/ 24832 w 49706"/>
                <a:gd name="connsiteY2" fmla="*/ 24061 h 28125"/>
                <a:gd name="connsiteX3" fmla="*/ 20773 w 49706"/>
                <a:gd name="connsiteY3" fmla="*/ 22423 h 28125"/>
                <a:gd name="connsiteX4" fmla="*/ 15172 w 49706"/>
                <a:gd name="connsiteY4" fmla="*/ 21587 h 28125"/>
                <a:gd name="connsiteX5" fmla="*/ 8799 w 49706"/>
                <a:gd name="connsiteY5" fmla="*/ 20651 h 28125"/>
                <a:gd name="connsiteX6" fmla="*/ 1006 w 49706"/>
                <a:gd name="connsiteY6" fmla="*/ 16841 h 28125"/>
                <a:gd name="connsiteX7" fmla="*/ 1006 w 49706"/>
                <a:gd name="connsiteY7" fmla="*/ 9655 h 28125"/>
                <a:gd name="connsiteX8" fmla="*/ 19636 w 49706"/>
                <a:gd name="connsiteY8" fmla="*/ -138 h 28125"/>
                <a:gd name="connsiteX9" fmla="*/ 19880 w 49706"/>
                <a:gd name="connsiteY9" fmla="*/ -138 h 28125"/>
                <a:gd name="connsiteX10" fmla="*/ 20164 w 49706"/>
                <a:gd name="connsiteY10" fmla="*/ -339 h 28125"/>
                <a:gd name="connsiteX11" fmla="*/ 20976 w 49706"/>
                <a:gd name="connsiteY11" fmla="*/ -339 h 28125"/>
                <a:gd name="connsiteX12" fmla="*/ 22112 w 49706"/>
                <a:gd name="connsiteY12" fmla="*/ 597 h 28125"/>
                <a:gd name="connsiteX13" fmla="*/ 22112 w 49706"/>
                <a:gd name="connsiteY13" fmla="*/ 597 h 28125"/>
                <a:gd name="connsiteX14" fmla="*/ 22112 w 49706"/>
                <a:gd name="connsiteY14" fmla="*/ 1232 h 28125"/>
                <a:gd name="connsiteX15" fmla="*/ 22356 w 49706"/>
                <a:gd name="connsiteY15" fmla="*/ 2202 h 28125"/>
                <a:gd name="connsiteX16" fmla="*/ 34533 w 49706"/>
                <a:gd name="connsiteY16" fmla="*/ 9254 h 28125"/>
                <a:gd name="connsiteX17" fmla="*/ 48415 w 49706"/>
                <a:gd name="connsiteY17" fmla="*/ 16574 h 28125"/>
                <a:gd name="connsiteX18" fmla="*/ 47765 w 49706"/>
                <a:gd name="connsiteY18" fmla="*/ 23860 h 28125"/>
                <a:gd name="connsiteX19" fmla="*/ 31570 w 49706"/>
                <a:gd name="connsiteY19" fmla="*/ 27403 h 28125"/>
                <a:gd name="connsiteX20" fmla="*/ 21423 w 49706"/>
                <a:gd name="connsiteY20" fmla="*/ 20284 h 28125"/>
                <a:gd name="connsiteX21" fmla="*/ 27227 w 49706"/>
                <a:gd name="connsiteY21" fmla="*/ 22824 h 28125"/>
                <a:gd name="connsiteX22" fmla="*/ 32220 w 49706"/>
                <a:gd name="connsiteY22" fmla="*/ 25230 h 28125"/>
                <a:gd name="connsiteX23" fmla="*/ 45655 w 49706"/>
                <a:gd name="connsiteY23" fmla="*/ 22623 h 28125"/>
                <a:gd name="connsiteX24" fmla="*/ 46020 w 49706"/>
                <a:gd name="connsiteY24" fmla="*/ 17744 h 28125"/>
                <a:gd name="connsiteX25" fmla="*/ 33843 w 49706"/>
                <a:gd name="connsiteY25" fmla="*/ 11493 h 28125"/>
                <a:gd name="connsiteX26" fmla="*/ 21057 w 49706"/>
                <a:gd name="connsiteY26" fmla="*/ 5243 h 28125"/>
                <a:gd name="connsiteX27" fmla="*/ 20043 w 49706"/>
                <a:gd name="connsiteY27" fmla="*/ 4341 h 28125"/>
                <a:gd name="connsiteX28" fmla="*/ 20043 w 49706"/>
                <a:gd name="connsiteY28" fmla="*/ 4341 h 28125"/>
                <a:gd name="connsiteX29" fmla="*/ 20043 w 49706"/>
                <a:gd name="connsiteY29" fmla="*/ 3639 h 28125"/>
                <a:gd name="connsiteX30" fmla="*/ 19758 w 49706"/>
                <a:gd name="connsiteY30" fmla="*/ 2536 h 28125"/>
                <a:gd name="connsiteX31" fmla="*/ 19231 w 49706"/>
                <a:gd name="connsiteY31" fmla="*/ 2001 h 28125"/>
                <a:gd name="connsiteX32" fmla="*/ 4131 w 49706"/>
                <a:gd name="connsiteY32" fmla="*/ 10457 h 28125"/>
                <a:gd name="connsiteX33" fmla="*/ 4131 w 49706"/>
                <a:gd name="connsiteY33" fmla="*/ 15838 h 28125"/>
                <a:gd name="connsiteX34" fmla="*/ 9976 w 49706"/>
                <a:gd name="connsiteY34" fmla="*/ 18479 h 28125"/>
                <a:gd name="connsiteX35" fmla="*/ 16024 w 49706"/>
                <a:gd name="connsiteY35" fmla="*/ 19415 h 28125"/>
                <a:gd name="connsiteX36" fmla="*/ 21423 w 49706"/>
                <a:gd name="connsiteY36" fmla="*/ 20150 h 2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9706" h="28125">
                  <a:moveTo>
                    <a:pt x="31570" y="27403"/>
                  </a:moveTo>
                  <a:lnTo>
                    <a:pt x="31570" y="27403"/>
                  </a:lnTo>
                  <a:cubicBezTo>
                    <a:pt x="28932" y="26902"/>
                    <a:pt x="26578" y="25732"/>
                    <a:pt x="24832" y="24061"/>
                  </a:cubicBezTo>
                  <a:cubicBezTo>
                    <a:pt x="23695" y="23192"/>
                    <a:pt x="22315" y="22623"/>
                    <a:pt x="20773" y="22423"/>
                  </a:cubicBezTo>
                  <a:cubicBezTo>
                    <a:pt x="19109" y="22088"/>
                    <a:pt x="17201" y="21855"/>
                    <a:pt x="15172" y="21587"/>
                  </a:cubicBezTo>
                  <a:cubicBezTo>
                    <a:pt x="13142" y="21320"/>
                    <a:pt x="10829" y="21052"/>
                    <a:pt x="8799" y="20651"/>
                  </a:cubicBezTo>
                  <a:cubicBezTo>
                    <a:pt x="5714" y="20250"/>
                    <a:pt x="2913" y="18880"/>
                    <a:pt x="1006" y="16841"/>
                  </a:cubicBezTo>
                  <a:cubicBezTo>
                    <a:pt x="-415" y="14602"/>
                    <a:pt x="-415" y="11894"/>
                    <a:pt x="1006" y="9655"/>
                  </a:cubicBezTo>
                  <a:cubicBezTo>
                    <a:pt x="1980" y="7482"/>
                    <a:pt x="13914" y="-1308"/>
                    <a:pt x="19636" y="-138"/>
                  </a:cubicBezTo>
                  <a:lnTo>
                    <a:pt x="19880" y="-138"/>
                  </a:lnTo>
                  <a:lnTo>
                    <a:pt x="20164" y="-339"/>
                  </a:lnTo>
                  <a:lnTo>
                    <a:pt x="20976" y="-339"/>
                  </a:lnTo>
                  <a:cubicBezTo>
                    <a:pt x="21666" y="-339"/>
                    <a:pt x="21869" y="-339"/>
                    <a:pt x="22112" y="597"/>
                  </a:cubicBezTo>
                  <a:lnTo>
                    <a:pt x="22112" y="597"/>
                  </a:lnTo>
                  <a:cubicBezTo>
                    <a:pt x="22072" y="798"/>
                    <a:pt x="22072" y="1032"/>
                    <a:pt x="22112" y="1232"/>
                  </a:cubicBezTo>
                  <a:cubicBezTo>
                    <a:pt x="22153" y="1566"/>
                    <a:pt x="22234" y="1867"/>
                    <a:pt x="22356" y="2202"/>
                  </a:cubicBezTo>
                  <a:cubicBezTo>
                    <a:pt x="23127" y="5310"/>
                    <a:pt x="28769" y="7215"/>
                    <a:pt x="34533" y="9254"/>
                  </a:cubicBezTo>
                  <a:cubicBezTo>
                    <a:pt x="40297" y="11293"/>
                    <a:pt x="45979" y="13165"/>
                    <a:pt x="48415" y="16574"/>
                  </a:cubicBezTo>
                  <a:cubicBezTo>
                    <a:pt x="50282" y="18846"/>
                    <a:pt x="49998" y="21855"/>
                    <a:pt x="47765" y="23860"/>
                  </a:cubicBezTo>
                  <a:cubicBezTo>
                    <a:pt x="43422" y="27202"/>
                    <a:pt x="37333" y="28506"/>
                    <a:pt x="31570" y="27403"/>
                  </a:cubicBezTo>
                  <a:close/>
                  <a:moveTo>
                    <a:pt x="21423" y="20284"/>
                  </a:moveTo>
                  <a:cubicBezTo>
                    <a:pt x="23655" y="20584"/>
                    <a:pt x="25684" y="21487"/>
                    <a:pt x="27227" y="22824"/>
                  </a:cubicBezTo>
                  <a:cubicBezTo>
                    <a:pt x="28526" y="24027"/>
                    <a:pt x="30271" y="24863"/>
                    <a:pt x="32220" y="25230"/>
                  </a:cubicBezTo>
                  <a:cubicBezTo>
                    <a:pt x="36928" y="26266"/>
                    <a:pt x="42001" y="25264"/>
                    <a:pt x="45655" y="22623"/>
                  </a:cubicBezTo>
                  <a:cubicBezTo>
                    <a:pt x="47197" y="21286"/>
                    <a:pt x="47360" y="19214"/>
                    <a:pt x="46020" y="17744"/>
                  </a:cubicBezTo>
                  <a:cubicBezTo>
                    <a:pt x="44112" y="15070"/>
                    <a:pt x="38795" y="13265"/>
                    <a:pt x="33843" y="11493"/>
                  </a:cubicBezTo>
                  <a:cubicBezTo>
                    <a:pt x="29013" y="10290"/>
                    <a:pt x="24629" y="8151"/>
                    <a:pt x="21057" y="5243"/>
                  </a:cubicBezTo>
                  <a:cubicBezTo>
                    <a:pt x="20489" y="5243"/>
                    <a:pt x="20286" y="5042"/>
                    <a:pt x="20043" y="4341"/>
                  </a:cubicBezTo>
                  <a:lnTo>
                    <a:pt x="20043" y="4341"/>
                  </a:lnTo>
                  <a:cubicBezTo>
                    <a:pt x="20043" y="4106"/>
                    <a:pt x="20043" y="3873"/>
                    <a:pt x="20043" y="3639"/>
                  </a:cubicBezTo>
                  <a:cubicBezTo>
                    <a:pt x="20043" y="3338"/>
                    <a:pt x="20043" y="2970"/>
                    <a:pt x="19758" y="2536"/>
                  </a:cubicBezTo>
                  <a:cubicBezTo>
                    <a:pt x="19474" y="2101"/>
                    <a:pt x="19393" y="2034"/>
                    <a:pt x="19231" y="2001"/>
                  </a:cubicBezTo>
                  <a:cubicBezTo>
                    <a:pt x="15821" y="1332"/>
                    <a:pt x="4902" y="8685"/>
                    <a:pt x="4131" y="10457"/>
                  </a:cubicBezTo>
                  <a:cubicBezTo>
                    <a:pt x="3117" y="12162"/>
                    <a:pt x="3117" y="14134"/>
                    <a:pt x="4131" y="15838"/>
                  </a:cubicBezTo>
                  <a:cubicBezTo>
                    <a:pt x="5592" y="17309"/>
                    <a:pt x="7703" y="18245"/>
                    <a:pt x="9976" y="18479"/>
                  </a:cubicBezTo>
                  <a:cubicBezTo>
                    <a:pt x="11843" y="18880"/>
                    <a:pt x="14035" y="19147"/>
                    <a:pt x="16024" y="19415"/>
                  </a:cubicBezTo>
                  <a:cubicBezTo>
                    <a:pt x="18013" y="19682"/>
                    <a:pt x="19596" y="19916"/>
                    <a:pt x="21423" y="2015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E0BCBCFD-9B02-4680-8733-1958B822DD32}"/>
                </a:ext>
              </a:extLst>
            </p:cNvPr>
            <p:cNvSpPr/>
            <p:nvPr/>
          </p:nvSpPr>
          <p:spPr>
            <a:xfrm>
              <a:off x="9857354" y="5928227"/>
              <a:ext cx="116289" cy="182856"/>
            </a:xfrm>
            <a:custGeom>
              <a:avLst/>
              <a:gdLst>
                <a:gd name="connsiteX0" fmla="*/ 1581 w 116289"/>
                <a:gd name="connsiteY0" fmla="*/ -199 h 182856"/>
                <a:gd name="connsiteX1" fmla="*/ 13149 w 116289"/>
                <a:gd name="connsiteY1" fmla="*/ 37002 h 182856"/>
                <a:gd name="connsiteX2" fmla="*/ 1581 w 116289"/>
                <a:gd name="connsiteY2" fmla="*/ -199 h 182856"/>
                <a:gd name="connsiteX3" fmla="*/ 30766 w 116289"/>
                <a:gd name="connsiteY3" fmla="*/ 43252 h 182856"/>
                <a:gd name="connsiteX4" fmla="*/ 41928 w 116289"/>
                <a:gd name="connsiteY4" fmla="*/ 64409 h 182856"/>
                <a:gd name="connsiteX5" fmla="*/ 30766 w 116289"/>
                <a:gd name="connsiteY5" fmla="*/ 43118 h 182856"/>
                <a:gd name="connsiteX6" fmla="*/ 85764 w 116289"/>
                <a:gd name="connsiteY6" fmla="*/ 114076 h 182856"/>
                <a:gd name="connsiteX7" fmla="*/ 62953 w 116289"/>
                <a:gd name="connsiteY7" fmla="*/ 83995 h 182856"/>
                <a:gd name="connsiteX8" fmla="*/ 85764 w 116289"/>
                <a:gd name="connsiteY8" fmla="*/ 113943 h 182856"/>
                <a:gd name="connsiteX9" fmla="*/ 69934 w 116289"/>
                <a:gd name="connsiteY9" fmla="*/ 124638 h 182856"/>
                <a:gd name="connsiteX10" fmla="*/ 86170 w 116289"/>
                <a:gd name="connsiteY10" fmla="*/ 146531 h 182856"/>
                <a:gd name="connsiteX11" fmla="*/ 69934 w 116289"/>
                <a:gd name="connsiteY11" fmla="*/ 124505 h 182856"/>
                <a:gd name="connsiteX12" fmla="*/ 99159 w 116289"/>
                <a:gd name="connsiteY12" fmla="*/ 163544 h 182856"/>
                <a:gd name="connsiteX13" fmla="*/ 114177 w 116289"/>
                <a:gd name="connsiteY13" fmla="*/ 182461 h 182856"/>
                <a:gd name="connsiteX14" fmla="*/ 99159 w 116289"/>
                <a:gd name="connsiteY14" fmla="*/ 163410 h 182856"/>
                <a:gd name="connsiteX15" fmla="*/ 106099 w 116289"/>
                <a:gd name="connsiteY15" fmla="*/ 125675 h 182856"/>
                <a:gd name="connsiteX16" fmla="*/ 107439 w 116289"/>
                <a:gd name="connsiteY16" fmla="*/ 155421 h 182856"/>
                <a:gd name="connsiteX17" fmla="*/ 106099 w 116289"/>
                <a:gd name="connsiteY17" fmla="*/ 125541 h 182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289" h="182856">
                  <a:moveTo>
                    <a:pt x="1581" y="-199"/>
                  </a:moveTo>
                  <a:cubicBezTo>
                    <a:pt x="-2965" y="2709"/>
                    <a:pt x="2272" y="35264"/>
                    <a:pt x="13149" y="37002"/>
                  </a:cubicBezTo>
                  <a:cubicBezTo>
                    <a:pt x="33404" y="40244"/>
                    <a:pt x="6209" y="-3106"/>
                    <a:pt x="1581" y="-199"/>
                  </a:cubicBezTo>
                  <a:close/>
                  <a:moveTo>
                    <a:pt x="30766" y="43252"/>
                  </a:moveTo>
                  <a:cubicBezTo>
                    <a:pt x="28938" y="44455"/>
                    <a:pt x="37016" y="63774"/>
                    <a:pt x="41928" y="64409"/>
                  </a:cubicBezTo>
                  <a:cubicBezTo>
                    <a:pt x="46839" y="65044"/>
                    <a:pt x="34134" y="40879"/>
                    <a:pt x="30766" y="43118"/>
                  </a:cubicBezTo>
                  <a:close/>
                  <a:moveTo>
                    <a:pt x="85764" y="114076"/>
                  </a:moveTo>
                  <a:cubicBezTo>
                    <a:pt x="93314" y="115380"/>
                    <a:pt x="67093" y="80653"/>
                    <a:pt x="62953" y="83995"/>
                  </a:cubicBezTo>
                  <a:cubicBezTo>
                    <a:pt x="58813" y="87338"/>
                    <a:pt x="78296" y="112606"/>
                    <a:pt x="85764" y="113943"/>
                  </a:cubicBezTo>
                  <a:close/>
                  <a:moveTo>
                    <a:pt x="69934" y="124638"/>
                  </a:moveTo>
                  <a:cubicBezTo>
                    <a:pt x="66484" y="131958"/>
                    <a:pt x="78337" y="144893"/>
                    <a:pt x="86170" y="146531"/>
                  </a:cubicBezTo>
                  <a:cubicBezTo>
                    <a:pt x="94004" y="148169"/>
                    <a:pt x="73506" y="116918"/>
                    <a:pt x="69934" y="124505"/>
                  </a:cubicBezTo>
                  <a:close/>
                  <a:moveTo>
                    <a:pt x="99159" y="163544"/>
                  </a:moveTo>
                  <a:cubicBezTo>
                    <a:pt x="98794" y="165683"/>
                    <a:pt x="105207" y="181091"/>
                    <a:pt x="114177" y="182461"/>
                  </a:cubicBezTo>
                  <a:cubicBezTo>
                    <a:pt x="123148" y="183831"/>
                    <a:pt x="99849" y="159733"/>
                    <a:pt x="99159" y="163410"/>
                  </a:cubicBezTo>
                  <a:close/>
                  <a:moveTo>
                    <a:pt x="106099" y="125675"/>
                  </a:moveTo>
                  <a:cubicBezTo>
                    <a:pt x="94978" y="129017"/>
                    <a:pt x="104720" y="153249"/>
                    <a:pt x="107439" y="155421"/>
                  </a:cubicBezTo>
                  <a:cubicBezTo>
                    <a:pt x="110158" y="157594"/>
                    <a:pt x="114583" y="122867"/>
                    <a:pt x="106099" y="12554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7BAF2B79-E0BA-4B29-AC11-0749BDBF5CF6}"/>
                </a:ext>
              </a:extLst>
            </p:cNvPr>
            <p:cNvSpPr/>
            <p:nvPr/>
          </p:nvSpPr>
          <p:spPr>
            <a:xfrm>
              <a:off x="8607421" y="5699934"/>
              <a:ext cx="970147" cy="712612"/>
            </a:xfrm>
            <a:custGeom>
              <a:avLst/>
              <a:gdLst>
                <a:gd name="connsiteX0" fmla="*/ 942383 w 970147"/>
                <a:gd name="connsiteY0" fmla="*/ 537263 h 712612"/>
                <a:gd name="connsiteX1" fmla="*/ 945711 w 970147"/>
                <a:gd name="connsiteY1" fmla="*/ 520551 h 712612"/>
                <a:gd name="connsiteX2" fmla="*/ 970065 w 970147"/>
                <a:gd name="connsiteY2" fmla="*/ 494748 h 712612"/>
                <a:gd name="connsiteX3" fmla="*/ 955209 w 970147"/>
                <a:gd name="connsiteY3" fmla="*/ 489467 h 712612"/>
                <a:gd name="connsiteX4" fmla="*/ 956508 w 970147"/>
                <a:gd name="connsiteY4" fmla="*/ 472421 h 712612"/>
                <a:gd name="connsiteX5" fmla="*/ 954356 w 970147"/>
                <a:gd name="connsiteY5" fmla="*/ 460656 h 712612"/>
                <a:gd name="connsiteX6" fmla="*/ 944697 w 970147"/>
                <a:gd name="connsiteY6" fmla="*/ 452801 h 712612"/>
                <a:gd name="connsiteX7" fmla="*/ 945549 w 970147"/>
                <a:gd name="connsiteY7" fmla="*/ 446116 h 712612"/>
                <a:gd name="connsiteX8" fmla="*/ 937958 w 970147"/>
                <a:gd name="connsiteY8" fmla="*/ 436992 h 712612"/>
                <a:gd name="connsiteX9" fmla="*/ 948959 w 970147"/>
                <a:gd name="connsiteY9" fmla="*/ 418542 h 712612"/>
                <a:gd name="connsiteX10" fmla="*/ 934387 w 970147"/>
                <a:gd name="connsiteY10" fmla="*/ 408013 h 712612"/>
                <a:gd name="connsiteX11" fmla="*/ 930693 w 970147"/>
                <a:gd name="connsiteY11" fmla="*/ 393842 h 712612"/>
                <a:gd name="connsiteX12" fmla="*/ 929191 w 970147"/>
                <a:gd name="connsiteY12" fmla="*/ 367103 h 712612"/>
                <a:gd name="connsiteX13" fmla="*/ 911981 w 970147"/>
                <a:gd name="connsiteY13" fmla="*/ 334281 h 712612"/>
                <a:gd name="connsiteX14" fmla="*/ 896313 w 970147"/>
                <a:gd name="connsiteY14" fmla="*/ 317803 h 712612"/>
                <a:gd name="connsiteX15" fmla="*/ 896882 w 970147"/>
                <a:gd name="connsiteY15" fmla="*/ 303632 h 712612"/>
                <a:gd name="connsiteX16" fmla="*/ 906460 w 970147"/>
                <a:gd name="connsiteY16" fmla="*/ 280035 h 712612"/>
                <a:gd name="connsiteX17" fmla="*/ 903051 w 970147"/>
                <a:gd name="connsiteY17" fmla="*/ 260883 h 712612"/>
                <a:gd name="connsiteX18" fmla="*/ 915228 w 970147"/>
                <a:gd name="connsiteY18" fmla="*/ 239057 h 712612"/>
                <a:gd name="connsiteX19" fmla="*/ 906704 w 970147"/>
                <a:gd name="connsiteY19" fmla="*/ 219605 h 712612"/>
                <a:gd name="connsiteX20" fmla="*/ 884908 w 970147"/>
                <a:gd name="connsiteY20" fmla="*/ 204832 h 712612"/>
                <a:gd name="connsiteX21" fmla="*/ 899114 w 970147"/>
                <a:gd name="connsiteY21" fmla="*/ 184543 h 712612"/>
                <a:gd name="connsiteX22" fmla="*/ 898424 w 970147"/>
                <a:gd name="connsiteY22" fmla="*/ 162985 h 712612"/>
                <a:gd name="connsiteX23" fmla="*/ 901549 w 970147"/>
                <a:gd name="connsiteY23" fmla="*/ 142329 h 712612"/>
                <a:gd name="connsiteX24" fmla="*/ 880239 w 970147"/>
                <a:gd name="connsiteY24" fmla="*/ 143265 h 712612"/>
                <a:gd name="connsiteX25" fmla="*/ 872487 w 970147"/>
                <a:gd name="connsiteY25" fmla="*/ 150919 h 712612"/>
                <a:gd name="connsiteX26" fmla="*/ 861203 w 970147"/>
                <a:gd name="connsiteY26" fmla="*/ 154262 h 712612"/>
                <a:gd name="connsiteX27" fmla="*/ 848377 w 970147"/>
                <a:gd name="connsiteY27" fmla="*/ 167865 h 712612"/>
                <a:gd name="connsiteX28" fmla="*/ 831654 w 970147"/>
                <a:gd name="connsiteY28" fmla="*/ 186482 h 712612"/>
                <a:gd name="connsiteX29" fmla="*/ 786071 w 970147"/>
                <a:gd name="connsiteY29" fmla="*/ 217299 h 712612"/>
                <a:gd name="connsiteX30" fmla="*/ 754167 w 970147"/>
                <a:gd name="connsiteY30" fmla="*/ 209177 h 712612"/>
                <a:gd name="connsiteX31" fmla="*/ 743655 w 970147"/>
                <a:gd name="connsiteY31" fmla="*/ 187518 h 712612"/>
                <a:gd name="connsiteX32" fmla="*/ 723847 w 970147"/>
                <a:gd name="connsiteY32" fmla="*/ 171341 h 712612"/>
                <a:gd name="connsiteX33" fmla="*/ 703269 w 970147"/>
                <a:gd name="connsiteY33" fmla="*/ 147343 h 712612"/>
                <a:gd name="connsiteX34" fmla="*/ 694055 w 970147"/>
                <a:gd name="connsiteY34" fmla="*/ 128693 h 712612"/>
                <a:gd name="connsiteX35" fmla="*/ 685693 w 970147"/>
                <a:gd name="connsiteY35" fmla="*/ 116961 h 712612"/>
                <a:gd name="connsiteX36" fmla="*/ 701929 w 970147"/>
                <a:gd name="connsiteY36" fmla="*/ 114253 h 712612"/>
                <a:gd name="connsiteX37" fmla="*/ 713700 w 970147"/>
                <a:gd name="connsiteY37" fmla="*/ 101553 h 712612"/>
                <a:gd name="connsiteX38" fmla="*/ 732534 w 970147"/>
                <a:gd name="connsiteY38" fmla="*/ 104093 h 712612"/>
                <a:gd name="connsiteX39" fmla="*/ 737892 w 970147"/>
                <a:gd name="connsiteY39" fmla="*/ 98411 h 712612"/>
                <a:gd name="connsiteX40" fmla="*/ 748160 w 970147"/>
                <a:gd name="connsiteY40" fmla="*/ 96172 h 712612"/>
                <a:gd name="connsiteX41" fmla="*/ 737648 w 970147"/>
                <a:gd name="connsiteY41" fmla="*/ 86913 h 712612"/>
                <a:gd name="connsiteX42" fmla="*/ 726445 w 970147"/>
                <a:gd name="connsiteY42" fmla="*/ 84039 h 712612"/>
                <a:gd name="connsiteX43" fmla="*/ 714268 w 970147"/>
                <a:gd name="connsiteY43" fmla="*/ 78022 h 712612"/>
                <a:gd name="connsiteX44" fmla="*/ 697221 w 970147"/>
                <a:gd name="connsiteY44" fmla="*/ 66157 h 712612"/>
                <a:gd name="connsiteX45" fmla="*/ 670553 w 970147"/>
                <a:gd name="connsiteY45" fmla="*/ 47072 h 712612"/>
                <a:gd name="connsiteX46" fmla="*/ 651436 w 970147"/>
                <a:gd name="connsiteY46" fmla="*/ 26784 h 712612"/>
                <a:gd name="connsiteX47" fmla="*/ 646159 w 970147"/>
                <a:gd name="connsiteY47" fmla="*/ 32466 h 712612"/>
                <a:gd name="connsiteX48" fmla="*/ 639421 w 970147"/>
                <a:gd name="connsiteY48" fmla="*/ 39886 h 712612"/>
                <a:gd name="connsiteX49" fmla="*/ 612997 w 970147"/>
                <a:gd name="connsiteY49" fmla="*/ 30661 h 712612"/>
                <a:gd name="connsiteX50" fmla="*/ 603946 w 970147"/>
                <a:gd name="connsiteY50" fmla="*/ 25313 h 712612"/>
                <a:gd name="connsiteX51" fmla="*/ 600292 w 970147"/>
                <a:gd name="connsiteY51" fmla="*/ 29291 h 712612"/>
                <a:gd name="connsiteX52" fmla="*/ 589008 w 970147"/>
                <a:gd name="connsiteY52" fmla="*/ 27586 h 712612"/>
                <a:gd name="connsiteX53" fmla="*/ 575857 w 970147"/>
                <a:gd name="connsiteY53" fmla="*/ 32800 h 712612"/>
                <a:gd name="connsiteX54" fmla="*/ 549150 w 970147"/>
                <a:gd name="connsiteY54" fmla="*/ 40722 h 712612"/>
                <a:gd name="connsiteX55" fmla="*/ 546348 w 970147"/>
                <a:gd name="connsiteY55" fmla="*/ 59138 h 712612"/>
                <a:gd name="connsiteX56" fmla="*/ 523050 w 970147"/>
                <a:gd name="connsiteY56" fmla="*/ 40588 h 712612"/>
                <a:gd name="connsiteX57" fmla="*/ 509695 w 970147"/>
                <a:gd name="connsiteY57" fmla="*/ 39919 h 712612"/>
                <a:gd name="connsiteX58" fmla="*/ 503810 w 970147"/>
                <a:gd name="connsiteY58" fmla="*/ 25681 h 712612"/>
                <a:gd name="connsiteX59" fmla="*/ 492121 w 970147"/>
                <a:gd name="connsiteY59" fmla="*/ 7131 h 712612"/>
                <a:gd name="connsiteX60" fmla="*/ 463423 w 970147"/>
                <a:gd name="connsiteY60" fmla="*/ 2752 h 712612"/>
                <a:gd name="connsiteX61" fmla="*/ 445321 w 970147"/>
                <a:gd name="connsiteY61" fmla="*/ 2251 h 712612"/>
                <a:gd name="connsiteX62" fmla="*/ 431723 w 970147"/>
                <a:gd name="connsiteY62" fmla="*/ 4658 h 712612"/>
                <a:gd name="connsiteX63" fmla="*/ 410901 w 970147"/>
                <a:gd name="connsiteY63" fmla="*/ 5527 h 712612"/>
                <a:gd name="connsiteX64" fmla="*/ 396653 w 970147"/>
                <a:gd name="connsiteY64" fmla="*/ 15855 h 712612"/>
                <a:gd name="connsiteX65" fmla="*/ 382163 w 970147"/>
                <a:gd name="connsiteY65" fmla="*/ 14016 h 712612"/>
                <a:gd name="connsiteX66" fmla="*/ 370230 w 970147"/>
                <a:gd name="connsiteY66" fmla="*/ 26450 h 712612"/>
                <a:gd name="connsiteX67" fmla="*/ 367753 w 970147"/>
                <a:gd name="connsiteY67" fmla="*/ 10908 h 712612"/>
                <a:gd name="connsiteX68" fmla="*/ 337839 w 970147"/>
                <a:gd name="connsiteY68" fmla="*/ 13548 h 712612"/>
                <a:gd name="connsiteX69" fmla="*/ 330898 w 970147"/>
                <a:gd name="connsiteY69" fmla="*/ 26517 h 712612"/>
                <a:gd name="connsiteX70" fmla="*/ 301713 w 970147"/>
                <a:gd name="connsiteY70" fmla="*/ 30327 h 712612"/>
                <a:gd name="connsiteX71" fmla="*/ 269648 w 970147"/>
                <a:gd name="connsiteY71" fmla="*/ 32901 h 712612"/>
                <a:gd name="connsiteX72" fmla="*/ 238028 w 970147"/>
                <a:gd name="connsiteY72" fmla="*/ 23575 h 712612"/>
                <a:gd name="connsiteX73" fmla="*/ 212254 w 970147"/>
                <a:gd name="connsiteY73" fmla="*/ 19030 h 712612"/>
                <a:gd name="connsiteX74" fmla="*/ 192568 w 970147"/>
                <a:gd name="connsiteY74" fmla="*/ 19765 h 712612"/>
                <a:gd name="connsiteX75" fmla="*/ 169229 w 970147"/>
                <a:gd name="connsiteY75" fmla="*/ 9237 h 712612"/>
                <a:gd name="connsiteX76" fmla="*/ 123240 w 970147"/>
                <a:gd name="connsiteY76" fmla="*/ 9671 h 712612"/>
                <a:gd name="connsiteX77" fmla="*/ 107005 w 970147"/>
                <a:gd name="connsiteY77" fmla="*/ 10106 h 712612"/>
                <a:gd name="connsiteX78" fmla="*/ 97426 w 970147"/>
                <a:gd name="connsiteY78" fmla="*/ 14284 h 712612"/>
                <a:gd name="connsiteX79" fmla="*/ 101119 w 970147"/>
                <a:gd name="connsiteY79" fmla="*/ 3287 h 712612"/>
                <a:gd name="connsiteX80" fmla="*/ 80297 w 970147"/>
                <a:gd name="connsiteY80" fmla="*/ 23341 h 712612"/>
                <a:gd name="connsiteX81" fmla="*/ 54766 w 970147"/>
                <a:gd name="connsiteY81" fmla="*/ 46404 h 712612"/>
                <a:gd name="connsiteX82" fmla="*/ 58256 w 970147"/>
                <a:gd name="connsiteY82" fmla="*/ 77621 h 712612"/>
                <a:gd name="connsiteX83" fmla="*/ 48474 w 970147"/>
                <a:gd name="connsiteY83" fmla="*/ 64252 h 712612"/>
                <a:gd name="connsiteX84" fmla="*/ 49164 w 970147"/>
                <a:gd name="connsiteY84" fmla="*/ 77856 h 712612"/>
                <a:gd name="connsiteX85" fmla="*/ 41046 w 970147"/>
                <a:gd name="connsiteY85" fmla="*/ 66291 h 712612"/>
                <a:gd name="connsiteX86" fmla="*/ 36419 w 970147"/>
                <a:gd name="connsiteY86" fmla="*/ 67394 h 712612"/>
                <a:gd name="connsiteX87" fmla="*/ 41006 w 970147"/>
                <a:gd name="connsiteY87" fmla="*/ 90189 h 712612"/>
                <a:gd name="connsiteX88" fmla="*/ 45836 w 970147"/>
                <a:gd name="connsiteY88" fmla="*/ 128592 h 712612"/>
                <a:gd name="connsiteX89" fmla="*/ 41980 w 970147"/>
                <a:gd name="connsiteY89" fmla="*/ 150618 h 712612"/>
                <a:gd name="connsiteX90" fmla="*/ 42873 w 970147"/>
                <a:gd name="connsiteY90" fmla="*/ 178093 h 712612"/>
                <a:gd name="connsiteX91" fmla="*/ 42873 w 970147"/>
                <a:gd name="connsiteY91" fmla="*/ 191195 h 712612"/>
                <a:gd name="connsiteX92" fmla="*/ 26069 w 970147"/>
                <a:gd name="connsiteY92" fmla="*/ 210179 h 712612"/>
                <a:gd name="connsiteX93" fmla="*/ 4434 w 970147"/>
                <a:gd name="connsiteY93" fmla="*/ 212820 h 712612"/>
                <a:gd name="connsiteX94" fmla="*/ 11781 w 970147"/>
                <a:gd name="connsiteY94" fmla="*/ 228596 h 712612"/>
                <a:gd name="connsiteX95" fmla="*/ 25501 w 970147"/>
                <a:gd name="connsiteY95" fmla="*/ 247748 h 712612"/>
                <a:gd name="connsiteX96" fmla="*/ 54604 w 970147"/>
                <a:gd name="connsiteY96" fmla="*/ 260582 h 712612"/>
                <a:gd name="connsiteX97" fmla="*/ 76400 w 970147"/>
                <a:gd name="connsiteY97" fmla="*/ 262454 h 712612"/>
                <a:gd name="connsiteX98" fmla="*/ 106152 w 970147"/>
                <a:gd name="connsiteY98" fmla="*/ 263791 h 712612"/>
                <a:gd name="connsiteX99" fmla="*/ 170325 w 970147"/>
                <a:gd name="connsiteY99" fmla="*/ 284213 h 712612"/>
                <a:gd name="connsiteX100" fmla="*/ 203771 w 970147"/>
                <a:gd name="connsiteY100" fmla="*/ 294240 h 712612"/>
                <a:gd name="connsiteX101" fmla="*/ 227435 w 970147"/>
                <a:gd name="connsiteY101" fmla="*/ 288892 h 712612"/>
                <a:gd name="connsiteX102" fmla="*/ 257390 w 970147"/>
                <a:gd name="connsiteY102" fmla="*/ 292234 h 712612"/>
                <a:gd name="connsiteX103" fmla="*/ 281744 w 970147"/>
                <a:gd name="connsiteY103" fmla="*/ 296913 h 712612"/>
                <a:gd name="connsiteX104" fmla="*/ 320629 w 970147"/>
                <a:gd name="connsiteY104" fmla="*/ 311052 h 712612"/>
                <a:gd name="connsiteX105" fmla="*/ 361219 w 970147"/>
                <a:gd name="connsiteY105" fmla="*/ 318238 h 712612"/>
                <a:gd name="connsiteX106" fmla="*/ 411712 w 970147"/>
                <a:gd name="connsiteY106" fmla="*/ 344977 h 712612"/>
                <a:gd name="connsiteX107" fmla="*/ 453479 w 970147"/>
                <a:gd name="connsiteY107" fmla="*/ 377063 h 712612"/>
                <a:gd name="connsiteX108" fmla="*/ 449907 w 970147"/>
                <a:gd name="connsiteY108" fmla="*/ 390967 h 712612"/>
                <a:gd name="connsiteX109" fmla="*/ 460906 w 970147"/>
                <a:gd name="connsiteY109" fmla="*/ 407245 h 712612"/>
                <a:gd name="connsiteX110" fmla="*/ 471257 w 970147"/>
                <a:gd name="connsiteY110" fmla="*/ 436891 h 712612"/>
                <a:gd name="connsiteX111" fmla="*/ 493988 w 970147"/>
                <a:gd name="connsiteY111" fmla="*/ 435554 h 712612"/>
                <a:gd name="connsiteX112" fmla="*/ 507545 w 970147"/>
                <a:gd name="connsiteY112" fmla="*/ 434987 h 712612"/>
                <a:gd name="connsiteX113" fmla="*/ 536282 w 970147"/>
                <a:gd name="connsiteY113" fmla="*/ 433081 h 712612"/>
                <a:gd name="connsiteX114" fmla="*/ 515663 w 970147"/>
                <a:gd name="connsiteY114" fmla="*/ 444011 h 712612"/>
                <a:gd name="connsiteX115" fmla="*/ 492121 w 970147"/>
                <a:gd name="connsiteY115" fmla="*/ 451464 h 712612"/>
                <a:gd name="connsiteX116" fmla="*/ 499386 w 970147"/>
                <a:gd name="connsiteY116" fmla="*/ 462060 h 712612"/>
                <a:gd name="connsiteX117" fmla="*/ 521872 w 970147"/>
                <a:gd name="connsiteY117" fmla="*/ 455375 h 712612"/>
                <a:gd name="connsiteX118" fmla="*/ 512253 w 970147"/>
                <a:gd name="connsiteY118" fmla="*/ 475763 h 712612"/>
                <a:gd name="connsiteX119" fmla="*/ 532142 w 970147"/>
                <a:gd name="connsiteY119" fmla="*/ 489667 h 712612"/>
                <a:gd name="connsiteX120" fmla="*/ 528489 w 970147"/>
                <a:gd name="connsiteY120" fmla="*/ 516039 h 712612"/>
                <a:gd name="connsiteX121" fmla="*/ 532792 w 970147"/>
                <a:gd name="connsiteY121" fmla="*/ 543412 h 712612"/>
                <a:gd name="connsiteX122" fmla="*/ 579753 w 970147"/>
                <a:gd name="connsiteY122" fmla="*/ 586429 h 712612"/>
                <a:gd name="connsiteX123" fmla="*/ 612225 w 970147"/>
                <a:gd name="connsiteY123" fmla="*/ 594183 h 712612"/>
                <a:gd name="connsiteX124" fmla="*/ 625701 w 970147"/>
                <a:gd name="connsiteY124" fmla="*/ 592946 h 712612"/>
                <a:gd name="connsiteX125" fmla="*/ 623469 w 970147"/>
                <a:gd name="connsiteY125" fmla="*/ 599330 h 712612"/>
                <a:gd name="connsiteX126" fmla="*/ 620141 w 970147"/>
                <a:gd name="connsiteY126" fmla="*/ 605647 h 712612"/>
                <a:gd name="connsiteX127" fmla="*/ 629638 w 970147"/>
                <a:gd name="connsiteY127" fmla="*/ 602305 h 712612"/>
                <a:gd name="connsiteX128" fmla="*/ 641126 w 970147"/>
                <a:gd name="connsiteY128" fmla="*/ 630280 h 712612"/>
                <a:gd name="connsiteX129" fmla="*/ 658985 w 970147"/>
                <a:gd name="connsiteY129" fmla="*/ 626671 h 712612"/>
                <a:gd name="connsiteX130" fmla="*/ 686992 w 970147"/>
                <a:gd name="connsiteY130" fmla="*/ 627874 h 712612"/>
                <a:gd name="connsiteX131" fmla="*/ 729652 w 970147"/>
                <a:gd name="connsiteY131" fmla="*/ 643884 h 712612"/>
                <a:gd name="connsiteX132" fmla="*/ 751204 w 970147"/>
                <a:gd name="connsiteY132" fmla="*/ 635762 h 712612"/>
                <a:gd name="connsiteX133" fmla="*/ 765898 w 970147"/>
                <a:gd name="connsiteY133" fmla="*/ 622392 h 712612"/>
                <a:gd name="connsiteX134" fmla="*/ 791470 w 970147"/>
                <a:gd name="connsiteY134" fmla="*/ 614471 h 712612"/>
                <a:gd name="connsiteX135" fmla="*/ 832506 w 970147"/>
                <a:gd name="connsiteY135" fmla="*/ 594985 h 712612"/>
                <a:gd name="connsiteX136" fmla="*/ 847727 w 970147"/>
                <a:gd name="connsiteY136" fmla="*/ 592478 h 712612"/>
                <a:gd name="connsiteX137" fmla="*/ 872081 w 970147"/>
                <a:gd name="connsiteY137" fmla="*/ 587732 h 712612"/>
                <a:gd name="connsiteX138" fmla="*/ 896435 w 970147"/>
                <a:gd name="connsiteY138" fmla="*/ 577170 h 712612"/>
                <a:gd name="connsiteX139" fmla="*/ 916730 w 970147"/>
                <a:gd name="connsiteY139" fmla="*/ 562531 h 712612"/>
                <a:gd name="connsiteX140" fmla="*/ 931017 w 970147"/>
                <a:gd name="connsiteY140" fmla="*/ 549930 h 712612"/>
                <a:gd name="connsiteX141" fmla="*/ 942748 w 970147"/>
                <a:gd name="connsiteY141" fmla="*/ 537798 h 712612"/>
                <a:gd name="connsiteX142" fmla="*/ 623387 w 970147"/>
                <a:gd name="connsiteY142" fmla="*/ 21904 h 712612"/>
                <a:gd name="connsiteX143" fmla="*/ 589130 w 970147"/>
                <a:gd name="connsiteY143" fmla="*/ 12145 h 712612"/>
                <a:gd name="connsiteX144" fmla="*/ 623265 w 970147"/>
                <a:gd name="connsiteY144" fmla="*/ 21904 h 712612"/>
                <a:gd name="connsiteX145" fmla="*/ 466427 w 970147"/>
                <a:gd name="connsiteY145" fmla="*/ 464499 h 712612"/>
                <a:gd name="connsiteX146" fmla="*/ 494272 w 970147"/>
                <a:gd name="connsiteY146" fmla="*/ 475061 h 712612"/>
                <a:gd name="connsiteX147" fmla="*/ 466305 w 970147"/>
                <a:gd name="connsiteY147" fmla="*/ 464499 h 712612"/>
                <a:gd name="connsiteX148" fmla="*/ 613727 w 970147"/>
                <a:gd name="connsiteY148" fmla="*/ 664005 h 712612"/>
                <a:gd name="connsiteX149" fmla="*/ 582352 w 970147"/>
                <a:gd name="connsiteY149" fmla="*/ 637934 h 712612"/>
                <a:gd name="connsiteX150" fmla="*/ 577359 w 970147"/>
                <a:gd name="connsiteY150" fmla="*/ 662467 h 712612"/>
                <a:gd name="connsiteX151" fmla="*/ 566887 w 970147"/>
                <a:gd name="connsiteY151" fmla="*/ 682087 h 712612"/>
                <a:gd name="connsiteX152" fmla="*/ 587182 w 970147"/>
                <a:gd name="connsiteY152" fmla="*/ 710564 h 712612"/>
                <a:gd name="connsiteX153" fmla="*/ 591849 w 970147"/>
                <a:gd name="connsiteY153" fmla="*/ 708792 h 712612"/>
                <a:gd name="connsiteX154" fmla="*/ 600333 w 970147"/>
                <a:gd name="connsiteY154" fmla="*/ 710363 h 712612"/>
                <a:gd name="connsiteX155" fmla="*/ 610561 w 970147"/>
                <a:gd name="connsiteY155" fmla="*/ 705918 h 712612"/>
                <a:gd name="connsiteX156" fmla="*/ 633982 w 970147"/>
                <a:gd name="connsiteY156" fmla="*/ 699768 h 712612"/>
                <a:gd name="connsiteX157" fmla="*/ 652166 w 970147"/>
                <a:gd name="connsiteY157" fmla="*/ 680516 h 712612"/>
                <a:gd name="connsiteX158" fmla="*/ 613606 w 970147"/>
                <a:gd name="connsiteY158" fmla="*/ 664005 h 712612"/>
                <a:gd name="connsiteX159" fmla="*/ 613606 w 970147"/>
                <a:gd name="connsiteY159" fmla="*/ 664005 h 71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970147" h="712612">
                  <a:moveTo>
                    <a:pt x="942383" y="537263"/>
                  </a:moveTo>
                  <a:cubicBezTo>
                    <a:pt x="953789" y="538065"/>
                    <a:pt x="944209" y="523325"/>
                    <a:pt x="945711" y="520551"/>
                  </a:cubicBezTo>
                  <a:cubicBezTo>
                    <a:pt x="947213" y="517777"/>
                    <a:pt x="970917" y="495683"/>
                    <a:pt x="970065" y="494748"/>
                  </a:cubicBezTo>
                  <a:cubicBezTo>
                    <a:pt x="966493" y="490837"/>
                    <a:pt x="957604" y="498090"/>
                    <a:pt x="955209" y="489467"/>
                  </a:cubicBezTo>
                  <a:cubicBezTo>
                    <a:pt x="953504" y="483317"/>
                    <a:pt x="956021" y="478136"/>
                    <a:pt x="956508" y="472421"/>
                  </a:cubicBezTo>
                  <a:cubicBezTo>
                    <a:pt x="956914" y="468410"/>
                    <a:pt x="956183" y="464399"/>
                    <a:pt x="954356" y="460656"/>
                  </a:cubicBezTo>
                  <a:cubicBezTo>
                    <a:pt x="952083" y="456344"/>
                    <a:pt x="947375" y="456177"/>
                    <a:pt x="944697" y="452801"/>
                  </a:cubicBezTo>
                  <a:cubicBezTo>
                    <a:pt x="942910" y="450529"/>
                    <a:pt x="945224" y="448055"/>
                    <a:pt x="945549" y="446116"/>
                  </a:cubicBezTo>
                  <a:cubicBezTo>
                    <a:pt x="946198" y="442173"/>
                    <a:pt x="938405" y="441337"/>
                    <a:pt x="937958" y="436992"/>
                  </a:cubicBezTo>
                  <a:cubicBezTo>
                    <a:pt x="937390" y="431644"/>
                    <a:pt x="951678" y="422185"/>
                    <a:pt x="948959" y="418542"/>
                  </a:cubicBezTo>
                  <a:cubicBezTo>
                    <a:pt x="944778" y="414464"/>
                    <a:pt x="939866" y="410921"/>
                    <a:pt x="934387" y="408013"/>
                  </a:cubicBezTo>
                  <a:cubicBezTo>
                    <a:pt x="922210" y="405373"/>
                    <a:pt x="923062" y="398187"/>
                    <a:pt x="930693" y="393842"/>
                  </a:cubicBezTo>
                  <a:cubicBezTo>
                    <a:pt x="941205" y="387892"/>
                    <a:pt x="923955" y="374891"/>
                    <a:pt x="929191" y="367103"/>
                  </a:cubicBezTo>
                  <a:cubicBezTo>
                    <a:pt x="935279" y="358012"/>
                    <a:pt x="920302" y="343907"/>
                    <a:pt x="911981" y="334281"/>
                  </a:cubicBezTo>
                  <a:cubicBezTo>
                    <a:pt x="907232" y="328499"/>
                    <a:pt x="901996" y="322984"/>
                    <a:pt x="896313" y="317803"/>
                  </a:cubicBezTo>
                  <a:cubicBezTo>
                    <a:pt x="886369" y="309113"/>
                    <a:pt x="900372" y="310450"/>
                    <a:pt x="896882" y="303632"/>
                  </a:cubicBezTo>
                  <a:cubicBezTo>
                    <a:pt x="892052" y="294373"/>
                    <a:pt x="905364" y="287689"/>
                    <a:pt x="906460" y="280035"/>
                  </a:cubicBezTo>
                  <a:cubicBezTo>
                    <a:pt x="907314" y="274152"/>
                    <a:pt x="898545" y="265796"/>
                    <a:pt x="903051" y="260883"/>
                  </a:cubicBezTo>
                  <a:cubicBezTo>
                    <a:pt x="907556" y="255970"/>
                    <a:pt x="914376" y="245140"/>
                    <a:pt x="915228" y="239057"/>
                  </a:cubicBezTo>
                  <a:cubicBezTo>
                    <a:pt x="913523" y="232272"/>
                    <a:pt x="910641" y="225721"/>
                    <a:pt x="906704" y="219605"/>
                  </a:cubicBezTo>
                  <a:cubicBezTo>
                    <a:pt x="899804" y="213956"/>
                    <a:pt x="880930" y="214591"/>
                    <a:pt x="884908" y="204832"/>
                  </a:cubicBezTo>
                  <a:cubicBezTo>
                    <a:pt x="887911" y="197245"/>
                    <a:pt x="896070" y="192231"/>
                    <a:pt x="899114" y="184543"/>
                  </a:cubicBezTo>
                  <a:cubicBezTo>
                    <a:pt x="902159" y="176856"/>
                    <a:pt x="900007" y="171174"/>
                    <a:pt x="898424" y="162985"/>
                  </a:cubicBezTo>
                  <a:cubicBezTo>
                    <a:pt x="897125" y="156301"/>
                    <a:pt x="905162" y="148680"/>
                    <a:pt x="901549" y="142329"/>
                  </a:cubicBezTo>
                  <a:cubicBezTo>
                    <a:pt x="898586" y="137282"/>
                    <a:pt x="882594" y="141928"/>
                    <a:pt x="880239" y="143265"/>
                  </a:cubicBezTo>
                  <a:cubicBezTo>
                    <a:pt x="876790" y="145237"/>
                    <a:pt x="875816" y="148780"/>
                    <a:pt x="872487" y="150919"/>
                  </a:cubicBezTo>
                  <a:cubicBezTo>
                    <a:pt x="869159" y="153059"/>
                    <a:pt x="864044" y="152423"/>
                    <a:pt x="861203" y="154262"/>
                  </a:cubicBezTo>
                  <a:cubicBezTo>
                    <a:pt x="856333" y="157604"/>
                    <a:pt x="857144" y="167631"/>
                    <a:pt x="848377" y="167865"/>
                  </a:cubicBezTo>
                  <a:cubicBezTo>
                    <a:pt x="838676" y="168199"/>
                    <a:pt x="834942" y="181469"/>
                    <a:pt x="831654" y="186482"/>
                  </a:cubicBezTo>
                  <a:cubicBezTo>
                    <a:pt x="821912" y="201289"/>
                    <a:pt x="806529" y="210814"/>
                    <a:pt x="786071" y="217299"/>
                  </a:cubicBezTo>
                  <a:cubicBezTo>
                    <a:pt x="775518" y="220641"/>
                    <a:pt x="763139" y="217299"/>
                    <a:pt x="754167" y="209177"/>
                  </a:cubicBezTo>
                  <a:cubicBezTo>
                    <a:pt x="745197" y="201055"/>
                    <a:pt x="751651" y="194871"/>
                    <a:pt x="743655" y="187518"/>
                  </a:cubicBezTo>
                  <a:cubicBezTo>
                    <a:pt x="736552" y="180833"/>
                    <a:pt x="727419" y="179396"/>
                    <a:pt x="723847" y="171341"/>
                  </a:cubicBezTo>
                  <a:cubicBezTo>
                    <a:pt x="719788" y="161949"/>
                    <a:pt x="716744" y="153059"/>
                    <a:pt x="703269" y="147343"/>
                  </a:cubicBezTo>
                  <a:cubicBezTo>
                    <a:pt x="692268" y="142664"/>
                    <a:pt x="698357" y="135645"/>
                    <a:pt x="694055" y="128693"/>
                  </a:cubicBezTo>
                  <a:cubicBezTo>
                    <a:pt x="691011" y="124916"/>
                    <a:pt x="688209" y="121005"/>
                    <a:pt x="685693" y="116961"/>
                  </a:cubicBezTo>
                  <a:cubicBezTo>
                    <a:pt x="683989" y="113084"/>
                    <a:pt x="699210" y="115223"/>
                    <a:pt x="701929" y="114253"/>
                  </a:cubicBezTo>
                  <a:cubicBezTo>
                    <a:pt x="710655" y="111212"/>
                    <a:pt x="700752" y="98344"/>
                    <a:pt x="713700" y="101553"/>
                  </a:cubicBezTo>
                  <a:cubicBezTo>
                    <a:pt x="719301" y="102956"/>
                    <a:pt x="727460" y="105597"/>
                    <a:pt x="732534" y="104093"/>
                  </a:cubicBezTo>
                  <a:cubicBezTo>
                    <a:pt x="736105" y="103023"/>
                    <a:pt x="734928" y="99681"/>
                    <a:pt x="737892" y="98411"/>
                  </a:cubicBezTo>
                  <a:cubicBezTo>
                    <a:pt x="740855" y="97141"/>
                    <a:pt x="748648" y="100851"/>
                    <a:pt x="748160" y="96172"/>
                  </a:cubicBezTo>
                  <a:cubicBezTo>
                    <a:pt x="746781" y="91826"/>
                    <a:pt x="742803" y="88350"/>
                    <a:pt x="737648" y="86913"/>
                  </a:cubicBezTo>
                  <a:cubicBezTo>
                    <a:pt x="730910" y="85843"/>
                    <a:pt x="726567" y="94968"/>
                    <a:pt x="726445" y="84039"/>
                  </a:cubicBezTo>
                  <a:cubicBezTo>
                    <a:pt x="726445" y="76217"/>
                    <a:pt x="723239" y="78156"/>
                    <a:pt x="714268" y="78022"/>
                  </a:cubicBezTo>
                  <a:cubicBezTo>
                    <a:pt x="703999" y="77856"/>
                    <a:pt x="703228" y="71338"/>
                    <a:pt x="697221" y="66157"/>
                  </a:cubicBezTo>
                  <a:cubicBezTo>
                    <a:pt x="688940" y="59238"/>
                    <a:pt x="680011" y="52854"/>
                    <a:pt x="670553" y="47072"/>
                  </a:cubicBezTo>
                  <a:cubicBezTo>
                    <a:pt x="659350" y="39986"/>
                    <a:pt x="657524" y="35675"/>
                    <a:pt x="651436" y="26784"/>
                  </a:cubicBezTo>
                  <a:cubicBezTo>
                    <a:pt x="645347" y="17893"/>
                    <a:pt x="643318" y="27352"/>
                    <a:pt x="646159" y="32466"/>
                  </a:cubicBezTo>
                  <a:cubicBezTo>
                    <a:pt x="649893" y="39151"/>
                    <a:pt x="649974" y="42092"/>
                    <a:pt x="639421" y="39886"/>
                  </a:cubicBezTo>
                  <a:cubicBezTo>
                    <a:pt x="630126" y="37847"/>
                    <a:pt x="621236" y="34739"/>
                    <a:pt x="612997" y="30661"/>
                  </a:cubicBezTo>
                  <a:cubicBezTo>
                    <a:pt x="610114" y="28723"/>
                    <a:pt x="607111" y="26951"/>
                    <a:pt x="603946" y="25313"/>
                  </a:cubicBezTo>
                  <a:cubicBezTo>
                    <a:pt x="601104" y="24378"/>
                    <a:pt x="602728" y="29157"/>
                    <a:pt x="600292" y="29291"/>
                  </a:cubicBezTo>
                  <a:cubicBezTo>
                    <a:pt x="596233" y="29291"/>
                    <a:pt x="593798" y="26417"/>
                    <a:pt x="589008" y="27586"/>
                  </a:cubicBezTo>
                  <a:cubicBezTo>
                    <a:pt x="584503" y="29124"/>
                    <a:pt x="580119" y="30862"/>
                    <a:pt x="575857" y="32800"/>
                  </a:cubicBezTo>
                  <a:cubicBezTo>
                    <a:pt x="567334" y="36243"/>
                    <a:pt x="558362" y="38884"/>
                    <a:pt x="549150" y="40722"/>
                  </a:cubicBezTo>
                  <a:cubicBezTo>
                    <a:pt x="536973" y="42794"/>
                    <a:pt x="553533" y="57433"/>
                    <a:pt x="546348" y="59138"/>
                  </a:cubicBezTo>
                  <a:cubicBezTo>
                    <a:pt x="537012" y="61545"/>
                    <a:pt x="531655" y="42092"/>
                    <a:pt x="523050" y="40588"/>
                  </a:cubicBezTo>
                  <a:cubicBezTo>
                    <a:pt x="520412" y="40154"/>
                    <a:pt x="507950" y="50983"/>
                    <a:pt x="509695" y="39919"/>
                  </a:cubicBezTo>
                  <a:cubicBezTo>
                    <a:pt x="511157" y="30461"/>
                    <a:pt x="511765" y="34405"/>
                    <a:pt x="503810" y="25681"/>
                  </a:cubicBezTo>
                  <a:cubicBezTo>
                    <a:pt x="498412" y="19798"/>
                    <a:pt x="500603" y="13281"/>
                    <a:pt x="492121" y="7131"/>
                  </a:cubicBezTo>
                  <a:cubicBezTo>
                    <a:pt x="488995" y="4825"/>
                    <a:pt x="466508" y="1683"/>
                    <a:pt x="463423" y="2752"/>
                  </a:cubicBezTo>
                  <a:cubicBezTo>
                    <a:pt x="452343" y="6663"/>
                    <a:pt x="461150" y="11543"/>
                    <a:pt x="445321" y="2251"/>
                  </a:cubicBezTo>
                  <a:cubicBezTo>
                    <a:pt x="432413" y="-5369"/>
                    <a:pt x="436959" y="6429"/>
                    <a:pt x="431723" y="4658"/>
                  </a:cubicBezTo>
                  <a:cubicBezTo>
                    <a:pt x="424782" y="3989"/>
                    <a:pt x="417719" y="4290"/>
                    <a:pt x="410901" y="5527"/>
                  </a:cubicBezTo>
                  <a:cubicBezTo>
                    <a:pt x="406313" y="8668"/>
                    <a:pt x="405136" y="23241"/>
                    <a:pt x="396653" y="15855"/>
                  </a:cubicBezTo>
                  <a:cubicBezTo>
                    <a:pt x="391214" y="11108"/>
                    <a:pt x="380418" y="4357"/>
                    <a:pt x="382163" y="14016"/>
                  </a:cubicBezTo>
                  <a:cubicBezTo>
                    <a:pt x="383908" y="23676"/>
                    <a:pt x="381473" y="24812"/>
                    <a:pt x="370230" y="26450"/>
                  </a:cubicBezTo>
                  <a:cubicBezTo>
                    <a:pt x="363329" y="27453"/>
                    <a:pt x="366860" y="12345"/>
                    <a:pt x="367753" y="10908"/>
                  </a:cubicBezTo>
                  <a:cubicBezTo>
                    <a:pt x="371082" y="5560"/>
                    <a:pt x="341167" y="8134"/>
                    <a:pt x="337839" y="13548"/>
                  </a:cubicBezTo>
                  <a:cubicBezTo>
                    <a:pt x="335363" y="17526"/>
                    <a:pt x="338447" y="26082"/>
                    <a:pt x="330898" y="26517"/>
                  </a:cubicBezTo>
                  <a:cubicBezTo>
                    <a:pt x="321075" y="27252"/>
                    <a:pt x="311334" y="28522"/>
                    <a:pt x="301713" y="30327"/>
                  </a:cubicBezTo>
                  <a:cubicBezTo>
                    <a:pt x="291283" y="32098"/>
                    <a:pt x="281419" y="35808"/>
                    <a:pt x="269648" y="32901"/>
                  </a:cubicBezTo>
                  <a:cubicBezTo>
                    <a:pt x="260475" y="30661"/>
                    <a:pt x="247283" y="22573"/>
                    <a:pt x="238028" y="23575"/>
                  </a:cubicBezTo>
                  <a:cubicBezTo>
                    <a:pt x="228774" y="24578"/>
                    <a:pt x="221225" y="18361"/>
                    <a:pt x="212254" y="19030"/>
                  </a:cubicBezTo>
                  <a:cubicBezTo>
                    <a:pt x="205719" y="19765"/>
                    <a:pt x="199143" y="19999"/>
                    <a:pt x="192568" y="19765"/>
                  </a:cubicBezTo>
                  <a:cubicBezTo>
                    <a:pt x="184044" y="19164"/>
                    <a:pt x="181690" y="10774"/>
                    <a:pt x="169229" y="9237"/>
                  </a:cubicBezTo>
                  <a:cubicBezTo>
                    <a:pt x="152993" y="7231"/>
                    <a:pt x="139964" y="12980"/>
                    <a:pt x="123240" y="9671"/>
                  </a:cubicBezTo>
                  <a:cubicBezTo>
                    <a:pt x="116015" y="8267"/>
                    <a:pt x="112322" y="6697"/>
                    <a:pt x="107005" y="10106"/>
                  </a:cubicBezTo>
                  <a:cubicBezTo>
                    <a:pt x="106437" y="10440"/>
                    <a:pt x="98887" y="16456"/>
                    <a:pt x="97426" y="14284"/>
                  </a:cubicBezTo>
                  <a:cubicBezTo>
                    <a:pt x="96249" y="12746"/>
                    <a:pt x="101850" y="3354"/>
                    <a:pt x="101119" y="3287"/>
                  </a:cubicBezTo>
                  <a:cubicBezTo>
                    <a:pt x="83544" y="1883"/>
                    <a:pt x="82083" y="15219"/>
                    <a:pt x="80297" y="23341"/>
                  </a:cubicBezTo>
                  <a:cubicBezTo>
                    <a:pt x="77902" y="34204"/>
                    <a:pt x="53345" y="31965"/>
                    <a:pt x="54766" y="46404"/>
                  </a:cubicBezTo>
                  <a:cubicBezTo>
                    <a:pt x="55578" y="54592"/>
                    <a:pt x="69215" y="71806"/>
                    <a:pt x="58256" y="77621"/>
                  </a:cubicBezTo>
                  <a:cubicBezTo>
                    <a:pt x="52086" y="80964"/>
                    <a:pt x="51681" y="63684"/>
                    <a:pt x="48474" y="64252"/>
                  </a:cubicBezTo>
                  <a:cubicBezTo>
                    <a:pt x="43928" y="65188"/>
                    <a:pt x="54522" y="75816"/>
                    <a:pt x="49164" y="77856"/>
                  </a:cubicBezTo>
                  <a:cubicBezTo>
                    <a:pt x="45674" y="79192"/>
                    <a:pt x="41656" y="67628"/>
                    <a:pt x="41046" y="66291"/>
                  </a:cubicBezTo>
                  <a:cubicBezTo>
                    <a:pt x="38246" y="61010"/>
                    <a:pt x="36054" y="63750"/>
                    <a:pt x="36419" y="67394"/>
                  </a:cubicBezTo>
                  <a:cubicBezTo>
                    <a:pt x="37190" y="74947"/>
                    <a:pt x="39585" y="82601"/>
                    <a:pt x="41006" y="90189"/>
                  </a:cubicBezTo>
                  <a:cubicBezTo>
                    <a:pt x="43563" y="103558"/>
                    <a:pt x="41858" y="114922"/>
                    <a:pt x="45836" y="128592"/>
                  </a:cubicBezTo>
                  <a:cubicBezTo>
                    <a:pt x="48393" y="137483"/>
                    <a:pt x="43928" y="142697"/>
                    <a:pt x="41980" y="150618"/>
                  </a:cubicBezTo>
                  <a:cubicBezTo>
                    <a:pt x="40275" y="159743"/>
                    <a:pt x="40600" y="169035"/>
                    <a:pt x="42873" y="178093"/>
                  </a:cubicBezTo>
                  <a:cubicBezTo>
                    <a:pt x="43726" y="182505"/>
                    <a:pt x="46931" y="187886"/>
                    <a:pt x="42873" y="191195"/>
                  </a:cubicBezTo>
                  <a:cubicBezTo>
                    <a:pt x="36135" y="196777"/>
                    <a:pt x="30453" y="203194"/>
                    <a:pt x="26069" y="210179"/>
                  </a:cubicBezTo>
                  <a:cubicBezTo>
                    <a:pt x="20265" y="218602"/>
                    <a:pt x="13648" y="212151"/>
                    <a:pt x="4434" y="212820"/>
                  </a:cubicBezTo>
                  <a:cubicBezTo>
                    <a:pt x="-8270" y="213756"/>
                    <a:pt x="9792" y="226657"/>
                    <a:pt x="11781" y="228596"/>
                  </a:cubicBezTo>
                  <a:cubicBezTo>
                    <a:pt x="18154" y="234813"/>
                    <a:pt x="15840" y="241798"/>
                    <a:pt x="25501" y="247748"/>
                  </a:cubicBezTo>
                  <a:cubicBezTo>
                    <a:pt x="34593" y="252895"/>
                    <a:pt x="44375" y="257173"/>
                    <a:pt x="54604" y="260582"/>
                  </a:cubicBezTo>
                  <a:cubicBezTo>
                    <a:pt x="61219" y="263691"/>
                    <a:pt x="69135" y="264359"/>
                    <a:pt x="76400" y="262454"/>
                  </a:cubicBezTo>
                  <a:cubicBezTo>
                    <a:pt x="87075" y="260415"/>
                    <a:pt x="96249" y="267601"/>
                    <a:pt x="106152" y="263791"/>
                  </a:cubicBezTo>
                  <a:cubicBezTo>
                    <a:pt x="123362" y="257106"/>
                    <a:pt x="154860" y="276859"/>
                    <a:pt x="170325" y="284213"/>
                  </a:cubicBezTo>
                  <a:cubicBezTo>
                    <a:pt x="180513" y="288959"/>
                    <a:pt x="192243" y="293671"/>
                    <a:pt x="203771" y="294240"/>
                  </a:cubicBezTo>
                  <a:cubicBezTo>
                    <a:pt x="213634" y="294641"/>
                    <a:pt x="218383" y="288792"/>
                    <a:pt x="227435" y="288892"/>
                  </a:cubicBezTo>
                  <a:cubicBezTo>
                    <a:pt x="237217" y="288892"/>
                    <a:pt x="247730" y="293371"/>
                    <a:pt x="257390" y="292234"/>
                  </a:cubicBezTo>
                  <a:cubicBezTo>
                    <a:pt x="265914" y="291499"/>
                    <a:pt x="274478" y="293137"/>
                    <a:pt x="281744" y="296913"/>
                  </a:cubicBezTo>
                  <a:cubicBezTo>
                    <a:pt x="294854" y="302629"/>
                    <a:pt x="306098" y="308244"/>
                    <a:pt x="320629" y="311052"/>
                  </a:cubicBezTo>
                  <a:cubicBezTo>
                    <a:pt x="334104" y="313692"/>
                    <a:pt x="348108" y="313893"/>
                    <a:pt x="361219" y="318238"/>
                  </a:cubicBezTo>
                  <a:cubicBezTo>
                    <a:pt x="378632" y="323953"/>
                    <a:pt x="405339" y="330905"/>
                    <a:pt x="411712" y="344977"/>
                  </a:cubicBezTo>
                  <a:cubicBezTo>
                    <a:pt x="417882" y="358346"/>
                    <a:pt x="444184" y="363894"/>
                    <a:pt x="453479" y="377063"/>
                  </a:cubicBezTo>
                  <a:cubicBezTo>
                    <a:pt x="461597" y="388929"/>
                    <a:pt x="456076" y="382311"/>
                    <a:pt x="449907" y="390967"/>
                  </a:cubicBezTo>
                  <a:cubicBezTo>
                    <a:pt x="447918" y="393775"/>
                    <a:pt x="459364" y="404137"/>
                    <a:pt x="460906" y="407245"/>
                  </a:cubicBezTo>
                  <a:cubicBezTo>
                    <a:pt x="465575" y="416537"/>
                    <a:pt x="445239" y="442941"/>
                    <a:pt x="471257" y="436891"/>
                  </a:cubicBezTo>
                  <a:cubicBezTo>
                    <a:pt x="478848" y="435120"/>
                    <a:pt x="485221" y="433148"/>
                    <a:pt x="493988" y="435554"/>
                  </a:cubicBezTo>
                  <a:cubicBezTo>
                    <a:pt x="499589" y="437126"/>
                    <a:pt x="503932" y="438596"/>
                    <a:pt x="507545" y="434987"/>
                  </a:cubicBezTo>
                  <a:cubicBezTo>
                    <a:pt x="511157" y="431376"/>
                    <a:pt x="534577" y="420715"/>
                    <a:pt x="536282" y="433081"/>
                  </a:cubicBezTo>
                  <a:cubicBezTo>
                    <a:pt x="536891" y="437527"/>
                    <a:pt x="519234" y="441638"/>
                    <a:pt x="515663" y="444011"/>
                  </a:cubicBezTo>
                  <a:cubicBezTo>
                    <a:pt x="507545" y="449392"/>
                    <a:pt x="504379" y="455174"/>
                    <a:pt x="492121" y="451464"/>
                  </a:cubicBezTo>
                  <a:cubicBezTo>
                    <a:pt x="484003" y="448991"/>
                    <a:pt x="495327" y="460556"/>
                    <a:pt x="499386" y="462060"/>
                  </a:cubicBezTo>
                  <a:cubicBezTo>
                    <a:pt x="510183" y="466003"/>
                    <a:pt x="515622" y="451063"/>
                    <a:pt x="521872" y="455375"/>
                  </a:cubicBezTo>
                  <a:cubicBezTo>
                    <a:pt x="536526" y="465602"/>
                    <a:pt x="518342" y="471485"/>
                    <a:pt x="512253" y="475763"/>
                  </a:cubicBezTo>
                  <a:cubicBezTo>
                    <a:pt x="507504" y="479105"/>
                    <a:pt x="529422" y="484788"/>
                    <a:pt x="532142" y="489667"/>
                  </a:cubicBezTo>
                  <a:cubicBezTo>
                    <a:pt x="537500" y="499227"/>
                    <a:pt x="536201" y="509487"/>
                    <a:pt x="528489" y="516039"/>
                  </a:cubicBezTo>
                  <a:cubicBezTo>
                    <a:pt x="517976" y="524963"/>
                    <a:pt x="524430" y="532516"/>
                    <a:pt x="532792" y="543412"/>
                  </a:cubicBezTo>
                  <a:cubicBezTo>
                    <a:pt x="544969" y="559389"/>
                    <a:pt x="567820" y="569115"/>
                    <a:pt x="579753" y="586429"/>
                  </a:cubicBezTo>
                  <a:cubicBezTo>
                    <a:pt x="586370" y="596055"/>
                    <a:pt x="601347" y="597692"/>
                    <a:pt x="612225" y="594183"/>
                  </a:cubicBezTo>
                  <a:cubicBezTo>
                    <a:pt x="615919" y="592980"/>
                    <a:pt x="621074" y="588334"/>
                    <a:pt x="625701" y="592946"/>
                  </a:cubicBezTo>
                  <a:cubicBezTo>
                    <a:pt x="628096" y="595353"/>
                    <a:pt x="628502" y="599898"/>
                    <a:pt x="623469" y="599330"/>
                  </a:cubicBezTo>
                  <a:cubicBezTo>
                    <a:pt x="618436" y="598762"/>
                    <a:pt x="617502" y="602672"/>
                    <a:pt x="620141" y="605647"/>
                  </a:cubicBezTo>
                  <a:cubicBezTo>
                    <a:pt x="622779" y="608622"/>
                    <a:pt x="627000" y="602506"/>
                    <a:pt x="629638" y="602305"/>
                  </a:cubicBezTo>
                  <a:cubicBezTo>
                    <a:pt x="631627" y="602038"/>
                    <a:pt x="638771" y="628442"/>
                    <a:pt x="641126" y="630280"/>
                  </a:cubicBezTo>
                  <a:cubicBezTo>
                    <a:pt x="638447" y="628242"/>
                    <a:pt x="656793" y="626136"/>
                    <a:pt x="658985" y="626671"/>
                  </a:cubicBezTo>
                  <a:cubicBezTo>
                    <a:pt x="668442" y="628943"/>
                    <a:pt x="677819" y="627907"/>
                    <a:pt x="686992" y="627874"/>
                  </a:cubicBezTo>
                  <a:cubicBezTo>
                    <a:pt x="700265" y="627874"/>
                    <a:pt x="718124" y="637901"/>
                    <a:pt x="729652" y="643884"/>
                  </a:cubicBezTo>
                  <a:cubicBezTo>
                    <a:pt x="741179" y="649866"/>
                    <a:pt x="744833" y="641611"/>
                    <a:pt x="751204" y="635762"/>
                  </a:cubicBezTo>
                  <a:cubicBezTo>
                    <a:pt x="756117" y="631283"/>
                    <a:pt x="760865" y="626671"/>
                    <a:pt x="765898" y="622392"/>
                  </a:cubicBezTo>
                  <a:cubicBezTo>
                    <a:pt x="772393" y="616711"/>
                    <a:pt x="782662" y="617312"/>
                    <a:pt x="791470" y="614471"/>
                  </a:cubicBezTo>
                  <a:cubicBezTo>
                    <a:pt x="806285" y="609692"/>
                    <a:pt x="816554" y="599531"/>
                    <a:pt x="832506" y="594985"/>
                  </a:cubicBezTo>
                  <a:cubicBezTo>
                    <a:pt x="835997" y="594016"/>
                    <a:pt x="843222" y="591141"/>
                    <a:pt x="847727" y="592478"/>
                  </a:cubicBezTo>
                  <a:cubicBezTo>
                    <a:pt x="859904" y="596155"/>
                    <a:pt x="863963" y="591743"/>
                    <a:pt x="872081" y="587732"/>
                  </a:cubicBezTo>
                  <a:cubicBezTo>
                    <a:pt x="880199" y="583721"/>
                    <a:pt x="891239" y="583387"/>
                    <a:pt x="896435" y="577170"/>
                  </a:cubicBezTo>
                  <a:cubicBezTo>
                    <a:pt x="900819" y="571990"/>
                    <a:pt x="914741" y="568547"/>
                    <a:pt x="916730" y="562531"/>
                  </a:cubicBezTo>
                  <a:cubicBezTo>
                    <a:pt x="918718" y="556515"/>
                    <a:pt x="921803" y="550599"/>
                    <a:pt x="931017" y="549930"/>
                  </a:cubicBezTo>
                  <a:cubicBezTo>
                    <a:pt x="939135" y="549362"/>
                    <a:pt x="937268" y="537430"/>
                    <a:pt x="942748" y="537798"/>
                  </a:cubicBezTo>
                  <a:close/>
                  <a:moveTo>
                    <a:pt x="623387" y="21904"/>
                  </a:moveTo>
                  <a:cubicBezTo>
                    <a:pt x="625052" y="17392"/>
                    <a:pt x="583690" y="4390"/>
                    <a:pt x="589130" y="12145"/>
                  </a:cubicBezTo>
                  <a:cubicBezTo>
                    <a:pt x="592580" y="17259"/>
                    <a:pt x="621724" y="26350"/>
                    <a:pt x="623265" y="21904"/>
                  </a:cubicBezTo>
                  <a:close/>
                  <a:moveTo>
                    <a:pt x="466427" y="464499"/>
                  </a:moveTo>
                  <a:cubicBezTo>
                    <a:pt x="469431" y="470349"/>
                    <a:pt x="488062" y="478170"/>
                    <a:pt x="494272" y="475061"/>
                  </a:cubicBezTo>
                  <a:cubicBezTo>
                    <a:pt x="500481" y="471953"/>
                    <a:pt x="463423" y="459185"/>
                    <a:pt x="466305" y="464499"/>
                  </a:cubicBezTo>
                  <a:close/>
                  <a:moveTo>
                    <a:pt x="613727" y="664005"/>
                  </a:moveTo>
                  <a:cubicBezTo>
                    <a:pt x="608857" y="661866"/>
                    <a:pt x="583975" y="637266"/>
                    <a:pt x="582352" y="637934"/>
                  </a:cubicBezTo>
                  <a:cubicBezTo>
                    <a:pt x="576466" y="640876"/>
                    <a:pt x="578698" y="657320"/>
                    <a:pt x="577359" y="662467"/>
                  </a:cubicBezTo>
                  <a:cubicBezTo>
                    <a:pt x="575127" y="670957"/>
                    <a:pt x="565182" y="672494"/>
                    <a:pt x="566887" y="682087"/>
                  </a:cubicBezTo>
                  <a:cubicBezTo>
                    <a:pt x="567820" y="687301"/>
                    <a:pt x="575330" y="712770"/>
                    <a:pt x="587182" y="710564"/>
                  </a:cubicBezTo>
                  <a:cubicBezTo>
                    <a:pt x="588805" y="710096"/>
                    <a:pt x="590388" y="709494"/>
                    <a:pt x="591849" y="708792"/>
                  </a:cubicBezTo>
                  <a:cubicBezTo>
                    <a:pt x="595462" y="707456"/>
                    <a:pt x="596842" y="710631"/>
                    <a:pt x="600333" y="710363"/>
                  </a:cubicBezTo>
                  <a:cubicBezTo>
                    <a:pt x="603824" y="710096"/>
                    <a:pt x="607030" y="700604"/>
                    <a:pt x="610561" y="705918"/>
                  </a:cubicBezTo>
                  <a:cubicBezTo>
                    <a:pt x="621967" y="723098"/>
                    <a:pt x="623794" y="700035"/>
                    <a:pt x="633982" y="699768"/>
                  </a:cubicBezTo>
                  <a:cubicBezTo>
                    <a:pt x="646808" y="699467"/>
                    <a:pt x="649000" y="689975"/>
                    <a:pt x="652166" y="680516"/>
                  </a:cubicBezTo>
                  <a:cubicBezTo>
                    <a:pt x="655698" y="669954"/>
                    <a:pt x="622657" y="667949"/>
                    <a:pt x="613606" y="664005"/>
                  </a:cubicBezTo>
                  <a:cubicBezTo>
                    <a:pt x="600292" y="658222"/>
                    <a:pt x="626919" y="669854"/>
                    <a:pt x="613606" y="66400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B64AC466-E4B5-4618-BCCB-073A06F314F0}"/>
                </a:ext>
              </a:extLst>
            </p:cNvPr>
            <p:cNvSpPr/>
            <p:nvPr/>
          </p:nvSpPr>
          <p:spPr>
            <a:xfrm>
              <a:off x="9561963" y="6602797"/>
              <a:ext cx="367600" cy="141023"/>
            </a:xfrm>
            <a:custGeom>
              <a:avLst/>
              <a:gdLst>
                <a:gd name="connsiteX0" fmla="*/ 226265 w 367600"/>
                <a:gd name="connsiteY0" fmla="*/ 106307 h 141023"/>
                <a:gd name="connsiteX1" fmla="*/ 202317 w 367600"/>
                <a:gd name="connsiteY1" fmla="*/ 90364 h 141023"/>
                <a:gd name="connsiteX2" fmla="*/ 183524 w 367600"/>
                <a:gd name="connsiteY2" fmla="*/ 82309 h 141023"/>
                <a:gd name="connsiteX3" fmla="*/ 156451 w 367600"/>
                <a:gd name="connsiteY3" fmla="*/ 86988 h 141023"/>
                <a:gd name="connsiteX4" fmla="*/ 115333 w 367600"/>
                <a:gd name="connsiteY4" fmla="*/ 91066 h 141023"/>
                <a:gd name="connsiteX5" fmla="*/ 76123 w 367600"/>
                <a:gd name="connsiteY5" fmla="*/ 81841 h 141023"/>
                <a:gd name="connsiteX6" fmla="*/ 45640 w 367600"/>
                <a:gd name="connsiteY6" fmla="*/ 79969 h 141023"/>
                <a:gd name="connsiteX7" fmla="*/ 13858 w 367600"/>
                <a:gd name="connsiteY7" fmla="*/ 81908 h 141023"/>
                <a:gd name="connsiteX8" fmla="*/ 11302 w 367600"/>
                <a:gd name="connsiteY8" fmla="*/ 103833 h 141023"/>
                <a:gd name="connsiteX9" fmla="*/ 27538 w 367600"/>
                <a:gd name="connsiteY9" fmla="*/ 126595 h 141023"/>
                <a:gd name="connsiteX10" fmla="*/ 70968 w 367600"/>
                <a:gd name="connsiteY10" fmla="*/ 138761 h 141023"/>
                <a:gd name="connsiteX11" fmla="*/ 128282 w 367600"/>
                <a:gd name="connsiteY11" fmla="*/ 123419 h 141023"/>
                <a:gd name="connsiteX12" fmla="*/ 157425 w 367600"/>
                <a:gd name="connsiteY12" fmla="*/ 135853 h 141023"/>
                <a:gd name="connsiteX13" fmla="*/ 175487 w 367600"/>
                <a:gd name="connsiteY13" fmla="*/ 127664 h 141023"/>
                <a:gd name="connsiteX14" fmla="*/ 188030 w 367600"/>
                <a:gd name="connsiteY14" fmla="*/ 123654 h 141023"/>
                <a:gd name="connsiteX15" fmla="*/ 205889 w 367600"/>
                <a:gd name="connsiteY15" fmla="*/ 122551 h 141023"/>
                <a:gd name="connsiteX16" fmla="*/ 226184 w 367600"/>
                <a:gd name="connsiteY16" fmla="*/ 106307 h 141023"/>
                <a:gd name="connsiteX17" fmla="*/ 1073 w 367600"/>
                <a:gd name="connsiteY17" fmla="*/ 122417 h 141023"/>
                <a:gd name="connsiteX18" fmla="*/ 14102 w 367600"/>
                <a:gd name="connsiteY18" fmla="*/ 121347 h 141023"/>
                <a:gd name="connsiteX19" fmla="*/ 1073 w 367600"/>
                <a:gd name="connsiteY19" fmla="*/ 122417 h 141023"/>
                <a:gd name="connsiteX20" fmla="*/ 345193 w 367600"/>
                <a:gd name="connsiteY20" fmla="*/ 110451 h 141023"/>
                <a:gd name="connsiteX21" fmla="*/ 321570 w 367600"/>
                <a:gd name="connsiteY21" fmla="*/ 82208 h 141023"/>
                <a:gd name="connsiteX22" fmla="*/ 329403 w 367600"/>
                <a:gd name="connsiteY22" fmla="*/ 69474 h 141023"/>
                <a:gd name="connsiteX23" fmla="*/ 320595 w 367600"/>
                <a:gd name="connsiteY23" fmla="*/ 65764 h 141023"/>
                <a:gd name="connsiteX24" fmla="*/ 310123 w 367600"/>
                <a:gd name="connsiteY24" fmla="*/ 54132 h 141023"/>
                <a:gd name="connsiteX25" fmla="*/ 320839 w 367600"/>
                <a:gd name="connsiteY25" fmla="*/ 27394 h 141023"/>
                <a:gd name="connsiteX26" fmla="*/ 301234 w 367600"/>
                <a:gd name="connsiteY26" fmla="*/ 421 h 141023"/>
                <a:gd name="connsiteX27" fmla="*/ 302696 w 367600"/>
                <a:gd name="connsiteY27" fmla="*/ 32407 h 141023"/>
                <a:gd name="connsiteX28" fmla="*/ 300585 w 367600"/>
                <a:gd name="connsiteY28" fmla="*/ 42902 h 141023"/>
                <a:gd name="connsiteX29" fmla="*/ 304278 w 367600"/>
                <a:gd name="connsiteY29" fmla="*/ 58644 h 141023"/>
                <a:gd name="connsiteX30" fmla="*/ 273511 w 367600"/>
                <a:gd name="connsiteY30" fmla="*/ 77462 h 141023"/>
                <a:gd name="connsiteX31" fmla="*/ 249157 w 367600"/>
                <a:gd name="connsiteY31" fmla="*/ 81874 h 141023"/>
                <a:gd name="connsiteX32" fmla="*/ 261903 w 367600"/>
                <a:gd name="connsiteY32" fmla="*/ 113359 h 141023"/>
                <a:gd name="connsiteX33" fmla="*/ 236006 w 367600"/>
                <a:gd name="connsiteY33" fmla="*/ 123954 h 141023"/>
                <a:gd name="connsiteX34" fmla="*/ 262187 w 367600"/>
                <a:gd name="connsiteY34" fmla="*/ 140666 h 141023"/>
                <a:gd name="connsiteX35" fmla="*/ 299408 w 367600"/>
                <a:gd name="connsiteY35" fmla="*/ 134216 h 141023"/>
                <a:gd name="connsiteX36" fmla="*/ 313939 w 367600"/>
                <a:gd name="connsiteY36" fmla="*/ 125692 h 141023"/>
                <a:gd name="connsiteX37" fmla="*/ 334883 w 367600"/>
                <a:gd name="connsiteY37" fmla="*/ 132377 h 141023"/>
                <a:gd name="connsiteX38" fmla="*/ 346289 w 367600"/>
                <a:gd name="connsiteY38" fmla="*/ 130539 h 141023"/>
                <a:gd name="connsiteX39" fmla="*/ 364919 w 367600"/>
                <a:gd name="connsiteY39" fmla="*/ 123854 h 141023"/>
                <a:gd name="connsiteX40" fmla="*/ 345274 w 367600"/>
                <a:gd name="connsiteY40" fmla="*/ 110484 h 14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67600" h="141023">
                  <a:moveTo>
                    <a:pt x="226265" y="106307"/>
                  </a:moveTo>
                  <a:cubicBezTo>
                    <a:pt x="221557" y="95477"/>
                    <a:pt x="204711" y="103833"/>
                    <a:pt x="202317" y="90364"/>
                  </a:cubicBezTo>
                  <a:cubicBezTo>
                    <a:pt x="200815" y="81841"/>
                    <a:pt x="191967" y="76292"/>
                    <a:pt x="183524" y="82309"/>
                  </a:cubicBezTo>
                  <a:cubicBezTo>
                    <a:pt x="177110" y="86854"/>
                    <a:pt x="164650" y="83946"/>
                    <a:pt x="156451" y="86988"/>
                  </a:cubicBezTo>
                  <a:cubicBezTo>
                    <a:pt x="143705" y="92135"/>
                    <a:pt x="129215" y="93572"/>
                    <a:pt x="115333" y="91066"/>
                  </a:cubicBezTo>
                  <a:cubicBezTo>
                    <a:pt x="102141" y="88759"/>
                    <a:pt x="89193" y="84815"/>
                    <a:pt x="76123" y="81841"/>
                  </a:cubicBezTo>
                  <a:cubicBezTo>
                    <a:pt x="65083" y="79300"/>
                    <a:pt x="56437" y="81072"/>
                    <a:pt x="45640" y="79969"/>
                  </a:cubicBezTo>
                  <a:cubicBezTo>
                    <a:pt x="35006" y="78799"/>
                    <a:pt x="24168" y="79468"/>
                    <a:pt x="13858" y="81908"/>
                  </a:cubicBezTo>
                  <a:cubicBezTo>
                    <a:pt x="-5056" y="85250"/>
                    <a:pt x="2128" y="92770"/>
                    <a:pt x="11302" y="103833"/>
                  </a:cubicBezTo>
                  <a:cubicBezTo>
                    <a:pt x="16984" y="110719"/>
                    <a:pt x="20231" y="120545"/>
                    <a:pt x="27538" y="126595"/>
                  </a:cubicBezTo>
                  <a:cubicBezTo>
                    <a:pt x="39389" y="135352"/>
                    <a:pt x="55098" y="139764"/>
                    <a:pt x="70968" y="138761"/>
                  </a:cubicBezTo>
                  <a:cubicBezTo>
                    <a:pt x="91019" y="137524"/>
                    <a:pt x="106769" y="121849"/>
                    <a:pt x="128282" y="123419"/>
                  </a:cubicBezTo>
                  <a:cubicBezTo>
                    <a:pt x="133923" y="123820"/>
                    <a:pt x="156126" y="137591"/>
                    <a:pt x="157425" y="135853"/>
                  </a:cubicBezTo>
                  <a:cubicBezTo>
                    <a:pt x="163269" y="127832"/>
                    <a:pt x="160794" y="126495"/>
                    <a:pt x="175487" y="127664"/>
                  </a:cubicBezTo>
                  <a:cubicBezTo>
                    <a:pt x="181901" y="128166"/>
                    <a:pt x="183199" y="125425"/>
                    <a:pt x="188030" y="123654"/>
                  </a:cubicBezTo>
                  <a:cubicBezTo>
                    <a:pt x="192860" y="121882"/>
                    <a:pt x="200207" y="122517"/>
                    <a:pt x="205889" y="122551"/>
                  </a:cubicBezTo>
                  <a:cubicBezTo>
                    <a:pt x="213763" y="122551"/>
                    <a:pt x="229431" y="113727"/>
                    <a:pt x="226184" y="106307"/>
                  </a:cubicBezTo>
                  <a:close/>
                  <a:moveTo>
                    <a:pt x="1073" y="122417"/>
                  </a:moveTo>
                  <a:cubicBezTo>
                    <a:pt x="3509" y="124991"/>
                    <a:pt x="15076" y="129737"/>
                    <a:pt x="14102" y="121347"/>
                  </a:cubicBezTo>
                  <a:cubicBezTo>
                    <a:pt x="13128" y="112958"/>
                    <a:pt x="-4650" y="116334"/>
                    <a:pt x="1073" y="122417"/>
                  </a:cubicBezTo>
                  <a:close/>
                  <a:moveTo>
                    <a:pt x="345193" y="110451"/>
                  </a:moveTo>
                  <a:cubicBezTo>
                    <a:pt x="336506" y="111922"/>
                    <a:pt x="318810" y="88225"/>
                    <a:pt x="321570" y="82208"/>
                  </a:cubicBezTo>
                  <a:cubicBezTo>
                    <a:pt x="323680" y="77596"/>
                    <a:pt x="328998" y="75022"/>
                    <a:pt x="329403" y="69474"/>
                  </a:cubicBezTo>
                  <a:cubicBezTo>
                    <a:pt x="329809" y="63926"/>
                    <a:pt x="321854" y="58745"/>
                    <a:pt x="320595" y="65764"/>
                  </a:cubicBezTo>
                  <a:cubicBezTo>
                    <a:pt x="318566" y="76927"/>
                    <a:pt x="309149" y="58277"/>
                    <a:pt x="310123" y="54132"/>
                  </a:cubicBezTo>
                  <a:cubicBezTo>
                    <a:pt x="312274" y="44907"/>
                    <a:pt x="317957" y="36418"/>
                    <a:pt x="320839" y="27394"/>
                  </a:cubicBezTo>
                  <a:cubicBezTo>
                    <a:pt x="322381" y="22648"/>
                    <a:pt x="308987" y="-5261"/>
                    <a:pt x="301234" y="421"/>
                  </a:cubicBezTo>
                  <a:cubicBezTo>
                    <a:pt x="292589" y="6771"/>
                    <a:pt x="299935" y="23583"/>
                    <a:pt x="302696" y="32407"/>
                  </a:cubicBezTo>
                  <a:cubicBezTo>
                    <a:pt x="304197" y="37120"/>
                    <a:pt x="301112" y="38758"/>
                    <a:pt x="300585" y="42902"/>
                  </a:cubicBezTo>
                  <a:cubicBezTo>
                    <a:pt x="299976" y="47715"/>
                    <a:pt x="305171" y="54801"/>
                    <a:pt x="304278" y="58644"/>
                  </a:cubicBezTo>
                  <a:cubicBezTo>
                    <a:pt x="303060" y="63592"/>
                    <a:pt x="279478" y="76861"/>
                    <a:pt x="273511" y="77462"/>
                  </a:cubicBezTo>
                  <a:cubicBezTo>
                    <a:pt x="265028" y="78231"/>
                    <a:pt x="244408" y="68204"/>
                    <a:pt x="249157" y="81874"/>
                  </a:cubicBezTo>
                  <a:cubicBezTo>
                    <a:pt x="251958" y="90130"/>
                    <a:pt x="266814" y="106106"/>
                    <a:pt x="261903" y="113359"/>
                  </a:cubicBezTo>
                  <a:cubicBezTo>
                    <a:pt x="256992" y="120612"/>
                    <a:pt x="242745" y="118607"/>
                    <a:pt x="236006" y="123954"/>
                  </a:cubicBezTo>
                  <a:cubicBezTo>
                    <a:pt x="228416" y="130038"/>
                    <a:pt x="255246" y="141201"/>
                    <a:pt x="262187" y="140666"/>
                  </a:cubicBezTo>
                  <a:cubicBezTo>
                    <a:pt x="274810" y="139530"/>
                    <a:pt x="287271" y="137357"/>
                    <a:pt x="299408" y="134216"/>
                  </a:cubicBezTo>
                  <a:cubicBezTo>
                    <a:pt x="305171" y="132511"/>
                    <a:pt x="307526" y="126294"/>
                    <a:pt x="313939" y="125692"/>
                  </a:cubicBezTo>
                  <a:cubicBezTo>
                    <a:pt x="322057" y="124890"/>
                    <a:pt x="328673" y="134917"/>
                    <a:pt x="334883" y="132377"/>
                  </a:cubicBezTo>
                  <a:cubicBezTo>
                    <a:pt x="337765" y="131140"/>
                    <a:pt x="342068" y="127464"/>
                    <a:pt x="346289" y="130539"/>
                  </a:cubicBezTo>
                  <a:cubicBezTo>
                    <a:pt x="352256" y="134884"/>
                    <a:pt x="360820" y="125358"/>
                    <a:pt x="364919" y="123854"/>
                  </a:cubicBezTo>
                  <a:cubicBezTo>
                    <a:pt x="375392" y="120211"/>
                    <a:pt x="351525" y="109482"/>
                    <a:pt x="345274" y="11048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9550E1F7-B81C-4949-928A-7F57E8DAE490}"/>
                </a:ext>
              </a:extLst>
            </p:cNvPr>
            <p:cNvSpPr/>
            <p:nvPr/>
          </p:nvSpPr>
          <p:spPr>
            <a:xfrm>
              <a:off x="10202655" y="6430661"/>
              <a:ext cx="75333" cy="19436"/>
            </a:xfrm>
            <a:custGeom>
              <a:avLst/>
              <a:gdLst>
                <a:gd name="connsiteX0" fmla="*/ 76 w 75333"/>
                <a:gd name="connsiteY0" fmla="*/ 2565 h 19436"/>
                <a:gd name="connsiteX1" fmla="*/ 28489 w 75333"/>
                <a:gd name="connsiteY1" fmla="*/ 16235 h 19436"/>
                <a:gd name="connsiteX2" fmla="*/ 76 w 75333"/>
                <a:gd name="connsiteY2" fmla="*/ 2565 h 19436"/>
                <a:gd name="connsiteX3" fmla="*/ 45171 w 75333"/>
                <a:gd name="connsiteY3" fmla="*/ 8615 h 19436"/>
                <a:gd name="connsiteX4" fmla="*/ 74802 w 75333"/>
                <a:gd name="connsiteY4" fmla="*/ 17739 h 19436"/>
                <a:gd name="connsiteX5" fmla="*/ 45293 w 75333"/>
                <a:gd name="connsiteY5" fmla="*/ 8615 h 1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33" h="19436">
                  <a:moveTo>
                    <a:pt x="76" y="2565"/>
                  </a:moveTo>
                  <a:cubicBezTo>
                    <a:pt x="3201" y="12860"/>
                    <a:pt x="19316" y="24123"/>
                    <a:pt x="28489" y="16235"/>
                  </a:cubicBezTo>
                  <a:cubicBezTo>
                    <a:pt x="37662" y="8348"/>
                    <a:pt x="-2685" y="-6660"/>
                    <a:pt x="76" y="2565"/>
                  </a:cubicBezTo>
                  <a:close/>
                  <a:moveTo>
                    <a:pt x="45171" y="8615"/>
                  </a:moveTo>
                  <a:cubicBezTo>
                    <a:pt x="49230" y="13528"/>
                    <a:pt x="69525" y="22519"/>
                    <a:pt x="74802" y="17739"/>
                  </a:cubicBezTo>
                  <a:cubicBezTo>
                    <a:pt x="80079" y="12960"/>
                    <a:pt x="39245" y="1195"/>
                    <a:pt x="45293" y="861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E4013F52-A529-463C-995D-1219FBA1B053}"/>
                </a:ext>
              </a:extLst>
            </p:cNvPr>
            <p:cNvSpPr/>
            <p:nvPr/>
          </p:nvSpPr>
          <p:spPr>
            <a:xfrm>
              <a:off x="7434858" y="4175183"/>
              <a:ext cx="427445" cy="189730"/>
            </a:xfrm>
            <a:custGeom>
              <a:avLst/>
              <a:gdLst>
                <a:gd name="connsiteX0" fmla="*/ 427386 w 427445"/>
                <a:gd name="connsiteY0" fmla="*/ 158908 h 189730"/>
                <a:gd name="connsiteX1" fmla="*/ 401367 w 427445"/>
                <a:gd name="connsiteY1" fmla="*/ 148646 h 189730"/>
                <a:gd name="connsiteX2" fmla="*/ 372549 w 427445"/>
                <a:gd name="connsiteY2" fmla="*/ 131166 h 189730"/>
                <a:gd name="connsiteX3" fmla="*/ 340077 w 427445"/>
                <a:gd name="connsiteY3" fmla="*/ 113117 h 189730"/>
                <a:gd name="connsiteX4" fmla="*/ 312111 w 427445"/>
                <a:gd name="connsiteY4" fmla="*/ 95035 h 189730"/>
                <a:gd name="connsiteX5" fmla="*/ 297336 w 427445"/>
                <a:gd name="connsiteY5" fmla="*/ 70636 h 189730"/>
                <a:gd name="connsiteX6" fmla="*/ 269370 w 427445"/>
                <a:gd name="connsiteY6" fmla="*/ 61043 h 189730"/>
                <a:gd name="connsiteX7" fmla="*/ 246274 w 427445"/>
                <a:gd name="connsiteY7" fmla="*/ 54359 h 189730"/>
                <a:gd name="connsiteX8" fmla="*/ 242215 w 427445"/>
                <a:gd name="connsiteY8" fmla="*/ 36076 h 189730"/>
                <a:gd name="connsiteX9" fmla="*/ 212991 w 427445"/>
                <a:gd name="connsiteY9" fmla="*/ 23910 h 189730"/>
                <a:gd name="connsiteX10" fmla="*/ 180925 w 427445"/>
                <a:gd name="connsiteY10" fmla="*/ 20567 h 189730"/>
                <a:gd name="connsiteX11" fmla="*/ 175810 w 427445"/>
                <a:gd name="connsiteY11" fmla="*/ 24277 h 189730"/>
                <a:gd name="connsiteX12" fmla="*/ 162132 w 427445"/>
                <a:gd name="connsiteY12" fmla="*/ 24578 h 189730"/>
                <a:gd name="connsiteX13" fmla="*/ 137534 w 427445"/>
                <a:gd name="connsiteY13" fmla="*/ 37078 h 189730"/>
                <a:gd name="connsiteX14" fmla="*/ 103155 w 427445"/>
                <a:gd name="connsiteY14" fmla="*/ 30728 h 189730"/>
                <a:gd name="connsiteX15" fmla="*/ 67679 w 427445"/>
                <a:gd name="connsiteY15" fmla="*/ 8301 h 189730"/>
                <a:gd name="connsiteX16" fmla="*/ 17957 w 427445"/>
                <a:gd name="connsiteY16" fmla="*/ 6396 h 189730"/>
                <a:gd name="connsiteX17" fmla="*/ 49292 w 427445"/>
                <a:gd name="connsiteY17" fmla="*/ 21737 h 189730"/>
                <a:gd name="connsiteX18" fmla="*/ 67720 w 427445"/>
                <a:gd name="connsiteY18" fmla="*/ 31062 h 189730"/>
                <a:gd name="connsiteX19" fmla="*/ 53757 w 427445"/>
                <a:gd name="connsiteY19" fmla="*/ 36410 h 189730"/>
                <a:gd name="connsiteX20" fmla="*/ 990 w 427445"/>
                <a:gd name="connsiteY20" fmla="*/ 37513 h 189730"/>
                <a:gd name="connsiteX21" fmla="*/ 16008 w 427445"/>
                <a:gd name="connsiteY21" fmla="*/ 47540 h 189730"/>
                <a:gd name="connsiteX22" fmla="*/ 6511 w 427445"/>
                <a:gd name="connsiteY22" fmla="*/ 58804 h 189730"/>
                <a:gd name="connsiteX23" fmla="*/ 26805 w 427445"/>
                <a:gd name="connsiteY23" fmla="*/ 66224 h 189730"/>
                <a:gd name="connsiteX24" fmla="*/ 25344 w 427445"/>
                <a:gd name="connsiteY24" fmla="*/ 90456 h 189730"/>
                <a:gd name="connsiteX25" fmla="*/ 31960 w 427445"/>
                <a:gd name="connsiteY25" fmla="*/ 101319 h 189730"/>
                <a:gd name="connsiteX26" fmla="*/ 54000 w 427445"/>
                <a:gd name="connsiteY26" fmla="*/ 100049 h 189730"/>
                <a:gd name="connsiteX27" fmla="*/ 96538 w 427445"/>
                <a:gd name="connsiteY27" fmla="*/ 98411 h 189730"/>
                <a:gd name="connsiteX28" fmla="*/ 132258 w 427445"/>
                <a:gd name="connsiteY28" fmla="*/ 100784 h 189730"/>
                <a:gd name="connsiteX29" fmla="*/ 160386 w 427445"/>
                <a:gd name="connsiteY29" fmla="*/ 112950 h 189730"/>
                <a:gd name="connsiteX30" fmla="*/ 168504 w 427445"/>
                <a:gd name="connsiteY30" fmla="*/ 117997 h 189730"/>
                <a:gd name="connsiteX31" fmla="*/ 193548 w 427445"/>
                <a:gd name="connsiteY31" fmla="*/ 124180 h 189730"/>
                <a:gd name="connsiteX32" fmla="*/ 200733 w 427445"/>
                <a:gd name="connsiteY32" fmla="*/ 131500 h 189730"/>
                <a:gd name="connsiteX33" fmla="*/ 218226 w 427445"/>
                <a:gd name="connsiteY33" fmla="*/ 140357 h 189730"/>
                <a:gd name="connsiteX34" fmla="*/ 246639 w 427445"/>
                <a:gd name="connsiteY34" fmla="*/ 152557 h 189730"/>
                <a:gd name="connsiteX35" fmla="*/ 250983 w 427445"/>
                <a:gd name="connsiteY35" fmla="*/ 172812 h 189730"/>
                <a:gd name="connsiteX36" fmla="*/ 279395 w 427445"/>
                <a:gd name="connsiteY36" fmla="*/ 184911 h 189730"/>
                <a:gd name="connsiteX37" fmla="*/ 306103 w 427445"/>
                <a:gd name="connsiteY37" fmla="*/ 186916 h 189730"/>
                <a:gd name="connsiteX38" fmla="*/ 357531 w 427445"/>
                <a:gd name="connsiteY38" fmla="*/ 176187 h 189730"/>
                <a:gd name="connsiteX39" fmla="*/ 382494 w 427445"/>
                <a:gd name="connsiteY39" fmla="*/ 166996 h 189730"/>
                <a:gd name="connsiteX40" fmla="*/ 400272 w 427445"/>
                <a:gd name="connsiteY40" fmla="*/ 162617 h 189730"/>
                <a:gd name="connsiteX41" fmla="*/ 426574 w 427445"/>
                <a:gd name="connsiteY41" fmla="*/ 170372 h 189730"/>
                <a:gd name="connsiteX42" fmla="*/ 427386 w 427445"/>
                <a:gd name="connsiteY42" fmla="*/ 158908 h 189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27445" h="189730">
                  <a:moveTo>
                    <a:pt x="427386" y="158908"/>
                  </a:moveTo>
                  <a:cubicBezTo>
                    <a:pt x="420364" y="155565"/>
                    <a:pt x="410338" y="149749"/>
                    <a:pt x="401367" y="148646"/>
                  </a:cubicBezTo>
                  <a:cubicBezTo>
                    <a:pt x="390895" y="147310"/>
                    <a:pt x="381722" y="134876"/>
                    <a:pt x="372549" y="131166"/>
                  </a:cubicBezTo>
                  <a:cubicBezTo>
                    <a:pt x="361387" y="126654"/>
                    <a:pt x="345597" y="120370"/>
                    <a:pt x="340077" y="113117"/>
                  </a:cubicBezTo>
                  <a:cubicBezTo>
                    <a:pt x="334557" y="105864"/>
                    <a:pt x="315317" y="101954"/>
                    <a:pt x="312111" y="95035"/>
                  </a:cubicBezTo>
                  <a:cubicBezTo>
                    <a:pt x="308052" y="86746"/>
                    <a:pt x="300989" y="78891"/>
                    <a:pt x="297336" y="70636"/>
                  </a:cubicBezTo>
                  <a:cubicBezTo>
                    <a:pt x="294292" y="63784"/>
                    <a:pt x="279477" y="63082"/>
                    <a:pt x="269370" y="61043"/>
                  </a:cubicBezTo>
                  <a:cubicBezTo>
                    <a:pt x="266691" y="60475"/>
                    <a:pt x="245625" y="56966"/>
                    <a:pt x="246274" y="54359"/>
                  </a:cubicBezTo>
                  <a:cubicBezTo>
                    <a:pt x="247573" y="49378"/>
                    <a:pt x="248304" y="40989"/>
                    <a:pt x="242215" y="36076"/>
                  </a:cubicBezTo>
                  <a:cubicBezTo>
                    <a:pt x="237385" y="32065"/>
                    <a:pt x="220337" y="27720"/>
                    <a:pt x="212991" y="23910"/>
                  </a:cubicBezTo>
                  <a:cubicBezTo>
                    <a:pt x="197932" y="16089"/>
                    <a:pt x="195456" y="23041"/>
                    <a:pt x="180925" y="20567"/>
                  </a:cubicBezTo>
                  <a:cubicBezTo>
                    <a:pt x="179058" y="20267"/>
                    <a:pt x="176501" y="23910"/>
                    <a:pt x="175810" y="24277"/>
                  </a:cubicBezTo>
                  <a:cubicBezTo>
                    <a:pt x="172157" y="26584"/>
                    <a:pt x="167165" y="24545"/>
                    <a:pt x="162132" y="24578"/>
                  </a:cubicBezTo>
                  <a:cubicBezTo>
                    <a:pt x="143054" y="24578"/>
                    <a:pt x="149305" y="35808"/>
                    <a:pt x="137534" y="37078"/>
                  </a:cubicBezTo>
                  <a:cubicBezTo>
                    <a:pt x="126372" y="38315"/>
                    <a:pt x="114033" y="31062"/>
                    <a:pt x="103155" y="30728"/>
                  </a:cubicBezTo>
                  <a:cubicBezTo>
                    <a:pt x="88420" y="30260"/>
                    <a:pt x="77258" y="14016"/>
                    <a:pt x="67679" y="8301"/>
                  </a:cubicBezTo>
                  <a:cubicBezTo>
                    <a:pt x="59196" y="3220"/>
                    <a:pt x="10853" y="-7241"/>
                    <a:pt x="17957" y="6396"/>
                  </a:cubicBezTo>
                  <a:cubicBezTo>
                    <a:pt x="35289" y="-4868"/>
                    <a:pt x="46045" y="16623"/>
                    <a:pt x="49292" y="21737"/>
                  </a:cubicBezTo>
                  <a:cubicBezTo>
                    <a:pt x="51606" y="25414"/>
                    <a:pt x="63214" y="27386"/>
                    <a:pt x="67720" y="31062"/>
                  </a:cubicBezTo>
                  <a:cubicBezTo>
                    <a:pt x="77705" y="39318"/>
                    <a:pt x="62524" y="35742"/>
                    <a:pt x="53757" y="36410"/>
                  </a:cubicBezTo>
                  <a:cubicBezTo>
                    <a:pt x="29768" y="38182"/>
                    <a:pt x="10732" y="20233"/>
                    <a:pt x="990" y="37513"/>
                  </a:cubicBezTo>
                  <a:cubicBezTo>
                    <a:pt x="-3394" y="45167"/>
                    <a:pt x="6795" y="44031"/>
                    <a:pt x="16008" y="47540"/>
                  </a:cubicBezTo>
                  <a:cubicBezTo>
                    <a:pt x="27293" y="51685"/>
                    <a:pt x="4400" y="57968"/>
                    <a:pt x="6511" y="58804"/>
                  </a:cubicBezTo>
                  <a:cubicBezTo>
                    <a:pt x="16942" y="63015"/>
                    <a:pt x="21163" y="58202"/>
                    <a:pt x="26805" y="66224"/>
                  </a:cubicBezTo>
                  <a:cubicBezTo>
                    <a:pt x="32975" y="75248"/>
                    <a:pt x="26805" y="81599"/>
                    <a:pt x="25344" y="90456"/>
                  </a:cubicBezTo>
                  <a:cubicBezTo>
                    <a:pt x="24573" y="96171"/>
                    <a:pt x="19296" y="99815"/>
                    <a:pt x="31960" y="101319"/>
                  </a:cubicBezTo>
                  <a:cubicBezTo>
                    <a:pt x="41336" y="102455"/>
                    <a:pt x="46897" y="102689"/>
                    <a:pt x="54000" y="100049"/>
                  </a:cubicBezTo>
                  <a:cubicBezTo>
                    <a:pt x="70236" y="93932"/>
                    <a:pt x="77623" y="97241"/>
                    <a:pt x="96538" y="98411"/>
                  </a:cubicBezTo>
                  <a:cubicBezTo>
                    <a:pt x="110217" y="99280"/>
                    <a:pt x="116833" y="95904"/>
                    <a:pt x="132258" y="100784"/>
                  </a:cubicBezTo>
                  <a:cubicBezTo>
                    <a:pt x="142567" y="104126"/>
                    <a:pt x="148168" y="110811"/>
                    <a:pt x="160386" y="112950"/>
                  </a:cubicBezTo>
                  <a:cubicBezTo>
                    <a:pt x="163552" y="113485"/>
                    <a:pt x="165866" y="116894"/>
                    <a:pt x="168504" y="117997"/>
                  </a:cubicBezTo>
                  <a:cubicBezTo>
                    <a:pt x="175648" y="121005"/>
                    <a:pt x="185836" y="121339"/>
                    <a:pt x="193548" y="124180"/>
                  </a:cubicBezTo>
                  <a:cubicBezTo>
                    <a:pt x="201260" y="127021"/>
                    <a:pt x="197282" y="127723"/>
                    <a:pt x="200733" y="131500"/>
                  </a:cubicBezTo>
                  <a:cubicBezTo>
                    <a:pt x="204791" y="135946"/>
                    <a:pt x="213680" y="136046"/>
                    <a:pt x="218226" y="140357"/>
                  </a:cubicBezTo>
                  <a:cubicBezTo>
                    <a:pt x="227968" y="149683"/>
                    <a:pt x="230688" y="148045"/>
                    <a:pt x="246639" y="152557"/>
                  </a:cubicBezTo>
                  <a:cubicBezTo>
                    <a:pt x="256503" y="155365"/>
                    <a:pt x="250333" y="168132"/>
                    <a:pt x="250983" y="172812"/>
                  </a:cubicBezTo>
                  <a:cubicBezTo>
                    <a:pt x="252200" y="181736"/>
                    <a:pt x="277488" y="176488"/>
                    <a:pt x="279395" y="184911"/>
                  </a:cubicBezTo>
                  <a:cubicBezTo>
                    <a:pt x="280857" y="191161"/>
                    <a:pt x="302410" y="189925"/>
                    <a:pt x="306103" y="186916"/>
                  </a:cubicBezTo>
                  <a:cubicBezTo>
                    <a:pt x="318280" y="176889"/>
                    <a:pt x="347789" y="186916"/>
                    <a:pt x="357531" y="176187"/>
                  </a:cubicBezTo>
                  <a:cubicBezTo>
                    <a:pt x="365080" y="167865"/>
                    <a:pt x="367191" y="166762"/>
                    <a:pt x="382494" y="166996"/>
                  </a:cubicBezTo>
                  <a:cubicBezTo>
                    <a:pt x="389718" y="166996"/>
                    <a:pt x="393696" y="163286"/>
                    <a:pt x="400272" y="162617"/>
                  </a:cubicBezTo>
                  <a:cubicBezTo>
                    <a:pt x="408633" y="161748"/>
                    <a:pt x="417563" y="169503"/>
                    <a:pt x="426574" y="170372"/>
                  </a:cubicBezTo>
                  <a:cubicBezTo>
                    <a:pt x="426777" y="166495"/>
                    <a:pt x="427102" y="162684"/>
                    <a:pt x="427386" y="15890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57EA89FD-3F6F-42AC-85DB-938FFDFA3E8C}"/>
                </a:ext>
              </a:extLst>
            </p:cNvPr>
            <p:cNvSpPr/>
            <p:nvPr/>
          </p:nvSpPr>
          <p:spPr>
            <a:xfrm>
              <a:off x="7156176" y="4185911"/>
              <a:ext cx="545797" cy="358017"/>
            </a:xfrm>
            <a:custGeom>
              <a:avLst/>
              <a:gdLst>
                <a:gd name="connsiteX0" fmla="*/ 536890 w 545797"/>
                <a:gd name="connsiteY0" fmla="*/ 326161 h 358017"/>
                <a:gd name="connsiteX1" fmla="*/ 533765 w 545797"/>
                <a:gd name="connsiteY1" fmla="*/ 310552 h 358017"/>
                <a:gd name="connsiteX2" fmla="*/ 503119 w 545797"/>
                <a:gd name="connsiteY2" fmla="*/ 289161 h 358017"/>
                <a:gd name="connsiteX3" fmla="*/ 484488 w 545797"/>
                <a:gd name="connsiteY3" fmla="*/ 269274 h 358017"/>
                <a:gd name="connsiteX4" fmla="*/ 504783 w 545797"/>
                <a:gd name="connsiteY4" fmla="*/ 259581 h 358017"/>
                <a:gd name="connsiteX5" fmla="*/ 498492 w 545797"/>
                <a:gd name="connsiteY5" fmla="*/ 237287 h 358017"/>
                <a:gd name="connsiteX6" fmla="*/ 497761 w 545797"/>
                <a:gd name="connsiteY6" fmla="*/ 194204 h 358017"/>
                <a:gd name="connsiteX7" fmla="*/ 512170 w 545797"/>
                <a:gd name="connsiteY7" fmla="*/ 180434 h 358017"/>
                <a:gd name="connsiteX8" fmla="*/ 530436 w 545797"/>
                <a:gd name="connsiteY8" fmla="*/ 166028 h 358017"/>
                <a:gd name="connsiteX9" fmla="*/ 530436 w 545797"/>
                <a:gd name="connsiteY9" fmla="*/ 144670 h 358017"/>
                <a:gd name="connsiteX10" fmla="*/ 502551 w 545797"/>
                <a:gd name="connsiteY10" fmla="*/ 135379 h 358017"/>
                <a:gd name="connsiteX11" fmla="*/ 493824 w 545797"/>
                <a:gd name="connsiteY11" fmla="*/ 127157 h 358017"/>
                <a:gd name="connsiteX12" fmla="*/ 479374 w 545797"/>
                <a:gd name="connsiteY12" fmla="*/ 120706 h 358017"/>
                <a:gd name="connsiteX13" fmla="*/ 452706 w 545797"/>
                <a:gd name="connsiteY13" fmla="*/ 108573 h 358017"/>
                <a:gd name="connsiteX14" fmla="*/ 430869 w 545797"/>
                <a:gd name="connsiteY14" fmla="*/ 99716 h 358017"/>
                <a:gd name="connsiteX15" fmla="*/ 400021 w 545797"/>
                <a:gd name="connsiteY15" fmla="*/ 87349 h 358017"/>
                <a:gd name="connsiteX16" fmla="*/ 367549 w 545797"/>
                <a:gd name="connsiteY16" fmla="*/ 86346 h 358017"/>
                <a:gd name="connsiteX17" fmla="*/ 332764 w 545797"/>
                <a:gd name="connsiteY17" fmla="*/ 89254 h 358017"/>
                <a:gd name="connsiteX18" fmla="*/ 302281 w 545797"/>
                <a:gd name="connsiteY18" fmla="*/ 93432 h 358017"/>
                <a:gd name="connsiteX19" fmla="*/ 273503 w 545797"/>
                <a:gd name="connsiteY19" fmla="*/ 99582 h 358017"/>
                <a:gd name="connsiteX20" fmla="*/ 202024 w 545797"/>
                <a:gd name="connsiteY20" fmla="*/ 80497 h 358017"/>
                <a:gd name="connsiteX21" fmla="*/ 144062 w 545797"/>
                <a:gd name="connsiteY21" fmla="*/ 44968 h 358017"/>
                <a:gd name="connsiteX22" fmla="*/ 125594 w 545797"/>
                <a:gd name="connsiteY22" fmla="*/ 30562 h 358017"/>
                <a:gd name="connsiteX23" fmla="*/ 126649 w 545797"/>
                <a:gd name="connsiteY23" fmla="*/ 17895 h 358017"/>
                <a:gd name="connsiteX24" fmla="*/ 97708 w 545797"/>
                <a:gd name="connsiteY24" fmla="*/ 22039 h 358017"/>
                <a:gd name="connsiteX25" fmla="*/ 45916 w 545797"/>
                <a:gd name="connsiteY25" fmla="*/ 22273 h 358017"/>
                <a:gd name="connsiteX26" fmla="*/ 22577 w 545797"/>
                <a:gd name="connsiteY26" fmla="*/ 1718 h 358017"/>
                <a:gd name="connsiteX27" fmla="*/ 2607 w 545797"/>
                <a:gd name="connsiteY27" fmla="*/ 19332 h 358017"/>
                <a:gd name="connsiteX28" fmla="*/ 3419 w 545797"/>
                <a:gd name="connsiteY28" fmla="*/ 40857 h 358017"/>
                <a:gd name="connsiteX29" fmla="*/ 21968 w 545797"/>
                <a:gd name="connsiteY29" fmla="*/ 69133 h 358017"/>
                <a:gd name="connsiteX30" fmla="*/ 46647 w 545797"/>
                <a:gd name="connsiteY30" fmla="*/ 97643 h 358017"/>
                <a:gd name="connsiteX31" fmla="*/ 39949 w 545797"/>
                <a:gd name="connsiteY31" fmla="*/ 98713 h 358017"/>
                <a:gd name="connsiteX32" fmla="*/ 33577 w 545797"/>
                <a:gd name="connsiteY32" fmla="*/ 106233 h 358017"/>
                <a:gd name="connsiteX33" fmla="*/ 24728 w 545797"/>
                <a:gd name="connsiteY33" fmla="*/ 116260 h 358017"/>
                <a:gd name="connsiteX34" fmla="*/ 33739 w 545797"/>
                <a:gd name="connsiteY34" fmla="*/ 127825 h 358017"/>
                <a:gd name="connsiteX35" fmla="*/ 44617 w 545797"/>
                <a:gd name="connsiteY35" fmla="*/ 140760 h 358017"/>
                <a:gd name="connsiteX36" fmla="*/ 84192 w 545797"/>
                <a:gd name="connsiteY36" fmla="*/ 162719 h 358017"/>
                <a:gd name="connsiteX37" fmla="*/ 82244 w 545797"/>
                <a:gd name="connsiteY37" fmla="*/ 176690 h 358017"/>
                <a:gd name="connsiteX38" fmla="*/ 87683 w 545797"/>
                <a:gd name="connsiteY38" fmla="*/ 182406 h 358017"/>
                <a:gd name="connsiteX39" fmla="*/ 91742 w 545797"/>
                <a:gd name="connsiteY39" fmla="*/ 192433 h 358017"/>
                <a:gd name="connsiteX40" fmla="*/ 118125 w 545797"/>
                <a:gd name="connsiteY40" fmla="*/ 205134 h 358017"/>
                <a:gd name="connsiteX41" fmla="*/ 141830 w 545797"/>
                <a:gd name="connsiteY41" fmla="*/ 207407 h 358017"/>
                <a:gd name="connsiteX42" fmla="*/ 172597 w 545797"/>
                <a:gd name="connsiteY42" fmla="*/ 234847 h 358017"/>
                <a:gd name="connsiteX43" fmla="*/ 204784 w 545797"/>
                <a:gd name="connsiteY43" fmla="*/ 261586 h 358017"/>
                <a:gd name="connsiteX44" fmla="*/ 261164 w 545797"/>
                <a:gd name="connsiteY44" fmla="*/ 288826 h 358017"/>
                <a:gd name="connsiteX45" fmla="*/ 318273 w 545797"/>
                <a:gd name="connsiteY45" fmla="*/ 294742 h 358017"/>
                <a:gd name="connsiteX46" fmla="*/ 353668 w 545797"/>
                <a:gd name="connsiteY46" fmla="*/ 314796 h 358017"/>
                <a:gd name="connsiteX47" fmla="*/ 379198 w 545797"/>
                <a:gd name="connsiteY47" fmla="*/ 330305 h 358017"/>
                <a:gd name="connsiteX48" fmla="*/ 488791 w 545797"/>
                <a:gd name="connsiteY48" fmla="*/ 357679 h 358017"/>
                <a:gd name="connsiteX49" fmla="*/ 522277 w 545797"/>
                <a:gd name="connsiteY49" fmla="*/ 339129 h 358017"/>
                <a:gd name="connsiteX50" fmla="*/ 545738 w 545797"/>
                <a:gd name="connsiteY50" fmla="*/ 337525 h 358017"/>
                <a:gd name="connsiteX51" fmla="*/ 537255 w 545797"/>
                <a:gd name="connsiteY51" fmla="*/ 326261 h 358017"/>
                <a:gd name="connsiteX52" fmla="*/ 536890 w 545797"/>
                <a:gd name="connsiteY52" fmla="*/ 326161 h 358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45797" h="358017">
                  <a:moveTo>
                    <a:pt x="536890" y="326161"/>
                  </a:moveTo>
                  <a:cubicBezTo>
                    <a:pt x="531126" y="323921"/>
                    <a:pt x="535307" y="313794"/>
                    <a:pt x="533765" y="310552"/>
                  </a:cubicBezTo>
                  <a:cubicBezTo>
                    <a:pt x="530030" y="302497"/>
                    <a:pt x="509938" y="297182"/>
                    <a:pt x="503119" y="289161"/>
                  </a:cubicBezTo>
                  <a:cubicBezTo>
                    <a:pt x="497883" y="282810"/>
                    <a:pt x="488344" y="275591"/>
                    <a:pt x="484488" y="269274"/>
                  </a:cubicBezTo>
                  <a:cubicBezTo>
                    <a:pt x="481444" y="264260"/>
                    <a:pt x="499710" y="261185"/>
                    <a:pt x="504783" y="259581"/>
                  </a:cubicBezTo>
                  <a:cubicBezTo>
                    <a:pt x="527514" y="252194"/>
                    <a:pt x="522805" y="245376"/>
                    <a:pt x="498492" y="237287"/>
                  </a:cubicBezTo>
                  <a:cubicBezTo>
                    <a:pt x="485057" y="232875"/>
                    <a:pt x="496909" y="201591"/>
                    <a:pt x="497761" y="194204"/>
                  </a:cubicBezTo>
                  <a:cubicBezTo>
                    <a:pt x="498410" y="188790"/>
                    <a:pt x="504986" y="183342"/>
                    <a:pt x="512170" y="180434"/>
                  </a:cubicBezTo>
                  <a:cubicBezTo>
                    <a:pt x="520938" y="177091"/>
                    <a:pt x="519355" y="167064"/>
                    <a:pt x="530436" y="166028"/>
                  </a:cubicBezTo>
                  <a:cubicBezTo>
                    <a:pt x="528406" y="159009"/>
                    <a:pt x="528406" y="151689"/>
                    <a:pt x="530436" y="144670"/>
                  </a:cubicBezTo>
                  <a:cubicBezTo>
                    <a:pt x="531329" y="141328"/>
                    <a:pt x="506407" y="138955"/>
                    <a:pt x="502551" y="135379"/>
                  </a:cubicBezTo>
                  <a:cubicBezTo>
                    <a:pt x="499994" y="132391"/>
                    <a:pt x="497071" y="129633"/>
                    <a:pt x="493824" y="127157"/>
                  </a:cubicBezTo>
                  <a:cubicBezTo>
                    <a:pt x="489197" y="124282"/>
                    <a:pt x="482987" y="124616"/>
                    <a:pt x="479374" y="120706"/>
                  </a:cubicBezTo>
                  <a:cubicBezTo>
                    <a:pt x="473042" y="113787"/>
                    <a:pt x="468334" y="110344"/>
                    <a:pt x="452706" y="108573"/>
                  </a:cubicBezTo>
                  <a:cubicBezTo>
                    <a:pt x="446497" y="107871"/>
                    <a:pt x="436958" y="101888"/>
                    <a:pt x="430869" y="99716"/>
                  </a:cubicBezTo>
                  <a:cubicBezTo>
                    <a:pt x="419058" y="95404"/>
                    <a:pt x="413740" y="89923"/>
                    <a:pt x="400021" y="87349"/>
                  </a:cubicBezTo>
                  <a:cubicBezTo>
                    <a:pt x="387844" y="85076"/>
                    <a:pt x="378671" y="88820"/>
                    <a:pt x="367549" y="86346"/>
                  </a:cubicBezTo>
                  <a:cubicBezTo>
                    <a:pt x="355941" y="83636"/>
                    <a:pt x="343480" y="84675"/>
                    <a:pt x="332764" y="89254"/>
                  </a:cubicBezTo>
                  <a:cubicBezTo>
                    <a:pt x="322089" y="93232"/>
                    <a:pt x="303742" y="86647"/>
                    <a:pt x="302281" y="93432"/>
                  </a:cubicBezTo>
                  <a:cubicBezTo>
                    <a:pt x="300535" y="101420"/>
                    <a:pt x="286045" y="100117"/>
                    <a:pt x="273503" y="99582"/>
                  </a:cubicBezTo>
                  <a:cubicBezTo>
                    <a:pt x="240747" y="98479"/>
                    <a:pt x="221467" y="96841"/>
                    <a:pt x="202024" y="80497"/>
                  </a:cubicBezTo>
                  <a:cubicBezTo>
                    <a:pt x="184652" y="65925"/>
                    <a:pt x="142276" y="66927"/>
                    <a:pt x="144062" y="44968"/>
                  </a:cubicBezTo>
                  <a:cubicBezTo>
                    <a:pt x="133103" y="41124"/>
                    <a:pt x="121251" y="37147"/>
                    <a:pt x="125594" y="30562"/>
                  </a:cubicBezTo>
                  <a:cubicBezTo>
                    <a:pt x="127461" y="27721"/>
                    <a:pt x="132088" y="20936"/>
                    <a:pt x="126649" y="17895"/>
                  </a:cubicBezTo>
                  <a:cubicBezTo>
                    <a:pt x="121210" y="14853"/>
                    <a:pt x="102742" y="20903"/>
                    <a:pt x="97708" y="22039"/>
                  </a:cubicBezTo>
                  <a:cubicBezTo>
                    <a:pt x="80823" y="26217"/>
                    <a:pt x="62842" y="26297"/>
                    <a:pt x="45916" y="22273"/>
                  </a:cubicBezTo>
                  <a:cubicBezTo>
                    <a:pt x="31872" y="18931"/>
                    <a:pt x="31791" y="7199"/>
                    <a:pt x="22577" y="1718"/>
                  </a:cubicBezTo>
                  <a:cubicBezTo>
                    <a:pt x="7843" y="-7039"/>
                    <a:pt x="577" y="14720"/>
                    <a:pt x="2607" y="19332"/>
                  </a:cubicBezTo>
                  <a:cubicBezTo>
                    <a:pt x="5976" y="26886"/>
                    <a:pt x="-5511" y="34339"/>
                    <a:pt x="3419" y="40857"/>
                  </a:cubicBezTo>
                  <a:cubicBezTo>
                    <a:pt x="10157" y="45703"/>
                    <a:pt x="22942" y="63585"/>
                    <a:pt x="21968" y="69133"/>
                  </a:cubicBezTo>
                  <a:cubicBezTo>
                    <a:pt x="19695" y="82068"/>
                    <a:pt x="63085" y="82502"/>
                    <a:pt x="46647" y="97643"/>
                  </a:cubicBezTo>
                  <a:lnTo>
                    <a:pt x="39949" y="98713"/>
                  </a:lnTo>
                  <a:cubicBezTo>
                    <a:pt x="36337" y="100418"/>
                    <a:pt x="35281" y="103860"/>
                    <a:pt x="33577" y="106233"/>
                  </a:cubicBezTo>
                  <a:cubicBezTo>
                    <a:pt x="30533" y="110378"/>
                    <a:pt x="24647" y="111046"/>
                    <a:pt x="24728" y="116260"/>
                  </a:cubicBezTo>
                  <a:cubicBezTo>
                    <a:pt x="24809" y="121474"/>
                    <a:pt x="26676" y="124382"/>
                    <a:pt x="33739" y="127825"/>
                  </a:cubicBezTo>
                  <a:cubicBezTo>
                    <a:pt x="42912" y="132304"/>
                    <a:pt x="38975" y="136148"/>
                    <a:pt x="44617" y="140760"/>
                  </a:cubicBezTo>
                  <a:cubicBezTo>
                    <a:pt x="56388" y="150319"/>
                    <a:pt x="77089" y="151723"/>
                    <a:pt x="84192" y="162719"/>
                  </a:cubicBezTo>
                  <a:cubicBezTo>
                    <a:pt x="88738" y="169671"/>
                    <a:pt x="81229" y="170440"/>
                    <a:pt x="82244" y="176690"/>
                  </a:cubicBezTo>
                  <a:cubicBezTo>
                    <a:pt x="83461" y="178926"/>
                    <a:pt x="85329" y="180885"/>
                    <a:pt x="87683" y="182406"/>
                  </a:cubicBezTo>
                  <a:cubicBezTo>
                    <a:pt x="91742" y="186116"/>
                    <a:pt x="89307" y="188656"/>
                    <a:pt x="91742" y="192433"/>
                  </a:cubicBezTo>
                  <a:cubicBezTo>
                    <a:pt x="95801" y="198750"/>
                    <a:pt x="104812" y="207841"/>
                    <a:pt x="118125" y="205134"/>
                  </a:cubicBezTo>
                  <a:cubicBezTo>
                    <a:pt x="127745" y="203195"/>
                    <a:pt x="130749" y="207774"/>
                    <a:pt x="141830" y="207407"/>
                  </a:cubicBezTo>
                  <a:cubicBezTo>
                    <a:pt x="160217" y="206872"/>
                    <a:pt x="167726" y="227026"/>
                    <a:pt x="172597" y="234847"/>
                  </a:cubicBezTo>
                  <a:cubicBezTo>
                    <a:pt x="180715" y="247883"/>
                    <a:pt x="182217" y="254300"/>
                    <a:pt x="204784" y="261586"/>
                  </a:cubicBezTo>
                  <a:cubicBezTo>
                    <a:pt x="225769" y="268271"/>
                    <a:pt x="238961" y="281640"/>
                    <a:pt x="261164" y="288826"/>
                  </a:cubicBezTo>
                  <a:cubicBezTo>
                    <a:pt x="283366" y="296012"/>
                    <a:pt x="295218" y="296581"/>
                    <a:pt x="318273" y="294742"/>
                  </a:cubicBezTo>
                  <a:cubicBezTo>
                    <a:pt x="342993" y="292804"/>
                    <a:pt x="351963" y="302597"/>
                    <a:pt x="353668" y="314796"/>
                  </a:cubicBezTo>
                  <a:cubicBezTo>
                    <a:pt x="355007" y="324155"/>
                    <a:pt x="365033" y="326361"/>
                    <a:pt x="379198" y="330305"/>
                  </a:cubicBezTo>
                  <a:cubicBezTo>
                    <a:pt x="414309" y="340031"/>
                    <a:pt x="452260" y="350627"/>
                    <a:pt x="488791" y="357679"/>
                  </a:cubicBezTo>
                  <a:cubicBezTo>
                    <a:pt x="489522" y="345479"/>
                    <a:pt x="501455" y="339563"/>
                    <a:pt x="522277" y="339129"/>
                  </a:cubicBezTo>
                  <a:cubicBezTo>
                    <a:pt x="528122" y="339129"/>
                    <a:pt x="545170" y="342471"/>
                    <a:pt x="545738" y="337525"/>
                  </a:cubicBezTo>
                  <a:cubicBezTo>
                    <a:pt x="545616" y="332778"/>
                    <a:pt x="542370" y="328463"/>
                    <a:pt x="537255" y="326261"/>
                  </a:cubicBezTo>
                  <a:cubicBezTo>
                    <a:pt x="530152" y="323520"/>
                    <a:pt x="543628" y="328768"/>
                    <a:pt x="536890" y="32616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DC0AF90D-42F9-4E41-88AA-58C2EE05AC68}"/>
                </a:ext>
              </a:extLst>
            </p:cNvPr>
            <p:cNvSpPr/>
            <p:nvPr/>
          </p:nvSpPr>
          <p:spPr>
            <a:xfrm>
              <a:off x="7270264" y="3965643"/>
              <a:ext cx="1306181" cy="380318"/>
            </a:xfrm>
            <a:custGeom>
              <a:avLst/>
              <a:gdLst>
                <a:gd name="connsiteX0" fmla="*/ 1302626 w 1306181"/>
                <a:gd name="connsiteY0" fmla="*/ 281447 h 380318"/>
                <a:gd name="connsiteX1" fmla="*/ 1252944 w 1306181"/>
                <a:gd name="connsiteY1" fmla="*/ 259454 h 380318"/>
                <a:gd name="connsiteX2" fmla="*/ 1233866 w 1306181"/>
                <a:gd name="connsiteY2" fmla="*/ 245449 h 380318"/>
                <a:gd name="connsiteX3" fmla="*/ 1210690 w 1306181"/>
                <a:gd name="connsiteY3" fmla="*/ 225395 h 380318"/>
                <a:gd name="connsiteX4" fmla="*/ 1174159 w 1306181"/>
                <a:gd name="connsiteY4" fmla="*/ 221886 h 380318"/>
                <a:gd name="connsiteX5" fmla="*/ 1140389 w 1306181"/>
                <a:gd name="connsiteY5" fmla="*/ 204238 h 380318"/>
                <a:gd name="connsiteX6" fmla="*/ 1099799 w 1306181"/>
                <a:gd name="connsiteY6" fmla="*/ 194746 h 380318"/>
                <a:gd name="connsiteX7" fmla="*/ 1070656 w 1306181"/>
                <a:gd name="connsiteY7" fmla="*/ 145747 h 380318"/>
                <a:gd name="connsiteX8" fmla="*/ 1047276 w 1306181"/>
                <a:gd name="connsiteY8" fmla="*/ 121247 h 380318"/>
                <a:gd name="connsiteX9" fmla="*/ 1027793 w 1306181"/>
                <a:gd name="connsiteY9" fmla="*/ 103266 h 380318"/>
                <a:gd name="connsiteX10" fmla="*/ 1018660 w 1306181"/>
                <a:gd name="connsiteY10" fmla="*/ 95411 h 380318"/>
                <a:gd name="connsiteX11" fmla="*/ 974011 w 1306181"/>
                <a:gd name="connsiteY11" fmla="*/ 96447 h 380318"/>
                <a:gd name="connsiteX12" fmla="*/ 937156 w 1306181"/>
                <a:gd name="connsiteY12" fmla="*/ 94575 h 380318"/>
                <a:gd name="connsiteX13" fmla="*/ 917064 w 1306181"/>
                <a:gd name="connsiteY13" fmla="*/ 89328 h 380318"/>
                <a:gd name="connsiteX14" fmla="*/ 927130 w 1306181"/>
                <a:gd name="connsiteY14" fmla="*/ 82643 h 380318"/>
                <a:gd name="connsiteX15" fmla="*/ 902411 w 1306181"/>
                <a:gd name="connsiteY15" fmla="*/ 74555 h 380318"/>
                <a:gd name="connsiteX16" fmla="*/ 892791 w 1306181"/>
                <a:gd name="connsiteY16" fmla="*/ 75190 h 380318"/>
                <a:gd name="connsiteX17" fmla="*/ 886215 w 1306181"/>
                <a:gd name="connsiteY17" fmla="*/ 66065 h 380318"/>
                <a:gd name="connsiteX18" fmla="*/ 849685 w 1306181"/>
                <a:gd name="connsiteY18" fmla="*/ 61920 h 380318"/>
                <a:gd name="connsiteX19" fmla="*/ 855530 w 1306181"/>
                <a:gd name="connsiteY19" fmla="*/ 55737 h 380318"/>
                <a:gd name="connsiteX20" fmla="*/ 853460 w 1306181"/>
                <a:gd name="connsiteY20" fmla="*/ 42802 h 380318"/>
                <a:gd name="connsiteX21" fmla="*/ 826386 w 1306181"/>
                <a:gd name="connsiteY21" fmla="*/ 30569 h 380318"/>
                <a:gd name="connsiteX22" fmla="*/ 790059 w 1306181"/>
                <a:gd name="connsiteY22" fmla="*/ 20375 h 380318"/>
                <a:gd name="connsiteX23" fmla="*/ 763026 w 1306181"/>
                <a:gd name="connsiteY23" fmla="*/ 21879 h 380318"/>
                <a:gd name="connsiteX24" fmla="*/ 701695 w 1306181"/>
                <a:gd name="connsiteY24" fmla="*/ 17968 h 380318"/>
                <a:gd name="connsiteX25" fmla="*/ 661714 w 1306181"/>
                <a:gd name="connsiteY25" fmla="*/ 13991 h 380318"/>
                <a:gd name="connsiteX26" fmla="*/ 605294 w 1306181"/>
                <a:gd name="connsiteY26" fmla="*/ 8810 h 380318"/>
                <a:gd name="connsiteX27" fmla="*/ 562756 w 1306181"/>
                <a:gd name="connsiteY27" fmla="*/ 7340 h 380318"/>
                <a:gd name="connsiteX28" fmla="*/ 521517 w 1306181"/>
                <a:gd name="connsiteY28" fmla="*/ 87 h 380318"/>
                <a:gd name="connsiteX29" fmla="*/ 514170 w 1306181"/>
                <a:gd name="connsiteY29" fmla="*/ 14024 h 380318"/>
                <a:gd name="connsiteX30" fmla="*/ 541162 w 1306181"/>
                <a:gd name="connsiteY30" fmla="*/ 26625 h 380318"/>
                <a:gd name="connsiteX31" fmla="*/ 496879 w 1306181"/>
                <a:gd name="connsiteY31" fmla="*/ 25388 h 380318"/>
                <a:gd name="connsiteX32" fmla="*/ 492251 w 1306181"/>
                <a:gd name="connsiteY32" fmla="*/ 37856 h 380318"/>
                <a:gd name="connsiteX33" fmla="*/ 470049 w 1306181"/>
                <a:gd name="connsiteY33" fmla="*/ 42669 h 380318"/>
                <a:gd name="connsiteX34" fmla="*/ 508812 w 1306181"/>
                <a:gd name="connsiteY34" fmla="*/ 64761 h 380318"/>
                <a:gd name="connsiteX35" fmla="*/ 494524 w 1306181"/>
                <a:gd name="connsiteY35" fmla="*/ 74454 h 380318"/>
                <a:gd name="connsiteX36" fmla="*/ 463392 w 1306181"/>
                <a:gd name="connsiteY36" fmla="*/ 63859 h 380318"/>
                <a:gd name="connsiteX37" fmla="*/ 452879 w 1306181"/>
                <a:gd name="connsiteY37" fmla="*/ 69006 h 380318"/>
                <a:gd name="connsiteX38" fmla="*/ 435304 w 1306181"/>
                <a:gd name="connsiteY38" fmla="*/ 62121 h 380318"/>
                <a:gd name="connsiteX39" fmla="*/ 383511 w 1306181"/>
                <a:gd name="connsiteY39" fmla="*/ 47248 h 380318"/>
                <a:gd name="connsiteX40" fmla="*/ 331963 w 1306181"/>
                <a:gd name="connsiteY40" fmla="*/ 43471 h 380318"/>
                <a:gd name="connsiteX41" fmla="*/ 301317 w 1306181"/>
                <a:gd name="connsiteY41" fmla="*/ 40128 h 380318"/>
                <a:gd name="connsiteX42" fmla="*/ 288369 w 1306181"/>
                <a:gd name="connsiteY42" fmla="*/ 34647 h 380318"/>
                <a:gd name="connsiteX43" fmla="*/ 280698 w 1306181"/>
                <a:gd name="connsiteY43" fmla="*/ 39259 h 380318"/>
                <a:gd name="connsiteX44" fmla="*/ 234831 w 1306181"/>
                <a:gd name="connsiteY44" fmla="*/ 12888 h 380318"/>
                <a:gd name="connsiteX45" fmla="*/ 211654 w 1306181"/>
                <a:gd name="connsiteY45" fmla="*/ 4398 h 380318"/>
                <a:gd name="connsiteX46" fmla="*/ 181374 w 1306181"/>
                <a:gd name="connsiteY46" fmla="*/ 4064 h 380318"/>
                <a:gd name="connsiteX47" fmla="*/ 147239 w 1306181"/>
                <a:gd name="connsiteY47" fmla="*/ 521 h 380318"/>
                <a:gd name="connsiteX48" fmla="*/ 110708 w 1306181"/>
                <a:gd name="connsiteY48" fmla="*/ 3864 h 380318"/>
                <a:gd name="connsiteX49" fmla="*/ 101250 w 1306181"/>
                <a:gd name="connsiteY49" fmla="*/ 7406 h 380318"/>
                <a:gd name="connsiteX50" fmla="*/ 84324 w 1306181"/>
                <a:gd name="connsiteY50" fmla="*/ 10448 h 380318"/>
                <a:gd name="connsiteX51" fmla="*/ 76206 w 1306181"/>
                <a:gd name="connsiteY51" fmla="*/ 27628 h 380318"/>
                <a:gd name="connsiteX52" fmla="*/ 52340 w 1306181"/>
                <a:gd name="connsiteY52" fmla="*/ 13055 h 380318"/>
                <a:gd name="connsiteX53" fmla="*/ 24901 w 1306181"/>
                <a:gd name="connsiteY53" fmla="*/ 21043 h 380318"/>
                <a:gd name="connsiteX54" fmla="*/ 20314 w 1306181"/>
                <a:gd name="connsiteY54" fmla="*/ 33009 h 380318"/>
                <a:gd name="connsiteX55" fmla="*/ 1318 w 1306181"/>
                <a:gd name="connsiteY55" fmla="*/ 43404 h 380318"/>
                <a:gd name="connsiteX56" fmla="*/ 14591 w 1306181"/>
                <a:gd name="connsiteY56" fmla="*/ 52829 h 380318"/>
                <a:gd name="connsiteX57" fmla="*/ 21572 w 1306181"/>
                <a:gd name="connsiteY57" fmla="*/ 66533 h 380318"/>
                <a:gd name="connsiteX58" fmla="*/ 56723 w 1306181"/>
                <a:gd name="connsiteY58" fmla="*/ 78031 h 380318"/>
                <a:gd name="connsiteX59" fmla="*/ 70726 w 1306181"/>
                <a:gd name="connsiteY59" fmla="*/ 91400 h 380318"/>
                <a:gd name="connsiteX60" fmla="*/ 59037 w 1306181"/>
                <a:gd name="connsiteY60" fmla="*/ 96748 h 380318"/>
                <a:gd name="connsiteX61" fmla="*/ 75272 w 1306181"/>
                <a:gd name="connsiteY61" fmla="*/ 104769 h 380318"/>
                <a:gd name="connsiteX62" fmla="*/ 92726 w 1306181"/>
                <a:gd name="connsiteY62" fmla="*/ 104134 h 380318"/>
                <a:gd name="connsiteX63" fmla="*/ 140866 w 1306181"/>
                <a:gd name="connsiteY63" fmla="*/ 100792 h 380318"/>
                <a:gd name="connsiteX64" fmla="*/ 188884 w 1306181"/>
                <a:gd name="connsiteY64" fmla="*/ 109348 h 380318"/>
                <a:gd name="connsiteX65" fmla="*/ 205120 w 1306181"/>
                <a:gd name="connsiteY65" fmla="*/ 131408 h 380318"/>
                <a:gd name="connsiteX66" fmla="*/ 193267 w 1306181"/>
                <a:gd name="connsiteY66" fmla="*/ 144243 h 380318"/>
                <a:gd name="connsiteX67" fmla="*/ 150972 w 1306181"/>
                <a:gd name="connsiteY67" fmla="*/ 138895 h 380318"/>
                <a:gd name="connsiteX68" fmla="*/ 130921 w 1306181"/>
                <a:gd name="connsiteY68" fmla="*/ 144945 h 380318"/>
                <a:gd name="connsiteX69" fmla="*/ 122803 w 1306181"/>
                <a:gd name="connsiteY69" fmla="*/ 151629 h 380318"/>
                <a:gd name="connsiteX70" fmla="*/ 101453 w 1306181"/>
                <a:gd name="connsiteY70" fmla="*/ 152599 h 380318"/>
                <a:gd name="connsiteX71" fmla="*/ 126944 w 1306181"/>
                <a:gd name="connsiteY71" fmla="*/ 165968 h 380318"/>
                <a:gd name="connsiteX72" fmla="*/ 131530 w 1306181"/>
                <a:gd name="connsiteY72" fmla="*/ 182680 h 380318"/>
                <a:gd name="connsiteX73" fmla="*/ 142367 w 1306181"/>
                <a:gd name="connsiteY73" fmla="*/ 185621 h 380318"/>
                <a:gd name="connsiteX74" fmla="*/ 156574 w 1306181"/>
                <a:gd name="connsiteY74" fmla="*/ 193542 h 380318"/>
                <a:gd name="connsiteX75" fmla="*/ 166965 w 1306181"/>
                <a:gd name="connsiteY75" fmla="*/ 206076 h 380318"/>
                <a:gd name="connsiteX76" fmla="*/ 170131 w 1306181"/>
                <a:gd name="connsiteY76" fmla="*/ 223757 h 380318"/>
                <a:gd name="connsiteX77" fmla="*/ 182064 w 1306181"/>
                <a:gd name="connsiteY77" fmla="*/ 215235 h 380318"/>
                <a:gd name="connsiteX78" fmla="*/ 204307 w 1306181"/>
                <a:gd name="connsiteY78" fmla="*/ 209352 h 380318"/>
                <a:gd name="connsiteX79" fmla="*/ 231787 w 1306181"/>
                <a:gd name="connsiteY79" fmla="*/ 217139 h 380318"/>
                <a:gd name="connsiteX80" fmla="*/ 263488 w 1306181"/>
                <a:gd name="connsiteY80" fmla="*/ 239132 h 380318"/>
                <a:gd name="connsiteX81" fmla="*/ 277328 w 1306181"/>
                <a:gd name="connsiteY81" fmla="*/ 225763 h 380318"/>
                <a:gd name="connsiteX82" fmla="*/ 294498 w 1306181"/>
                <a:gd name="connsiteY82" fmla="*/ 166135 h 380318"/>
                <a:gd name="connsiteX83" fmla="*/ 381401 w 1306181"/>
                <a:gd name="connsiteY83" fmla="*/ 165032 h 380318"/>
                <a:gd name="connsiteX84" fmla="*/ 410504 w 1306181"/>
                <a:gd name="connsiteY84" fmla="*/ 170480 h 380318"/>
                <a:gd name="connsiteX85" fmla="*/ 425725 w 1306181"/>
                <a:gd name="connsiteY85" fmla="*/ 164865 h 380318"/>
                <a:gd name="connsiteX86" fmla="*/ 430758 w 1306181"/>
                <a:gd name="connsiteY86" fmla="*/ 176029 h 380318"/>
                <a:gd name="connsiteX87" fmla="*/ 443868 w 1306181"/>
                <a:gd name="connsiteY87" fmla="*/ 197353 h 380318"/>
                <a:gd name="connsiteX88" fmla="*/ 477679 w 1306181"/>
                <a:gd name="connsiteY88" fmla="*/ 230776 h 380318"/>
                <a:gd name="connsiteX89" fmla="*/ 508447 w 1306181"/>
                <a:gd name="connsiteY89" fmla="*/ 233684 h 380318"/>
                <a:gd name="connsiteX90" fmla="*/ 535885 w 1306181"/>
                <a:gd name="connsiteY90" fmla="*/ 239834 h 380318"/>
                <a:gd name="connsiteX91" fmla="*/ 571482 w 1306181"/>
                <a:gd name="connsiteY91" fmla="*/ 246920 h 380318"/>
                <a:gd name="connsiteX92" fmla="*/ 594862 w 1306181"/>
                <a:gd name="connsiteY92" fmla="*/ 260289 h 380318"/>
                <a:gd name="connsiteX93" fmla="*/ 602980 w 1306181"/>
                <a:gd name="connsiteY93" fmla="*/ 280076 h 380318"/>
                <a:gd name="connsiteX94" fmla="*/ 621570 w 1306181"/>
                <a:gd name="connsiteY94" fmla="*/ 305244 h 380318"/>
                <a:gd name="connsiteX95" fmla="*/ 659197 w 1306181"/>
                <a:gd name="connsiteY95" fmla="*/ 317344 h 380318"/>
                <a:gd name="connsiteX96" fmla="*/ 677463 w 1306181"/>
                <a:gd name="connsiteY96" fmla="*/ 325933 h 380318"/>
                <a:gd name="connsiteX97" fmla="*/ 706728 w 1306181"/>
                <a:gd name="connsiteY97" fmla="*/ 317878 h 380318"/>
                <a:gd name="connsiteX98" fmla="*/ 729823 w 1306181"/>
                <a:gd name="connsiteY98" fmla="*/ 319015 h 380318"/>
                <a:gd name="connsiteX99" fmla="*/ 746627 w 1306181"/>
                <a:gd name="connsiteY99" fmla="*/ 313333 h 380318"/>
                <a:gd name="connsiteX100" fmla="*/ 771509 w 1306181"/>
                <a:gd name="connsiteY100" fmla="*/ 304977 h 380318"/>
                <a:gd name="connsiteX101" fmla="*/ 806091 w 1306181"/>
                <a:gd name="connsiteY101" fmla="*/ 312196 h 380318"/>
                <a:gd name="connsiteX102" fmla="*/ 838563 w 1306181"/>
                <a:gd name="connsiteY102" fmla="*/ 321388 h 380318"/>
                <a:gd name="connsiteX103" fmla="*/ 867504 w 1306181"/>
                <a:gd name="connsiteY103" fmla="*/ 316775 h 380318"/>
                <a:gd name="connsiteX104" fmla="*/ 909027 w 1306181"/>
                <a:gd name="connsiteY104" fmla="*/ 334456 h 380318"/>
                <a:gd name="connsiteX105" fmla="*/ 957045 w 1306181"/>
                <a:gd name="connsiteY105" fmla="*/ 344918 h 380318"/>
                <a:gd name="connsiteX106" fmla="*/ 1004616 w 1306181"/>
                <a:gd name="connsiteY106" fmla="*/ 359758 h 380318"/>
                <a:gd name="connsiteX107" fmla="*/ 1021420 w 1306181"/>
                <a:gd name="connsiteY107" fmla="*/ 368214 h 380318"/>
                <a:gd name="connsiteX108" fmla="*/ 1045408 w 1306181"/>
                <a:gd name="connsiteY108" fmla="*/ 379979 h 380318"/>
                <a:gd name="connsiteX109" fmla="*/ 1059453 w 1306181"/>
                <a:gd name="connsiteY109" fmla="*/ 367780 h 380318"/>
                <a:gd name="connsiteX110" fmla="*/ 1067205 w 1306181"/>
                <a:gd name="connsiteY110" fmla="*/ 356549 h 380318"/>
                <a:gd name="connsiteX111" fmla="*/ 1062213 w 1306181"/>
                <a:gd name="connsiteY111" fmla="*/ 325599 h 380318"/>
                <a:gd name="connsiteX112" fmla="*/ 1087825 w 1306181"/>
                <a:gd name="connsiteY112" fmla="*/ 327270 h 380318"/>
                <a:gd name="connsiteX113" fmla="*/ 1108119 w 1306181"/>
                <a:gd name="connsiteY113" fmla="*/ 328975 h 380318"/>
                <a:gd name="connsiteX114" fmla="*/ 1124355 w 1306181"/>
                <a:gd name="connsiteY114" fmla="*/ 336729 h 380318"/>
                <a:gd name="connsiteX115" fmla="*/ 1135964 w 1306181"/>
                <a:gd name="connsiteY115" fmla="*/ 331582 h 380318"/>
                <a:gd name="connsiteX116" fmla="*/ 1145990 w 1306181"/>
                <a:gd name="connsiteY116" fmla="*/ 320719 h 380318"/>
                <a:gd name="connsiteX117" fmla="*/ 1178462 w 1306181"/>
                <a:gd name="connsiteY117" fmla="*/ 305578 h 380318"/>
                <a:gd name="connsiteX118" fmla="*/ 1244461 w 1306181"/>
                <a:gd name="connsiteY118" fmla="*/ 322992 h 380318"/>
                <a:gd name="connsiteX119" fmla="*/ 1269423 w 1306181"/>
                <a:gd name="connsiteY119" fmla="*/ 300231 h 380318"/>
                <a:gd name="connsiteX120" fmla="*/ 1291707 w 1306181"/>
                <a:gd name="connsiteY120" fmla="*/ 296019 h 380318"/>
                <a:gd name="connsiteX121" fmla="*/ 1302869 w 1306181"/>
                <a:gd name="connsiteY121" fmla="*/ 290872 h 380318"/>
                <a:gd name="connsiteX122" fmla="*/ 1302869 w 1306181"/>
                <a:gd name="connsiteY122" fmla="*/ 280845 h 380318"/>
                <a:gd name="connsiteX123" fmla="*/ 476299 w 1306181"/>
                <a:gd name="connsiteY123" fmla="*/ 171149 h 380318"/>
                <a:gd name="connsiteX124" fmla="*/ 433721 w 1306181"/>
                <a:gd name="connsiteY124" fmla="*/ 157044 h 380318"/>
                <a:gd name="connsiteX125" fmla="*/ 476299 w 1306181"/>
                <a:gd name="connsiteY125" fmla="*/ 171082 h 380318"/>
                <a:gd name="connsiteX126" fmla="*/ 1008431 w 1306181"/>
                <a:gd name="connsiteY126" fmla="*/ 281045 h 380318"/>
                <a:gd name="connsiteX127" fmla="*/ 899245 w 1306181"/>
                <a:gd name="connsiteY127" fmla="*/ 262161 h 380318"/>
                <a:gd name="connsiteX128" fmla="*/ 881385 w 1306181"/>
                <a:gd name="connsiteY128" fmla="*/ 272957 h 380318"/>
                <a:gd name="connsiteX129" fmla="*/ 875459 w 1306181"/>
                <a:gd name="connsiteY129" fmla="*/ 279241 h 380318"/>
                <a:gd name="connsiteX130" fmla="*/ 871847 w 1306181"/>
                <a:gd name="connsiteY130" fmla="*/ 257415 h 380318"/>
                <a:gd name="connsiteX131" fmla="*/ 984159 w 1306181"/>
                <a:gd name="connsiteY131" fmla="*/ 270016 h 380318"/>
                <a:gd name="connsiteX132" fmla="*/ 1041593 w 1306181"/>
                <a:gd name="connsiteY132" fmla="*/ 280611 h 380318"/>
                <a:gd name="connsiteX133" fmla="*/ 1042121 w 1306181"/>
                <a:gd name="connsiteY133" fmla="*/ 283953 h 380318"/>
                <a:gd name="connsiteX134" fmla="*/ 1008431 w 1306181"/>
                <a:gd name="connsiteY134" fmla="*/ 280979 h 38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306181" h="380318">
                  <a:moveTo>
                    <a:pt x="1302626" y="281447"/>
                  </a:moveTo>
                  <a:cubicBezTo>
                    <a:pt x="1303031" y="278104"/>
                    <a:pt x="1253350" y="276433"/>
                    <a:pt x="1252944" y="259454"/>
                  </a:cubicBezTo>
                  <a:cubicBezTo>
                    <a:pt x="1252944" y="254674"/>
                    <a:pt x="1237683" y="250864"/>
                    <a:pt x="1233866" y="245449"/>
                  </a:cubicBezTo>
                  <a:cubicBezTo>
                    <a:pt x="1229077" y="238598"/>
                    <a:pt x="1225748" y="229206"/>
                    <a:pt x="1210690" y="225395"/>
                  </a:cubicBezTo>
                  <a:cubicBezTo>
                    <a:pt x="1198513" y="222454"/>
                    <a:pt x="1186336" y="225395"/>
                    <a:pt x="1174159" y="221886"/>
                  </a:cubicBezTo>
                  <a:cubicBezTo>
                    <a:pt x="1160115" y="217741"/>
                    <a:pt x="1147613" y="212126"/>
                    <a:pt x="1140389" y="204238"/>
                  </a:cubicBezTo>
                  <a:cubicBezTo>
                    <a:pt x="1123787" y="186189"/>
                    <a:pt x="1110961" y="215435"/>
                    <a:pt x="1099799" y="194746"/>
                  </a:cubicBezTo>
                  <a:cubicBezTo>
                    <a:pt x="1091519" y="177860"/>
                    <a:pt x="1081777" y="161486"/>
                    <a:pt x="1070656" y="145747"/>
                  </a:cubicBezTo>
                  <a:cubicBezTo>
                    <a:pt x="1064405" y="136659"/>
                    <a:pt x="1056530" y="128400"/>
                    <a:pt x="1047276" y="121247"/>
                  </a:cubicBezTo>
                  <a:cubicBezTo>
                    <a:pt x="1040700" y="116401"/>
                    <a:pt x="1018863" y="108747"/>
                    <a:pt x="1027793" y="103266"/>
                  </a:cubicBezTo>
                  <a:cubicBezTo>
                    <a:pt x="1034693" y="99154"/>
                    <a:pt x="1034490" y="97283"/>
                    <a:pt x="1018660" y="95411"/>
                  </a:cubicBezTo>
                  <a:cubicBezTo>
                    <a:pt x="1005266" y="93840"/>
                    <a:pt x="987122" y="96079"/>
                    <a:pt x="974011" y="96447"/>
                  </a:cubicBezTo>
                  <a:cubicBezTo>
                    <a:pt x="961672" y="96781"/>
                    <a:pt x="949333" y="96153"/>
                    <a:pt x="937156" y="94575"/>
                  </a:cubicBezTo>
                  <a:cubicBezTo>
                    <a:pt x="936750" y="94575"/>
                    <a:pt x="902533" y="94575"/>
                    <a:pt x="917064" y="89328"/>
                  </a:cubicBezTo>
                  <a:cubicBezTo>
                    <a:pt x="918606" y="88760"/>
                    <a:pt x="941215" y="84715"/>
                    <a:pt x="927130" y="82643"/>
                  </a:cubicBezTo>
                  <a:cubicBezTo>
                    <a:pt x="918038" y="81406"/>
                    <a:pt x="909473" y="74722"/>
                    <a:pt x="902411" y="74555"/>
                  </a:cubicBezTo>
                  <a:cubicBezTo>
                    <a:pt x="897987" y="74555"/>
                    <a:pt x="899164" y="79568"/>
                    <a:pt x="892791" y="75190"/>
                  </a:cubicBezTo>
                  <a:cubicBezTo>
                    <a:pt x="888407" y="72181"/>
                    <a:pt x="893075" y="68906"/>
                    <a:pt x="886215" y="66065"/>
                  </a:cubicBezTo>
                  <a:cubicBezTo>
                    <a:pt x="878097" y="62723"/>
                    <a:pt x="858290" y="70444"/>
                    <a:pt x="849685" y="61920"/>
                  </a:cubicBezTo>
                  <a:cubicBezTo>
                    <a:pt x="846397" y="58578"/>
                    <a:pt x="854271" y="57943"/>
                    <a:pt x="855530" y="55737"/>
                  </a:cubicBezTo>
                  <a:cubicBezTo>
                    <a:pt x="857762" y="51760"/>
                    <a:pt x="850537" y="46780"/>
                    <a:pt x="853460" y="42802"/>
                  </a:cubicBezTo>
                  <a:cubicBezTo>
                    <a:pt x="859020" y="35282"/>
                    <a:pt x="833165" y="32207"/>
                    <a:pt x="826386" y="30569"/>
                  </a:cubicBezTo>
                  <a:cubicBezTo>
                    <a:pt x="812504" y="27227"/>
                    <a:pt x="804995" y="22113"/>
                    <a:pt x="790059" y="20375"/>
                  </a:cubicBezTo>
                  <a:cubicBezTo>
                    <a:pt x="777435" y="18904"/>
                    <a:pt x="773051" y="21344"/>
                    <a:pt x="763026" y="21879"/>
                  </a:cubicBezTo>
                  <a:cubicBezTo>
                    <a:pt x="744963" y="22815"/>
                    <a:pt x="720812" y="19874"/>
                    <a:pt x="701695" y="17968"/>
                  </a:cubicBezTo>
                  <a:cubicBezTo>
                    <a:pt x="688787" y="16665"/>
                    <a:pt x="674337" y="13924"/>
                    <a:pt x="661714" y="13991"/>
                  </a:cubicBezTo>
                  <a:cubicBezTo>
                    <a:pt x="641825" y="13991"/>
                    <a:pt x="625183" y="10649"/>
                    <a:pt x="605294" y="8810"/>
                  </a:cubicBezTo>
                  <a:cubicBezTo>
                    <a:pt x="590113" y="7507"/>
                    <a:pt x="578180" y="10582"/>
                    <a:pt x="562756" y="7340"/>
                  </a:cubicBezTo>
                  <a:cubicBezTo>
                    <a:pt x="549118" y="4465"/>
                    <a:pt x="535317" y="2393"/>
                    <a:pt x="521517" y="87"/>
                  </a:cubicBezTo>
                  <a:cubicBezTo>
                    <a:pt x="508812" y="-2052"/>
                    <a:pt x="511045" y="9913"/>
                    <a:pt x="514170" y="14024"/>
                  </a:cubicBezTo>
                  <a:cubicBezTo>
                    <a:pt x="518229" y="19305"/>
                    <a:pt x="539538" y="21879"/>
                    <a:pt x="541162" y="26625"/>
                  </a:cubicBezTo>
                  <a:cubicBezTo>
                    <a:pt x="541811" y="28497"/>
                    <a:pt x="500572" y="21177"/>
                    <a:pt x="496879" y="25388"/>
                  </a:cubicBezTo>
                  <a:cubicBezTo>
                    <a:pt x="493185" y="29600"/>
                    <a:pt x="500938" y="35683"/>
                    <a:pt x="492251" y="37856"/>
                  </a:cubicBezTo>
                  <a:cubicBezTo>
                    <a:pt x="486609" y="39259"/>
                    <a:pt x="468547" y="37856"/>
                    <a:pt x="470049" y="42669"/>
                  </a:cubicBezTo>
                  <a:cubicBezTo>
                    <a:pt x="473377" y="53598"/>
                    <a:pt x="507797" y="52963"/>
                    <a:pt x="508812" y="64761"/>
                  </a:cubicBezTo>
                  <a:cubicBezTo>
                    <a:pt x="509299" y="70678"/>
                    <a:pt x="507675" y="75658"/>
                    <a:pt x="494524" y="74454"/>
                  </a:cubicBezTo>
                  <a:cubicBezTo>
                    <a:pt x="479668" y="73117"/>
                    <a:pt x="475609" y="67368"/>
                    <a:pt x="463392" y="63859"/>
                  </a:cubicBezTo>
                  <a:cubicBezTo>
                    <a:pt x="457506" y="62188"/>
                    <a:pt x="455274" y="67569"/>
                    <a:pt x="452879" y="69006"/>
                  </a:cubicBezTo>
                  <a:cubicBezTo>
                    <a:pt x="446344" y="73017"/>
                    <a:pt x="441758" y="63224"/>
                    <a:pt x="435304" y="62121"/>
                  </a:cubicBezTo>
                  <a:cubicBezTo>
                    <a:pt x="416551" y="58779"/>
                    <a:pt x="405633" y="40362"/>
                    <a:pt x="383511" y="47248"/>
                  </a:cubicBezTo>
                  <a:cubicBezTo>
                    <a:pt x="370279" y="51325"/>
                    <a:pt x="345722" y="31572"/>
                    <a:pt x="331963" y="43471"/>
                  </a:cubicBezTo>
                  <a:cubicBezTo>
                    <a:pt x="326321" y="48350"/>
                    <a:pt x="308015" y="43471"/>
                    <a:pt x="301317" y="40128"/>
                  </a:cubicBezTo>
                  <a:cubicBezTo>
                    <a:pt x="297299" y="37835"/>
                    <a:pt x="292955" y="35990"/>
                    <a:pt x="288369" y="34647"/>
                  </a:cubicBezTo>
                  <a:cubicBezTo>
                    <a:pt x="280778" y="33009"/>
                    <a:pt x="284878" y="38591"/>
                    <a:pt x="280698" y="39259"/>
                  </a:cubicBezTo>
                  <a:cubicBezTo>
                    <a:pt x="285568" y="38457"/>
                    <a:pt x="243477" y="15027"/>
                    <a:pt x="234831" y="12888"/>
                  </a:cubicBezTo>
                  <a:cubicBezTo>
                    <a:pt x="224278" y="10281"/>
                    <a:pt x="218798" y="8877"/>
                    <a:pt x="211654" y="4398"/>
                  </a:cubicBezTo>
                  <a:cubicBezTo>
                    <a:pt x="198097" y="-4124"/>
                    <a:pt x="190994" y="7005"/>
                    <a:pt x="181374" y="4064"/>
                  </a:cubicBezTo>
                  <a:cubicBezTo>
                    <a:pt x="166924" y="-314"/>
                    <a:pt x="163353" y="-1284"/>
                    <a:pt x="147239" y="521"/>
                  </a:cubicBezTo>
                  <a:cubicBezTo>
                    <a:pt x="135954" y="1791"/>
                    <a:pt x="123372" y="5669"/>
                    <a:pt x="110708" y="3864"/>
                  </a:cubicBezTo>
                  <a:cubicBezTo>
                    <a:pt x="104903" y="3095"/>
                    <a:pt x="103645" y="5535"/>
                    <a:pt x="101250" y="7406"/>
                  </a:cubicBezTo>
                  <a:cubicBezTo>
                    <a:pt x="97191" y="10749"/>
                    <a:pt x="90128" y="8777"/>
                    <a:pt x="84324" y="10448"/>
                  </a:cubicBezTo>
                  <a:cubicBezTo>
                    <a:pt x="72147" y="13790"/>
                    <a:pt x="93985" y="26592"/>
                    <a:pt x="76206" y="27628"/>
                  </a:cubicBezTo>
                  <a:cubicBezTo>
                    <a:pt x="64030" y="28397"/>
                    <a:pt x="59321" y="16765"/>
                    <a:pt x="52340" y="13055"/>
                  </a:cubicBezTo>
                  <a:cubicBezTo>
                    <a:pt x="36104" y="4465"/>
                    <a:pt x="34074" y="19005"/>
                    <a:pt x="24901" y="21043"/>
                  </a:cubicBezTo>
                  <a:cubicBezTo>
                    <a:pt x="10532" y="24386"/>
                    <a:pt x="9193" y="26826"/>
                    <a:pt x="20314" y="33009"/>
                  </a:cubicBezTo>
                  <a:cubicBezTo>
                    <a:pt x="23642" y="34847"/>
                    <a:pt x="3835" y="40563"/>
                    <a:pt x="1318" y="43404"/>
                  </a:cubicBezTo>
                  <a:cubicBezTo>
                    <a:pt x="-3999" y="49386"/>
                    <a:pt x="7285" y="49453"/>
                    <a:pt x="14591" y="52829"/>
                  </a:cubicBezTo>
                  <a:cubicBezTo>
                    <a:pt x="21897" y="56205"/>
                    <a:pt x="8949" y="67101"/>
                    <a:pt x="21572" y="66533"/>
                  </a:cubicBezTo>
                  <a:cubicBezTo>
                    <a:pt x="39960" y="65697"/>
                    <a:pt x="48281" y="69508"/>
                    <a:pt x="56723" y="78031"/>
                  </a:cubicBezTo>
                  <a:cubicBezTo>
                    <a:pt x="60782" y="82175"/>
                    <a:pt x="68900" y="86888"/>
                    <a:pt x="70726" y="91400"/>
                  </a:cubicBezTo>
                  <a:cubicBezTo>
                    <a:pt x="72553" y="95912"/>
                    <a:pt x="55790" y="92603"/>
                    <a:pt x="59037" y="96748"/>
                  </a:cubicBezTo>
                  <a:cubicBezTo>
                    <a:pt x="61797" y="100090"/>
                    <a:pt x="70159" y="102330"/>
                    <a:pt x="75272" y="104769"/>
                  </a:cubicBezTo>
                  <a:cubicBezTo>
                    <a:pt x="83390" y="108647"/>
                    <a:pt x="84690" y="105973"/>
                    <a:pt x="92726" y="104134"/>
                  </a:cubicBezTo>
                  <a:cubicBezTo>
                    <a:pt x="108353" y="100471"/>
                    <a:pt x="124711" y="99335"/>
                    <a:pt x="140866" y="100792"/>
                  </a:cubicBezTo>
                  <a:cubicBezTo>
                    <a:pt x="156412" y="102330"/>
                    <a:pt x="173337" y="106708"/>
                    <a:pt x="188884" y="109348"/>
                  </a:cubicBezTo>
                  <a:cubicBezTo>
                    <a:pt x="209544" y="112891"/>
                    <a:pt x="208407" y="122985"/>
                    <a:pt x="205120" y="131408"/>
                  </a:cubicBezTo>
                  <a:cubicBezTo>
                    <a:pt x="202887" y="136856"/>
                    <a:pt x="207068" y="144778"/>
                    <a:pt x="193267" y="144243"/>
                  </a:cubicBezTo>
                  <a:cubicBezTo>
                    <a:pt x="179467" y="143708"/>
                    <a:pt x="165463" y="139329"/>
                    <a:pt x="150972" y="138895"/>
                  </a:cubicBezTo>
                  <a:cubicBezTo>
                    <a:pt x="141880" y="138628"/>
                    <a:pt x="126984" y="138226"/>
                    <a:pt x="130921" y="144945"/>
                  </a:cubicBezTo>
                  <a:cubicBezTo>
                    <a:pt x="133884" y="149992"/>
                    <a:pt x="137212" y="158080"/>
                    <a:pt x="122803" y="151629"/>
                  </a:cubicBezTo>
                  <a:cubicBezTo>
                    <a:pt x="117567" y="149223"/>
                    <a:pt x="99708" y="145981"/>
                    <a:pt x="101453" y="152599"/>
                  </a:cubicBezTo>
                  <a:cubicBezTo>
                    <a:pt x="102346" y="155941"/>
                    <a:pt x="123128" y="160620"/>
                    <a:pt x="126944" y="165968"/>
                  </a:cubicBezTo>
                  <a:cubicBezTo>
                    <a:pt x="130231" y="170681"/>
                    <a:pt x="122519" y="178769"/>
                    <a:pt x="131530" y="182680"/>
                  </a:cubicBezTo>
                  <a:cubicBezTo>
                    <a:pt x="135589" y="184418"/>
                    <a:pt x="138958" y="182847"/>
                    <a:pt x="142367" y="185621"/>
                  </a:cubicBezTo>
                  <a:cubicBezTo>
                    <a:pt x="146426" y="188963"/>
                    <a:pt x="148537" y="192707"/>
                    <a:pt x="156574" y="193542"/>
                  </a:cubicBezTo>
                  <a:cubicBezTo>
                    <a:pt x="177559" y="195782"/>
                    <a:pt x="173135" y="199425"/>
                    <a:pt x="166965" y="206076"/>
                  </a:cubicBezTo>
                  <a:cubicBezTo>
                    <a:pt x="162540" y="210856"/>
                    <a:pt x="165423" y="218543"/>
                    <a:pt x="170131" y="223757"/>
                  </a:cubicBezTo>
                  <a:cubicBezTo>
                    <a:pt x="177194" y="231545"/>
                    <a:pt x="179304" y="217073"/>
                    <a:pt x="182064" y="215235"/>
                  </a:cubicBezTo>
                  <a:cubicBezTo>
                    <a:pt x="178005" y="207647"/>
                    <a:pt x="195337" y="208550"/>
                    <a:pt x="204307" y="209352"/>
                  </a:cubicBezTo>
                  <a:cubicBezTo>
                    <a:pt x="214171" y="209823"/>
                    <a:pt x="223669" y="212517"/>
                    <a:pt x="231787" y="217139"/>
                  </a:cubicBezTo>
                  <a:cubicBezTo>
                    <a:pt x="241203" y="222688"/>
                    <a:pt x="250702" y="236659"/>
                    <a:pt x="263488" y="239132"/>
                  </a:cubicBezTo>
                  <a:cubicBezTo>
                    <a:pt x="278424" y="242007"/>
                    <a:pt x="275665" y="230877"/>
                    <a:pt x="277328" y="225763"/>
                  </a:cubicBezTo>
                  <a:lnTo>
                    <a:pt x="294498" y="166135"/>
                  </a:lnTo>
                  <a:cubicBezTo>
                    <a:pt x="295959" y="161021"/>
                    <a:pt x="370929" y="170280"/>
                    <a:pt x="381401" y="165032"/>
                  </a:cubicBezTo>
                  <a:cubicBezTo>
                    <a:pt x="391873" y="159785"/>
                    <a:pt x="402101" y="165333"/>
                    <a:pt x="410504" y="170480"/>
                  </a:cubicBezTo>
                  <a:cubicBezTo>
                    <a:pt x="411031" y="170814"/>
                    <a:pt x="419474" y="163495"/>
                    <a:pt x="425725" y="164865"/>
                  </a:cubicBezTo>
                  <a:cubicBezTo>
                    <a:pt x="436603" y="167272"/>
                    <a:pt x="422315" y="174591"/>
                    <a:pt x="430758" y="176029"/>
                  </a:cubicBezTo>
                  <a:cubicBezTo>
                    <a:pt x="442610" y="178101"/>
                    <a:pt x="445046" y="193108"/>
                    <a:pt x="443868" y="197353"/>
                  </a:cubicBezTo>
                  <a:cubicBezTo>
                    <a:pt x="442691" y="201598"/>
                    <a:pt x="467898" y="228671"/>
                    <a:pt x="477679" y="230776"/>
                  </a:cubicBezTo>
                  <a:cubicBezTo>
                    <a:pt x="487462" y="232882"/>
                    <a:pt x="498421" y="232648"/>
                    <a:pt x="508447" y="233684"/>
                  </a:cubicBezTo>
                  <a:cubicBezTo>
                    <a:pt x="517336" y="234620"/>
                    <a:pt x="527118" y="238029"/>
                    <a:pt x="535885" y="239834"/>
                  </a:cubicBezTo>
                  <a:cubicBezTo>
                    <a:pt x="547737" y="242308"/>
                    <a:pt x="559590" y="244614"/>
                    <a:pt x="571482" y="246920"/>
                  </a:cubicBezTo>
                  <a:cubicBezTo>
                    <a:pt x="584715" y="249460"/>
                    <a:pt x="586338" y="254340"/>
                    <a:pt x="594862" y="260289"/>
                  </a:cubicBezTo>
                  <a:cubicBezTo>
                    <a:pt x="607283" y="268812"/>
                    <a:pt x="603630" y="270317"/>
                    <a:pt x="602980" y="280076"/>
                  </a:cubicBezTo>
                  <a:cubicBezTo>
                    <a:pt x="602655" y="284388"/>
                    <a:pt x="614061" y="303038"/>
                    <a:pt x="621570" y="305244"/>
                  </a:cubicBezTo>
                  <a:cubicBezTo>
                    <a:pt x="634843" y="309121"/>
                    <a:pt x="647994" y="310659"/>
                    <a:pt x="659197" y="317344"/>
                  </a:cubicBezTo>
                  <a:cubicBezTo>
                    <a:pt x="665610" y="321187"/>
                    <a:pt x="665123" y="331348"/>
                    <a:pt x="677463" y="325933"/>
                  </a:cubicBezTo>
                  <a:cubicBezTo>
                    <a:pt x="687326" y="321588"/>
                    <a:pt x="691831" y="318614"/>
                    <a:pt x="706728" y="317878"/>
                  </a:cubicBezTo>
                  <a:cubicBezTo>
                    <a:pt x="714440" y="317166"/>
                    <a:pt x="722273" y="317551"/>
                    <a:pt x="729823" y="319015"/>
                  </a:cubicBezTo>
                  <a:cubicBezTo>
                    <a:pt x="741229" y="321856"/>
                    <a:pt x="736602" y="313466"/>
                    <a:pt x="746627" y="313333"/>
                  </a:cubicBezTo>
                  <a:cubicBezTo>
                    <a:pt x="760468" y="313166"/>
                    <a:pt x="762092" y="307818"/>
                    <a:pt x="771509" y="304977"/>
                  </a:cubicBezTo>
                  <a:cubicBezTo>
                    <a:pt x="780276" y="302336"/>
                    <a:pt x="798055" y="308754"/>
                    <a:pt x="806091" y="312196"/>
                  </a:cubicBezTo>
                  <a:cubicBezTo>
                    <a:pt x="813154" y="315171"/>
                    <a:pt x="830730" y="326702"/>
                    <a:pt x="838563" y="321388"/>
                  </a:cubicBezTo>
                  <a:cubicBezTo>
                    <a:pt x="846397" y="316073"/>
                    <a:pt x="850984" y="313099"/>
                    <a:pt x="867504" y="316775"/>
                  </a:cubicBezTo>
                  <a:cubicBezTo>
                    <a:pt x="883090" y="320118"/>
                    <a:pt x="892750" y="330780"/>
                    <a:pt x="909027" y="334456"/>
                  </a:cubicBezTo>
                  <a:cubicBezTo>
                    <a:pt x="925303" y="338133"/>
                    <a:pt x="940768" y="340239"/>
                    <a:pt x="957045" y="344918"/>
                  </a:cubicBezTo>
                  <a:cubicBezTo>
                    <a:pt x="972225" y="349263"/>
                    <a:pt x="989030" y="356850"/>
                    <a:pt x="1004616" y="359758"/>
                  </a:cubicBezTo>
                  <a:cubicBezTo>
                    <a:pt x="1011394" y="360584"/>
                    <a:pt x="1017442" y="363635"/>
                    <a:pt x="1021420" y="368214"/>
                  </a:cubicBezTo>
                  <a:cubicBezTo>
                    <a:pt x="1027305" y="374899"/>
                    <a:pt x="1038265" y="374264"/>
                    <a:pt x="1045408" y="379979"/>
                  </a:cubicBezTo>
                  <a:cubicBezTo>
                    <a:pt x="1047682" y="373295"/>
                    <a:pt x="1048128" y="370353"/>
                    <a:pt x="1059453" y="367780"/>
                  </a:cubicBezTo>
                  <a:cubicBezTo>
                    <a:pt x="1069235" y="365540"/>
                    <a:pt x="1070128" y="363201"/>
                    <a:pt x="1067205" y="356549"/>
                  </a:cubicBezTo>
                  <a:cubicBezTo>
                    <a:pt x="1065095" y="351669"/>
                    <a:pt x="1057992" y="326468"/>
                    <a:pt x="1062213" y="325599"/>
                  </a:cubicBezTo>
                  <a:cubicBezTo>
                    <a:pt x="1070736" y="324095"/>
                    <a:pt x="1078692" y="326234"/>
                    <a:pt x="1087825" y="327270"/>
                  </a:cubicBezTo>
                  <a:cubicBezTo>
                    <a:pt x="1094604" y="327521"/>
                    <a:pt x="1101382" y="328089"/>
                    <a:pt x="1108119" y="328975"/>
                  </a:cubicBezTo>
                  <a:cubicBezTo>
                    <a:pt x="1113559" y="330178"/>
                    <a:pt x="1118551" y="334857"/>
                    <a:pt x="1124355" y="336729"/>
                  </a:cubicBezTo>
                  <a:cubicBezTo>
                    <a:pt x="1135639" y="340473"/>
                    <a:pt x="1145178" y="339637"/>
                    <a:pt x="1135964" y="331582"/>
                  </a:cubicBezTo>
                  <a:cubicBezTo>
                    <a:pt x="1132473" y="328574"/>
                    <a:pt x="1143839" y="322223"/>
                    <a:pt x="1145990" y="320719"/>
                  </a:cubicBezTo>
                  <a:cubicBezTo>
                    <a:pt x="1151145" y="317009"/>
                    <a:pt x="1168192" y="299328"/>
                    <a:pt x="1178462" y="305578"/>
                  </a:cubicBezTo>
                  <a:cubicBezTo>
                    <a:pt x="1192871" y="314436"/>
                    <a:pt x="1226439" y="325198"/>
                    <a:pt x="1244461" y="322992"/>
                  </a:cubicBezTo>
                  <a:cubicBezTo>
                    <a:pt x="1260453" y="321054"/>
                    <a:pt x="1237601" y="296253"/>
                    <a:pt x="1269423" y="300231"/>
                  </a:cubicBezTo>
                  <a:cubicBezTo>
                    <a:pt x="1281113" y="301735"/>
                    <a:pt x="1288825" y="303172"/>
                    <a:pt x="1291707" y="296019"/>
                  </a:cubicBezTo>
                  <a:cubicBezTo>
                    <a:pt x="1292925" y="293111"/>
                    <a:pt x="1299135" y="292343"/>
                    <a:pt x="1302869" y="290872"/>
                  </a:cubicBezTo>
                  <a:cubicBezTo>
                    <a:pt x="1310541" y="287864"/>
                    <a:pt x="1302139" y="285558"/>
                    <a:pt x="1302869" y="280845"/>
                  </a:cubicBezTo>
                  <a:close/>
                  <a:moveTo>
                    <a:pt x="476299" y="171149"/>
                  </a:moveTo>
                  <a:cubicBezTo>
                    <a:pt x="471794" y="173154"/>
                    <a:pt x="435710" y="161556"/>
                    <a:pt x="433721" y="157044"/>
                  </a:cubicBezTo>
                  <a:cubicBezTo>
                    <a:pt x="431732" y="152532"/>
                    <a:pt x="486000" y="166703"/>
                    <a:pt x="476299" y="171082"/>
                  </a:cubicBezTo>
                  <a:close/>
                  <a:moveTo>
                    <a:pt x="1008431" y="281045"/>
                  </a:moveTo>
                  <a:cubicBezTo>
                    <a:pt x="976284" y="273224"/>
                    <a:pt x="929606" y="253638"/>
                    <a:pt x="899245" y="262161"/>
                  </a:cubicBezTo>
                  <a:cubicBezTo>
                    <a:pt x="891127" y="264434"/>
                    <a:pt x="883861" y="267776"/>
                    <a:pt x="881385" y="272957"/>
                  </a:cubicBezTo>
                  <a:cubicBezTo>
                    <a:pt x="880411" y="275029"/>
                    <a:pt x="881629" y="280043"/>
                    <a:pt x="875459" y="279241"/>
                  </a:cubicBezTo>
                  <a:cubicBezTo>
                    <a:pt x="862105" y="277569"/>
                    <a:pt x="869533" y="260323"/>
                    <a:pt x="871847" y="257415"/>
                  </a:cubicBezTo>
                  <a:cubicBezTo>
                    <a:pt x="888082" y="236559"/>
                    <a:pt x="955502" y="263231"/>
                    <a:pt x="984159" y="270016"/>
                  </a:cubicBezTo>
                  <a:cubicBezTo>
                    <a:pt x="1003155" y="274428"/>
                    <a:pt x="1022759" y="276065"/>
                    <a:pt x="1041593" y="280611"/>
                  </a:cubicBezTo>
                  <a:cubicBezTo>
                    <a:pt x="1045977" y="281680"/>
                    <a:pt x="1045652" y="283251"/>
                    <a:pt x="1042121" y="283953"/>
                  </a:cubicBezTo>
                  <a:cubicBezTo>
                    <a:pt x="1032704" y="285858"/>
                    <a:pt x="1018863" y="283485"/>
                    <a:pt x="1008431" y="28097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69EA2A6D-EDED-48C9-9474-EA8B817BFF76}"/>
                </a:ext>
              </a:extLst>
            </p:cNvPr>
            <p:cNvSpPr/>
            <p:nvPr/>
          </p:nvSpPr>
          <p:spPr>
            <a:xfrm>
              <a:off x="6402260" y="3092638"/>
              <a:ext cx="5495992" cy="2374809"/>
            </a:xfrm>
            <a:custGeom>
              <a:avLst/>
              <a:gdLst>
                <a:gd name="connsiteX0" fmla="*/ 86305 w 5495992"/>
                <a:gd name="connsiteY0" fmla="*/ 704436 h 2374809"/>
                <a:gd name="connsiteX1" fmla="*/ 70434 w 5495992"/>
                <a:gd name="connsiteY1" fmla="*/ 701930 h 2374809"/>
                <a:gd name="connsiteX2" fmla="*/ 46080 w 5495992"/>
                <a:gd name="connsiteY2" fmla="*/ 698253 h 2374809"/>
                <a:gd name="connsiteX3" fmla="*/ 40722 w 5495992"/>
                <a:gd name="connsiteY3" fmla="*/ 706342 h 2374809"/>
                <a:gd name="connsiteX4" fmla="*/ 32199 w 5495992"/>
                <a:gd name="connsiteY4" fmla="*/ 713327 h 2374809"/>
                <a:gd name="connsiteX5" fmla="*/ 14826 w 5495992"/>
                <a:gd name="connsiteY5" fmla="*/ 706308 h 2374809"/>
                <a:gd name="connsiteX6" fmla="*/ 8697 w 5495992"/>
                <a:gd name="connsiteY6" fmla="*/ 715567 h 2374809"/>
                <a:gd name="connsiteX7" fmla="*/ 78025 w 5495992"/>
                <a:gd name="connsiteY7" fmla="*/ 721883 h 2374809"/>
                <a:gd name="connsiteX8" fmla="*/ 103068 w 5495992"/>
                <a:gd name="connsiteY8" fmla="*/ 716536 h 2374809"/>
                <a:gd name="connsiteX9" fmla="*/ 86224 w 5495992"/>
                <a:gd name="connsiteY9" fmla="*/ 704436 h 2374809"/>
                <a:gd name="connsiteX10" fmla="*/ 1722803 w 5495992"/>
                <a:gd name="connsiteY10" fmla="*/ 109497 h 2374809"/>
                <a:gd name="connsiteX11" fmla="*/ 1754504 w 5495992"/>
                <a:gd name="connsiteY11" fmla="*/ 102478 h 2374809"/>
                <a:gd name="connsiteX12" fmla="*/ 1707866 w 5495992"/>
                <a:gd name="connsiteY12" fmla="*/ 97330 h 2374809"/>
                <a:gd name="connsiteX13" fmla="*/ 1661512 w 5495992"/>
                <a:gd name="connsiteY13" fmla="*/ 95058 h 2374809"/>
                <a:gd name="connsiteX14" fmla="*/ 1722803 w 5495992"/>
                <a:gd name="connsiteY14" fmla="*/ 109497 h 2374809"/>
                <a:gd name="connsiteX15" fmla="*/ 1722843 w 5495992"/>
                <a:gd name="connsiteY15" fmla="*/ 109563 h 2374809"/>
                <a:gd name="connsiteX16" fmla="*/ 1846642 w 5495992"/>
                <a:gd name="connsiteY16" fmla="*/ 423177 h 2374809"/>
                <a:gd name="connsiteX17" fmla="*/ 1895350 w 5495992"/>
                <a:gd name="connsiteY17" fmla="*/ 422141 h 2374809"/>
                <a:gd name="connsiteX18" fmla="*/ 1847981 w 5495992"/>
                <a:gd name="connsiteY18" fmla="*/ 412882 h 2374809"/>
                <a:gd name="connsiteX19" fmla="*/ 1846520 w 5495992"/>
                <a:gd name="connsiteY19" fmla="*/ 423177 h 2374809"/>
                <a:gd name="connsiteX20" fmla="*/ 2713233 w 5495992"/>
                <a:gd name="connsiteY20" fmla="*/ 374412 h 2374809"/>
                <a:gd name="connsiteX21" fmla="*/ 2702071 w 5495992"/>
                <a:gd name="connsiteY21" fmla="*/ 378055 h 2374809"/>
                <a:gd name="connsiteX22" fmla="*/ 2674348 w 5495992"/>
                <a:gd name="connsiteY22" fmla="*/ 376317 h 2374809"/>
                <a:gd name="connsiteX23" fmla="*/ 2701746 w 5495992"/>
                <a:gd name="connsiteY23" fmla="*/ 395101 h 2374809"/>
                <a:gd name="connsiteX24" fmla="*/ 2748790 w 5495992"/>
                <a:gd name="connsiteY24" fmla="*/ 396338 h 2374809"/>
                <a:gd name="connsiteX25" fmla="*/ 2818279 w 5495992"/>
                <a:gd name="connsiteY25" fmla="*/ 405964 h 2374809"/>
                <a:gd name="connsiteX26" fmla="*/ 2852457 w 5495992"/>
                <a:gd name="connsiteY26" fmla="*/ 413183 h 2374809"/>
                <a:gd name="connsiteX27" fmla="*/ 2858423 w 5495992"/>
                <a:gd name="connsiteY27" fmla="*/ 403156 h 2374809"/>
                <a:gd name="connsiteX28" fmla="*/ 2882047 w 5495992"/>
                <a:gd name="connsiteY28" fmla="*/ 404727 h 2374809"/>
                <a:gd name="connsiteX29" fmla="*/ 2844176 w 5495992"/>
                <a:gd name="connsiteY29" fmla="*/ 384071 h 2374809"/>
                <a:gd name="connsiteX30" fmla="*/ 2816494 w 5495992"/>
                <a:gd name="connsiteY30" fmla="*/ 362480 h 2374809"/>
                <a:gd name="connsiteX31" fmla="*/ 2737628 w 5495992"/>
                <a:gd name="connsiteY31" fmla="*/ 356965 h 2374809"/>
                <a:gd name="connsiteX32" fmla="*/ 2716967 w 5495992"/>
                <a:gd name="connsiteY32" fmla="*/ 363148 h 2374809"/>
                <a:gd name="connsiteX33" fmla="*/ 2713233 w 5495992"/>
                <a:gd name="connsiteY33" fmla="*/ 374378 h 2374809"/>
                <a:gd name="connsiteX34" fmla="*/ 2763078 w 5495992"/>
                <a:gd name="connsiteY34" fmla="*/ 404493 h 2374809"/>
                <a:gd name="connsiteX35" fmla="*/ 2736451 w 5495992"/>
                <a:gd name="connsiteY35" fmla="*/ 407835 h 2374809"/>
                <a:gd name="connsiteX36" fmla="*/ 2757314 w 5495992"/>
                <a:gd name="connsiteY36" fmla="*/ 422709 h 2374809"/>
                <a:gd name="connsiteX37" fmla="*/ 2775377 w 5495992"/>
                <a:gd name="connsiteY37" fmla="*/ 439722 h 2374809"/>
                <a:gd name="connsiteX38" fmla="*/ 2809147 w 5495992"/>
                <a:gd name="connsiteY38" fmla="*/ 452255 h 2374809"/>
                <a:gd name="connsiteX39" fmla="*/ 2897917 w 5495992"/>
                <a:gd name="connsiteY39" fmla="*/ 488553 h 2374809"/>
                <a:gd name="connsiteX40" fmla="*/ 2915208 w 5495992"/>
                <a:gd name="connsiteY40" fmla="*/ 483573 h 2374809"/>
                <a:gd name="connsiteX41" fmla="*/ 2909201 w 5495992"/>
                <a:gd name="connsiteY41" fmla="*/ 479362 h 2374809"/>
                <a:gd name="connsiteX42" fmla="*/ 2920079 w 5495992"/>
                <a:gd name="connsiteY42" fmla="*/ 472376 h 2374809"/>
                <a:gd name="connsiteX43" fmla="*/ 2917360 w 5495992"/>
                <a:gd name="connsiteY43" fmla="*/ 447008 h 2374809"/>
                <a:gd name="connsiteX44" fmla="*/ 2892153 w 5495992"/>
                <a:gd name="connsiteY44" fmla="*/ 439521 h 2374809"/>
                <a:gd name="connsiteX45" fmla="*/ 2873807 w 5495992"/>
                <a:gd name="connsiteY45" fmla="*/ 435878 h 2374809"/>
                <a:gd name="connsiteX46" fmla="*/ 2827412 w 5495992"/>
                <a:gd name="connsiteY46" fmla="*/ 413217 h 2374809"/>
                <a:gd name="connsiteX47" fmla="*/ 2763240 w 5495992"/>
                <a:gd name="connsiteY47" fmla="*/ 404460 h 2374809"/>
                <a:gd name="connsiteX48" fmla="*/ 2146113 w 5495992"/>
                <a:gd name="connsiteY48" fmla="*/ 499784 h 2374809"/>
                <a:gd name="connsiteX49" fmla="*/ 2174851 w 5495992"/>
                <a:gd name="connsiteY49" fmla="*/ 501087 h 2374809"/>
                <a:gd name="connsiteX50" fmla="*/ 2146439 w 5495992"/>
                <a:gd name="connsiteY50" fmla="*/ 499884 h 2374809"/>
                <a:gd name="connsiteX51" fmla="*/ 2700367 w 5495992"/>
                <a:gd name="connsiteY51" fmla="*/ 332666 h 2374809"/>
                <a:gd name="connsiteX52" fmla="*/ 2651375 w 5495992"/>
                <a:gd name="connsiteY52" fmla="*/ 321569 h 2374809"/>
                <a:gd name="connsiteX53" fmla="*/ 2700691 w 5495992"/>
                <a:gd name="connsiteY53" fmla="*/ 332766 h 2374809"/>
                <a:gd name="connsiteX54" fmla="*/ 5296001 w 5495992"/>
                <a:gd name="connsiteY54" fmla="*/ 2021426 h 2374809"/>
                <a:gd name="connsiteX55" fmla="*/ 5328473 w 5495992"/>
                <a:gd name="connsiteY55" fmla="*/ 2042550 h 2374809"/>
                <a:gd name="connsiteX56" fmla="*/ 5355789 w 5495992"/>
                <a:gd name="connsiteY56" fmla="*/ 2067216 h 2374809"/>
                <a:gd name="connsiteX57" fmla="*/ 5408961 w 5495992"/>
                <a:gd name="connsiteY57" fmla="*/ 2093354 h 2374809"/>
                <a:gd name="connsiteX58" fmla="*/ 5352380 w 5495992"/>
                <a:gd name="connsiteY58" fmla="*/ 2038272 h 2374809"/>
                <a:gd name="connsiteX59" fmla="*/ 5296123 w 5495992"/>
                <a:gd name="connsiteY59" fmla="*/ 2021560 h 2374809"/>
                <a:gd name="connsiteX60" fmla="*/ 2893858 w 5495992"/>
                <a:gd name="connsiteY60" fmla="*/ 521476 h 2374809"/>
                <a:gd name="connsiteX61" fmla="*/ 2934001 w 5495992"/>
                <a:gd name="connsiteY61" fmla="*/ 533508 h 2374809"/>
                <a:gd name="connsiteX62" fmla="*/ 2992207 w 5495992"/>
                <a:gd name="connsiteY62" fmla="*/ 548883 h 2374809"/>
                <a:gd name="connsiteX63" fmla="*/ 3082925 w 5495992"/>
                <a:gd name="connsiteY63" fmla="*/ 568937 h 2374809"/>
                <a:gd name="connsiteX64" fmla="*/ 3104357 w 5495992"/>
                <a:gd name="connsiteY64" fmla="*/ 557573 h 2374809"/>
                <a:gd name="connsiteX65" fmla="*/ 3067623 w 5495992"/>
                <a:gd name="connsiteY65" fmla="*/ 534177 h 2374809"/>
                <a:gd name="connsiteX66" fmla="*/ 3021878 w 5495992"/>
                <a:gd name="connsiteY66" fmla="*/ 529497 h 2374809"/>
                <a:gd name="connsiteX67" fmla="*/ 3034055 w 5495992"/>
                <a:gd name="connsiteY67" fmla="*/ 521743 h 2374809"/>
                <a:gd name="connsiteX68" fmla="*/ 3030930 w 5495992"/>
                <a:gd name="connsiteY68" fmla="*/ 506803 h 2374809"/>
                <a:gd name="connsiteX69" fmla="*/ 3013030 w 5495992"/>
                <a:gd name="connsiteY69" fmla="*/ 505366 h 2374809"/>
                <a:gd name="connsiteX70" fmla="*/ 2979786 w 5495992"/>
                <a:gd name="connsiteY70" fmla="*/ 497244 h 2374809"/>
                <a:gd name="connsiteX71" fmla="*/ 2959491 w 5495992"/>
                <a:gd name="connsiteY71" fmla="*/ 506736 h 2374809"/>
                <a:gd name="connsiteX72" fmla="*/ 2935625 w 5495992"/>
                <a:gd name="connsiteY72" fmla="*/ 503159 h 2374809"/>
                <a:gd name="connsiteX73" fmla="*/ 2908998 w 5495992"/>
                <a:gd name="connsiteY73" fmla="*/ 514724 h 2374809"/>
                <a:gd name="connsiteX74" fmla="*/ 2893695 w 5495992"/>
                <a:gd name="connsiteY74" fmla="*/ 521643 h 2374809"/>
                <a:gd name="connsiteX75" fmla="*/ 4121901 w 5495992"/>
                <a:gd name="connsiteY75" fmla="*/ 1134598 h 2374809"/>
                <a:gd name="connsiteX76" fmla="*/ 4162815 w 5495992"/>
                <a:gd name="connsiteY76" fmla="*/ 1168255 h 2374809"/>
                <a:gd name="connsiteX77" fmla="*/ 4201457 w 5495992"/>
                <a:gd name="connsiteY77" fmla="*/ 1186271 h 2374809"/>
                <a:gd name="connsiteX78" fmla="*/ 4252803 w 5495992"/>
                <a:gd name="connsiteY78" fmla="*/ 1208163 h 2374809"/>
                <a:gd name="connsiteX79" fmla="*/ 4288604 w 5495992"/>
                <a:gd name="connsiteY79" fmla="*/ 1218658 h 2374809"/>
                <a:gd name="connsiteX80" fmla="*/ 4298953 w 5495992"/>
                <a:gd name="connsiteY80" fmla="*/ 1206258 h 2374809"/>
                <a:gd name="connsiteX81" fmla="*/ 4300131 w 5495992"/>
                <a:gd name="connsiteY81" fmla="*/ 1223338 h 2374809"/>
                <a:gd name="connsiteX82" fmla="*/ 4347337 w 5495992"/>
                <a:gd name="connsiteY82" fmla="*/ 1255458 h 2374809"/>
                <a:gd name="connsiteX83" fmla="*/ 4366048 w 5495992"/>
                <a:gd name="connsiteY83" fmla="*/ 1249876 h 2374809"/>
                <a:gd name="connsiteX84" fmla="*/ 4361015 w 5495992"/>
                <a:gd name="connsiteY84" fmla="*/ 1227449 h 2374809"/>
                <a:gd name="connsiteX85" fmla="*/ 4302770 w 5495992"/>
                <a:gd name="connsiteY85" fmla="*/ 1190683 h 2374809"/>
                <a:gd name="connsiteX86" fmla="*/ 4256619 w 5495992"/>
                <a:gd name="connsiteY86" fmla="*/ 1170094 h 2374809"/>
                <a:gd name="connsiteX87" fmla="*/ 4234984 w 5495992"/>
                <a:gd name="connsiteY87" fmla="*/ 1162172 h 2374809"/>
                <a:gd name="connsiteX88" fmla="*/ 4171948 w 5495992"/>
                <a:gd name="connsiteY88" fmla="*/ 1118722 h 2374809"/>
                <a:gd name="connsiteX89" fmla="*/ 4121901 w 5495992"/>
                <a:gd name="connsiteY89" fmla="*/ 1134398 h 2374809"/>
                <a:gd name="connsiteX90" fmla="*/ 4277806 w 5495992"/>
                <a:gd name="connsiteY90" fmla="*/ 1290084 h 2374809"/>
                <a:gd name="connsiteX91" fmla="*/ 4263235 w 5495992"/>
                <a:gd name="connsiteY91" fmla="*/ 1260003 h 2374809"/>
                <a:gd name="connsiteX92" fmla="*/ 4192405 w 5495992"/>
                <a:gd name="connsiteY92" fmla="*/ 1232997 h 2374809"/>
                <a:gd name="connsiteX93" fmla="*/ 4277644 w 5495992"/>
                <a:gd name="connsiteY93" fmla="*/ 1289817 h 2374809"/>
                <a:gd name="connsiteX94" fmla="*/ 4224391 w 5495992"/>
                <a:gd name="connsiteY94" fmla="*/ 1222937 h 2374809"/>
                <a:gd name="connsiteX95" fmla="*/ 4190052 w 5495992"/>
                <a:gd name="connsiteY95" fmla="*/ 1212909 h 2374809"/>
                <a:gd name="connsiteX96" fmla="*/ 4224391 w 5495992"/>
                <a:gd name="connsiteY96" fmla="*/ 1222937 h 2374809"/>
                <a:gd name="connsiteX97" fmla="*/ 4408505 w 5495992"/>
                <a:gd name="connsiteY97" fmla="*/ 1282263 h 2374809"/>
                <a:gd name="connsiteX98" fmla="*/ 4436594 w 5495992"/>
                <a:gd name="connsiteY98" fmla="*/ 1306663 h 2374809"/>
                <a:gd name="connsiteX99" fmla="*/ 4495612 w 5495992"/>
                <a:gd name="connsiteY99" fmla="*/ 1347372 h 2374809"/>
                <a:gd name="connsiteX100" fmla="*/ 4540706 w 5495992"/>
                <a:gd name="connsiteY100" fmla="*/ 1353222 h 2374809"/>
                <a:gd name="connsiteX101" fmla="*/ 4505231 w 5495992"/>
                <a:gd name="connsiteY101" fmla="*/ 1333435 h 2374809"/>
                <a:gd name="connsiteX102" fmla="*/ 4488670 w 5495992"/>
                <a:gd name="connsiteY102" fmla="*/ 1318728 h 2374809"/>
                <a:gd name="connsiteX103" fmla="*/ 4462733 w 5495992"/>
                <a:gd name="connsiteY103" fmla="*/ 1305560 h 2374809"/>
                <a:gd name="connsiteX104" fmla="*/ 4439962 w 5495992"/>
                <a:gd name="connsiteY104" fmla="*/ 1288614 h 2374809"/>
                <a:gd name="connsiteX105" fmla="*/ 4429450 w 5495992"/>
                <a:gd name="connsiteY105" fmla="*/ 1278587 h 2374809"/>
                <a:gd name="connsiteX106" fmla="*/ 4408505 w 5495992"/>
                <a:gd name="connsiteY106" fmla="*/ 1282330 h 2374809"/>
                <a:gd name="connsiteX107" fmla="*/ 4408505 w 5495992"/>
                <a:gd name="connsiteY107" fmla="*/ 1282263 h 2374809"/>
                <a:gd name="connsiteX108" fmla="*/ 1056440 w 5495992"/>
                <a:gd name="connsiteY108" fmla="*/ 10797 h 2374809"/>
                <a:gd name="connsiteX109" fmla="*/ 1100359 w 5495992"/>
                <a:gd name="connsiteY109" fmla="*/ 11699 h 2374809"/>
                <a:gd name="connsiteX110" fmla="*/ 1120329 w 5495992"/>
                <a:gd name="connsiteY110" fmla="*/ 12200 h 2374809"/>
                <a:gd name="connsiteX111" fmla="*/ 1060053 w 5495992"/>
                <a:gd name="connsiteY111" fmla="*/ 2574 h 2374809"/>
                <a:gd name="connsiteX112" fmla="*/ 998113 w 5495992"/>
                <a:gd name="connsiteY112" fmla="*/ 302 h 2374809"/>
                <a:gd name="connsiteX113" fmla="*/ 1006962 w 5495992"/>
                <a:gd name="connsiteY113" fmla="*/ 7889 h 2374809"/>
                <a:gd name="connsiteX114" fmla="*/ 1056440 w 5495992"/>
                <a:gd name="connsiteY114" fmla="*/ 10797 h 2374809"/>
                <a:gd name="connsiteX115" fmla="*/ 3890662 w 5495992"/>
                <a:gd name="connsiteY115" fmla="*/ 1777668 h 2374809"/>
                <a:gd name="connsiteX116" fmla="*/ 3910956 w 5495992"/>
                <a:gd name="connsiteY116" fmla="*/ 1745247 h 2374809"/>
                <a:gd name="connsiteX117" fmla="*/ 3907872 w 5495992"/>
                <a:gd name="connsiteY117" fmla="*/ 1725193 h 2374809"/>
                <a:gd name="connsiteX118" fmla="*/ 3901580 w 5495992"/>
                <a:gd name="connsiteY118" fmla="*/ 1718241 h 2374809"/>
                <a:gd name="connsiteX119" fmla="*/ 3888388 w 5495992"/>
                <a:gd name="connsiteY119" fmla="*/ 1727165 h 2374809"/>
                <a:gd name="connsiteX120" fmla="*/ 3870326 w 5495992"/>
                <a:gd name="connsiteY120" fmla="*/ 1726463 h 2374809"/>
                <a:gd name="connsiteX121" fmla="*/ 3849259 w 5495992"/>
                <a:gd name="connsiteY121" fmla="*/ 1762995 h 2374809"/>
                <a:gd name="connsiteX122" fmla="*/ 3810943 w 5495992"/>
                <a:gd name="connsiteY122" fmla="*/ 1815069 h 2374809"/>
                <a:gd name="connsiteX123" fmla="*/ 3800592 w 5495992"/>
                <a:gd name="connsiteY123" fmla="*/ 1834053 h 2374809"/>
                <a:gd name="connsiteX124" fmla="*/ 3771449 w 5495992"/>
                <a:gd name="connsiteY124" fmla="*/ 1858452 h 2374809"/>
                <a:gd name="connsiteX125" fmla="*/ 3779567 w 5495992"/>
                <a:gd name="connsiteY125" fmla="*/ 1864803 h 2374809"/>
                <a:gd name="connsiteX126" fmla="*/ 3806681 w 5495992"/>
                <a:gd name="connsiteY126" fmla="*/ 1882217 h 2374809"/>
                <a:gd name="connsiteX127" fmla="*/ 3818655 w 5495992"/>
                <a:gd name="connsiteY127" fmla="*/ 1876134 h 2374809"/>
                <a:gd name="connsiteX128" fmla="*/ 3808386 w 5495992"/>
                <a:gd name="connsiteY128" fmla="*/ 1863132 h 2374809"/>
                <a:gd name="connsiteX129" fmla="*/ 3810131 w 5495992"/>
                <a:gd name="connsiteY129" fmla="*/ 1841874 h 2374809"/>
                <a:gd name="connsiteX130" fmla="*/ 3852303 w 5495992"/>
                <a:gd name="connsiteY130" fmla="*/ 1826232 h 2374809"/>
                <a:gd name="connsiteX131" fmla="*/ 3881610 w 5495992"/>
                <a:gd name="connsiteY131" fmla="*/ 1844749 h 2374809"/>
                <a:gd name="connsiteX132" fmla="*/ 3890621 w 5495992"/>
                <a:gd name="connsiteY132" fmla="*/ 1777601 h 2374809"/>
                <a:gd name="connsiteX133" fmla="*/ 3890662 w 5495992"/>
                <a:gd name="connsiteY133" fmla="*/ 1777668 h 2374809"/>
                <a:gd name="connsiteX134" fmla="*/ 1160594 w 5495992"/>
                <a:gd name="connsiteY134" fmla="*/ 19788 h 2374809"/>
                <a:gd name="connsiteX135" fmla="*/ 1137092 w 5495992"/>
                <a:gd name="connsiteY135" fmla="*/ 21358 h 2374809"/>
                <a:gd name="connsiteX136" fmla="*/ 1093865 w 5495992"/>
                <a:gd name="connsiteY136" fmla="*/ 22963 h 2374809"/>
                <a:gd name="connsiteX137" fmla="*/ 1128772 w 5495992"/>
                <a:gd name="connsiteY137" fmla="*/ 36901 h 2374809"/>
                <a:gd name="connsiteX138" fmla="*/ 1138797 w 5495992"/>
                <a:gd name="connsiteY138" fmla="*/ 33825 h 2374809"/>
                <a:gd name="connsiteX139" fmla="*/ 1161000 w 5495992"/>
                <a:gd name="connsiteY139" fmla="*/ 35630 h 2374809"/>
                <a:gd name="connsiteX140" fmla="*/ 1170539 w 5495992"/>
                <a:gd name="connsiteY140" fmla="*/ 30316 h 2374809"/>
                <a:gd name="connsiteX141" fmla="*/ 1209261 w 5495992"/>
                <a:gd name="connsiteY141" fmla="*/ 30082 h 2374809"/>
                <a:gd name="connsiteX142" fmla="*/ 1205202 w 5495992"/>
                <a:gd name="connsiteY142" fmla="*/ 15877 h 2374809"/>
                <a:gd name="connsiteX143" fmla="*/ 1160553 w 5495992"/>
                <a:gd name="connsiteY143" fmla="*/ 19788 h 2374809"/>
                <a:gd name="connsiteX144" fmla="*/ 1035131 w 5495992"/>
                <a:gd name="connsiteY144" fmla="*/ 415824 h 2374809"/>
                <a:gd name="connsiteX145" fmla="*/ 1082134 w 5495992"/>
                <a:gd name="connsiteY145" fmla="*/ 421138 h 2374809"/>
                <a:gd name="connsiteX146" fmla="*/ 1103159 w 5495992"/>
                <a:gd name="connsiteY146" fmla="*/ 414453 h 2374809"/>
                <a:gd name="connsiteX147" fmla="*/ 1051205 w 5495992"/>
                <a:gd name="connsiteY147" fmla="*/ 400750 h 2374809"/>
                <a:gd name="connsiteX148" fmla="*/ 1034969 w 5495992"/>
                <a:gd name="connsiteY148" fmla="*/ 415824 h 2374809"/>
                <a:gd name="connsiteX149" fmla="*/ 1035131 w 5495992"/>
                <a:gd name="connsiteY149" fmla="*/ 415824 h 2374809"/>
                <a:gd name="connsiteX150" fmla="*/ 5491440 w 5495992"/>
                <a:gd name="connsiteY150" fmla="*/ 2368263 h 2374809"/>
                <a:gd name="connsiteX151" fmla="*/ 5465707 w 5495992"/>
                <a:gd name="connsiteY151" fmla="*/ 2320066 h 2374809"/>
                <a:gd name="connsiteX152" fmla="*/ 5446466 w 5495992"/>
                <a:gd name="connsiteY152" fmla="*/ 2297839 h 2374809"/>
                <a:gd name="connsiteX153" fmla="*/ 5428729 w 5495992"/>
                <a:gd name="connsiteY153" fmla="*/ 2285640 h 2374809"/>
                <a:gd name="connsiteX154" fmla="*/ 5419515 w 5495992"/>
                <a:gd name="connsiteY154" fmla="*/ 2269462 h 2374809"/>
                <a:gd name="connsiteX155" fmla="*/ 5394309 w 5495992"/>
                <a:gd name="connsiteY155" fmla="*/ 2250010 h 2374809"/>
                <a:gd name="connsiteX156" fmla="*/ 5395973 w 5495992"/>
                <a:gd name="connsiteY156" fmla="*/ 2264215 h 2374809"/>
                <a:gd name="connsiteX157" fmla="*/ 5381604 w 5495992"/>
                <a:gd name="connsiteY157" fmla="*/ 2269864 h 2374809"/>
                <a:gd name="connsiteX158" fmla="*/ 5368981 w 5495992"/>
                <a:gd name="connsiteY158" fmla="*/ 2249007 h 2374809"/>
                <a:gd name="connsiteX159" fmla="*/ 5384446 w 5495992"/>
                <a:gd name="connsiteY159" fmla="*/ 2236273 h 2374809"/>
                <a:gd name="connsiteX160" fmla="*/ 5379169 w 5495992"/>
                <a:gd name="connsiteY160" fmla="*/ 2219327 h 2374809"/>
                <a:gd name="connsiteX161" fmla="*/ 5356967 w 5495992"/>
                <a:gd name="connsiteY161" fmla="*/ 2186338 h 2374809"/>
                <a:gd name="connsiteX162" fmla="*/ 5310451 w 5495992"/>
                <a:gd name="connsiteY162" fmla="*/ 2124772 h 2374809"/>
                <a:gd name="connsiteX163" fmla="*/ 5283864 w 5495992"/>
                <a:gd name="connsiteY163" fmla="*/ 2095292 h 2374809"/>
                <a:gd name="connsiteX164" fmla="*/ 5264666 w 5495992"/>
                <a:gd name="connsiteY164" fmla="*/ 2066080 h 2374809"/>
                <a:gd name="connsiteX165" fmla="*/ 5207637 w 5495992"/>
                <a:gd name="connsiteY165" fmla="*/ 2007288 h 2374809"/>
                <a:gd name="connsiteX166" fmla="*/ 5193674 w 5495992"/>
                <a:gd name="connsiteY166" fmla="*/ 1989373 h 2374809"/>
                <a:gd name="connsiteX167" fmla="*/ 5158158 w 5495992"/>
                <a:gd name="connsiteY167" fmla="*/ 1964071 h 2374809"/>
                <a:gd name="connsiteX168" fmla="*/ 5127635 w 5495992"/>
                <a:gd name="connsiteY168" fmla="*/ 1940675 h 2374809"/>
                <a:gd name="connsiteX169" fmla="*/ 5097394 w 5495992"/>
                <a:gd name="connsiteY169" fmla="*/ 1922158 h 2374809"/>
                <a:gd name="connsiteX170" fmla="*/ 5044628 w 5495992"/>
                <a:gd name="connsiteY170" fmla="*/ 1873493 h 2374809"/>
                <a:gd name="connsiteX171" fmla="*/ 5021979 w 5495992"/>
                <a:gd name="connsiteY171" fmla="*/ 1873226 h 2374809"/>
                <a:gd name="connsiteX172" fmla="*/ 5025551 w 5495992"/>
                <a:gd name="connsiteY172" fmla="*/ 1893280 h 2374809"/>
                <a:gd name="connsiteX173" fmla="*/ 4972460 w 5495992"/>
                <a:gd name="connsiteY173" fmla="*/ 1867443 h 2374809"/>
                <a:gd name="connsiteX174" fmla="*/ 4952977 w 5495992"/>
                <a:gd name="connsiteY174" fmla="*/ 1843846 h 2374809"/>
                <a:gd name="connsiteX175" fmla="*/ 4969659 w 5495992"/>
                <a:gd name="connsiteY175" fmla="*/ 1845718 h 2374809"/>
                <a:gd name="connsiteX176" fmla="*/ 4995718 w 5495992"/>
                <a:gd name="connsiteY176" fmla="*/ 1854442 h 2374809"/>
                <a:gd name="connsiteX177" fmla="*/ 4964950 w 5495992"/>
                <a:gd name="connsiteY177" fmla="*/ 1825029 h 2374809"/>
                <a:gd name="connsiteX178" fmla="*/ 4925619 w 5495992"/>
                <a:gd name="connsiteY178" fmla="*/ 1816439 h 2374809"/>
                <a:gd name="connsiteX179" fmla="*/ 4895258 w 5495992"/>
                <a:gd name="connsiteY179" fmla="*/ 1801298 h 2374809"/>
                <a:gd name="connsiteX180" fmla="*/ 4845982 w 5495992"/>
                <a:gd name="connsiteY180" fmla="*/ 1760455 h 2374809"/>
                <a:gd name="connsiteX181" fmla="*/ 4788385 w 5495992"/>
                <a:gd name="connsiteY181" fmla="*/ 1724591 h 2374809"/>
                <a:gd name="connsiteX182" fmla="*/ 4743249 w 5495992"/>
                <a:gd name="connsiteY182" fmla="*/ 1716135 h 2374809"/>
                <a:gd name="connsiteX183" fmla="*/ 4739474 w 5495992"/>
                <a:gd name="connsiteY183" fmla="*/ 1717606 h 2374809"/>
                <a:gd name="connsiteX184" fmla="*/ 4741422 w 5495992"/>
                <a:gd name="connsiteY184" fmla="*/ 1703133 h 2374809"/>
                <a:gd name="connsiteX185" fmla="*/ 4731641 w 5495992"/>
                <a:gd name="connsiteY185" fmla="*/ 1686421 h 2374809"/>
                <a:gd name="connsiteX186" fmla="*/ 4710858 w 5495992"/>
                <a:gd name="connsiteY186" fmla="*/ 1668874 h 2374809"/>
                <a:gd name="connsiteX187" fmla="*/ 4717353 w 5495992"/>
                <a:gd name="connsiteY187" fmla="*/ 1663092 h 2374809"/>
                <a:gd name="connsiteX188" fmla="*/ 4728312 w 5495992"/>
                <a:gd name="connsiteY188" fmla="*/ 1659549 h 2374809"/>
                <a:gd name="connsiteX189" fmla="*/ 4586004 w 5495992"/>
                <a:gd name="connsiteY189" fmla="*/ 1549251 h 2374809"/>
                <a:gd name="connsiteX190" fmla="*/ 4505353 w 5495992"/>
                <a:gd name="connsiteY190" fmla="*/ 1506369 h 2374809"/>
                <a:gd name="connsiteX191" fmla="*/ 4502958 w 5495992"/>
                <a:gd name="connsiteY191" fmla="*/ 1494871 h 2374809"/>
                <a:gd name="connsiteX192" fmla="*/ 4475559 w 5495992"/>
                <a:gd name="connsiteY192" fmla="*/ 1470071 h 2374809"/>
                <a:gd name="connsiteX193" fmla="*/ 4462774 w 5495992"/>
                <a:gd name="connsiteY193" fmla="*/ 1466294 h 2374809"/>
                <a:gd name="connsiteX194" fmla="*/ 4458390 w 5495992"/>
                <a:gd name="connsiteY194" fmla="*/ 1457169 h 2374809"/>
                <a:gd name="connsiteX195" fmla="*/ 4429977 w 5495992"/>
                <a:gd name="connsiteY195" fmla="*/ 1433772 h 2374809"/>
                <a:gd name="connsiteX196" fmla="*/ 4425594 w 5495992"/>
                <a:gd name="connsiteY196" fmla="*/ 1424848 h 2374809"/>
                <a:gd name="connsiteX197" fmla="*/ 4455630 w 5495992"/>
                <a:gd name="connsiteY197" fmla="*/ 1436847 h 2374809"/>
                <a:gd name="connsiteX198" fmla="*/ 4412930 w 5495992"/>
                <a:gd name="connsiteY198" fmla="*/ 1400382 h 2374809"/>
                <a:gd name="connsiteX199" fmla="*/ 4358134 w 5495992"/>
                <a:gd name="connsiteY199" fmla="*/ 1370100 h 2374809"/>
                <a:gd name="connsiteX200" fmla="*/ 4331791 w 5495992"/>
                <a:gd name="connsiteY200" fmla="*/ 1374646 h 2374809"/>
                <a:gd name="connsiteX201" fmla="*/ 4298426 w 5495992"/>
                <a:gd name="connsiteY201" fmla="*/ 1357299 h 2374809"/>
                <a:gd name="connsiteX202" fmla="*/ 4313200 w 5495992"/>
                <a:gd name="connsiteY202" fmla="*/ 1348944 h 2374809"/>
                <a:gd name="connsiteX203" fmla="*/ 4304027 w 5495992"/>
                <a:gd name="connsiteY203" fmla="*/ 1335908 h 2374809"/>
                <a:gd name="connsiteX204" fmla="*/ 4343116 w 5495992"/>
                <a:gd name="connsiteY204" fmla="*/ 1358569 h 2374809"/>
                <a:gd name="connsiteX205" fmla="*/ 4338813 w 5495992"/>
                <a:gd name="connsiteY205" fmla="*/ 1350080 h 2374809"/>
                <a:gd name="connsiteX206" fmla="*/ 4295260 w 5495992"/>
                <a:gd name="connsiteY206" fmla="*/ 1321202 h 2374809"/>
                <a:gd name="connsiteX207" fmla="*/ 4211158 w 5495992"/>
                <a:gd name="connsiteY207" fmla="*/ 1270398 h 2374809"/>
                <a:gd name="connsiteX208" fmla="*/ 4182745 w 5495992"/>
                <a:gd name="connsiteY208" fmla="*/ 1258232 h 2374809"/>
                <a:gd name="connsiteX209" fmla="*/ 4152708 w 5495992"/>
                <a:gd name="connsiteY209" fmla="*/ 1252650 h 2374809"/>
                <a:gd name="connsiteX210" fmla="*/ 4116543 w 5495992"/>
                <a:gd name="connsiteY210" fmla="*/ 1243793 h 2374809"/>
                <a:gd name="connsiteX211" fmla="*/ 4142805 w 5495992"/>
                <a:gd name="connsiteY211" fmla="*/ 1261407 h 2374809"/>
                <a:gd name="connsiteX212" fmla="*/ 4126001 w 5495992"/>
                <a:gd name="connsiteY212" fmla="*/ 1261207 h 2374809"/>
                <a:gd name="connsiteX213" fmla="*/ 4128152 w 5495992"/>
                <a:gd name="connsiteY213" fmla="*/ 1278854 h 2374809"/>
                <a:gd name="connsiteX214" fmla="*/ 4101200 w 5495992"/>
                <a:gd name="connsiteY214" fmla="*/ 1261507 h 2374809"/>
                <a:gd name="connsiteX215" fmla="*/ 4058337 w 5495992"/>
                <a:gd name="connsiteY215" fmla="*/ 1244160 h 2374809"/>
                <a:gd name="connsiteX216" fmla="*/ 4074168 w 5495992"/>
                <a:gd name="connsiteY216" fmla="*/ 1257296 h 2374809"/>
                <a:gd name="connsiteX217" fmla="*/ 4049408 w 5495992"/>
                <a:gd name="connsiteY217" fmla="*/ 1247269 h 2374809"/>
                <a:gd name="connsiteX218" fmla="*/ 4039544 w 5495992"/>
                <a:gd name="connsiteY218" fmla="*/ 1234568 h 2374809"/>
                <a:gd name="connsiteX219" fmla="*/ 4006342 w 5495992"/>
                <a:gd name="connsiteY219" fmla="*/ 1214180 h 2374809"/>
                <a:gd name="connsiteX220" fmla="*/ 3944930 w 5495992"/>
                <a:gd name="connsiteY220" fmla="*/ 1190783 h 2374809"/>
                <a:gd name="connsiteX221" fmla="*/ 3913148 w 5495992"/>
                <a:gd name="connsiteY221" fmla="*/ 1166818 h 2374809"/>
                <a:gd name="connsiteX222" fmla="*/ 3892854 w 5495992"/>
                <a:gd name="connsiteY222" fmla="*/ 1153917 h 2374809"/>
                <a:gd name="connsiteX223" fmla="*/ 3873330 w 5495992"/>
                <a:gd name="connsiteY223" fmla="*/ 1160902 h 2374809"/>
                <a:gd name="connsiteX224" fmla="*/ 3851005 w 5495992"/>
                <a:gd name="connsiteY224" fmla="*/ 1161404 h 2374809"/>
                <a:gd name="connsiteX225" fmla="*/ 3812648 w 5495992"/>
                <a:gd name="connsiteY225" fmla="*/ 1147032 h 2374809"/>
                <a:gd name="connsiteX226" fmla="*/ 3784235 w 5495992"/>
                <a:gd name="connsiteY226" fmla="*/ 1110533 h 2374809"/>
                <a:gd name="connsiteX227" fmla="*/ 3763940 w 5495992"/>
                <a:gd name="connsiteY227" fmla="*/ 1078413 h 2374809"/>
                <a:gd name="connsiteX228" fmla="*/ 3803880 w 5495992"/>
                <a:gd name="connsiteY228" fmla="*/ 1097932 h 2374809"/>
                <a:gd name="connsiteX229" fmla="*/ 3795762 w 5495992"/>
                <a:gd name="connsiteY229" fmla="*/ 1078146 h 2374809"/>
                <a:gd name="connsiteX230" fmla="*/ 3801486 w 5495992"/>
                <a:gd name="connsiteY230" fmla="*/ 1068553 h 2374809"/>
                <a:gd name="connsiteX231" fmla="*/ 3807858 w 5495992"/>
                <a:gd name="connsiteY231" fmla="*/ 1065545 h 2374809"/>
                <a:gd name="connsiteX232" fmla="*/ 3793530 w 5495992"/>
                <a:gd name="connsiteY232" fmla="*/ 1052175 h 2374809"/>
                <a:gd name="connsiteX233" fmla="*/ 3772545 w 5495992"/>
                <a:gd name="connsiteY233" fmla="*/ 1032556 h 2374809"/>
                <a:gd name="connsiteX234" fmla="*/ 3739667 w 5495992"/>
                <a:gd name="connsiteY234" fmla="*/ 1020523 h 2374809"/>
                <a:gd name="connsiteX235" fmla="*/ 3725258 w 5495992"/>
                <a:gd name="connsiteY235" fmla="*/ 1011165 h 2374809"/>
                <a:gd name="connsiteX236" fmla="*/ 3676551 w 5495992"/>
                <a:gd name="connsiteY236" fmla="*/ 977741 h 2374809"/>
                <a:gd name="connsiteX237" fmla="*/ 3660315 w 5495992"/>
                <a:gd name="connsiteY237" fmla="*/ 973195 h 2374809"/>
                <a:gd name="connsiteX238" fmla="*/ 3629222 w 5495992"/>
                <a:gd name="connsiteY238" fmla="*/ 972460 h 2374809"/>
                <a:gd name="connsiteX239" fmla="*/ 3612459 w 5495992"/>
                <a:gd name="connsiteY239" fmla="*/ 983189 h 2374809"/>
                <a:gd name="connsiteX240" fmla="*/ 3576172 w 5495992"/>
                <a:gd name="connsiteY240" fmla="*/ 968516 h 2374809"/>
                <a:gd name="connsiteX241" fmla="*/ 3526368 w 5495992"/>
                <a:gd name="connsiteY241" fmla="*/ 944652 h 2374809"/>
                <a:gd name="connsiteX242" fmla="*/ 3503516 w 5495992"/>
                <a:gd name="connsiteY242" fmla="*/ 932118 h 2374809"/>
                <a:gd name="connsiteX243" fmla="*/ 3468406 w 5495992"/>
                <a:gd name="connsiteY243" fmla="*/ 917144 h 2374809"/>
                <a:gd name="connsiteX244" fmla="*/ 3480583 w 5495992"/>
                <a:gd name="connsiteY244" fmla="*/ 908186 h 2374809"/>
                <a:gd name="connsiteX245" fmla="*/ 3424813 w 5495992"/>
                <a:gd name="connsiteY245" fmla="*/ 881047 h 2374809"/>
                <a:gd name="connsiteX246" fmla="*/ 3357230 w 5495992"/>
                <a:gd name="connsiteY246" fmla="*/ 853171 h 2374809"/>
                <a:gd name="connsiteX247" fmla="*/ 3304464 w 5495992"/>
                <a:gd name="connsiteY247" fmla="*/ 836961 h 2374809"/>
                <a:gd name="connsiteX248" fmla="*/ 3299959 w 5495992"/>
                <a:gd name="connsiteY248" fmla="*/ 844214 h 2374809"/>
                <a:gd name="connsiteX249" fmla="*/ 3293220 w 5495992"/>
                <a:gd name="connsiteY249" fmla="*/ 834187 h 2374809"/>
                <a:gd name="connsiteX250" fmla="*/ 3283723 w 5495992"/>
                <a:gd name="connsiteY250" fmla="*/ 816506 h 2374809"/>
                <a:gd name="connsiteX251" fmla="*/ 3246623 w 5495992"/>
                <a:gd name="connsiteY251" fmla="*/ 807147 h 2374809"/>
                <a:gd name="connsiteX252" fmla="*/ 3190123 w 5495992"/>
                <a:gd name="connsiteY252" fmla="*/ 776865 h 2374809"/>
                <a:gd name="connsiteX253" fmla="*/ 3169462 w 5495992"/>
                <a:gd name="connsiteY253" fmla="*/ 778102 h 2374809"/>
                <a:gd name="connsiteX254" fmla="*/ 3188540 w 5495992"/>
                <a:gd name="connsiteY254" fmla="*/ 789700 h 2374809"/>
                <a:gd name="connsiteX255" fmla="*/ 3152943 w 5495992"/>
                <a:gd name="connsiteY255" fmla="*/ 781177 h 2374809"/>
                <a:gd name="connsiteX256" fmla="*/ 3120471 w 5495992"/>
                <a:gd name="connsiteY256" fmla="*/ 777634 h 2374809"/>
                <a:gd name="connsiteX257" fmla="*/ 3062346 w 5495992"/>
                <a:gd name="connsiteY257" fmla="*/ 762527 h 2374809"/>
                <a:gd name="connsiteX258" fmla="*/ 3021472 w 5495992"/>
                <a:gd name="connsiteY258" fmla="*/ 757613 h 2374809"/>
                <a:gd name="connsiteX259" fmla="*/ 3059505 w 5495992"/>
                <a:gd name="connsiteY259" fmla="*/ 751630 h 2374809"/>
                <a:gd name="connsiteX260" fmla="*/ 3083574 w 5495992"/>
                <a:gd name="connsiteY260" fmla="*/ 753435 h 2374809"/>
                <a:gd name="connsiteX261" fmla="*/ 3118523 w 5495992"/>
                <a:gd name="connsiteY261" fmla="*/ 761758 h 2374809"/>
                <a:gd name="connsiteX262" fmla="*/ 3171289 w 5495992"/>
                <a:gd name="connsiteY262" fmla="*/ 766103 h 2374809"/>
                <a:gd name="connsiteX263" fmla="*/ 3220971 w 5495992"/>
                <a:gd name="connsiteY263" fmla="*/ 768910 h 2374809"/>
                <a:gd name="connsiteX264" fmla="*/ 3265620 w 5495992"/>
                <a:gd name="connsiteY264" fmla="*/ 776130 h 2374809"/>
                <a:gd name="connsiteX265" fmla="*/ 3313718 w 5495992"/>
                <a:gd name="connsiteY265" fmla="*/ 781611 h 2374809"/>
                <a:gd name="connsiteX266" fmla="*/ 3337626 w 5495992"/>
                <a:gd name="connsiteY266" fmla="*/ 781043 h 2374809"/>
                <a:gd name="connsiteX267" fmla="*/ 3328209 w 5495992"/>
                <a:gd name="connsiteY267" fmla="*/ 768075 h 2374809"/>
                <a:gd name="connsiteX268" fmla="*/ 3351589 w 5495992"/>
                <a:gd name="connsiteY268" fmla="*/ 771818 h 2374809"/>
                <a:gd name="connsiteX269" fmla="*/ 3339412 w 5495992"/>
                <a:gd name="connsiteY269" fmla="*/ 760454 h 2374809"/>
                <a:gd name="connsiteX270" fmla="*/ 3339980 w 5495992"/>
                <a:gd name="connsiteY270" fmla="*/ 749892 h 2374809"/>
                <a:gd name="connsiteX271" fmla="*/ 3322486 w 5495992"/>
                <a:gd name="connsiteY271" fmla="*/ 742539 h 2374809"/>
                <a:gd name="connsiteX272" fmla="*/ 3319442 w 5495992"/>
                <a:gd name="connsiteY272" fmla="*/ 725360 h 2374809"/>
                <a:gd name="connsiteX273" fmla="*/ 3288837 w 5495992"/>
                <a:gd name="connsiteY273" fmla="*/ 713661 h 2374809"/>
                <a:gd name="connsiteX274" fmla="*/ 3239642 w 5495992"/>
                <a:gd name="connsiteY274" fmla="*/ 690465 h 2374809"/>
                <a:gd name="connsiteX275" fmla="*/ 3183060 w 5495992"/>
                <a:gd name="connsiteY275" fmla="*/ 669375 h 2374809"/>
                <a:gd name="connsiteX276" fmla="*/ 3155702 w 5495992"/>
                <a:gd name="connsiteY276" fmla="*/ 667871 h 2374809"/>
                <a:gd name="connsiteX277" fmla="*/ 3121445 w 5495992"/>
                <a:gd name="connsiteY277" fmla="*/ 657075 h 2374809"/>
                <a:gd name="connsiteX278" fmla="*/ 3144825 w 5495992"/>
                <a:gd name="connsiteY278" fmla="*/ 648519 h 2374809"/>
                <a:gd name="connsiteX279" fmla="*/ 3099080 w 5495992"/>
                <a:gd name="connsiteY279" fmla="*/ 630236 h 2374809"/>
                <a:gd name="connsiteX280" fmla="*/ 3084142 w 5495992"/>
                <a:gd name="connsiteY280" fmla="*/ 622047 h 2374809"/>
                <a:gd name="connsiteX281" fmla="*/ 3046516 w 5495992"/>
                <a:gd name="connsiteY281" fmla="*/ 607508 h 2374809"/>
                <a:gd name="connsiteX282" fmla="*/ 3104235 w 5495992"/>
                <a:gd name="connsiteY282" fmla="*/ 617836 h 2374809"/>
                <a:gd name="connsiteX283" fmla="*/ 3068638 w 5495992"/>
                <a:gd name="connsiteY283" fmla="*/ 594038 h 2374809"/>
                <a:gd name="connsiteX284" fmla="*/ 3006698 w 5495992"/>
                <a:gd name="connsiteY284" fmla="*/ 573483 h 2374809"/>
                <a:gd name="connsiteX285" fmla="*/ 2954986 w 5495992"/>
                <a:gd name="connsiteY285" fmla="*/ 571277 h 2374809"/>
                <a:gd name="connsiteX286" fmla="*/ 2917846 w 5495992"/>
                <a:gd name="connsiteY286" fmla="*/ 575589 h 2374809"/>
                <a:gd name="connsiteX287" fmla="*/ 2925112 w 5495992"/>
                <a:gd name="connsiteY287" fmla="*/ 580602 h 2374809"/>
                <a:gd name="connsiteX288" fmla="*/ 2923245 w 5495992"/>
                <a:gd name="connsiteY288" fmla="*/ 586117 h 2374809"/>
                <a:gd name="connsiteX289" fmla="*/ 2902463 w 5495992"/>
                <a:gd name="connsiteY289" fmla="*/ 582540 h 2374809"/>
                <a:gd name="connsiteX290" fmla="*/ 2856800 w 5495992"/>
                <a:gd name="connsiteY290" fmla="*/ 568703 h 2374809"/>
                <a:gd name="connsiteX291" fmla="*/ 2866866 w 5495992"/>
                <a:gd name="connsiteY291" fmla="*/ 583978 h 2374809"/>
                <a:gd name="connsiteX292" fmla="*/ 2814870 w 5495992"/>
                <a:gd name="connsiteY292" fmla="*/ 565795 h 2374809"/>
                <a:gd name="connsiteX293" fmla="*/ 2791328 w 5495992"/>
                <a:gd name="connsiteY293" fmla="*/ 563890 h 2374809"/>
                <a:gd name="connsiteX294" fmla="*/ 2762509 w 5495992"/>
                <a:gd name="connsiteY294" fmla="*/ 554130 h 2374809"/>
                <a:gd name="connsiteX295" fmla="*/ 2769572 w 5495992"/>
                <a:gd name="connsiteY295" fmla="*/ 545674 h 2374809"/>
                <a:gd name="connsiteX296" fmla="*/ 2728089 w 5495992"/>
                <a:gd name="connsiteY296" fmla="*/ 537653 h 2374809"/>
                <a:gd name="connsiteX297" fmla="*/ 2705805 w 5495992"/>
                <a:gd name="connsiteY297" fmla="*/ 533675 h 2374809"/>
                <a:gd name="connsiteX298" fmla="*/ 2672562 w 5495992"/>
                <a:gd name="connsiteY298" fmla="*/ 525720 h 2374809"/>
                <a:gd name="connsiteX299" fmla="*/ 2679584 w 5495992"/>
                <a:gd name="connsiteY299" fmla="*/ 537084 h 2374809"/>
                <a:gd name="connsiteX300" fmla="*/ 2575106 w 5495992"/>
                <a:gd name="connsiteY300" fmla="*/ 513989 h 2374809"/>
                <a:gd name="connsiteX301" fmla="*/ 2550996 w 5495992"/>
                <a:gd name="connsiteY301" fmla="*/ 512652 h 2374809"/>
                <a:gd name="connsiteX302" fmla="*/ 2514466 w 5495992"/>
                <a:gd name="connsiteY302" fmla="*/ 507538 h 2374809"/>
                <a:gd name="connsiteX303" fmla="*/ 2486053 w 5495992"/>
                <a:gd name="connsiteY303" fmla="*/ 507538 h 2374809"/>
                <a:gd name="connsiteX304" fmla="*/ 2459344 w 5495992"/>
                <a:gd name="connsiteY304" fmla="*/ 499316 h 2374809"/>
                <a:gd name="connsiteX305" fmla="*/ 2459588 w 5495992"/>
                <a:gd name="connsiteY305" fmla="*/ 504329 h 2374809"/>
                <a:gd name="connsiteX306" fmla="*/ 2437832 w 5495992"/>
                <a:gd name="connsiteY306" fmla="*/ 502591 h 2374809"/>
                <a:gd name="connsiteX307" fmla="*/ 2447411 w 5495992"/>
                <a:gd name="connsiteY307" fmla="*/ 511983 h 2374809"/>
                <a:gd name="connsiteX308" fmla="*/ 2427116 w 5495992"/>
                <a:gd name="connsiteY308" fmla="*/ 505299 h 2374809"/>
                <a:gd name="connsiteX309" fmla="*/ 2420662 w 5495992"/>
                <a:gd name="connsiteY309" fmla="*/ 507839 h 2374809"/>
                <a:gd name="connsiteX310" fmla="*/ 2447005 w 5495992"/>
                <a:gd name="connsiteY310" fmla="*/ 519571 h 2374809"/>
                <a:gd name="connsiteX311" fmla="*/ 2420013 w 5495992"/>
                <a:gd name="connsiteY311" fmla="*/ 518601 h 2374809"/>
                <a:gd name="connsiteX312" fmla="*/ 2439780 w 5495992"/>
                <a:gd name="connsiteY312" fmla="*/ 538655 h 2374809"/>
                <a:gd name="connsiteX313" fmla="*/ 2416603 w 5495992"/>
                <a:gd name="connsiteY313" fmla="*/ 533776 h 2374809"/>
                <a:gd name="connsiteX314" fmla="*/ 2394157 w 5495992"/>
                <a:gd name="connsiteY314" fmla="*/ 529598 h 2374809"/>
                <a:gd name="connsiteX315" fmla="*/ 2373376 w 5495992"/>
                <a:gd name="connsiteY315" fmla="*/ 525954 h 2374809"/>
                <a:gd name="connsiteX316" fmla="*/ 2311395 w 5495992"/>
                <a:gd name="connsiteY316" fmla="*/ 511983 h 2374809"/>
                <a:gd name="connsiteX317" fmla="*/ 2242108 w 5495992"/>
                <a:gd name="connsiteY317" fmla="*/ 496742 h 2374809"/>
                <a:gd name="connsiteX318" fmla="*/ 2215360 w 5495992"/>
                <a:gd name="connsiteY318" fmla="*/ 508608 h 2374809"/>
                <a:gd name="connsiteX319" fmla="*/ 2223478 w 5495992"/>
                <a:gd name="connsiteY319" fmla="*/ 530099 h 2374809"/>
                <a:gd name="connsiteX320" fmla="*/ 2270197 w 5495992"/>
                <a:gd name="connsiteY320" fmla="*/ 553495 h 2374809"/>
                <a:gd name="connsiteX321" fmla="*/ 2245599 w 5495992"/>
                <a:gd name="connsiteY321" fmla="*/ 560481 h 2374809"/>
                <a:gd name="connsiteX322" fmla="*/ 2195836 w 5495992"/>
                <a:gd name="connsiteY322" fmla="*/ 531837 h 2374809"/>
                <a:gd name="connsiteX323" fmla="*/ 2141040 w 5495992"/>
                <a:gd name="connsiteY323" fmla="*/ 512685 h 2374809"/>
                <a:gd name="connsiteX324" fmla="*/ 2105564 w 5495992"/>
                <a:gd name="connsiteY324" fmla="*/ 498079 h 2374809"/>
                <a:gd name="connsiteX325" fmla="*/ 2084539 w 5495992"/>
                <a:gd name="connsiteY325" fmla="*/ 499683 h 2374809"/>
                <a:gd name="connsiteX326" fmla="*/ 2105077 w 5495992"/>
                <a:gd name="connsiteY326" fmla="*/ 507237 h 2374809"/>
                <a:gd name="connsiteX327" fmla="*/ 2099517 w 5495992"/>
                <a:gd name="connsiteY327" fmla="*/ 509376 h 2374809"/>
                <a:gd name="connsiteX328" fmla="*/ 2119202 w 5495992"/>
                <a:gd name="connsiteY328" fmla="*/ 518167 h 2374809"/>
                <a:gd name="connsiteX329" fmla="*/ 2108934 w 5495992"/>
                <a:gd name="connsiteY329" fmla="*/ 520807 h 2374809"/>
                <a:gd name="connsiteX330" fmla="*/ 2071550 w 5495992"/>
                <a:gd name="connsiteY330" fmla="*/ 507137 h 2374809"/>
                <a:gd name="connsiteX331" fmla="*/ 2050362 w 5495992"/>
                <a:gd name="connsiteY331" fmla="*/ 512017 h 2374809"/>
                <a:gd name="connsiteX332" fmla="*/ 2109623 w 5495992"/>
                <a:gd name="connsiteY332" fmla="*/ 544471 h 2374809"/>
                <a:gd name="connsiteX333" fmla="*/ 2124438 w 5495992"/>
                <a:gd name="connsiteY333" fmla="*/ 555167 h 2374809"/>
                <a:gd name="connsiteX334" fmla="*/ 2101830 w 5495992"/>
                <a:gd name="connsiteY334" fmla="*/ 551356 h 2374809"/>
                <a:gd name="connsiteX335" fmla="*/ 2037414 w 5495992"/>
                <a:gd name="connsiteY335" fmla="*/ 526289 h 2374809"/>
                <a:gd name="connsiteX336" fmla="*/ 2016307 w 5495992"/>
                <a:gd name="connsiteY336" fmla="*/ 516529 h 2374809"/>
                <a:gd name="connsiteX337" fmla="*/ 2020934 w 5495992"/>
                <a:gd name="connsiteY337" fmla="*/ 511749 h 2374809"/>
                <a:gd name="connsiteX338" fmla="*/ 2018337 w 5495992"/>
                <a:gd name="connsiteY338" fmla="*/ 503159 h 2374809"/>
                <a:gd name="connsiteX339" fmla="*/ 2025400 w 5495992"/>
                <a:gd name="connsiteY339" fmla="*/ 470672 h 2374809"/>
                <a:gd name="connsiteX340" fmla="*/ 1999179 w 5495992"/>
                <a:gd name="connsiteY340" fmla="*/ 490291 h 2374809"/>
                <a:gd name="connsiteX341" fmla="*/ 1951810 w 5495992"/>
                <a:gd name="connsiteY341" fmla="*/ 492598 h 2374809"/>
                <a:gd name="connsiteX342" fmla="*/ 1936670 w 5495992"/>
                <a:gd name="connsiteY342" fmla="*/ 498046 h 2374809"/>
                <a:gd name="connsiteX343" fmla="*/ 1952216 w 5495992"/>
                <a:gd name="connsiteY343" fmla="*/ 511649 h 2374809"/>
                <a:gd name="connsiteX344" fmla="*/ 1960334 w 5495992"/>
                <a:gd name="connsiteY344" fmla="*/ 536550 h 2374809"/>
                <a:gd name="connsiteX345" fmla="*/ 1933788 w 5495992"/>
                <a:gd name="connsiteY345" fmla="*/ 566631 h 2374809"/>
                <a:gd name="connsiteX346" fmla="*/ 2002142 w 5495992"/>
                <a:gd name="connsiteY346" fmla="*/ 582942 h 2374809"/>
                <a:gd name="connsiteX347" fmla="*/ 2064324 w 5495992"/>
                <a:gd name="connsiteY347" fmla="*/ 609246 h 2374809"/>
                <a:gd name="connsiteX348" fmla="*/ 2073052 w 5495992"/>
                <a:gd name="connsiteY348" fmla="*/ 626994 h 2374809"/>
                <a:gd name="connsiteX349" fmla="*/ 2054827 w 5495992"/>
                <a:gd name="connsiteY349" fmla="*/ 630838 h 2374809"/>
                <a:gd name="connsiteX350" fmla="*/ 2087299 w 5495992"/>
                <a:gd name="connsiteY350" fmla="*/ 655337 h 2374809"/>
                <a:gd name="connsiteX351" fmla="*/ 2059982 w 5495992"/>
                <a:gd name="connsiteY351" fmla="*/ 648652 h 2374809"/>
                <a:gd name="connsiteX352" fmla="*/ 2039078 w 5495992"/>
                <a:gd name="connsiteY352" fmla="*/ 632442 h 2374809"/>
                <a:gd name="connsiteX353" fmla="*/ 2050402 w 5495992"/>
                <a:gd name="connsiteY353" fmla="*/ 617936 h 2374809"/>
                <a:gd name="connsiteX354" fmla="*/ 2024060 w 5495992"/>
                <a:gd name="connsiteY354" fmla="*/ 596010 h 2374809"/>
                <a:gd name="connsiteX355" fmla="*/ 1956518 w 5495992"/>
                <a:gd name="connsiteY355" fmla="*/ 593203 h 2374809"/>
                <a:gd name="connsiteX356" fmla="*/ 1961592 w 5495992"/>
                <a:gd name="connsiteY356" fmla="*/ 615195 h 2374809"/>
                <a:gd name="connsiteX357" fmla="*/ 1930988 w 5495992"/>
                <a:gd name="connsiteY357" fmla="*/ 623518 h 2374809"/>
                <a:gd name="connsiteX358" fmla="*/ 1906634 w 5495992"/>
                <a:gd name="connsiteY358" fmla="*/ 631038 h 2374809"/>
                <a:gd name="connsiteX359" fmla="*/ 1863771 w 5495992"/>
                <a:gd name="connsiteY359" fmla="*/ 634782 h 2374809"/>
                <a:gd name="connsiteX360" fmla="*/ 1836535 w 5495992"/>
                <a:gd name="connsiteY360" fmla="*/ 633445 h 2374809"/>
                <a:gd name="connsiteX361" fmla="*/ 1783769 w 5495992"/>
                <a:gd name="connsiteY361" fmla="*/ 621345 h 2374809"/>
                <a:gd name="connsiteX362" fmla="*/ 1771267 w 5495992"/>
                <a:gd name="connsiteY362" fmla="*/ 614661 h 2374809"/>
                <a:gd name="connsiteX363" fmla="*/ 1751216 w 5495992"/>
                <a:gd name="connsiteY363" fmla="*/ 609814 h 2374809"/>
                <a:gd name="connsiteX364" fmla="*/ 1768101 w 5495992"/>
                <a:gd name="connsiteY364" fmla="*/ 609279 h 2374809"/>
                <a:gd name="connsiteX365" fmla="*/ 1797001 w 5495992"/>
                <a:gd name="connsiteY365" fmla="*/ 615964 h 2374809"/>
                <a:gd name="connsiteX366" fmla="*/ 1825414 w 5495992"/>
                <a:gd name="connsiteY366" fmla="*/ 621178 h 2374809"/>
                <a:gd name="connsiteX367" fmla="*/ 1845709 w 5495992"/>
                <a:gd name="connsiteY367" fmla="*/ 616165 h 2374809"/>
                <a:gd name="connsiteX368" fmla="*/ 1869819 w 5495992"/>
                <a:gd name="connsiteY368" fmla="*/ 608544 h 2374809"/>
                <a:gd name="connsiteX369" fmla="*/ 1894741 w 5495992"/>
                <a:gd name="connsiteY369" fmla="*/ 604834 h 2374809"/>
                <a:gd name="connsiteX370" fmla="*/ 1910977 w 5495992"/>
                <a:gd name="connsiteY370" fmla="*/ 590195 h 2374809"/>
                <a:gd name="connsiteX371" fmla="*/ 1912073 w 5495992"/>
                <a:gd name="connsiteY371" fmla="*/ 578864 h 2374809"/>
                <a:gd name="connsiteX372" fmla="*/ 1898313 w 5495992"/>
                <a:gd name="connsiteY372" fmla="*/ 560381 h 2374809"/>
                <a:gd name="connsiteX373" fmla="*/ 1905335 w 5495992"/>
                <a:gd name="connsiteY373" fmla="*/ 539257 h 2374809"/>
                <a:gd name="connsiteX374" fmla="*/ 1920637 w 5495992"/>
                <a:gd name="connsiteY374" fmla="*/ 515493 h 2374809"/>
                <a:gd name="connsiteX375" fmla="*/ 1913899 w 5495992"/>
                <a:gd name="connsiteY375" fmla="*/ 480532 h 2374809"/>
                <a:gd name="connsiteX376" fmla="*/ 1928309 w 5495992"/>
                <a:gd name="connsiteY376" fmla="*/ 449414 h 2374809"/>
                <a:gd name="connsiteX377" fmla="*/ 1851878 w 5495992"/>
                <a:gd name="connsiteY377" fmla="*/ 429360 h 2374809"/>
                <a:gd name="connsiteX378" fmla="*/ 1817458 w 5495992"/>
                <a:gd name="connsiteY378" fmla="*/ 423645 h 2374809"/>
                <a:gd name="connsiteX379" fmla="*/ 1786366 w 5495992"/>
                <a:gd name="connsiteY379" fmla="*/ 440357 h 2374809"/>
                <a:gd name="connsiteX380" fmla="*/ 1755680 w 5495992"/>
                <a:gd name="connsiteY380" fmla="*/ 454628 h 2374809"/>
                <a:gd name="connsiteX381" fmla="*/ 1717932 w 5495992"/>
                <a:gd name="connsiteY381" fmla="*/ 455665 h 2374809"/>
                <a:gd name="connsiteX382" fmla="*/ 1719312 w 5495992"/>
                <a:gd name="connsiteY382" fmla="*/ 471039 h 2374809"/>
                <a:gd name="connsiteX383" fmla="*/ 1717486 w 5495992"/>
                <a:gd name="connsiteY383" fmla="*/ 485044 h 2374809"/>
                <a:gd name="connsiteX384" fmla="*/ 1717242 w 5495992"/>
                <a:gd name="connsiteY384" fmla="*/ 491027 h 2374809"/>
                <a:gd name="connsiteX385" fmla="*/ 1700316 w 5495992"/>
                <a:gd name="connsiteY385" fmla="*/ 495806 h 2374809"/>
                <a:gd name="connsiteX386" fmla="*/ 1718662 w 5495992"/>
                <a:gd name="connsiteY386" fmla="*/ 509945 h 2374809"/>
                <a:gd name="connsiteX387" fmla="*/ 1744437 w 5495992"/>
                <a:gd name="connsiteY387" fmla="*/ 528796 h 2374809"/>
                <a:gd name="connsiteX388" fmla="*/ 1765016 w 5495992"/>
                <a:gd name="connsiteY388" fmla="*/ 546677 h 2374809"/>
                <a:gd name="connsiteX389" fmla="*/ 1717648 w 5495992"/>
                <a:gd name="connsiteY389" fmla="*/ 540828 h 2374809"/>
                <a:gd name="connsiteX390" fmla="*/ 1643693 w 5495992"/>
                <a:gd name="connsiteY390" fmla="*/ 504764 h 2374809"/>
                <a:gd name="connsiteX391" fmla="*/ 1564137 w 5495992"/>
                <a:gd name="connsiteY391" fmla="*/ 473546 h 2374809"/>
                <a:gd name="connsiteX392" fmla="*/ 1473379 w 5495992"/>
                <a:gd name="connsiteY392" fmla="*/ 451086 h 2374809"/>
                <a:gd name="connsiteX393" fmla="*/ 1410749 w 5495992"/>
                <a:gd name="connsiteY393" fmla="*/ 433171 h 2374809"/>
                <a:gd name="connsiteX394" fmla="*/ 1469685 w 5495992"/>
                <a:gd name="connsiteY394" fmla="*/ 461480 h 2374809"/>
                <a:gd name="connsiteX395" fmla="*/ 1472323 w 5495992"/>
                <a:gd name="connsiteY395" fmla="*/ 472778 h 2374809"/>
                <a:gd name="connsiteX396" fmla="*/ 1484297 w 5495992"/>
                <a:gd name="connsiteY396" fmla="*/ 483841 h 2374809"/>
                <a:gd name="connsiteX397" fmla="*/ 1452272 w 5495992"/>
                <a:gd name="connsiteY397" fmla="*/ 486047 h 2374809"/>
                <a:gd name="connsiteX398" fmla="*/ 1438350 w 5495992"/>
                <a:gd name="connsiteY398" fmla="*/ 493734 h 2374809"/>
                <a:gd name="connsiteX399" fmla="*/ 1427066 w 5495992"/>
                <a:gd name="connsiteY399" fmla="*/ 480365 h 2374809"/>
                <a:gd name="connsiteX400" fmla="*/ 1404904 w 5495992"/>
                <a:gd name="connsiteY400" fmla="*/ 468499 h 2374809"/>
                <a:gd name="connsiteX401" fmla="*/ 1370605 w 5495992"/>
                <a:gd name="connsiteY401" fmla="*/ 470906 h 2374809"/>
                <a:gd name="connsiteX402" fmla="*/ 1339514 w 5495992"/>
                <a:gd name="connsiteY402" fmla="*/ 471441 h 2374809"/>
                <a:gd name="connsiteX403" fmla="*/ 1277493 w 5495992"/>
                <a:gd name="connsiteY403" fmla="*/ 464488 h 2374809"/>
                <a:gd name="connsiteX404" fmla="*/ 1257198 w 5495992"/>
                <a:gd name="connsiteY404" fmla="*/ 469870 h 2374809"/>
                <a:gd name="connsiteX405" fmla="*/ 1215837 w 5495992"/>
                <a:gd name="connsiteY405" fmla="*/ 462784 h 2374809"/>
                <a:gd name="connsiteX406" fmla="*/ 1227202 w 5495992"/>
                <a:gd name="connsiteY406" fmla="*/ 458706 h 2374809"/>
                <a:gd name="connsiteX407" fmla="*/ 1229800 w 5495992"/>
                <a:gd name="connsiteY407" fmla="*/ 454161 h 2374809"/>
                <a:gd name="connsiteX408" fmla="*/ 1238527 w 5495992"/>
                <a:gd name="connsiteY408" fmla="*/ 445537 h 2374809"/>
                <a:gd name="connsiteX409" fmla="*/ 1191117 w 5495992"/>
                <a:gd name="connsiteY409" fmla="*/ 443498 h 2374809"/>
                <a:gd name="connsiteX410" fmla="*/ 1172365 w 5495992"/>
                <a:gd name="connsiteY410" fmla="*/ 447509 h 2374809"/>
                <a:gd name="connsiteX411" fmla="*/ 1139000 w 5495992"/>
                <a:gd name="connsiteY411" fmla="*/ 442730 h 2374809"/>
                <a:gd name="connsiteX412" fmla="*/ 1098005 w 5495992"/>
                <a:gd name="connsiteY412" fmla="*/ 443298 h 2374809"/>
                <a:gd name="connsiteX413" fmla="*/ 1066304 w 5495992"/>
                <a:gd name="connsiteY413" fmla="*/ 448378 h 2374809"/>
                <a:gd name="connsiteX414" fmla="*/ 1043696 w 5495992"/>
                <a:gd name="connsiteY414" fmla="*/ 452255 h 2374809"/>
                <a:gd name="connsiteX415" fmla="*/ 1003755 w 5495992"/>
                <a:gd name="connsiteY415" fmla="*/ 455330 h 2374809"/>
                <a:gd name="connsiteX416" fmla="*/ 993405 w 5495992"/>
                <a:gd name="connsiteY416" fmla="*/ 469602 h 2374809"/>
                <a:gd name="connsiteX417" fmla="*/ 955250 w 5495992"/>
                <a:gd name="connsiteY417" fmla="*/ 466460 h 2374809"/>
                <a:gd name="connsiteX418" fmla="*/ 927284 w 5495992"/>
                <a:gd name="connsiteY418" fmla="*/ 458238 h 2374809"/>
                <a:gd name="connsiteX419" fmla="*/ 910074 w 5495992"/>
                <a:gd name="connsiteY419" fmla="*/ 441961 h 2374809"/>
                <a:gd name="connsiteX420" fmla="*/ 939948 w 5495992"/>
                <a:gd name="connsiteY420" fmla="*/ 436012 h 2374809"/>
                <a:gd name="connsiteX421" fmla="*/ 971892 w 5495992"/>
                <a:gd name="connsiteY421" fmla="*/ 437716 h 2374809"/>
                <a:gd name="connsiteX422" fmla="*/ 952896 w 5495992"/>
                <a:gd name="connsiteY422" fmla="*/ 420269 h 2374809"/>
                <a:gd name="connsiteX423" fmla="*/ 915757 w 5495992"/>
                <a:gd name="connsiteY423" fmla="*/ 409072 h 2374809"/>
                <a:gd name="connsiteX424" fmla="*/ 866156 w 5495992"/>
                <a:gd name="connsiteY424" fmla="*/ 401585 h 2374809"/>
                <a:gd name="connsiteX425" fmla="*/ 871270 w 5495992"/>
                <a:gd name="connsiteY425" fmla="*/ 408771 h 2374809"/>
                <a:gd name="connsiteX426" fmla="*/ 860676 w 5495992"/>
                <a:gd name="connsiteY426" fmla="*/ 444601 h 2374809"/>
                <a:gd name="connsiteX427" fmla="*/ 884584 w 5495992"/>
                <a:gd name="connsiteY427" fmla="*/ 455832 h 2374809"/>
                <a:gd name="connsiteX428" fmla="*/ 872163 w 5495992"/>
                <a:gd name="connsiteY428" fmla="*/ 471975 h 2374809"/>
                <a:gd name="connsiteX429" fmla="*/ 855927 w 5495992"/>
                <a:gd name="connsiteY429" fmla="*/ 472410 h 2374809"/>
                <a:gd name="connsiteX430" fmla="*/ 846510 w 5495992"/>
                <a:gd name="connsiteY430" fmla="*/ 466260 h 2374809"/>
                <a:gd name="connsiteX431" fmla="*/ 825850 w 5495992"/>
                <a:gd name="connsiteY431" fmla="*/ 461280 h 2374809"/>
                <a:gd name="connsiteX432" fmla="*/ 789076 w 5495992"/>
                <a:gd name="connsiteY432" fmla="*/ 461982 h 2374809"/>
                <a:gd name="connsiteX433" fmla="*/ 751855 w 5495992"/>
                <a:gd name="connsiteY433" fmla="*/ 465525 h 2374809"/>
                <a:gd name="connsiteX434" fmla="*/ 717110 w 5495992"/>
                <a:gd name="connsiteY434" fmla="*/ 475217 h 2374809"/>
                <a:gd name="connsiteX435" fmla="*/ 733914 w 5495992"/>
                <a:gd name="connsiteY435" fmla="*/ 498814 h 2374809"/>
                <a:gd name="connsiteX436" fmla="*/ 689266 w 5495992"/>
                <a:gd name="connsiteY436" fmla="*/ 495873 h 2374809"/>
                <a:gd name="connsiteX437" fmla="*/ 654440 w 5495992"/>
                <a:gd name="connsiteY437" fmla="*/ 489790 h 2374809"/>
                <a:gd name="connsiteX438" fmla="*/ 619979 w 5495992"/>
                <a:gd name="connsiteY438" fmla="*/ 475217 h 2374809"/>
                <a:gd name="connsiteX439" fmla="*/ 600496 w 5495992"/>
                <a:gd name="connsiteY439" fmla="*/ 480799 h 2374809"/>
                <a:gd name="connsiteX440" fmla="*/ 606625 w 5495992"/>
                <a:gd name="connsiteY440" fmla="*/ 493533 h 2374809"/>
                <a:gd name="connsiteX441" fmla="*/ 644982 w 5495992"/>
                <a:gd name="connsiteY441" fmla="*/ 508307 h 2374809"/>
                <a:gd name="connsiteX442" fmla="*/ 606016 w 5495992"/>
                <a:gd name="connsiteY442" fmla="*/ 510145 h 2374809"/>
                <a:gd name="connsiteX443" fmla="*/ 588400 w 5495992"/>
                <a:gd name="connsiteY443" fmla="*/ 506134 h 2374809"/>
                <a:gd name="connsiteX444" fmla="*/ 557836 w 5495992"/>
                <a:gd name="connsiteY444" fmla="*/ 494636 h 2374809"/>
                <a:gd name="connsiteX445" fmla="*/ 540626 w 5495992"/>
                <a:gd name="connsiteY445" fmla="*/ 486782 h 2374809"/>
                <a:gd name="connsiteX446" fmla="*/ 534375 w 5495992"/>
                <a:gd name="connsiteY446" fmla="*/ 470404 h 2374809"/>
                <a:gd name="connsiteX447" fmla="*/ 536770 w 5495992"/>
                <a:gd name="connsiteY447" fmla="*/ 459441 h 2374809"/>
                <a:gd name="connsiteX448" fmla="*/ 535755 w 5495992"/>
                <a:gd name="connsiteY448" fmla="*/ 443432 h 2374809"/>
                <a:gd name="connsiteX449" fmla="*/ 508926 w 5495992"/>
                <a:gd name="connsiteY449" fmla="*/ 436012 h 2374809"/>
                <a:gd name="connsiteX450" fmla="*/ 489605 w 5495992"/>
                <a:gd name="connsiteY450" fmla="*/ 426619 h 2374809"/>
                <a:gd name="connsiteX451" fmla="*/ 463709 w 5495992"/>
                <a:gd name="connsiteY451" fmla="*/ 413618 h 2374809"/>
                <a:gd name="connsiteX452" fmla="*/ 449136 w 5495992"/>
                <a:gd name="connsiteY452" fmla="*/ 405763 h 2374809"/>
                <a:gd name="connsiteX453" fmla="*/ 462856 w 5495992"/>
                <a:gd name="connsiteY453" fmla="*/ 406432 h 2374809"/>
                <a:gd name="connsiteX454" fmla="*/ 486723 w 5495992"/>
                <a:gd name="connsiteY454" fmla="*/ 416659 h 2374809"/>
                <a:gd name="connsiteX455" fmla="*/ 550449 w 5495992"/>
                <a:gd name="connsiteY455" fmla="*/ 431733 h 2374809"/>
                <a:gd name="connsiteX456" fmla="*/ 680336 w 5495992"/>
                <a:gd name="connsiteY456" fmla="*/ 455832 h 2374809"/>
                <a:gd name="connsiteX457" fmla="*/ 773246 w 5495992"/>
                <a:gd name="connsiteY457" fmla="*/ 440657 h 2374809"/>
                <a:gd name="connsiteX458" fmla="*/ 763788 w 5495992"/>
                <a:gd name="connsiteY458" fmla="*/ 418364 h 2374809"/>
                <a:gd name="connsiteX459" fmla="*/ 722793 w 5495992"/>
                <a:gd name="connsiteY459" fmla="*/ 401652 h 2374809"/>
                <a:gd name="connsiteX460" fmla="*/ 690930 w 5495992"/>
                <a:gd name="connsiteY460" fmla="*/ 390723 h 2374809"/>
                <a:gd name="connsiteX461" fmla="*/ 645023 w 5495992"/>
                <a:gd name="connsiteY461" fmla="*/ 373677 h 2374809"/>
                <a:gd name="connsiteX462" fmla="*/ 582393 w 5495992"/>
                <a:gd name="connsiteY462" fmla="*/ 353455 h 2374809"/>
                <a:gd name="connsiteX463" fmla="*/ 564574 w 5495992"/>
                <a:gd name="connsiteY463" fmla="*/ 350915 h 2374809"/>
                <a:gd name="connsiteX464" fmla="*/ 541641 w 5495992"/>
                <a:gd name="connsiteY464" fmla="*/ 345935 h 2374809"/>
                <a:gd name="connsiteX465" fmla="*/ 515622 w 5495992"/>
                <a:gd name="connsiteY465" fmla="*/ 346603 h 2374809"/>
                <a:gd name="connsiteX466" fmla="*/ 488468 w 5495992"/>
                <a:gd name="connsiteY466" fmla="*/ 342593 h 2374809"/>
                <a:gd name="connsiteX467" fmla="*/ 484409 w 5495992"/>
                <a:gd name="connsiteY467" fmla="*/ 335273 h 2374809"/>
                <a:gd name="connsiteX468" fmla="*/ 463505 w 5495992"/>
                <a:gd name="connsiteY468" fmla="*/ 324477 h 2374809"/>
                <a:gd name="connsiteX469" fmla="*/ 423565 w 5495992"/>
                <a:gd name="connsiteY469" fmla="*/ 324678 h 2374809"/>
                <a:gd name="connsiteX470" fmla="*/ 387318 w 5495992"/>
                <a:gd name="connsiteY470" fmla="*/ 332332 h 2374809"/>
                <a:gd name="connsiteX471" fmla="*/ 359433 w 5495992"/>
                <a:gd name="connsiteY471" fmla="*/ 336510 h 2374809"/>
                <a:gd name="connsiteX472" fmla="*/ 342021 w 5495992"/>
                <a:gd name="connsiteY472" fmla="*/ 345300 h 2374809"/>
                <a:gd name="connsiteX473" fmla="*/ 334186 w 5495992"/>
                <a:gd name="connsiteY473" fmla="*/ 365354 h 2374809"/>
                <a:gd name="connsiteX474" fmla="*/ 371651 w 5495992"/>
                <a:gd name="connsiteY474" fmla="*/ 380629 h 2374809"/>
                <a:gd name="connsiteX475" fmla="*/ 349935 w 5495992"/>
                <a:gd name="connsiteY475" fmla="*/ 411679 h 2374809"/>
                <a:gd name="connsiteX476" fmla="*/ 378632 w 5495992"/>
                <a:gd name="connsiteY476" fmla="*/ 438919 h 2374809"/>
                <a:gd name="connsiteX477" fmla="*/ 361747 w 5495992"/>
                <a:gd name="connsiteY477" fmla="*/ 451587 h 2374809"/>
                <a:gd name="connsiteX478" fmla="*/ 366496 w 5495992"/>
                <a:gd name="connsiteY478" fmla="*/ 459609 h 2374809"/>
                <a:gd name="connsiteX479" fmla="*/ 361381 w 5495992"/>
                <a:gd name="connsiteY479" fmla="*/ 464254 h 2374809"/>
                <a:gd name="connsiteX480" fmla="*/ 374208 w 5495992"/>
                <a:gd name="connsiteY480" fmla="*/ 470638 h 2374809"/>
                <a:gd name="connsiteX481" fmla="*/ 374208 w 5495992"/>
                <a:gd name="connsiteY481" fmla="*/ 480030 h 2374809"/>
                <a:gd name="connsiteX482" fmla="*/ 373396 w 5495992"/>
                <a:gd name="connsiteY482" fmla="*/ 492397 h 2374809"/>
                <a:gd name="connsiteX483" fmla="*/ 388252 w 5495992"/>
                <a:gd name="connsiteY483" fmla="*/ 506402 h 2374809"/>
                <a:gd name="connsiteX484" fmla="*/ 416421 w 5495992"/>
                <a:gd name="connsiteY484" fmla="*/ 527325 h 2374809"/>
                <a:gd name="connsiteX485" fmla="*/ 375588 w 5495992"/>
                <a:gd name="connsiteY485" fmla="*/ 543335 h 2374809"/>
                <a:gd name="connsiteX486" fmla="*/ 339829 w 5495992"/>
                <a:gd name="connsiteY486" fmla="*/ 559010 h 2374809"/>
                <a:gd name="connsiteX487" fmla="*/ 289619 w 5495992"/>
                <a:gd name="connsiteY487" fmla="*/ 577326 h 2374809"/>
                <a:gd name="connsiteX488" fmla="*/ 321157 w 5495992"/>
                <a:gd name="connsiteY488" fmla="*/ 585682 h 2374809"/>
                <a:gd name="connsiteX489" fmla="*/ 355537 w 5495992"/>
                <a:gd name="connsiteY489" fmla="*/ 595008 h 2374809"/>
                <a:gd name="connsiteX490" fmla="*/ 321035 w 5495992"/>
                <a:gd name="connsiteY490" fmla="*/ 595342 h 2374809"/>
                <a:gd name="connsiteX491" fmla="*/ 287386 w 5495992"/>
                <a:gd name="connsiteY491" fmla="*/ 603464 h 2374809"/>
                <a:gd name="connsiteX492" fmla="*/ 269933 w 5495992"/>
                <a:gd name="connsiteY492" fmla="*/ 619908 h 2374809"/>
                <a:gd name="connsiteX493" fmla="*/ 275656 w 5495992"/>
                <a:gd name="connsiteY493" fmla="*/ 641700 h 2374809"/>
                <a:gd name="connsiteX494" fmla="*/ 265346 w 5495992"/>
                <a:gd name="connsiteY494" fmla="*/ 652630 h 2374809"/>
                <a:gd name="connsiteX495" fmla="*/ 274479 w 5495992"/>
                <a:gd name="connsiteY495" fmla="*/ 662924 h 2374809"/>
                <a:gd name="connsiteX496" fmla="*/ 277239 w 5495992"/>
                <a:gd name="connsiteY496" fmla="*/ 672951 h 2374809"/>
                <a:gd name="connsiteX497" fmla="*/ 295058 w 5495992"/>
                <a:gd name="connsiteY497" fmla="*/ 690666 h 2374809"/>
                <a:gd name="connsiteX498" fmla="*/ 315353 w 5495992"/>
                <a:gd name="connsiteY498" fmla="*/ 692571 h 2374809"/>
                <a:gd name="connsiteX499" fmla="*/ 335079 w 5495992"/>
                <a:gd name="connsiteY499" fmla="*/ 699790 h 2374809"/>
                <a:gd name="connsiteX500" fmla="*/ 374654 w 5495992"/>
                <a:gd name="connsiteY500" fmla="*/ 720379 h 2374809"/>
                <a:gd name="connsiteX501" fmla="*/ 415244 w 5495992"/>
                <a:gd name="connsiteY501" fmla="*/ 753435 h 2374809"/>
                <a:gd name="connsiteX502" fmla="*/ 415691 w 5495992"/>
                <a:gd name="connsiteY502" fmla="*/ 767574 h 2374809"/>
                <a:gd name="connsiteX503" fmla="*/ 386547 w 5495992"/>
                <a:gd name="connsiteY503" fmla="*/ 765000 h 2374809"/>
                <a:gd name="connsiteX504" fmla="*/ 391743 w 5495992"/>
                <a:gd name="connsiteY504" fmla="*/ 785455 h 2374809"/>
                <a:gd name="connsiteX505" fmla="*/ 418897 w 5495992"/>
                <a:gd name="connsiteY505" fmla="*/ 788196 h 2374809"/>
                <a:gd name="connsiteX506" fmla="*/ 451734 w 5495992"/>
                <a:gd name="connsiteY506" fmla="*/ 789466 h 2374809"/>
                <a:gd name="connsiteX507" fmla="*/ 472029 w 5495992"/>
                <a:gd name="connsiteY507" fmla="*/ 803604 h 2374809"/>
                <a:gd name="connsiteX508" fmla="*/ 513715 w 5495992"/>
                <a:gd name="connsiteY508" fmla="*/ 832850 h 2374809"/>
                <a:gd name="connsiteX509" fmla="*/ 535715 w 5495992"/>
                <a:gd name="connsiteY509" fmla="*/ 842609 h 2374809"/>
                <a:gd name="connsiteX510" fmla="*/ 557877 w 5495992"/>
                <a:gd name="connsiteY510" fmla="*/ 845952 h 2374809"/>
                <a:gd name="connsiteX511" fmla="*/ 576142 w 5495992"/>
                <a:gd name="connsiteY511" fmla="*/ 846821 h 2374809"/>
                <a:gd name="connsiteX512" fmla="*/ 651639 w 5495992"/>
                <a:gd name="connsiteY512" fmla="*/ 871320 h 2374809"/>
                <a:gd name="connsiteX513" fmla="*/ 652370 w 5495992"/>
                <a:gd name="connsiteY513" fmla="*/ 884088 h 2374809"/>
                <a:gd name="connsiteX514" fmla="*/ 646159 w 5495992"/>
                <a:gd name="connsiteY514" fmla="*/ 893280 h 2374809"/>
                <a:gd name="connsiteX515" fmla="*/ 644576 w 5495992"/>
                <a:gd name="connsiteY515" fmla="*/ 907785 h 2374809"/>
                <a:gd name="connsiteX516" fmla="*/ 614621 w 5495992"/>
                <a:gd name="connsiteY516" fmla="*/ 905112 h 2374809"/>
                <a:gd name="connsiteX517" fmla="*/ 588847 w 5495992"/>
                <a:gd name="connsiteY517" fmla="*/ 912632 h 2374809"/>
                <a:gd name="connsiteX518" fmla="*/ 620304 w 5495992"/>
                <a:gd name="connsiteY518" fmla="*/ 921088 h 2374809"/>
                <a:gd name="connsiteX519" fmla="*/ 579308 w 5495992"/>
                <a:gd name="connsiteY519" fmla="*/ 931416 h 2374809"/>
                <a:gd name="connsiteX520" fmla="*/ 583367 w 5495992"/>
                <a:gd name="connsiteY520" fmla="*/ 943716 h 2374809"/>
                <a:gd name="connsiteX521" fmla="*/ 559338 w 5495992"/>
                <a:gd name="connsiteY521" fmla="*/ 955314 h 2374809"/>
                <a:gd name="connsiteX522" fmla="*/ 597533 w 5495992"/>
                <a:gd name="connsiteY522" fmla="*/ 982821 h 2374809"/>
                <a:gd name="connsiteX523" fmla="*/ 624281 w 5495992"/>
                <a:gd name="connsiteY523" fmla="*/ 999533 h 2374809"/>
                <a:gd name="connsiteX524" fmla="*/ 644576 w 5495992"/>
                <a:gd name="connsiteY524" fmla="*/ 1002073 h 2374809"/>
                <a:gd name="connsiteX525" fmla="*/ 690321 w 5495992"/>
                <a:gd name="connsiteY525" fmla="*/ 1014306 h 2374809"/>
                <a:gd name="connsiteX526" fmla="*/ 731195 w 5495992"/>
                <a:gd name="connsiteY526" fmla="*/ 1019621 h 2374809"/>
                <a:gd name="connsiteX527" fmla="*/ 772921 w 5495992"/>
                <a:gd name="connsiteY527" fmla="*/ 1035564 h 2374809"/>
                <a:gd name="connsiteX528" fmla="*/ 814769 w 5495992"/>
                <a:gd name="connsiteY528" fmla="*/ 1042249 h 2374809"/>
                <a:gd name="connsiteX529" fmla="*/ 818828 w 5495992"/>
                <a:gd name="connsiteY529" fmla="*/ 1052075 h 2374809"/>
                <a:gd name="connsiteX530" fmla="*/ 832629 w 5495992"/>
                <a:gd name="connsiteY530" fmla="*/ 1057523 h 2374809"/>
                <a:gd name="connsiteX531" fmla="*/ 868429 w 5495992"/>
                <a:gd name="connsiteY531" fmla="*/ 1075204 h 2374809"/>
                <a:gd name="connsiteX532" fmla="*/ 906908 w 5495992"/>
                <a:gd name="connsiteY532" fmla="*/ 1072363 h 2374809"/>
                <a:gd name="connsiteX533" fmla="*/ 876263 w 5495992"/>
                <a:gd name="connsiteY533" fmla="*/ 1040277 h 2374809"/>
                <a:gd name="connsiteX534" fmla="*/ 868145 w 5495992"/>
                <a:gd name="connsiteY534" fmla="*/ 1013805 h 2374809"/>
                <a:gd name="connsiteX535" fmla="*/ 949324 w 5495992"/>
                <a:gd name="connsiteY535" fmla="*/ 980682 h 2374809"/>
                <a:gd name="connsiteX536" fmla="*/ 933819 w 5495992"/>
                <a:gd name="connsiteY536" fmla="*/ 967647 h 2374809"/>
                <a:gd name="connsiteX537" fmla="*/ 917583 w 5495992"/>
                <a:gd name="connsiteY537" fmla="*/ 943616 h 2374809"/>
                <a:gd name="connsiteX538" fmla="*/ 884259 w 5495992"/>
                <a:gd name="connsiteY538" fmla="*/ 936931 h 2374809"/>
                <a:gd name="connsiteX539" fmla="*/ 871311 w 5495992"/>
                <a:gd name="connsiteY539" fmla="*/ 922191 h 2374809"/>
                <a:gd name="connsiteX540" fmla="*/ 878130 w 5495992"/>
                <a:gd name="connsiteY540" fmla="*/ 911395 h 2374809"/>
                <a:gd name="connsiteX541" fmla="*/ 880403 w 5495992"/>
                <a:gd name="connsiteY541" fmla="*/ 900633 h 2374809"/>
                <a:gd name="connsiteX542" fmla="*/ 893879 w 5495992"/>
                <a:gd name="connsiteY542" fmla="*/ 894249 h 2374809"/>
                <a:gd name="connsiteX543" fmla="*/ 903539 w 5495992"/>
                <a:gd name="connsiteY543" fmla="*/ 886361 h 2374809"/>
                <a:gd name="connsiteX544" fmla="*/ 935727 w 5495992"/>
                <a:gd name="connsiteY544" fmla="*/ 898494 h 2374809"/>
                <a:gd name="connsiteX545" fmla="*/ 950095 w 5495992"/>
                <a:gd name="connsiteY545" fmla="*/ 890773 h 2374809"/>
                <a:gd name="connsiteX546" fmla="*/ 972298 w 5495992"/>
                <a:gd name="connsiteY546" fmla="*/ 878640 h 2374809"/>
                <a:gd name="connsiteX547" fmla="*/ 1006110 w 5495992"/>
                <a:gd name="connsiteY547" fmla="*/ 875298 h 2374809"/>
                <a:gd name="connsiteX548" fmla="*/ 1045725 w 5495992"/>
                <a:gd name="connsiteY548" fmla="*/ 875532 h 2374809"/>
                <a:gd name="connsiteX549" fmla="*/ 1072230 w 5495992"/>
                <a:gd name="connsiteY549" fmla="*/ 874730 h 2374809"/>
                <a:gd name="connsiteX550" fmla="*/ 1097517 w 5495992"/>
                <a:gd name="connsiteY550" fmla="*/ 884757 h 2374809"/>
                <a:gd name="connsiteX551" fmla="*/ 1128569 w 5495992"/>
                <a:gd name="connsiteY551" fmla="*/ 896355 h 2374809"/>
                <a:gd name="connsiteX552" fmla="*/ 1149513 w 5495992"/>
                <a:gd name="connsiteY552" fmla="*/ 912598 h 2374809"/>
                <a:gd name="connsiteX553" fmla="*/ 1162827 w 5495992"/>
                <a:gd name="connsiteY553" fmla="*/ 909958 h 2374809"/>
                <a:gd name="connsiteX554" fmla="*/ 1197165 w 5495992"/>
                <a:gd name="connsiteY554" fmla="*/ 918180 h 2374809"/>
                <a:gd name="connsiteX555" fmla="*/ 1223143 w 5495992"/>
                <a:gd name="connsiteY555" fmla="*/ 914136 h 2374809"/>
                <a:gd name="connsiteX556" fmla="*/ 1246198 w 5495992"/>
                <a:gd name="connsiteY556" fmla="*/ 921756 h 2374809"/>
                <a:gd name="connsiteX557" fmla="*/ 1271038 w 5495992"/>
                <a:gd name="connsiteY557" fmla="*/ 920520 h 2374809"/>
                <a:gd name="connsiteX558" fmla="*/ 1291333 w 5495992"/>
                <a:gd name="connsiteY558" fmla="*/ 932251 h 2374809"/>
                <a:gd name="connsiteX559" fmla="*/ 1314916 w 5495992"/>
                <a:gd name="connsiteY559" fmla="*/ 942479 h 2374809"/>
                <a:gd name="connsiteX560" fmla="*/ 1328636 w 5495992"/>
                <a:gd name="connsiteY560" fmla="*/ 936964 h 2374809"/>
                <a:gd name="connsiteX561" fmla="*/ 1376897 w 5495992"/>
                <a:gd name="connsiteY561" fmla="*/ 944284 h 2374809"/>
                <a:gd name="connsiteX562" fmla="*/ 1340731 w 5495992"/>
                <a:gd name="connsiteY562" fmla="*/ 918815 h 2374809"/>
                <a:gd name="connsiteX563" fmla="*/ 1355343 w 5495992"/>
                <a:gd name="connsiteY563" fmla="*/ 912131 h 2374809"/>
                <a:gd name="connsiteX564" fmla="*/ 1364436 w 5495992"/>
                <a:gd name="connsiteY564" fmla="*/ 901468 h 2374809"/>
                <a:gd name="connsiteX565" fmla="*/ 1409937 w 5495992"/>
                <a:gd name="connsiteY565" fmla="*/ 899931 h 2374809"/>
                <a:gd name="connsiteX566" fmla="*/ 1385583 w 5495992"/>
                <a:gd name="connsiteY566" fmla="*/ 889302 h 2374809"/>
                <a:gd name="connsiteX567" fmla="*/ 1385299 w 5495992"/>
                <a:gd name="connsiteY567" fmla="*/ 873025 h 2374809"/>
                <a:gd name="connsiteX568" fmla="*/ 1424630 w 5495992"/>
                <a:gd name="connsiteY568" fmla="*/ 879108 h 2374809"/>
                <a:gd name="connsiteX569" fmla="*/ 1474190 w 5495992"/>
                <a:gd name="connsiteY569" fmla="*/ 882116 h 2374809"/>
                <a:gd name="connsiteX570" fmla="*/ 1522127 w 5495992"/>
                <a:gd name="connsiteY570" fmla="*/ 887497 h 2374809"/>
                <a:gd name="connsiteX571" fmla="*/ 1563447 w 5495992"/>
                <a:gd name="connsiteY571" fmla="*/ 890539 h 2374809"/>
                <a:gd name="connsiteX572" fmla="*/ 1631882 w 5495992"/>
                <a:gd name="connsiteY572" fmla="*/ 895185 h 2374809"/>
                <a:gd name="connsiteX573" fmla="*/ 1686678 w 5495992"/>
                <a:gd name="connsiteY573" fmla="*/ 901201 h 2374809"/>
                <a:gd name="connsiteX574" fmla="*/ 1722194 w 5495992"/>
                <a:gd name="connsiteY574" fmla="*/ 913534 h 2374809"/>
                <a:gd name="connsiteX575" fmla="*/ 1724061 w 5495992"/>
                <a:gd name="connsiteY575" fmla="*/ 925132 h 2374809"/>
                <a:gd name="connsiteX576" fmla="*/ 1718541 w 5495992"/>
                <a:gd name="connsiteY576" fmla="*/ 935159 h 2374809"/>
                <a:gd name="connsiteX577" fmla="*/ 1748943 w 5495992"/>
                <a:gd name="connsiteY577" fmla="*/ 939037 h 2374809"/>
                <a:gd name="connsiteX578" fmla="*/ 1768872 w 5495992"/>
                <a:gd name="connsiteY578" fmla="*/ 949064 h 2374809"/>
                <a:gd name="connsiteX579" fmla="*/ 1791156 w 5495992"/>
                <a:gd name="connsiteY579" fmla="*/ 955514 h 2374809"/>
                <a:gd name="connsiteX580" fmla="*/ 1785879 w 5495992"/>
                <a:gd name="connsiteY580" fmla="*/ 962567 h 2374809"/>
                <a:gd name="connsiteX581" fmla="*/ 1801384 w 5495992"/>
                <a:gd name="connsiteY581" fmla="*/ 967814 h 2374809"/>
                <a:gd name="connsiteX582" fmla="*/ 1816444 w 5495992"/>
                <a:gd name="connsiteY582" fmla="*/ 970522 h 2374809"/>
                <a:gd name="connsiteX583" fmla="*/ 1836373 w 5495992"/>
                <a:gd name="connsiteY583" fmla="*/ 970054 h 2374809"/>
                <a:gd name="connsiteX584" fmla="*/ 1881021 w 5495992"/>
                <a:gd name="connsiteY584" fmla="*/ 968349 h 2374809"/>
                <a:gd name="connsiteX585" fmla="*/ 1900383 w 5495992"/>
                <a:gd name="connsiteY585" fmla="*/ 971691 h 2374809"/>
                <a:gd name="connsiteX586" fmla="*/ 1896689 w 5495992"/>
                <a:gd name="connsiteY586" fmla="*/ 976638 h 2374809"/>
                <a:gd name="connsiteX587" fmla="*/ 1911708 w 5495992"/>
                <a:gd name="connsiteY587" fmla="*/ 991645 h 2374809"/>
                <a:gd name="connsiteX588" fmla="*/ 1936061 w 5495992"/>
                <a:gd name="connsiteY588" fmla="*/ 1014641 h 2374809"/>
                <a:gd name="connsiteX589" fmla="*/ 1968533 w 5495992"/>
                <a:gd name="connsiteY589" fmla="*/ 1068118 h 2374809"/>
                <a:gd name="connsiteX590" fmla="*/ 2005916 w 5495992"/>
                <a:gd name="connsiteY590" fmla="*/ 1074536 h 2374809"/>
                <a:gd name="connsiteX591" fmla="*/ 2035019 w 5495992"/>
                <a:gd name="connsiteY591" fmla="*/ 1092518 h 2374809"/>
                <a:gd name="connsiteX592" fmla="*/ 2079262 w 5495992"/>
                <a:gd name="connsiteY592" fmla="*/ 1098768 h 2374809"/>
                <a:gd name="connsiteX593" fmla="*/ 2100125 w 5495992"/>
                <a:gd name="connsiteY593" fmla="*/ 1114243 h 2374809"/>
                <a:gd name="connsiteX594" fmla="*/ 2120420 w 5495992"/>
                <a:gd name="connsiteY594" fmla="*/ 1129852 h 2374809"/>
                <a:gd name="connsiteX595" fmla="*/ 2134099 w 5495992"/>
                <a:gd name="connsiteY595" fmla="*/ 1146564 h 2374809"/>
                <a:gd name="connsiteX596" fmla="*/ 2171198 w 5495992"/>
                <a:gd name="connsiteY596" fmla="*/ 1154552 h 2374809"/>
                <a:gd name="connsiteX597" fmla="*/ 2287690 w 5495992"/>
                <a:gd name="connsiteY597" fmla="*/ 1174606 h 2374809"/>
                <a:gd name="connsiteX598" fmla="*/ 2352188 w 5495992"/>
                <a:gd name="connsiteY598" fmla="*/ 1180121 h 2374809"/>
                <a:gd name="connsiteX599" fmla="*/ 2382427 w 5495992"/>
                <a:gd name="connsiteY599" fmla="*/ 1192822 h 2374809"/>
                <a:gd name="connsiteX600" fmla="*/ 2398378 w 5495992"/>
                <a:gd name="connsiteY600" fmla="*/ 1207194 h 2374809"/>
                <a:gd name="connsiteX601" fmla="*/ 2454961 w 5495992"/>
                <a:gd name="connsiteY601" fmla="*/ 1233231 h 2374809"/>
                <a:gd name="connsiteX602" fmla="*/ 2484713 w 5495992"/>
                <a:gd name="connsiteY602" fmla="*/ 1239448 h 2374809"/>
                <a:gd name="connsiteX603" fmla="*/ 2503871 w 5495992"/>
                <a:gd name="connsiteY603" fmla="*/ 1231526 h 2374809"/>
                <a:gd name="connsiteX604" fmla="*/ 2530498 w 5495992"/>
                <a:gd name="connsiteY604" fmla="*/ 1210570 h 2374809"/>
                <a:gd name="connsiteX605" fmla="*/ 2560413 w 5495992"/>
                <a:gd name="connsiteY605" fmla="*/ 1215316 h 2374809"/>
                <a:gd name="connsiteX606" fmla="*/ 2598405 w 5495992"/>
                <a:gd name="connsiteY606" fmla="*/ 1235370 h 2374809"/>
                <a:gd name="connsiteX607" fmla="*/ 2629497 w 5495992"/>
                <a:gd name="connsiteY607" fmla="*/ 1252082 h 2374809"/>
                <a:gd name="connsiteX608" fmla="*/ 2632825 w 5495992"/>
                <a:gd name="connsiteY608" fmla="*/ 1268794 h 2374809"/>
                <a:gd name="connsiteX609" fmla="*/ 2680315 w 5495992"/>
                <a:gd name="connsiteY609" fmla="*/ 1299744 h 2374809"/>
                <a:gd name="connsiteX610" fmla="*/ 2795793 w 5495992"/>
                <a:gd name="connsiteY610" fmla="*/ 1344832 h 2374809"/>
                <a:gd name="connsiteX611" fmla="*/ 2810893 w 5495992"/>
                <a:gd name="connsiteY611" fmla="*/ 1363215 h 2374809"/>
                <a:gd name="connsiteX612" fmla="*/ 2836748 w 5495992"/>
                <a:gd name="connsiteY612" fmla="*/ 1375615 h 2374809"/>
                <a:gd name="connsiteX613" fmla="*/ 2888378 w 5495992"/>
                <a:gd name="connsiteY613" fmla="*/ 1396004 h 2374809"/>
                <a:gd name="connsiteX614" fmla="*/ 2949263 w 5495992"/>
                <a:gd name="connsiteY614" fmla="*/ 1410008 h 2374809"/>
                <a:gd name="connsiteX615" fmla="*/ 2980517 w 5495992"/>
                <a:gd name="connsiteY615" fmla="*/ 1411044 h 2374809"/>
                <a:gd name="connsiteX616" fmla="*/ 3019280 w 5495992"/>
                <a:gd name="connsiteY616" fmla="*/ 1422876 h 2374809"/>
                <a:gd name="connsiteX617" fmla="*/ 3042700 w 5495992"/>
                <a:gd name="connsiteY617" fmla="*/ 1438318 h 2374809"/>
                <a:gd name="connsiteX618" fmla="*/ 3073102 w 5495992"/>
                <a:gd name="connsiteY618" fmla="*/ 1452323 h 2374809"/>
                <a:gd name="connsiteX619" fmla="*/ 3130659 w 5495992"/>
                <a:gd name="connsiteY619" fmla="*/ 1473580 h 2374809"/>
                <a:gd name="connsiteX620" fmla="*/ 3156514 w 5495992"/>
                <a:gd name="connsiteY620" fmla="*/ 1469970 h 2374809"/>
                <a:gd name="connsiteX621" fmla="*/ 3178757 w 5495992"/>
                <a:gd name="connsiteY621" fmla="*/ 1461882 h 2374809"/>
                <a:gd name="connsiteX622" fmla="*/ 3222919 w 5495992"/>
                <a:gd name="connsiteY622" fmla="*/ 1445170 h 2374809"/>
                <a:gd name="connsiteX623" fmla="*/ 3212122 w 5495992"/>
                <a:gd name="connsiteY623" fmla="*/ 1434174 h 2374809"/>
                <a:gd name="connsiteX624" fmla="*/ 3248410 w 5495992"/>
                <a:gd name="connsiteY624" fmla="*/ 1433839 h 2374809"/>
                <a:gd name="connsiteX625" fmla="*/ 3310269 w 5495992"/>
                <a:gd name="connsiteY625" fmla="*/ 1457704 h 2374809"/>
                <a:gd name="connsiteX626" fmla="*/ 3377972 w 5495992"/>
                <a:gd name="connsiteY626" fmla="*/ 1499116 h 2374809"/>
                <a:gd name="connsiteX627" fmla="*/ 3386739 w 5495992"/>
                <a:gd name="connsiteY627" fmla="*/ 1517398 h 2374809"/>
                <a:gd name="connsiteX628" fmla="*/ 3393396 w 5495992"/>
                <a:gd name="connsiteY628" fmla="*/ 1535915 h 2374809"/>
                <a:gd name="connsiteX629" fmla="*/ 3403381 w 5495992"/>
                <a:gd name="connsiteY629" fmla="*/ 1581605 h 2374809"/>
                <a:gd name="connsiteX630" fmla="*/ 3401717 w 5495992"/>
                <a:gd name="connsiteY630" fmla="*/ 1595977 h 2374809"/>
                <a:gd name="connsiteX631" fmla="*/ 3433620 w 5495992"/>
                <a:gd name="connsiteY631" fmla="*/ 1618271 h 2374809"/>
                <a:gd name="connsiteX632" fmla="*/ 3458827 w 5495992"/>
                <a:gd name="connsiteY632" fmla="*/ 1638325 h 2374809"/>
                <a:gd name="connsiteX633" fmla="*/ 3473277 w 5495992"/>
                <a:gd name="connsiteY633" fmla="*/ 1658780 h 2374809"/>
                <a:gd name="connsiteX634" fmla="*/ 3478554 w 5495992"/>
                <a:gd name="connsiteY634" fmla="*/ 1679570 h 2374809"/>
                <a:gd name="connsiteX635" fmla="*/ 3519874 w 5495992"/>
                <a:gd name="connsiteY635" fmla="*/ 1699189 h 2374809"/>
                <a:gd name="connsiteX636" fmla="*/ 3552671 w 5495992"/>
                <a:gd name="connsiteY636" fmla="*/ 1705874 h 2374809"/>
                <a:gd name="connsiteX637" fmla="*/ 3578120 w 5495992"/>
                <a:gd name="connsiteY637" fmla="*/ 1715166 h 2374809"/>
                <a:gd name="connsiteX638" fmla="*/ 3575603 w 5495992"/>
                <a:gd name="connsiteY638" fmla="*/ 1732780 h 2374809"/>
                <a:gd name="connsiteX639" fmla="*/ 3565822 w 5495992"/>
                <a:gd name="connsiteY639" fmla="*/ 1733682 h 2374809"/>
                <a:gd name="connsiteX640" fmla="*/ 3548205 w 5495992"/>
                <a:gd name="connsiteY640" fmla="*/ 1741002 h 2374809"/>
                <a:gd name="connsiteX641" fmla="*/ 3520767 w 5495992"/>
                <a:gd name="connsiteY641" fmla="*/ 1746584 h 2374809"/>
                <a:gd name="connsiteX642" fmla="*/ 3496413 w 5495992"/>
                <a:gd name="connsiteY642" fmla="*/ 1751430 h 2374809"/>
                <a:gd name="connsiteX643" fmla="*/ 3470760 w 5495992"/>
                <a:gd name="connsiteY643" fmla="*/ 1739364 h 2374809"/>
                <a:gd name="connsiteX644" fmla="*/ 3439100 w 5495992"/>
                <a:gd name="connsiteY644" fmla="*/ 1733214 h 2374809"/>
                <a:gd name="connsiteX645" fmla="*/ 3417019 w 5495992"/>
                <a:gd name="connsiteY645" fmla="*/ 1770716 h 2374809"/>
                <a:gd name="connsiteX646" fmla="*/ 3460044 w 5495992"/>
                <a:gd name="connsiteY646" fmla="*/ 1789566 h 2374809"/>
                <a:gd name="connsiteX647" fmla="*/ 3495764 w 5495992"/>
                <a:gd name="connsiteY647" fmla="*/ 1805877 h 2374809"/>
                <a:gd name="connsiteX648" fmla="*/ 3570245 w 5495992"/>
                <a:gd name="connsiteY648" fmla="*/ 1808351 h 2374809"/>
                <a:gd name="connsiteX649" fmla="*/ 3681746 w 5495992"/>
                <a:gd name="connsiteY649" fmla="*/ 1799092 h 2374809"/>
                <a:gd name="connsiteX650" fmla="*/ 3762926 w 5495992"/>
                <a:gd name="connsiteY650" fmla="*/ 1785155 h 2374809"/>
                <a:gd name="connsiteX651" fmla="*/ 3809887 w 5495992"/>
                <a:gd name="connsiteY651" fmla="*/ 1750027 h 2374809"/>
                <a:gd name="connsiteX652" fmla="*/ 3828356 w 5495992"/>
                <a:gd name="connsiteY652" fmla="*/ 1745247 h 2374809"/>
                <a:gd name="connsiteX653" fmla="*/ 3841507 w 5495992"/>
                <a:gd name="connsiteY653" fmla="*/ 1734986 h 2374809"/>
                <a:gd name="connsiteX654" fmla="*/ 3847636 w 5495992"/>
                <a:gd name="connsiteY654" fmla="*/ 1723421 h 2374809"/>
                <a:gd name="connsiteX655" fmla="*/ 3848164 w 5495992"/>
                <a:gd name="connsiteY655" fmla="*/ 1711155 h 2374809"/>
                <a:gd name="connsiteX656" fmla="*/ 3835987 w 5495992"/>
                <a:gd name="connsiteY656" fmla="*/ 1694777 h 2374809"/>
                <a:gd name="connsiteX657" fmla="*/ 3819386 w 5495992"/>
                <a:gd name="connsiteY657" fmla="*/ 1674489 h 2374809"/>
                <a:gd name="connsiteX658" fmla="*/ 3798279 w 5495992"/>
                <a:gd name="connsiteY658" fmla="*/ 1662590 h 2374809"/>
                <a:gd name="connsiteX659" fmla="*/ 3784519 w 5495992"/>
                <a:gd name="connsiteY659" fmla="*/ 1664328 h 2374809"/>
                <a:gd name="connsiteX660" fmla="*/ 3747379 w 5495992"/>
                <a:gd name="connsiteY660" fmla="*/ 1656407 h 2374809"/>
                <a:gd name="connsiteX661" fmla="*/ 3755497 w 5495992"/>
                <a:gd name="connsiteY661" fmla="*/ 1651627 h 2374809"/>
                <a:gd name="connsiteX662" fmla="*/ 3764549 w 5495992"/>
                <a:gd name="connsiteY662" fmla="*/ 1641901 h 2374809"/>
                <a:gd name="connsiteX663" fmla="*/ 3730575 w 5495992"/>
                <a:gd name="connsiteY663" fmla="*/ 1635684 h 2374809"/>
                <a:gd name="connsiteX664" fmla="*/ 3740682 w 5495992"/>
                <a:gd name="connsiteY664" fmla="*/ 1625122 h 2374809"/>
                <a:gd name="connsiteX665" fmla="*/ 3716328 w 5495992"/>
                <a:gd name="connsiteY665" fmla="*/ 1612622 h 2374809"/>
                <a:gd name="connsiteX666" fmla="*/ 3725096 w 5495992"/>
                <a:gd name="connsiteY666" fmla="*/ 1599253 h 2374809"/>
                <a:gd name="connsiteX667" fmla="*/ 3747258 w 5495992"/>
                <a:gd name="connsiteY667" fmla="*/ 1599620 h 2374809"/>
                <a:gd name="connsiteX668" fmla="*/ 3782570 w 5495992"/>
                <a:gd name="connsiteY668" fmla="*/ 1605369 h 2374809"/>
                <a:gd name="connsiteX669" fmla="*/ 3833023 w 5495992"/>
                <a:gd name="connsiteY669" fmla="*/ 1605369 h 2374809"/>
                <a:gd name="connsiteX670" fmla="*/ 3908521 w 5495992"/>
                <a:gd name="connsiteY670" fmla="*/ 1610917 h 2374809"/>
                <a:gd name="connsiteX671" fmla="*/ 3955361 w 5495992"/>
                <a:gd name="connsiteY671" fmla="*/ 1613625 h 2374809"/>
                <a:gd name="connsiteX672" fmla="*/ 4015150 w 5495992"/>
                <a:gd name="connsiteY672" fmla="*/ 1626092 h 2374809"/>
                <a:gd name="connsiteX673" fmla="*/ 4074452 w 5495992"/>
                <a:gd name="connsiteY673" fmla="*/ 1658546 h 2374809"/>
                <a:gd name="connsiteX674" fmla="*/ 4093367 w 5495992"/>
                <a:gd name="connsiteY674" fmla="*/ 1674289 h 2374809"/>
                <a:gd name="connsiteX675" fmla="*/ 4118857 w 5495992"/>
                <a:gd name="connsiteY675" fmla="*/ 1684650 h 2374809"/>
                <a:gd name="connsiteX676" fmla="*/ 4146214 w 5495992"/>
                <a:gd name="connsiteY676" fmla="*/ 1698019 h 2374809"/>
                <a:gd name="connsiteX677" fmla="*/ 4171867 w 5495992"/>
                <a:gd name="connsiteY677" fmla="*/ 1712793 h 2374809"/>
                <a:gd name="connsiteX678" fmla="*/ 4198412 w 5495992"/>
                <a:gd name="connsiteY678" fmla="*/ 1716402 h 2374809"/>
                <a:gd name="connsiteX679" fmla="*/ 4224269 w 5495992"/>
                <a:gd name="connsiteY679" fmla="*/ 1731744 h 2374809"/>
                <a:gd name="connsiteX680" fmla="*/ 4238881 w 5495992"/>
                <a:gd name="connsiteY680" fmla="*/ 1746116 h 2374809"/>
                <a:gd name="connsiteX681" fmla="*/ 4257633 w 5495992"/>
                <a:gd name="connsiteY681" fmla="*/ 1758650 h 2374809"/>
                <a:gd name="connsiteX682" fmla="*/ 4260393 w 5495992"/>
                <a:gd name="connsiteY682" fmla="*/ 1769479 h 2374809"/>
                <a:gd name="connsiteX683" fmla="*/ 4240748 w 5495992"/>
                <a:gd name="connsiteY683" fmla="*/ 1766137 h 2374809"/>
                <a:gd name="connsiteX684" fmla="*/ 4271758 w 5495992"/>
                <a:gd name="connsiteY684" fmla="*/ 1780743 h 2374809"/>
                <a:gd name="connsiteX685" fmla="*/ 4310847 w 5495992"/>
                <a:gd name="connsiteY685" fmla="*/ 1798056 h 2374809"/>
                <a:gd name="connsiteX686" fmla="*/ 4331425 w 5495992"/>
                <a:gd name="connsiteY686" fmla="*/ 1809019 h 2374809"/>
                <a:gd name="connsiteX687" fmla="*/ 4361381 w 5495992"/>
                <a:gd name="connsiteY687" fmla="*/ 1823024 h 2374809"/>
                <a:gd name="connsiteX688" fmla="*/ 4343683 w 5495992"/>
                <a:gd name="connsiteY688" fmla="*/ 1801298 h 2374809"/>
                <a:gd name="connsiteX689" fmla="*/ 4395192 w 5495992"/>
                <a:gd name="connsiteY689" fmla="*/ 1800730 h 2374809"/>
                <a:gd name="connsiteX690" fmla="*/ 4443047 w 5495992"/>
                <a:gd name="connsiteY690" fmla="*/ 1811426 h 2374809"/>
                <a:gd name="connsiteX691" fmla="*/ 4473814 w 5495992"/>
                <a:gd name="connsiteY691" fmla="*/ 1810590 h 2374809"/>
                <a:gd name="connsiteX692" fmla="*/ 4526134 w 5495992"/>
                <a:gd name="connsiteY692" fmla="*/ 1837329 h 2374809"/>
                <a:gd name="connsiteX693" fmla="*/ 4549920 w 5495992"/>
                <a:gd name="connsiteY693" fmla="*/ 1854876 h 2374809"/>
                <a:gd name="connsiteX694" fmla="*/ 4538150 w 5495992"/>
                <a:gd name="connsiteY694" fmla="*/ 1862463 h 2374809"/>
                <a:gd name="connsiteX695" fmla="*/ 4545821 w 5495992"/>
                <a:gd name="connsiteY695" fmla="*/ 1880880 h 2374809"/>
                <a:gd name="connsiteX696" fmla="*/ 4532954 w 5495992"/>
                <a:gd name="connsiteY696" fmla="*/ 1880880 h 2374809"/>
                <a:gd name="connsiteX697" fmla="*/ 4555846 w 5495992"/>
                <a:gd name="connsiteY697" fmla="*/ 1890907 h 2374809"/>
                <a:gd name="connsiteX698" fmla="*/ 4630856 w 5495992"/>
                <a:gd name="connsiteY698" fmla="*/ 1913167 h 2374809"/>
                <a:gd name="connsiteX699" fmla="*/ 4660202 w 5495992"/>
                <a:gd name="connsiteY699" fmla="*/ 1902705 h 2374809"/>
                <a:gd name="connsiteX700" fmla="*/ 4711468 w 5495992"/>
                <a:gd name="connsiteY700" fmla="*/ 1935494 h 2374809"/>
                <a:gd name="connsiteX701" fmla="*/ 4679767 w 5495992"/>
                <a:gd name="connsiteY701" fmla="*/ 1922125 h 2374809"/>
                <a:gd name="connsiteX702" fmla="*/ 4657117 w 5495992"/>
                <a:gd name="connsiteY702" fmla="*/ 1931483 h 2374809"/>
                <a:gd name="connsiteX703" fmla="*/ 4655738 w 5495992"/>
                <a:gd name="connsiteY703" fmla="*/ 1937031 h 2374809"/>
                <a:gd name="connsiteX704" fmla="*/ 4644616 w 5495992"/>
                <a:gd name="connsiteY704" fmla="*/ 1934993 h 2374809"/>
                <a:gd name="connsiteX705" fmla="*/ 4634712 w 5495992"/>
                <a:gd name="connsiteY705" fmla="*/ 1938335 h 2374809"/>
                <a:gd name="connsiteX706" fmla="*/ 4612916 w 5495992"/>
                <a:gd name="connsiteY706" fmla="*/ 1929110 h 2374809"/>
                <a:gd name="connsiteX707" fmla="*/ 4582717 w 5495992"/>
                <a:gd name="connsiteY707" fmla="*/ 1920219 h 2374809"/>
                <a:gd name="connsiteX708" fmla="*/ 4548216 w 5495992"/>
                <a:gd name="connsiteY708" fmla="*/ 1917913 h 2374809"/>
                <a:gd name="connsiteX709" fmla="*/ 4517570 w 5495992"/>
                <a:gd name="connsiteY709" fmla="*/ 1913234 h 2374809"/>
                <a:gd name="connsiteX710" fmla="*/ 4466955 w 5495992"/>
                <a:gd name="connsiteY710" fmla="*/ 1908588 h 2374809"/>
                <a:gd name="connsiteX711" fmla="*/ 4411266 w 5495992"/>
                <a:gd name="connsiteY711" fmla="*/ 1895486 h 2374809"/>
                <a:gd name="connsiteX712" fmla="*/ 4382325 w 5495992"/>
                <a:gd name="connsiteY712" fmla="*/ 1881548 h 2374809"/>
                <a:gd name="connsiteX713" fmla="*/ 4377454 w 5495992"/>
                <a:gd name="connsiteY713" fmla="*/ 1887999 h 2374809"/>
                <a:gd name="connsiteX714" fmla="*/ 4352533 w 5495992"/>
                <a:gd name="connsiteY714" fmla="*/ 1892779 h 2374809"/>
                <a:gd name="connsiteX715" fmla="*/ 4278375 w 5495992"/>
                <a:gd name="connsiteY715" fmla="*/ 1961029 h 2374809"/>
                <a:gd name="connsiteX716" fmla="*/ 4276061 w 5495992"/>
                <a:gd name="connsiteY716" fmla="*/ 1976471 h 2374809"/>
                <a:gd name="connsiteX717" fmla="*/ 4264940 w 5495992"/>
                <a:gd name="connsiteY717" fmla="*/ 1995857 h 2374809"/>
                <a:gd name="connsiteX718" fmla="*/ 4265670 w 5495992"/>
                <a:gd name="connsiteY718" fmla="*/ 2013973 h 2374809"/>
                <a:gd name="connsiteX719" fmla="*/ 4304230 w 5495992"/>
                <a:gd name="connsiteY719" fmla="*/ 2017850 h 2374809"/>
                <a:gd name="connsiteX720" fmla="*/ 4333253 w 5495992"/>
                <a:gd name="connsiteY720" fmla="*/ 2016914 h 2374809"/>
                <a:gd name="connsiteX721" fmla="*/ 4352694 w 5495992"/>
                <a:gd name="connsiteY721" fmla="*/ 2009561 h 2374809"/>
                <a:gd name="connsiteX722" fmla="*/ 4385775 w 5495992"/>
                <a:gd name="connsiteY722" fmla="*/ 2021392 h 2374809"/>
                <a:gd name="connsiteX723" fmla="*/ 4401037 w 5495992"/>
                <a:gd name="connsiteY723" fmla="*/ 2009561 h 2374809"/>
                <a:gd name="connsiteX724" fmla="*/ 4437568 w 5495992"/>
                <a:gd name="connsiteY724" fmla="*/ 2015243 h 2374809"/>
                <a:gd name="connsiteX725" fmla="*/ 4473611 w 5495992"/>
                <a:gd name="connsiteY725" fmla="*/ 2033325 h 2374809"/>
                <a:gd name="connsiteX726" fmla="*/ 4481080 w 5495992"/>
                <a:gd name="connsiteY726" fmla="*/ 2016613 h 2374809"/>
                <a:gd name="connsiteX727" fmla="*/ 4507585 w 5495992"/>
                <a:gd name="connsiteY727" fmla="*/ 2010831 h 2374809"/>
                <a:gd name="connsiteX728" fmla="*/ 4538270 w 5495992"/>
                <a:gd name="connsiteY728" fmla="*/ 2025704 h 2374809"/>
                <a:gd name="connsiteX729" fmla="*/ 4533400 w 5495992"/>
                <a:gd name="connsiteY729" fmla="*/ 2008290 h 2374809"/>
                <a:gd name="connsiteX730" fmla="*/ 4541518 w 5495992"/>
                <a:gd name="connsiteY730" fmla="*/ 1996559 h 2374809"/>
                <a:gd name="connsiteX731" fmla="*/ 4562787 w 5495992"/>
                <a:gd name="connsiteY731" fmla="*/ 1992314 h 2374809"/>
                <a:gd name="connsiteX732" fmla="*/ 4536079 w 5495992"/>
                <a:gd name="connsiteY732" fmla="*/ 1972260 h 2374809"/>
                <a:gd name="connsiteX733" fmla="*/ 4565385 w 5495992"/>
                <a:gd name="connsiteY733" fmla="*/ 1963804 h 2374809"/>
                <a:gd name="connsiteX734" fmla="*/ 4632521 w 5495992"/>
                <a:gd name="connsiteY734" fmla="*/ 1966043 h 2374809"/>
                <a:gd name="connsiteX735" fmla="*/ 4651029 w 5495992"/>
                <a:gd name="connsiteY735" fmla="*/ 1983423 h 2374809"/>
                <a:gd name="connsiteX736" fmla="*/ 4680254 w 5495992"/>
                <a:gd name="connsiteY736" fmla="*/ 1987735 h 2374809"/>
                <a:gd name="connsiteX737" fmla="*/ 4701239 w 5495992"/>
                <a:gd name="connsiteY737" fmla="*/ 2012970 h 2374809"/>
                <a:gd name="connsiteX738" fmla="*/ 4781688 w 5495992"/>
                <a:gd name="connsiteY738" fmla="*/ 2048232 h 2374809"/>
                <a:gd name="connsiteX739" fmla="*/ 4803079 w 5495992"/>
                <a:gd name="connsiteY739" fmla="*/ 2071628 h 2374809"/>
                <a:gd name="connsiteX740" fmla="*/ 4820572 w 5495992"/>
                <a:gd name="connsiteY740" fmla="*/ 2083527 h 2374809"/>
                <a:gd name="connsiteX741" fmla="*/ 4861528 w 5495992"/>
                <a:gd name="connsiteY741" fmla="*/ 2095961 h 2374809"/>
                <a:gd name="connsiteX742" fmla="*/ 4897003 w 5495992"/>
                <a:gd name="connsiteY742" fmla="*/ 2106924 h 2374809"/>
                <a:gd name="connsiteX743" fmla="*/ 4970512 w 5495992"/>
                <a:gd name="connsiteY743" fmla="*/ 2131690 h 2374809"/>
                <a:gd name="connsiteX744" fmla="*/ 5050148 w 5495992"/>
                <a:gd name="connsiteY744" fmla="*/ 2165114 h 2374809"/>
                <a:gd name="connsiteX745" fmla="*/ 5063989 w 5495992"/>
                <a:gd name="connsiteY745" fmla="*/ 2173771 h 2374809"/>
                <a:gd name="connsiteX746" fmla="*/ 5098937 w 5495992"/>
                <a:gd name="connsiteY746" fmla="*/ 2205556 h 2374809"/>
                <a:gd name="connsiteX747" fmla="*/ 5123088 w 5495992"/>
                <a:gd name="connsiteY747" fmla="*/ 2187642 h 2374809"/>
                <a:gd name="connsiteX748" fmla="*/ 5113630 w 5495992"/>
                <a:gd name="connsiteY748" fmla="*/ 2150441 h 2374809"/>
                <a:gd name="connsiteX749" fmla="*/ 5109571 w 5495992"/>
                <a:gd name="connsiteY749" fmla="*/ 2130654 h 2374809"/>
                <a:gd name="connsiteX750" fmla="*/ 5082254 w 5495992"/>
                <a:gd name="connsiteY750" fmla="*/ 2109698 h 2374809"/>
                <a:gd name="connsiteX751" fmla="*/ 5107218 w 5495992"/>
                <a:gd name="connsiteY751" fmla="*/ 2116850 h 2374809"/>
                <a:gd name="connsiteX752" fmla="*/ 5129014 w 5495992"/>
                <a:gd name="connsiteY752" fmla="*/ 2146932 h 2374809"/>
                <a:gd name="connsiteX753" fmla="*/ 5199641 w 5495992"/>
                <a:gd name="connsiteY753" fmla="*/ 2180121 h 2374809"/>
                <a:gd name="connsiteX754" fmla="*/ 5222006 w 5495992"/>
                <a:gd name="connsiteY754" fmla="*/ 2177949 h 2374809"/>
                <a:gd name="connsiteX755" fmla="*/ 5216119 w 5495992"/>
                <a:gd name="connsiteY755" fmla="*/ 2163844 h 2374809"/>
                <a:gd name="connsiteX756" fmla="*/ 5231422 w 5495992"/>
                <a:gd name="connsiteY756" fmla="*/ 2165950 h 2374809"/>
                <a:gd name="connsiteX757" fmla="*/ 5260566 w 5495992"/>
                <a:gd name="connsiteY757" fmla="*/ 2179954 h 2374809"/>
                <a:gd name="connsiteX758" fmla="*/ 5242463 w 5495992"/>
                <a:gd name="connsiteY758" fmla="*/ 2186639 h 2374809"/>
                <a:gd name="connsiteX759" fmla="*/ 5260809 w 5495992"/>
                <a:gd name="connsiteY759" fmla="*/ 2212241 h 2374809"/>
                <a:gd name="connsiteX760" fmla="*/ 5308421 w 5495992"/>
                <a:gd name="connsiteY760" fmla="*/ 2262143 h 2374809"/>
                <a:gd name="connsiteX761" fmla="*/ 5328473 w 5495992"/>
                <a:gd name="connsiteY761" fmla="*/ 2297538 h 2374809"/>
                <a:gd name="connsiteX762" fmla="*/ 5338254 w 5495992"/>
                <a:gd name="connsiteY762" fmla="*/ 2309671 h 2374809"/>
                <a:gd name="connsiteX763" fmla="*/ 5353313 w 5495992"/>
                <a:gd name="connsiteY763" fmla="*/ 2328355 h 2374809"/>
                <a:gd name="connsiteX764" fmla="*/ 5380468 w 5495992"/>
                <a:gd name="connsiteY764" fmla="*/ 2348242 h 2374809"/>
                <a:gd name="connsiteX765" fmla="*/ 5376409 w 5495992"/>
                <a:gd name="connsiteY765" fmla="*/ 2332065 h 2374809"/>
                <a:gd name="connsiteX766" fmla="*/ 5392645 w 5495992"/>
                <a:gd name="connsiteY766" fmla="*/ 2343730 h 2374809"/>
                <a:gd name="connsiteX767" fmla="*/ 5406283 w 5495992"/>
                <a:gd name="connsiteY767" fmla="*/ 2335307 h 2374809"/>
                <a:gd name="connsiteX768" fmla="*/ 5413670 w 5495992"/>
                <a:gd name="connsiteY768" fmla="*/ 2324210 h 2374809"/>
                <a:gd name="connsiteX769" fmla="*/ 5448699 w 5495992"/>
                <a:gd name="connsiteY769" fmla="*/ 2358703 h 2374809"/>
                <a:gd name="connsiteX770" fmla="*/ 5440865 w 5495992"/>
                <a:gd name="connsiteY770" fmla="*/ 2345869 h 2374809"/>
                <a:gd name="connsiteX771" fmla="*/ 5463717 w 5495992"/>
                <a:gd name="connsiteY771" fmla="*/ 2364920 h 2374809"/>
                <a:gd name="connsiteX772" fmla="*/ 5480481 w 5495992"/>
                <a:gd name="connsiteY772" fmla="*/ 2366224 h 2374809"/>
                <a:gd name="connsiteX773" fmla="*/ 5492658 w 5495992"/>
                <a:gd name="connsiteY773" fmla="*/ 2368864 h 2374809"/>
                <a:gd name="connsiteX774" fmla="*/ 2856475 w 5495992"/>
                <a:gd name="connsiteY774" fmla="*/ 1286441 h 2374809"/>
                <a:gd name="connsiteX775" fmla="*/ 2777162 w 5495992"/>
                <a:gd name="connsiteY775" fmla="*/ 1279757 h 2374809"/>
                <a:gd name="connsiteX776" fmla="*/ 2761576 w 5495992"/>
                <a:gd name="connsiteY776" fmla="*/ 1285305 h 2374809"/>
                <a:gd name="connsiteX777" fmla="*/ 2727643 w 5495992"/>
                <a:gd name="connsiteY777" fmla="*/ 1282230 h 2374809"/>
                <a:gd name="connsiteX778" fmla="*/ 2697931 w 5495992"/>
                <a:gd name="connsiteY778" fmla="*/ 1269061 h 2374809"/>
                <a:gd name="connsiteX779" fmla="*/ 2764052 w 5495992"/>
                <a:gd name="connsiteY779" fmla="*/ 1269696 h 2374809"/>
                <a:gd name="connsiteX780" fmla="*/ 2843324 w 5495992"/>
                <a:gd name="connsiteY780" fmla="*/ 1264883 h 2374809"/>
                <a:gd name="connsiteX781" fmla="*/ 2914964 w 5495992"/>
                <a:gd name="connsiteY781" fmla="*/ 1242790 h 2374809"/>
                <a:gd name="connsiteX782" fmla="*/ 2907253 w 5495992"/>
                <a:gd name="connsiteY782" fmla="*/ 1263646 h 2374809"/>
                <a:gd name="connsiteX783" fmla="*/ 2856475 w 5495992"/>
                <a:gd name="connsiteY783" fmla="*/ 1286575 h 2374809"/>
                <a:gd name="connsiteX784" fmla="*/ 3272236 w 5495992"/>
                <a:gd name="connsiteY784" fmla="*/ 790669 h 2374809"/>
                <a:gd name="connsiteX785" fmla="*/ 3250521 w 5495992"/>
                <a:gd name="connsiteY785" fmla="*/ 792875 h 2374809"/>
                <a:gd name="connsiteX786" fmla="*/ 3296224 w 5495992"/>
                <a:gd name="connsiteY786" fmla="*/ 809587 h 2374809"/>
                <a:gd name="connsiteX787" fmla="*/ 3272236 w 5495992"/>
                <a:gd name="connsiteY787" fmla="*/ 790536 h 2374809"/>
                <a:gd name="connsiteX788" fmla="*/ 1454951 w 5495992"/>
                <a:gd name="connsiteY788" fmla="*/ 46493 h 2374809"/>
                <a:gd name="connsiteX789" fmla="*/ 1482227 w 5495992"/>
                <a:gd name="connsiteY789" fmla="*/ 45189 h 2374809"/>
                <a:gd name="connsiteX790" fmla="*/ 1518393 w 5495992"/>
                <a:gd name="connsiteY790" fmla="*/ 50404 h 2374809"/>
                <a:gd name="connsiteX791" fmla="*/ 1519813 w 5495992"/>
                <a:gd name="connsiteY791" fmla="*/ 44321 h 2374809"/>
                <a:gd name="connsiteX792" fmla="*/ 1484419 w 5495992"/>
                <a:gd name="connsiteY792" fmla="*/ 37168 h 2374809"/>
                <a:gd name="connsiteX793" fmla="*/ 1460715 w 5495992"/>
                <a:gd name="connsiteY793" fmla="*/ 35630 h 2374809"/>
                <a:gd name="connsiteX794" fmla="*/ 1455600 w 5495992"/>
                <a:gd name="connsiteY794" fmla="*/ 38271 h 2374809"/>
                <a:gd name="connsiteX795" fmla="*/ 1408110 w 5495992"/>
                <a:gd name="connsiteY795" fmla="*/ 32756 h 2374809"/>
                <a:gd name="connsiteX796" fmla="*/ 1454951 w 5495992"/>
                <a:gd name="connsiteY796" fmla="*/ 46493 h 2374809"/>
                <a:gd name="connsiteX797" fmla="*/ 1311507 w 5495992"/>
                <a:gd name="connsiteY797" fmla="*/ 58325 h 2374809"/>
                <a:gd name="connsiteX798" fmla="*/ 1265072 w 5495992"/>
                <a:gd name="connsiteY798" fmla="*/ 53980 h 2374809"/>
                <a:gd name="connsiteX799" fmla="*/ 1311547 w 5495992"/>
                <a:gd name="connsiteY799" fmla="*/ 58325 h 2374809"/>
                <a:gd name="connsiteX800" fmla="*/ 1453896 w 5495992"/>
                <a:gd name="connsiteY800" fmla="*/ 74101 h 2374809"/>
                <a:gd name="connsiteX801" fmla="*/ 1401373 w 5495992"/>
                <a:gd name="connsiteY801" fmla="*/ 80451 h 2374809"/>
                <a:gd name="connsiteX802" fmla="*/ 1479589 w 5495992"/>
                <a:gd name="connsiteY802" fmla="*/ 91448 h 2374809"/>
                <a:gd name="connsiteX803" fmla="*/ 1512669 w 5495992"/>
                <a:gd name="connsiteY803" fmla="*/ 84329 h 2374809"/>
                <a:gd name="connsiteX804" fmla="*/ 1453896 w 5495992"/>
                <a:gd name="connsiteY804" fmla="*/ 74101 h 2374809"/>
                <a:gd name="connsiteX805" fmla="*/ 1453936 w 5495992"/>
                <a:gd name="connsiteY805" fmla="*/ 74101 h 2374809"/>
                <a:gd name="connsiteX806" fmla="*/ 1642679 w 5495992"/>
                <a:gd name="connsiteY806" fmla="*/ 97130 h 2374809"/>
                <a:gd name="connsiteX807" fmla="*/ 1604118 w 5495992"/>
                <a:gd name="connsiteY807" fmla="*/ 77076 h 2374809"/>
                <a:gd name="connsiteX808" fmla="*/ 1571646 w 5495992"/>
                <a:gd name="connsiteY808" fmla="*/ 72697 h 2374809"/>
                <a:gd name="connsiteX809" fmla="*/ 1556994 w 5495992"/>
                <a:gd name="connsiteY809" fmla="*/ 77744 h 2374809"/>
                <a:gd name="connsiteX810" fmla="*/ 1534669 w 5495992"/>
                <a:gd name="connsiteY810" fmla="*/ 82657 h 2374809"/>
                <a:gd name="connsiteX811" fmla="*/ 1567669 w 5495992"/>
                <a:gd name="connsiteY811" fmla="*/ 93687 h 2374809"/>
                <a:gd name="connsiteX812" fmla="*/ 1642841 w 5495992"/>
                <a:gd name="connsiteY812" fmla="*/ 97030 h 2374809"/>
                <a:gd name="connsiteX813" fmla="*/ 1471187 w 5495992"/>
                <a:gd name="connsiteY813" fmla="*/ 58960 h 2374809"/>
                <a:gd name="connsiteX814" fmla="*/ 1444641 w 5495992"/>
                <a:gd name="connsiteY814" fmla="*/ 48933 h 2374809"/>
                <a:gd name="connsiteX815" fmla="*/ 1384487 w 5495992"/>
                <a:gd name="connsiteY815" fmla="*/ 33525 h 2374809"/>
                <a:gd name="connsiteX816" fmla="*/ 1382052 w 5495992"/>
                <a:gd name="connsiteY816" fmla="*/ 41045 h 2374809"/>
                <a:gd name="connsiteX817" fmla="*/ 1348078 w 5495992"/>
                <a:gd name="connsiteY817" fmla="*/ 41246 h 2374809"/>
                <a:gd name="connsiteX818" fmla="*/ 1396014 w 5495992"/>
                <a:gd name="connsiteY818" fmla="*/ 57690 h 2374809"/>
                <a:gd name="connsiteX819" fmla="*/ 1471187 w 5495992"/>
                <a:gd name="connsiteY819" fmla="*/ 58960 h 2374809"/>
                <a:gd name="connsiteX820" fmla="*/ 1246888 w 5495992"/>
                <a:gd name="connsiteY820" fmla="*/ 308501 h 2374809"/>
                <a:gd name="connsiteX821" fmla="*/ 1212549 w 5495992"/>
                <a:gd name="connsiteY821" fmla="*/ 313180 h 2374809"/>
                <a:gd name="connsiteX822" fmla="*/ 1228785 w 5495992"/>
                <a:gd name="connsiteY822" fmla="*/ 326282 h 2374809"/>
                <a:gd name="connsiteX823" fmla="*/ 1207840 w 5495992"/>
                <a:gd name="connsiteY823" fmla="*/ 330460 h 2374809"/>
                <a:gd name="connsiteX824" fmla="*/ 1186937 w 5495992"/>
                <a:gd name="connsiteY824" fmla="*/ 335006 h 2374809"/>
                <a:gd name="connsiteX825" fmla="*/ 1157753 w 5495992"/>
                <a:gd name="connsiteY825" fmla="*/ 341155 h 2374809"/>
                <a:gd name="connsiteX826" fmla="*/ 1186166 w 5495992"/>
                <a:gd name="connsiteY826" fmla="*/ 351684 h 2374809"/>
                <a:gd name="connsiteX827" fmla="*/ 1193391 w 5495992"/>
                <a:gd name="connsiteY827" fmla="*/ 361210 h 2374809"/>
                <a:gd name="connsiteX828" fmla="*/ 1212711 w 5495992"/>
                <a:gd name="connsiteY828" fmla="*/ 369198 h 2374809"/>
                <a:gd name="connsiteX829" fmla="*/ 1220017 w 5495992"/>
                <a:gd name="connsiteY829" fmla="*/ 361276 h 2374809"/>
                <a:gd name="connsiteX830" fmla="*/ 1240312 w 5495992"/>
                <a:gd name="connsiteY830" fmla="*/ 371972 h 2374809"/>
                <a:gd name="connsiteX831" fmla="*/ 1234427 w 5495992"/>
                <a:gd name="connsiteY831" fmla="*/ 380863 h 2374809"/>
                <a:gd name="connsiteX832" fmla="*/ 1306595 w 5495992"/>
                <a:gd name="connsiteY832" fmla="*/ 400917 h 2374809"/>
                <a:gd name="connsiteX833" fmla="*/ 1371011 w 5495992"/>
                <a:gd name="connsiteY833" fmla="*/ 409607 h 2374809"/>
                <a:gd name="connsiteX834" fmla="*/ 1348240 w 5495992"/>
                <a:gd name="connsiteY834" fmla="*/ 394132 h 2374809"/>
                <a:gd name="connsiteX835" fmla="*/ 1311426 w 5495992"/>
                <a:gd name="connsiteY835" fmla="*/ 364619 h 2374809"/>
                <a:gd name="connsiteX836" fmla="*/ 1341583 w 5495992"/>
                <a:gd name="connsiteY836" fmla="*/ 334337 h 2374809"/>
                <a:gd name="connsiteX837" fmla="*/ 1374542 w 5495992"/>
                <a:gd name="connsiteY837" fmla="*/ 322238 h 2374809"/>
                <a:gd name="connsiteX838" fmla="*/ 1381889 w 5495992"/>
                <a:gd name="connsiteY838" fmla="*/ 316723 h 2374809"/>
                <a:gd name="connsiteX839" fmla="*/ 1402509 w 5495992"/>
                <a:gd name="connsiteY839" fmla="*/ 315586 h 2374809"/>
                <a:gd name="connsiteX840" fmla="*/ 1421789 w 5495992"/>
                <a:gd name="connsiteY840" fmla="*/ 308467 h 2374809"/>
                <a:gd name="connsiteX841" fmla="*/ 1441028 w 5495992"/>
                <a:gd name="connsiteY841" fmla="*/ 297571 h 2374809"/>
                <a:gd name="connsiteX842" fmla="*/ 1462744 w 5495992"/>
                <a:gd name="connsiteY842" fmla="*/ 296836 h 2374809"/>
                <a:gd name="connsiteX843" fmla="*/ 1481334 w 5495992"/>
                <a:gd name="connsiteY843" fmla="*/ 295064 h 2374809"/>
                <a:gd name="connsiteX844" fmla="*/ 1508976 w 5495992"/>
                <a:gd name="connsiteY844" fmla="*/ 296568 h 2374809"/>
                <a:gd name="connsiteX845" fmla="*/ 1562392 w 5495992"/>
                <a:gd name="connsiteY845" fmla="*/ 290118 h 2374809"/>
                <a:gd name="connsiteX846" fmla="*/ 1669265 w 5495992"/>
                <a:gd name="connsiteY846" fmla="*/ 291989 h 2374809"/>
                <a:gd name="connsiteX847" fmla="*/ 1838727 w 5495992"/>
                <a:gd name="connsiteY847" fmla="*/ 287811 h 2374809"/>
                <a:gd name="connsiteX848" fmla="*/ 1750363 w 5495992"/>
                <a:gd name="connsiteY848" fmla="*/ 271801 h 2374809"/>
                <a:gd name="connsiteX849" fmla="*/ 1714116 w 5495992"/>
                <a:gd name="connsiteY849" fmla="*/ 273773 h 2374809"/>
                <a:gd name="connsiteX850" fmla="*/ 1655464 w 5495992"/>
                <a:gd name="connsiteY850" fmla="*/ 268492 h 2374809"/>
                <a:gd name="connsiteX851" fmla="*/ 1603834 w 5495992"/>
                <a:gd name="connsiteY851" fmla="*/ 262911 h 2374809"/>
                <a:gd name="connsiteX852" fmla="*/ 1554355 w 5495992"/>
                <a:gd name="connsiteY852" fmla="*/ 254455 h 2374809"/>
                <a:gd name="connsiteX853" fmla="*/ 1452881 w 5495992"/>
                <a:gd name="connsiteY853" fmla="*/ 251112 h 2374809"/>
                <a:gd name="connsiteX854" fmla="*/ 1427309 w 5495992"/>
                <a:gd name="connsiteY854" fmla="*/ 255190 h 2374809"/>
                <a:gd name="connsiteX855" fmla="*/ 1397394 w 5495992"/>
                <a:gd name="connsiteY855" fmla="*/ 261373 h 2374809"/>
                <a:gd name="connsiteX856" fmla="*/ 1361878 w 5495992"/>
                <a:gd name="connsiteY856" fmla="*/ 259301 h 2374809"/>
                <a:gd name="connsiteX857" fmla="*/ 1360417 w 5495992"/>
                <a:gd name="connsiteY857" fmla="*/ 272336 h 2374809"/>
                <a:gd name="connsiteX858" fmla="*/ 1331355 w 5495992"/>
                <a:gd name="connsiteY858" fmla="*/ 286174 h 2374809"/>
                <a:gd name="connsiteX859" fmla="*/ 1286707 w 5495992"/>
                <a:gd name="connsiteY859" fmla="*/ 287912 h 2374809"/>
                <a:gd name="connsiteX860" fmla="*/ 1298275 w 5495992"/>
                <a:gd name="connsiteY860" fmla="*/ 299510 h 2374809"/>
                <a:gd name="connsiteX861" fmla="*/ 1279076 w 5495992"/>
                <a:gd name="connsiteY861" fmla="*/ 307899 h 2374809"/>
                <a:gd name="connsiteX862" fmla="*/ 1246604 w 5495992"/>
                <a:gd name="connsiteY862" fmla="*/ 308567 h 2374809"/>
                <a:gd name="connsiteX863" fmla="*/ 1246969 w 5495992"/>
                <a:gd name="connsiteY863" fmla="*/ 308501 h 237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</a:cxnLst>
              <a:rect l="l" t="t" r="r" b="b"/>
              <a:pathLst>
                <a:path w="5495992" h="2374809">
                  <a:moveTo>
                    <a:pt x="86305" y="704436"/>
                  </a:moveTo>
                  <a:cubicBezTo>
                    <a:pt x="80825" y="704841"/>
                    <a:pt x="75345" y="703975"/>
                    <a:pt x="70434" y="701930"/>
                  </a:cubicBezTo>
                  <a:cubicBezTo>
                    <a:pt x="61220" y="698587"/>
                    <a:pt x="58014" y="698086"/>
                    <a:pt x="46080" y="698253"/>
                  </a:cubicBezTo>
                  <a:cubicBezTo>
                    <a:pt x="58257" y="702531"/>
                    <a:pt x="46608" y="703968"/>
                    <a:pt x="40722" y="706342"/>
                  </a:cubicBezTo>
                  <a:cubicBezTo>
                    <a:pt x="34837" y="708715"/>
                    <a:pt x="46892" y="714798"/>
                    <a:pt x="32199" y="713327"/>
                  </a:cubicBezTo>
                  <a:cubicBezTo>
                    <a:pt x="21889" y="712324"/>
                    <a:pt x="26110" y="706475"/>
                    <a:pt x="14826" y="706308"/>
                  </a:cubicBezTo>
                  <a:cubicBezTo>
                    <a:pt x="1269" y="706108"/>
                    <a:pt x="-7498" y="712057"/>
                    <a:pt x="8697" y="715567"/>
                  </a:cubicBezTo>
                  <a:cubicBezTo>
                    <a:pt x="30047" y="720179"/>
                    <a:pt x="55375" y="720948"/>
                    <a:pt x="78025" y="721883"/>
                  </a:cubicBezTo>
                  <a:cubicBezTo>
                    <a:pt x="93692" y="722518"/>
                    <a:pt x="100917" y="724424"/>
                    <a:pt x="103068" y="716536"/>
                  </a:cubicBezTo>
                  <a:cubicBezTo>
                    <a:pt x="104164" y="712425"/>
                    <a:pt x="101201" y="701228"/>
                    <a:pt x="86224" y="704436"/>
                  </a:cubicBezTo>
                  <a:close/>
                  <a:moveTo>
                    <a:pt x="1722803" y="109497"/>
                  </a:moveTo>
                  <a:cubicBezTo>
                    <a:pt x="1731976" y="110767"/>
                    <a:pt x="1773256" y="113307"/>
                    <a:pt x="1754504" y="102478"/>
                  </a:cubicBezTo>
                  <a:cubicBezTo>
                    <a:pt x="1735751" y="91648"/>
                    <a:pt x="1724386" y="101274"/>
                    <a:pt x="1707866" y="97330"/>
                  </a:cubicBezTo>
                  <a:cubicBezTo>
                    <a:pt x="1700032" y="95425"/>
                    <a:pt x="1663704" y="90111"/>
                    <a:pt x="1661512" y="95058"/>
                  </a:cubicBezTo>
                  <a:cubicBezTo>
                    <a:pt x="1658265" y="102310"/>
                    <a:pt x="1715172" y="108427"/>
                    <a:pt x="1722803" y="109497"/>
                  </a:cubicBezTo>
                  <a:cubicBezTo>
                    <a:pt x="1764570" y="115513"/>
                    <a:pt x="1701858" y="106555"/>
                    <a:pt x="1722843" y="109563"/>
                  </a:cubicBezTo>
                  <a:close/>
                  <a:moveTo>
                    <a:pt x="1846642" y="423177"/>
                  </a:moveTo>
                  <a:cubicBezTo>
                    <a:pt x="1857317" y="426218"/>
                    <a:pt x="1923763" y="434675"/>
                    <a:pt x="1895350" y="422141"/>
                  </a:cubicBezTo>
                  <a:cubicBezTo>
                    <a:pt x="1883173" y="416793"/>
                    <a:pt x="1860645" y="409574"/>
                    <a:pt x="1847981" y="412882"/>
                  </a:cubicBezTo>
                  <a:cubicBezTo>
                    <a:pt x="1842664" y="414253"/>
                    <a:pt x="1836373" y="420236"/>
                    <a:pt x="1846520" y="423177"/>
                  </a:cubicBezTo>
                  <a:close/>
                  <a:moveTo>
                    <a:pt x="2713233" y="374412"/>
                  </a:moveTo>
                  <a:cubicBezTo>
                    <a:pt x="2732514" y="384673"/>
                    <a:pt x="2716237" y="382266"/>
                    <a:pt x="2702071" y="378055"/>
                  </a:cubicBezTo>
                  <a:cubicBezTo>
                    <a:pt x="2698743" y="377052"/>
                    <a:pt x="2658072" y="368028"/>
                    <a:pt x="2674348" y="376317"/>
                  </a:cubicBezTo>
                  <a:cubicBezTo>
                    <a:pt x="2685917" y="382266"/>
                    <a:pt x="2687621" y="389118"/>
                    <a:pt x="2701746" y="395101"/>
                  </a:cubicBezTo>
                  <a:cubicBezTo>
                    <a:pt x="2714816" y="400649"/>
                    <a:pt x="2748100" y="406097"/>
                    <a:pt x="2748790" y="396338"/>
                  </a:cubicBezTo>
                  <a:cubicBezTo>
                    <a:pt x="2749237" y="389820"/>
                    <a:pt x="2810122" y="404192"/>
                    <a:pt x="2818279" y="405964"/>
                  </a:cubicBezTo>
                  <a:cubicBezTo>
                    <a:pt x="2829645" y="408370"/>
                    <a:pt x="2841091" y="411011"/>
                    <a:pt x="2852457" y="413183"/>
                  </a:cubicBezTo>
                  <a:cubicBezTo>
                    <a:pt x="2867190" y="415991"/>
                    <a:pt x="2857774" y="407134"/>
                    <a:pt x="2858423" y="403156"/>
                  </a:cubicBezTo>
                  <a:cubicBezTo>
                    <a:pt x="2859316" y="397842"/>
                    <a:pt x="2879367" y="408370"/>
                    <a:pt x="2882047" y="404727"/>
                  </a:cubicBezTo>
                  <a:cubicBezTo>
                    <a:pt x="2885213" y="400415"/>
                    <a:pt x="2849169" y="388015"/>
                    <a:pt x="2844176" y="384071"/>
                  </a:cubicBezTo>
                  <a:cubicBezTo>
                    <a:pt x="2829563" y="372039"/>
                    <a:pt x="2851401" y="363716"/>
                    <a:pt x="2816494" y="362480"/>
                  </a:cubicBezTo>
                  <a:cubicBezTo>
                    <a:pt x="2807442" y="362045"/>
                    <a:pt x="2719971" y="346637"/>
                    <a:pt x="2737628" y="356965"/>
                  </a:cubicBezTo>
                  <a:cubicBezTo>
                    <a:pt x="2753174" y="366023"/>
                    <a:pt x="2727846" y="366758"/>
                    <a:pt x="2716967" y="363148"/>
                  </a:cubicBezTo>
                  <a:cubicBezTo>
                    <a:pt x="2696673" y="356463"/>
                    <a:pt x="2702153" y="368496"/>
                    <a:pt x="2713233" y="374378"/>
                  </a:cubicBezTo>
                  <a:close/>
                  <a:moveTo>
                    <a:pt x="2763078" y="404493"/>
                  </a:moveTo>
                  <a:cubicBezTo>
                    <a:pt x="2761130" y="408805"/>
                    <a:pt x="2743473" y="407000"/>
                    <a:pt x="2736451" y="407835"/>
                  </a:cubicBezTo>
                  <a:cubicBezTo>
                    <a:pt x="2719849" y="409607"/>
                    <a:pt x="2750901" y="420035"/>
                    <a:pt x="2757314" y="422709"/>
                  </a:cubicBezTo>
                  <a:cubicBezTo>
                    <a:pt x="2766812" y="426619"/>
                    <a:pt x="2767786" y="434875"/>
                    <a:pt x="2775377" y="439722"/>
                  </a:cubicBezTo>
                  <a:cubicBezTo>
                    <a:pt x="2782966" y="444568"/>
                    <a:pt x="2799731" y="448011"/>
                    <a:pt x="2809147" y="452255"/>
                  </a:cubicBezTo>
                  <a:cubicBezTo>
                    <a:pt x="2834718" y="463586"/>
                    <a:pt x="2867881" y="484710"/>
                    <a:pt x="2897917" y="488553"/>
                  </a:cubicBezTo>
                  <a:cubicBezTo>
                    <a:pt x="2905547" y="489556"/>
                    <a:pt x="2917156" y="488754"/>
                    <a:pt x="2915208" y="483573"/>
                  </a:cubicBezTo>
                  <a:cubicBezTo>
                    <a:pt x="2914397" y="481434"/>
                    <a:pt x="2910946" y="481167"/>
                    <a:pt x="2909201" y="479362"/>
                  </a:cubicBezTo>
                  <a:cubicBezTo>
                    <a:pt x="2905913" y="476020"/>
                    <a:pt x="2917319" y="473245"/>
                    <a:pt x="2920079" y="472376"/>
                  </a:cubicBezTo>
                  <a:cubicBezTo>
                    <a:pt x="2939887" y="466293"/>
                    <a:pt x="2948776" y="461480"/>
                    <a:pt x="2917360" y="447008"/>
                  </a:cubicBezTo>
                  <a:cubicBezTo>
                    <a:pt x="2910662" y="443933"/>
                    <a:pt x="2899581" y="439187"/>
                    <a:pt x="2892153" y="439521"/>
                  </a:cubicBezTo>
                  <a:cubicBezTo>
                    <a:pt x="2882614" y="439956"/>
                    <a:pt x="2884725" y="447175"/>
                    <a:pt x="2873807" y="435878"/>
                  </a:cubicBezTo>
                  <a:cubicBezTo>
                    <a:pt x="2860046" y="421706"/>
                    <a:pt x="2856353" y="419768"/>
                    <a:pt x="2827412" y="413217"/>
                  </a:cubicBezTo>
                  <a:cubicBezTo>
                    <a:pt x="2818767" y="411044"/>
                    <a:pt x="2766000" y="398577"/>
                    <a:pt x="2763240" y="404460"/>
                  </a:cubicBezTo>
                  <a:close/>
                  <a:moveTo>
                    <a:pt x="2146113" y="499784"/>
                  </a:moveTo>
                  <a:cubicBezTo>
                    <a:pt x="2161213" y="507705"/>
                    <a:pt x="2174079" y="509343"/>
                    <a:pt x="2174851" y="501087"/>
                  </a:cubicBezTo>
                  <a:cubicBezTo>
                    <a:pt x="2175622" y="492832"/>
                    <a:pt x="2134423" y="493467"/>
                    <a:pt x="2146439" y="499884"/>
                  </a:cubicBezTo>
                  <a:close/>
                  <a:moveTo>
                    <a:pt x="2700367" y="332666"/>
                  </a:moveTo>
                  <a:cubicBezTo>
                    <a:pt x="2707713" y="326716"/>
                    <a:pt x="2635869" y="309269"/>
                    <a:pt x="2651375" y="321569"/>
                  </a:cubicBezTo>
                  <a:cubicBezTo>
                    <a:pt x="2657098" y="325714"/>
                    <a:pt x="2693345" y="338448"/>
                    <a:pt x="2700691" y="332766"/>
                  </a:cubicBezTo>
                  <a:close/>
                  <a:moveTo>
                    <a:pt x="5296001" y="2021426"/>
                  </a:moveTo>
                  <a:cubicBezTo>
                    <a:pt x="5304646" y="2032422"/>
                    <a:pt x="5316782" y="2034795"/>
                    <a:pt x="5328473" y="2042550"/>
                  </a:cubicBezTo>
                  <a:cubicBezTo>
                    <a:pt x="5339025" y="2049602"/>
                    <a:pt x="5343816" y="2059261"/>
                    <a:pt x="5355789" y="2067216"/>
                  </a:cubicBezTo>
                  <a:cubicBezTo>
                    <a:pt x="5362486" y="2071495"/>
                    <a:pt x="5407745" y="2101041"/>
                    <a:pt x="5408961" y="2093354"/>
                  </a:cubicBezTo>
                  <a:cubicBezTo>
                    <a:pt x="5411316" y="2078915"/>
                    <a:pt x="5369671" y="2048599"/>
                    <a:pt x="5352380" y="2038272"/>
                  </a:cubicBezTo>
                  <a:cubicBezTo>
                    <a:pt x="5346819" y="2034929"/>
                    <a:pt x="5281388" y="2002709"/>
                    <a:pt x="5296123" y="2021560"/>
                  </a:cubicBezTo>
                  <a:close/>
                  <a:moveTo>
                    <a:pt x="2893858" y="521476"/>
                  </a:moveTo>
                  <a:cubicBezTo>
                    <a:pt x="2903234" y="527692"/>
                    <a:pt x="2922515" y="530901"/>
                    <a:pt x="2934001" y="533508"/>
                  </a:cubicBezTo>
                  <a:cubicBezTo>
                    <a:pt x="2953687" y="537830"/>
                    <a:pt x="2973130" y="542960"/>
                    <a:pt x="2992207" y="548883"/>
                  </a:cubicBezTo>
                  <a:cubicBezTo>
                    <a:pt x="3021634" y="557800"/>
                    <a:pt x="3051995" y="564515"/>
                    <a:pt x="3082925" y="568937"/>
                  </a:cubicBezTo>
                  <a:cubicBezTo>
                    <a:pt x="3103220" y="572012"/>
                    <a:pt x="3134393" y="574318"/>
                    <a:pt x="3104357" y="557573"/>
                  </a:cubicBezTo>
                  <a:cubicBezTo>
                    <a:pt x="3092180" y="550888"/>
                    <a:pt x="3080286" y="539424"/>
                    <a:pt x="3067623" y="534177"/>
                  </a:cubicBezTo>
                  <a:cubicBezTo>
                    <a:pt x="3048707" y="526289"/>
                    <a:pt x="3037018" y="528862"/>
                    <a:pt x="3021878" y="529497"/>
                  </a:cubicBezTo>
                  <a:cubicBezTo>
                    <a:pt x="3010838" y="529932"/>
                    <a:pt x="3031295" y="522010"/>
                    <a:pt x="3034055" y="521743"/>
                  </a:cubicBezTo>
                  <a:cubicBezTo>
                    <a:pt x="3046759" y="520573"/>
                    <a:pt x="3042619" y="512685"/>
                    <a:pt x="3030930" y="506803"/>
                  </a:cubicBezTo>
                  <a:cubicBezTo>
                    <a:pt x="3019239" y="500920"/>
                    <a:pt x="3021634" y="506535"/>
                    <a:pt x="3013030" y="505366"/>
                  </a:cubicBezTo>
                  <a:cubicBezTo>
                    <a:pt x="3003694" y="504129"/>
                    <a:pt x="2987863" y="496040"/>
                    <a:pt x="2979786" y="497244"/>
                  </a:cubicBezTo>
                  <a:cubicBezTo>
                    <a:pt x="2975200" y="497945"/>
                    <a:pt x="2960304" y="503928"/>
                    <a:pt x="2959491" y="506736"/>
                  </a:cubicBezTo>
                  <a:cubicBezTo>
                    <a:pt x="2958558" y="510078"/>
                    <a:pt x="2941024" y="502458"/>
                    <a:pt x="2935625" y="503159"/>
                  </a:cubicBezTo>
                  <a:cubicBezTo>
                    <a:pt x="2924463" y="504563"/>
                    <a:pt x="2922230" y="513187"/>
                    <a:pt x="2908998" y="514724"/>
                  </a:cubicBezTo>
                  <a:cubicBezTo>
                    <a:pt x="2904005" y="515359"/>
                    <a:pt x="2884644" y="515627"/>
                    <a:pt x="2893695" y="521643"/>
                  </a:cubicBezTo>
                  <a:close/>
                  <a:moveTo>
                    <a:pt x="4121901" y="1134598"/>
                  </a:moveTo>
                  <a:cubicBezTo>
                    <a:pt x="4138381" y="1148870"/>
                    <a:pt x="4136716" y="1158897"/>
                    <a:pt x="4162815" y="1168255"/>
                  </a:cubicBezTo>
                  <a:cubicBezTo>
                    <a:pt x="4178524" y="1173871"/>
                    <a:pt x="4192568" y="1175174"/>
                    <a:pt x="4201457" y="1186271"/>
                  </a:cubicBezTo>
                  <a:cubicBezTo>
                    <a:pt x="4209251" y="1196064"/>
                    <a:pt x="4238759" y="1200576"/>
                    <a:pt x="4252803" y="1208163"/>
                  </a:cubicBezTo>
                  <a:cubicBezTo>
                    <a:pt x="4264655" y="1214547"/>
                    <a:pt x="4290511" y="1232830"/>
                    <a:pt x="4288604" y="1218658"/>
                  </a:cubicBezTo>
                  <a:cubicBezTo>
                    <a:pt x="4288035" y="1214380"/>
                    <a:pt x="4281540" y="1195262"/>
                    <a:pt x="4298953" y="1206258"/>
                  </a:cubicBezTo>
                  <a:cubicBezTo>
                    <a:pt x="4313119" y="1215182"/>
                    <a:pt x="4295626" y="1215048"/>
                    <a:pt x="4300131" y="1223338"/>
                  </a:cubicBezTo>
                  <a:cubicBezTo>
                    <a:pt x="4306219" y="1234568"/>
                    <a:pt x="4329477" y="1251547"/>
                    <a:pt x="4347337" y="1255458"/>
                  </a:cubicBezTo>
                  <a:cubicBezTo>
                    <a:pt x="4358864" y="1257998"/>
                    <a:pt x="4353182" y="1246133"/>
                    <a:pt x="4366048" y="1249876"/>
                  </a:cubicBezTo>
                  <a:cubicBezTo>
                    <a:pt x="4391905" y="1257396"/>
                    <a:pt x="4371772" y="1236206"/>
                    <a:pt x="4361015" y="1227449"/>
                  </a:cubicBezTo>
                  <a:cubicBezTo>
                    <a:pt x="4344008" y="1213611"/>
                    <a:pt x="4319086" y="1204721"/>
                    <a:pt x="4302770" y="1190683"/>
                  </a:cubicBezTo>
                  <a:cubicBezTo>
                    <a:pt x="4292500" y="1181892"/>
                    <a:pt x="4268917" y="1165348"/>
                    <a:pt x="4256619" y="1170094"/>
                  </a:cubicBezTo>
                  <a:cubicBezTo>
                    <a:pt x="4247323" y="1173670"/>
                    <a:pt x="4245456" y="1173436"/>
                    <a:pt x="4234984" y="1162172"/>
                  </a:cubicBezTo>
                  <a:cubicBezTo>
                    <a:pt x="4216516" y="1142686"/>
                    <a:pt x="4206896" y="1123568"/>
                    <a:pt x="4171948" y="1118722"/>
                  </a:cubicBezTo>
                  <a:cubicBezTo>
                    <a:pt x="4156443" y="1116549"/>
                    <a:pt x="4098318" y="1114009"/>
                    <a:pt x="4121901" y="1134398"/>
                  </a:cubicBezTo>
                  <a:close/>
                  <a:moveTo>
                    <a:pt x="4277806" y="1290084"/>
                  </a:moveTo>
                  <a:cubicBezTo>
                    <a:pt x="4299238" y="1298541"/>
                    <a:pt x="4267294" y="1263346"/>
                    <a:pt x="4263235" y="1260003"/>
                  </a:cubicBezTo>
                  <a:cubicBezTo>
                    <a:pt x="4245538" y="1245029"/>
                    <a:pt x="4213188" y="1231025"/>
                    <a:pt x="4192405" y="1232997"/>
                  </a:cubicBezTo>
                  <a:cubicBezTo>
                    <a:pt x="4177265" y="1234367"/>
                    <a:pt x="4265062" y="1284770"/>
                    <a:pt x="4277644" y="1289817"/>
                  </a:cubicBezTo>
                  <a:close/>
                  <a:moveTo>
                    <a:pt x="4224391" y="1222937"/>
                  </a:moveTo>
                  <a:cubicBezTo>
                    <a:pt x="4229261" y="1216452"/>
                    <a:pt x="4171217" y="1199039"/>
                    <a:pt x="4190052" y="1212909"/>
                  </a:cubicBezTo>
                  <a:cubicBezTo>
                    <a:pt x="4200037" y="1220563"/>
                    <a:pt x="4219520" y="1229354"/>
                    <a:pt x="4224391" y="1222937"/>
                  </a:cubicBezTo>
                  <a:close/>
                  <a:moveTo>
                    <a:pt x="4408505" y="1282263"/>
                  </a:moveTo>
                  <a:cubicBezTo>
                    <a:pt x="4420439" y="1289416"/>
                    <a:pt x="4427988" y="1298407"/>
                    <a:pt x="4436594" y="1306663"/>
                  </a:cubicBezTo>
                  <a:cubicBezTo>
                    <a:pt x="4453885" y="1322422"/>
                    <a:pt x="4473733" y="1336122"/>
                    <a:pt x="4495612" y="1347372"/>
                  </a:cubicBezTo>
                  <a:cubicBezTo>
                    <a:pt x="4515500" y="1358168"/>
                    <a:pt x="4584625" y="1388851"/>
                    <a:pt x="4540706" y="1353222"/>
                  </a:cubicBezTo>
                  <a:cubicBezTo>
                    <a:pt x="4528123" y="1343195"/>
                    <a:pt x="4518990" y="1340487"/>
                    <a:pt x="4505231" y="1333435"/>
                  </a:cubicBezTo>
                  <a:cubicBezTo>
                    <a:pt x="4497843" y="1329625"/>
                    <a:pt x="4494028" y="1323408"/>
                    <a:pt x="4488670" y="1318728"/>
                  </a:cubicBezTo>
                  <a:cubicBezTo>
                    <a:pt x="4481485" y="1312579"/>
                    <a:pt x="4471419" y="1310038"/>
                    <a:pt x="4462733" y="1305560"/>
                  </a:cubicBezTo>
                  <a:cubicBezTo>
                    <a:pt x="4454047" y="1301081"/>
                    <a:pt x="4444509" y="1294998"/>
                    <a:pt x="4439962" y="1288614"/>
                  </a:cubicBezTo>
                  <a:cubicBezTo>
                    <a:pt x="4436918" y="1284369"/>
                    <a:pt x="4437851" y="1280793"/>
                    <a:pt x="4429450" y="1278587"/>
                  </a:cubicBezTo>
                  <a:cubicBezTo>
                    <a:pt x="4425391" y="1277517"/>
                    <a:pt x="4398480" y="1276381"/>
                    <a:pt x="4408505" y="1282330"/>
                  </a:cubicBezTo>
                  <a:cubicBezTo>
                    <a:pt x="4430180" y="1295365"/>
                    <a:pt x="4397709" y="1275779"/>
                    <a:pt x="4408505" y="1282263"/>
                  </a:cubicBezTo>
                  <a:close/>
                  <a:moveTo>
                    <a:pt x="1056440" y="10797"/>
                  </a:moveTo>
                  <a:cubicBezTo>
                    <a:pt x="1069511" y="7287"/>
                    <a:pt x="1085097" y="8791"/>
                    <a:pt x="1100359" y="11699"/>
                  </a:cubicBezTo>
                  <a:cubicBezTo>
                    <a:pt x="1102510" y="12100"/>
                    <a:pt x="1123535" y="16746"/>
                    <a:pt x="1120329" y="12200"/>
                  </a:cubicBezTo>
                  <a:cubicBezTo>
                    <a:pt x="1115174" y="4780"/>
                    <a:pt x="1071134" y="2173"/>
                    <a:pt x="1060053" y="2574"/>
                  </a:cubicBezTo>
                  <a:cubicBezTo>
                    <a:pt x="1042153" y="2942"/>
                    <a:pt x="1013659" y="-2071"/>
                    <a:pt x="998113" y="302"/>
                  </a:cubicBezTo>
                  <a:cubicBezTo>
                    <a:pt x="989995" y="1505"/>
                    <a:pt x="1004283" y="6986"/>
                    <a:pt x="1006962" y="7889"/>
                  </a:cubicBezTo>
                  <a:cubicBezTo>
                    <a:pt x="1022589" y="13437"/>
                    <a:pt x="1040042" y="14463"/>
                    <a:pt x="1056440" y="10797"/>
                  </a:cubicBezTo>
                  <a:close/>
                  <a:moveTo>
                    <a:pt x="3890662" y="1777668"/>
                  </a:moveTo>
                  <a:cubicBezTo>
                    <a:pt x="3890662" y="1765368"/>
                    <a:pt x="3922808" y="1760221"/>
                    <a:pt x="3910956" y="1745247"/>
                  </a:cubicBezTo>
                  <a:cubicBezTo>
                    <a:pt x="3906125" y="1739341"/>
                    <a:pt x="3904990" y="1731901"/>
                    <a:pt x="3907872" y="1725193"/>
                  </a:cubicBezTo>
                  <a:cubicBezTo>
                    <a:pt x="3908643" y="1722786"/>
                    <a:pt x="3909454" y="1716436"/>
                    <a:pt x="3901580" y="1718241"/>
                  </a:cubicBezTo>
                  <a:cubicBezTo>
                    <a:pt x="3895166" y="1719711"/>
                    <a:pt x="3894639" y="1725527"/>
                    <a:pt x="3888388" y="1727165"/>
                  </a:cubicBezTo>
                  <a:cubicBezTo>
                    <a:pt x="3882137" y="1728802"/>
                    <a:pt x="3873167" y="1721215"/>
                    <a:pt x="3870326" y="1726463"/>
                  </a:cubicBezTo>
                  <a:cubicBezTo>
                    <a:pt x="3863426" y="1739297"/>
                    <a:pt x="3850031" y="1747252"/>
                    <a:pt x="3849259" y="1762995"/>
                  </a:cubicBezTo>
                  <a:cubicBezTo>
                    <a:pt x="3847799" y="1786057"/>
                    <a:pt x="3826083" y="1798156"/>
                    <a:pt x="3810943" y="1815069"/>
                  </a:cubicBezTo>
                  <a:cubicBezTo>
                    <a:pt x="3805747" y="1820851"/>
                    <a:pt x="3805706" y="1828438"/>
                    <a:pt x="3800592" y="1834053"/>
                  </a:cubicBezTo>
                  <a:cubicBezTo>
                    <a:pt x="3792474" y="1843078"/>
                    <a:pt x="3780297" y="1849662"/>
                    <a:pt x="3771449" y="1858452"/>
                  </a:cubicBezTo>
                  <a:cubicBezTo>
                    <a:pt x="3765442" y="1864502"/>
                    <a:pt x="3770150" y="1869549"/>
                    <a:pt x="3779567" y="1864803"/>
                  </a:cubicBezTo>
                  <a:cubicBezTo>
                    <a:pt x="3794585" y="1857350"/>
                    <a:pt x="3803921" y="1872891"/>
                    <a:pt x="3806681" y="1882217"/>
                  </a:cubicBezTo>
                  <a:cubicBezTo>
                    <a:pt x="3810740" y="1896321"/>
                    <a:pt x="3821821" y="1883453"/>
                    <a:pt x="3818655" y="1876134"/>
                  </a:cubicBezTo>
                  <a:cubicBezTo>
                    <a:pt x="3816504" y="1871154"/>
                    <a:pt x="3809563" y="1869449"/>
                    <a:pt x="3808386" y="1863132"/>
                  </a:cubicBezTo>
                  <a:cubicBezTo>
                    <a:pt x="3807087" y="1856447"/>
                    <a:pt x="3806235" y="1846921"/>
                    <a:pt x="3810131" y="1841874"/>
                  </a:cubicBezTo>
                  <a:cubicBezTo>
                    <a:pt x="3814839" y="1835724"/>
                    <a:pt x="3837407" y="1818879"/>
                    <a:pt x="3852303" y="1826232"/>
                  </a:cubicBezTo>
                  <a:cubicBezTo>
                    <a:pt x="3861234" y="1830577"/>
                    <a:pt x="3885141" y="1862998"/>
                    <a:pt x="3881610" y="1844749"/>
                  </a:cubicBezTo>
                  <a:cubicBezTo>
                    <a:pt x="3876982" y="1820985"/>
                    <a:pt x="3890418" y="1800229"/>
                    <a:pt x="3890621" y="1777601"/>
                  </a:cubicBezTo>
                  <a:cubicBezTo>
                    <a:pt x="3890783" y="1760421"/>
                    <a:pt x="3890336" y="1794948"/>
                    <a:pt x="3890662" y="1777668"/>
                  </a:cubicBezTo>
                  <a:close/>
                  <a:moveTo>
                    <a:pt x="1160594" y="19788"/>
                  </a:moveTo>
                  <a:cubicBezTo>
                    <a:pt x="1170052" y="24433"/>
                    <a:pt x="1140299" y="21559"/>
                    <a:pt x="1137092" y="21358"/>
                  </a:cubicBezTo>
                  <a:cubicBezTo>
                    <a:pt x="1119842" y="20189"/>
                    <a:pt x="1109573" y="23163"/>
                    <a:pt x="1093865" y="22963"/>
                  </a:cubicBezTo>
                  <a:cubicBezTo>
                    <a:pt x="1042031" y="22328"/>
                    <a:pt x="1106042" y="38973"/>
                    <a:pt x="1128772" y="36901"/>
                  </a:cubicBezTo>
                  <a:cubicBezTo>
                    <a:pt x="1134129" y="36399"/>
                    <a:pt x="1132181" y="33558"/>
                    <a:pt x="1138797" y="33825"/>
                  </a:cubicBezTo>
                  <a:cubicBezTo>
                    <a:pt x="1145413" y="34093"/>
                    <a:pt x="1154668" y="36566"/>
                    <a:pt x="1161000" y="35630"/>
                  </a:cubicBezTo>
                  <a:cubicBezTo>
                    <a:pt x="1165059" y="34995"/>
                    <a:pt x="1166236" y="31386"/>
                    <a:pt x="1170539" y="30316"/>
                  </a:cubicBezTo>
                  <a:cubicBezTo>
                    <a:pt x="1181254" y="27676"/>
                    <a:pt x="1196516" y="28712"/>
                    <a:pt x="1209261" y="30082"/>
                  </a:cubicBezTo>
                  <a:cubicBezTo>
                    <a:pt x="1245792" y="34059"/>
                    <a:pt x="1230327" y="22094"/>
                    <a:pt x="1205202" y="15877"/>
                  </a:cubicBezTo>
                  <a:cubicBezTo>
                    <a:pt x="1197652" y="13972"/>
                    <a:pt x="1141801" y="10663"/>
                    <a:pt x="1160553" y="19788"/>
                  </a:cubicBezTo>
                  <a:close/>
                  <a:moveTo>
                    <a:pt x="1035131" y="415824"/>
                  </a:moveTo>
                  <a:cubicBezTo>
                    <a:pt x="1049013" y="424581"/>
                    <a:pt x="1066020" y="424347"/>
                    <a:pt x="1082134" y="421138"/>
                  </a:cubicBezTo>
                  <a:cubicBezTo>
                    <a:pt x="1088669" y="419834"/>
                    <a:pt x="1110953" y="419133"/>
                    <a:pt x="1103159" y="414453"/>
                  </a:cubicBezTo>
                  <a:cubicBezTo>
                    <a:pt x="1090982" y="407033"/>
                    <a:pt x="1069186" y="400014"/>
                    <a:pt x="1051205" y="400750"/>
                  </a:cubicBezTo>
                  <a:cubicBezTo>
                    <a:pt x="1035740" y="401385"/>
                    <a:pt x="1021858" y="407434"/>
                    <a:pt x="1034969" y="415824"/>
                  </a:cubicBezTo>
                  <a:cubicBezTo>
                    <a:pt x="1060703" y="431967"/>
                    <a:pt x="1015811" y="403657"/>
                    <a:pt x="1035131" y="415824"/>
                  </a:cubicBezTo>
                  <a:close/>
                  <a:moveTo>
                    <a:pt x="5491440" y="2368263"/>
                  </a:moveTo>
                  <a:cubicBezTo>
                    <a:pt x="5477396" y="2351551"/>
                    <a:pt x="5473946" y="2336143"/>
                    <a:pt x="5465707" y="2320066"/>
                  </a:cubicBezTo>
                  <a:cubicBezTo>
                    <a:pt x="5460713" y="2311877"/>
                    <a:pt x="5454220" y="2304390"/>
                    <a:pt x="5446466" y="2297839"/>
                  </a:cubicBezTo>
                  <a:cubicBezTo>
                    <a:pt x="5441433" y="2293260"/>
                    <a:pt x="5431084" y="2289115"/>
                    <a:pt x="5428729" y="2285640"/>
                  </a:cubicBezTo>
                  <a:cubicBezTo>
                    <a:pt x="5424264" y="2278955"/>
                    <a:pt x="5426293" y="2276047"/>
                    <a:pt x="5419515" y="2269462"/>
                  </a:cubicBezTo>
                  <a:cubicBezTo>
                    <a:pt x="5412209" y="2262076"/>
                    <a:pt x="5403726" y="2255558"/>
                    <a:pt x="5394309" y="2250010"/>
                  </a:cubicBezTo>
                  <a:cubicBezTo>
                    <a:pt x="5382944" y="2243894"/>
                    <a:pt x="5395364" y="2261474"/>
                    <a:pt x="5395973" y="2264215"/>
                  </a:cubicBezTo>
                  <a:cubicBezTo>
                    <a:pt x="5396379" y="2266120"/>
                    <a:pt x="5383106" y="2270331"/>
                    <a:pt x="5381604" y="2269864"/>
                  </a:cubicBezTo>
                  <a:cubicBezTo>
                    <a:pt x="5376855" y="2268359"/>
                    <a:pt x="5368615" y="2251447"/>
                    <a:pt x="5368981" y="2249007"/>
                  </a:cubicBezTo>
                  <a:cubicBezTo>
                    <a:pt x="5370118" y="2242322"/>
                    <a:pt x="5384324" y="2242757"/>
                    <a:pt x="5384446" y="2236273"/>
                  </a:cubicBezTo>
                  <a:cubicBezTo>
                    <a:pt x="5383391" y="2230491"/>
                    <a:pt x="5381604" y="2224808"/>
                    <a:pt x="5379169" y="2219327"/>
                  </a:cubicBezTo>
                  <a:cubicBezTo>
                    <a:pt x="5374785" y="2208866"/>
                    <a:pt x="5365125" y="2196900"/>
                    <a:pt x="5356967" y="2186338"/>
                  </a:cubicBezTo>
                  <a:cubicBezTo>
                    <a:pt x="5340731" y="2165114"/>
                    <a:pt x="5323358" y="2145695"/>
                    <a:pt x="5310451" y="2124772"/>
                  </a:cubicBezTo>
                  <a:cubicBezTo>
                    <a:pt x="5304322" y="2114745"/>
                    <a:pt x="5291820" y="2104985"/>
                    <a:pt x="5283864" y="2095292"/>
                  </a:cubicBezTo>
                  <a:cubicBezTo>
                    <a:pt x="5275909" y="2085599"/>
                    <a:pt x="5272255" y="2075840"/>
                    <a:pt x="5264666" y="2066080"/>
                  </a:cubicBezTo>
                  <a:cubicBezTo>
                    <a:pt x="5248105" y="2044722"/>
                    <a:pt x="5228378" y="2027108"/>
                    <a:pt x="5207637" y="2007288"/>
                  </a:cubicBezTo>
                  <a:cubicBezTo>
                    <a:pt x="5201670" y="2001539"/>
                    <a:pt x="5201426" y="1993918"/>
                    <a:pt x="5193674" y="1989373"/>
                  </a:cubicBezTo>
                  <a:cubicBezTo>
                    <a:pt x="5181294" y="1981475"/>
                    <a:pt x="5169441" y="1973029"/>
                    <a:pt x="5158158" y="1964071"/>
                  </a:cubicBezTo>
                  <a:cubicBezTo>
                    <a:pt x="5147848" y="1956384"/>
                    <a:pt x="5137335" y="1948629"/>
                    <a:pt x="5127635" y="1940675"/>
                  </a:cubicBezTo>
                  <a:cubicBezTo>
                    <a:pt x="5117933" y="1932720"/>
                    <a:pt x="5106284" y="1931517"/>
                    <a:pt x="5097394" y="1922158"/>
                  </a:cubicBezTo>
                  <a:cubicBezTo>
                    <a:pt x="5082742" y="1906783"/>
                    <a:pt x="5064720" y="1886161"/>
                    <a:pt x="5044628" y="1873493"/>
                  </a:cubicBezTo>
                  <a:cubicBezTo>
                    <a:pt x="5033426" y="1866441"/>
                    <a:pt x="5031680" y="1877972"/>
                    <a:pt x="5021979" y="1873226"/>
                  </a:cubicBezTo>
                  <a:cubicBezTo>
                    <a:pt x="5011588" y="1868179"/>
                    <a:pt x="5024617" y="1891609"/>
                    <a:pt x="5025551" y="1893280"/>
                  </a:cubicBezTo>
                  <a:cubicBezTo>
                    <a:pt x="5040731" y="1921757"/>
                    <a:pt x="4977898" y="1891575"/>
                    <a:pt x="4972460" y="1867443"/>
                  </a:cubicBezTo>
                  <a:cubicBezTo>
                    <a:pt x="4970673" y="1859489"/>
                    <a:pt x="4956224" y="1851868"/>
                    <a:pt x="4952977" y="1843846"/>
                  </a:cubicBezTo>
                  <a:cubicBezTo>
                    <a:pt x="4948430" y="1832950"/>
                    <a:pt x="4962718" y="1833819"/>
                    <a:pt x="4969659" y="1845718"/>
                  </a:cubicBezTo>
                  <a:cubicBezTo>
                    <a:pt x="4974286" y="1853606"/>
                    <a:pt x="4996611" y="1863700"/>
                    <a:pt x="4995718" y="1854442"/>
                  </a:cubicBezTo>
                  <a:cubicBezTo>
                    <a:pt x="4994905" y="1846186"/>
                    <a:pt x="4975423" y="1831379"/>
                    <a:pt x="4964950" y="1825029"/>
                  </a:cubicBezTo>
                  <a:cubicBezTo>
                    <a:pt x="4951962" y="1817007"/>
                    <a:pt x="4937552" y="1818846"/>
                    <a:pt x="4925619" y="1816439"/>
                  </a:cubicBezTo>
                  <a:cubicBezTo>
                    <a:pt x="4914579" y="1814200"/>
                    <a:pt x="4905324" y="1808150"/>
                    <a:pt x="4895258" y="1801298"/>
                  </a:cubicBezTo>
                  <a:cubicBezTo>
                    <a:pt x="4876141" y="1788096"/>
                    <a:pt x="4862786" y="1773958"/>
                    <a:pt x="4845982" y="1760455"/>
                  </a:cubicBezTo>
                  <a:cubicBezTo>
                    <a:pt x="4829178" y="1746951"/>
                    <a:pt x="4807299" y="1735253"/>
                    <a:pt x="4788385" y="1724591"/>
                  </a:cubicBezTo>
                  <a:cubicBezTo>
                    <a:pt x="4764031" y="1710887"/>
                    <a:pt x="4754858" y="1705005"/>
                    <a:pt x="4743249" y="1716135"/>
                  </a:cubicBezTo>
                  <a:cubicBezTo>
                    <a:pt x="4742600" y="1717315"/>
                    <a:pt x="4741017" y="1717937"/>
                    <a:pt x="4739474" y="1717606"/>
                  </a:cubicBezTo>
                  <a:cubicBezTo>
                    <a:pt x="4734929" y="1716001"/>
                    <a:pt x="4740855" y="1704236"/>
                    <a:pt x="4741422" y="1703133"/>
                  </a:cubicBezTo>
                  <a:cubicBezTo>
                    <a:pt x="4744304" y="1697418"/>
                    <a:pt x="4742681" y="1694276"/>
                    <a:pt x="4731641" y="1686421"/>
                  </a:cubicBezTo>
                  <a:cubicBezTo>
                    <a:pt x="4729042" y="1684550"/>
                    <a:pt x="4699534" y="1667570"/>
                    <a:pt x="4710858" y="1668874"/>
                  </a:cubicBezTo>
                  <a:cubicBezTo>
                    <a:pt x="4716826" y="1669542"/>
                    <a:pt x="4713862" y="1664328"/>
                    <a:pt x="4717353" y="1663092"/>
                  </a:cubicBezTo>
                  <a:cubicBezTo>
                    <a:pt x="4722386" y="1661354"/>
                    <a:pt x="4729774" y="1666200"/>
                    <a:pt x="4728312" y="1659549"/>
                  </a:cubicBezTo>
                  <a:cubicBezTo>
                    <a:pt x="4719504" y="1619641"/>
                    <a:pt x="4636823" y="1572648"/>
                    <a:pt x="4586004" y="1549251"/>
                  </a:cubicBezTo>
                  <a:cubicBezTo>
                    <a:pt x="4557591" y="1536182"/>
                    <a:pt x="4532507" y="1521509"/>
                    <a:pt x="4505353" y="1506369"/>
                  </a:cubicBezTo>
                  <a:cubicBezTo>
                    <a:pt x="4489603" y="1497645"/>
                    <a:pt x="4504784" y="1501455"/>
                    <a:pt x="4502958" y="1494871"/>
                  </a:cubicBezTo>
                  <a:cubicBezTo>
                    <a:pt x="4500969" y="1487718"/>
                    <a:pt x="4485302" y="1475485"/>
                    <a:pt x="4475559" y="1470071"/>
                  </a:cubicBezTo>
                  <a:cubicBezTo>
                    <a:pt x="4471785" y="1467998"/>
                    <a:pt x="4465534" y="1468065"/>
                    <a:pt x="4462774" y="1466294"/>
                  </a:cubicBezTo>
                  <a:cubicBezTo>
                    <a:pt x="4456401" y="1462249"/>
                    <a:pt x="4460623" y="1460679"/>
                    <a:pt x="4458390" y="1457169"/>
                  </a:cubicBezTo>
                  <a:cubicBezTo>
                    <a:pt x="4453601" y="1449615"/>
                    <a:pt x="4439760" y="1439555"/>
                    <a:pt x="4429977" y="1433772"/>
                  </a:cubicBezTo>
                  <a:cubicBezTo>
                    <a:pt x="4421859" y="1429127"/>
                    <a:pt x="4408911" y="1415590"/>
                    <a:pt x="4425594" y="1424848"/>
                  </a:cubicBezTo>
                  <a:cubicBezTo>
                    <a:pt x="4430627" y="1427656"/>
                    <a:pt x="4454007" y="1442931"/>
                    <a:pt x="4455630" y="1436847"/>
                  </a:cubicBezTo>
                  <a:cubicBezTo>
                    <a:pt x="4458146" y="1427355"/>
                    <a:pt x="4424822" y="1407936"/>
                    <a:pt x="4412930" y="1400382"/>
                  </a:cubicBezTo>
                  <a:cubicBezTo>
                    <a:pt x="4403431" y="1394266"/>
                    <a:pt x="4369540" y="1370301"/>
                    <a:pt x="4358134" y="1370100"/>
                  </a:cubicBezTo>
                  <a:cubicBezTo>
                    <a:pt x="4347946" y="1370100"/>
                    <a:pt x="4344130" y="1375615"/>
                    <a:pt x="4331791" y="1374646"/>
                  </a:cubicBezTo>
                  <a:cubicBezTo>
                    <a:pt x="4322130" y="1373877"/>
                    <a:pt x="4298223" y="1366725"/>
                    <a:pt x="4298426" y="1357299"/>
                  </a:cubicBezTo>
                  <a:cubicBezTo>
                    <a:pt x="4298426" y="1349645"/>
                    <a:pt x="4355779" y="1374412"/>
                    <a:pt x="4313200" y="1348944"/>
                  </a:cubicBezTo>
                  <a:cubicBezTo>
                    <a:pt x="4309792" y="1346905"/>
                    <a:pt x="4286534" y="1330995"/>
                    <a:pt x="4304027" y="1335908"/>
                  </a:cubicBezTo>
                  <a:cubicBezTo>
                    <a:pt x="4317544" y="1339685"/>
                    <a:pt x="4330086" y="1352419"/>
                    <a:pt x="4343116" y="1358569"/>
                  </a:cubicBezTo>
                  <a:cubicBezTo>
                    <a:pt x="4358905" y="1366090"/>
                    <a:pt x="4343116" y="1352854"/>
                    <a:pt x="4338813" y="1350080"/>
                  </a:cubicBezTo>
                  <a:cubicBezTo>
                    <a:pt x="4324281" y="1340420"/>
                    <a:pt x="4309832" y="1330794"/>
                    <a:pt x="4295260" y="1321202"/>
                  </a:cubicBezTo>
                  <a:cubicBezTo>
                    <a:pt x="4269161" y="1303955"/>
                    <a:pt x="4233969" y="1288614"/>
                    <a:pt x="4211158" y="1270398"/>
                  </a:cubicBezTo>
                  <a:cubicBezTo>
                    <a:pt x="4206571" y="1266688"/>
                    <a:pt x="4182420" y="1248205"/>
                    <a:pt x="4182745" y="1258232"/>
                  </a:cubicBezTo>
                  <a:cubicBezTo>
                    <a:pt x="4183070" y="1269061"/>
                    <a:pt x="4168417" y="1262243"/>
                    <a:pt x="4152708" y="1252650"/>
                  </a:cubicBezTo>
                  <a:cubicBezTo>
                    <a:pt x="4144590" y="1247770"/>
                    <a:pt x="4120034" y="1237476"/>
                    <a:pt x="4116543" y="1243793"/>
                  </a:cubicBezTo>
                  <a:cubicBezTo>
                    <a:pt x="4111754" y="1252349"/>
                    <a:pt x="4144956" y="1258833"/>
                    <a:pt x="4142805" y="1261407"/>
                  </a:cubicBezTo>
                  <a:cubicBezTo>
                    <a:pt x="4140653" y="1263981"/>
                    <a:pt x="4125189" y="1257329"/>
                    <a:pt x="4126001" y="1261207"/>
                  </a:cubicBezTo>
                  <a:cubicBezTo>
                    <a:pt x="4126650" y="1264549"/>
                    <a:pt x="4141587" y="1280024"/>
                    <a:pt x="4128152" y="1278854"/>
                  </a:cubicBezTo>
                  <a:cubicBezTo>
                    <a:pt x="4114717" y="1277684"/>
                    <a:pt x="4108994" y="1267523"/>
                    <a:pt x="4101200" y="1261507"/>
                  </a:cubicBezTo>
                  <a:cubicBezTo>
                    <a:pt x="4095355" y="1256962"/>
                    <a:pt x="4057932" y="1243525"/>
                    <a:pt x="4058337" y="1244160"/>
                  </a:cubicBezTo>
                  <a:cubicBezTo>
                    <a:pt x="4061098" y="1248038"/>
                    <a:pt x="4075101" y="1252984"/>
                    <a:pt x="4074168" y="1257296"/>
                  </a:cubicBezTo>
                  <a:cubicBezTo>
                    <a:pt x="4073234" y="1261608"/>
                    <a:pt x="4052208" y="1250611"/>
                    <a:pt x="4049408" y="1247269"/>
                  </a:cubicBezTo>
                  <a:cubicBezTo>
                    <a:pt x="4045917" y="1243191"/>
                    <a:pt x="4047825" y="1237643"/>
                    <a:pt x="4039544" y="1234568"/>
                  </a:cubicBezTo>
                  <a:cubicBezTo>
                    <a:pt x="4027368" y="1230122"/>
                    <a:pt x="4016246" y="1220597"/>
                    <a:pt x="4006342" y="1214180"/>
                  </a:cubicBezTo>
                  <a:cubicBezTo>
                    <a:pt x="3986047" y="1200810"/>
                    <a:pt x="3966077" y="1202214"/>
                    <a:pt x="3944930" y="1190783"/>
                  </a:cubicBezTo>
                  <a:cubicBezTo>
                    <a:pt x="3932712" y="1184399"/>
                    <a:pt x="3921956" y="1176287"/>
                    <a:pt x="3913148" y="1166818"/>
                  </a:cubicBezTo>
                  <a:cubicBezTo>
                    <a:pt x="3906654" y="1159198"/>
                    <a:pt x="3907668" y="1152680"/>
                    <a:pt x="3892854" y="1153917"/>
                  </a:cubicBezTo>
                  <a:cubicBezTo>
                    <a:pt x="3884370" y="1154652"/>
                    <a:pt x="3879945" y="1158696"/>
                    <a:pt x="3873330" y="1160902"/>
                  </a:cubicBezTo>
                  <a:cubicBezTo>
                    <a:pt x="3867444" y="1162841"/>
                    <a:pt x="3857905" y="1159766"/>
                    <a:pt x="3851005" y="1161404"/>
                  </a:cubicBezTo>
                  <a:cubicBezTo>
                    <a:pt x="3835418" y="1165147"/>
                    <a:pt x="3826408" y="1158329"/>
                    <a:pt x="3812648" y="1147032"/>
                  </a:cubicBezTo>
                  <a:cubicBezTo>
                    <a:pt x="3800024" y="1136670"/>
                    <a:pt x="3787198" y="1121028"/>
                    <a:pt x="3784235" y="1110533"/>
                  </a:cubicBezTo>
                  <a:cubicBezTo>
                    <a:pt x="3783382" y="1107425"/>
                    <a:pt x="3765482" y="1078112"/>
                    <a:pt x="3763940" y="1078413"/>
                  </a:cubicBezTo>
                  <a:cubicBezTo>
                    <a:pt x="3772382" y="1076708"/>
                    <a:pt x="3788294" y="1101442"/>
                    <a:pt x="3803880" y="1097932"/>
                  </a:cubicBezTo>
                  <a:cubicBezTo>
                    <a:pt x="3820116" y="1094256"/>
                    <a:pt x="3788578" y="1080719"/>
                    <a:pt x="3795762" y="1078146"/>
                  </a:cubicBezTo>
                  <a:cubicBezTo>
                    <a:pt x="3804449" y="1075104"/>
                    <a:pt x="3805464" y="1078814"/>
                    <a:pt x="3801486" y="1068553"/>
                  </a:cubicBezTo>
                  <a:cubicBezTo>
                    <a:pt x="3799253" y="1062871"/>
                    <a:pt x="3803150" y="1066614"/>
                    <a:pt x="3807858" y="1065545"/>
                  </a:cubicBezTo>
                  <a:cubicBezTo>
                    <a:pt x="3814678" y="1063941"/>
                    <a:pt x="3796006" y="1054081"/>
                    <a:pt x="3793530" y="1052175"/>
                  </a:cubicBezTo>
                  <a:cubicBezTo>
                    <a:pt x="3782814" y="1044154"/>
                    <a:pt x="3785777" y="1039441"/>
                    <a:pt x="3772545" y="1032556"/>
                  </a:cubicBezTo>
                  <a:cubicBezTo>
                    <a:pt x="3769501" y="1030951"/>
                    <a:pt x="3740073" y="1016446"/>
                    <a:pt x="3739667" y="1020523"/>
                  </a:cubicBezTo>
                  <a:cubicBezTo>
                    <a:pt x="3738936" y="1028879"/>
                    <a:pt x="3724081" y="1010496"/>
                    <a:pt x="3725258" y="1011165"/>
                  </a:cubicBezTo>
                  <a:cubicBezTo>
                    <a:pt x="3707195" y="1000001"/>
                    <a:pt x="3684668" y="991979"/>
                    <a:pt x="3676551" y="977741"/>
                  </a:cubicBezTo>
                  <a:cubicBezTo>
                    <a:pt x="3671599" y="969151"/>
                    <a:pt x="3667418" y="970254"/>
                    <a:pt x="3660315" y="973195"/>
                  </a:cubicBezTo>
                  <a:cubicBezTo>
                    <a:pt x="3653211" y="976137"/>
                    <a:pt x="3625123" y="956784"/>
                    <a:pt x="3629222" y="972460"/>
                  </a:cubicBezTo>
                  <a:cubicBezTo>
                    <a:pt x="3630278" y="976538"/>
                    <a:pt x="3623499" y="989807"/>
                    <a:pt x="3612459" y="983189"/>
                  </a:cubicBezTo>
                  <a:cubicBezTo>
                    <a:pt x="3596223" y="973396"/>
                    <a:pt x="3593260" y="974766"/>
                    <a:pt x="3576172" y="968516"/>
                  </a:cubicBezTo>
                  <a:cubicBezTo>
                    <a:pt x="3559936" y="962567"/>
                    <a:pt x="3542198" y="951804"/>
                    <a:pt x="3526368" y="944652"/>
                  </a:cubicBezTo>
                  <a:cubicBezTo>
                    <a:pt x="3511229" y="937633"/>
                    <a:pt x="3520848" y="933355"/>
                    <a:pt x="3503516" y="932118"/>
                  </a:cubicBezTo>
                  <a:cubicBezTo>
                    <a:pt x="3493409" y="931382"/>
                    <a:pt x="3476362" y="922091"/>
                    <a:pt x="3468406" y="917144"/>
                  </a:cubicBezTo>
                  <a:cubicBezTo>
                    <a:pt x="3444823" y="902471"/>
                    <a:pt x="3478757" y="910861"/>
                    <a:pt x="3480583" y="908186"/>
                  </a:cubicBezTo>
                  <a:cubicBezTo>
                    <a:pt x="3482409" y="905513"/>
                    <a:pt x="3430739" y="884389"/>
                    <a:pt x="3424813" y="881047"/>
                  </a:cubicBezTo>
                  <a:cubicBezTo>
                    <a:pt x="3403097" y="868446"/>
                    <a:pt x="3381990" y="861393"/>
                    <a:pt x="3357230" y="853171"/>
                  </a:cubicBezTo>
                  <a:cubicBezTo>
                    <a:pt x="3341441" y="847924"/>
                    <a:pt x="3320699" y="839367"/>
                    <a:pt x="3304464" y="836961"/>
                  </a:cubicBezTo>
                  <a:cubicBezTo>
                    <a:pt x="3297279" y="835891"/>
                    <a:pt x="3303733" y="843144"/>
                    <a:pt x="3299959" y="844214"/>
                  </a:cubicBezTo>
                  <a:cubicBezTo>
                    <a:pt x="3289933" y="846955"/>
                    <a:pt x="3292327" y="835423"/>
                    <a:pt x="3293220" y="834187"/>
                  </a:cubicBezTo>
                  <a:cubicBezTo>
                    <a:pt x="3294560" y="832482"/>
                    <a:pt x="3299106" y="812495"/>
                    <a:pt x="3283723" y="816506"/>
                  </a:cubicBezTo>
                  <a:cubicBezTo>
                    <a:pt x="3275605" y="818645"/>
                    <a:pt x="3256771" y="817308"/>
                    <a:pt x="3246623" y="807147"/>
                  </a:cubicBezTo>
                  <a:cubicBezTo>
                    <a:pt x="3234446" y="794948"/>
                    <a:pt x="3213177" y="779840"/>
                    <a:pt x="3190123" y="776865"/>
                  </a:cubicBezTo>
                  <a:cubicBezTo>
                    <a:pt x="3183628" y="776030"/>
                    <a:pt x="3172345" y="775161"/>
                    <a:pt x="3169462" y="778102"/>
                  </a:cubicBezTo>
                  <a:cubicBezTo>
                    <a:pt x="3165403" y="782447"/>
                    <a:pt x="3189270" y="786792"/>
                    <a:pt x="3188540" y="789700"/>
                  </a:cubicBezTo>
                  <a:cubicBezTo>
                    <a:pt x="3187687" y="793042"/>
                    <a:pt x="3157407" y="782347"/>
                    <a:pt x="3152943" y="781177"/>
                  </a:cubicBezTo>
                  <a:cubicBezTo>
                    <a:pt x="3142673" y="778436"/>
                    <a:pt x="3132120" y="780007"/>
                    <a:pt x="3120471" y="777634"/>
                  </a:cubicBezTo>
                  <a:cubicBezTo>
                    <a:pt x="3100744" y="773590"/>
                    <a:pt x="3081951" y="767607"/>
                    <a:pt x="3062346" y="762527"/>
                  </a:cubicBezTo>
                  <a:cubicBezTo>
                    <a:pt x="3057313" y="761190"/>
                    <a:pt x="3021228" y="757413"/>
                    <a:pt x="3021472" y="757613"/>
                  </a:cubicBezTo>
                  <a:cubicBezTo>
                    <a:pt x="3013923" y="751163"/>
                    <a:pt x="3054553" y="750594"/>
                    <a:pt x="3059505" y="751630"/>
                  </a:cubicBezTo>
                  <a:cubicBezTo>
                    <a:pt x="3067379" y="753195"/>
                    <a:pt x="3075497" y="753803"/>
                    <a:pt x="3083574" y="753435"/>
                  </a:cubicBezTo>
                  <a:cubicBezTo>
                    <a:pt x="3094006" y="753435"/>
                    <a:pt x="3107928" y="758783"/>
                    <a:pt x="3118523" y="761758"/>
                  </a:cubicBezTo>
                  <a:cubicBezTo>
                    <a:pt x="3133825" y="765936"/>
                    <a:pt x="3155946" y="764432"/>
                    <a:pt x="3171289" y="766103"/>
                  </a:cubicBezTo>
                  <a:cubicBezTo>
                    <a:pt x="3189514" y="768075"/>
                    <a:pt x="3201082" y="765334"/>
                    <a:pt x="3220971" y="768910"/>
                  </a:cubicBezTo>
                  <a:cubicBezTo>
                    <a:pt x="3234324" y="771317"/>
                    <a:pt x="3256203" y="779573"/>
                    <a:pt x="3265620" y="776130"/>
                  </a:cubicBezTo>
                  <a:cubicBezTo>
                    <a:pt x="3276213" y="772219"/>
                    <a:pt x="3298092" y="779138"/>
                    <a:pt x="3313718" y="781611"/>
                  </a:cubicBezTo>
                  <a:cubicBezTo>
                    <a:pt x="3323176" y="783115"/>
                    <a:pt x="3331821" y="783918"/>
                    <a:pt x="3337626" y="781043"/>
                  </a:cubicBezTo>
                  <a:cubicBezTo>
                    <a:pt x="3346393" y="776631"/>
                    <a:pt x="3328168" y="773322"/>
                    <a:pt x="3328209" y="768075"/>
                  </a:cubicBezTo>
                  <a:cubicBezTo>
                    <a:pt x="3328209" y="764732"/>
                    <a:pt x="3347245" y="773623"/>
                    <a:pt x="3351589" y="771818"/>
                  </a:cubicBezTo>
                  <a:cubicBezTo>
                    <a:pt x="3360193" y="768209"/>
                    <a:pt x="3340954" y="762627"/>
                    <a:pt x="3339412" y="760454"/>
                  </a:cubicBezTo>
                  <a:cubicBezTo>
                    <a:pt x="3336935" y="757112"/>
                    <a:pt x="3352157" y="756477"/>
                    <a:pt x="3339980" y="749892"/>
                  </a:cubicBezTo>
                  <a:cubicBezTo>
                    <a:pt x="3336368" y="747954"/>
                    <a:pt x="3320375" y="745547"/>
                    <a:pt x="3322486" y="742539"/>
                  </a:cubicBezTo>
                  <a:cubicBezTo>
                    <a:pt x="3324597" y="739531"/>
                    <a:pt x="3329913" y="729170"/>
                    <a:pt x="3319442" y="725360"/>
                  </a:cubicBezTo>
                  <a:cubicBezTo>
                    <a:pt x="3305276" y="720179"/>
                    <a:pt x="3301582" y="722652"/>
                    <a:pt x="3288837" y="713661"/>
                  </a:cubicBezTo>
                  <a:cubicBezTo>
                    <a:pt x="3273657" y="702932"/>
                    <a:pt x="3254051" y="698353"/>
                    <a:pt x="3239642" y="690465"/>
                  </a:cubicBezTo>
                  <a:cubicBezTo>
                    <a:pt x="3222919" y="681341"/>
                    <a:pt x="3201285" y="678901"/>
                    <a:pt x="3183060" y="669375"/>
                  </a:cubicBezTo>
                  <a:cubicBezTo>
                    <a:pt x="3168245" y="661688"/>
                    <a:pt x="3165403" y="667604"/>
                    <a:pt x="3155702" y="667871"/>
                  </a:cubicBezTo>
                  <a:cubicBezTo>
                    <a:pt x="3146002" y="668138"/>
                    <a:pt x="3130131" y="660651"/>
                    <a:pt x="3121445" y="657075"/>
                  </a:cubicBezTo>
                  <a:cubicBezTo>
                    <a:pt x="3100906" y="648652"/>
                    <a:pt x="3137031" y="650391"/>
                    <a:pt x="3144825" y="648519"/>
                  </a:cubicBezTo>
                  <a:cubicBezTo>
                    <a:pt x="3148884" y="647549"/>
                    <a:pt x="3104478" y="632275"/>
                    <a:pt x="3099080" y="630236"/>
                  </a:cubicBezTo>
                  <a:cubicBezTo>
                    <a:pt x="3092260" y="627629"/>
                    <a:pt x="3090191" y="624988"/>
                    <a:pt x="3084142" y="622047"/>
                  </a:cubicBezTo>
                  <a:cubicBezTo>
                    <a:pt x="3075213" y="617702"/>
                    <a:pt x="3052807" y="612254"/>
                    <a:pt x="3046516" y="607508"/>
                  </a:cubicBezTo>
                  <a:cubicBezTo>
                    <a:pt x="3051590" y="611318"/>
                    <a:pt x="3097010" y="617301"/>
                    <a:pt x="3104235" y="617836"/>
                  </a:cubicBezTo>
                  <a:cubicBezTo>
                    <a:pt x="3123109" y="619206"/>
                    <a:pt x="3070220" y="594807"/>
                    <a:pt x="3068638" y="594038"/>
                  </a:cubicBezTo>
                  <a:cubicBezTo>
                    <a:pt x="3046273" y="582306"/>
                    <a:pt x="3031822" y="578964"/>
                    <a:pt x="3006698" y="573483"/>
                  </a:cubicBezTo>
                  <a:cubicBezTo>
                    <a:pt x="2981573" y="568001"/>
                    <a:pt x="2975281" y="570542"/>
                    <a:pt x="2954986" y="571277"/>
                  </a:cubicBezTo>
                  <a:cubicBezTo>
                    <a:pt x="2947599" y="571544"/>
                    <a:pt x="2915168" y="568503"/>
                    <a:pt x="2917846" y="575589"/>
                  </a:cubicBezTo>
                  <a:cubicBezTo>
                    <a:pt x="2920119" y="577387"/>
                    <a:pt x="2922555" y="579061"/>
                    <a:pt x="2925112" y="580602"/>
                  </a:cubicBezTo>
                  <a:cubicBezTo>
                    <a:pt x="2924827" y="582510"/>
                    <a:pt x="2924219" y="584372"/>
                    <a:pt x="2923245" y="586117"/>
                  </a:cubicBezTo>
                  <a:cubicBezTo>
                    <a:pt x="2923245" y="591164"/>
                    <a:pt x="2906238" y="584145"/>
                    <a:pt x="2902463" y="582540"/>
                  </a:cubicBezTo>
                  <a:cubicBezTo>
                    <a:pt x="2887932" y="576478"/>
                    <a:pt x="2872630" y="571835"/>
                    <a:pt x="2856800" y="568703"/>
                  </a:cubicBezTo>
                  <a:cubicBezTo>
                    <a:pt x="2831471" y="563990"/>
                    <a:pt x="2869545" y="582306"/>
                    <a:pt x="2866866" y="583978"/>
                  </a:cubicBezTo>
                  <a:cubicBezTo>
                    <a:pt x="2864187" y="585649"/>
                    <a:pt x="2825870" y="565628"/>
                    <a:pt x="2814870" y="565795"/>
                  </a:cubicBezTo>
                  <a:cubicBezTo>
                    <a:pt x="2805250" y="565795"/>
                    <a:pt x="2803424" y="568803"/>
                    <a:pt x="2791328" y="563890"/>
                  </a:cubicBezTo>
                  <a:cubicBezTo>
                    <a:pt x="2787269" y="562286"/>
                    <a:pt x="2761982" y="555401"/>
                    <a:pt x="2762509" y="554130"/>
                  </a:cubicBezTo>
                  <a:cubicBezTo>
                    <a:pt x="2763646" y="551189"/>
                    <a:pt x="2791613" y="552560"/>
                    <a:pt x="2769572" y="545674"/>
                  </a:cubicBezTo>
                  <a:cubicBezTo>
                    <a:pt x="2749764" y="539524"/>
                    <a:pt x="2744082" y="547178"/>
                    <a:pt x="2728089" y="537653"/>
                  </a:cubicBezTo>
                  <a:cubicBezTo>
                    <a:pt x="2720702" y="533241"/>
                    <a:pt x="2714086" y="534310"/>
                    <a:pt x="2705805" y="533675"/>
                  </a:cubicBezTo>
                  <a:cubicBezTo>
                    <a:pt x="2692411" y="532706"/>
                    <a:pt x="2685510" y="530132"/>
                    <a:pt x="2672562" y="525720"/>
                  </a:cubicBezTo>
                  <a:cubicBezTo>
                    <a:pt x="2642445" y="515426"/>
                    <a:pt x="2679584" y="537285"/>
                    <a:pt x="2679584" y="537084"/>
                  </a:cubicBezTo>
                  <a:cubicBezTo>
                    <a:pt x="2679584" y="536884"/>
                    <a:pt x="2580870" y="515426"/>
                    <a:pt x="2575106" y="513989"/>
                  </a:cubicBezTo>
                  <a:cubicBezTo>
                    <a:pt x="2563539" y="510646"/>
                    <a:pt x="2560048" y="511816"/>
                    <a:pt x="2550996" y="512652"/>
                  </a:cubicBezTo>
                  <a:cubicBezTo>
                    <a:pt x="2540280" y="513655"/>
                    <a:pt x="2526033" y="508340"/>
                    <a:pt x="2514466" y="507538"/>
                  </a:cubicBezTo>
                  <a:cubicBezTo>
                    <a:pt x="2503547" y="506836"/>
                    <a:pt x="2498716" y="511515"/>
                    <a:pt x="2486053" y="507538"/>
                  </a:cubicBezTo>
                  <a:cubicBezTo>
                    <a:pt x="2483414" y="506736"/>
                    <a:pt x="2460969" y="493099"/>
                    <a:pt x="2459344" y="499316"/>
                  </a:cubicBezTo>
                  <a:cubicBezTo>
                    <a:pt x="2458980" y="500753"/>
                    <a:pt x="2472292" y="505399"/>
                    <a:pt x="2459588" y="504329"/>
                  </a:cubicBezTo>
                  <a:cubicBezTo>
                    <a:pt x="2455895" y="503995"/>
                    <a:pt x="2438238" y="498580"/>
                    <a:pt x="2437832" y="502591"/>
                  </a:cubicBezTo>
                  <a:cubicBezTo>
                    <a:pt x="2437832" y="504129"/>
                    <a:pt x="2459629" y="509276"/>
                    <a:pt x="2447411" y="511983"/>
                  </a:cubicBezTo>
                  <a:cubicBezTo>
                    <a:pt x="2442622" y="513120"/>
                    <a:pt x="2431175" y="506903"/>
                    <a:pt x="2427116" y="505299"/>
                  </a:cubicBezTo>
                  <a:cubicBezTo>
                    <a:pt x="2420216" y="502591"/>
                    <a:pt x="2411529" y="502658"/>
                    <a:pt x="2420662" y="507839"/>
                  </a:cubicBezTo>
                  <a:cubicBezTo>
                    <a:pt x="2428456" y="512284"/>
                    <a:pt x="2442703" y="513788"/>
                    <a:pt x="2447005" y="519571"/>
                  </a:cubicBezTo>
                  <a:cubicBezTo>
                    <a:pt x="2455895" y="531536"/>
                    <a:pt x="2413884" y="510814"/>
                    <a:pt x="2420013" y="518601"/>
                  </a:cubicBezTo>
                  <a:cubicBezTo>
                    <a:pt x="2423706" y="523214"/>
                    <a:pt x="2457274" y="534043"/>
                    <a:pt x="2439780" y="538655"/>
                  </a:cubicBezTo>
                  <a:cubicBezTo>
                    <a:pt x="2423544" y="542900"/>
                    <a:pt x="2434869" y="540026"/>
                    <a:pt x="2416603" y="533776"/>
                  </a:cubicBezTo>
                  <a:cubicBezTo>
                    <a:pt x="2410718" y="531804"/>
                    <a:pt x="2399678" y="528361"/>
                    <a:pt x="2394157" y="529598"/>
                  </a:cubicBezTo>
                  <a:cubicBezTo>
                    <a:pt x="2383279" y="532104"/>
                    <a:pt x="2383767" y="530199"/>
                    <a:pt x="2373376" y="525954"/>
                  </a:cubicBezTo>
                  <a:cubicBezTo>
                    <a:pt x="2356611" y="519069"/>
                    <a:pt x="2329823" y="516429"/>
                    <a:pt x="2311395" y="511983"/>
                  </a:cubicBezTo>
                  <a:cubicBezTo>
                    <a:pt x="2288503" y="506502"/>
                    <a:pt x="2265244" y="500720"/>
                    <a:pt x="2242108" y="496742"/>
                  </a:cubicBezTo>
                  <a:cubicBezTo>
                    <a:pt x="2226278" y="494001"/>
                    <a:pt x="2202492" y="497377"/>
                    <a:pt x="2215360" y="508608"/>
                  </a:cubicBezTo>
                  <a:cubicBezTo>
                    <a:pt x="2228227" y="519838"/>
                    <a:pt x="2202452" y="517899"/>
                    <a:pt x="2223478" y="530099"/>
                  </a:cubicBezTo>
                  <a:cubicBezTo>
                    <a:pt x="2236953" y="537954"/>
                    <a:pt x="2261754" y="544304"/>
                    <a:pt x="2270197" y="553495"/>
                  </a:cubicBezTo>
                  <a:cubicBezTo>
                    <a:pt x="2281115" y="565428"/>
                    <a:pt x="2263134" y="568202"/>
                    <a:pt x="2245599" y="560481"/>
                  </a:cubicBezTo>
                  <a:cubicBezTo>
                    <a:pt x="2226278" y="552025"/>
                    <a:pt x="2214588" y="540427"/>
                    <a:pt x="2195836" y="531837"/>
                  </a:cubicBezTo>
                  <a:cubicBezTo>
                    <a:pt x="2178423" y="523892"/>
                    <a:pt x="2160076" y="517472"/>
                    <a:pt x="2141040" y="512685"/>
                  </a:cubicBezTo>
                  <a:cubicBezTo>
                    <a:pt x="2124519" y="508574"/>
                    <a:pt x="2125129" y="500352"/>
                    <a:pt x="2105564" y="498079"/>
                  </a:cubicBezTo>
                  <a:cubicBezTo>
                    <a:pt x="2099476" y="497377"/>
                    <a:pt x="2087258" y="496709"/>
                    <a:pt x="2084539" y="499683"/>
                  </a:cubicBezTo>
                  <a:cubicBezTo>
                    <a:pt x="2081819" y="502658"/>
                    <a:pt x="2105768" y="504597"/>
                    <a:pt x="2105077" y="507237"/>
                  </a:cubicBezTo>
                  <a:cubicBezTo>
                    <a:pt x="2103169" y="507815"/>
                    <a:pt x="2101302" y="508531"/>
                    <a:pt x="2099517" y="509376"/>
                  </a:cubicBezTo>
                  <a:cubicBezTo>
                    <a:pt x="2100003" y="511114"/>
                    <a:pt x="2117701" y="517431"/>
                    <a:pt x="2119202" y="518167"/>
                  </a:cubicBezTo>
                  <a:cubicBezTo>
                    <a:pt x="2130121" y="523448"/>
                    <a:pt x="2113764" y="521843"/>
                    <a:pt x="2108934" y="520807"/>
                  </a:cubicBezTo>
                  <a:cubicBezTo>
                    <a:pt x="2094443" y="517766"/>
                    <a:pt x="2086040" y="509410"/>
                    <a:pt x="2071550" y="507137"/>
                  </a:cubicBezTo>
                  <a:cubicBezTo>
                    <a:pt x="2062945" y="505767"/>
                    <a:pt x="2046912" y="505834"/>
                    <a:pt x="2050362" y="512017"/>
                  </a:cubicBezTo>
                  <a:cubicBezTo>
                    <a:pt x="2059535" y="528528"/>
                    <a:pt x="2094118" y="531804"/>
                    <a:pt x="2109623" y="544471"/>
                  </a:cubicBezTo>
                  <a:cubicBezTo>
                    <a:pt x="2113114" y="547312"/>
                    <a:pt x="2122409" y="552693"/>
                    <a:pt x="2124438" y="555167"/>
                  </a:cubicBezTo>
                  <a:cubicBezTo>
                    <a:pt x="2128944" y="560648"/>
                    <a:pt x="2104143" y="552493"/>
                    <a:pt x="2101830" y="551356"/>
                  </a:cubicBezTo>
                  <a:cubicBezTo>
                    <a:pt x="2077477" y="538555"/>
                    <a:pt x="2067816" y="532907"/>
                    <a:pt x="2037414" y="526289"/>
                  </a:cubicBezTo>
                  <a:cubicBezTo>
                    <a:pt x="2030473" y="524751"/>
                    <a:pt x="2014481" y="521810"/>
                    <a:pt x="2016307" y="516529"/>
                  </a:cubicBezTo>
                  <a:cubicBezTo>
                    <a:pt x="2017728" y="514868"/>
                    <a:pt x="2019270" y="513273"/>
                    <a:pt x="2020934" y="511749"/>
                  </a:cubicBezTo>
                  <a:cubicBezTo>
                    <a:pt x="2022193" y="508808"/>
                    <a:pt x="2015861" y="506435"/>
                    <a:pt x="2018337" y="503159"/>
                  </a:cubicBezTo>
                  <a:cubicBezTo>
                    <a:pt x="2024507" y="494971"/>
                    <a:pt x="2059495" y="484208"/>
                    <a:pt x="2025400" y="470672"/>
                  </a:cubicBezTo>
                  <a:cubicBezTo>
                    <a:pt x="2012370" y="465525"/>
                    <a:pt x="2009691" y="487150"/>
                    <a:pt x="1999179" y="490291"/>
                  </a:cubicBezTo>
                  <a:cubicBezTo>
                    <a:pt x="1985094" y="494469"/>
                    <a:pt x="1964880" y="487785"/>
                    <a:pt x="1951810" y="492598"/>
                  </a:cubicBezTo>
                  <a:cubicBezTo>
                    <a:pt x="1948928" y="493667"/>
                    <a:pt x="1931515" y="494336"/>
                    <a:pt x="1936670" y="498046"/>
                  </a:cubicBezTo>
                  <a:cubicBezTo>
                    <a:pt x="1942231" y="502277"/>
                    <a:pt x="1947426" y="506823"/>
                    <a:pt x="1952216" y="511649"/>
                  </a:cubicBezTo>
                  <a:cubicBezTo>
                    <a:pt x="1963134" y="521977"/>
                    <a:pt x="1974337" y="529664"/>
                    <a:pt x="1960334" y="536550"/>
                  </a:cubicBezTo>
                  <a:cubicBezTo>
                    <a:pt x="1944098" y="544705"/>
                    <a:pt x="1935047" y="553261"/>
                    <a:pt x="1933788" y="566631"/>
                  </a:cubicBezTo>
                  <a:cubicBezTo>
                    <a:pt x="1932692" y="578262"/>
                    <a:pt x="1990614" y="581270"/>
                    <a:pt x="2002142" y="582942"/>
                  </a:cubicBezTo>
                  <a:cubicBezTo>
                    <a:pt x="2024993" y="586284"/>
                    <a:pt x="2046790" y="600355"/>
                    <a:pt x="2064324" y="609246"/>
                  </a:cubicBezTo>
                  <a:cubicBezTo>
                    <a:pt x="2071022" y="612588"/>
                    <a:pt x="2074878" y="623451"/>
                    <a:pt x="2073052" y="626994"/>
                  </a:cubicBezTo>
                  <a:cubicBezTo>
                    <a:pt x="2071509" y="630002"/>
                    <a:pt x="2058724" y="628698"/>
                    <a:pt x="2054827" y="630838"/>
                  </a:cubicBezTo>
                  <a:cubicBezTo>
                    <a:pt x="2039281" y="639327"/>
                    <a:pt x="2085391" y="648485"/>
                    <a:pt x="2087299" y="655337"/>
                  </a:cubicBezTo>
                  <a:cubicBezTo>
                    <a:pt x="2087948" y="657510"/>
                    <a:pt x="2061687" y="649120"/>
                    <a:pt x="2059982" y="648652"/>
                  </a:cubicBezTo>
                  <a:cubicBezTo>
                    <a:pt x="2046140" y="643839"/>
                    <a:pt x="2042610" y="639996"/>
                    <a:pt x="2039078" y="632442"/>
                  </a:cubicBezTo>
                  <a:cubicBezTo>
                    <a:pt x="2035547" y="624888"/>
                    <a:pt x="2054056" y="625055"/>
                    <a:pt x="2050402" y="617936"/>
                  </a:cubicBezTo>
                  <a:cubicBezTo>
                    <a:pt x="2047927" y="613090"/>
                    <a:pt x="2031934" y="599319"/>
                    <a:pt x="2024060" y="596010"/>
                  </a:cubicBezTo>
                  <a:cubicBezTo>
                    <a:pt x="2009691" y="589894"/>
                    <a:pt x="1959644" y="583811"/>
                    <a:pt x="1956518" y="593203"/>
                  </a:cubicBezTo>
                  <a:cubicBezTo>
                    <a:pt x="1954367" y="599620"/>
                    <a:pt x="1965205" y="609714"/>
                    <a:pt x="1961592" y="615195"/>
                  </a:cubicBezTo>
                  <a:cubicBezTo>
                    <a:pt x="1957980" y="620677"/>
                    <a:pt x="1939674" y="620911"/>
                    <a:pt x="1930988" y="623518"/>
                  </a:cubicBezTo>
                  <a:cubicBezTo>
                    <a:pt x="1920718" y="626660"/>
                    <a:pt x="1922870" y="630637"/>
                    <a:pt x="1906634" y="631038"/>
                  </a:cubicBezTo>
                  <a:cubicBezTo>
                    <a:pt x="1894051" y="631339"/>
                    <a:pt x="1871483" y="629634"/>
                    <a:pt x="1863771" y="634782"/>
                  </a:cubicBezTo>
                  <a:cubicBezTo>
                    <a:pt x="1856059" y="639929"/>
                    <a:pt x="1852325" y="640798"/>
                    <a:pt x="1836535" y="633445"/>
                  </a:cubicBezTo>
                  <a:cubicBezTo>
                    <a:pt x="1819244" y="625423"/>
                    <a:pt x="1800410" y="628565"/>
                    <a:pt x="1783769" y="621345"/>
                  </a:cubicBezTo>
                  <a:cubicBezTo>
                    <a:pt x="1779263" y="619373"/>
                    <a:pt x="1776462" y="616064"/>
                    <a:pt x="1771267" y="614661"/>
                  </a:cubicBezTo>
                  <a:cubicBezTo>
                    <a:pt x="1764123" y="612655"/>
                    <a:pt x="1756817" y="614360"/>
                    <a:pt x="1751216" y="609814"/>
                  </a:cubicBezTo>
                  <a:cubicBezTo>
                    <a:pt x="1739444" y="600255"/>
                    <a:pt x="1768020" y="600790"/>
                    <a:pt x="1768101" y="609279"/>
                  </a:cubicBezTo>
                  <a:cubicBezTo>
                    <a:pt x="1768101" y="614594"/>
                    <a:pt x="1791034" y="610015"/>
                    <a:pt x="1797001" y="615964"/>
                  </a:cubicBezTo>
                  <a:cubicBezTo>
                    <a:pt x="1805849" y="624821"/>
                    <a:pt x="1815753" y="618638"/>
                    <a:pt x="1825414" y="621178"/>
                  </a:cubicBezTo>
                  <a:cubicBezTo>
                    <a:pt x="1840513" y="625189"/>
                    <a:pt x="1830690" y="616064"/>
                    <a:pt x="1845709" y="616165"/>
                  </a:cubicBezTo>
                  <a:cubicBezTo>
                    <a:pt x="1854557" y="615901"/>
                    <a:pt x="1863041" y="613220"/>
                    <a:pt x="1869819" y="608544"/>
                  </a:cubicBezTo>
                  <a:cubicBezTo>
                    <a:pt x="1872133" y="606706"/>
                    <a:pt x="1889099" y="603564"/>
                    <a:pt x="1894741" y="604834"/>
                  </a:cubicBezTo>
                  <a:cubicBezTo>
                    <a:pt x="1906593" y="607475"/>
                    <a:pt x="1903346" y="592434"/>
                    <a:pt x="1910977" y="590195"/>
                  </a:cubicBezTo>
                  <a:cubicBezTo>
                    <a:pt x="1922748" y="586852"/>
                    <a:pt x="1924655" y="587387"/>
                    <a:pt x="1912073" y="578864"/>
                  </a:cubicBezTo>
                  <a:cubicBezTo>
                    <a:pt x="1901682" y="571812"/>
                    <a:pt x="1896852" y="567634"/>
                    <a:pt x="1898313" y="560381"/>
                  </a:cubicBezTo>
                  <a:cubicBezTo>
                    <a:pt x="1899774" y="553128"/>
                    <a:pt x="1903955" y="546477"/>
                    <a:pt x="1905335" y="539257"/>
                  </a:cubicBezTo>
                  <a:cubicBezTo>
                    <a:pt x="1907283" y="529230"/>
                    <a:pt x="1913778" y="524216"/>
                    <a:pt x="1920637" y="515493"/>
                  </a:cubicBezTo>
                  <a:cubicBezTo>
                    <a:pt x="1933260" y="499316"/>
                    <a:pt x="1868804" y="487350"/>
                    <a:pt x="1913899" y="480532"/>
                  </a:cubicBezTo>
                  <a:cubicBezTo>
                    <a:pt x="1930541" y="478058"/>
                    <a:pt x="1949131" y="458472"/>
                    <a:pt x="1928309" y="449414"/>
                  </a:cubicBezTo>
                  <a:cubicBezTo>
                    <a:pt x="1905660" y="439588"/>
                    <a:pt x="1877084" y="435443"/>
                    <a:pt x="1851878" y="429360"/>
                  </a:cubicBezTo>
                  <a:cubicBezTo>
                    <a:pt x="1842177" y="426987"/>
                    <a:pt x="1825738" y="420737"/>
                    <a:pt x="1817458" y="423645"/>
                  </a:cubicBezTo>
                  <a:cubicBezTo>
                    <a:pt x="1806255" y="428070"/>
                    <a:pt x="1795783" y="433689"/>
                    <a:pt x="1786366" y="440357"/>
                  </a:cubicBezTo>
                  <a:cubicBezTo>
                    <a:pt x="1776990" y="446440"/>
                    <a:pt x="1772728" y="453024"/>
                    <a:pt x="1755680" y="454628"/>
                  </a:cubicBezTo>
                  <a:cubicBezTo>
                    <a:pt x="1743909" y="455731"/>
                    <a:pt x="1728688" y="453559"/>
                    <a:pt x="1717932" y="455665"/>
                  </a:cubicBezTo>
                  <a:cubicBezTo>
                    <a:pt x="1705755" y="458105"/>
                    <a:pt x="1698327" y="467864"/>
                    <a:pt x="1719312" y="471039"/>
                  </a:cubicBezTo>
                  <a:cubicBezTo>
                    <a:pt x="1733802" y="473245"/>
                    <a:pt x="1724995" y="483707"/>
                    <a:pt x="1717486" y="485044"/>
                  </a:cubicBezTo>
                  <a:cubicBezTo>
                    <a:pt x="1714482" y="485612"/>
                    <a:pt x="1718257" y="489757"/>
                    <a:pt x="1717242" y="491027"/>
                  </a:cubicBezTo>
                  <a:cubicBezTo>
                    <a:pt x="1715172" y="493634"/>
                    <a:pt x="1704213" y="493801"/>
                    <a:pt x="1700316" y="495806"/>
                  </a:cubicBezTo>
                  <a:cubicBezTo>
                    <a:pt x="1689722" y="501254"/>
                    <a:pt x="1709043" y="506569"/>
                    <a:pt x="1718662" y="509945"/>
                  </a:cubicBezTo>
                  <a:cubicBezTo>
                    <a:pt x="1736035" y="515994"/>
                    <a:pt x="1740784" y="519103"/>
                    <a:pt x="1744437" y="528796"/>
                  </a:cubicBezTo>
                  <a:cubicBezTo>
                    <a:pt x="1747238" y="536182"/>
                    <a:pt x="1772119" y="541262"/>
                    <a:pt x="1765016" y="546677"/>
                  </a:cubicBezTo>
                  <a:cubicBezTo>
                    <a:pt x="1748253" y="559445"/>
                    <a:pt x="1735751" y="554197"/>
                    <a:pt x="1717648" y="540828"/>
                  </a:cubicBezTo>
                  <a:cubicBezTo>
                    <a:pt x="1697881" y="526222"/>
                    <a:pt x="1671051" y="515627"/>
                    <a:pt x="1643693" y="504764"/>
                  </a:cubicBezTo>
                  <a:cubicBezTo>
                    <a:pt x="1617878" y="494503"/>
                    <a:pt x="1593403" y="480264"/>
                    <a:pt x="1564137" y="473546"/>
                  </a:cubicBezTo>
                  <a:cubicBezTo>
                    <a:pt x="1545588" y="469201"/>
                    <a:pt x="1483323" y="461547"/>
                    <a:pt x="1473379" y="451086"/>
                  </a:cubicBezTo>
                  <a:cubicBezTo>
                    <a:pt x="1467574" y="444802"/>
                    <a:pt x="1410667" y="416659"/>
                    <a:pt x="1410749" y="433171"/>
                  </a:cubicBezTo>
                  <a:cubicBezTo>
                    <a:pt x="1410749" y="448311"/>
                    <a:pt x="1467574" y="450450"/>
                    <a:pt x="1469685" y="461480"/>
                  </a:cubicBezTo>
                  <a:cubicBezTo>
                    <a:pt x="1470497" y="465658"/>
                    <a:pt x="1468548" y="468366"/>
                    <a:pt x="1472323" y="472778"/>
                  </a:cubicBezTo>
                  <a:cubicBezTo>
                    <a:pt x="1475327" y="476354"/>
                    <a:pt x="1482836" y="480197"/>
                    <a:pt x="1484297" y="483841"/>
                  </a:cubicBezTo>
                  <a:cubicBezTo>
                    <a:pt x="1487950" y="492932"/>
                    <a:pt x="1460634" y="486581"/>
                    <a:pt x="1452272" y="486047"/>
                  </a:cubicBezTo>
                  <a:cubicBezTo>
                    <a:pt x="1435427" y="484910"/>
                    <a:pt x="1451379" y="495305"/>
                    <a:pt x="1438350" y="493734"/>
                  </a:cubicBezTo>
                  <a:cubicBezTo>
                    <a:pt x="1420287" y="491562"/>
                    <a:pt x="1412494" y="484242"/>
                    <a:pt x="1427066" y="480365"/>
                  </a:cubicBezTo>
                  <a:cubicBezTo>
                    <a:pt x="1434291" y="478393"/>
                    <a:pt x="1409409" y="468967"/>
                    <a:pt x="1404904" y="468499"/>
                  </a:cubicBezTo>
                  <a:cubicBezTo>
                    <a:pt x="1393335" y="467296"/>
                    <a:pt x="1380793" y="469669"/>
                    <a:pt x="1370605" y="470906"/>
                  </a:cubicBezTo>
                  <a:cubicBezTo>
                    <a:pt x="1360417" y="472142"/>
                    <a:pt x="1351447" y="473981"/>
                    <a:pt x="1339514" y="471441"/>
                  </a:cubicBezTo>
                  <a:cubicBezTo>
                    <a:pt x="1319787" y="467296"/>
                    <a:pt x="1296448" y="460778"/>
                    <a:pt x="1277493" y="464488"/>
                  </a:cubicBezTo>
                  <a:cubicBezTo>
                    <a:pt x="1272460" y="465491"/>
                    <a:pt x="1264057" y="471674"/>
                    <a:pt x="1257198" y="469870"/>
                  </a:cubicBezTo>
                  <a:cubicBezTo>
                    <a:pt x="1243965" y="466360"/>
                    <a:pt x="1229150" y="466527"/>
                    <a:pt x="1215837" y="462784"/>
                  </a:cubicBezTo>
                  <a:cubicBezTo>
                    <a:pt x="1192092" y="456333"/>
                    <a:pt x="1220221" y="458372"/>
                    <a:pt x="1227202" y="458706"/>
                  </a:cubicBezTo>
                  <a:cubicBezTo>
                    <a:pt x="1234183" y="459040"/>
                    <a:pt x="1232641" y="456467"/>
                    <a:pt x="1229800" y="454161"/>
                  </a:cubicBezTo>
                  <a:cubicBezTo>
                    <a:pt x="1225132" y="450350"/>
                    <a:pt x="1235198" y="447476"/>
                    <a:pt x="1238527" y="445537"/>
                  </a:cubicBezTo>
                  <a:cubicBezTo>
                    <a:pt x="1244655" y="441894"/>
                    <a:pt x="1197937" y="441827"/>
                    <a:pt x="1191117" y="443498"/>
                  </a:cubicBezTo>
                  <a:cubicBezTo>
                    <a:pt x="1181620" y="445771"/>
                    <a:pt x="1186734" y="457703"/>
                    <a:pt x="1172365" y="447509"/>
                  </a:cubicBezTo>
                  <a:cubicBezTo>
                    <a:pt x="1165384" y="442529"/>
                    <a:pt x="1148254" y="443030"/>
                    <a:pt x="1139000" y="442730"/>
                  </a:cubicBezTo>
                  <a:cubicBezTo>
                    <a:pt x="1125322" y="442128"/>
                    <a:pt x="1111643" y="442319"/>
                    <a:pt x="1098005" y="443298"/>
                  </a:cubicBezTo>
                  <a:cubicBezTo>
                    <a:pt x="1086477" y="444234"/>
                    <a:pt x="1078237" y="447710"/>
                    <a:pt x="1066304" y="448378"/>
                  </a:cubicBezTo>
                  <a:cubicBezTo>
                    <a:pt x="1057415" y="448846"/>
                    <a:pt x="1051164" y="452088"/>
                    <a:pt x="1043696" y="452255"/>
                  </a:cubicBezTo>
                  <a:cubicBezTo>
                    <a:pt x="1031519" y="452523"/>
                    <a:pt x="1007773" y="447910"/>
                    <a:pt x="1003755" y="455330"/>
                  </a:cubicBezTo>
                  <a:cubicBezTo>
                    <a:pt x="1001360" y="459709"/>
                    <a:pt x="1005419" y="468967"/>
                    <a:pt x="993405" y="469602"/>
                  </a:cubicBezTo>
                  <a:cubicBezTo>
                    <a:pt x="981390" y="470237"/>
                    <a:pt x="967387" y="468031"/>
                    <a:pt x="955250" y="466460"/>
                  </a:cubicBezTo>
                  <a:cubicBezTo>
                    <a:pt x="943114" y="464890"/>
                    <a:pt x="933860" y="464622"/>
                    <a:pt x="927284" y="458238"/>
                  </a:cubicBezTo>
                  <a:cubicBezTo>
                    <a:pt x="922170" y="453258"/>
                    <a:pt x="906543" y="446607"/>
                    <a:pt x="910074" y="441961"/>
                  </a:cubicBezTo>
                  <a:cubicBezTo>
                    <a:pt x="915959" y="434207"/>
                    <a:pt x="926310" y="438418"/>
                    <a:pt x="939948" y="436012"/>
                  </a:cubicBezTo>
                  <a:cubicBezTo>
                    <a:pt x="945022" y="435109"/>
                    <a:pt x="973110" y="440891"/>
                    <a:pt x="971892" y="437716"/>
                  </a:cubicBezTo>
                  <a:cubicBezTo>
                    <a:pt x="969579" y="431466"/>
                    <a:pt x="953302" y="426954"/>
                    <a:pt x="952896" y="420269"/>
                  </a:cubicBezTo>
                  <a:cubicBezTo>
                    <a:pt x="952409" y="412983"/>
                    <a:pt x="926107" y="409674"/>
                    <a:pt x="915757" y="409072"/>
                  </a:cubicBezTo>
                  <a:cubicBezTo>
                    <a:pt x="897775" y="408003"/>
                    <a:pt x="882513" y="407434"/>
                    <a:pt x="866156" y="401585"/>
                  </a:cubicBezTo>
                  <a:cubicBezTo>
                    <a:pt x="854385" y="397407"/>
                    <a:pt x="862340" y="406599"/>
                    <a:pt x="871270" y="408771"/>
                  </a:cubicBezTo>
                  <a:cubicBezTo>
                    <a:pt x="901753" y="416225"/>
                    <a:pt x="855318" y="443298"/>
                    <a:pt x="860676" y="444601"/>
                  </a:cubicBezTo>
                  <a:cubicBezTo>
                    <a:pt x="874477" y="447944"/>
                    <a:pt x="884705" y="446273"/>
                    <a:pt x="884584" y="455832"/>
                  </a:cubicBezTo>
                  <a:cubicBezTo>
                    <a:pt x="884584" y="463653"/>
                    <a:pt x="879145" y="466126"/>
                    <a:pt x="872163" y="471975"/>
                  </a:cubicBezTo>
                  <a:cubicBezTo>
                    <a:pt x="863558" y="479195"/>
                    <a:pt x="863518" y="469301"/>
                    <a:pt x="855927" y="472410"/>
                  </a:cubicBezTo>
                  <a:cubicBezTo>
                    <a:pt x="850082" y="474783"/>
                    <a:pt x="846795" y="467095"/>
                    <a:pt x="846510" y="466260"/>
                  </a:cubicBezTo>
                  <a:cubicBezTo>
                    <a:pt x="845293" y="462650"/>
                    <a:pt x="830640" y="461848"/>
                    <a:pt x="825850" y="461280"/>
                  </a:cubicBezTo>
                  <a:cubicBezTo>
                    <a:pt x="810142" y="459408"/>
                    <a:pt x="800197" y="455564"/>
                    <a:pt x="789076" y="461982"/>
                  </a:cubicBezTo>
                  <a:cubicBezTo>
                    <a:pt x="779902" y="467229"/>
                    <a:pt x="763829" y="463853"/>
                    <a:pt x="751855" y="465525"/>
                  </a:cubicBezTo>
                  <a:cubicBezTo>
                    <a:pt x="739719" y="467259"/>
                    <a:pt x="728029" y="470528"/>
                    <a:pt x="717110" y="475217"/>
                  </a:cubicBezTo>
                  <a:cubicBezTo>
                    <a:pt x="704162" y="481902"/>
                    <a:pt x="730180" y="491662"/>
                    <a:pt x="733914" y="498814"/>
                  </a:cubicBezTo>
                  <a:cubicBezTo>
                    <a:pt x="740774" y="511816"/>
                    <a:pt x="697384" y="498814"/>
                    <a:pt x="689266" y="495873"/>
                  </a:cubicBezTo>
                  <a:cubicBezTo>
                    <a:pt x="678225" y="491695"/>
                    <a:pt x="664912" y="492898"/>
                    <a:pt x="654440" y="489790"/>
                  </a:cubicBezTo>
                  <a:cubicBezTo>
                    <a:pt x="642263" y="486247"/>
                    <a:pt x="633860" y="476788"/>
                    <a:pt x="619979" y="475217"/>
                  </a:cubicBezTo>
                  <a:cubicBezTo>
                    <a:pt x="612795" y="474609"/>
                    <a:pt x="605651" y="476655"/>
                    <a:pt x="600496" y="480799"/>
                  </a:cubicBezTo>
                  <a:cubicBezTo>
                    <a:pt x="593068" y="485946"/>
                    <a:pt x="602566" y="488019"/>
                    <a:pt x="606625" y="493533"/>
                  </a:cubicBezTo>
                  <a:cubicBezTo>
                    <a:pt x="613160" y="502424"/>
                    <a:pt x="648960" y="498982"/>
                    <a:pt x="644982" y="508307"/>
                  </a:cubicBezTo>
                  <a:cubicBezTo>
                    <a:pt x="639665" y="520673"/>
                    <a:pt x="620628" y="512017"/>
                    <a:pt x="606016" y="510145"/>
                  </a:cubicBezTo>
                  <a:cubicBezTo>
                    <a:pt x="602322" y="509644"/>
                    <a:pt x="588400" y="509309"/>
                    <a:pt x="588400" y="506134"/>
                  </a:cubicBezTo>
                  <a:cubicBezTo>
                    <a:pt x="588400" y="499617"/>
                    <a:pt x="568349" y="494703"/>
                    <a:pt x="557836" y="494636"/>
                  </a:cubicBezTo>
                  <a:cubicBezTo>
                    <a:pt x="547323" y="494570"/>
                    <a:pt x="540910" y="491896"/>
                    <a:pt x="540626" y="486782"/>
                  </a:cubicBezTo>
                  <a:cubicBezTo>
                    <a:pt x="540342" y="481668"/>
                    <a:pt x="533158" y="474415"/>
                    <a:pt x="534375" y="470404"/>
                  </a:cubicBezTo>
                  <a:cubicBezTo>
                    <a:pt x="535593" y="466394"/>
                    <a:pt x="527962" y="461581"/>
                    <a:pt x="536770" y="459441"/>
                  </a:cubicBezTo>
                  <a:cubicBezTo>
                    <a:pt x="545578" y="457302"/>
                    <a:pt x="541803" y="446941"/>
                    <a:pt x="535755" y="443432"/>
                  </a:cubicBezTo>
                  <a:cubicBezTo>
                    <a:pt x="527637" y="438652"/>
                    <a:pt x="518018" y="439187"/>
                    <a:pt x="508926" y="436012"/>
                  </a:cubicBezTo>
                  <a:cubicBezTo>
                    <a:pt x="501375" y="433338"/>
                    <a:pt x="498169" y="429327"/>
                    <a:pt x="489605" y="426619"/>
                  </a:cubicBezTo>
                  <a:cubicBezTo>
                    <a:pt x="479985" y="423768"/>
                    <a:pt x="471177" y="419343"/>
                    <a:pt x="463709" y="413618"/>
                  </a:cubicBezTo>
                  <a:cubicBezTo>
                    <a:pt x="459650" y="410041"/>
                    <a:pt x="452912" y="408704"/>
                    <a:pt x="449136" y="405763"/>
                  </a:cubicBezTo>
                  <a:cubicBezTo>
                    <a:pt x="446255" y="403524"/>
                    <a:pt x="464926" y="406900"/>
                    <a:pt x="462856" y="406432"/>
                  </a:cubicBezTo>
                  <a:cubicBezTo>
                    <a:pt x="472719" y="408838"/>
                    <a:pt x="478443" y="413283"/>
                    <a:pt x="486723" y="416659"/>
                  </a:cubicBezTo>
                  <a:cubicBezTo>
                    <a:pt x="505759" y="424414"/>
                    <a:pt x="529829" y="425650"/>
                    <a:pt x="550449" y="431733"/>
                  </a:cubicBezTo>
                  <a:cubicBezTo>
                    <a:pt x="585193" y="441928"/>
                    <a:pt x="641491" y="454094"/>
                    <a:pt x="680336" y="455832"/>
                  </a:cubicBezTo>
                  <a:cubicBezTo>
                    <a:pt x="703878" y="456801"/>
                    <a:pt x="762571" y="452255"/>
                    <a:pt x="773246" y="440657"/>
                  </a:cubicBezTo>
                  <a:cubicBezTo>
                    <a:pt x="777305" y="436312"/>
                    <a:pt x="773246" y="421773"/>
                    <a:pt x="763788" y="418364"/>
                  </a:cubicBezTo>
                  <a:cubicBezTo>
                    <a:pt x="749136" y="413083"/>
                    <a:pt x="741789" y="403390"/>
                    <a:pt x="722793" y="401652"/>
                  </a:cubicBezTo>
                  <a:cubicBezTo>
                    <a:pt x="709033" y="400315"/>
                    <a:pt x="705136" y="392494"/>
                    <a:pt x="690930" y="390723"/>
                  </a:cubicBezTo>
                  <a:cubicBezTo>
                    <a:pt x="674004" y="388584"/>
                    <a:pt x="657768" y="379158"/>
                    <a:pt x="645023" y="373677"/>
                  </a:cubicBezTo>
                  <a:cubicBezTo>
                    <a:pt x="625093" y="365117"/>
                    <a:pt x="604068" y="358338"/>
                    <a:pt x="582393" y="353455"/>
                  </a:cubicBezTo>
                  <a:cubicBezTo>
                    <a:pt x="577847" y="352419"/>
                    <a:pt x="569607" y="350113"/>
                    <a:pt x="564574" y="350915"/>
                  </a:cubicBezTo>
                  <a:cubicBezTo>
                    <a:pt x="550368" y="352887"/>
                    <a:pt x="552397" y="349277"/>
                    <a:pt x="541641" y="345935"/>
                  </a:cubicBezTo>
                  <a:cubicBezTo>
                    <a:pt x="530884" y="342593"/>
                    <a:pt x="525161" y="347172"/>
                    <a:pt x="515622" y="346603"/>
                  </a:cubicBezTo>
                  <a:cubicBezTo>
                    <a:pt x="506084" y="346035"/>
                    <a:pt x="499062" y="342225"/>
                    <a:pt x="488468" y="342593"/>
                  </a:cubicBezTo>
                  <a:cubicBezTo>
                    <a:pt x="469756" y="343294"/>
                    <a:pt x="459731" y="334437"/>
                    <a:pt x="484409" y="335273"/>
                  </a:cubicBezTo>
                  <a:cubicBezTo>
                    <a:pt x="513309" y="336276"/>
                    <a:pt x="471096" y="325814"/>
                    <a:pt x="463505" y="324477"/>
                  </a:cubicBezTo>
                  <a:cubicBezTo>
                    <a:pt x="443210" y="320834"/>
                    <a:pt x="448000" y="333969"/>
                    <a:pt x="423565" y="324678"/>
                  </a:cubicBezTo>
                  <a:cubicBezTo>
                    <a:pt x="419506" y="332632"/>
                    <a:pt x="399698" y="328889"/>
                    <a:pt x="387318" y="332332"/>
                  </a:cubicBezTo>
                  <a:cubicBezTo>
                    <a:pt x="378348" y="334805"/>
                    <a:pt x="367876" y="333468"/>
                    <a:pt x="359433" y="336510"/>
                  </a:cubicBezTo>
                  <a:cubicBezTo>
                    <a:pt x="352695" y="338916"/>
                    <a:pt x="351315" y="344932"/>
                    <a:pt x="342021" y="345300"/>
                  </a:cubicBezTo>
                  <a:cubicBezTo>
                    <a:pt x="325785" y="345902"/>
                    <a:pt x="329519" y="360307"/>
                    <a:pt x="334186" y="365354"/>
                  </a:cubicBezTo>
                  <a:cubicBezTo>
                    <a:pt x="338854" y="370401"/>
                    <a:pt x="362599" y="375381"/>
                    <a:pt x="371651" y="380629"/>
                  </a:cubicBezTo>
                  <a:cubicBezTo>
                    <a:pt x="396776" y="395235"/>
                    <a:pt x="331061" y="395770"/>
                    <a:pt x="349935" y="411679"/>
                  </a:cubicBezTo>
                  <a:cubicBezTo>
                    <a:pt x="359880" y="420135"/>
                    <a:pt x="373315" y="429594"/>
                    <a:pt x="378632" y="438919"/>
                  </a:cubicBezTo>
                  <a:cubicBezTo>
                    <a:pt x="382326" y="445437"/>
                    <a:pt x="354278" y="441025"/>
                    <a:pt x="361747" y="451587"/>
                  </a:cubicBezTo>
                  <a:cubicBezTo>
                    <a:pt x="362721" y="452991"/>
                    <a:pt x="369865" y="458105"/>
                    <a:pt x="366496" y="459609"/>
                  </a:cubicBezTo>
                  <a:cubicBezTo>
                    <a:pt x="363127" y="461113"/>
                    <a:pt x="353345" y="461280"/>
                    <a:pt x="361381" y="464254"/>
                  </a:cubicBezTo>
                  <a:cubicBezTo>
                    <a:pt x="364710" y="465525"/>
                    <a:pt x="379078" y="467764"/>
                    <a:pt x="374208" y="470638"/>
                  </a:cubicBezTo>
                  <a:cubicBezTo>
                    <a:pt x="369337" y="473513"/>
                    <a:pt x="365481" y="476387"/>
                    <a:pt x="374208" y="480030"/>
                  </a:cubicBezTo>
                  <a:cubicBezTo>
                    <a:pt x="388009" y="485846"/>
                    <a:pt x="391093" y="489623"/>
                    <a:pt x="373396" y="492397"/>
                  </a:cubicBezTo>
                  <a:cubicBezTo>
                    <a:pt x="352736" y="495740"/>
                    <a:pt x="379444" y="503026"/>
                    <a:pt x="388252" y="506402"/>
                  </a:cubicBezTo>
                  <a:cubicBezTo>
                    <a:pt x="399130" y="510580"/>
                    <a:pt x="421171" y="519771"/>
                    <a:pt x="416421" y="527325"/>
                  </a:cubicBezTo>
                  <a:cubicBezTo>
                    <a:pt x="411144" y="535814"/>
                    <a:pt x="389145" y="538889"/>
                    <a:pt x="375588" y="543335"/>
                  </a:cubicBezTo>
                  <a:cubicBezTo>
                    <a:pt x="362031" y="547780"/>
                    <a:pt x="355293" y="555066"/>
                    <a:pt x="339829" y="559010"/>
                  </a:cubicBezTo>
                  <a:cubicBezTo>
                    <a:pt x="319777" y="564191"/>
                    <a:pt x="303663" y="568235"/>
                    <a:pt x="289619" y="577326"/>
                  </a:cubicBezTo>
                  <a:cubicBezTo>
                    <a:pt x="311213" y="575889"/>
                    <a:pt x="308818" y="576090"/>
                    <a:pt x="321157" y="585682"/>
                  </a:cubicBezTo>
                  <a:cubicBezTo>
                    <a:pt x="325216" y="588724"/>
                    <a:pt x="357688" y="592367"/>
                    <a:pt x="355537" y="595008"/>
                  </a:cubicBezTo>
                  <a:cubicBezTo>
                    <a:pt x="353872" y="596779"/>
                    <a:pt x="327367" y="594038"/>
                    <a:pt x="321035" y="595342"/>
                  </a:cubicBezTo>
                  <a:cubicBezTo>
                    <a:pt x="309549" y="597227"/>
                    <a:pt x="298305" y="599948"/>
                    <a:pt x="287386" y="603464"/>
                  </a:cubicBezTo>
                  <a:cubicBezTo>
                    <a:pt x="294611" y="609547"/>
                    <a:pt x="276955" y="616064"/>
                    <a:pt x="269933" y="619908"/>
                  </a:cubicBezTo>
                  <a:cubicBezTo>
                    <a:pt x="261531" y="624487"/>
                    <a:pt x="269933" y="636887"/>
                    <a:pt x="275656" y="641700"/>
                  </a:cubicBezTo>
                  <a:cubicBezTo>
                    <a:pt x="281379" y="646513"/>
                    <a:pt x="258649" y="645043"/>
                    <a:pt x="265346" y="652630"/>
                  </a:cubicBezTo>
                  <a:cubicBezTo>
                    <a:pt x="268634" y="656306"/>
                    <a:pt x="275291" y="658579"/>
                    <a:pt x="274479" y="662924"/>
                  </a:cubicBezTo>
                  <a:cubicBezTo>
                    <a:pt x="273667" y="667269"/>
                    <a:pt x="271313" y="668372"/>
                    <a:pt x="277239" y="672951"/>
                  </a:cubicBezTo>
                  <a:cubicBezTo>
                    <a:pt x="284301" y="678232"/>
                    <a:pt x="284992" y="686989"/>
                    <a:pt x="295058" y="690666"/>
                  </a:cubicBezTo>
                  <a:cubicBezTo>
                    <a:pt x="302039" y="693239"/>
                    <a:pt x="308046" y="691301"/>
                    <a:pt x="315353" y="692571"/>
                  </a:cubicBezTo>
                  <a:cubicBezTo>
                    <a:pt x="324526" y="694209"/>
                    <a:pt x="323998" y="700927"/>
                    <a:pt x="335079" y="699790"/>
                  </a:cubicBezTo>
                  <a:cubicBezTo>
                    <a:pt x="364710" y="696749"/>
                    <a:pt x="379444" y="706141"/>
                    <a:pt x="374654" y="720379"/>
                  </a:cubicBezTo>
                  <a:cubicBezTo>
                    <a:pt x="370961" y="731543"/>
                    <a:pt x="398359" y="746684"/>
                    <a:pt x="415244" y="753435"/>
                  </a:cubicBezTo>
                  <a:cubicBezTo>
                    <a:pt x="428598" y="758716"/>
                    <a:pt x="431480" y="764498"/>
                    <a:pt x="415691" y="767574"/>
                  </a:cubicBezTo>
                  <a:cubicBezTo>
                    <a:pt x="407573" y="769144"/>
                    <a:pt x="390728" y="762894"/>
                    <a:pt x="386547" y="765000"/>
                  </a:cubicBezTo>
                  <a:cubicBezTo>
                    <a:pt x="380134" y="768342"/>
                    <a:pt x="389754" y="781712"/>
                    <a:pt x="391743" y="785455"/>
                  </a:cubicBezTo>
                  <a:cubicBezTo>
                    <a:pt x="396248" y="794112"/>
                    <a:pt x="408547" y="790402"/>
                    <a:pt x="418897" y="788196"/>
                  </a:cubicBezTo>
                  <a:cubicBezTo>
                    <a:pt x="424864" y="786926"/>
                    <a:pt x="444428" y="788965"/>
                    <a:pt x="451734" y="789466"/>
                  </a:cubicBezTo>
                  <a:cubicBezTo>
                    <a:pt x="467240" y="790502"/>
                    <a:pt x="473166" y="795750"/>
                    <a:pt x="472029" y="803604"/>
                  </a:cubicBezTo>
                  <a:cubicBezTo>
                    <a:pt x="469553" y="823291"/>
                    <a:pt x="507464" y="815302"/>
                    <a:pt x="513715" y="832850"/>
                  </a:cubicBezTo>
                  <a:cubicBezTo>
                    <a:pt x="517327" y="842877"/>
                    <a:pt x="523051" y="836426"/>
                    <a:pt x="535715" y="842609"/>
                  </a:cubicBezTo>
                  <a:cubicBezTo>
                    <a:pt x="542980" y="846152"/>
                    <a:pt x="548622" y="847957"/>
                    <a:pt x="557877" y="845952"/>
                  </a:cubicBezTo>
                  <a:cubicBezTo>
                    <a:pt x="561936" y="845049"/>
                    <a:pt x="573016" y="843278"/>
                    <a:pt x="576142" y="846821"/>
                  </a:cubicBezTo>
                  <a:cubicBezTo>
                    <a:pt x="589618" y="862095"/>
                    <a:pt x="625905" y="863232"/>
                    <a:pt x="651639" y="871320"/>
                  </a:cubicBezTo>
                  <a:cubicBezTo>
                    <a:pt x="673030" y="878005"/>
                    <a:pt x="644617" y="879977"/>
                    <a:pt x="652370" y="884088"/>
                  </a:cubicBezTo>
                  <a:cubicBezTo>
                    <a:pt x="667104" y="891976"/>
                    <a:pt x="640680" y="887598"/>
                    <a:pt x="646159" y="893280"/>
                  </a:cubicBezTo>
                  <a:cubicBezTo>
                    <a:pt x="653993" y="901402"/>
                    <a:pt x="645713" y="899964"/>
                    <a:pt x="644576" y="907785"/>
                  </a:cubicBezTo>
                  <a:cubicBezTo>
                    <a:pt x="644333" y="909590"/>
                    <a:pt x="618437" y="904443"/>
                    <a:pt x="614621" y="905112"/>
                  </a:cubicBezTo>
                  <a:cubicBezTo>
                    <a:pt x="610806" y="905780"/>
                    <a:pt x="590024" y="910326"/>
                    <a:pt x="588847" y="912632"/>
                  </a:cubicBezTo>
                  <a:cubicBezTo>
                    <a:pt x="583367" y="923394"/>
                    <a:pt x="608005" y="918247"/>
                    <a:pt x="620304" y="921088"/>
                  </a:cubicBezTo>
                  <a:cubicBezTo>
                    <a:pt x="631669" y="923695"/>
                    <a:pt x="579267" y="931115"/>
                    <a:pt x="579308" y="931416"/>
                  </a:cubicBezTo>
                  <a:cubicBezTo>
                    <a:pt x="580404" y="937298"/>
                    <a:pt x="602525" y="940808"/>
                    <a:pt x="583367" y="943716"/>
                  </a:cubicBezTo>
                  <a:cubicBezTo>
                    <a:pt x="568714" y="945922"/>
                    <a:pt x="575249" y="955715"/>
                    <a:pt x="559338" y="955314"/>
                  </a:cubicBezTo>
                  <a:cubicBezTo>
                    <a:pt x="514121" y="954278"/>
                    <a:pt x="587061" y="977173"/>
                    <a:pt x="597533" y="982821"/>
                  </a:cubicBezTo>
                  <a:cubicBezTo>
                    <a:pt x="606949" y="987805"/>
                    <a:pt x="615920" y="993393"/>
                    <a:pt x="624281" y="999533"/>
                  </a:cubicBezTo>
                  <a:cubicBezTo>
                    <a:pt x="632399" y="1005583"/>
                    <a:pt x="633860" y="1001839"/>
                    <a:pt x="644576" y="1002073"/>
                  </a:cubicBezTo>
                  <a:cubicBezTo>
                    <a:pt x="663085" y="1002541"/>
                    <a:pt x="674044" y="1011566"/>
                    <a:pt x="690321" y="1014306"/>
                  </a:cubicBezTo>
                  <a:cubicBezTo>
                    <a:pt x="698439" y="1015643"/>
                    <a:pt x="726487" y="1015276"/>
                    <a:pt x="731195" y="1019621"/>
                  </a:cubicBezTo>
                  <a:cubicBezTo>
                    <a:pt x="737608" y="1025537"/>
                    <a:pt x="761475" y="1036032"/>
                    <a:pt x="772921" y="1035564"/>
                  </a:cubicBezTo>
                  <a:cubicBezTo>
                    <a:pt x="782298" y="1035196"/>
                    <a:pt x="808803" y="1036199"/>
                    <a:pt x="814769" y="1042249"/>
                  </a:cubicBezTo>
                  <a:cubicBezTo>
                    <a:pt x="817814" y="1045390"/>
                    <a:pt x="816068" y="1048933"/>
                    <a:pt x="818828" y="1052075"/>
                  </a:cubicBezTo>
                  <a:cubicBezTo>
                    <a:pt x="823293" y="1054134"/>
                    <a:pt x="827880" y="1055952"/>
                    <a:pt x="832629" y="1057523"/>
                  </a:cubicBezTo>
                  <a:cubicBezTo>
                    <a:pt x="844806" y="1063473"/>
                    <a:pt x="856414" y="1069255"/>
                    <a:pt x="868429" y="1075204"/>
                  </a:cubicBezTo>
                  <a:cubicBezTo>
                    <a:pt x="877278" y="1079583"/>
                    <a:pt x="902037" y="1077744"/>
                    <a:pt x="906908" y="1072363"/>
                  </a:cubicBezTo>
                  <a:cubicBezTo>
                    <a:pt x="896273" y="1062837"/>
                    <a:pt x="879835" y="1051106"/>
                    <a:pt x="876263" y="1040277"/>
                  </a:cubicBezTo>
                  <a:cubicBezTo>
                    <a:pt x="872691" y="1029447"/>
                    <a:pt x="886045" y="1025136"/>
                    <a:pt x="868145" y="1013805"/>
                  </a:cubicBezTo>
                  <a:cubicBezTo>
                    <a:pt x="836322" y="993751"/>
                    <a:pt x="931221" y="984158"/>
                    <a:pt x="949324" y="980682"/>
                  </a:cubicBezTo>
                  <a:cubicBezTo>
                    <a:pt x="945265" y="978409"/>
                    <a:pt x="916853" y="967915"/>
                    <a:pt x="933819" y="967647"/>
                  </a:cubicBezTo>
                  <a:cubicBezTo>
                    <a:pt x="948999" y="967380"/>
                    <a:pt x="923347" y="947326"/>
                    <a:pt x="917583" y="943616"/>
                  </a:cubicBezTo>
                  <a:cubicBezTo>
                    <a:pt x="910804" y="939103"/>
                    <a:pt x="884827" y="942345"/>
                    <a:pt x="884259" y="936931"/>
                  </a:cubicBezTo>
                  <a:cubicBezTo>
                    <a:pt x="883122" y="926904"/>
                    <a:pt x="888561" y="928408"/>
                    <a:pt x="871311" y="922191"/>
                  </a:cubicBezTo>
                  <a:cubicBezTo>
                    <a:pt x="864451" y="919718"/>
                    <a:pt x="872772" y="912164"/>
                    <a:pt x="878130" y="911395"/>
                  </a:cubicBezTo>
                  <a:cubicBezTo>
                    <a:pt x="900657" y="908454"/>
                    <a:pt x="881580" y="906950"/>
                    <a:pt x="880403" y="900633"/>
                  </a:cubicBezTo>
                  <a:cubicBezTo>
                    <a:pt x="879713" y="896956"/>
                    <a:pt x="889170" y="895285"/>
                    <a:pt x="893879" y="894249"/>
                  </a:cubicBezTo>
                  <a:cubicBezTo>
                    <a:pt x="901672" y="892511"/>
                    <a:pt x="899561" y="889670"/>
                    <a:pt x="903539" y="886361"/>
                  </a:cubicBezTo>
                  <a:cubicBezTo>
                    <a:pt x="915716" y="876334"/>
                    <a:pt x="929395" y="894416"/>
                    <a:pt x="935727" y="898494"/>
                  </a:cubicBezTo>
                  <a:cubicBezTo>
                    <a:pt x="949324" y="907251"/>
                    <a:pt x="951232" y="895151"/>
                    <a:pt x="950095" y="890773"/>
                  </a:cubicBezTo>
                  <a:cubicBezTo>
                    <a:pt x="947457" y="881013"/>
                    <a:pt x="964870" y="884890"/>
                    <a:pt x="972298" y="878640"/>
                  </a:cubicBezTo>
                  <a:cubicBezTo>
                    <a:pt x="976073" y="875465"/>
                    <a:pt x="998600" y="876267"/>
                    <a:pt x="1006110" y="875298"/>
                  </a:cubicBezTo>
                  <a:cubicBezTo>
                    <a:pt x="1018286" y="873426"/>
                    <a:pt x="1033670" y="869749"/>
                    <a:pt x="1045725" y="875532"/>
                  </a:cubicBezTo>
                  <a:cubicBezTo>
                    <a:pt x="1057780" y="881314"/>
                    <a:pt x="1059566" y="872189"/>
                    <a:pt x="1072230" y="874730"/>
                  </a:cubicBezTo>
                  <a:cubicBezTo>
                    <a:pt x="1081769" y="876668"/>
                    <a:pt x="1086964" y="882116"/>
                    <a:pt x="1097517" y="884757"/>
                  </a:cubicBezTo>
                  <a:cubicBezTo>
                    <a:pt x="1108558" y="887183"/>
                    <a:pt x="1119071" y="891104"/>
                    <a:pt x="1128569" y="896355"/>
                  </a:cubicBezTo>
                  <a:cubicBezTo>
                    <a:pt x="1131166" y="897758"/>
                    <a:pt x="1149675" y="912565"/>
                    <a:pt x="1149513" y="912598"/>
                  </a:cubicBezTo>
                  <a:cubicBezTo>
                    <a:pt x="1156616" y="911462"/>
                    <a:pt x="1149838" y="904343"/>
                    <a:pt x="1162827" y="909958"/>
                  </a:cubicBezTo>
                  <a:cubicBezTo>
                    <a:pt x="1172852" y="914270"/>
                    <a:pt x="1184379" y="920654"/>
                    <a:pt x="1197165" y="918180"/>
                  </a:cubicBezTo>
                  <a:cubicBezTo>
                    <a:pt x="1206785" y="916375"/>
                    <a:pt x="1210438" y="913133"/>
                    <a:pt x="1223143" y="914136"/>
                  </a:cubicBezTo>
                  <a:cubicBezTo>
                    <a:pt x="1232600" y="914871"/>
                    <a:pt x="1238201" y="922258"/>
                    <a:pt x="1246198" y="921756"/>
                  </a:cubicBezTo>
                  <a:cubicBezTo>
                    <a:pt x="1255737" y="921155"/>
                    <a:pt x="1259876" y="918414"/>
                    <a:pt x="1271038" y="920520"/>
                  </a:cubicBezTo>
                  <a:cubicBezTo>
                    <a:pt x="1283946" y="923060"/>
                    <a:pt x="1281470" y="928542"/>
                    <a:pt x="1291333" y="932251"/>
                  </a:cubicBezTo>
                  <a:cubicBezTo>
                    <a:pt x="1302617" y="936463"/>
                    <a:pt x="1305946" y="936897"/>
                    <a:pt x="1314916" y="942479"/>
                  </a:cubicBezTo>
                  <a:cubicBezTo>
                    <a:pt x="1320842" y="946156"/>
                    <a:pt x="1325591" y="937733"/>
                    <a:pt x="1328636" y="936964"/>
                  </a:cubicBezTo>
                  <a:cubicBezTo>
                    <a:pt x="1334927" y="935393"/>
                    <a:pt x="1373041" y="958890"/>
                    <a:pt x="1376897" y="944284"/>
                  </a:cubicBezTo>
                  <a:cubicBezTo>
                    <a:pt x="1381484" y="926971"/>
                    <a:pt x="1353639" y="931483"/>
                    <a:pt x="1340731" y="918815"/>
                  </a:cubicBezTo>
                  <a:cubicBezTo>
                    <a:pt x="1333385" y="911596"/>
                    <a:pt x="1347551" y="912999"/>
                    <a:pt x="1355343" y="912131"/>
                  </a:cubicBezTo>
                  <a:cubicBezTo>
                    <a:pt x="1368251" y="910627"/>
                    <a:pt x="1363461" y="907251"/>
                    <a:pt x="1364436" y="901468"/>
                  </a:cubicBezTo>
                  <a:cubicBezTo>
                    <a:pt x="1365775" y="892110"/>
                    <a:pt x="1410667" y="901970"/>
                    <a:pt x="1409937" y="899931"/>
                  </a:cubicBezTo>
                  <a:cubicBezTo>
                    <a:pt x="1408760" y="896589"/>
                    <a:pt x="1390048" y="892010"/>
                    <a:pt x="1385583" y="889302"/>
                  </a:cubicBezTo>
                  <a:cubicBezTo>
                    <a:pt x="1380225" y="886194"/>
                    <a:pt x="1377465" y="874228"/>
                    <a:pt x="1385299" y="873025"/>
                  </a:cubicBezTo>
                  <a:cubicBezTo>
                    <a:pt x="1392321" y="871989"/>
                    <a:pt x="1416431" y="877270"/>
                    <a:pt x="1424630" y="879108"/>
                  </a:cubicBezTo>
                  <a:cubicBezTo>
                    <a:pt x="1443748" y="883319"/>
                    <a:pt x="1455682" y="880512"/>
                    <a:pt x="1474190" y="882116"/>
                  </a:cubicBezTo>
                  <a:cubicBezTo>
                    <a:pt x="1490426" y="883520"/>
                    <a:pt x="1506297" y="887899"/>
                    <a:pt x="1522127" y="887497"/>
                  </a:cubicBezTo>
                  <a:cubicBezTo>
                    <a:pt x="1535968" y="887594"/>
                    <a:pt x="1549809" y="888610"/>
                    <a:pt x="1563447" y="890539"/>
                  </a:cubicBezTo>
                  <a:cubicBezTo>
                    <a:pt x="1584514" y="892778"/>
                    <a:pt x="1612155" y="896221"/>
                    <a:pt x="1631882" y="895185"/>
                  </a:cubicBezTo>
                  <a:cubicBezTo>
                    <a:pt x="1652988" y="894048"/>
                    <a:pt x="1663826" y="892611"/>
                    <a:pt x="1686678" y="901201"/>
                  </a:cubicBezTo>
                  <a:cubicBezTo>
                    <a:pt x="1698084" y="905479"/>
                    <a:pt x="1716552" y="904543"/>
                    <a:pt x="1722194" y="913534"/>
                  </a:cubicBezTo>
                  <a:cubicBezTo>
                    <a:pt x="1724345" y="916877"/>
                    <a:pt x="1722600" y="921489"/>
                    <a:pt x="1724061" y="925132"/>
                  </a:cubicBezTo>
                  <a:cubicBezTo>
                    <a:pt x="1725766" y="929377"/>
                    <a:pt x="1715294" y="931817"/>
                    <a:pt x="1718541" y="935159"/>
                  </a:cubicBezTo>
                  <a:cubicBezTo>
                    <a:pt x="1723330" y="939939"/>
                    <a:pt x="1743179" y="940708"/>
                    <a:pt x="1748943" y="939037"/>
                  </a:cubicBezTo>
                  <a:cubicBezTo>
                    <a:pt x="1756574" y="936764"/>
                    <a:pt x="1767046" y="954411"/>
                    <a:pt x="1768872" y="949064"/>
                  </a:cubicBezTo>
                  <a:cubicBezTo>
                    <a:pt x="1770171" y="945053"/>
                    <a:pt x="1786610" y="955013"/>
                    <a:pt x="1791156" y="955514"/>
                  </a:cubicBezTo>
                  <a:cubicBezTo>
                    <a:pt x="1811207" y="957620"/>
                    <a:pt x="1791156" y="960662"/>
                    <a:pt x="1785879" y="962567"/>
                  </a:cubicBezTo>
                  <a:cubicBezTo>
                    <a:pt x="1774677" y="966745"/>
                    <a:pt x="1797325" y="968182"/>
                    <a:pt x="1801384" y="967814"/>
                  </a:cubicBezTo>
                  <a:cubicBezTo>
                    <a:pt x="1807351" y="967280"/>
                    <a:pt x="1810558" y="969719"/>
                    <a:pt x="1816444" y="970522"/>
                  </a:cubicBezTo>
                  <a:cubicBezTo>
                    <a:pt x="1823100" y="971110"/>
                    <a:pt x="1829797" y="970953"/>
                    <a:pt x="1836373" y="970054"/>
                  </a:cubicBezTo>
                  <a:cubicBezTo>
                    <a:pt x="1850620" y="968917"/>
                    <a:pt x="1866166" y="969151"/>
                    <a:pt x="1881021" y="968349"/>
                  </a:cubicBezTo>
                  <a:cubicBezTo>
                    <a:pt x="1887678" y="968279"/>
                    <a:pt x="1894294" y="969418"/>
                    <a:pt x="1900383" y="971691"/>
                  </a:cubicBezTo>
                  <a:cubicBezTo>
                    <a:pt x="1907649" y="974399"/>
                    <a:pt x="1898962" y="975268"/>
                    <a:pt x="1896689" y="976638"/>
                  </a:cubicBezTo>
                  <a:cubicBezTo>
                    <a:pt x="1888571" y="981518"/>
                    <a:pt x="1905051" y="987668"/>
                    <a:pt x="1911708" y="991645"/>
                  </a:cubicBezTo>
                  <a:cubicBezTo>
                    <a:pt x="1921489" y="998002"/>
                    <a:pt x="1929729" y="1005800"/>
                    <a:pt x="1936061" y="1014641"/>
                  </a:cubicBezTo>
                  <a:cubicBezTo>
                    <a:pt x="1950268" y="1032556"/>
                    <a:pt x="1958954" y="1050036"/>
                    <a:pt x="1968533" y="1068118"/>
                  </a:cubicBezTo>
                  <a:cubicBezTo>
                    <a:pt x="1979614" y="1088908"/>
                    <a:pt x="1990817" y="1061166"/>
                    <a:pt x="2005916" y="1074536"/>
                  </a:cubicBezTo>
                  <a:cubicBezTo>
                    <a:pt x="2013750" y="1082357"/>
                    <a:pt x="2023695" y="1088520"/>
                    <a:pt x="2035019" y="1092518"/>
                  </a:cubicBezTo>
                  <a:cubicBezTo>
                    <a:pt x="2050971" y="1098868"/>
                    <a:pt x="2063432" y="1094924"/>
                    <a:pt x="2079262" y="1098768"/>
                  </a:cubicBezTo>
                  <a:cubicBezTo>
                    <a:pt x="2088598" y="1101228"/>
                    <a:pt x="2096188" y="1106863"/>
                    <a:pt x="2100125" y="1114243"/>
                  </a:cubicBezTo>
                  <a:cubicBezTo>
                    <a:pt x="2103332" y="1123334"/>
                    <a:pt x="2114656" y="1123468"/>
                    <a:pt x="2120420" y="1129852"/>
                  </a:cubicBezTo>
                  <a:cubicBezTo>
                    <a:pt x="2125615" y="1135601"/>
                    <a:pt x="2117823" y="1142285"/>
                    <a:pt x="2134099" y="1146564"/>
                  </a:cubicBezTo>
                  <a:cubicBezTo>
                    <a:pt x="2140430" y="1148235"/>
                    <a:pt x="2171645" y="1150875"/>
                    <a:pt x="2171198" y="1154552"/>
                  </a:cubicBezTo>
                  <a:cubicBezTo>
                    <a:pt x="2168153" y="1180455"/>
                    <a:pt x="2268613" y="1174606"/>
                    <a:pt x="2287690" y="1174606"/>
                  </a:cubicBezTo>
                  <a:cubicBezTo>
                    <a:pt x="2305347" y="1174405"/>
                    <a:pt x="2334044" y="1171565"/>
                    <a:pt x="2352188" y="1180121"/>
                  </a:cubicBezTo>
                  <a:cubicBezTo>
                    <a:pt x="2361807" y="1184700"/>
                    <a:pt x="2372280" y="1188811"/>
                    <a:pt x="2382427" y="1192822"/>
                  </a:cubicBezTo>
                  <a:cubicBezTo>
                    <a:pt x="2397567" y="1198805"/>
                    <a:pt x="2393955" y="1197969"/>
                    <a:pt x="2398378" y="1207194"/>
                  </a:cubicBezTo>
                  <a:cubicBezTo>
                    <a:pt x="2405279" y="1221600"/>
                    <a:pt x="2440795" y="1222803"/>
                    <a:pt x="2454961" y="1233231"/>
                  </a:cubicBezTo>
                  <a:cubicBezTo>
                    <a:pt x="2466285" y="1241554"/>
                    <a:pt x="2471197" y="1237743"/>
                    <a:pt x="2484713" y="1239448"/>
                  </a:cubicBezTo>
                  <a:cubicBezTo>
                    <a:pt x="2492385" y="1240417"/>
                    <a:pt x="2514059" y="1240651"/>
                    <a:pt x="2503871" y="1231526"/>
                  </a:cubicBezTo>
                  <a:cubicBezTo>
                    <a:pt x="2485687" y="1215282"/>
                    <a:pt x="2509432" y="1208798"/>
                    <a:pt x="2530498" y="1210570"/>
                  </a:cubicBezTo>
                  <a:cubicBezTo>
                    <a:pt x="2546734" y="1211907"/>
                    <a:pt x="2542675" y="1205222"/>
                    <a:pt x="2560413" y="1215316"/>
                  </a:cubicBezTo>
                  <a:cubicBezTo>
                    <a:pt x="2572590" y="1222201"/>
                    <a:pt x="2587040" y="1228117"/>
                    <a:pt x="2598405" y="1235370"/>
                  </a:cubicBezTo>
                  <a:cubicBezTo>
                    <a:pt x="2608390" y="1241426"/>
                    <a:pt x="2618740" y="1247005"/>
                    <a:pt x="2629497" y="1252082"/>
                  </a:cubicBezTo>
                  <a:cubicBezTo>
                    <a:pt x="2642486" y="1258466"/>
                    <a:pt x="2633556" y="1262610"/>
                    <a:pt x="2632825" y="1268794"/>
                  </a:cubicBezTo>
                  <a:cubicBezTo>
                    <a:pt x="2631891" y="1277350"/>
                    <a:pt x="2666068" y="1298875"/>
                    <a:pt x="2680315" y="1299744"/>
                  </a:cubicBezTo>
                  <a:cubicBezTo>
                    <a:pt x="2724680" y="1301983"/>
                    <a:pt x="2762144" y="1323943"/>
                    <a:pt x="2795793" y="1344832"/>
                  </a:cubicBezTo>
                  <a:cubicBezTo>
                    <a:pt x="2802043" y="1350224"/>
                    <a:pt x="2807158" y="1356437"/>
                    <a:pt x="2810893" y="1363215"/>
                  </a:cubicBezTo>
                  <a:cubicBezTo>
                    <a:pt x="2812435" y="1367928"/>
                    <a:pt x="2830863" y="1373242"/>
                    <a:pt x="2836748" y="1375615"/>
                  </a:cubicBezTo>
                  <a:cubicBezTo>
                    <a:pt x="2844339" y="1378590"/>
                    <a:pt x="2882493" y="1400650"/>
                    <a:pt x="2888378" y="1396004"/>
                  </a:cubicBezTo>
                  <a:cubicBezTo>
                    <a:pt x="2890570" y="1394166"/>
                    <a:pt x="2942038" y="1408170"/>
                    <a:pt x="2949263" y="1410008"/>
                  </a:cubicBezTo>
                  <a:cubicBezTo>
                    <a:pt x="2957827" y="1412147"/>
                    <a:pt x="2971019" y="1410008"/>
                    <a:pt x="2980517" y="1411044"/>
                  </a:cubicBezTo>
                  <a:cubicBezTo>
                    <a:pt x="2994480" y="1412167"/>
                    <a:pt x="3007834" y="1416245"/>
                    <a:pt x="3019280" y="1422876"/>
                  </a:cubicBezTo>
                  <a:cubicBezTo>
                    <a:pt x="3028819" y="1428425"/>
                    <a:pt x="3028738" y="1433605"/>
                    <a:pt x="3042700" y="1438318"/>
                  </a:cubicBezTo>
                  <a:cubicBezTo>
                    <a:pt x="3053822" y="1442095"/>
                    <a:pt x="3065350" y="1444769"/>
                    <a:pt x="3073102" y="1452323"/>
                  </a:cubicBezTo>
                  <a:cubicBezTo>
                    <a:pt x="3091896" y="1470672"/>
                    <a:pt x="3102895" y="1469268"/>
                    <a:pt x="3130659" y="1473580"/>
                  </a:cubicBezTo>
                  <a:cubicBezTo>
                    <a:pt x="3147666" y="1476220"/>
                    <a:pt x="3146448" y="1474215"/>
                    <a:pt x="3156514" y="1469970"/>
                  </a:cubicBezTo>
                  <a:cubicBezTo>
                    <a:pt x="3163617" y="1466995"/>
                    <a:pt x="3171735" y="1464923"/>
                    <a:pt x="3178757" y="1461882"/>
                  </a:cubicBezTo>
                  <a:cubicBezTo>
                    <a:pt x="3194993" y="1454829"/>
                    <a:pt x="3225071" y="1461882"/>
                    <a:pt x="3222919" y="1445170"/>
                  </a:cubicBezTo>
                  <a:cubicBezTo>
                    <a:pt x="3222391" y="1441025"/>
                    <a:pt x="3210011" y="1436680"/>
                    <a:pt x="3212122" y="1434174"/>
                  </a:cubicBezTo>
                  <a:cubicBezTo>
                    <a:pt x="3217277" y="1427923"/>
                    <a:pt x="3236111" y="1429695"/>
                    <a:pt x="3248410" y="1433839"/>
                  </a:cubicBezTo>
                  <a:cubicBezTo>
                    <a:pt x="3266269" y="1439822"/>
                    <a:pt x="3295615" y="1448512"/>
                    <a:pt x="3310269" y="1457704"/>
                  </a:cubicBezTo>
                  <a:cubicBezTo>
                    <a:pt x="3331862" y="1471073"/>
                    <a:pt x="3362670" y="1482404"/>
                    <a:pt x="3377972" y="1499116"/>
                  </a:cubicBezTo>
                  <a:cubicBezTo>
                    <a:pt x="3385806" y="1507672"/>
                    <a:pt x="3389621" y="1510279"/>
                    <a:pt x="3386739" y="1517398"/>
                  </a:cubicBezTo>
                  <a:cubicBezTo>
                    <a:pt x="3385075" y="1521509"/>
                    <a:pt x="3394857" y="1530333"/>
                    <a:pt x="3393396" y="1535915"/>
                  </a:cubicBezTo>
                  <a:cubicBezTo>
                    <a:pt x="3390433" y="1548783"/>
                    <a:pt x="3401514" y="1567300"/>
                    <a:pt x="3403381" y="1581605"/>
                  </a:cubicBezTo>
                  <a:cubicBezTo>
                    <a:pt x="3404071" y="1586752"/>
                    <a:pt x="3393761" y="1589760"/>
                    <a:pt x="3401717" y="1595977"/>
                  </a:cubicBezTo>
                  <a:cubicBezTo>
                    <a:pt x="3404477" y="1598150"/>
                    <a:pt x="3431064" y="1617803"/>
                    <a:pt x="3433620" y="1618271"/>
                  </a:cubicBezTo>
                  <a:cubicBezTo>
                    <a:pt x="3442713" y="1619808"/>
                    <a:pt x="3455620" y="1633679"/>
                    <a:pt x="3458827" y="1638325"/>
                  </a:cubicBezTo>
                  <a:cubicBezTo>
                    <a:pt x="3466701" y="1649822"/>
                    <a:pt x="3474535" y="1647717"/>
                    <a:pt x="3473277" y="1658780"/>
                  </a:cubicBezTo>
                  <a:cubicBezTo>
                    <a:pt x="3472546" y="1665164"/>
                    <a:pt x="3469218" y="1672584"/>
                    <a:pt x="3478554" y="1679570"/>
                  </a:cubicBezTo>
                  <a:cubicBezTo>
                    <a:pt x="3485941" y="1685018"/>
                    <a:pt x="3510173" y="1698387"/>
                    <a:pt x="3519874" y="1699189"/>
                  </a:cubicBezTo>
                  <a:cubicBezTo>
                    <a:pt x="3531239" y="1699640"/>
                    <a:pt x="3542361" y="1701910"/>
                    <a:pt x="3552671" y="1705874"/>
                  </a:cubicBezTo>
                  <a:cubicBezTo>
                    <a:pt x="3560788" y="1708581"/>
                    <a:pt x="3572194" y="1708347"/>
                    <a:pt x="3578120" y="1715166"/>
                  </a:cubicBezTo>
                  <a:cubicBezTo>
                    <a:pt x="3581246" y="1718742"/>
                    <a:pt x="3576984" y="1729504"/>
                    <a:pt x="3575603" y="1732780"/>
                  </a:cubicBezTo>
                  <a:cubicBezTo>
                    <a:pt x="3574710" y="1734952"/>
                    <a:pt x="3568663" y="1733348"/>
                    <a:pt x="3565822" y="1733682"/>
                  </a:cubicBezTo>
                  <a:cubicBezTo>
                    <a:pt x="3559286" y="1734795"/>
                    <a:pt x="3553198" y="1737322"/>
                    <a:pt x="3548205" y="1741002"/>
                  </a:cubicBezTo>
                  <a:cubicBezTo>
                    <a:pt x="3539723" y="1746250"/>
                    <a:pt x="3531969" y="1744545"/>
                    <a:pt x="3520767" y="1746584"/>
                  </a:cubicBezTo>
                  <a:cubicBezTo>
                    <a:pt x="3516708" y="1747352"/>
                    <a:pt x="3497793" y="1749258"/>
                    <a:pt x="3496413" y="1751430"/>
                  </a:cubicBezTo>
                  <a:cubicBezTo>
                    <a:pt x="3492638" y="1756878"/>
                    <a:pt x="3473724" y="1742573"/>
                    <a:pt x="3470760" y="1739364"/>
                  </a:cubicBezTo>
                  <a:cubicBezTo>
                    <a:pt x="3466701" y="1735086"/>
                    <a:pt x="3444012" y="1732680"/>
                    <a:pt x="3439100" y="1733214"/>
                  </a:cubicBezTo>
                  <a:cubicBezTo>
                    <a:pt x="3425421" y="1734718"/>
                    <a:pt x="3420591" y="1762961"/>
                    <a:pt x="3417019" y="1770716"/>
                  </a:cubicBezTo>
                  <a:cubicBezTo>
                    <a:pt x="3439587" y="1772353"/>
                    <a:pt x="3447908" y="1774058"/>
                    <a:pt x="3460044" y="1789566"/>
                  </a:cubicBezTo>
                  <a:cubicBezTo>
                    <a:pt x="3469299" y="1801332"/>
                    <a:pt x="3479609" y="1803304"/>
                    <a:pt x="3495764" y="1805877"/>
                  </a:cubicBezTo>
                  <a:cubicBezTo>
                    <a:pt x="3525516" y="1810657"/>
                    <a:pt x="3544836" y="1809721"/>
                    <a:pt x="3570245" y="1808351"/>
                  </a:cubicBezTo>
                  <a:cubicBezTo>
                    <a:pt x="3607223" y="1806379"/>
                    <a:pt x="3652156" y="1809855"/>
                    <a:pt x="3681746" y="1799092"/>
                  </a:cubicBezTo>
                  <a:cubicBezTo>
                    <a:pt x="3705085" y="1790469"/>
                    <a:pt x="3742225" y="1796953"/>
                    <a:pt x="3762926" y="1785155"/>
                  </a:cubicBezTo>
                  <a:cubicBezTo>
                    <a:pt x="3778147" y="1776531"/>
                    <a:pt x="3786589" y="1752165"/>
                    <a:pt x="3809887" y="1750027"/>
                  </a:cubicBezTo>
                  <a:cubicBezTo>
                    <a:pt x="3817437" y="1749358"/>
                    <a:pt x="3819142" y="1744612"/>
                    <a:pt x="3828356" y="1745247"/>
                  </a:cubicBezTo>
                  <a:cubicBezTo>
                    <a:pt x="3841222" y="1746149"/>
                    <a:pt x="3838138" y="1740334"/>
                    <a:pt x="3841507" y="1734986"/>
                  </a:cubicBezTo>
                  <a:cubicBezTo>
                    <a:pt x="3842806" y="1732947"/>
                    <a:pt x="3845161" y="1724424"/>
                    <a:pt x="3847636" y="1723421"/>
                  </a:cubicBezTo>
                  <a:cubicBezTo>
                    <a:pt x="3854780" y="1720513"/>
                    <a:pt x="3860300" y="1722118"/>
                    <a:pt x="3848164" y="1711155"/>
                  </a:cubicBezTo>
                  <a:cubicBezTo>
                    <a:pt x="3842806" y="1706308"/>
                    <a:pt x="3833592" y="1699557"/>
                    <a:pt x="3835987" y="1694777"/>
                  </a:cubicBezTo>
                  <a:cubicBezTo>
                    <a:pt x="3838381" y="1689998"/>
                    <a:pt x="3828843" y="1678701"/>
                    <a:pt x="3819386" y="1674489"/>
                  </a:cubicBezTo>
                  <a:cubicBezTo>
                    <a:pt x="3811795" y="1671147"/>
                    <a:pt x="3805586" y="1666200"/>
                    <a:pt x="3798279" y="1662590"/>
                  </a:cubicBezTo>
                  <a:cubicBezTo>
                    <a:pt x="3790973" y="1658981"/>
                    <a:pt x="3794220" y="1671047"/>
                    <a:pt x="3784519" y="1664328"/>
                  </a:cubicBezTo>
                  <a:cubicBezTo>
                    <a:pt x="3787239" y="1666234"/>
                    <a:pt x="3740844" y="1659816"/>
                    <a:pt x="3747379" y="1656407"/>
                  </a:cubicBezTo>
                  <a:cubicBezTo>
                    <a:pt x="3751438" y="1654335"/>
                    <a:pt x="3758257" y="1657477"/>
                    <a:pt x="3755497" y="1651627"/>
                  </a:cubicBezTo>
                  <a:cubicBezTo>
                    <a:pt x="3753834" y="1648285"/>
                    <a:pt x="3763819" y="1641400"/>
                    <a:pt x="3764549" y="1641901"/>
                  </a:cubicBezTo>
                  <a:cubicBezTo>
                    <a:pt x="3757243" y="1637055"/>
                    <a:pt x="3725826" y="1647951"/>
                    <a:pt x="3730575" y="1635684"/>
                  </a:cubicBezTo>
                  <a:cubicBezTo>
                    <a:pt x="3732280" y="1631279"/>
                    <a:pt x="3735892" y="1627529"/>
                    <a:pt x="3740682" y="1625122"/>
                  </a:cubicBezTo>
                  <a:cubicBezTo>
                    <a:pt x="3744417" y="1623351"/>
                    <a:pt x="3718318" y="1613525"/>
                    <a:pt x="3716328" y="1612622"/>
                  </a:cubicBezTo>
                  <a:cubicBezTo>
                    <a:pt x="3681259" y="1596712"/>
                    <a:pt x="3707236" y="1598116"/>
                    <a:pt x="3725096" y="1599253"/>
                  </a:cubicBezTo>
                  <a:cubicBezTo>
                    <a:pt x="3733700" y="1599721"/>
                    <a:pt x="3737881" y="1597815"/>
                    <a:pt x="3747258" y="1599620"/>
                  </a:cubicBezTo>
                  <a:cubicBezTo>
                    <a:pt x="3759150" y="1601926"/>
                    <a:pt x="3770800" y="1603464"/>
                    <a:pt x="3782570" y="1605369"/>
                  </a:cubicBezTo>
                  <a:cubicBezTo>
                    <a:pt x="3803312" y="1608712"/>
                    <a:pt x="3812689" y="1602027"/>
                    <a:pt x="3833023" y="1605369"/>
                  </a:cubicBezTo>
                  <a:cubicBezTo>
                    <a:pt x="3857865" y="1609046"/>
                    <a:pt x="3887699" y="1614260"/>
                    <a:pt x="3908521" y="1610917"/>
                  </a:cubicBezTo>
                  <a:cubicBezTo>
                    <a:pt x="3918182" y="1609347"/>
                    <a:pt x="3951059" y="1618104"/>
                    <a:pt x="3955361" y="1613625"/>
                  </a:cubicBezTo>
                  <a:cubicBezTo>
                    <a:pt x="3961125" y="1607508"/>
                    <a:pt x="4004435" y="1622248"/>
                    <a:pt x="4015150" y="1626092"/>
                  </a:cubicBezTo>
                  <a:cubicBezTo>
                    <a:pt x="4036866" y="1634250"/>
                    <a:pt x="4056917" y="1645207"/>
                    <a:pt x="4074452" y="1658546"/>
                  </a:cubicBezTo>
                  <a:cubicBezTo>
                    <a:pt x="4080012" y="1662724"/>
                    <a:pt x="4086304" y="1672584"/>
                    <a:pt x="4093367" y="1674289"/>
                  </a:cubicBezTo>
                  <a:cubicBezTo>
                    <a:pt x="4104975" y="1677096"/>
                    <a:pt x="4107492" y="1677363"/>
                    <a:pt x="4118857" y="1684650"/>
                  </a:cubicBezTo>
                  <a:cubicBezTo>
                    <a:pt x="4127056" y="1690272"/>
                    <a:pt x="4136311" y="1694784"/>
                    <a:pt x="4146214" y="1698019"/>
                  </a:cubicBezTo>
                  <a:cubicBezTo>
                    <a:pt x="4156443" y="1701362"/>
                    <a:pt x="4161761" y="1709517"/>
                    <a:pt x="4171867" y="1712793"/>
                  </a:cubicBezTo>
                  <a:cubicBezTo>
                    <a:pt x="4181974" y="1716068"/>
                    <a:pt x="4186967" y="1711690"/>
                    <a:pt x="4198412" y="1716402"/>
                  </a:cubicBezTo>
                  <a:cubicBezTo>
                    <a:pt x="4207992" y="1720316"/>
                    <a:pt x="4216719" y="1725500"/>
                    <a:pt x="4224269" y="1731744"/>
                  </a:cubicBezTo>
                  <a:cubicBezTo>
                    <a:pt x="4229749" y="1736523"/>
                    <a:pt x="4230642" y="1742272"/>
                    <a:pt x="4238881" y="1746116"/>
                  </a:cubicBezTo>
                  <a:cubicBezTo>
                    <a:pt x="4251058" y="1751898"/>
                    <a:pt x="4253412" y="1748823"/>
                    <a:pt x="4257633" y="1758650"/>
                  </a:cubicBezTo>
                  <a:cubicBezTo>
                    <a:pt x="4259095" y="1761992"/>
                    <a:pt x="4274275" y="1773791"/>
                    <a:pt x="4260393" y="1769479"/>
                  </a:cubicBezTo>
                  <a:cubicBezTo>
                    <a:pt x="4257390" y="1768510"/>
                    <a:pt x="4229424" y="1753603"/>
                    <a:pt x="4240748" y="1766137"/>
                  </a:cubicBezTo>
                  <a:cubicBezTo>
                    <a:pt x="4248866" y="1774860"/>
                    <a:pt x="4262099" y="1774392"/>
                    <a:pt x="4271758" y="1780743"/>
                  </a:cubicBezTo>
                  <a:cubicBezTo>
                    <a:pt x="4285519" y="1789767"/>
                    <a:pt x="4297452" y="1791071"/>
                    <a:pt x="4310847" y="1798056"/>
                  </a:cubicBezTo>
                  <a:cubicBezTo>
                    <a:pt x="4321481" y="1803671"/>
                    <a:pt x="4318599" y="1805075"/>
                    <a:pt x="4331425" y="1809019"/>
                  </a:cubicBezTo>
                  <a:cubicBezTo>
                    <a:pt x="4338042" y="1811025"/>
                    <a:pt x="4356753" y="1822923"/>
                    <a:pt x="4361381" y="1823024"/>
                  </a:cubicBezTo>
                  <a:cubicBezTo>
                    <a:pt x="4368444" y="1823024"/>
                    <a:pt x="4338691" y="1804975"/>
                    <a:pt x="4343683" y="1801298"/>
                  </a:cubicBezTo>
                  <a:cubicBezTo>
                    <a:pt x="4353587" y="1793945"/>
                    <a:pt x="4377211" y="1797221"/>
                    <a:pt x="4395192" y="1800730"/>
                  </a:cubicBezTo>
                  <a:cubicBezTo>
                    <a:pt x="4402174" y="1802034"/>
                    <a:pt x="4441464" y="1813230"/>
                    <a:pt x="4443047" y="1811426"/>
                  </a:cubicBezTo>
                  <a:cubicBezTo>
                    <a:pt x="4447878" y="1805978"/>
                    <a:pt x="4460988" y="1802535"/>
                    <a:pt x="4473814" y="1810590"/>
                  </a:cubicBezTo>
                  <a:cubicBezTo>
                    <a:pt x="4492324" y="1822221"/>
                    <a:pt x="4507220" y="1828037"/>
                    <a:pt x="4526134" y="1837329"/>
                  </a:cubicBezTo>
                  <a:cubicBezTo>
                    <a:pt x="4541680" y="1845083"/>
                    <a:pt x="4525729" y="1849595"/>
                    <a:pt x="4549920" y="1854876"/>
                  </a:cubicBezTo>
                  <a:cubicBezTo>
                    <a:pt x="4575208" y="1860491"/>
                    <a:pt x="4540869" y="1862163"/>
                    <a:pt x="4538150" y="1862463"/>
                  </a:cubicBezTo>
                  <a:cubicBezTo>
                    <a:pt x="4516637" y="1864836"/>
                    <a:pt x="4550976" y="1877571"/>
                    <a:pt x="4545821" y="1880880"/>
                  </a:cubicBezTo>
                  <a:cubicBezTo>
                    <a:pt x="4544319" y="1881816"/>
                    <a:pt x="4529057" y="1876735"/>
                    <a:pt x="4532954" y="1880880"/>
                  </a:cubicBezTo>
                  <a:cubicBezTo>
                    <a:pt x="4537784" y="1886127"/>
                    <a:pt x="4549676" y="1889369"/>
                    <a:pt x="4555846" y="1890907"/>
                  </a:cubicBezTo>
                  <a:cubicBezTo>
                    <a:pt x="4580688" y="1897090"/>
                    <a:pt x="4605853" y="1895252"/>
                    <a:pt x="4630856" y="1913167"/>
                  </a:cubicBezTo>
                  <a:cubicBezTo>
                    <a:pt x="4643480" y="1922292"/>
                    <a:pt x="4646077" y="1899798"/>
                    <a:pt x="4660202" y="1902705"/>
                  </a:cubicBezTo>
                  <a:cubicBezTo>
                    <a:pt x="4667184" y="1904076"/>
                    <a:pt x="4720763" y="1928843"/>
                    <a:pt x="4711468" y="1935494"/>
                  </a:cubicBezTo>
                  <a:cubicBezTo>
                    <a:pt x="4712604" y="1934658"/>
                    <a:pt x="4686262" y="1921256"/>
                    <a:pt x="4679767" y="1922125"/>
                  </a:cubicBezTo>
                  <a:cubicBezTo>
                    <a:pt x="4671040" y="1923194"/>
                    <a:pt x="4664952" y="1929110"/>
                    <a:pt x="4657117" y="1931483"/>
                  </a:cubicBezTo>
                  <a:cubicBezTo>
                    <a:pt x="4653830" y="1932452"/>
                    <a:pt x="4657889" y="1935895"/>
                    <a:pt x="4655738" y="1937031"/>
                  </a:cubicBezTo>
                  <a:cubicBezTo>
                    <a:pt x="4653587" y="1938168"/>
                    <a:pt x="4647620" y="1935327"/>
                    <a:pt x="4644616" y="1934993"/>
                  </a:cubicBezTo>
                  <a:cubicBezTo>
                    <a:pt x="4639461" y="1934424"/>
                    <a:pt x="4640070" y="1938937"/>
                    <a:pt x="4634712" y="1938335"/>
                  </a:cubicBezTo>
                  <a:cubicBezTo>
                    <a:pt x="4628502" y="1937767"/>
                    <a:pt x="4619045" y="1932051"/>
                    <a:pt x="4612916" y="1929110"/>
                  </a:cubicBezTo>
                  <a:cubicBezTo>
                    <a:pt x="4605487" y="1925534"/>
                    <a:pt x="4587506" y="1916209"/>
                    <a:pt x="4582717" y="1920219"/>
                  </a:cubicBezTo>
                  <a:cubicBezTo>
                    <a:pt x="4576831" y="1925032"/>
                    <a:pt x="4557511" y="1916509"/>
                    <a:pt x="4548216" y="1917913"/>
                  </a:cubicBezTo>
                  <a:cubicBezTo>
                    <a:pt x="4540098" y="1919150"/>
                    <a:pt x="4527474" y="1915406"/>
                    <a:pt x="4517570" y="1913234"/>
                  </a:cubicBezTo>
                  <a:cubicBezTo>
                    <a:pt x="4498615" y="1909156"/>
                    <a:pt x="4484084" y="1909223"/>
                    <a:pt x="4466955" y="1908588"/>
                  </a:cubicBezTo>
                  <a:cubicBezTo>
                    <a:pt x="4449826" y="1907953"/>
                    <a:pt x="4428678" y="1899864"/>
                    <a:pt x="4411266" y="1895486"/>
                  </a:cubicBezTo>
                  <a:cubicBezTo>
                    <a:pt x="4405177" y="1893982"/>
                    <a:pt x="4386099" y="1880479"/>
                    <a:pt x="4382325" y="1881548"/>
                  </a:cubicBezTo>
                  <a:cubicBezTo>
                    <a:pt x="4379484" y="1882317"/>
                    <a:pt x="4378916" y="1886361"/>
                    <a:pt x="4377454" y="1887999"/>
                  </a:cubicBezTo>
                  <a:cubicBezTo>
                    <a:pt x="4372503" y="1893514"/>
                    <a:pt x="4362760" y="1892678"/>
                    <a:pt x="4352533" y="1892779"/>
                  </a:cubicBezTo>
                  <a:cubicBezTo>
                    <a:pt x="4302323" y="1893447"/>
                    <a:pt x="4287589" y="1931316"/>
                    <a:pt x="4278375" y="1961029"/>
                  </a:cubicBezTo>
                  <a:cubicBezTo>
                    <a:pt x="4276913" y="1965943"/>
                    <a:pt x="4278050" y="1971825"/>
                    <a:pt x="4276061" y="1976471"/>
                  </a:cubicBezTo>
                  <a:cubicBezTo>
                    <a:pt x="4273220" y="1983156"/>
                    <a:pt x="4265792" y="1988270"/>
                    <a:pt x="4264940" y="1995857"/>
                  </a:cubicBezTo>
                  <a:cubicBezTo>
                    <a:pt x="4264696" y="1997996"/>
                    <a:pt x="4262991" y="2012869"/>
                    <a:pt x="4265670" y="2013973"/>
                  </a:cubicBezTo>
                  <a:cubicBezTo>
                    <a:pt x="4277401" y="2018852"/>
                    <a:pt x="4293190" y="2016312"/>
                    <a:pt x="4304230" y="2017850"/>
                  </a:cubicBezTo>
                  <a:cubicBezTo>
                    <a:pt x="4312348" y="2018953"/>
                    <a:pt x="4328584" y="2019822"/>
                    <a:pt x="4333253" y="2016914"/>
                  </a:cubicBezTo>
                  <a:cubicBezTo>
                    <a:pt x="4339381" y="2013237"/>
                    <a:pt x="4340071" y="2005851"/>
                    <a:pt x="4352694" y="2009561"/>
                  </a:cubicBezTo>
                  <a:cubicBezTo>
                    <a:pt x="4365318" y="2013271"/>
                    <a:pt x="4373395" y="2014106"/>
                    <a:pt x="4385775" y="2021392"/>
                  </a:cubicBezTo>
                  <a:cubicBezTo>
                    <a:pt x="4402782" y="2031420"/>
                    <a:pt x="4394177" y="2011633"/>
                    <a:pt x="4401037" y="2009561"/>
                  </a:cubicBezTo>
                  <a:cubicBezTo>
                    <a:pt x="4409398" y="2007087"/>
                    <a:pt x="4426609" y="2012903"/>
                    <a:pt x="4437568" y="2015243"/>
                  </a:cubicBezTo>
                  <a:cubicBezTo>
                    <a:pt x="4451124" y="2018084"/>
                    <a:pt x="4459202" y="2031520"/>
                    <a:pt x="4473611" y="2033325"/>
                  </a:cubicBezTo>
                  <a:cubicBezTo>
                    <a:pt x="4488021" y="2035130"/>
                    <a:pt x="4483677" y="2024534"/>
                    <a:pt x="4481080" y="2016613"/>
                  </a:cubicBezTo>
                  <a:cubicBezTo>
                    <a:pt x="4478807" y="2009928"/>
                    <a:pt x="4501375" y="2010263"/>
                    <a:pt x="4507585" y="2010831"/>
                  </a:cubicBezTo>
                  <a:cubicBezTo>
                    <a:pt x="4520940" y="2011967"/>
                    <a:pt x="4526013" y="2023966"/>
                    <a:pt x="4538270" y="2025704"/>
                  </a:cubicBezTo>
                  <a:cubicBezTo>
                    <a:pt x="4549068" y="2027242"/>
                    <a:pt x="4541396" y="2012535"/>
                    <a:pt x="4533400" y="2008290"/>
                  </a:cubicBezTo>
                  <a:cubicBezTo>
                    <a:pt x="4524795" y="2003711"/>
                    <a:pt x="4539246" y="1997060"/>
                    <a:pt x="4541518" y="1996559"/>
                  </a:cubicBezTo>
                  <a:cubicBezTo>
                    <a:pt x="4547201" y="1995422"/>
                    <a:pt x="4573990" y="2002876"/>
                    <a:pt x="4562787" y="1992314"/>
                  </a:cubicBezTo>
                  <a:cubicBezTo>
                    <a:pt x="4555765" y="1985629"/>
                    <a:pt x="4537540" y="1979245"/>
                    <a:pt x="4536079" y="1972260"/>
                  </a:cubicBezTo>
                  <a:cubicBezTo>
                    <a:pt x="4533725" y="1960996"/>
                    <a:pt x="4551990" y="1960929"/>
                    <a:pt x="4565385" y="1963804"/>
                  </a:cubicBezTo>
                  <a:cubicBezTo>
                    <a:pt x="4584178" y="1967815"/>
                    <a:pt x="4613483" y="1953008"/>
                    <a:pt x="4632521" y="1966043"/>
                  </a:cubicBezTo>
                  <a:cubicBezTo>
                    <a:pt x="4641532" y="1972226"/>
                    <a:pt x="4649203" y="1976638"/>
                    <a:pt x="4651029" y="1983423"/>
                  </a:cubicBezTo>
                  <a:cubicBezTo>
                    <a:pt x="4652369" y="1988403"/>
                    <a:pt x="4677088" y="1987468"/>
                    <a:pt x="4680254" y="1987735"/>
                  </a:cubicBezTo>
                  <a:cubicBezTo>
                    <a:pt x="4721899" y="1991077"/>
                    <a:pt x="4676601" y="2008926"/>
                    <a:pt x="4701239" y="2012970"/>
                  </a:cubicBezTo>
                  <a:cubicBezTo>
                    <a:pt x="4730707" y="2017850"/>
                    <a:pt x="4754817" y="2028278"/>
                    <a:pt x="4781688" y="2048232"/>
                  </a:cubicBezTo>
                  <a:cubicBezTo>
                    <a:pt x="4791632" y="2055618"/>
                    <a:pt x="4800115" y="2062938"/>
                    <a:pt x="4803079" y="2071628"/>
                  </a:cubicBezTo>
                  <a:cubicBezTo>
                    <a:pt x="4806042" y="2080318"/>
                    <a:pt x="4810262" y="2089276"/>
                    <a:pt x="4820572" y="2083527"/>
                  </a:cubicBezTo>
                  <a:cubicBezTo>
                    <a:pt x="4826093" y="2080452"/>
                    <a:pt x="4852639" y="2093253"/>
                    <a:pt x="4861528" y="2095961"/>
                  </a:cubicBezTo>
                  <a:cubicBezTo>
                    <a:pt x="4872041" y="2099303"/>
                    <a:pt x="4887059" y="2105252"/>
                    <a:pt x="4897003" y="2106924"/>
                  </a:cubicBezTo>
                  <a:cubicBezTo>
                    <a:pt x="4923102" y="2111486"/>
                    <a:pt x="4948025" y="2119858"/>
                    <a:pt x="4970512" y="2131690"/>
                  </a:cubicBezTo>
                  <a:cubicBezTo>
                    <a:pt x="4990197" y="2141717"/>
                    <a:pt x="5031599" y="2166351"/>
                    <a:pt x="5050148" y="2165114"/>
                  </a:cubicBezTo>
                  <a:cubicBezTo>
                    <a:pt x="5059849" y="2164512"/>
                    <a:pt x="5058794" y="2166016"/>
                    <a:pt x="5063989" y="2173771"/>
                  </a:cubicBezTo>
                  <a:cubicBezTo>
                    <a:pt x="5069185" y="2181525"/>
                    <a:pt x="5089886" y="2198270"/>
                    <a:pt x="5098937" y="2205556"/>
                  </a:cubicBezTo>
                  <a:cubicBezTo>
                    <a:pt x="5127716" y="2228719"/>
                    <a:pt x="5127959" y="2199707"/>
                    <a:pt x="5123088" y="2187642"/>
                  </a:cubicBezTo>
                  <a:cubicBezTo>
                    <a:pt x="5117040" y="2172768"/>
                    <a:pt x="5137173" y="2167587"/>
                    <a:pt x="5113630" y="2150441"/>
                  </a:cubicBezTo>
                  <a:cubicBezTo>
                    <a:pt x="5100074" y="2140414"/>
                    <a:pt x="5110018" y="2137072"/>
                    <a:pt x="5109571" y="2130654"/>
                  </a:cubicBezTo>
                  <a:cubicBezTo>
                    <a:pt x="5109329" y="2126944"/>
                    <a:pt x="5086395" y="2117753"/>
                    <a:pt x="5082254" y="2109698"/>
                  </a:cubicBezTo>
                  <a:cubicBezTo>
                    <a:pt x="5075517" y="2096529"/>
                    <a:pt x="5101900" y="2112372"/>
                    <a:pt x="5107218" y="2116850"/>
                  </a:cubicBezTo>
                  <a:cubicBezTo>
                    <a:pt x="5120613" y="2128081"/>
                    <a:pt x="5115336" y="2136503"/>
                    <a:pt x="5129014" y="2146932"/>
                  </a:cubicBezTo>
                  <a:cubicBezTo>
                    <a:pt x="5143302" y="2157794"/>
                    <a:pt x="5185069" y="2180355"/>
                    <a:pt x="5199641" y="2180121"/>
                  </a:cubicBezTo>
                  <a:cubicBezTo>
                    <a:pt x="5204024" y="2180121"/>
                    <a:pt x="5221843" y="2180121"/>
                    <a:pt x="5222006" y="2177949"/>
                  </a:cubicBezTo>
                  <a:cubicBezTo>
                    <a:pt x="5222370" y="2173503"/>
                    <a:pt x="5216080" y="2168122"/>
                    <a:pt x="5216119" y="2163844"/>
                  </a:cubicBezTo>
                  <a:cubicBezTo>
                    <a:pt x="5216119" y="2156290"/>
                    <a:pt x="5225780" y="2164613"/>
                    <a:pt x="5231422" y="2165950"/>
                  </a:cubicBezTo>
                  <a:cubicBezTo>
                    <a:pt x="5238606" y="2167654"/>
                    <a:pt x="5253503" y="2171799"/>
                    <a:pt x="5260566" y="2179954"/>
                  </a:cubicBezTo>
                  <a:cubicBezTo>
                    <a:pt x="5261012" y="2180489"/>
                    <a:pt x="5241408" y="2181592"/>
                    <a:pt x="5242463" y="2186639"/>
                  </a:cubicBezTo>
                  <a:cubicBezTo>
                    <a:pt x="5244614" y="2196432"/>
                    <a:pt x="5247456" y="2203150"/>
                    <a:pt x="5260809" y="2212241"/>
                  </a:cubicBezTo>
                  <a:cubicBezTo>
                    <a:pt x="5281429" y="2226346"/>
                    <a:pt x="5311425" y="2243592"/>
                    <a:pt x="5308421" y="2262143"/>
                  </a:cubicBezTo>
                  <a:cubicBezTo>
                    <a:pt x="5306757" y="2272470"/>
                    <a:pt x="5316133" y="2285740"/>
                    <a:pt x="5328473" y="2297538"/>
                  </a:cubicBezTo>
                  <a:cubicBezTo>
                    <a:pt x="5331720" y="2300647"/>
                    <a:pt x="5338823" y="2306329"/>
                    <a:pt x="5338254" y="2309671"/>
                  </a:cubicBezTo>
                  <a:cubicBezTo>
                    <a:pt x="5336874" y="2317726"/>
                    <a:pt x="5346616" y="2320935"/>
                    <a:pt x="5353313" y="2328355"/>
                  </a:cubicBezTo>
                  <a:cubicBezTo>
                    <a:pt x="5358590" y="2334171"/>
                    <a:pt x="5372188" y="2346036"/>
                    <a:pt x="5380468" y="2348242"/>
                  </a:cubicBezTo>
                  <a:cubicBezTo>
                    <a:pt x="5390940" y="2351016"/>
                    <a:pt x="5370564" y="2331998"/>
                    <a:pt x="5376409" y="2332065"/>
                  </a:cubicBezTo>
                  <a:cubicBezTo>
                    <a:pt x="5382254" y="2332131"/>
                    <a:pt x="5387977" y="2350080"/>
                    <a:pt x="5392645" y="2343730"/>
                  </a:cubicBezTo>
                  <a:cubicBezTo>
                    <a:pt x="5395973" y="2339117"/>
                    <a:pt x="5402832" y="2340387"/>
                    <a:pt x="5406283" y="2335307"/>
                  </a:cubicBezTo>
                  <a:cubicBezTo>
                    <a:pt x="5407987" y="2332733"/>
                    <a:pt x="5405958" y="2317459"/>
                    <a:pt x="5413670" y="2324210"/>
                  </a:cubicBezTo>
                  <a:cubicBezTo>
                    <a:pt x="5414563" y="2324912"/>
                    <a:pt x="5446142" y="2363583"/>
                    <a:pt x="5448699" y="2358703"/>
                  </a:cubicBezTo>
                  <a:cubicBezTo>
                    <a:pt x="5450525" y="2355361"/>
                    <a:pt x="5439688" y="2348142"/>
                    <a:pt x="5440865" y="2345869"/>
                  </a:cubicBezTo>
                  <a:cubicBezTo>
                    <a:pt x="5443098" y="2341591"/>
                    <a:pt x="5457710" y="2367594"/>
                    <a:pt x="5463717" y="2364920"/>
                  </a:cubicBezTo>
                  <a:cubicBezTo>
                    <a:pt x="5469238" y="2363082"/>
                    <a:pt x="5475489" y="2363583"/>
                    <a:pt x="5480481" y="2366224"/>
                  </a:cubicBezTo>
                  <a:cubicBezTo>
                    <a:pt x="5483688" y="2367761"/>
                    <a:pt x="5503658" y="2382200"/>
                    <a:pt x="5492658" y="2368864"/>
                  </a:cubicBezTo>
                  <a:close/>
                  <a:moveTo>
                    <a:pt x="2856475" y="1286441"/>
                  </a:moveTo>
                  <a:cubicBezTo>
                    <a:pt x="2831552" y="1288246"/>
                    <a:pt x="2802856" y="1279757"/>
                    <a:pt x="2777162" y="1279757"/>
                  </a:cubicBezTo>
                  <a:cubicBezTo>
                    <a:pt x="2767542" y="1279757"/>
                    <a:pt x="2768314" y="1283634"/>
                    <a:pt x="2761576" y="1285305"/>
                  </a:cubicBezTo>
                  <a:cubicBezTo>
                    <a:pt x="2752768" y="1287477"/>
                    <a:pt x="2738277" y="1284536"/>
                    <a:pt x="2727643" y="1282230"/>
                  </a:cubicBezTo>
                  <a:cubicBezTo>
                    <a:pt x="2722041" y="1280960"/>
                    <a:pt x="2676987" y="1266253"/>
                    <a:pt x="2697931" y="1269061"/>
                  </a:cubicBezTo>
                  <a:cubicBezTo>
                    <a:pt x="2724843" y="1272637"/>
                    <a:pt x="2743432" y="1276247"/>
                    <a:pt x="2764052" y="1269696"/>
                  </a:cubicBezTo>
                  <a:cubicBezTo>
                    <a:pt x="2785280" y="1263011"/>
                    <a:pt x="2818442" y="1267557"/>
                    <a:pt x="2843324" y="1264883"/>
                  </a:cubicBezTo>
                  <a:cubicBezTo>
                    <a:pt x="2872061" y="1261808"/>
                    <a:pt x="2886389" y="1244829"/>
                    <a:pt x="2914964" y="1242790"/>
                  </a:cubicBezTo>
                  <a:cubicBezTo>
                    <a:pt x="2931200" y="1241687"/>
                    <a:pt x="2908998" y="1262243"/>
                    <a:pt x="2907253" y="1263646"/>
                  </a:cubicBezTo>
                  <a:cubicBezTo>
                    <a:pt x="2895360" y="1273172"/>
                    <a:pt x="2879205" y="1284904"/>
                    <a:pt x="2856475" y="1286575"/>
                  </a:cubicBezTo>
                  <a:close/>
                  <a:moveTo>
                    <a:pt x="3272236" y="790669"/>
                  </a:moveTo>
                  <a:cubicBezTo>
                    <a:pt x="3267771" y="792273"/>
                    <a:pt x="3239764" y="784285"/>
                    <a:pt x="3250521" y="792875"/>
                  </a:cubicBezTo>
                  <a:cubicBezTo>
                    <a:pt x="3261276" y="801465"/>
                    <a:pt x="3282342" y="807348"/>
                    <a:pt x="3296224" y="809587"/>
                  </a:cubicBezTo>
                  <a:cubicBezTo>
                    <a:pt x="3335597" y="816272"/>
                    <a:pt x="3286604" y="785355"/>
                    <a:pt x="3272236" y="790536"/>
                  </a:cubicBezTo>
                  <a:close/>
                  <a:moveTo>
                    <a:pt x="1454951" y="46493"/>
                  </a:moveTo>
                  <a:cubicBezTo>
                    <a:pt x="1468386" y="48699"/>
                    <a:pt x="1471918" y="46493"/>
                    <a:pt x="1482227" y="45189"/>
                  </a:cubicBezTo>
                  <a:cubicBezTo>
                    <a:pt x="1491725" y="43853"/>
                    <a:pt x="1507758" y="49568"/>
                    <a:pt x="1518393" y="50404"/>
                  </a:cubicBezTo>
                  <a:cubicBezTo>
                    <a:pt x="1529027" y="51239"/>
                    <a:pt x="1528094" y="47061"/>
                    <a:pt x="1519813" y="44321"/>
                  </a:cubicBezTo>
                  <a:cubicBezTo>
                    <a:pt x="1508367" y="40908"/>
                    <a:pt x="1496474" y="38512"/>
                    <a:pt x="1484419" y="37168"/>
                  </a:cubicBezTo>
                  <a:cubicBezTo>
                    <a:pt x="1477397" y="36232"/>
                    <a:pt x="1467087" y="34628"/>
                    <a:pt x="1460715" y="35630"/>
                  </a:cubicBezTo>
                  <a:cubicBezTo>
                    <a:pt x="1456656" y="36265"/>
                    <a:pt x="1462501" y="38505"/>
                    <a:pt x="1455600" y="38271"/>
                  </a:cubicBezTo>
                  <a:cubicBezTo>
                    <a:pt x="1451542" y="38104"/>
                    <a:pt x="1408191" y="32923"/>
                    <a:pt x="1408110" y="32756"/>
                  </a:cubicBezTo>
                  <a:cubicBezTo>
                    <a:pt x="1411276" y="39508"/>
                    <a:pt x="1444803" y="44822"/>
                    <a:pt x="1454951" y="46493"/>
                  </a:cubicBezTo>
                  <a:close/>
                  <a:moveTo>
                    <a:pt x="1311507" y="58325"/>
                  </a:moveTo>
                  <a:cubicBezTo>
                    <a:pt x="1313293" y="50303"/>
                    <a:pt x="1254397" y="50671"/>
                    <a:pt x="1265072" y="53980"/>
                  </a:cubicBezTo>
                  <a:cubicBezTo>
                    <a:pt x="1274610" y="56888"/>
                    <a:pt x="1309761" y="66213"/>
                    <a:pt x="1311547" y="58325"/>
                  </a:cubicBezTo>
                  <a:close/>
                  <a:moveTo>
                    <a:pt x="1453896" y="74101"/>
                  </a:moveTo>
                  <a:cubicBezTo>
                    <a:pt x="1457589" y="81220"/>
                    <a:pt x="1376775" y="65778"/>
                    <a:pt x="1401373" y="80451"/>
                  </a:cubicBezTo>
                  <a:cubicBezTo>
                    <a:pt x="1416147" y="89175"/>
                    <a:pt x="1462257" y="93988"/>
                    <a:pt x="1479589" y="91448"/>
                  </a:cubicBezTo>
                  <a:cubicBezTo>
                    <a:pt x="1488721" y="90011"/>
                    <a:pt x="1544939" y="94389"/>
                    <a:pt x="1512669" y="84329"/>
                  </a:cubicBezTo>
                  <a:cubicBezTo>
                    <a:pt x="1508002" y="82824"/>
                    <a:pt x="1452029" y="70424"/>
                    <a:pt x="1453896" y="74101"/>
                  </a:cubicBezTo>
                  <a:cubicBezTo>
                    <a:pt x="1456250" y="78747"/>
                    <a:pt x="1451623" y="69589"/>
                    <a:pt x="1453936" y="74101"/>
                  </a:cubicBezTo>
                  <a:close/>
                  <a:moveTo>
                    <a:pt x="1642679" y="97130"/>
                  </a:moveTo>
                  <a:cubicBezTo>
                    <a:pt x="1653232" y="93487"/>
                    <a:pt x="1612114" y="78747"/>
                    <a:pt x="1604118" y="77076"/>
                  </a:cubicBezTo>
                  <a:cubicBezTo>
                    <a:pt x="1594620" y="75037"/>
                    <a:pt x="1580860" y="71962"/>
                    <a:pt x="1571646" y="72697"/>
                  </a:cubicBezTo>
                  <a:cubicBezTo>
                    <a:pt x="1566695" y="73098"/>
                    <a:pt x="1564178" y="77009"/>
                    <a:pt x="1556994" y="77744"/>
                  </a:cubicBezTo>
                  <a:cubicBezTo>
                    <a:pt x="1552123" y="78245"/>
                    <a:pt x="1532640" y="78647"/>
                    <a:pt x="1534669" y="82657"/>
                  </a:cubicBezTo>
                  <a:cubicBezTo>
                    <a:pt x="1537226" y="88072"/>
                    <a:pt x="1559023" y="92217"/>
                    <a:pt x="1567669" y="93687"/>
                  </a:cubicBezTo>
                  <a:cubicBezTo>
                    <a:pt x="1586746" y="97030"/>
                    <a:pt x="1627741" y="102277"/>
                    <a:pt x="1642841" y="97030"/>
                  </a:cubicBezTo>
                  <a:close/>
                  <a:moveTo>
                    <a:pt x="1471187" y="58960"/>
                  </a:moveTo>
                  <a:cubicBezTo>
                    <a:pt x="1475246" y="52275"/>
                    <a:pt x="1454139" y="50303"/>
                    <a:pt x="1444641" y="48933"/>
                  </a:cubicBezTo>
                  <a:cubicBezTo>
                    <a:pt x="1421789" y="45591"/>
                    <a:pt x="1405999" y="38104"/>
                    <a:pt x="1384487" y="33525"/>
                  </a:cubicBezTo>
                  <a:cubicBezTo>
                    <a:pt x="1364720" y="29313"/>
                    <a:pt x="1387004" y="39975"/>
                    <a:pt x="1382052" y="41045"/>
                  </a:cubicBezTo>
                  <a:cubicBezTo>
                    <a:pt x="1373122" y="42917"/>
                    <a:pt x="1358306" y="41045"/>
                    <a:pt x="1348078" y="41246"/>
                  </a:cubicBezTo>
                  <a:cubicBezTo>
                    <a:pt x="1320599" y="41981"/>
                    <a:pt x="1388668" y="56587"/>
                    <a:pt x="1396014" y="57690"/>
                  </a:cubicBezTo>
                  <a:cubicBezTo>
                    <a:pt x="1410789" y="59796"/>
                    <a:pt x="1465707" y="68185"/>
                    <a:pt x="1471187" y="58960"/>
                  </a:cubicBezTo>
                  <a:close/>
                  <a:moveTo>
                    <a:pt x="1246888" y="308501"/>
                  </a:moveTo>
                  <a:cubicBezTo>
                    <a:pt x="1246888" y="318528"/>
                    <a:pt x="1213239" y="310472"/>
                    <a:pt x="1212549" y="313180"/>
                  </a:cubicBezTo>
                  <a:cubicBezTo>
                    <a:pt x="1211656" y="316856"/>
                    <a:pt x="1228095" y="321837"/>
                    <a:pt x="1228785" y="326282"/>
                  </a:cubicBezTo>
                  <a:cubicBezTo>
                    <a:pt x="1229475" y="330727"/>
                    <a:pt x="1212224" y="327753"/>
                    <a:pt x="1207840" y="330460"/>
                  </a:cubicBezTo>
                  <a:cubicBezTo>
                    <a:pt x="1200494" y="334939"/>
                    <a:pt x="1202361" y="336777"/>
                    <a:pt x="1186937" y="335006"/>
                  </a:cubicBezTo>
                  <a:cubicBezTo>
                    <a:pt x="1173258" y="333435"/>
                    <a:pt x="1157955" y="332666"/>
                    <a:pt x="1157753" y="341155"/>
                  </a:cubicBezTo>
                  <a:cubicBezTo>
                    <a:pt x="1157753" y="347840"/>
                    <a:pt x="1176261" y="350113"/>
                    <a:pt x="1186166" y="351684"/>
                  </a:cubicBezTo>
                  <a:cubicBezTo>
                    <a:pt x="1203254" y="354391"/>
                    <a:pt x="1196435" y="355628"/>
                    <a:pt x="1193391" y="361210"/>
                  </a:cubicBezTo>
                  <a:cubicBezTo>
                    <a:pt x="1191280" y="365154"/>
                    <a:pt x="1209342" y="373710"/>
                    <a:pt x="1212711" y="369198"/>
                  </a:cubicBezTo>
                  <a:cubicBezTo>
                    <a:pt x="1215228" y="365855"/>
                    <a:pt x="1204228" y="356597"/>
                    <a:pt x="1220017" y="361276"/>
                  </a:cubicBezTo>
                  <a:cubicBezTo>
                    <a:pt x="1227770" y="363583"/>
                    <a:pt x="1237268" y="367694"/>
                    <a:pt x="1240312" y="371972"/>
                  </a:cubicBezTo>
                  <a:cubicBezTo>
                    <a:pt x="1243356" y="376250"/>
                    <a:pt x="1229069" y="376350"/>
                    <a:pt x="1234427" y="380863"/>
                  </a:cubicBezTo>
                  <a:cubicBezTo>
                    <a:pt x="1247010" y="391391"/>
                    <a:pt x="1286260" y="396271"/>
                    <a:pt x="1306595" y="400917"/>
                  </a:cubicBezTo>
                  <a:cubicBezTo>
                    <a:pt x="1315241" y="402822"/>
                    <a:pt x="1367480" y="416826"/>
                    <a:pt x="1371011" y="409607"/>
                  </a:cubicBezTo>
                  <a:cubicBezTo>
                    <a:pt x="1373162" y="405095"/>
                    <a:pt x="1353882" y="397240"/>
                    <a:pt x="1348240" y="394132"/>
                  </a:cubicBezTo>
                  <a:cubicBezTo>
                    <a:pt x="1332004" y="385308"/>
                    <a:pt x="1318164" y="375548"/>
                    <a:pt x="1311426" y="364619"/>
                  </a:cubicBezTo>
                  <a:cubicBezTo>
                    <a:pt x="1299249" y="344765"/>
                    <a:pt x="1330990" y="347272"/>
                    <a:pt x="1341583" y="334337"/>
                  </a:cubicBezTo>
                  <a:cubicBezTo>
                    <a:pt x="1347064" y="327652"/>
                    <a:pt x="1366952" y="328354"/>
                    <a:pt x="1374542" y="322238"/>
                  </a:cubicBezTo>
                  <a:cubicBezTo>
                    <a:pt x="1376775" y="320433"/>
                    <a:pt x="1378114" y="317893"/>
                    <a:pt x="1381889" y="316723"/>
                  </a:cubicBezTo>
                  <a:cubicBezTo>
                    <a:pt x="1387450" y="314985"/>
                    <a:pt x="1399140" y="318695"/>
                    <a:pt x="1402509" y="315586"/>
                  </a:cubicBezTo>
                  <a:cubicBezTo>
                    <a:pt x="1409693" y="308902"/>
                    <a:pt x="1402834" y="309236"/>
                    <a:pt x="1421789" y="308467"/>
                  </a:cubicBezTo>
                  <a:cubicBezTo>
                    <a:pt x="1433073" y="307999"/>
                    <a:pt x="1440826" y="303153"/>
                    <a:pt x="1441028" y="297571"/>
                  </a:cubicBezTo>
                  <a:cubicBezTo>
                    <a:pt x="1441232" y="291989"/>
                    <a:pt x="1452840" y="296134"/>
                    <a:pt x="1462744" y="296836"/>
                  </a:cubicBezTo>
                  <a:cubicBezTo>
                    <a:pt x="1470618" y="297437"/>
                    <a:pt x="1474434" y="295566"/>
                    <a:pt x="1481334" y="295064"/>
                  </a:cubicBezTo>
                  <a:cubicBezTo>
                    <a:pt x="1490061" y="294396"/>
                    <a:pt x="1499884" y="296134"/>
                    <a:pt x="1508976" y="296568"/>
                  </a:cubicBezTo>
                  <a:cubicBezTo>
                    <a:pt x="1525212" y="297337"/>
                    <a:pt x="1544695" y="290586"/>
                    <a:pt x="1562392" y="290118"/>
                  </a:cubicBezTo>
                  <a:cubicBezTo>
                    <a:pt x="1597218" y="289182"/>
                    <a:pt x="1633302" y="290118"/>
                    <a:pt x="1669265" y="291989"/>
                  </a:cubicBezTo>
                  <a:cubicBezTo>
                    <a:pt x="1689884" y="292491"/>
                    <a:pt x="1862310" y="309436"/>
                    <a:pt x="1838727" y="287811"/>
                  </a:cubicBezTo>
                  <a:cubicBezTo>
                    <a:pt x="1823181" y="273372"/>
                    <a:pt x="1772972" y="271935"/>
                    <a:pt x="1750363" y="271801"/>
                  </a:cubicBezTo>
                  <a:cubicBezTo>
                    <a:pt x="1737699" y="271801"/>
                    <a:pt x="1726496" y="273740"/>
                    <a:pt x="1714116" y="273773"/>
                  </a:cubicBezTo>
                  <a:cubicBezTo>
                    <a:pt x="1694836" y="273773"/>
                    <a:pt x="1675232" y="268259"/>
                    <a:pt x="1655464" y="268492"/>
                  </a:cubicBezTo>
                  <a:cubicBezTo>
                    <a:pt x="1638011" y="268820"/>
                    <a:pt x="1620598" y="266938"/>
                    <a:pt x="1603834" y="262911"/>
                  </a:cubicBezTo>
                  <a:cubicBezTo>
                    <a:pt x="1582443" y="257362"/>
                    <a:pt x="1577572" y="252884"/>
                    <a:pt x="1554355" y="254455"/>
                  </a:cubicBezTo>
                  <a:cubicBezTo>
                    <a:pt x="1522452" y="256761"/>
                    <a:pt x="1484784" y="248505"/>
                    <a:pt x="1452881" y="251112"/>
                  </a:cubicBezTo>
                  <a:cubicBezTo>
                    <a:pt x="1442449" y="251914"/>
                    <a:pt x="1438674" y="255591"/>
                    <a:pt x="1427309" y="255190"/>
                  </a:cubicBezTo>
                  <a:cubicBezTo>
                    <a:pt x="1410546" y="254622"/>
                    <a:pt x="1411966" y="261106"/>
                    <a:pt x="1397394" y="261373"/>
                  </a:cubicBezTo>
                  <a:cubicBezTo>
                    <a:pt x="1385217" y="261607"/>
                    <a:pt x="1364923" y="249007"/>
                    <a:pt x="1361878" y="259301"/>
                  </a:cubicBezTo>
                  <a:cubicBezTo>
                    <a:pt x="1360296" y="265150"/>
                    <a:pt x="1378764" y="271701"/>
                    <a:pt x="1360417" y="272336"/>
                  </a:cubicBezTo>
                  <a:cubicBezTo>
                    <a:pt x="1340975" y="273038"/>
                    <a:pt x="1338824" y="278720"/>
                    <a:pt x="1331355" y="286174"/>
                  </a:cubicBezTo>
                  <a:cubicBezTo>
                    <a:pt x="1325916" y="291588"/>
                    <a:pt x="1296854" y="284837"/>
                    <a:pt x="1286707" y="287912"/>
                  </a:cubicBezTo>
                  <a:cubicBezTo>
                    <a:pt x="1267710" y="293660"/>
                    <a:pt x="1295677" y="296000"/>
                    <a:pt x="1298275" y="299510"/>
                  </a:cubicBezTo>
                  <a:cubicBezTo>
                    <a:pt x="1295677" y="296167"/>
                    <a:pt x="1279076" y="307865"/>
                    <a:pt x="1279076" y="307899"/>
                  </a:cubicBezTo>
                  <a:cubicBezTo>
                    <a:pt x="1274083" y="311241"/>
                    <a:pt x="1246604" y="304055"/>
                    <a:pt x="1246604" y="308567"/>
                  </a:cubicBezTo>
                  <a:cubicBezTo>
                    <a:pt x="1246888" y="313614"/>
                    <a:pt x="1247010" y="303387"/>
                    <a:pt x="1246969" y="30850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2CE57097-2D2E-413A-BA81-9FC948FCCEB8}"/>
                </a:ext>
              </a:extLst>
            </p:cNvPr>
            <p:cNvSpPr/>
            <p:nvPr/>
          </p:nvSpPr>
          <p:spPr>
            <a:xfrm>
              <a:off x="6153312" y="4766402"/>
              <a:ext cx="517470" cy="329058"/>
            </a:xfrm>
            <a:custGeom>
              <a:avLst/>
              <a:gdLst>
                <a:gd name="connsiteX0" fmla="*/ 459498 w 517470"/>
                <a:gd name="connsiteY0" fmla="*/ 218146 h 329058"/>
                <a:gd name="connsiteX1" fmla="*/ 448823 w 517470"/>
                <a:gd name="connsiteY1" fmla="*/ 184722 h 329058"/>
                <a:gd name="connsiteX2" fmla="*/ 449310 w 517470"/>
                <a:gd name="connsiteY2" fmla="*/ 164133 h 329058"/>
                <a:gd name="connsiteX3" fmla="*/ 455439 w 517470"/>
                <a:gd name="connsiteY3" fmla="*/ 156212 h 329058"/>
                <a:gd name="connsiteX4" fmla="*/ 450040 w 517470"/>
                <a:gd name="connsiteY4" fmla="*/ 141037 h 329058"/>
                <a:gd name="connsiteX5" fmla="*/ 461528 w 517470"/>
                <a:gd name="connsiteY5" fmla="*/ 122354 h 329058"/>
                <a:gd name="connsiteX6" fmla="*/ 470863 w 517470"/>
                <a:gd name="connsiteY6" fmla="*/ 108984 h 329058"/>
                <a:gd name="connsiteX7" fmla="*/ 480523 w 517470"/>
                <a:gd name="connsiteY7" fmla="*/ 88061 h 329058"/>
                <a:gd name="connsiteX8" fmla="*/ 511615 w 517470"/>
                <a:gd name="connsiteY8" fmla="*/ 67773 h 329058"/>
                <a:gd name="connsiteX9" fmla="*/ 513685 w 517470"/>
                <a:gd name="connsiteY9" fmla="*/ 57746 h 329058"/>
                <a:gd name="connsiteX10" fmla="*/ 511575 w 517470"/>
                <a:gd name="connsiteY10" fmla="*/ 44176 h 329058"/>
                <a:gd name="connsiteX11" fmla="*/ 485272 w 517470"/>
                <a:gd name="connsiteY11" fmla="*/ 21114 h 329058"/>
                <a:gd name="connsiteX12" fmla="*/ 469929 w 517470"/>
                <a:gd name="connsiteY12" fmla="*/ 20412 h 329058"/>
                <a:gd name="connsiteX13" fmla="*/ 452719 w 517470"/>
                <a:gd name="connsiteY13" fmla="*/ 18941 h 329058"/>
                <a:gd name="connsiteX14" fmla="*/ 416554 w 517470"/>
                <a:gd name="connsiteY14" fmla="*/ 3967 h 329058"/>
                <a:gd name="connsiteX15" fmla="*/ 394838 w 517470"/>
                <a:gd name="connsiteY15" fmla="*/ 5338 h 329058"/>
                <a:gd name="connsiteX16" fmla="*/ 360905 w 517470"/>
                <a:gd name="connsiteY16" fmla="*/ 4435 h 329058"/>
                <a:gd name="connsiteX17" fmla="*/ 341301 w 517470"/>
                <a:gd name="connsiteY17" fmla="*/ 2998 h 329058"/>
                <a:gd name="connsiteX18" fmla="*/ 305298 w 517470"/>
                <a:gd name="connsiteY18" fmla="*/ 7276 h 329058"/>
                <a:gd name="connsiteX19" fmla="*/ 285287 w 517470"/>
                <a:gd name="connsiteY19" fmla="*/ 7911 h 329058"/>
                <a:gd name="connsiteX20" fmla="*/ 278346 w 517470"/>
                <a:gd name="connsiteY20" fmla="*/ 17136 h 329058"/>
                <a:gd name="connsiteX21" fmla="*/ 221845 w 517470"/>
                <a:gd name="connsiteY21" fmla="*/ 6507 h 329058"/>
                <a:gd name="connsiteX22" fmla="*/ 180727 w 517470"/>
                <a:gd name="connsiteY22" fmla="*/ 6307 h 329058"/>
                <a:gd name="connsiteX23" fmla="*/ 171757 w 517470"/>
                <a:gd name="connsiteY23" fmla="*/ 22350 h 329058"/>
                <a:gd name="connsiteX24" fmla="*/ 157591 w 517470"/>
                <a:gd name="connsiteY24" fmla="*/ 50326 h 329058"/>
                <a:gd name="connsiteX25" fmla="*/ 140381 w 517470"/>
                <a:gd name="connsiteY25" fmla="*/ 82112 h 329058"/>
                <a:gd name="connsiteX26" fmla="*/ 119315 w 517470"/>
                <a:gd name="connsiteY26" fmla="*/ 105207 h 329058"/>
                <a:gd name="connsiteX27" fmla="*/ 106854 w 517470"/>
                <a:gd name="connsiteY27" fmla="*/ 134988 h 329058"/>
                <a:gd name="connsiteX28" fmla="*/ 102389 w 517470"/>
                <a:gd name="connsiteY28" fmla="*/ 147221 h 329058"/>
                <a:gd name="connsiteX29" fmla="*/ 95246 w 517470"/>
                <a:gd name="connsiteY29" fmla="*/ 157248 h 329058"/>
                <a:gd name="connsiteX30" fmla="*/ 83069 w 517470"/>
                <a:gd name="connsiteY30" fmla="*/ 160590 h 329058"/>
                <a:gd name="connsiteX31" fmla="*/ 66833 w 517470"/>
                <a:gd name="connsiteY31" fmla="*/ 163264 h 329058"/>
                <a:gd name="connsiteX32" fmla="*/ 50921 w 517470"/>
                <a:gd name="connsiteY32" fmla="*/ 159588 h 329058"/>
                <a:gd name="connsiteX33" fmla="*/ 25877 w 517470"/>
                <a:gd name="connsiteY33" fmla="*/ 160724 h 329058"/>
                <a:gd name="connsiteX34" fmla="*/ -60 w 517470"/>
                <a:gd name="connsiteY34" fmla="*/ 169080 h 329058"/>
                <a:gd name="connsiteX35" fmla="*/ 10291 w 517470"/>
                <a:gd name="connsiteY35" fmla="*/ 189669 h 329058"/>
                <a:gd name="connsiteX36" fmla="*/ 109452 w 517470"/>
                <a:gd name="connsiteY36" fmla="*/ 185491 h 329058"/>
                <a:gd name="connsiteX37" fmla="*/ 123049 w 517470"/>
                <a:gd name="connsiteY37" fmla="*/ 206514 h 329058"/>
                <a:gd name="connsiteX38" fmla="*/ 142695 w 517470"/>
                <a:gd name="connsiteY38" fmla="*/ 224296 h 329058"/>
                <a:gd name="connsiteX39" fmla="*/ 184381 w 517470"/>
                <a:gd name="connsiteY39" fmla="*/ 222023 h 329058"/>
                <a:gd name="connsiteX40" fmla="*/ 193189 w 517470"/>
                <a:gd name="connsiteY40" fmla="*/ 208653 h 329058"/>
                <a:gd name="connsiteX41" fmla="*/ 217786 w 517470"/>
                <a:gd name="connsiteY41" fmla="*/ 207784 h 329058"/>
                <a:gd name="connsiteX42" fmla="*/ 237553 w 517470"/>
                <a:gd name="connsiteY42" fmla="*/ 211962 h 329058"/>
                <a:gd name="connsiteX43" fmla="*/ 251029 w 517470"/>
                <a:gd name="connsiteY43" fmla="*/ 226267 h 329058"/>
                <a:gd name="connsiteX44" fmla="*/ 251963 w 517470"/>
                <a:gd name="connsiteY44" fmla="*/ 255079 h 329058"/>
                <a:gd name="connsiteX45" fmla="*/ 258538 w 517470"/>
                <a:gd name="connsiteY45" fmla="*/ 272960 h 329058"/>
                <a:gd name="connsiteX46" fmla="*/ 274774 w 517470"/>
                <a:gd name="connsiteY46" fmla="*/ 276303 h 329058"/>
                <a:gd name="connsiteX47" fmla="*/ 311305 w 517470"/>
                <a:gd name="connsiteY47" fmla="*/ 279144 h 329058"/>
                <a:gd name="connsiteX48" fmla="*/ 328515 w 517470"/>
                <a:gd name="connsiteY48" fmla="*/ 283622 h 329058"/>
                <a:gd name="connsiteX49" fmla="*/ 341179 w 517470"/>
                <a:gd name="connsiteY49" fmla="*/ 293349 h 329058"/>
                <a:gd name="connsiteX50" fmla="*/ 372798 w 517470"/>
                <a:gd name="connsiteY50" fmla="*/ 299632 h 329058"/>
                <a:gd name="connsiteX51" fmla="*/ 391185 w 517470"/>
                <a:gd name="connsiteY51" fmla="*/ 298195 h 329058"/>
                <a:gd name="connsiteX52" fmla="*/ 417325 w 517470"/>
                <a:gd name="connsiteY52" fmla="*/ 307387 h 329058"/>
                <a:gd name="connsiteX53" fmla="*/ 452314 w 517470"/>
                <a:gd name="connsiteY53" fmla="*/ 325469 h 329058"/>
                <a:gd name="connsiteX54" fmla="*/ 454018 w 517470"/>
                <a:gd name="connsiteY54" fmla="*/ 306651 h 329058"/>
                <a:gd name="connsiteX55" fmla="*/ 428569 w 517470"/>
                <a:gd name="connsiteY55" fmla="*/ 305013 h 329058"/>
                <a:gd name="connsiteX56" fmla="*/ 419355 w 517470"/>
                <a:gd name="connsiteY56" fmla="*/ 290909 h 329058"/>
                <a:gd name="connsiteX57" fmla="*/ 429177 w 517470"/>
                <a:gd name="connsiteY57" fmla="*/ 270454 h 329058"/>
                <a:gd name="connsiteX58" fmla="*/ 428690 w 517470"/>
                <a:gd name="connsiteY58" fmla="*/ 254644 h 329058"/>
                <a:gd name="connsiteX59" fmla="*/ 436524 w 517470"/>
                <a:gd name="connsiteY59" fmla="*/ 246422 h 329058"/>
                <a:gd name="connsiteX60" fmla="*/ 441922 w 517470"/>
                <a:gd name="connsiteY60" fmla="*/ 240673 h 329058"/>
                <a:gd name="connsiteX61" fmla="*/ 475003 w 517470"/>
                <a:gd name="connsiteY61" fmla="*/ 239704 h 329058"/>
                <a:gd name="connsiteX62" fmla="*/ 459863 w 517470"/>
                <a:gd name="connsiteY62" fmla="*/ 217878 h 329058"/>
                <a:gd name="connsiteX63" fmla="*/ 459498 w 517470"/>
                <a:gd name="connsiteY63" fmla="*/ 218146 h 32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17470" h="329058">
                  <a:moveTo>
                    <a:pt x="459498" y="218146"/>
                  </a:moveTo>
                  <a:cubicBezTo>
                    <a:pt x="447321" y="213165"/>
                    <a:pt x="449269" y="192008"/>
                    <a:pt x="448823" y="184722"/>
                  </a:cubicBezTo>
                  <a:cubicBezTo>
                    <a:pt x="448336" y="177860"/>
                    <a:pt x="448498" y="170975"/>
                    <a:pt x="449310" y="164133"/>
                  </a:cubicBezTo>
                  <a:cubicBezTo>
                    <a:pt x="449310" y="163197"/>
                    <a:pt x="451948" y="150363"/>
                    <a:pt x="455439" y="156212"/>
                  </a:cubicBezTo>
                  <a:cubicBezTo>
                    <a:pt x="455439" y="148892"/>
                    <a:pt x="456291" y="146185"/>
                    <a:pt x="450040" y="141037"/>
                  </a:cubicBezTo>
                  <a:cubicBezTo>
                    <a:pt x="447970" y="139366"/>
                    <a:pt x="457022" y="123056"/>
                    <a:pt x="461528" y="122354"/>
                  </a:cubicBezTo>
                  <a:cubicBezTo>
                    <a:pt x="469645" y="121184"/>
                    <a:pt x="470498" y="112828"/>
                    <a:pt x="470863" y="108984"/>
                  </a:cubicBezTo>
                  <a:cubicBezTo>
                    <a:pt x="471553" y="101430"/>
                    <a:pt x="477560" y="95180"/>
                    <a:pt x="480523" y="88061"/>
                  </a:cubicBezTo>
                  <a:cubicBezTo>
                    <a:pt x="484826" y="77733"/>
                    <a:pt x="501224" y="74424"/>
                    <a:pt x="511615" y="67773"/>
                  </a:cubicBezTo>
                  <a:cubicBezTo>
                    <a:pt x="516973" y="64430"/>
                    <a:pt x="520423" y="61723"/>
                    <a:pt x="513685" y="57746"/>
                  </a:cubicBezTo>
                  <a:cubicBezTo>
                    <a:pt x="506947" y="53768"/>
                    <a:pt x="510154" y="48855"/>
                    <a:pt x="511575" y="44176"/>
                  </a:cubicBezTo>
                  <a:cubicBezTo>
                    <a:pt x="514700" y="33881"/>
                    <a:pt x="498302" y="28266"/>
                    <a:pt x="485272" y="21114"/>
                  </a:cubicBezTo>
                  <a:cubicBezTo>
                    <a:pt x="480686" y="18600"/>
                    <a:pt x="474800" y="18333"/>
                    <a:pt x="469929" y="20412"/>
                  </a:cubicBezTo>
                  <a:cubicBezTo>
                    <a:pt x="465180" y="21982"/>
                    <a:pt x="460391" y="15031"/>
                    <a:pt x="452719" y="18941"/>
                  </a:cubicBezTo>
                  <a:cubicBezTo>
                    <a:pt x="436483" y="27230"/>
                    <a:pt x="425037" y="7142"/>
                    <a:pt x="416554" y="3967"/>
                  </a:cubicBezTo>
                  <a:cubicBezTo>
                    <a:pt x="414524" y="4870"/>
                    <a:pt x="399182" y="6909"/>
                    <a:pt x="394838" y="5338"/>
                  </a:cubicBezTo>
                  <a:cubicBezTo>
                    <a:pt x="380023" y="-10"/>
                    <a:pt x="373407" y="-846"/>
                    <a:pt x="360905" y="4435"/>
                  </a:cubicBezTo>
                  <a:cubicBezTo>
                    <a:pt x="355994" y="6507"/>
                    <a:pt x="346577" y="3232"/>
                    <a:pt x="341301" y="2998"/>
                  </a:cubicBezTo>
                  <a:cubicBezTo>
                    <a:pt x="328596" y="2430"/>
                    <a:pt x="316947" y="8145"/>
                    <a:pt x="305298" y="7276"/>
                  </a:cubicBezTo>
                  <a:cubicBezTo>
                    <a:pt x="298397" y="6775"/>
                    <a:pt x="290238" y="3533"/>
                    <a:pt x="285287" y="7911"/>
                  </a:cubicBezTo>
                  <a:cubicBezTo>
                    <a:pt x="284231" y="8847"/>
                    <a:pt x="278914" y="17236"/>
                    <a:pt x="278346" y="17136"/>
                  </a:cubicBezTo>
                  <a:cubicBezTo>
                    <a:pt x="263003" y="14763"/>
                    <a:pt x="231870" y="13994"/>
                    <a:pt x="221845" y="6507"/>
                  </a:cubicBezTo>
                  <a:cubicBezTo>
                    <a:pt x="208329" y="-3520"/>
                    <a:pt x="194609" y="-1615"/>
                    <a:pt x="180727" y="6307"/>
                  </a:cubicBezTo>
                  <a:cubicBezTo>
                    <a:pt x="171026" y="11855"/>
                    <a:pt x="172041" y="14295"/>
                    <a:pt x="171757" y="22350"/>
                  </a:cubicBezTo>
                  <a:cubicBezTo>
                    <a:pt x="171270" y="34784"/>
                    <a:pt x="163071" y="39530"/>
                    <a:pt x="157591" y="50326"/>
                  </a:cubicBezTo>
                  <a:cubicBezTo>
                    <a:pt x="151827" y="61656"/>
                    <a:pt x="149473" y="71115"/>
                    <a:pt x="140381" y="82112"/>
                  </a:cubicBezTo>
                  <a:cubicBezTo>
                    <a:pt x="132953" y="91336"/>
                    <a:pt x="133481" y="98589"/>
                    <a:pt x="119315" y="105207"/>
                  </a:cubicBezTo>
                  <a:cubicBezTo>
                    <a:pt x="104175" y="112327"/>
                    <a:pt x="107625" y="123958"/>
                    <a:pt x="106854" y="134988"/>
                  </a:cubicBezTo>
                  <a:cubicBezTo>
                    <a:pt x="106854" y="137595"/>
                    <a:pt x="108681" y="145984"/>
                    <a:pt x="102389" y="147221"/>
                  </a:cubicBezTo>
                  <a:cubicBezTo>
                    <a:pt x="94271" y="148858"/>
                    <a:pt x="97396" y="152736"/>
                    <a:pt x="95246" y="157248"/>
                  </a:cubicBezTo>
                  <a:cubicBezTo>
                    <a:pt x="93500" y="160824"/>
                    <a:pt x="87371" y="159688"/>
                    <a:pt x="83069" y="160590"/>
                  </a:cubicBezTo>
                  <a:cubicBezTo>
                    <a:pt x="78766" y="161493"/>
                    <a:pt x="66833" y="171352"/>
                    <a:pt x="66833" y="163264"/>
                  </a:cubicBezTo>
                  <a:cubicBezTo>
                    <a:pt x="66833" y="157916"/>
                    <a:pt x="56360" y="158184"/>
                    <a:pt x="50921" y="159588"/>
                  </a:cubicBezTo>
                  <a:cubicBezTo>
                    <a:pt x="36715" y="163297"/>
                    <a:pt x="39313" y="163632"/>
                    <a:pt x="25877" y="160724"/>
                  </a:cubicBezTo>
                  <a:cubicBezTo>
                    <a:pt x="19383" y="159387"/>
                    <a:pt x="4568" y="167141"/>
                    <a:pt x="-60" y="169080"/>
                  </a:cubicBezTo>
                  <a:cubicBezTo>
                    <a:pt x="4284" y="175607"/>
                    <a:pt x="7774" y="182513"/>
                    <a:pt x="10291" y="189669"/>
                  </a:cubicBezTo>
                  <a:cubicBezTo>
                    <a:pt x="35903" y="178539"/>
                    <a:pt x="79618" y="184688"/>
                    <a:pt x="109452" y="185491"/>
                  </a:cubicBezTo>
                  <a:cubicBezTo>
                    <a:pt x="126459" y="185925"/>
                    <a:pt x="113917" y="201267"/>
                    <a:pt x="123049" y="206514"/>
                  </a:cubicBezTo>
                  <a:cubicBezTo>
                    <a:pt x="131167" y="211260"/>
                    <a:pt x="131167" y="221722"/>
                    <a:pt x="142695" y="224296"/>
                  </a:cubicBezTo>
                  <a:cubicBezTo>
                    <a:pt x="155562" y="227237"/>
                    <a:pt x="170702" y="219483"/>
                    <a:pt x="184381" y="222023"/>
                  </a:cubicBezTo>
                  <a:cubicBezTo>
                    <a:pt x="187831" y="222658"/>
                    <a:pt x="191443" y="210291"/>
                    <a:pt x="193189" y="208653"/>
                  </a:cubicBezTo>
                  <a:cubicBezTo>
                    <a:pt x="197856" y="204442"/>
                    <a:pt x="211251" y="206514"/>
                    <a:pt x="217786" y="207784"/>
                  </a:cubicBezTo>
                  <a:cubicBezTo>
                    <a:pt x="224321" y="209054"/>
                    <a:pt x="227324" y="212397"/>
                    <a:pt x="237553" y="211962"/>
                  </a:cubicBezTo>
                  <a:cubicBezTo>
                    <a:pt x="254926" y="211227"/>
                    <a:pt x="246321" y="218146"/>
                    <a:pt x="251029" y="226267"/>
                  </a:cubicBezTo>
                  <a:cubicBezTo>
                    <a:pt x="256752" y="236294"/>
                    <a:pt x="239907" y="246322"/>
                    <a:pt x="251963" y="255079"/>
                  </a:cubicBezTo>
                  <a:cubicBezTo>
                    <a:pt x="260852" y="261429"/>
                    <a:pt x="260811" y="265373"/>
                    <a:pt x="258538" y="272960"/>
                  </a:cubicBezTo>
                  <a:cubicBezTo>
                    <a:pt x="254722" y="285795"/>
                    <a:pt x="265641" y="276069"/>
                    <a:pt x="274774" y="276303"/>
                  </a:cubicBezTo>
                  <a:cubicBezTo>
                    <a:pt x="285814" y="276737"/>
                    <a:pt x="303430" y="272693"/>
                    <a:pt x="311305" y="279144"/>
                  </a:cubicBezTo>
                  <a:cubicBezTo>
                    <a:pt x="318124" y="284826"/>
                    <a:pt x="316744" y="284792"/>
                    <a:pt x="328515" y="283622"/>
                  </a:cubicBezTo>
                  <a:cubicBezTo>
                    <a:pt x="342194" y="282285"/>
                    <a:pt x="332574" y="289238"/>
                    <a:pt x="341179" y="293349"/>
                  </a:cubicBezTo>
                  <a:cubicBezTo>
                    <a:pt x="351245" y="296771"/>
                    <a:pt x="361920" y="298890"/>
                    <a:pt x="372798" y="299632"/>
                  </a:cubicBezTo>
                  <a:cubicBezTo>
                    <a:pt x="381971" y="299632"/>
                    <a:pt x="383757" y="289070"/>
                    <a:pt x="391185" y="298195"/>
                  </a:cubicBezTo>
                  <a:cubicBezTo>
                    <a:pt x="398045" y="306718"/>
                    <a:pt x="404986" y="304880"/>
                    <a:pt x="417325" y="307387"/>
                  </a:cubicBezTo>
                  <a:cubicBezTo>
                    <a:pt x="425443" y="308958"/>
                    <a:pt x="432384" y="338337"/>
                    <a:pt x="452314" y="325469"/>
                  </a:cubicBezTo>
                  <a:cubicBezTo>
                    <a:pt x="455195" y="323630"/>
                    <a:pt x="461324" y="307119"/>
                    <a:pt x="454018" y="306651"/>
                  </a:cubicBezTo>
                  <a:cubicBezTo>
                    <a:pt x="443424" y="305983"/>
                    <a:pt x="437782" y="313804"/>
                    <a:pt x="428569" y="305013"/>
                  </a:cubicBezTo>
                  <a:cubicBezTo>
                    <a:pt x="424875" y="301671"/>
                    <a:pt x="416919" y="294986"/>
                    <a:pt x="419355" y="290909"/>
                  </a:cubicBezTo>
                  <a:cubicBezTo>
                    <a:pt x="423332" y="284338"/>
                    <a:pt x="426620" y="277493"/>
                    <a:pt x="429177" y="270454"/>
                  </a:cubicBezTo>
                  <a:cubicBezTo>
                    <a:pt x="430760" y="266008"/>
                    <a:pt x="425768" y="257452"/>
                    <a:pt x="428690" y="254644"/>
                  </a:cubicBezTo>
                  <a:cubicBezTo>
                    <a:pt x="432506" y="251034"/>
                    <a:pt x="436443" y="251135"/>
                    <a:pt x="436524" y="246422"/>
                  </a:cubicBezTo>
                  <a:cubicBezTo>
                    <a:pt x="436524" y="243949"/>
                    <a:pt x="436037" y="240339"/>
                    <a:pt x="441922" y="240673"/>
                  </a:cubicBezTo>
                  <a:cubicBezTo>
                    <a:pt x="450852" y="241208"/>
                    <a:pt x="467778" y="244015"/>
                    <a:pt x="475003" y="239704"/>
                  </a:cubicBezTo>
                  <a:cubicBezTo>
                    <a:pt x="482228" y="235392"/>
                    <a:pt x="467332" y="220987"/>
                    <a:pt x="459863" y="217878"/>
                  </a:cubicBezTo>
                  <a:cubicBezTo>
                    <a:pt x="446550" y="212798"/>
                    <a:pt x="466763" y="221187"/>
                    <a:pt x="459498" y="21814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9CCE4D30-4164-4B98-98BD-37998AB36C23}"/>
                </a:ext>
              </a:extLst>
            </p:cNvPr>
            <p:cNvSpPr/>
            <p:nvPr/>
          </p:nvSpPr>
          <p:spPr>
            <a:xfrm>
              <a:off x="6606822" y="4905474"/>
              <a:ext cx="42381" cy="35527"/>
            </a:xfrm>
            <a:custGeom>
              <a:avLst/>
              <a:gdLst>
                <a:gd name="connsiteX0" fmla="*/ 1929 w 42381"/>
                <a:gd name="connsiteY0" fmla="*/ 17106 h 35527"/>
                <a:gd name="connsiteX1" fmla="*/ 7206 w 42381"/>
                <a:gd name="connsiteY1" fmla="*/ 35188 h 35527"/>
                <a:gd name="connsiteX2" fmla="*/ 38906 w 42381"/>
                <a:gd name="connsiteY2" fmla="*/ 10823 h 35527"/>
                <a:gd name="connsiteX3" fmla="*/ 23767 w 42381"/>
                <a:gd name="connsiteY3" fmla="*/ 395 h 35527"/>
                <a:gd name="connsiteX4" fmla="*/ 19708 w 42381"/>
                <a:gd name="connsiteY4" fmla="*/ 4806 h 35527"/>
                <a:gd name="connsiteX5" fmla="*/ -60 w 42381"/>
                <a:gd name="connsiteY5" fmla="*/ 3636 h 35527"/>
                <a:gd name="connsiteX6" fmla="*/ 1929 w 42381"/>
                <a:gd name="connsiteY6" fmla="*/ 17106 h 3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381" h="35527">
                  <a:moveTo>
                    <a:pt x="1929" y="17106"/>
                  </a:moveTo>
                  <a:cubicBezTo>
                    <a:pt x="4689" y="22902"/>
                    <a:pt x="6475" y="28988"/>
                    <a:pt x="7206" y="35188"/>
                  </a:cubicBezTo>
                  <a:cubicBezTo>
                    <a:pt x="16501" y="32147"/>
                    <a:pt x="53641" y="17474"/>
                    <a:pt x="38906" y="10823"/>
                  </a:cubicBezTo>
                  <a:cubicBezTo>
                    <a:pt x="32452" y="7915"/>
                    <a:pt x="42032" y="-3282"/>
                    <a:pt x="23767" y="395"/>
                  </a:cubicBezTo>
                  <a:cubicBezTo>
                    <a:pt x="23360" y="395"/>
                    <a:pt x="21818" y="4205"/>
                    <a:pt x="19708" y="4806"/>
                  </a:cubicBezTo>
                  <a:cubicBezTo>
                    <a:pt x="14066" y="6478"/>
                    <a:pt x="5907" y="4138"/>
                    <a:pt x="-60" y="3636"/>
                  </a:cubicBezTo>
                  <a:cubicBezTo>
                    <a:pt x="4283" y="5074"/>
                    <a:pt x="1889" y="13964"/>
                    <a:pt x="1929" y="1710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AFADDB54-C13A-48D2-BFA2-7AB334A1F8EF}"/>
                </a:ext>
              </a:extLst>
            </p:cNvPr>
            <p:cNvSpPr/>
            <p:nvPr/>
          </p:nvSpPr>
          <p:spPr>
            <a:xfrm>
              <a:off x="6615616" y="5069414"/>
              <a:ext cx="282558" cy="272805"/>
            </a:xfrm>
            <a:custGeom>
              <a:avLst/>
              <a:gdLst>
                <a:gd name="connsiteX0" fmla="*/ 280551 w 282558"/>
                <a:gd name="connsiteY0" fmla="*/ 74797 h 272805"/>
                <a:gd name="connsiteX1" fmla="*/ 282499 w 282558"/>
                <a:gd name="connsiteY1" fmla="*/ -339 h 272805"/>
                <a:gd name="connsiteX2" fmla="*/ 238500 w 282558"/>
                <a:gd name="connsiteY2" fmla="*/ 6647 h 272805"/>
                <a:gd name="connsiteX3" fmla="*/ 217150 w 282558"/>
                <a:gd name="connsiteY3" fmla="*/ 5677 h 272805"/>
                <a:gd name="connsiteX4" fmla="*/ 204973 w 282558"/>
                <a:gd name="connsiteY4" fmla="*/ 12696 h 272805"/>
                <a:gd name="connsiteX5" fmla="*/ 188047 w 282558"/>
                <a:gd name="connsiteY5" fmla="*/ 10691 h 272805"/>
                <a:gd name="connsiteX6" fmla="*/ 168077 w 282558"/>
                <a:gd name="connsiteY6" fmla="*/ 10958 h 272805"/>
                <a:gd name="connsiteX7" fmla="*/ 153586 w 282558"/>
                <a:gd name="connsiteY7" fmla="*/ 4541 h 272805"/>
                <a:gd name="connsiteX8" fmla="*/ 128665 w 282558"/>
                <a:gd name="connsiteY8" fmla="*/ 3639 h 272805"/>
                <a:gd name="connsiteX9" fmla="*/ 128665 w 282558"/>
                <a:gd name="connsiteY9" fmla="*/ 29743 h 272805"/>
                <a:gd name="connsiteX10" fmla="*/ 133495 w 282558"/>
                <a:gd name="connsiteY10" fmla="*/ 43881 h 272805"/>
                <a:gd name="connsiteX11" fmla="*/ 150705 w 282558"/>
                <a:gd name="connsiteY11" fmla="*/ 59890 h 272805"/>
                <a:gd name="connsiteX12" fmla="*/ 143033 w 282558"/>
                <a:gd name="connsiteY12" fmla="*/ 82619 h 272805"/>
                <a:gd name="connsiteX13" fmla="*/ 131100 w 282558"/>
                <a:gd name="connsiteY13" fmla="*/ 84557 h 272805"/>
                <a:gd name="connsiteX14" fmla="*/ 127041 w 282558"/>
                <a:gd name="connsiteY14" fmla="*/ 99932 h 272805"/>
                <a:gd name="connsiteX15" fmla="*/ 108897 w 282558"/>
                <a:gd name="connsiteY15" fmla="*/ 82585 h 272805"/>
                <a:gd name="connsiteX16" fmla="*/ 113322 w 282558"/>
                <a:gd name="connsiteY16" fmla="*/ 55846 h 272805"/>
                <a:gd name="connsiteX17" fmla="*/ 99480 w 282558"/>
                <a:gd name="connsiteY17" fmla="*/ 51468 h 272805"/>
                <a:gd name="connsiteX18" fmla="*/ 82717 w 282558"/>
                <a:gd name="connsiteY18" fmla="*/ 47591 h 272805"/>
                <a:gd name="connsiteX19" fmla="*/ 58363 w 282558"/>
                <a:gd name="connsiteY19" fmla="*/ 45084 h 272805"/>
                <a:gd name="connsiteX20" fmla="*/ -5 w 282558"/>
                <a:gd name="connsiteY20" fmla="*/ 57284 h 272805"/>
                <a:gd name="connsiteX21" fmla="*/ 6286 w 282558"/>
                <a:gd name="connsiteY21" fmla="*/ 73460 h 272805"/>
                <a:gd name="connsiteX22" fmla="*/ 56293 w 282558"/>
                <a:gd name="connsiteY22" fmla="*/ 86830 h 272805"/>
                <a:gd name="connsiteX23" fmla="*/ 68023 w 282558"/>
                <a:gd name="connsiteY23" fmla="*/ 106282 h 272805"/>
                <a:gd name="connsiteX24" fmla="*/ 64208 w 282558"/>
                <a:gd name="connsiteY24" fmla="*/ 122125 h 272805"/>
                <a:gd name="connsiteX25" fmla="*/ 58282 w 282558"/>
                <a:gd name="connsiteY25" fmla="*/ 131016 h 272805"/>
                <a:gd name="connsiteX26" fmla="*/ 56171 w 282558"/>
                <a:gd name="connsiteY26" fmla="*/ 153243 h 272805"/>
                <a:gd name="connsiteX27" fmla="*/ 28692 w 282558"/>
                <a:gd name="connsiteY27" fmla="*/ 179347 h 272805"/>
                <a:gd name="connsiteX28" fmla="*/ 13795 w 282558"/>
                <a:gd name="connsiteY28" fmla="*/ 188204 h 272805"/>
                <a:gd name="connsiteX29" fmla="*/ 17164 w 282558"/>
                <a:gd name="connsiteY29" fmla="*/ 199401 h 272805"/>
                <a:gd name="connsiteX30" fmla="*/ 28813 w 282558"/>
                <a:gd name="connsiteY30" fmla="*/ 223867 h 272805"/>
                <a:gd name="connsiteX31" fmla="*/ 26459 w 282558"/>
                <a:gd name="connsiteY31" fmla="*/ 271829 h 272805"/>
                <a:gd name="connsiteX32" fmla="*/ 46754 w 282558"/>
                <a:gd name="connsiteY32" fmla="*/ 267551 h 272805"/>
                <a:gd name="connsiteX33" fmla="*/ 38109 w 282558"/>
                <a:gd name="connsiteY33" fmla="*/ 256588 h 272805"/>
                <a:gd name="connsiteX34" fmla="*/ 100211 w 282558"/>
                <a:gd name="connsiteY34" fmla="*/ 236534 h 272805"/>
                <a:gd name="connsiteX35" fmla="*/ 118720 w 282558"/>
                <a:gd name="connsiteY35" fmla="*/ 207890 h 272805"/>
                <a:gd name="connsiteX36" fmla="*/ 112509 w 282558"/>
                <a:gd name="connsiteY36" fmla="*/ 168751 h 272805"/>
                <a:gd name="connsiteX37" fmla="*/ 107517 w 282558"/>
                <a:gd name="connsiteY37" fmla="*/ 151772 h 272805"/>
                <a:gd name="connsiteX38" fmla="*/ 117664 w 282558"/>
                <a:gd name="connsiteY38" fmla="*/ 148095 h 272805"/>
                <a:gd name="connsiteX39" fmla="*/ 126838 w 282558"/>
                <a:gd name="connsiteY39" fmla="*/ 140308 h 272805"/>
                <a:gd name="connsiteX40" fmla="*/ 154276 w 282558"/>
                <a:gd name="connsiteY40" fmla="*/ 131250 h 272805"/>
                <a:gd name="connsiteX41" fmla="*/ 180173 w 282558"/>
                <a:gd name="connsiteY41" fmla="*/ 116009 h 272805"/>
                <a:gd name="connsiteX42" fmla="*/ 245116 w 282558"/>
                <a:gd name="connsiteY42" fmla="*/ 101904 h 272805"/>
                <a:gd name="connsiteX43" fmla="*/ 280470 w 282558"/>
                <a:gd name="connsiteY43" fmla="*/ 75165 h 272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2558" h="272805">
                  <a:moveTo>
                    <a:pt x="280551" y="74797"/>
                  </a:moveTo>
                  <a:cubicBezTo>
                    <a:pt x="270566" y="51601"/>
                    <a:pt x="280836" y="22824"/>
                    <a:pt x="282499" y="-339"/>
                  </a:cubicBezTo>
                  <a:cubicBezTo>
                    <a:pt x="266548" y="2469"/>
                    <a:pt x="254493" y="6346"/>
                    <a:pt x="238500" y="6647"/>
                  </a:cubicBezTo>
                  <a:cubicBezTo>
                    <a:pt x="227784" y="6647"/>
                    <a:pt x="227866" y="8685"/>
                    <a:pt x="217150" y="5677"/>
                  </a:cubicBezTo>
                  <a:cubicBezTo>
                    <a:pt x="208382" y="3271"/>
                    <a:pt x="210574" y="11961"/>
                    <a:pt x="204973" y="12696"/>
                  </a:cubicBezTo>
                  <a:cubicBezTo>
                    <a:pt x="199372" y="13432"/>
                    <a:pt x="193730" y="10791"/>
                    <a:pt x="188047" y="10691"/>
                  </a:cubicBezTo>
                  <a:cubicBezTo>
                    <a:pt x="181431" y="10691"/>
                    <a:pt x="174734" y="11527"/>
                    <a:pt x="168077" y="10958"/>
                  </a:cubicBezTo>
                  <a:cubicBezTo>
                    <a:pt x="161420" y="10390"/>
                    <a:pt x="164343" y="3772"/>
                    <a:pt x="153586" y="4541"/>
                  </a:cubicBezTo>
                  <a:cubicBezTo>
                    <a:pt x="145266" y="5403"/>
                    <a:pt x="136863" y="5099"/>
                    <a:pt x="128665" y="3639"/>
                  </a:cubicBezTo>
                  <a:cubicBezTo>
                    <a:pt x="127082" y="13365"/>
                    <a:pt x="124606" y="19515"/>
                    <a:pt x="128665" y="29743"/>
                  </a:cubicBezTo>
                  <a:cubicBezTo>
                    <a:pt x="130694" y="34352"/>
                    <a:pt x="132317" y="39078"/>
                    <a:pt x="133495" y="43881"/>
                  </a:cubicBezTo>
                  <a:cubicBezTo>
                    <a:pt x="134712" y="50164"/>
                    <a:pt x="146686" y="53908"/>
                    <a:pt x="150705" y="59890"/>
                  </a:cubicBezTo>
                  <a:cubicBezTo>
                    <a:pt x="153140" y="63634"/>
                    <a:pt x="147538" y="81181"/>
                    <a:pt x="143033" y="82619"/>
                  </a:cubicBezTo>
                  <a:cubicBezTo>
                    <a:pt x="139218" y="83855"/>
                    <a:pt x="134915" y="82886"/>
                    <a:pt x="131100" y="84557"/>
                  </a:cubicBezTo>
                  <a:cubicBezTo>
                    <a:pt x="122697" y="88401"/>
                    <a:pt x="130532" y="95253"/>
                    <a:pt x="127041" y="99932"/>
                  </a:cubicBezTo>
                  <a:cubicBezTo>
                    <a:pt x="126351" y="100768"/>
                    <a:pt x="110155" y="84156"/>
                    <a:pt x="108897" y="82585"/>
                  </a:cubicBezTo>
                  <a:cubicBezTo>
                    <a:pt x="100779" y="72558"/>
                    <a:pt x="115473" y="65873"/>
                    <a:pt x="113322" y="55846"/>
                  </a:cubicBezTo>
                  <a:cubicBezTo>
                    <a:pt x="112307" y="51167"/>
                    <a:pt x="105204" y="50966"/>
                    <a:pt x="99480" y="51468"/>
                  </a:cubicBezTo>
                  <a:cubicBezTo>
                    <a:pt x="91362" y="52203"/>
                    <a:pt x="88886" y="51835"/>
                    <a:pt x="82717" y="47591"/>
                  </a:cubicBezTo>
                  <a:cubicBezTo>
                    <a:pt x="73584" y="41340"/>
                    <a:pt x="70540" y="43246"/>
                    <a:pt x="58363" y="45084"/>
                  </a:cubicBezTo>
                  <a:cubicBezTo>
                    <a:pt x="49108" y="46454"/>
                    <a:pt x="-1954" y="51468"/>
                    <a:pt x="-5" y="57284"/>
                  </a:cubicBezTo>
                  <a:cubicBezTo>
                    <a:pt x="969" y="60191"/>
                    <a:pt x="2268" y="72993"/>
                    <a:pt x="6286" y="73460"/>
                  </a:cubicBezTo>
                  <a:cubicBezTo>
                    <a:pt x="25404" y="75566"/>
                    <a:pt x="38758" y="82552"/>
                    <a:pt x="56293" y="86830"/>
                  </a:cubicBezTo>
                  <a:cubicBezTo>
                    <a:pt x="73828" y="91108"/>
                    <a:pt x="69890" y="95086"/>
                    <a:pt x="68023" y="106282"/>
                  </a:cubicBezTo>
                  <a:cubicBezTo>
                    <a:pt x="67212" y="111162"/>
                    <a:pt x="68713" y="118014"/>
                    <a:pt x="64208" y="122125"/>
                  </a:cubicBezTo>
                  <a:cubicBezTo>
                    <a:pt x="61488" y="124599"/>
                    <a:pt x="53654" y="127406"/>
                    <a:pt x="58282" y="131016"/>
                  </a:cubicBezTo>
                  <a:cubicBezTo>
                    <a:pt x="68186" y="138670"/>
                    <a:pt x="65994" y="147728"/>
                    <a:pt x="56171" y="153243"/>
                  </a:cubicBezTo>
                  <a:cubicBezTo>
                    <a:pt x="42655" y="160763"/>
                    <a:pt x="43994" y="171358"/>
                    <a:pt x="28692" y="179347"/>
                  </a:cubicBezTo>
                  <a:cubicBezTo>
                    <a:pt x="25769" y="180884"/>
                    <a:pt x="12456" y="186399"/>
                    <a:pt x="13795" y="188204"/>
                  </a:cubicBezTo>
                  <a:cubicBezTo>
                    <a:pt x="15622" y="191780"/>
                    <a:pt x="16758" y="195557"/>
                    <a:pt x="17164" y="199401"/>
                  </a:cubicBezTo>
                  <a:cubicBezTo>
                    <a:pt x="19437" y="208091"/>
                    <a:pt x="26216" y="215912"/>
                    <a:pt x="28813" y="223867"/>
                  </a:cubicBezTo>
                  <a:cubicBezTo>
                    <a:pt x="33603" y="238606"/>
                    <a:pt x="25120" y="256521"/>
                    <a:pt x="26459" y="271829"/>
                  </a:cubicBezTo>
                  <a:cubicBezTo>
                    <a:pt x="36323" y="271596"/>
                    <a:pt x="45009" y="275172"/>
                    <a:pt x="46754" y="267551"/>
                  </a:cubicBezTo>
                  <a:cubicBezTo>
                    <a:pt x="49393" y="256989"/>
                    <a:pt x="40666" y="262939"/>
                    <a:pt x="38109" y="256588"/>
                  </a:cubicBezTo>
                  <a:cubicBezTo>
                    <a:pt x="33400" y="245124"/>
                    <a:pt x="90631" y="238573"/>
                    <a:pt x="100211" y="236534"/>
                  </a:cubicBezTo>
                  <a:cubicBezTo>
                    <a:pt x="120506" y="231688"/>
                    <a:pt x="114661" y="219822"/>
                    <a:pt x="118720" y="207890"/>
                  </a:cubicBezTo>
                  <a:cubicBezTo>
                    <a:pt x="122738" y="194654"/>
                    <a:pt x="120506" y="180683"/>
                    <a:pt x="112509" y="168751"/>
                  </a:cubicBezTo>
                  <a:cubicBezTo>
                    <a:pt x="108816" y="163537"/>
                    <a:pt x="105244" y="157454"/>
                    <a:pt x="107517" y="151772"/>
                  </a:cubicBezTo>
                  <a:cubicBezTo>
                    <a:pt x="109181" y="147627"/>
                    <a:pt x="113078" y="149198"/>
                    <a:pt x="117664" y="148095"/>
                  </a:cubicBezTo>
                  <a:cubicBezTo>
                    <a:pt x="122251" y="146992"/>
                    <a:pt x="124727" y="142413"/>
                    <a:pt x="126838" y="140308"/>
                  </a:cubicBezTo>
                  <a:cubicBezTo>
                    <a:pt x="132764" y="134291"/>
                    <a:pt x="146037" y="135628"/>
                    <a:pt x="154276" y="131250"/>
                  </a:cubicBezTo>
                  <a:cubicBezTo>
                    <a:pt x="163531" y="126337"/>
                    <a:pt x="169498" y="120053"/>
                    <a:pt x="180173" y="116009"/>
                  </a:cubicBezTo>
                  <a:cubicBezTo>
                    <a:pt x="200468" y="108288"/>
                    <a:pt x="226039" y="111162"/>
                    <a:pt x="245116" y="101904"/>
                  </a:cubicBezTo>
                  <a:cubicBezTo>
                    <a:pt x="252950" y="98094"/>
                    <a:pt x="283961" y="83454"/>
                    <a:pt x="280470" y="7516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81BCC5C5-E0D7-4772-B067-57347B816A4E}"/>
                </a:ext>
              </a:extLst>
            </p:cNvPr>
            <p:cNvSpPr/>
            <p:nvPr/>
          </p:nvSpPr>
          <p:spPr>
            <a:xfrm>
              <a:off x="6613803" y="4883833"/>
              <a:ext cx="283067" cy="198493"/>
            </a:xfrm>
            <a:custGeom>
              <a:avLst/>
              <a:gdLst>
                <a:gd name="connsiteX0" fmla="*/ 267508 w 283067"/>
                <a:gd name="connsiteY0" fmla="*/ 167962 h 198493"/>
                <a:gd name="connsiteX1" fmla="*/ 261460 w 283067"/>
                <a:gd name="connsiteY1" fmla="*/ 155261 h 198493"/>
                <a:gd name="connsiteX2" fmla="*/ 261135 w 283067"/>
                <a:gd name="connsiteY2" fmla="*/ 137146 h 198493"/>
                <a:gd name="connsiteX3" fmla="*/ 265803 w 283067"/>
                <a:gd name="connsiteY3" fmla="*/ 123108 h 198493"/>
                <a:gd name="connsiteX4" fmla="*/ 257685 w 283067"/>
                <a:gd name="connsiteY4" fmla="*/ 113081 h 198493"/>
                <a:gd name="connsiteX5" fmla="*/ 256143 w 283067"/>
                <a:gd name="connsiteY5" fmla="*/ 99912 h 198493"/>
                <a:gd name="connsiteX6" fmla="*/ 261785 w 283067"/>
                <a:gd name="connsiteY6" fmla="*/ 78955 h 198493"/>
                <a:gd name="connsiteX7" fmla="*/ 226228 w 283067"/>
                <a:gd name="connsiteY7" fmla="*/ 55559 h 198493"/>
                <a:gd name="connsiteX8" fmla="*/ 220911 w 283067"/>
                <a:gd name="connsiteY8" fmla="*/ 44730 h 198493"/>
                <a:gd name="connsiteX9" fmla="*/ 186491 w 283067"/>
                <a:gd name="connsiteY9" fmla="*/ 29923 h 198493"/>
                <a:gd name="connsiteX10" fmla="*/ 127636 w 283067"/>
                <a:gd name="connsiteY10" fmla="*/ 5089 h 198493"/>
                <a:gd name="connsiteX11" fmla="*/ 120654 w 283067"/>
                <a:gd name="connsiteY11" fmla="*/ 16353 h 198493"/>
                <a:gd name="connsiteX12" fmla="*/ 110344 w 283067"/>
                <a:gd name="connsiteY12" fmla="*/ 21133 h 198493"/>
                <a:gd name="connsiteX13" fmla="*/ 108437 w 283067"/>
                <a:gd name="connsiteY13" fmla="*/ 30458 h 198493"/>
                <a:gd name="connsiteX14" fmla="*/ 89360 w 283067"/>
                <a:gd name="connsiteY14" fmla="*/ 26815 h 198493"/>
                <a:gd name="connsiteX15" fmla="*/ 65006 w 283067"/>
                <a:gd name="connsiteY15" fmla="*/ 25879 h 198493"/>
                <a:gd name="connsiteX16" fmla="*/ 70769 w 283067"/>
                <a:gd name="connsiteY16" fmla="*/ -91 h 198493"/>
                <a:gd name="connsiteX17" fmla="*/ 34036 w 283067"/>
                <a:gd name="connsiteY17" fmla="*/ 711 h 198493"/>
                <a:gd name="connsiteX18" fmla="*/ 40165 w 283067"/>
                <a:gd name="connsiteY18" fmla="*/ 12643 h 198493"/>
                <a:gd name="connsiteX19" fmla="*/ 37040 w 283067"/>
                <a:gd name="connsiteY19" fmla="*/ 22002 h 198493"/>
                <a:gd name="connsiteX20" fmla="*/ 29855 w 283067"/>
                <a:gd name="connsiteY20" fmla="*/ 31561 h 198493"/>
                <a:gd name="connsiteX21" fmla="*/ 33386 w 283067"/>
                <a:gd name="connsiteY21" fmla="*/ 37811 h 198493"/>
                <a:gd name="connsiteX22" fmla="*/ 14349 w 283067"/>
                <a:gd name="connsiteY22" fmla="*/ 52450 h 198493"/>
                <a:gd name="connsiteX23" fmla="*/ -60 w 283067"/>
                <a:gd name="connsiteY23" fmla="*/ 56729 h 198493"/>
                <a:gd name="connsiteX24" fmla="*/ 3715 w 283067"/>
                <a:gd name="connsiteY24" fmla="*/ 71803 h 198493"/>
                <a:gd name="connsiteX25" fmla="*/ 21534 w 283067"/>
                <a:gd name="connsiteY25" fmla="*/ 97706 h 198493"/>
                <a:gd name="connsiteX26" fmla="*/ 28475 w 283067"/>
                <a:gd name="connsiteY26" fmla="*/ 116791 h 198493"/>
                <a:gd name="connsiteX27" fmla="*/ 16988 w 283067"/>
                <a:gd name="connsiteY27" fmla="*/ 119264 h 198493"/>
                <a:gd name="connsiteX28" fmla="*/ 47755 w 283067"/>
                <a:gd name="connsiteY28" fmla="*/ 135308 h 198493"/>
                <a:gd name="connsiteX29" fmla="*/ 89360 w 283067"/>
                <a:gd name="connsiteY29" fmla="*/ 149513 h 198493"/>
                <a:gd name="connsiteX30" fmla="*/ 123414 w 283067"/>
                <a:gd name="connsiteY30" fmla="*/ 160008 h 198493"/>
                <a:gd name="connsiteX31" fmla="*/ 129990 w 283067"/>
                <a:gd name="connsiteY31" fmla="*/ 178290 h 198493"/>
                <a:gd name="connsiteX32" fmla="*/ 141599 w 283067"/>
                <a:gd name="connsiteY32" fmla="*/ 190891 h 198493"/>
                <a:gd name="connsiteX33" fmla="*/ 161569 w 283067"/>
                <a:gd name="connsiteY33" fmla="*/ 190691 h 198493"/>
                <a:gd name="connsiteX34" fmla="*/ 179509 w 283067"/>
                <a:gd name="connsiteY34" fmla="*/ 196439 h 198493"/>
                <a:gd name="connsiteX35" fmla="*/ 202036 w 283067"/>
                <a:gd name="connsiteY35" fmla="*/ 198077 h 198493"/>
                <a:gd name="connsiteX36" fmla="*/ 218679 w 283067"/>
                <a:gd name="connsiteY36" fmla="*/ 191158 h 198493"/>
                <a:gd name="connsiteX37" fmla="*/ 267955 w 283067"/>
                <a:gd name="connsiteY37" fmla="*/ 188184 h 198493"/>
                <a:gd name="connsiteX38" fmla="*/ 267224 w 283067"/>
                <a:gd name="connsiteY38" fmla="*/ 167862 h 198493"/>
                <a:gd name="connsiteX39" fmla="*/ 267508 w 283067"/>
                <a:gd name="connsiteY39" fmla="*/ 167962 h 19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3067" h="198493">
                  <a:moveTo>
                    <a:pt x="267508" y="167962"/>
                  </a:moveTo>
                  <a:cubicBezTo>
                    <a:pt x="267833" y="162916"/>
                    <a:pt x="264829" y="159673"/>
                    <a:pt x="261460" y="155261"/>
                  </a:cubicBezTo>
                  <a:cubicBezTo>
                    <a:pt x="256914" y="149312"/>
                    <a:pt x="263774" y="143196"/>
                    <a:pt x="261135" y="137146"/>
                  </a:cubicBezTo>
                  <a:cubicBezTo>
                    <a:pt x="258497" y="131096"/>
                    <a:pt x="257726" y="129091"/>
                    <a:pt x="265803" y="123108"/>
                  </a:cubicBezTo>
                  <a:cubicBezTo>
                    <a:pt x="271161" y="119198"/>
                    <a:pt x="261744" y="115721"/>
                    <a:pt x="257685" y="113081"/>
                  </a:cubicBezTo>
                  <a:cubicBezTo>
                    <a:pt x="251394" y="108602"/>
                    <a:pt x="253221" y="104658"/>
                    <a:pt x="256143" y="99912"/>
                  </a:cubicBezTo>
                  <a:cubicBezTo>
                    <a:pt x="260932" y="92124"/>
                    <a:pt x="273394" y="85473"/>
                    <a:pt x="261785" y="78955"/>
                  </a:cubicBezTo>
                  <a:cubicBezTo>
                    <a:pt x="253667" y="74443"/>
                    <a:pt x="224321" y="62778"/>
                    <a:pt x="226228" y="55559"/>
                  </a:cubicBezTo>
                  <a:cubicBezTo>
                    <a:pt x="228136" y="48339"/>
                    <a:pt x="229922" y="48640"/>
                    <a:pt x="220911" y="44730"/>
                  </a:cubicBezTo>
                  <a:cubicBezTo>
                    <a:pt x="209465" y="39740"/>
                    <a:pt x="197978" y="34803"/>
                    <a:pt x="186491" y="29923"/>
                  </a:cubicBezTo>
                  <a:cubicBezTo>
                    <a:pt x="166967" y="21567"/>
                    <a:pt x="147322" y="13288"/>
                    <a:pt x="127636" y="5089"/>
                  </a:cubicBezTo>
                  <a:cubicBezTo>
                    <a:pt x="126905" y="9381"/>
                    <a:pt x="124429" y="13345"/>
                    <a:pt x="120654" y="16353"/>
                  </a:cubicBezTo>
                  <a:cubicBezTo>
                    <a:pt x="118584" y="17924"/>
                    <a:pt x="111278" y="19361"/>
                    <a:pt x="110344" y="21133"/>
                  </a:cubicBezTo>
                  <a:cubicBezTo>
                    <a:pt x="108477" y="24475"/>
                    <a:pt x="123820" y="32463"/>
                    <a:pt x="108437" y="30458"/>
                  </a:cubicBezTo>
                  <a:cubicBezTo>
                    <a:pt x="101943" y="29622"/>
                    <a:pt x="95732" y="27951"/>
                    <a:pt x="89360" y="26815"/>
                  </a:cubicBezTo>
                  <a:cubicBezTo>
                    <a:pt x="82987" y="25678"/>
                    <a:pt x="70445" y="27483"/>
                    <a:pt x="65006" y="25879"/>
                  </a:cubicBezTo>
                  <a:cubicBezTo>
                    <a:pt x="54615" y="22737"/>
                    <a:pt x="68172" y="3485"/>
                    <a:pt x="70769" y="-91"/>
                  </a:cubicBezTo>
                  <a:cubicBezTo>
                    <a:pt x="58511" y="-596"/>
                    <a:pt x="46253" y="-329"/>
                    <a:pt x="34036" y="711"/>
                  </a:cubicBezTo>
                  <a:cubicBezTo>
                    <a:pt x="36025" y="4688"/>
                    <a:pt x="38419" y="8666"/>
                    <a:pt x="40165" y="12643"/>
                  </a:cubicBezTo>
                  <a:cubicBezTo>
                    <a:pt x="41464" y="15718"/>
                    <a:pt x="43736" y="20765"/>
                    <a:pt x="37040" y="22002"/>
                  </a:cubicBezTo>
                  <a:cubicBezTo>
                    <a:pt x="28150" y="23639"/>
                    <a:pt x="28313" y="25344"/>
                    <a:pt x="29855" y="31561"/>
                  </a:cubicBezTo>
                  <a:cubicBezTo>
                    <a:pt x="31072" y="36508"/>
                    <a:pt x="39759" y="31895"/>
                    <a:pt x="33386" y="37811"/>
                  </a:cubicBezTo>
                  <a:cubicBezTo>
                    <a:pt x="28028" y="42824"/>
                    <a:pt x="22346" y="48908"/>
                    <a:pt x="14349" y="52450"/>
                  </a:cubicBezTo>
                  <a:cubicBezTo>
                    <a:pt x="9641" y="54085"/>
                    <a:pt x="4852" y="55512"/>
                    <a:pt x="-60" y="56729"/>
                  </a:cubicBezTo>
                  <a:cubicBezTo>
                    <a:pt x="1077" y="61776"/>
                    <a:pt x="2254" y="66756"/>
                    <a:pt x="3715" y="71803"/>
                  </a:cubicBezTo>
                  <a:cubicBezTo>
                    <a:pt x="6922" y="82599"/>
                    <a:pt x="15324" y="88114"/>
                    <a:pt x="21534" y="97706"/>
                  </a:cubicBezTo>
                  <a:cubicBezTo>
                    <a:pt x="25593" y="103923"/>
                    <a:pt x="23361" y="110808"/>
                    <a:pt x="28475" y="116791"/>
                  </a:cubicBezTo>
                  <a:cubicBezTo>
                    <a:pt x="38623" y="128590"/>
                    <a:pt x="26283" y="130461"/>
                    <a:pt x="16988" y="119264"/>
                  </a:cubicBezTo>
                  <a:cubicBezTo>
                    <a:pt x="11265" y="127587"/>
                    <a:pt x="37567" y="131263"/>
                    <a:pt x="47755" y="135308"/>
                  </a:cubicBezTo>
                  <a:cubicBezTo>
                    <a:pt x="61068" y="140622"/>
                    <a:pt x="77061" y="142928"/>
                    <a:pt x="89360" y="149513"/>
                  </a:cubicBezTo>
                  <a:cubicBezTo>
                    <a:pt x="100968" y="155796"/>
                    <a:pt x="116555" y="149312"/>
                    <a:pt x="123414" y="160008"/>
                  </a:cubicBezTo>
                  <a:cubicBezTo>
                    <a:pt x="126865" y="165743"/>
                    <a:pt x="129097" y="171930"/>
                    <a:pt x="129990" y="178290"/>
                  </a:cubicBezTo>
                  <a:cubicBezTo>
                    <a:pt x="131370" y="186780"/>
                    <a:pt x="127027" y="188819"/>
                    <a:pt x="141599" y="190891"/>
                  </a:cubicBezTo>
                  <a:cubicBezTo>
                    <a:pt x="148539" y="191860"/>
                    <a:pt x="154790" y="188652"/>
                    <a:pt x="161569" y="190691"/>
                  </a:cubicBezTo>
                  <a:cubicBezTo>
                    <a:pt x="170904" y="193532"/>
                    <a:pt x="166074" y="196941"/>
                    <a:pt x="179509" y="196439"/>
                  </a:cubicBezTo>
                  <a:cubicBezTo>
                    <a:pt x="187059" y="196379"/>
                    <a:pt x="194609" y="196927"/>
                    <a:pt x="202036" y="198077"/>
                  </a:cubicBezTo>
                  <a:cubicBezTo>
                    <a:pt x="211778" y="199147"/>
                    <a:pt x="209789" y="188719"/>
                    <a:pt x="218679" y="191158"/>
                  </a:cubicBezTo>
                  <a:cubicBezTo>
                    <a:pt x="236132" y="196072"/>
                    <a:pt x="251151" y="191626"/>
                    <a:pt x="267955" y="188184"/>
                  </a:cubicBezTo>
                  <a:cubicBezTo>
                    <a:pt x="302659" y="181065"/>
                    <a:pt x="266372" y="180597"/>
                    <a:pt x="267224" y="167862"/>
                  </a:cubicBezTo>
                  <a:cubicBezTo>
                    <a:pt x="268198" y="157635"/>
                    <a:pt x="266818" y="178090"/>
                    <a:pt x="267508" y="16796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BD062D8E-0FEA-47C7-B855-88583D666C41}"/>
                </a:ext>
              </a:extLst>
            </p:cNvPr>
            <p:cNvSpPr/>
            <p:nvPr/>
          </p:nvSpPr>
          <p:spPr>
            <a:xfrm>
              <a:off x="6685081" y="5036760"/>
              <a:ext cx="81238" cy="132825"/>
            </a:xfrm>
            <a:custGeom>
              <a:avLst/>
              <a:gdLst>
                <a:gd name="connsiteX0" fmla="*/ 79251 w 81238"/>
                <a:gd name="connsiteY0" fmla="*/ 90139 h 132825"/>
                <a:gd name="connsiteX1" fmla="*/ 64313 w 81238"/>
                <a:gd name="connsiteY1" fmla="*/ 78909 h 132825"/>
                <a:gd name="connsiteX2" fmla="*/ 50391 w 81238"/>
                <a:gd name="connsiteY2" fmla="*/ 77371 h 132825"/>
                <a:gd name="connsiteX3" fmla="*/ 37159 w 81238"/>
                <a:gd name="connsiteY3" fmla="*/ 53406 h 132825"/>
                <a:gd name="connsiteX4" fmla="*/ 45277 w 81238"/>
                <a:gd name="connsiteY4" fmla="*/ 27804 h 132825"/>
                <a:gd name="connsiteX5" fmla="*/ 39757 w 81238"/>
                <a:gd name="connsiteY5" fmla="*/ 1065 h 132825"/>
                <a:gd name="connsiteX6" fmla="*/ 21532 w 81238"/>
                <a:gd name="connsiteY6" fmla="*/ -339 h 132825"/>
                <a:gd name="connsiteX7" fmla="*/ 30380 w 81238"/>
                <a:gd name="connsiteY7" fmla="*/ 17075 h 132825"/>
                <a:gd name="connsiteX8" fmla="*/ 19299 w 81238"/>
                <a:gd name="connsiteY8" fmla="*/ 21487 h 132825"/>
                <a:gd name="connsiteX9" fmla="*/ 16053 w 81238"/>
                <a:gd name="connsiteY9" fmla="*/ 37396 h 132825"/>
                <a:gd name="connsiteX10" fmla="*/ 19503 w 81238"/>
                <a:gd name="connsiteY10" fmla="*/ 49061 h 132825"/>
                <a:gd name="connsiteX11" fmla="*/ 7082 w 81238"/>
                <a:gd name="connsiteY11" fmla="*/ 51234 h 132825"/>
                <a:gd name="connsiteX12" fmla="*/ 1197 w 81238"/>
                <a:gd name="connsiteY12" fmla="*/ 67444 h 132825"/>
                <a:gd name="connsiteX13" fmla="*/ 9802 w 81238"/>
                <a:gd name="connsiteY13" fmla="*/ 77772 h 132825"/>
                <a:gd name="connsiteX14" fmla="*/ 29812 w 81238"/>
                <a:gd name="connsiteY14" fmla="*/ 83922 h 132825"/>
                <a:gd name="connsiteX15" fmla="*/ 35535 w 81238"/>
                <a:gd name="connsiteY15" fmla="*/ 109959 h 132825"/>
                <a:gd name="connsiteX16" fmla="*/ 57373 w 81238"/>
                <a:gd name="connsiteY16" fmla="*/ 132487 h 132825"/>
                <a:gd name="connsiteX17" fmla="*/ 58428 w 81238"/>
                <a:gd name="connsiteY17" fmla="*/ 119786 h 132825"/>
                <a:gd name="connsiteX18" fmla="*/ 73527 w 81238"/>
                <a:gd name="connsiteY18" fmla="*/ 115173 h 132825"/>
                <a:gd name="connsiteX19" fmla="*/ 79210 w 81238"/>
                <a:gd name="connsiteY19" fmla="*/ 90206 h 1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238" h="132825">
                  <a:moveTo>
                    <a:pt x="79251" y="90139"/>
                  </a:moveTo>
                  <a:cubicBezTo>
                    <a:pt x="74664" y="86058"/>
                    <a:pt x="69671" y="82301"/>
                    <a:pt x="64313" y="78909"/>
                  </a:cubicBezTo>
                  <a:cubicBezTo>
                    <a:pt x="64313" y="86630"/>
                    <a:pt x="53354" y="80179"/>
                    <a:pt x="50391" y="77371"/>
                  </a:cubicBezTo>
                  <a:cubicBezTo>
                    <a:pt x="43044" y="70713"/>
                    <a:pt x="38417" y="62334"/>
                    <a:pt x="37159" y="53406"/>
                  </a:cubicBezTo>
                  <a:cubicBezTo>
                    <a:pt x="36469" y="44282"/>
                    <a:pt x="47185" y="36895"/>
                    <a:pt x="45277" y="27804"/>
                  </a:cubicBezTo>
                  <a:cubicBezTo>
                    <a:pt x="44140" y="22055"/>
                    <a:pt x="29609" y="5711"/>
                    <a:pt x="39757" y="1065"/>
                  </a:cubicBezTo>
                  <a:cubicBezTo>
                    <a:pt x="33709" y="280"/>
                    <a:pt x="27621" y="-192"/>
                    <a:pt x="21532" y="-339"/>
                  </a:cubicBezTo>
                  <a:cubicBezTo>
                    <a:pt x="25347" y="4474"/>
                    <a:pt x="30989" y="11660"/>
                    <a:pt x="30380" y="17075"/>
                  </a:cubicBezTo>
                  <a:cubicBezTo>
                    <a:pt x="30096" y="19247"/>
                    <a:pt x="21126" y="17576"/>
                    <a:pt x="19299" y="21487"/>
                  </a:cubicBezTo>
                  <a:cubicBezTo>
                    <a:pt x="17148" y="26604"/>
                    <a:pt x="16053" y="31982"/>
                    <a:pt x="16053" y="37396"/>
                  </a:cubicBezTo>
                  <a:cubicBezTo>
                    <a:pt x="16053" y="39669"/>
                    <a:pt x="20112" y="47691"/>
                    <a:pt x="19503" y="49061"/>
                  </a:cubicBezTo>
                  <a:cubicBezTo>
                    <a:pt x="18285" y="51334"/>
                    <a:pt x="7326" y="47658"/>
                    <a:pt x="7082" y="51234"/>
                  </a:cubicBezTo>
                  <a:cubicBezTo>
                    <a:pt x="6757" y="54209"/>
                    <a:pt x="6270" y="66241"/>
                    <a:pt x="1197" y="67444"/>
                  </a:cubicBezTo>
                  <a:cubicBezTo>
                    <a:pt x="-3877" y="68648"/>
                    <a:pt x="7935" y="76502"/>
                    <a:pt x="9802" y="77772"/>
                  </a:cubicBezTo>
                  <a:cubicBezTo>
                    <a:pt x="16986" y="82786"/>
                    <a:pt x="19624" y="84825"/>
                    <a:pt x="29812" y="83922"/>
                  </a:cubicBezTo>
                  <a:cubicBezTo>
                    <a:pt x="58225" y="81449"/>
                    <a:pt x="32856" y="103040"/>
                    <a:pt x="35535" y="109959"/>
                  </a:cubicBezTo>
                  <a:cubicBezTo>
                    <a:pt x="36875" y="113301"/>
                    <a:pt x="57251" y="132620"/>
                    <a:pt x="57373" y="132487"/>
                  </a:cubicBezTo>
                  <a:cubicBezTo>
                    <a:pt x="60133" y="128944"/>
                    <a:pt x="56074" y="123730"/>
                    <a:pt x="58428" y="119786"/>
                  </a:cubicBezTo>
                  <a:cubicBezTo>
                    <a:pt x="61432" y="114872"/>
                    <a:pt x="67926" y="116978"/>
                    <a:pt x="73527" y="115173"/>
                  </a:cubicBezTo>
                  <a:cubicBezTo>
                    <a:pt x="79738" y="113201"/>
                    <a:pt x="83797" y="94584"/>
                    <a:pt x="79210" y="90206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9185A801-B902-4EF8-B6A7-45F11586260A}"/>
                </a:ext>
              </a:extLst>
            </p:cNvPr>
            <p:cNvSpPr/>
            <p:nvPr/>
          </p:nvSpPr>
          <p:spPr>
            <a:xfrm>
              <a:off x="9883775" y="6269561"/>
              <a:ext cx="38768" cy="67843"/>
            </a:xfrm>
            <a:custGeom>
              <a:avLst/>
              <a:gdLst>
                <a:gd name="connsiteX0" fmla="*/ 163 w 38768"/>
                <a:gd name="connsiteY0" fmla="*/ -11 h 67843"/>
                <a:gd name="connsiteX1" fmla="*/ 36978 w 38768"/>
                <a:gd name="connsiteY1" fmla="*/ 67472 h 67843"/>
                <a:gd name="connsiteX2" fmla="*/ 163 w 38768"/>
                <a:gd name="connsiteY2" fmla="*/ -11 h 6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768" h="67843">
                  <a:moveTo>
                    <a:pt x="163" y="-11"/>
                  </a:moveTo>
                  <a:cubicBezTo>
                    <a:pt x="3735" y="-5893"/>
                    <a:pt x="47897" y="69310"/>
                    <a:pt x="36978" y="67472"/>
                  </a:cubicBezTo>
                  <a:cubicBezTo>
                    <a:pt x="26059" y="65633"/>
                    <a:pt x="-2881" y="5605"/>
                    <a:pt x="163" y="-11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CCBD5567-2383-4586-AD4C-B26E622722DD}"/>
                </a:ext>
              </a:extLst>
            </p:cNvPr>
            <p:cNvSpPr/>
            <p:nvPr/>
          </p:nvSpPr>
          <p:spPr>
            <a:xfrm>
              <a:off x="7898997" y="4300594"/>
              <a:ext cx="226718" cy="109865"/>
            </a:xfrm>
            <a:custGeom>
              <a:avLst/>
              <a:gdLst>
                <a:gd name="connsiteX0" fmla="*/ 183487 w 226718"/>
                <a:gd name="connsiteY0" fmla="*/ 91955 h 109865"/>
                <a:gd name="connsiteX1" fmla="*/ 204147 w 226718"/>
                <a:gd name="connsiteY1" fmla="*/ 102283 h 109865"/>
                <a:gd name="connsiteX2" fmla="*/ 224442 w 226718"/>
                <a:gd name="connsiteY2" fmla="*/ 108432 h 109865"/>
                <a:gd name="connsiteX3" fmla="*/ 219166 w 226718"/>
                <a:gd name="connsiteY3" fmla="*/ 78686 h 109865"/>
                <a:gd name="connsiteX4" fmla="*/ 198871 w 226718"/>
                <a:gd name="connsiteY4" fmla="*/ 60637 h 109865"/>
                <a:gd name="connsiteX5" fmla="*/ 169484 w 226718"/>
                <a:gd name="connsiteY5" fmla="*/ 48069 h 109865"/>
                <a:gd name="connsiteX6" fmla="*/ 148336 w 226718"/>
                <a:gd name="connsiteY6" fmla="*/ 42922 h 109865"/>
                <a:gd name="connsiteX7" fmla="*/ 124429 w 226718"/>
                <a:gd name="connsiteY7" fmla="*/ 33965 h 109865"/>
                <a:gd name="connsiteX8" fmla="*/ 96016 w 226718"/>
                <a:gd name="connsiteY8" fmla="*/ 26812 h 109865"/>
                <a:gd name="connsiteX9" fmla="*/ 63260 w 226718"/>
                <a:gd name="connsiteY9" fmla="*/ 20127 h 109865"/>
                <a:gd name="connsiteX10" fmla="*/ 76817 w 226718"/>
                <a:gd name="connsiteY10" fmla="*/ 13443 h 109865"/>
                <a:gd name="connsiteX11" fmla="*/ 104621 w 226718"/>
                <a:gd name="connsiteY11" fmla="*/ 11771 h 109865"/>
                <a:gd name="connsiteX12" fmla="*/ 103241 w 226718"/>
                <a:gd name="connsiteY12" fmla="*/ 2246 h 109865"/>
                <a:gd name="connsiteX13" fmla="*/ 84570 w 226718"/>
                <a:gd name="connsiteY13" fmla="*/ 2814 h 109865"/>
                <a:gd name="connsiteX14" fmla="*/ 68334 w 226718"/>
                <a:gd name="connsiteY14" fmla="*/ -328 h 109865"/>
                <a:gd name="connsiteX15" fmla="*/ 47593 w 226718"/>
                <a:gd name="connsiteY15" fmla="*/ 6557 h 109865"/>
                <a:gd name="connsiteX16" fmla="*/ 34644 w 226718"/>
                <a:gd name="connsiteY16" fmla="*/ 13744 h 109865"/>
                <a:gd name="connsiteX17" fmla="*/ 6232 w 226718"/>
                <a:gd name="connsiteY17" fmla="*/ 12273 h 109865"/>
                <a:gd name="connsiteX18" fmla="*/ 16745 w 226718"/>
                <a:gd name="connsiteY18" fmla="*/ 25642 h 109865"/>
                <a:gd name="connsiteX19" fmla="*/ 21331 w 226718"/>
                <a:gd name="connsiteY19" fmla="*/ 41117 h 109865"/>
                <a:gd name="connsiteX20" fmla="*/ 3999 w 226718"/>
                <a:gd name="connsiteY20" fmla="*/ 52749 h 109865"/>
                <a:gd name="connsiteX21" fmla="*/ -60 w 226718"/>
                <a:gd name="connsiteY21" fmla="*/ 60537 h 109865"/>
                <a:gd name="connsiteX22" fmla="*/ 14106 w 226718"/>
                <a:gd name="connsiteY22" fmla="*/ 64280 h 109865"/>
                <a:gd name="connsiteX23" fmla="*/ 42235 w 226718"/>
                <a:gd name="connsiteY23" fmla="*/ 67288 h 109865"/>
                <a:gd name="connsiteX24" fmla="*/ 55548 w 226718"/>
                <a:gd name="connsiteY24" fmla="*/ 64781 h 109865"/>
                <a:gd name="connsiteX25" fmla="*/ 77223 w 226718"/>
                <a:gd name="connsiteY25" fmla="*/ 65684 h 109865"/>
                <a:gd name="connsiteX26" fmla="*/ 94271 w 226718"/>
                <a:gd name="connsiteY26" fmla="*/ 56793 h 109865"/>
                <a:gd name="connsiteX27" fmla="*/ 114809 w 226718"/>
                <a:gd name="connsiteY27" fmla="*/ 61940 h 109865"/>
                <a:gd name="connsiteX28" fmla="*/ 121953 w 226718"/>
                <a:gd name="connsiteY28" fmla="*/ 74875 h 109865"/>
                <a:gd name="connsiteX29" fmla="*/ 112861 w 226718"/>
                <a:gd name="connsiteY29" fmla="*/ 89949 h 109865"/>
                <a:gd name="connsiteX30" fmla="*/ 182756 w 226718"/>
                <a:gd name="connsiteY30" fmla="*/ 92122 h 109865"/>
                <a:gd name="connsiteX31" fmla="*/ 183487 w 226718"/>
                <a:gd name="connsiteY31" fmla="*/ 91955 h 10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6718" h="109865">
                  <a:moveTo>
                    <a:pt x="183487" y="91955"/>
                  </a:moveTo>
                  <a:cubicBezTo>
                    <a:pt x="189779" y="96153"/>
                    <a:pt x="196719" y="99625"/>
                    <a:pt x="204147" y="102283"/>
                  </a:cubicBezTo>
                  <a:cubicBezTo>
                    <a:pt x="206217" y="103118"/>
                    <a:pt x="224199" y="112711"/>
                    <a:pt x="224442" y="108432"/>
                  </a:cubicBezTo>
                  <a:cubicBezTo>
                    <a:pt x="224889" y="99843"/>
                    <a:pt x="231627" y="86741"/>
                    <a:pt x="219166" y="78686"/>
                  </a:cubicBezTo>
                  <a:cubicBezTo>
                    <a:pt x="205608" y="69929"/>
                    <a:pt x="198871" y="71098"/>
                    <a:pt x="198871" y="60637"/>
                  </a:cubicBezTo>
                  <a:cubicBezTo>
                    <a:pt x="198871" y="49005"/>
                    <a:pt x="189007" y="51880"/>
                    <a:pt x="169484" y="48069"/>
                  </a:cubicBezTo>
                  <a:cubicBezTo>
                    <a:pt x="162178" y="46666"/>
                    <a:pt x="155643" y="44226"/>
                    <a:pt x="148336" y="42922"/>
                  </a:cubicBezTo>
                  <a:cubicBezTo>
                    <a:pt x="138351" y="41151"/>
                    <a:pt x="133359" y="34433"/>
                    <a:pt x="124429" y="33965"/>
                  </a:cubicBezTo>
                  <a:cubicBezTo>
                    <a:pt x="111765" y="33296"/>
                    <a:pt x="107544" y="29720"/>
                    <a:pt x="96016" y="26812"/>
                  </a:cubicBezTo>
                  <a:cubicBezTo>
                    <a:pt x="86396" y="24339"/>
                    <a:pt x="71662" y="24105"/>
                    <a:pt x="63260" y="20127"/>
                  </a:cubicBezTo>
                  <a:cubicBezTo>
                    <a:pt x="56482" y="17052"/>
                    <a:pt x="74544" y="13443"/>
                    <a:pt x="76817" y="13443"/>
                  </a:cubicBezTo>
                  <a:cubicBezTo>
                    <a:pt x="90577" y="12072"/>
                    <a:pt x="93946" y="18155"/>
                    <a:pt x="104621" y="11771"/>
                  </a:cubicBezTo>
                  <a:cubicBezTo>
                    <a:pt x="109167" y="9031"/>
                    <a:pt x="117773" y="3315"/>
                    <a:pt x="103241" y="2246"/>
                  </a:cubicBezTo>
                  <a:cubicBezTo>
                    <a:pt x="96706" y="1778"/>
                    <a:pt x="91064" y="3716"/>
                    <a:pt x="84570" y="2814"/>
                  </a:cubicBezTo>
                  <a:cubicBezTo>
                    <a:pt x="79415" y="2112"/>
                    <a:pt x="73651" y="-528"/>
                    <a:pt x="68334" y="-328"/>
                  </a:cubicBezTo>
                  <a:cubicBezTo>
                    <a:pt x="59161" y="-94"/>
                    <a:pt x="60784" y="9265"/>
                    <a:pt x="47593" y="6557"/>
                  </a:cubicBezTo>
                  <a:cubicBezTo>
                    <a:pt x="39475" y="4920"/>
                    <a:pt x="42073" y="13543"/>
                    <a:pt x="34644" y="13744"/>
                  </a:cubicBezTo>
                  <a:cubicBezTo>
                    <a:pt x="25715" y="14011"/>
                    <a:pt x="14634" y="10401"/>
                    <a:pt x="6232" y="12273"/>
                  </a:cubicBezTo>
                  <a:cubicBezTo>
                    <a:pt x="-3672" y="14312"/>
                    <a:pt x="13579" y="22768"/>
                    <a:pt x="16745" y="25642"/>
                  </a:cubicBezTo>
                  <a:cubicBezTo>
                    <a:pt x="21088" y="29352"/>
                    <a:pt x="19951" y="36873"/>
                    <a:pt x="21331" y="41117"/>
                  </a:cubicBezTo>
                  <a:cubicBezTo>
                    <a:pt x="23117" y="46566"/>
                    <a:pt x="7815" y="48437"/>
                    <a:pt x="3999" y="52749"/>
                  </a:cubicBezTo>
                  <a:cubicBezTo>
                    <a:pt x="1970" y="55062"/>
                    <a:pt x="549" y="57722"/>
                    <a:pt x="-60" y="60537"/>
                  </a:cubicBezTo>
                  <a:cubicBezTo>
                    <a:pt x="3107" y="62475"/>
                    <a:pt x="9844" y="67221"/>
                    <a:pt x="14106" y="64280"/>
                  </a:cubicBezTo>
                  <a:cubicBezTo>
                    <a:pt x="19626" y="60670"/>
                    <a:pt x="34888" y="66419"/>
                    <a:pt x="42235" y="67288"/>
                  </a:cubicBezTo>
                  <a:cubicBezTo>
                    <a:pt x="47593" y="67890"/>
                    <a:pt x="49054" y="64414"/>
                    <a:pt x="55548" y="64781"/>
                  </a:cubicBezTo>
                  <a:cubicBezTo>
                    <a:pt x="62042" y="65149"/>
                    <a:pt x="71784" y="67355"/>
                    <a:pt x="77223" y="65684"/>
                  </a:cubicBezTo>
                  <a:cubicBezTo>
                    <a:pt x="83718" y="63578"/>
                    <a:pt x="86031" y="58698"/>
                    <a:pt x="94271" y="56793"/>
                  </a:cubicBezTo>
                  <a:cubicBezTo>
                    <a:pt x="101861" y="55022"/>
                    <a:pt x="117123" y="54320"/>
                    <a:pt x="114809" y="61940"/>
                  </a:cubicBezTo>
                  <a:cubicBezTo>
                    <a:pt x="112820" y="68458"/>
                    <a:pt x="117894" y="68993"/>
                    <a:pt x="121953" y="74875"/>
                  </a:cubicBezTo>
                  <a:cubicBezTo>
                    <a:pt x="126012" y="80758"/>
                    <a:pt x="113186" y="84702"/>
                    <a:pt x="112861" y="89949"/>
                  </a:cubicBezTo>
                  <a:cubicBezTo>
                    <a:pt x="111806" y="104756"/>
                    <a:pt x="176425" y="88211"/>
                    <a:pt x="182756" y="92122"/>
                  </a:cubicBezTo>
                  <a:cubicBezTo>
                    <a:pt x="189089" y="96032"/>
                    <a:pt x="178657" y="89013"/>
                    <a:pt x="183487" y="9195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3A55E7C6-5FC9-42E1-BF0C-7C1D4F195E2A}"/>
                </a:ext>
              </a:extLst>
            </p:cNvPr>
            <p:cNvSpPr/>
            <p:nvPr/>
          </p:nvSpPr>
          <p:spPr>
            <a:xfrm>
              <a:off x="3446904" y="4834800"/>
              <a:ext cx="31155" cy="19424"/>
            </a:xfrm>
            <a:custGeom>
              <a:avLst/>
              <a:gdLst>
                <a:gd name="connsiteX0" fmla="*/ 30672 w 31155"/>
                <a:gd name="connsiteY0" fmla="*/ 18493 h 19424"/>
                <a:gd name="connsiteX1" fmla="*/ -54 w 31155"/>
                <a:gd name="connsiteY1" fmla="*/ 4088 h 19424"/>
                <a:gd name="connsiteX2" fmla="*/ 16182 w 31155"/>
                <a:gd name="connsiteY2" fmla="*/ 6360 h 19424"/>
                <a:gd name="connsiteX3" fmla="*/ 30713 w 31155"/>
                <a:gd name="connsiteY3" fmla="*/ 18493 h 19424"/>
                <a:gd name="connsiteX4" fmla="*/ 30672 w 31155"/>
                <a:gd name="connsiteY4" fmla="*/ 18493 h 1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5" h="19424">
                  <a:moveTo>
                    <a:pt x="30672" y="18493"/>
                  </a:moveTo>
                  <a:cubicBezTo>
                    <a:pt x="29941" y="21000"/>
                    <a:pt x="189" y="9870"/>
                    <a:pt x="-54" y="4088"/>
                  </a:cubicBezTo>
                  <a:cubicBezTo>
                    <a:pt x="-379" y="-5438"/>
                    <a:pt x="14680" y="2851"/>
                    <a:pt x="16182" y="6360"/>
                  </a:cubicBezTo>
                  <a:cubicBezTo>
                    <a:pt x="18049" y="10872"/>
                    <a:pt x="31930" y="14382"/>
                    <a:pt x="30713" y="18493"/>
                  </a:cubicBezTo>
                  <a:cubicBezTo>
                    <a:pt x="29779" y="21133"/>
                    <a:pt x="31971" y="13814"/>
                    <a:pt x="30672" y="1849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5034B102-C60D-423A-BA52-C827E182B237}"/>
                </a:ext>
              </a:extLst>
            </p:cNvPr>
            <p:cNvSpPr/>
            <p:nvPr/>
          </p:nvSpPr>
          <p:spPr>
            <a:xfrm>
              <a:off x="3444797" y="4833596"/>
              <a:ext cx="34813" cy="22308"/>
            </a:xfrm>
            <a:custGeom>
              <a:avLst/>
              <a:gdLst>
                <a:gd name="connsiteX0" fmla="*/ 32170 w 34813"/>
                <a:gd name="connsiteY0" fmla="*/ 21969 h 22308"/>
                <a:gd name="connsiteX1" fmla="*/ 30993 w 34813"/>
                <a:gd name="connsiteY1" fmla="*/ 21268 h 22308"/>
                <a:gd name="connsiteX2" fmla="*/ 30993 w 34813"/>
                <a:gd name="connsiteY2" fmla="*/ 21268 h 22308"/>
                <a:gd name="connsiteX3" fmla="*/ 25960 w 34813"/>
                <a:gd name="connsiteY3" fmla="*/ 20298 h 22308"/>
                <a:gd name="connsiteX4" fmla="*/ 23 w 34813"/>
                <a:gd name="connsiteY4" fmla="*/ 5659 h 22308"/>
                <a:gd name="connsiteX5" fmla="*/ 3717 w 34813"/>
                <a:gd name="connsiteY5" fmla="*/ 77 h 22308"/>
                <a:gd name="connsiteX6" fmla="*/ 8425 w 34813"/>
                <a:gd name="connsiteY6" fmla="*/ -123 h 22308"/>
                <a:gd name="connsiteX7" fmla="*/ 19993 w 34813"/>
                <a:gd name="connsiteY7" fmla="*/ 6996 h 22308"/>
                <a:gd name="connsiteX8" fmla="*/ 27177 w 34813"/>
                <a:gd name="connsiteY8" fmla="*/ 12343 h 22308"/>
                <a:gd name="connsiteX9" fmla="*/ 33753 w 34813"/>
                <a:gd name="connsiteY9" fmla="*/ 16755 h 22308"/>
                <a:gd name="connsiteX10" fmla="*/ 33753 w 34813"/>
                <a:gd name="connsiteY10" fmla="*/ 16755 h 22308"/>
                <a:gd name="connsiteX11" fmla="*/ 34483 w 34813"/>
                <a:gd name="connsiteY11" fmla="*/ 17223 h 22308"/>
                <a:gd name="connsiteX12" fmla="*/ 34727 w 34813"/>
                <a:gd name="connsiteY12" fmla="*/ 18092 h 22308"/>
                <a:gd name="connsiteX13" fmla="*/ 34727 w 34813"/>
                <a:gd name="connsiteY13" fmla="*/ 18092 h 22308"/>
                <a:gd name="connsiteX14" fmla="*/ 34727 w 34813"/>
                <a:gd name="connsiteY14" fmla="*/ 18694 h 22308"/>
                <a:gd name="connsiteX15" fmla="*/ 34402 w 34813"/>
                <a:gd name="connsiteY15" fmla="*/ 19763 h 22308"/>
                <a:gd name="connsiteX16" fmla="*/ 34402 w 34813"/>
                <a:gd name="connsiteY16" fmla="*/ 20298 h 22308"/>
                <a:gd name="connsiteX17" fmla="*/ 34402 w 34813"/>
                <a:gd name="connsiteY17" fmla="*/ 20298 h 22308"/>
                <a:gd name="connsiteX18" fmla="*/ 33793 w 34813"/>
                <a:gd name="connsiteY18" fmla="*/ 21134 h 22308"/>
                <a:gd name="connsiteX19" fmla="*/ 4731 w 34813"/>
                <a:gd name="connsiteY19" fmla="*/ 2283 h 22308"/>
                <a:gd name="connsiteX20" fmla="*/ 3879 w 34813"/>
                <a:gd name="connsiteY20" fmla="*/ 5091 h 22308"/>
                <a:gd name="connsiteX21" fmla="*/ 30546 w 34813"/>
                <a:gd name="connsiteY21" fmla="*/ 18861 h 22308"/>
                <a:gd name="connsiteX22" fmla="*/ 24255 w 34813"/>
                <a:gd name="connsiteY22" fmla="*/ 14483 h 22308"/>
                <a:gd name="connsiteX23" fmla="*/ 16137 w 34813"/>
                <a:gd name="connsiteY23" fmla="*/ 8299 h 22308"/>
                <a:gd name="connsiteX24" fmla="*/ 6314 w 34813"/>
                <a:gd name="connsiteY24" fmla="*/ 2350 h 22308"/>
                <a:gd name="connsiteX25" fmla="*/ 4731 w 34813"/>
                <a:gd name="connsiteY25" fmla="*/ 2283 h 2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13" h="22308">
                  <a:moveTo>
                    <a:pt x="32170" y="21969"/>
                  </a:moveTo>
                  <a:lnTo>
                    <a:pt x="30993" y="21268"/>
                  </a:lnTo>
                  <a:lnTo>
                    <a:pt x="30993" y="21268"/>
                  </a:lnTo>
                  <a:cubicBezTo>
                    <a:pt x="29268" y="21144"/>
                    <a:pt x="27571" y="20816"/>
                    <a:pt x="25960" y="20298"/>
                  </a:cubicBezTo>
                  <a:cubicBezTo>
                    <a:pt x="18694" y="18260"/>
                    <a:pt x="226" y="10906"/>
                    <a:pt x="23" y="5659"/>
                  </a:cubicBezTo>
                  <a:cubicBezTo>
                    <a:pt x="-440" y="3322"/>
                    <a:pt x="1082" y="1023"/>
                    <a:pt x="3717" y="77"/>
                  </a:cubicBezTo>
                  <a:cubicBezTo>
                    <a:pt x="5222" y="-398"/>
                    <a:pt x="6870" y="-468"/>
                    <a:pt x="8425" y="-123"/>
                  </a:cubicBezTo>
                  <a:cubicBezTo>
                    <a:pt x="13251" y="933"/>
                    <a:pt x="17395" y="3483"/>
                    <a:pt x="19993" y="6996"/>
                  </a:cubicBezTo>
                  <a:cubicBezTo>
                    <a:pt x="20724" y="8801"/>
                    <a:pt x="24052" y="10605"/>
                    <a:pt x="27177" y="12343"/>
                  </a:cubicBezTo>
                  <a:cubicBezTo>
                    <a:pt x="29661" y="13490"/>
                    <a:pt x="31886" y="14984"/>
                    <a:pt x="33753" y="16755"/>
                  </a:cubicBezTo>
                  <a:lnTo>
                    <a:pt x="33753" y="16755"/>
                  </a:lnTo>
                  <a:lnTo>
                    <a:pt x="34483" y="17223"/>
                  </a:lnTo>
                  <a:cubicBezTo>
                    <a:pt x="34715" y="17471"/>
                    <a:pt x="34804" y="17788"/>
                    <a:pt x="34727" y="18092"/>
                  </a:cubicBezTo>
                  <a:lnTo>
                    <a:pt x="34727" y="18092"/>
                  </a:lnTo>
                  <a:cubicBezTo>
                    <a:pt x="34747" y="18293"/>
                    <a:pt x="34747" y="18493"/>
                    <a:pt x="34727" y="18694"/>
                  </a:cubicBezTo>
                  <a:cubicBezTo>
                    <a:pt x="34658" y="19058"/>
                    <a:pt x="34548" y="19416"/>
                    <a:pt x="34402" y="19763"/>
                  </a:cubicBezTo>
                  <a:cubicBezTo>
                    <a:pt x="34427" y="19941"/>
                    <a:pt x="34427" y="20121"/>
                    <a:pt x="34402" y="20298"/>
                  </a:cubicBezTo>
                  <a:lnTo>
                    <a:pt x="34402" y="20298"/>
                  </a:lnTo>
                  <a:cubicBezTo>
                    <a:pt x="34277" y="20609"/>
                    <a:pt x="34069" y="20893"/>
                    <a:pt x="33793" y="21134"/>
                  </a:cubicBezTo>
                  <a:close/>
                  <a:moveTo>
                    <a:pt x="4731" y="2283"/>
                  </a:moveTo>
                  <a:cubicBezTo>
                    <a:pt x="4528" y="2283"/>
                    <a:pt x="3798" y="3052"/>
                    <a:pt x="3879" y="5091"/>
                  </a:cubicBezTo>
                  <a:cubicBezTo>
                    <a:pt x="3879" y="9335"/>
                    <a:pt x="23890" y="17457"/>
                    <a:pt x="30546" y="18861"/>
                  </a:cubicBezTo>
                  <a:cubicBezTo>
                    <a:pt x="28821" y="17073"/>
                    <a:pt x="26682" y="15585"/>
                    <a:pt x="24255" y="14483"/>
                  </a:cubicBezTo>
                  <a:cubicBezTo>
                    <a:pt x="20805" y="12577"/>
                    <a:pt x="17233" y="10639"/>
                    <a:pt x="16137" y="8299"/>
                  </a:cubicBezTo>
                  <a:cubicBezTo>
                    <a:pt x="13836" y="5411"/>
                    <a:pt x="10349" y="3299"/>
                    <a:pt x="6314" y="2350"/>
                  </a:cubicBezTo>
                  <a:cubicBezTo>
                    <a:pt x="5803" y="2220"/>
                    <a:pt x="5259" y="2196"/>
                    <a:pt x="4731" y="228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0D82E0F5-5471-4727-BB13-6BEAFC0AE127}"/>
                </a:ext>
              </a:extLst>
            </p:cNvPr>
            <p:cNvSpPr/>
            <p:nvPr/>
          </p:nvSpPr>
          <p:spPr>
            <a:xfrm>
              <a:off x="4022981" y="4932239"/>
              <a:ext cx="26786" cy="17173"/>
            </a:xfrm>
            <a:custGeom>
              <a:avLst/>
              <a:gdLst>
                <a:gd name="connsiteX0" fmla="*/ 5113 w 26786"/>
                <a:gd name="connsiteY0" fmla="*/ 16378 h 17173"/>
                <a:gd name="connsiteX1" fmla="*/ 1379 w 26786"/>
                <a:gd name="connsiteY1" fmla="*/ 8924 h 17173"/>
                <a:gd name="connsiteX2" fmla="*/ 12217 w 26786"/>
                <a:gd name="connsiteY2" fmla="*/ 1237 h 17173"/>
                <a:gd name="connsiteX3" fmla="*/ 5113 w 26786"/>
                <a:gd name="connsiteY3" fmla="*/ 16378 h 1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86" h="17173">
                  <a:moveTo>
                    <a:pt x="5113" y="16378"/>
                  </a:moveTo>
                  <a:cubicBezTo>
                    <a:pt x="161" y="15241"/>
                    <a:pt x="8604" y="8924"/>
                    <a:pt x="1379" y="8924"/>
                  </a:cubicBezTo>
                  <a:cubicBezTo>
                    <a:pt x="-4831" y="8924"/>
                    <a:pt x="10999" y="1605"/>
                    <a:pt x="12217" y="1237"/>
                  </a:cubicBezTo>
                  <a:cubicBezTo>
                    <a:pt x="38884" y="-7119"/>
                    <a:pt x="24150" y="20689"/>
                    <a:pt x="5113" y="16378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3A77E931-18C8-48E5-80B3-9A0B164F1D29}"/>
                </a:ext>
              </a:extLst>
            </p:cNvPr>
            <p:cNvSpPr/>
            <p:nvPr/>
          </p:nvSpPr>
          <p:spPr>
            <a:xfrm>
              <a:off x="4020970" y="4931968"/>
              <a:ext cx="30640" cy="18636"/>
            </a:xfrm>
            <a:custGeom>
              <a:avLst/>
              <a:gdLst>
                <a:gd name="connsiteX0" fmla="*/ 16420 w 30640"/>
                <a:gd name="connsiteY0" fmla="*/ 17552 h 18636"/>
                <a:gd name="connsiteX1" fmla="*/ 7937 w 30640"/>
                <a:gd name="connsiteY1" fmla="*/ 18086 h 18636"/>
                <a:gd name="connsiteX2" fmla="*/ 7328 w 30640"/>
                <a:gd name="connsiteY2" fmla="*/ 18086 h 18636"/>
                <a:gd name="connsiteX3" fmla="*/ 7328 w 30640"/>
                <a:gd name="connsiteY3" fmla="*/ 18086 h 18636"/>
                <a:gd name="connsiteX4" fmla="*/ 6800 w 30640"/>
                <a:gd name="connsiteY4" fmla="*/ 18086 h 18636"/>
                <a:gd name="connsiteX5" fmla="*/ 6232 w 30640"/>
                <a:gd name="connsiteY5" fmla="*/ 18086 h 18636"/>
                <a:gd name="connsiteX6" fmla="*/ 6232 w 30640"/>
                <a:gd name="connsiteY6" fmla="*/ 18086 h 18636"/>
                <a:gd name="connsiteX7" fmla="*/ 5664 w 30640"/>
                <a:gd name="connsiteY7" fmla="*/ 18086 h 18636"/>
                <a:gd name="connsiteX8" fmla="*/ 4933 w 30640"/>
                <a:gd name="connsiteY8" fmla="*/ 18086 h 18636"/>
                <a:gd name="connsiteX9" fmla="*/ 4933 w 30640"/>
                <a:gd name="connsiteY9" fmla="*/ 18086 h 18636"/>
                <a:gd name="connsiteX10" fmla="*/ 3999 w 30640"/>
                <a:gd name="connsiteY10" fmla="*/ 17050 h 18636"/>
                <a:gd name="connsiteX11" fmla="*/ 3999 w 30640"/>
                <a:gd name="connsiteY11" fmla="*/ 13708 h 18636"/>
                <a:gd name="connsiteX12" fmla="*/ 4284 w 30640"/>
                <a:gd name="connsiteY12" fmla="*/ 11435 h 18636"/>
                <a:gd name="connsiteX13" fmla="*/ 2863 w 30640"/>
                <a:gd name="connsiteY13" fmla="*/ 11201 h 18636"/>
                <a:gd name="connsiteX14" fmla="*/ -60 w 30640"/>
                <a:gd name="connsiteY14" fmla="*/ 9831 h 18636"/>
                <a:gd name="connsiteX15" fmla="*/ 13498 w 30640"/>
                <a:gd name="connsiteY15" fmla="*/ 1341 h 18636"/>
                <a:gd name="connsiteX16" fmla="*/ 25674 w 30640"/>
                <a:gd name="connsiteY16" fmla="*/ -163 h 18636"/>
                <a:gd name="connsiteX17" fmla="*/ 30261 w 30640"/>
                <a:gd name="connsiteY17" fmla="*/ 3180 h 18636"/>
                <a:gd name="connsiteX18" fmla="*/ 16420 w 30640"/>
                <a:gd name="connsiteY18" fmla="*/ 17552 h 18636"/>
                <a:gd name="connsiteX19" fmla="*/ 4243 w 30640"/>
                <a:gd name="connsiteY19" fmla="*/ 8093 h 18636"/>
                <a:gd name="connsiteX20" fmla="*/ 7531 w 30640"/>
                <a:gd name="connsiteY20" fmla="*/ 8995 h 18636"/>
                <a:gd name="connsiteX21" fmla="*/ 7531 w 30640"/>
                <a:gd name="connsiteY21" fmla="*/ 12939 h 18636"/>
                <a:gd name="connsiteX22" fmla="*/ 7774 w 30640"/>
                <a:gd name="connsiteY22" fmla="*/ 15546 h 18636"/>
                <a:gd name="connsiteX23" fmla="*/ 15364 w 30640"/>
                <a:gd name="connsiteY23" fmla="*/ 15546 h 18636"/>
                <a:gd name="connsiteX24" fmla="*/ 26405 w 30640"/>
                <a:gd name="connsiteY24" fmla="*/ 3280 h 18636"/>
                <a:gd name="connsiteX25" fmla="*/ 16501 w 30640"/>
                <a:gd name="connsiteY25" fmla="*/ 2110 h 18636"/>
                <a:gd name="connsiteX26" fmla="*/ 14512 w 30640"/>
                <a:gd name="connsiteY26" fmla="*/ 2678 h 18636"/>
                <a:gd name="connsiteX27" fmla="*/ 4284 w 30640"/>
                <a:gd name="connsiteY27" fmla="*/ 8059 h 18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640" h="18636">
                  <a:moveTo>
                    <a:pt x="16420" y="17552"/>
                  </a:moveTo>
                  <a:cubicBezTo>
                    <a:pt x="13692" y="18310"/>
                    <a:pt x="10774" y="18494"/>
                    <a:pt x="7937" y="18086"/>
                  </a:cubicBezTo>
                  <a:lnTo>
                    <a:pt x="7328" y="18086"/>
                  </a:lnTo>
                  <a:lnTo>
                    <a:pt x="7328" y="18086"/>
                  </a:lnTo>
                  <a:lnTo>
                    <a:pt x="6800" y="18086"/>
                  </a:lnTo>
                  <a:lnTo>
                    <a:pt x="6232" y="18086"/>
                  </a:lnTo>
                  <a:lnTo>
                    <a:pt x="6232" y="18086"/>
                  </a:lnTo>
                  <a:lnTo>
                    <a:pt x="5664" y="18086"/>
                  </a:lnTo>
                  <a:lnTo>
                    <a:pt x="4933" y="18086"/>
                  </a:lnTo>
                  <a:lnTo>
                    <a:pt x="4933" y="18086"/>
                  </a:lnTo>
                  <a:cubicBezTo>
                    <a:pt x="4121" y="17853"/>
                    <a:pt x="3878" y="17619"/>
                    <a:pt x="3999" y="17050"/>
                  </a:cubicBezTo>
                  <a:cubicBezTo>
                    <a:pt x="3545" y="15967"/>
                    <a:pt x="3545" y="14791"/>
                    <a:pt x="3999" y="13708"/>
                  </a:cubicBezTo>
                  <a:cubicBezTo>
                    <a:pt x="4324" y="12806"/>
                    <a:pt x="4690" y="11770"/>
                    <a:pt x="4284" y="11435"/>
                  </a:cubicBezTo>
                  <a:cubicBezTo>
                    <a:pt x="3849" y="11238"/>
                    <a:pt x="3354" y="11158"/>
                    <a:pt x="2863" y="11201"/>
                  </a:cubicBezTo>
                  <a:cubicBezTo>
                    <a:pt x="346" y="11201"/>
                    <a:pt x="-19" y="10232"/>
                    <a:pt x="-60" y="9831"/>
                  </a:cubicBezTo>
                  <a:cubicBezTo>
                    <a:pt x="-60" y="7057"/>
                    <a:pt x="13376" y="1375"/>
                    <a:pt x="13498" y="1341"/>
                  </a:cubicBezTo>
                  <a:cubicBezTo>
                    <a:pt x="17293" y="-126"/>
                    <a:pt x="21526" y="-647"/>
                    <a:pt x="25674" y="-163"/>
                  </a:cubicBezTo>
                  <a:cubicBezTo>
                    <a:pt x="27846" y="151"/>
                    <a:pt x="29620" y="1442"/>
                    <a:pt x="30261" y="3180"/>
                  </a:cubicBezTo>
                  <a:cubicBezTo>
                    <a:pt x="32088" y="6856"/>
                    <a:pt x="25918" y="15012"/>
                    <a:pt x="16420" y="17552"/>
                  </a:cubicBezTo>
                  <a:close/>
                  <a:moveTo>
                    <a:pt x="4243" y="8093"/>
                  </a:moveTo>
                  <a:cubicBezTo>
                    <a:pt x="5436" y="8059"/>
                    <a:pt x="6601" y="8380"/>
                    <a:pt x="7531" y="8995"/>
                  </a:cubicBezTo>
                  <a:cubicBezTo>
                    <a:pt x="8749" y="10031"/>
                    <a:pt x="8221" y="11569"/>
                    <a:pt x="7531" y="12939"/>
                  </a:cubicBezTo>
                  <a:cubicBezTo>
                    <a:pt x="6841" y="14310"/>
                    <a:pt x="6841" y="15346"/>
                    <a:pt x="7774" y="15546"/>
                  </a:cubicBezTo>
                  <a:cubicBezTo>
                    <a:pt x="10246" y="16168"/>
                    <a:pt x="12889" y="16168"/>
                    <a:pt x="15364" y="15546"/>
                  </a:cubicBezTo>
                  <a:cubicBezTo>
                    <a:pt x="22630" y="13608"/>
                    <a:pt x="27826" y="6923"/>
                    <a:pt x="26405" y="3280"/>
                  </a:cubicBezTo>
                  <a:cubicBezTo>
                    <a:pt x="25309" y="439"/>
                    <a:pt x="20398" y="1074"/>
                    <a:pt x="16501" y="2110"/>
                  </a:cubicBezTo>
                  <a:cubicBezTo>
                    <a:pt x="15852" y="2110"/>
                    <a:pt x="15202" y="2444"/>
                    <a:pt x="14512" y="2678"/>
                  </a:cubicBezTo>
                  <a:cubicBezTo>
                    <a:pt x="10896" y="4192"/>
                    <a:pt x="7470" y="5994"/>
                    <a:pt x="4284" y="805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BDE2B3C8-5CC8-47D6-A7AE-328B2550A49C}"/>
                </a:ext>
              </a:extLst>
            </p:cNvPr>
            <p:cNvSpPr/>
            <p:nvPr/>
          </p:nvSpPr>
          <p:spPr>
            <a:xfrm>
              <a:off x="7137533" y="4156516"/>
              <a:ext cx="98267" cy="55188"/>
            </a:xfrm>
            <a:custGeom>
              <a:avLst/>
              <a:gdLst>
                <a:gd name="connsiteX0" fmla="*/ 93662 w 98267"/>
                <a:gd name="connsiteY0" fmla="*/ 45184 h 55188"/>
                <a:gd name="connsiteX1" fmla="*/ 77426 w 98267"/>
                <a:gd name="connsiteY1" fmla="*/ 32884 h 55188"/>
                <a:gd name="connsiteX2" fmla="*/ 67603 w 98267"/>
                <a:gd name="connsiteY2" fmla="*/ 18011 h 55188"/>
                <a:gd name="connsiteX3" fmla="*/ 51367 w 98267"/>
                <a:gd name="connsiteY3" fmla="*/ 2603 h 55188"/>
                <a:gd name="connsiteX4" fmla="*/ -60 w 98267"/>
                <a:gd name="connsiteY4" fmla="*/ -339 h 55188"/>
                <a:gd name="connsiteX5" fmla="*/ 11792 w 98267"/>
                <a:gd name="connsiteY5" fmla="*/ 19013 h 55188"/>
                <a:gd name="connsiteX6" fmla="*/ 32818 w 98267"/>
                <a:gd name="connsiteY6" fmla="*/ 29041 h 55188"/>
                <a:gd name="connsiteX7" fmla="*/ 58146 w 98267"/>
                <a:gd name="connsiteY7" fmla="*/ 39803 h 55188"/>
                <a:gd name="connsiteX8" fmla="*/ 77507 w 98267"/>
                <a:gd name="connsiteY8" fmla="*/ 54275 h 55188"/>
                <a:gd name="connsiteX9" fmla="*/ 98208 w 98267"/>
                <a:gd name="connsiteY9" fmla="*/ 54275 h 55188"/>
                <a:gd name="connsiteX10" fmla="*/ 93662 w 98267"/>
                <a:gd name="connsiteY10" fmla="*/ 45184 h 55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8267" h="55188">
                  <a:moveTo>
                    <a:pt x="93662" y="45184"/>
                  </a:moveTo>
                  <a:cubicBezTo>
                    <a:pt x="94433" y="41006"/>
                    <a:pt x="80633" y="36561"/>
                    <a:pt x="77426" y="32884"/>
                  </a:cubicBezTo>
                  <a:cubicBezTo>
                    <a:pt x="73570" y="28212"/>
                    <a:pt x="70242" y="23228"/>
                    <a:pt x="67603" y="18011"/>
                  </a:cubicBezTo>
                  <a:cubicBezTo>
                    <a:pt x="64031" y="10858"/>
                    <a:pt x="67603" y="5978"/>
                    <a:pt x="51367" y="2603"/>
                  </a:cubicBezTo>
                  <a:cubicBezTo>
                    <a:pt x="33589" y="-1141"/>
                    <a:pt x="17759" y="196"/>
                    <a:pt x="-60" y="-339"/>
                  </a:cubicBezTo>
                  <a:cubicBezTo>
                    <a:pt x="5461" y="5510"/>
                    <a:pt x="-872" y="15036"/>
                    <a:pt x="11792" y="19013"/>
                  </a:cubicBezTo>
                  <a:cubicBezTo>
                    <a:pt x="24456" y="22991"/>
                    <a:pt x="28556" y="19682"/>
                    <a:pt x="32818" y="29041"/>
                  </a:cubicBezTo>
                  <a:cubicBezTo>
                    <a:pt x="40936" y="29609"/>
                    <a:pt x="50637" y="36995"/>
                    <a:pt x="58146" y="39803"/>
                  </a:cubicBezTo>
                  <a:cubicBezTo>
                    <a:pt x="67968" y="43446"/>
                    <a:pt x="81160" y="45585"/>
                    <a:pt x="77507" y="54275"/>
                  </a:cubicBezTo>
                  <a:cubicBezTo>
                    <a:pt x="84367" y="55041"/>
                    <a:pt x="91348" y="55041"/>
                    <a:pt x="98208" y="54275"/>
                  </a:cubicBezTo>
                  <a:cubicBezTo>
                    <a:pt x="95773" y="51615"/>
                    <a:pt x="94190" y="48486"/>
                    <a:pt x="93662" y="4518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9895459E-6CCE-4ECB-9B0B-6A79B8D4EC47}"/>
                </a:ext>
              </a:extLst>
            </p:cNvPr>
            <p:cNvSpPr/>
            <p:nvPr/>
          </p:nvSpPr>
          <p:spPr>
            <a:xfrm>
              <a:off x="7181167" y="4154036"/>
              <a:ext cx="154761" cy="77047"/>
            </a:xfrm>
            <a:custGeom>
              <a:avLst/>
              <a:gdLst>
                <a:gd name="connsiteX0" fmla="*/ 151827 w 154761"/>
                <a:gd name="connsiteY0" fmla="*/ 34227 h 77047"/>
                <a:gd name="connsiteX1" fmla="*/ 127473 w 154761"/>
                <a:gd name="connsiteY1" fmla="*/ 11065 h 77047"/>
                <a:gd name="connsiteX2" fmla="*/ 108599 w 154761"/>
                <a:gd name="connsiteY2" fmla="*/ 15143 h 77047"/>
                <a:gd name="connsiteX3" fmla="*/ 101293 w 154761"/>
                <a:gd name="connsiteY3" fmla="*/ 17382 h 77047"/>
                <a:gd name="connsiteX4" fmla="*/ 91470 w 154761"/>
                <a:gd name="connsiteY4" fmla="*/ 14608 h 77047"/>
                <a:gd name="connsiteX5" fmla="*/ 53803 w 154761"/>
                <a:gd name="connsiteY5" fmla="*/ 2040 h 77047"/>
                <a:gd name="connsiteX6" fmla="*/ 62205 w 154761"/>
                <a:gd name="connsiteY6" fmla="*/ 11566 h 77047"/>
                <a:gd name="connsiteX7" fmla="*/ 40570 w 154761"/>
                <a:gd name="connsiteY7" fmla="*/ 11132 h 77047"/>
                <a:gd name="connsiteX8" fmla="*/ 19708 w 154761"/>
                <a:gd name="connsiteY8" fmla="*/ 10229 h 77047"/>
                <a:gd name="connsiteX9" fmla="*/ 33792 w 154761"/>
                <a:gd name="connsiteY9" fmla="*/ 35364 h 77047"/>
                <a:gd name="connsiteX10" fmla="*/ 48973 w 154761"/>
                <a:gd name="connsiteY10" fmla="*/ 45391 h 77047"/>
                <a:gd name="connsiteX11" fmla="*/ 69836 w 154761"/>
                <a:gd name="connsiteY11" fmla="*/ 54315 h 77047"/>
                <a:gd name="connsiteX12" fmla="*/ 103363 w 154761"/>
                <a:gd name="connsiteY12" fmla="*/ 55351 h 77047"/>
                <a:gd name="connsiteX13" fmla="*/ 118787 w 154761"/>
                <a:gd name="connsiteY13" fmla="*/ 76709 h 77047"/>
                <a:gd name="connsiteX14" fmla="*/ 151868 w 154761"/>
                <a:gd name="connsiteY14" fmla="*/ 34094 h 77047"/>
                <a:gd name="connsiteX15" fmla="*/ 14634 w 154761"/>
                <a:gd name="connsiteY15" fmla="*/ 42216 h 77047"/>
                <a:gd name="connsiteX16" fmla="*/ -60 w 154761"/>
                <a:gd name="connsiteY16" fmla="*/ 36500 h 77047"/>
                <a:gd name="connsiteX17" fmla="*/ 33995 w 154761"/>
                <a:gd name="connsiteY17" fmla="*/ 56554 h 77047"/>
                <a:gd name="connsiteX18" fmla="*/ 14634 w 154761"/>
                <a:gd name="connsiteY18" fmla="*/ 42082 h 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4761" h="77047">
                  <a:moveTo>
                    <a:pt x="151827" y="34227"/>
                  </a:moveTo>
                  <a:cubicBezTo>
                    <a:pt x="145982" y="26206"/>
                    <a:pt x="135591" y="18518"/>
                    <a:pt x="127473" y="11065"/>
                  </a:cubicBezTo>
                  <a:cubicBezTo>
                    <a:pt x="123658" y="15310"/>
                    <a:pt x="115581" y="13939"/>
                    <a:pt x="108599" y="15143"/>
                  </a:cubicBezTo>
                  <a:cubicBezTo>
                    <a:pt x="106367" y="16246"/>
                    <a:pt x="103891" y="17004"/>
                    <a:pt x="101293" y="17382"/>
                  </a:cubicBezTo>
                  <a:cubicBezTo>
                    <a:pt x="98167" y="16149"/>
                    <a:pt x="94879" y="15219"/>
                    <a:pt x="91470" y="14608"/>
                  </a:cubicBezTo>
                  <a:cubicBezTo>
                    <a:pt x="79983" y="15143"/>
                    <a:pt x="68862" y="-7586"/>
                    <a:pt x="53803" y="2040"/>
                  </a:cubicBezTo>
                  <a:cubicBezTo>
                    <a:pt x="48080" y="5717"/>
                    <a:pt x="60175" y="8157"/>
                    <a:pt x="62205" y="11566"/>
                  </a:cubicBezTo>
                  <a:cubicBezTo>
                    <a:pt x="65330" y="16780"/>
                    <a:pt x="43127" y="12034"/>
                    <a:pt x="40570" y="11132"/>
                  </a:cubicBezTo>
                  <a:cubicBezTo>
                    <a:pt x="32128" y="8023"/>
                    <a:pt x="6150" y="-4076"/>
                    <a:pt x="19708" y="10229"/>
                  </a:cubicBezTo>
                  <a:cubicBezTo>
                    <a:pt x="27095" y="18017"/>
                    <a:pt x="26648" y="27376"/>
                    <a:pt x="33792" y="35364"/>
                  </a:cubicBezTo>
                  <a:cubicBezTo>
                    <a:pt x="37323" y="39341"/>
                    <a:pt x="44995" y="41714"/>
                    <a:pt x="48973" y="45391"/>
                  </a:cubicBezTo>
                  <a:cubicBezTo>
                    <a:pt x="57496" y="53647"/>
                    <a:pt x="48648" y="58760"/>
                    <a:pt x="69836" y="54315"/>
                  </a:cubicBezTo>
                  <a:cubicBezTo>
                    <a:pt x="78563" y="52477"/>
                    <a:pt x="105717" y="43018"/>
                    <a:pt x="103363" y="55351"/>
                  </a:cubicBezTo>
                  <a:cubicBezTo>
                    <a:pt x="101171" y="66615"/>
                    <a:pt x="94230" y="68152"/>
                    <a:pt x="118787" y="76709"/>
                  </a:cubicBezTo>
                  <a:cubicBezTo>
                    <a:pt x="119883" y="60933"/>
                    <a:pt x="166480" y="53947"/>
                    <a:pt x="151868" y="34094"/>
                  </a:cubicBezTo>
                  <a:close/>
                  <a:moveTo>
                    <a:pt x="14634" y="42216"/>
                  </a:moveTo>
                  <a:cubicBezTo>
                    <a:pt x="9925" y="40023"/>
                    <a:pt x="5014" y="38115"/>
                    <a:pt x="-60" y="36500"/>
                  </a:cubicBezTo>
                  <a:cubicBezTo>
                    <a:pt x="4648" y="46527"/>
                    <a:pt x="15121" y="54282"/>
                    <a:pt x="33995" y="56554"/>
                  </a:cubicBezTo>
                  <a:cubicBezTo>
                    <a:pt x="37648" y="47864"/>
                    <a:pt x="24456" y="45725"/>
                    <a:pt x="14634" y="42082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083A81BC-75C0-4304-97B5-F26F0EA1E529}"/>
                </a:ext>
              </a:extLst>
            </p:cNvPr>
            <p:cNvSpPr/>
            <p:nvPr/>
          </p:nvSpPr>
          <p:spPr>
            <a:xfrm>
              <a:off x="7639896" y="4338013"/>
              <a:ext cx="467934" cy="148076"/>
            </a:xfrm>
            <a:custGeom>
              <a:avLst/>
              <a:gdLst>
                <a:gd name="connsiteX0" fmla="*/ 452735 w 467934"/>
                <a:gd name="connsiteY0" fmla="*/ 61822 h 148076"/>
                <a:gd name="connsiteX1" fmla="*/ 427245 w 467934"/>
                <a:gd name="connsiteY1" fmla="*/ 54469 h 148076"/>
                <a:gd name="connsiteX2" fmla="*/ 379187 w 467934"/>
                <a:gd name="connsiteY2" fmla="*/ 57209 h 148076"/>
                <a:gd name="connsiteX3" fmla="*/ 380932 w 467934"/>
                <a:gd name="connsiteY3" fmla="*/ 42269 h 148076"/>
                <a:gd name="connsiteX4" fmla="*/ 374600 w 467934"/>
                <a:gd name="connsiteY4" fmla="*/ 24354 h 148076"/>
                <a:gd name="connsiteX5" fmla="*/ 334010 w 467934"/>
                <a:gd name="connsiteY5" fmla="*/ 28498 h 148076"/>
                <a:gd name="connsiteX6" fmla="*/ 308236 w 467934"/>
                <a:gd name="connsiteY6" fmla="*/ 27563 h 148076"/>
                <a:gd name="connsiteX7" fmla="*/ 281568 w 467934"/>
                <a:gd name="connsiteY7" fmla="*/ 25858 h 148076"/>
                <a:gd name="connsiteX8" fmla="*/ 257214 w 467934"/>
                <a:gd name="connsiteY8" fmla="*/ 21479 h 148076"/>
                <a:gd name="connsiteX9" fmla="*/ 230182 w 467934"/>
                <a:gd name="connsiteY9" fmla="*/ 8578 h 148076"/>
                <a:gd name="connsiteX10" fmla="*/ 210455 w 467934"/>
                <a:gd name="connsiteY10" fmla="*/ 4634 h 148076"/>
                <a:gd name="connsiteX11" fmla="*/ 194990 w 467934"/>
                <a:gd name="connsiteY11" fmla="*/ -279 h 148076"/>
                <a:gd name="connsiteX12" fmla="*/ 181758 w 467934"/>
                <a:gd name="connsiteY12" fmla="*/ 3531 h 148076"/>
                <a:gd name="connsiteX13" fmla="*/ 165035 w 467934"/>
                <a:gd name="connsiteY13" fmla="*/ 2996 h 148076"/>
                <a:gd name="connsiteX14" fmla="*/ 147663 w 467934"/>
                <a:gd name="connsiteY14" fmla="*/ 17268 h 148076"/>
                <a:gd name="connsiteX15" fmla="*/ 118722 w 467934"/>
                <a:gd name="connsiteY15" fmla="*/ 18137 h 148076"/>
                <a:gd name="connsiteX16" fmla="*/ 100822 w 467934"/>
                <a:gd name="connsiteY16" fmla="*/ 24020 h 148076"/>
                <a:gd name="connsiteX17" fmla="*/ 74114 w 467934"/>
                <a:gd name="connsiteY17" fmla="*/ 22014 h 148076"/>
                <a:gd name="connsiteX18" fmla="*/ 50288 w 467934"/>
                <a:gd name="connsiteY18" fmla="*/ 13959 h 148076"/>
                <a:gd name="connsiteX19" fmla="*/ 32509 w 467934"/>
                <a:gd name="connsiteY19" fmla="*/ 26426 h 148076"/>
                <a:gd name="connsiteX20" fmla="*/ 15137 w 467934"/>
                <a:gd name="connsiteY20" fmla="*/ 38927 h 148076"/>
                <a:gd name="connsiteX21" fmla="*/ 15137 w 467934"/>
                <a:gd name="connsiteY21" fmla="*/ 48051 h 148076"/>
                <a:gd name="connsiteX22" fmla="*/ 9942 w 467934"/>
                <a:gd name="connsiteY22" fmla="*/ 62958 h 148076"/>
                <a:gd name="connsiteX23" fmla="*/ 11322 w 467934"/>
                <a:gd name="connsiteY23" fmla="*/ 84015 h 148076"/>
                <a:gd name="connsiteX24" fmla="*/ 35676 w 467934"/>
                <a:gd name="connsiteY24" fmla="*/ 94042 h 148076"/>
                <a:gd name="connsiteX25" fmla="*/ 322 w 467934"/>
                <a:gd name="connsiteY25" fmla="*/ 114999 h 148076"/>
                <a:gd name="connsiteX26" fmla="*/ 141737 w 467934"/>
                <a:gd name="connsiteY26" fmla="*/ 145080 h 148076"/>
                <a:gd name="connsiteX27" fmla="*/ 175264 w 467934"/>
                <a:gd name="connsiteY27" fmla="*/ 143676 h 148076"/>
                <a:gd name="connsiteX28" fmla="*/ 178633 w 467934"/>
                <a:gd name="connsiteY28" fmla="*/ 128769 h 148076"/>
                <a:gd name="connsiteX29" fmla="*/ 221698 w 467934"/>
                <a:gd name="connsiteY29" fmla="*/ 130373 h 148076"/>
                <a:gd name="connsiteX30" fmla="*/ 253318 w 467934"/>
                <a:gd name="connsiteY30" fmla="*/ 126630 h 148076"/>
                <a:gd name="connsiteX31" fmla="*/ 262126 w 467934"/>
                <a:gd name="connsiteY31" fmla="*/ 132045 h 148076"/>
                <a:gd name="connsiteX32" fmla="*/ 276332 w 467934"/>
                <a:gd name="connsiteY32" fmla="*/ 120079 h 148076"/>
                <a:gd name="connsiteX33" fmla="*/ 285221 w 467934"/>
                <a:gd name="connsiteY33" fmla="*/ 109016 h 148076"/>
                <a:gd name="connsiteX34" fmla="*/ 310590 w 467934"/>
                <a:gd name="connsiteY34" fmla="*/ 108615 h 148076"/>
                <a:gd name="connsiteX35" fmla="*/ 315704 w 467934"/>
                <a:gd name="connsiteY35" fmla="*/ 96081 h 148076"/>
                <a:gd name="connsiteX36" fmla="*/ 343793 w 467934"/>
                <a:gd name="connsiteY36" fmla="*/ 92739 h 148076"/>
                <a:gd name="connsiteX37" fmla="*/ 362992 w 467934"/>
                <a:gd name="connsiteY37" fmla="*/ 83079 h 148076"/>
                <a:gd name="connsiteX38" fmla="*/ 360637 w 467934"/>
                <a:gd name="connsiteY38" fmla="*/ 66133 h 148076"/>
                <a:gd name="connsiteX39" fmla="*/ 411740 w 467934"/>
                <a:gd name="connsiteY39" fmla="*/ 61621 h 148076"/>
                <a:gd name="connsiteX40" fmla="*/ 467875 w 467934"/>
                <a:gd name="connsiteY40" fmla="*/ 67136 h 148076"/>
                <a:gd name="connsiteX41" fmla="*/ 452614 w 467934"/>
                <a:gd name="connsiteY41" fmla="*/ 61855 h 148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67934" h="148076">
                  <a:moveTo>
                    <a:pt x="452735" y="61822"/>
                  </a:moveTo>
                  <a:cubicBezTo>
                    <a:pt x="439300" y="59883"/>
                    <a:pt x="446119" y="51594"/>
                    <a:pt x="427245" y="54469"/>
                  </a:cubicBezTo>
                  <a:cubicBezTo>
                    <a:pt x="411659" y="56842"/>
                    <a:pt x="397939" y="61153"/>
                    <a:pt x="379187" y="57209"/>
                  </a:cubicBezTo>
                  <a:cubicBezTo>
                    <a:pt x="364777" y="54101"/>
                    <a:pt x="378415" y="45511"/>
                    <a:pt x="380932" y="42269"/>
                  </a:cubicBezTo>
                  <a:cubicBezTo>
                    <a:pt x="385316" y="36620"/>
                    <a:pt x="372489" y="31306"/>
                    <a:pt x="374600" y="24354"/>
                  </a:cubicBezTo>
                  <a:cubicBezTo>
                    <a:pt x="379633" y="7642"/>
                    <a:pt x="335431" y="28398"/>
                    <a:pt x="334010" y="28498"/>
                  </a:cubicBezTo>
                  <a:cubicBezTo>
                    <a:pt x="326461" y="28766"/>
                    <a:pt x="314690" y="25457"/>
                    <a:pt x="308236" y="27563"/>
                  </a:cubicBezTo>
                  <a:cubicBezTo>
                    <a:pt x="298981" y="30571"/>
                    <a:pt x="293867" y="27128"/>
                    <a:pt x="281568" y="25858"/>
                  </a:cubicBezTo>
                  <a:cubicBezTo>
                    <a:pt x="268377" y="24521"/>
                    <a:pt x="270365" y="29368"/>
                    <a:pt x="257214" y="21479"/>
                  </a:cubicBezTo>
                  <a:cubicBezTo>
                    <a:pt x="248772" y="16396"/>
                    <a:pt x="239720" y="12071"/>
                    <a:pt x="230182" y="8578"/>
                  </a:cubicBezTo>
                  <a:cubicBezTo>
                    <a:pt x="223363" y="6539"/>
                    <a:pt x="217274" y="7575"/>
                    <a:pt x="210455" y="4634"/>
                  </a:cubicBezTo>
                  <a:cubicBezTo>
                    <a:pt x="206153" y="2796"/>
                    <a:pt x="200551" y="-848"/>
                    <a:pt x="194990" y="-279"/>
                  </a:cubicBezTo>
                  <a:cubicBezTo>
                    <a:pt x="190444" y="667"/>
                    <a:pt x="186020" y="1943"/>
                    <a:pt x="181758" y="3531"/>
                  </a:cubicBezTo>
                  <a:cubicBezTo>
                    <a:pt x="175751" y="4968"/>
                    <a:pt x="170433" y="1158"/>
                    <a:pt x="165035" y="2996"/>
                  </a:cubicBezTo>
                  <a:cubicBezTo>
                    <a:pt x="156065" y="6138"/>
                    <a:pt x="156106" y="14360"/>
                    <a:pt x="147663" y="17268"/>
                  </a:cubicBezTo>
                  <a:cubicBezTo>
                    <a:pt x="140316" y="19808"/>
                    <a:pt x="127368" y="18204"/>
                    <a:pt x="118722" y="18137"/>
                  </a:cubicBezTo>
                  <a:cubicBezTo>
                    <a:pt x="106545" y="18137"/>
                    <a:pt x="106545" y="19441"/>
                    <a:pt x="100822" y="24020"/>
                  </a:cubicBezTo>
                  <a:cubicBezTo>
                    <a:pt x="97129" y="27028"/>
                    <a:pt x="75575" y="28264"/>
                    <a:pt x="74114" y="22014"/>
                  </a:cubicBezTo>
                  <a:cubicBezTo>
                    <a:pt x="73181" y="18137"/>
                    <a:pt x="55970" y="14695"/>
                    <a:pt x="50288" y="13959"/>
                  </a:cubicBezTo>
                  <a:cubicBezTo>
                    <a:pt x="36447" y="12121"/>
                    <a:pt x="38882" y="22950"/>
                    <a:pt x="32509" y="26426"/>
                  </a:cubicBezTo>
                  <a:cubicBezTo>
                    <a:pt x="25000" y="30504"/>
                    <a:pt x="18953" y="32944"/>
                    <a:pt x="15137" y="38927"/>
                  </a:cubicBezTo>
                  <a:cubicBezTo>
                    <a:pt x="12986" y="42269"/>
                    <a:pt x="16274" y="44776"/>
                    <a:pt x="15137" y="48051"/>
                  </a:cubicBezTo>
                  <a:cubicBezTo>
                    <a:pt x="13595" y="53332"/>
                    <a:pt x="7019" y="56808"/>
                    <a:pt x="9942" y="62958"/>
                  </a:cubicBezTo>
                  <a:cubicBezTo>
                    <a:pt x="12053" y="67236"/>
                    <a:pt x="5517" y="81241"/>
                    <a:pt x="11322" y="84015"/>
                  </a:cubicBezTo>
                  <a:cubicBezTo>
                    <a:pt x="19075" y="87725"/>
                    <a:pt x="29831" y="88627"/>
                    <a:pt x="35676" y="94042"/>
                  </a:cubicBezTo>
                  <a:cubicBezTo>
                    <a:pt x="48705" y="106275"/>
                    <a:pt x="4543" y="107813"/>
                    <a:pt x="322" y="114999"/>
                  </a:cubicBezTo>
                  <a:cubicBezTo>
                    <a:pt x="-8121" y="128669"/>
                    <a:pt x="126150" y="143175"/>
                    <a:pt x="141737" y="145080"/>
                  </a:cubicBezTo>
                  <a:cubicBezTo>
                    <a:pt x="151803" y="146083"/>
                    <a:pt x="174533" y="151263"/>
                    <a:pt x="175264" y="143676"/>
                  </a:cubicBezTo>
                  <a:cubicBezTo>
                    <a:pt x="175670" y="139565"/>
                    <a:pt x="172504" y="131243"/>
                    <a:pt x="178633" y="128769"/>
                  </a:cubicBezTo>
                  <a:cubicBezTo>
                    <a:pt x="193407" y="122753"/>
                    <a:pt x="209156" y="133415"/>
                    <a:pt x="221698" y="130373"/>
                  </a:cubicBezTo>
                  <a:cubicBezTo>
                    <a:pt x="232373" y="127800"/>
                    <a:pt x="236554" y="122753"/>
                    <a:pt x="253318" y="126630"/>
                  </a:cubicBezTo>
                  <a:cubicBezTo>
                    <a:pt x="258513" y="127833"/>
                    <a:pt x="257377" y="131075"/>
                    <a:pt x="262126" y="132045"/>
                  </a:cubicBezTo>
                  <a:cubicBezTo>
                    <a:pt x="272639" y="134217"/>
                    <a:pt x="275115" y="123388"/>
                    <a:pt x="276332" y="120079"/>
                  </a:cubicBezTo>
                  <a:cubicBezTo>
                    <a:pt x="277550" y="116770"/>
                    <a:pt x="278362" y="110052"/>
                    <a:pt x="285221" y="109016"/>
                  </a:cubicBezTo>
                  <a:cubicBezTo>
                    <a:pt x="293339" y="107779"/>
                    <a:pt x="302959" y="111690"/>
                    <a:pt x="310590" y="108615"/>
                  </a:cubicBezTo>
                  <a:cubicBezTo>
                    <a:pt x="318221" y="105540"/>
                    <a:pt x="293137" y="88293"/>
                    <a:pt x="315704" y="96081"/>
                  </a:cubicBezTo>
                  <a:cubicBezTo>
                    <a:pt x="334294" y="102532"/>
                    <a:pt x="340058" y="104871"/>
                    <a:pt x="343793" y="92739"/>
                  </a:cubicBezTo>
                  <a:cubicBezTo>
                    <a:pt x="345619" y="86923"/>
                    <a:pt x="356984" y="86689"/>
                    <a:pt x="362992" y="83079"/>
                  </a:cubicBezTo>
                  <a:cubicBezTo>
                    <a:pt x="371109" y="78132"/>
                    <a:pt x="361895" y="71882"/>
                    <a:pt x="360637" y="66133"/>
                  </a:cubicBezTo>
                  <a:cubicBezTo>
                    <a:pt x="359216" y="59649"/>
                    <a:pt x="402323" y="61320"/>
                    <a:pt x="411740" y="61621"/>
                  </a:cubicBezTo>
                  <a:cubicBezTo>
                    <a:pt x="431182" y="62223"/>
                    <a:pt x="450138" y="72250"/>
                    <a:pt x="467875" y="67136"/>
                  </a:cubicBezTo>
                  <a:cubicBezTo>
                    <a:pt x="463167" y="64686"/>
                    <a:pt x="458012" y="62898"/>
                    <a:pt x="452614" y="61855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8094C58C-2BF9-4961-8D43-521A8BC1FAF4}"/>
                </a:ext>
              </a:extLst>
            </p:cNvPr>
            <p:cNvSpPr/>
            <p:nvPr/>
          </p:nvSpPr>
          <p:spPr>
            <a:xfrm>
              <a:off x="7644539" y="4399559"/>
              <a:ext cx="532143" cy="213089"/>
            </a:xfrm>
            <a:custGeom>
              <a:avLst/>
              <a:gdLst>
                <a:gd name="connsiteX0" fmla="*/ 512752 w 532143"/>
                <a:gd name="connsiteY0" fmla="*/ 44529 h 213089"/>
                <a:gd name="connsiteX1" fmla="*/ 497936 w 532143"/>
                <a:gd name="connsiteY1" fmla="*/ 24475 h 213089"/>
                <a:gd name="connsiteX2" fmla="*/ 456413 w 532143"/>
                <a:gd name="connsiteY2" fmla="*/ 6760 h 213089"/>
                <a:gd name="connsiteX3" fmla="*/ 407259 w 532143"/>
                <a:gd name="connsiteY3" fmla="*/ 75 h 213089"/>
                <a:gd name="connsiteX4" fmla="*/ 356156 w 532143"/>
                <a:gd name="connsiteY4" fmla="*/ 4588 h 213089"/>
                <a:gd name="connsiteX5" fmla="*/ 360702 w 532143"/>
                <a:gd name="connsiteY5" fmla="*/ 18859 h 213089"/>
                <a:gd name="connsiteX6" fmla="*/ 342518 w 532143"/>
                <a:gd name="connsiteY6" fmla="*/ 27449 h 213089"/>
                <a:gd name="connsiteX7" fmla="*/ 315932 w 532143"/>
                <a:gd name="connsiteY7" fmla="*/ 36206 h 213089"/>
                <a:gd name="connsiteX8" fmla="*/ 307083 w 532143"/>
                <a:gd name="connsiteY8" fmla="*/ 42691 h 213089"/>
                <a:gd name="connsiteX9" fmla="*/ 293567 w 532143"/>
                <a:gd name="connsiteY9" fmla="*/ 48406 h 213089"/>
                <a:gd name="connsiteX10" fmla="*/ 273272 w 532143"/>
                <a:gd name="connsiteY10" fmla="*/ 54456 h 213089"/>
                <a:gd name="connsiteX11" fmla="*/ 253424 w 532143"/>
                <a:gd name="connsiteY11" fmla="*/ 67491 h 213089"/>
                <a:gd name="connsiteX12" fmla="*/ 220952 w 532143"/>
                <a:gd name="connsiteY12" fmla="*/ 65519 h 213089"/>
                <a:gd name="connsiteX13" fmla="*/ 205690 w 532143"/>
                <a:gd name="connsiteY13" fmla="*/ 67524 h 213089"/>
                <a:gd name="connsiteX14" fmla="*/ 178617 w 532143"/>
                <a:gd name="connsiteY14" fmla="*/ 65820 h 213089"/>
                <a:gd name="connsiteX15" fmla="*/ 169443 w 532143"/>
                <a:gd name="connsiteY15" fmla="*/ 85874 h 213089"/>
                <a:gd name="connsiteX16" fmla="*/ 101861 w 532143"/>
                <a:gd name="connsiteY16" fmla="*/ 79690 h 213089"/>
                <a:gd name="connsiteX17" fmla="*/ 387 w 532143"/>
                <a:gd name="connsiteY17" fmla="*/ 60071 h 213089"/>
                <a:gd name="connsiteX18" fmla="*/ 24741 w 532143"/>
                <a:gd name="connsiteY18" fmla="*/ 83868 h 213089"/>
                <a:gd name="connsiteX19" fmla="*/ 46375 w 532143"/>
                <a:gd name="connsiteY19" fmla="*/ 103288 h 213089"/>
                <a:gd name="connsiteX20" fmla="*/ 54493 w 532143"/>
                <a:gd name="connsiteY20" fmla="*/ 117559 h 213089"/>
                <a:gd name="connsiteX21" fmla="*/ 23685 w 532143"/>
                <a:gd name="connsiteY21" fmla="*/ 126016 h 213089"/>
                <a:gd name="connsiteX22" fmla="*/ -60 w 532143"/>
                <a:gd name="connsiteY22" fmla="*/ 143997 h 213089"/>
                <a:gd name="connsiteX23" fmla="*/ 49135 w 532143"/>
                <a:gd name="connsiteY23" fmla="*/ 151852 h 213089"/>
                <a:gd name="connsiteX24" fmla="*/ 79456 w 532143"/>
                <a:gd name="connsiteY24" fmla="*/ 154192 h 213089"/>
                <a:gd name="connsiteX25" fmla="*/ 116798 w 532143"/>
                <a:gd name="connsiteY25" fmla="*/ 163015 h 213089"/>
                <a:gd name="connsiteX26" fmla="*/ 149270 w 532143"/>
                <a:gd name="connsiteY26" fmla="*/ 169165 h 213089"/>
                <a:gd name="connsiteX27" fmla="*/ 162624 w 532143"/>
                <a:gd name="connsiteY27" fmla="*/ 191693 h 213089"/>
                <a:gd name="connsiteX28" fmla="*/ 187344 w 532143"/>
                <a:gd name="connsiteY28" fmla="*/ 207569 h 213089"/>
                <a:gd name="connsiteX29" fmla="*/ 211413 w 532143"/>
                <a:gd name="connsiteY29" fmla="*/ 202288 h 213089"/>
                <a:gd name="connsiteX30" fmla="*/ 275017 w 532143"/>
                <a:gd name="connsiteY30" fmla="*/ 211112 h 213089"/>
                <a:gd name="connsiteX31" fmla="*/ 266372 w 532143"/>
                <a:gd name="connsiteY31" fmla="*/ 190690 h 213089"/>
                <a:gd name="connsiteX32" fmla="*/ 256671 w 532143"/>
                <a:gd name="connsiteY32" fmla="*/ 167026 h 213089"/>
                <a:gd name="connsiteX33" fmla="*/ 252043 w 532143"/>
                <a:gd name="connsiteY33" fmla="*/ 154258 h 213089"/>
                <a:gd name="connsiteX34" fmla="*/ 276641 w 532143"/>
                <a:gd name="connsiteY34" fmla="*/ 147774 h 213089"/>
                <a:gd name="connsiteX35" fmla="*/ 288818 w 532143"/>
                <a:gd name="connsiteY35" fmla="*/ 153156 h 213089"/>
                <a:gd name="connsiteX36" fmla="*/ 300061 w 532143"/>
                <a:gd name="connsiteY36" fmla="*/ 152587 h 213089"/>
                <a:gd name="connsiteX37" fmla="*/ 333548 w 532143"/>
                <a:gd name="connsiteY37" fmla="*/ 151752 h 213089"/>
                <a:gd name="connsiteX38" fmla="*/ 357090 w 532143"/>
                <a:gd name="connsiteY38" fmla="*/ 145635 h 213089"/>
                <a:gd name="connsiteX39" fmla="*/ 374462 w 532143"/>
                <a:gd name="connsiteY39" fmla="*/ 136979 h 213089"/>
                <a:gd name="connsiteX40" fmla="*/ 391916 w 532143"/>
                <a:gd name="connsiteY40" fmla="*/ 130595 h 213089"/>
                <a:gd name="connsiteX41" fmla="*/ 414606 w 532143"/>
                <a:gd name="connsiteY41" fmla="*/ 120568 h 213089"/>
                <a:gd name="connsiteX42" fmla="*/ 431978 w 532143"/>
                <a:gd name="connsiteY42" fmla="*/ 106463 h 213089"/>
                <a:gd name="connsiteX43" fmla="*/ 450690 w 532143"/>
                <a:gd name="connsiteY43" fmla="*/ 96837 h 213089"/>
                <a:gd name="connsiteX44" fmla="*/ 428649 w 532143"/>
                <a:gd name="connsiteY44" fmla="*/ 85239 h 213089"/>
                <a:gd name="connsiteX45" fmla="*/ 424590 w 532143"/>
                <a:gd name="connsiteY45" fmla="*/ 70599 h 213089"/>
                <a:gd name="connsiteX46" fmla="*/ 437092 w 532143"/>
                <a:gd name="connsiteY46" fmla="*/ 48139 h 213089"/>
                <a:gd name="connsiteX47" fmla="*/ 472770 w 532143"/>
                <a:gd name="connsiteY47" fmla="*/ 60606 h 213089"/>
                <a:gd name="connsiteX48" fmla="*/ 515025 w 532143"/>
                <a:gd name="connsiteY48" fmla="*/ 64483 h 213089"/>
                <a:gd name="connsiteX49" fmla="*/ 530814 w 532143"/>
                <a:gd name="connsiteY49" fmla="*/ 59235 h 213089"/>
                <a:gd name="connsiteX50" fmla="*/ 512549 w 532143"/>
                <a:gd name="connsiteY50" fmla="*/ 44663 h 21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32143" h="213089">
                  <a:moveTo>
                    <a:pt x="512752" y="44529"/>
                  </a:moveTo>
                  <a:cubicBezTo>
                    <a:pt x="499600" y="37410"/>
                    <a:pt x="506338" y="31160"/>
                    <a:pt x="497936" y="24475"/>
                  </a:cubicBezTo>
                  <a:cubicBezTo>
                    <a:pt x="486328" y="15183"/>
                    <a:pt x="473096" y="5189"/>
                    <a:pt x="456413" y="6760"/>
                  </a:cubicBezTo>
                  <a:cubicBezTo>
                    <a:pt x="439730" y="8331"/>
                    <a:pt x="424347" y="510"/>
                    <a:pt x="407259" y="75"/>
                  </a:cubicBezTo>
                  <a:cubicBezTo>
                    <a:pt x="397842" y="-225"/>
                    <a:pt x="354736" y="-1896"/>
                    <a:pt x="356156" y="4588"/>
                  </a:cubicBezTo>
                  <a:cubicBezTo>
                    <a:pt x="357333" y="10036"/>
                    <a:pt x="361189" y="13178"/>
                    <a:pt x="360702" y="18859"/>
                  </a:cubicBezTo>
                  <a:cubicBezTo>
                    <a:pt x="360256" y="23672"/>
                    <a:pt x="347470" y="24909"/>
                    <a:pt x="342518" y="27449"/>
                  </a:cubicBezTo>
                  <a:cubicBezTo>
                    <a:pt x="329123" y="34301"/>
                    <a:pt x="342803" y="45699"/>
                    <a:pt x="315932" y="36206"/>
                  </a:cubicBezTo>
                  <a:cubicBezTo>
                    <a:pt x="298032" y="29889"/>
                    <a:pt x="300873" y="33599"/>
                    <a:pt x="307083" y="42691"/>
                  </a:cubicBezTo>
                  <a:cubicBezTo>
                    <a:pt x="310736" y="48038"/>
                    <a:pt x="300305" y="48640"/>
                    <a:pt x="293567" y="48406"/>
                  </a:cubicBezTo>
                  <a:cubicBezTo>
                    <a:pt x="280862" y="47938"/>
                    <a:pt x="276600" y="46802"/>
                    <a:pt x="273272" y="54456"/>
                  </a:cubicBezTo>
                  <a:cubicBezTo>
                    <a:pt x="272704" y="55759"/>
                    <a:pt x="257361" y="79356"/>
                    <a:pt x="253424" y="67491"/>
                  </a:cubicBezTo>
                  <a:cubicBezTo>
                    <a:pt x="251556" y="61842"/>
                    <a:pt x="225011" y="63614"/>
                    <a:pt x="220952" y="65519"/>
                  </a:cubicBezTo>
                  <a:cubicBezTo>
                    <a:pt x="214904" y="68293"/>
                    <a:pt x="216447" y="70098"/>
                    <a:pt x="205690" y="67524"/>
                  </a:cubicBezTo>
                  <a:cubicBezTo>
                    <a:pt x="195624" y="65084"/>
                    <a:pt x="187993" y="63748"/>
                    <a:pt x="178617" y="65820"/>
                  </a:cubicBezTo>
                  <a:cubicBezTo>
                    <a:pt x="163355" y="69162"/>
                    <a:pt x="177805" y="80192"/>
                    <a:pt x="169443" y="85874"/>
                  </a:cubicBezTo>
                  <a:cubicBezTo>
                    <a:pt x="163395" y="90052"/>
                    <a:pt x="111156" y="80727"/>
                    <a:pt x="101861" y="79690"/>
                  </a:cubicBezTo>
                  <a:cubicBezTo>
                    <a:pt x="65330" y="75379"/>
                    <a:pt x="35944" y="67257"/>
                    <a:pt x="387" y="60071"/>
                  </a:cubicBezTo>
                  <a:cubicBezTo>
                    <a:pt x="9601" y="67792"/>
                    <a:pt x="13741" y="76783"/>
                    <a:pt x="24741" y="83868"/>
                  </a:cubicBezTo>
                  <a:cubicBezTo>
                    <a:pt x="35741" y="90954"/>
                    <a:pt x="46862" y="93428"/>
                    <a:pt x="46375" y="103288"/>
                  </a:cubicBezTo>
                  <a:cubicBezTo>
                    <a:pt x="46010" y="110774"/>
                    <a:pt x="49663" y="110908"/>
                    <a:pt x="54493" y="117559"/>
                  </a:cubicBezTo>
                  <a:cubicBezTo>
                    <a:pt x="64478" y="130929"/>
                    <a:pt x="37202" y="124746"/>
                    <a:pt x="23685" y="126016"/>
                  </a:cubicBezTo>
                  <a:cubicBezTo>
                    <a:pt x="7449" y="127486"/>
                    <a:pt x="549" y="134773"/>
                    <a:pt x="-60" y="143997"/>
                  </a:cubicBezTo>
                  <a:cubicBezTo>
                    <a:pt x="16136" y="147410"/>
                    <a:pt x="32575" y="150034"/>
                    <a:pt x="49135" y="151852"/>
                  </a:cubicBezTo>
                  <a:cubicBezTo>
                    <a:pt x="59486" y="152788"/>
                    <a:pt x="69430" y="147975"/>
                    <a:pt x="79456" y="154192"/>
                  </a:cubicBezTo>
                  <a:cubicBezTo>
                    <a:pt x="87899" y="159506"/>
                    <a:pt x="106083" y="162013"/>
                    <a:pt x="116798" y="163015"/>
                  </a:cubicBezTo>
                  <a:cubicBezTo>
                    <a:pt x="127514" y="164018"/>
                    <a:pt x="144359" y="160442"/>
                    <a:pt x="149270" y="169165"/>
                  </a:cubicBezTo>
                  <a:cubicBezTo>
                    <a:pt x="153329" y="176519"/>
                    <a:pt x="163761" y="184373"/>
                    <a:pt x="162624" y="191693"/>
                  </a:cubicBezTo>
                  <a:cubicBezTo>
                    <a:pt x="161366" y="199949"/>
                    <a:pt x="178048" y="202990"/>
                    <a:pt x="187344" y="207569"/>
                  </a:cubicBezTo>
                  <a:cubicBezTo>
                    <a:pt x="197897" y="212750"/>
                    <a:pt x="200008" y="202689"/>
                    <a:pt x="211413" y="202288"/>
                  </a:cubicBezTo>
                  <a:cubicBezTo>
                    <a:pt x="228055" y="201687"/>
                    <a:pt x="261339" y="217830"/>
                    <a:pt x="275017" y="211112"/>
                  </a:cubicBezTo>
                  <a:cubicBezTo>
                    <a:pt x="283704" y="206834"/>
                    <a:pt x="270512" y="195737"/>
                    <a:pt x="266372" y="190690"/>
                  </a:cubicBezTo>
                  <a:cubicBezTo>
                    <a:pt x="260081" y="182936"/>
                    <a:pt x="266737" y="173076"/>
                    <a:pt x="256671" y="167026"/>
                  </a:cubicBezTo>
                  <a:cubicBezTo>
                    <a:pt x="248553" y="162146"/>
                    <a:pt x="242586" y="158637"/>
                    <a:pt x="252043" y="154258"/>
                  </a:cubicBezTo>
                  <a:cubicBezTo>
                    <a:pt x="255778" y="152487"/>
                    <a:pt x="270512" y="145969"/>
                    <a:pt x="276641" y="147774"/>
                  </a:cubicBezTo>
                  <a:cubicBezTo>
                    <a:pt x="281106" y="149111"/>
                    <a:pt x="284759" y="151585"/>
                    <a:pt x="288818" y="153156"/>
                  </a:cubicBezTo>
                  <a:cubicBezTo>
                    <a:pt x="295028" y="155462"/>
                    <a:pt x="294501" y="152420"/>
                    <a:pt x="300061" y="152587"/>
                  </a:cubicBezTo>
                  <a:cubicBezTo>
                    <a:pt x="316297" y="153022"/>
                    <a:pt x="321452" y="162247"/>
                    <a:pt x="333548" y="151752"/>
                  </a:cubicBezTo>
                  <a:cubicBezTo>
                    <a:pt x="340285" y="145936"/>
                    <a:pt x="343290" y="145067"/>
                    <a:pt x="357090" y="145635"/>
                  </a:cubicBezTo>
                  <a:cubicBezTo>
                    <a:pt x="367318" y="146103"/>
                    <a:pt x="370038" y="141290"/>
                    <a:pt x="374462" y="136979"/>
                  </a:cubicBezTo>
                  <a:cubicBezTo>
                    <a:pt x="379860" y="131731"/>
                    <a:pt x="380510" y="130093"/>
                    <a:pt x="391916" y="130595"/>
                  </a:cubicBezTo>
                  <a:cubicBezTo>
                    <a:pt x="405717" y="131263"/>
                    <a:pt x="399790" y="119598"/>
                    <a:pt x="414606" y="120568"/>
                  </a:cubicBezTo>
                  <a:cubicBezTo>
                    <a:pt x="429421" y="121537"/>
                    <a:pt x="425930" y="112145"/>
                    <a:pt x="431978" y="106463"/>
                  </a:cubicBezTo>
                  <a:cubicBezTo>
                    <a:pt x="436362" y="102352"/>
                    <a:pt x="456981" y="102586"/>
                    <a:pt x="450690" y="96837"/>
                  </a:cubicBezTo>
                  <a:cubicBezTo>
                    <a:pt x="444398" y="91088"/>
                    <a:pt x="432952" y="91957"/>
                    <a:pt x="428649" y="85239"/>
                  </a:cubicBezTo>
                  <a:cubicBezTo>
                    <a:pt x="426012" y="81128"/>
                    <a:pt x="422927" y="74543"/>
                    <a:pt x="424590" y="70599"/>
                  </a:cubicBezTo>
                  <a:cubicBezTo>
                    <a:pt x="427797" y="62645"/>
                    <a:pt x="417203" y="47203"/>
                    <a:pt x="437092" y="48139"/>
                  </a:cubicBezTo>
                  <a:cubicBezTo>
                    <a:pt x="449797" y="48707"/>
                    <a:pt x="462095" y="56361"/>
                    <a:pt x="472770" y="60606"/>
                  </a:cubicBezTo>
                  <a:cubicBezTo>
                    <a:pt x="486003" y="65887"/>
                    <a:pt x="501183" y="63714"/>
                    <a:pt x="515025" y="64483"/>
                  </a:cubicBezTo>
                  <a:cubicBezTo>
                    <a:pt x="520991" y="64753"/>
                    <a:pt x="526755" y="62828"/>
                    <a:pt x="530814" y="59235"/>
                  </a:cubicBezTo>
                  <a:cubicBezTo>
                    <a:pt x="536903" y="55124"/>
                    <a:pt x="519489" y="48406"/>
                    <a:pt x="512549" y="4466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0332A00F-BD63-487F-B44F-5BF80C57319D}"/>
                </a:ext>
              </a:extLst>
            </p:cNvPr>
            <p:cNvSpPr/>
            <p:nvPr/>
          </p:nvSpPr>
          <p:spPr>
            <a:xfrm>
              <a:off x="8451968" y="5099938"/>
              <a:ext cx="1108203" cy="697375"/>
            </a:xfrm>
            <a:custGeom>
              <a:avLst/>
              <a:gdLst>
                <a:gd name="connsiteX0" fmla="*/ 37428 w 1108203"/>
                <a:gd name="connsiteY0" fmla="*/ 134216 h 697375"/>
                <a:gd name="connsiteX1" fmla="*/ 45546 w 1108203"/>
                <a:gd name="connsiteY1" fmla="*/ 147151 h 697375"/>
                <a:gd name="connsiteX2" fmla="*/ 37428 w 1108203"/>
                <a:gd name="connsiteY2" fmla="*/ 134216 h 697375"/>
                <a:gd name="connsiteX3" fmla="*/ 276177 w 1108203"/>
                <a:gd name="connsiteY3" fmla="*/ 248258 h 697375"/>
                <a:gd name="connsiteX4" fmla="*/ 260428 w 1108203"/>
                <a:gd name="connsiteY4" fmla="*/ 247021 h 697375"/>
                <a:gd name="connsiteX5" fmla="*/ 270657 w 1108203"/>
                <a:gd name="connsiteY5" fmla="*/ 252035 h 697375"/>
                <a:gd name="connsiteX6" fmla="*/ 276177 w 1108203"/>
                <a:gd name="connsiteY6" fmla="*/ 248258 h 697375"/>
                <a:gd name="connsiteX7" fmla="*/ 17823 w 1108203"/>
                <a:gd name="connsiteY7" fmla="*/ 81608 h 697375"/>
                <a:gd name="connsiteX8" fmla="*/ 28458 w 1108203"/>
                <a:gd name="connsiteY8" fmla="*/ 99523 h 697375"/>
                <a:gd name="connsiteX9" fmla="*/ 17823 w 1108203"/>
                <a:gd name="connsiteY9" fmla="*/ 81608 h 697375"/>
                <a:gd name="connsiteX10" fmla="*/ 557424 w 1108203"/>
                <a:gd name="connsiteY10" fmla="*/ 369351 h 697375"/>
                <a:gd name="connsiteX11" fmla="*/ 558559 w 1108203"/>
                <a:gd name="connsiteY11" fmla="*/ 407554 h 697375"/>
                <a:gd name="connsiteX12" fmla="*/ 569722 w 1108203"/>
                <a:gd name="connsiteY12" fmla="*/ 387500 h 697375"/>
                <a:gd name="connsiteX13" fmla="*/ 592818 w 1108203"/>
                <a:gd name="connsiteY13" fmla="*/ 369986 h 697375"/>
                <a:gd name="connsiteX14" fmla="*/ 595172 w 1108203"/>
                <a:gd name="connsiteY14" fmla="*/ 390776 h 697375"/>
                <a:gd name="connsiteX15" fmla="*/ 615466 w 1108203"/>
                <a:gd name="connsiteY15" fmla="*/ 412902 h 697375"/>
                <a:gd name="connsiteX16" fmla="*/ 632717 w 1108203"/>
                <a:gd name="connsiteY16" fmla="*/ 394319 h 697375"/>
                <a:gd name="connsiteX17" fmla="*/ 631743 w 1108203"/>
                <a:gd name="connsiteY17" fmla="*/ 378576 h 697375"/>
                <a:gd name="connsiteX18" fmla="*/ 635031 w 1108203"/>
                <a:gd name="connsiteY18" fmla="*/ 367145 h 697375"/>
                <a:gd name="connsiteX19" fmla="*/ 667503 w 1108203"/>
                <a:gd name="connsiteY19" fmla="*/ 358221 h 697375"/>
                <a:gd name="connsiteX20" fmla="*/ 628334 w 1108203"/>
                <a:gd name="connsiteY20" fmla="*/ 352807 h 697375"/>
                <a:gd name="connsiteX21" fmla="*/ 601626 w 1108203"/>
                <a:gd name="connsiteY21" fmla="*/ 338936 h 697375"/>
                <a:gd name="connsiteX22" fmla="*/ 669207 w 1108203"/>
                <a:gd name="connsiteY22" fmla="*/ 335961 h 697375"/>
                <a:gd name="connsiteX23" fmla="*/ 705738 w 1108203"/>
                <a:gd name="connsiteY23" fmla="*/ 355681 h 697375"/>
                <a:gd name="connsiteX24" fmla="*/ 752497 w 1108203"/>
                <a:gd name="connsiteY24" fmla="*/ 351002 h 697375"/>
                <a:gd name="connsiteX25" fmla="*/ 718687 w 1108203"/>
                <a:gd name="connsiteY25" fmla="*/ 348027 h 697375"/>
                <a:gd name="connsiteX26" fmla="*/ 681790 w 1108203"/>
                <a:gd name="connsiteY26" fmla="*/ 332953 h 697375"/>
                <a:gd name="connsiteX27" fmla="*/ 646964 w 1108203"/>
                <a:gd name="connsiteY27" fmla="*/ 311963 h 697375"/>
                <a:gd name="connsiteX28" fmla="*/ 630728 w 1108203"/>
                <a:gd name="connsiteY28" fmla="*/ 312699 h 697375"/>
                <a:gd name="connsiteX29" fmla="*/ 613721 w 1108203"/>
                <a:gd name="connsiteY29" fmla="*/ 311027 h 697375"/>
                <a:gd name="connsiteX30" fmla="*/ 595253 w 1108203"/>
                <a:gd name="connsiteY30" fmla="*/ 323795 h 697375"/>
                <a:gd name="connsiteX31" fmla="*/ 576784 w 1108203"/>
                <a:gd name="connsiteY31" fmla="*/ 332652 h 697375"/>
                <a:gd name="connsiteX32" fmla="*/ 557504 w 1108203"/>
                <a:gd name="connsiteY32" fmla="*/ 369418 h 697375"/>
                <a:gd name="connsiteX33" fmla="*/ 204293 w 1108203"/>
                <a:gd name="connsiteY33" fmla="*/ 250297 h 697375"/>
                <a:gd name="connsiteX34" fmla="*/ 223370 w 1108203"/>
                <a:gd name="connsiteY34" fmla="*/ 233217 h 697375"/>
                <a:gd name="connsiteX35" fmla="*/ 236683 w 1108203"/>
                <a:gd name="connsiteY35" fmla="*/ 227869 h 697375"/>
                <a:gd name="connsiteX36" fmla="*/ 229133 w 1108203"/>
                <a:gd name="connsiteY36" fmla="*/ 213497 h 697375"/>
                <a:gd name="connsiteX37" fmla="*/ 208838 w 1108203"/>
                <a:gd name="connsiteY37" fmla="*/ 207848 h 697375"/>
                <a:gd name="connsiteX38" fmla="*/ 219514 w 1108203"/>
                <a:gd name="connsiteY38" fmla="*/ 222689 h 697375"/>
                <a:gd name="connsiteX39" fmla="*/ 200924 w 1108203"/>
                <a:gd name="connsiteY39" fmla="*/ 212461 h 697375"/>
                <a:gd name="connsiteX40" fmla="*/ 198894 w 1108203"/>
                <a:gd name="connsiteY40" fmla="*/ 205309 h 697375"/>
                <a:gd name="connsiteX41" fmla="*/ 189518 w 1108203"/>
                <a:gd name="connsiteY41" fmla="*/ 198624 h 697375"/>
                <a:gd name="connsiteX42" fmla="*/ 180304 w 1108203"/>
                <a:gd name="connsiteY42" fmla="*/ 180341 h 697375"/>
                <a:gd name="connsiteX43" fmla="*/ 172186 w 1108203"/>
                <a:gd name="connsiteY43" fmla="*/ 166771 h 697375"/>
                <a:gd name="connsiteX44" fmla="*/ 174418 w 1108203"/>
                <a:gd name="connsiteY44" fmla="*/ 154571 h 697375"/>
                <a:gd name="connsiteX45" fmla="*/ 165773 w 1108203"/>
                <a:gd name="connsiteY45" fmla="*/ 140366 h 697375"/>
                <a:gd name="connsiteX46" fmla="*/ 160293 w 1108203"/>
                <a:gd name="connsiteY46" fmla="*/ 134851 h 697375"/>
                <a:gd name="connsiteX47" fmla="*/ 150876 w 1108203"/>
                <a:gd name="connsiteY47" fmla="*/ 122451 h 697375"/>
                <a:gd name="connsiteX48" fmla="*/ 140120 w 1108203"/>
                <a:gd name="connsiteY48" fmla="*/ 115432 h 697375"/>
                <a:gd name="connsiteX49" fmla="*/ 128471 w 1108203"/>
                <a:gd name="connsiteY49" fmla="*/ 104169 h 697375"/>
                <a:gd name="connsiteX50" fmla="*/ 105822 w 1108203"/>
                <a:gd name="connsiteY50" fmla="*/ 88794 h 697375"/>
                <a:gd name="connsiteX51" fmla="*/ 94619 w 1108203"/>
                <a:gd name="connsiteY51" fmla="*/ 69408 h 697375"/>
                <a:gd name="connsiteX52" fmla="*/ 71036 w 1108203"/>
                <a:gd name="connsiteY52" fmla="*/ 46012 h 697375"/>
                <a:gd name="connsiteX53" fmla="*/ 59346 w 1108203"/>
                <a:gd name="connsiteY53" fmla="*/ 28063 h 697375"/>
                <a:gd name="connsiteX54" fmla="*/ 23628 w 1108203"/>
                <a:gd name="connsiteY54" fmla="*/ 13156 h 697375"/>
                <a:gd name="connsiteX55" fmla="*/ 6498 w 1108203"/>
                <a:gd name="connsiteY55" fmla="*/ 121 h 697375"/>
                <a:gd name="connsiteX56" fmla="*/ 2196 w 1108203"/>
                <a:gd name="connsiteY56" fmla="*/ 14861 h 697375"/>
                <a:gd name="connsiteX57" fmla="*/ 33816 w 1108203"/>
                <a:gd name="connsiteY57" fmla="*/ 55470 h 697375"/>
                <a:gd name="connsiteX58" fmla="*/ 47048 w 1108203"/>
                <a:gd name="connsiteY58" fmla="*/ 74923 h 697375"/>
                <a:gd name="connsiteX59" fmla="*/ 59225 w 1108203"/>
                <a:gd name="connsiteY59" fmla="*/ 90030 h 697375"/>
                <a:gd name="connsiteX60" fmla="*/ 67343 w 1108203"/>
                <a:gd name="connsiteY60" fmla="*/ 119443 h 697375"/>
                <a:gd name="connsiteX61" fmla="*/ 88368 w 1108203"/>
                <a:gd name="connsiteY61" fmla="*/ 164933 h 697375"/>
                <a:gd name="connsiteX62" fmla="*/ 112722 w 1108203"/>
                <a:gd name="connsiteY62" fmla="*/ 207514 h 697375"/>
                <a:gd name="connsiteX63" fmla="*/ 147223 w 1108203"/>
                <a:gd name="connsiteY63" fmla="*/ 248024 h 697375"/>
                <a:gd name="connsiteX64" fmla="*/ 156234 w 1108203"/>
                <a:gd name="connsiteY64" fmla="*/ 260391 h 697375"/>
                <a:gd name="connsiteX65" fmla="*/ 179289 w 1108203"/>
                <a:gd name="connsiteY65" fmla="*/ 268312 h 697375"/>
                <a:gd name="connsiteX66" fmla="*/ 204536 w 1108203"/>
                <a:gd name="connsiteY66" fmla="*/ 250297 h 697375"/>
                <a:gd name="connsiteX67" fmla="*/ 204373 w 1108203"/>
                <a:gd name="connsiteY67" fmla="*/ 250297 h 697375"/>
                <a:gd name="connsiteX68" fmla="*/ 825316 w 1108203"/>
                <a:gd name="connsiteY68" fmla="*/ 408022 h 697375"/>
                <a:gd name="connsiteX69" fmla="*/ 832500 w 1108203"/>
                <a:gd name="connsiteY69" fmla="*/ 393049 h 697375"/>
                <a:gd name="connsiteX70" fmla="*/ 812205 w 1108203"/>
                <a:gd name="connsiteY70" fmla="*/ 377975 h 697375"/>
                <a:gd name="connsiteX71" fmla="*/ 802667 w 1108203"/>
                <a:gd name="connsiteY71" fmla="*/ 410730 h 697375"/>
                <a:gd name="connsiteX72" fmla="*/ 825154 w 1108203"/>
                <a:gd name="connsiteY72" fmla="*/ 408022 h 697375"/>
                <a:gd name="connsiteX73" fmla="*/ 727901 w 1108203"/>
                <a:gd name="connsiteY73" fmla="*/ 436366 h 697375"/>
                <a:gd name="connsiteX74" fmla="*/ 755136 w 1108203"/>
                <a:gd name="connsiteY74" fmla="*/ 454682 h 697375"/>
                <a:gd name="connsiteX75" fmla="*/ 727941 w 1108203"/>
                <a:gd name="connsiteY75" fmla="*/ 436366 h 697375"/>
                <a:gd name="connsiteX76" fmla="*/ 621433 w 1108203"/>
                <a:gd name="connsiteY76" fmla="*/ 486501 h 697375"/>
                <a:gd name="connsiteX77" fmla="*/ 590463 w 1108203"/>
                <a:gd name="connsiteY77" fmla="*/ 476908 h 697375"/>
                <a:gd name="connsiteX78" fmla="*/ 561807 w 1108203"/>
                <a:gd name="connsiteY78" fmla="*/ 463539 h 697375"/>
                <a:gd name="connsiteX79" fmla="*/ 519228 w 1108203"/>
                <a:gd name="connsiteY79" fmla="*/ 453980 h 697375"/>
                <a:gd name="connsiteX80" fmla="*/ 585390 w 1108203"/>
                <a:gd name="connsiteY80" fmla="*/ 481621 h 697375"/>
                <a:gd name="connsiteX81" fmla="*/ 616359 w 1108203"/>
                <a:gd name="connsiteY81" fmla="*/ 489743 h 697375"/>
                <a:gd name="connsiteX82" fmla="*/ 621433 w 1108203"/>
                <a:gd name="connsiteY82" fmla="*/ 486601 h 697375"/>
                <a:gd name="connsiteX83" fmla="*/ 831932 w 1108203"/>
                <a:gd name="connsiteY83" fmla="*/ 474803 h 697375"/>
                <a:gd name="connsiteX84" fmla="*/ 789719 w 1108203"/>
                <a:gd name="connsiteY84" fmla="*/ 456420 h 697375"/>
                <a:gd name="connsiteX85" fmla="*/ 779612 w 1108203"/>
                <a:gd name="connsiteY85" fmla="*/ 458058 h 697375"/>
                <a:gd name="connsiteX86" fmla="*/ 803763 w 1108203"/>
                <a:gd name="connsiteY86" fmla="*/ 473132 h 697375"/>
                <a:gd name="connsiteX87" fmla="*/ 838710 w 1108203"/>
                <a:gd name="connsiteY87" fmla="*/ 497564 h 697375"/>
                <a:gd name="connsiteX88" fmla="*/ 831932 w 1108203"/>
                <a:gd name="connsiteY88" fmla="*/ 474803 h 697375"/>
                <a:gd name="connsiteX89" fmla="*/ 831973 w 1108203"/>
                <a:gd name="connsiteY89" fmla="*/ 474903 h 697375"/>
                <a:gd name="connsiteX90" fmla="*/ 392792 w 1108203"/>
                <a:gd name="connsiteY90" fmla="*/ 387333 h 697375"/>
                <a:gd name="connsiteX91" fmla="*/ 373390 w 1108203"/>
                <a:gd name="connsiteY91" fmla="*/ 364705 h 697375"/>
                <a:gd name="connsiteX92" fmla="*/ 368478 w 1108203"/>
                <a:gd name="connsiteY92" fmla="*/ 356985 h 697375"/>
                <a:gd name="connsiteX93" fmla="*/ 311084 w 1108203"/>
                <a:gd name="connsiteY93" fmla="*/ 332619 h 697375"/>
                <a:gd name="connsiteX94" fmla="*/ 288841 w 1108203"/>
                <a:gd name="connsiteY94" fmla="*/ 327873 h 697375"/>
                <a:gd name="connsiteX95" fmla="*/ 251498 w 1108203"/>
                <a:gd name="connsiteY95" fmla="*/ 303139 h 697375"/>
                <a:gd name="connsiteX96" fmla="*/ 213466 w 1108203"/>
                <a:gd name="connsiteY96" fmla="*/ 282082 h 697375"/>
                <a:gd name="connsiteX97" fmla="*/ 192521 w 1108203"/>
                <a:gd name="connsiteY97" fmla="*/ 280044 h 697375"/>
                <a:gd name="connsiteX98" fmla="*/ 176285 w 1108203"/>
                <a:gd name="connsiteY98" fmla="*/ 281815 h 697375"/>
                <a:gd name="connsiteX99" fmla="*/ 196987 w 1108203"/>
                <a:gd name="connsiteY99" fmla="*/ 300098 h 697375"/>
                <a:gd name="connsiteX100" fmla="*/ 228566 w 1108203"/>
                <a:gd name="connsiteY100" fmla="*/ 320854 h 697375"/>
                <a:gd name="connsiteX101" fmla="*/ 259373 w 1108203"/>
                <a:gd name="connsiteY101" fmla="*/ 328976 h 697375"/>
                <a:gd name="connsiteX102" fmla="*/ 302682 w 1108203"/>
                <a:gd name="connsiteY102" fmla="*/ 360628 h 697375"/>
                <a:gd name="connsiteX103" fmla="*/ 350091 w 1108203"/>
                <a:gd name="connsiteY103" fmla="*/ 381016 h 697375"/>
                <a:gd name="connsiteX104" fmla="*/ 375663 w 1108203"/>
                <a:gd name="connsiteY104" fmla="*/ 393784 h 697375"/>
                <a:gd name="connsiteX105" fmla="*/ 390965 w 1108203"/>
                <a:gd name="connsiteY105" fmla="*/ 397695 h 697375"/>
                <a:gd name="connsiteX106" fmla="*/ 406307 w 1108203"/>
                <a:gd name="connsiteY106" fmla="*/ 406418 h 697375"/>
                <a:gd name="connsiteX107" fmla="*/ 416536 w 1108203"/>
                <a:gd name="connsiteY107" fmla="*/ 403443 h 697375"/>
                <a:gd name="connsiteX108" fmla="*/ 392832 w 1108203"/>
                <a:gd name="connsiteY108" fmla="*/ 387333 h 697375"/>
                <a:gd name="connsiteX109" fmla="*/ 392832 w 1108203"/>
                <a:gd name="connsiteY109" fmla="*/ 387434 h 697375"/>
                <a:gd name="connsiteX110" fmla="*/ 1036951 w 1108203"/>
                <a:gd name="connsiteY110" fmla="*/ 545594 h 697375"/>
                <a:gd name="connsiteX111" fmla="*/ 1017386 w 1108203"/>
                <a:gd name="connsiteY111" fmla="*/ 546964 h 697375"/>
                <a:gd name="connsiteX112" fmla="*/ 993601 w 1108203"/>
                <a:gd name="connsiteY112" fmla="*/ 544424 h 697375"/>
                <a:gd name="connsiteX113" fmla="*/ 947572 w 1108203"/>
                <a:gd name="connsiteY113" fmla="*/ 533896 h 697375"/>
                <a:gd name="connsiteX114" fmla="*/ 934827 w 1108203"/>
                <a:gd name="connsiteY114" fmla="*/ 474168 h 697375"/>
                <a:gd name="connsiteX115" fmla="*/ 913193 w 1108203"/>
                <a:gd name="connsiteY115" fmla="*/ 462871 h 697375"/>
                <a:gd name="connsiteX116" fmla="*/ 892492 w 1108203"/>
                <a:gd name="connsiteY116" fmla="*/ 463105 h 697375"/>
                <a:gd name="connsiteX117" fmla="*/ 873130 w 1108203"/>
                <a:gd name="connsiteY117" fmla="*/ 461467 h 697375"/>
                <a:gd name="connsiteX118" fmla="*/ 888149 w 1108203"/>
                <a:gd name="connsiteY118" fmla="*/ 474268 h 697375"/>
                <a:gd name="connsiteX119" fmla="*/ 891802 w 1108203"/>
                <a:gd name="connsiteY119" fmla="*/ 490545 h 697375"/>
                <a:gd name="connsiteX120" fmla="*/ 917333 w 1108203"/>
                <a:gd name="connsiteY120" fmla="*/ 503714 h 697375"/>
                <a:gd name="connsiteX121" fmla="*/ 934421 w 1108203"/>
                <a:gd name="connsiteY121" fmla="*/ 514510 h 697375"/>
                <a:gd name="connsiteX122" fmla="*/ 911934 w 1108203"/>
                <a:gd name="connsiteY122" fmla="*/ 506488 h 697375"/>
                <a:gd name="connsiteX123" fmla="*/ 891355 w 1108203"/>
                <a:gd name="connsiteY123" fmla="*/ 497999 h 697375"/>
                <a:gd name="connsiteX124" fmla="*/ 891761 w 1108203"/>
                <a:gd name="connsiteY124" fmla="*/ 508728 h 697375"/>
                <a:gd name="connsiteX125" fmla="*/ 892208 w 1108203"/>
                <a:gd name="connsiteY125" fmla="*/ 524971 h 697375"/>
                <a:gd name="connsiteX126" fmla="*/ 910230 w 1108203"/>
                <a:gd name="connsiteY126" fmla="*/ 525874 h 697375"/>
                <a:gd name="connsiteX127" fmla="*/ 939982 w 1108203"/>
                <a:gd name="connsiteY127" fmla="*/ 555955 h 697375"/>
                <a:gd name="connsiteX128" fmla="*/ 964945 w 1108203"/>
                <a:gd name="connsiteY128" fmla="*/ 572099 h 697375"/>
                <a:gd name="connsiteX129" fmla="*/ 993357 w 1108203"/>
                <a:gd name="connsiteY129" fmla="*/ 595261 h 697375"/>
                <a:gd name="connsiteX130" fmla="*/ 1009106 w 1108203"/>
                <a:gd name="connsiteY130" fmla="*/ 614280 h 697375"/>
                <a:gd name="connsiteX131" fmla="*/ 1007564 w 1108203"/>
                <a:gd name="connsiteY131" fmla="*/ 632896 h 697375"/>
                <a:gd name="connsiteX132" fmla="*/ 969571 w 1108203"/>
                <a:gd name="connsiteY132" fmla="*/ 642121 h 697375"/>
                <a:gd name="connsiteX133" fmla="*/ 998716 w 1108203"/>
                <a:gd name="connsiteY133" fmla="*/ 662175 h 697375"/>
                <a:gd name="connsiteX134" fmla="*/ 1022785 w 1108203"/>
                <a:gd name="connsiteY134" fmla="*/ 671969 h 697375"/>
                <a:gd name="connsiteX135" fmla="*/ 1039305 w 1108203"/>
                <a:gd name="connsiteY135" fmla="*/ 697036 h 697375"/>
                <a:gd name="connsiteX136" fmla="*/ 1089758 w 1108203"/>
                <a:gd name="connsiteY136" fmla="*/ 630189 h 697375"/>
                <a:gd name="connsiteX137" fmla="*/ 1108105 w 1108203"/>
                <a:gd name="connsiteY137" fmla="*/ 605790 h 697375"/>
                <a:gd name="connsiteX138" fmla="*/ 1036951 w 1108203"/>
                <a:gd name="connsiteY138" fmla="*/ 545828 h 697375"/>
                <a:gd name="connsiteX139" fmla="*/ 644692 w 1108203"/>
                <a:gd name="connsiteY139" fmla="*/ 510466 h 697375"/>
                <a:gd name="connsiteX140" fmla="*/ 622651 w 1108203"/>
                <a:gd name="connsiteY140" fmla="*/ 505653 h 697375"/>
                <a:gd name="connsiteX141" fmla="*/ 598014 w 1108203"/>
                <a:gd name="connsiteY141" fmla="*/ 512338 h 697375"/>
                <a:gd name="connsiteX142" fmla="*/ 649278 w 1108203"/>
                <a:gd name="connsiteY142" fmla="*/ 519022 h 697375"/>
                <a:gd name="connsiteX143" fmla="*/ 644692 w 1108203"/>
                <a:gd name="connsiteY143" fmla="*/ 510599 h 697375"/>
                <a:gd name="connsiteX144" fmla="*/ 644611 w 1108203"/>
                <a:gd name="connsiteY144" fmla="*/ 510466 h 697375"/>
                <a:gd name="connsiteX145" fmla="*/ 508432 w 1108203"/>
                <a:gd name="connsiteY145" fmla="*/ 308654 h 697375"/>
                <a:gd name="connsiteX146" fmla="*/ 548210 w 1108203"/>
                <a:gd name="connsiteY146" fmla="*/ 287597 h 697375"/>
                <a:gd name="connsiteX147" fmla="*/ 584741 w 1108203"/>
                <a:gd name="connsiteY147" fmla="*/ 285859 h 697375"/>
                <a:gd name="connsiteX148" fmla="*/ 570980 w 1108203"/>
                <a:gd name="connsiteY148" fmla="*/ 267643 h 697375"/>
                <a:gd name="connsiteX149" fmla="*/ 566921 w 1108203"/>
                <a:gd name="connsiteY149" fmla="*/ 248124 h 697375"/>
                <a:gd name="connsiteX150" fmla="*/ 576257 w 1108203"/>
                <a:gd name="connsiteY150" fmla="*/ 240904 h 697375"/>
                <a:gd name="connsiteX151" fmla="*/ 584659 w 1108203"/>
                <a:gd name="connsiteY151" fmla="*/ 231245 h 697375"/>
                <a:gd name="connsiteX152" fmla="*/ 543541 w 1108203"/>
                <a:gd name="connsiteY152" fmla="*/ 213397 h 697375"/>
                <a:gd name="connsiteX153" fmla="*/ 516550 w 1108203"/>
                <a:gd name="connsiteY153" fmla="*/ 223992 h 697375"/>
                <a:gd name="connsiteX154" fmla="*/ 493454 w 1108203"/>
                <a:gd name="connsiteY154" fmla="*/ 231880 h 697375"/>
                <a:gd name="connsiteX155" fmla="*/ 484524 w 1108203"/>
                <a:gd name="connsiteY155" fmla="*/ 241372 h 697375"/>
                <a:gd name="connsiteX156" fmla="*/ 460170 w 1108203"/>
                <a:gd name="connsiteY156" fmla="*/ 237495 h 697375"/>
                <a:gd name="connsiteX157" fmla="*/ 424776 w 1108203"/>
                <a:gd name="connsiteY157" fmla="*/ 222221 h 697375"/>
                <a:gd name="connsiteX158" fmla="*/ 407282 w 1108203"/>
                <a:gd name="connsiteY158" fmla="*/ 221853 h 697375"/>
                <a:gd name="connsiteX159" fmla="*/ 380818 w 1108203"/>
                <a:gd name="connsiteY159" fmla="*/ 212695 h 697375"/>
                <a:gd name="connsiteX160" fmla="*/ 365597 w 1108203"/>
                <a:gd name="connsiteY160" fmla="*/ 208049 h 697375"/>
                <a:gd name="connsiteX161" fmla="*/ 351958 w 1108203"/>
                <a:gd name="connsiteY161" fmla="*/ 194078 h 697375"/>
                <a:gd name="connsiteX162" fmla="*/ 341161 w 1108203"/>
                <a:gd name="connsiteY162" fmla="*/ 182079 h 697375"/>
                <a:gd name="connsiteX163" fmla="*/ 321313 w 1108203"/>
                <a:gd name="connsiteY163" fmla="*/ 190201 h 697375"/>
                <a:gd name="connsiteX164" fmla="*/ 322652 w 1108203"/>
                <a:gd name="connsiteY164" fmla="*/ 202534 h 697375"/>
                <a:gd name="connsiteX165" fmla="*/ 321841 w 1108203"/>
                <a:gd name="connsiteY165" fmla="*/ 221652 h 697375"/>
                <a:gd name="connsiteX166" fmla="*/ 336250 w 1108203"/>
                <a:gd name="connsiteY166" fmla="*/ 248625 h 697375"/>
                <a:gd name="connsiteX167" fmla="*/ 345951 w 1108203"/>
                <a:gd name="connsiteY167" fmla="*/ 277871 h 697375"/>
                <a:gd name="connsiteX168" fmla="*/ 365758 w 1108203"/>
                <a:gd name="connsiteY168" fmla="*/ 288500 h 697375"/>
                <a:gd name="connsiteX169" fmla="*/ 379437 w 1108203"/>
                <a:gd name="connsiteY169" fmla="*/ 297323 h 697375"/>
                <a:gd name="connsiteX170" fmla="*/ 417023 w 1108203"/>
                <a:gd name="connsiteY170" fmla="*/ 311194 h 697375"/>
                <a:gd name="connsiteX171" fmla="*/ 442433 w 1108203"/>
                <a:gd name="connsiteY171" fmla="*/ 330981 h 697375"/>
                <a:gd name="connsiteX172" fmla="*/ 482413 w 1108203"/>
                <a:gd name="connsiteY172" fmla="*/ 329176 h 697375"/>
                <a:gd name="connsiteX173" fmla="*/ 508188 w 1108203"/>
                <a:gd name="connsiteY173" fmla="*/ 308654 h 697375"/>
                <a:gd name="connsiteX174" fmla="*/ 489477 w 1108203"/>
                <a:gd name="connsiteY174" fmla="*/ 458091 h 697375"/>
                <a:gd name="connsiteX175" fmla="*/ 511881 w 1108203"/>
                <a:gd name="connsiteY175" fmla="*/ 478646 h 697375"/>
                <a:gd name="connsiteX176" fmla="*/ 530147 w 1108203"/>
                <a:gd name="connsiteY176" fmla="*/ 481320 h 697375"/>
                <a:gd name="connsiteX177" fmla="*/ 507214 w 1108203"/>
                <a:gd name="connsiteY177" fmla="*/ 463840 h 697375"/>
                <a:gd name="connsiteX178" fmla="*/ 489477 w 1108203"/>
                <a:gd name="connsiteY178" fmla="*/ 458091 h 697375"/>
                <a:gd name="connsiteX179" fmla="*/ 489395 w 1108203"/>
                <a:gd name="connsiteY179" fmla="*/ 458091 h 697375"/>
                <a:gd name="connsiteX180" fmla="*/ 465650 w 1108203"/>
                <a:gd name="connsiteY180" fmla="*/ 421024 h 697375"/>
                <a:gd name="connsiteX181" fmla="*/ 425060 w 1108203"/>
                <a:gd name="connsiteY181" fmla="*/ 414540 h 697375"/>
                <a:gd name="connsiteX182" fmla="*/ 467842 w 1108203"/>
                <a:gd name="connsiteY182" fmla="*/ 436499 h 697375"/>
                <a:gd name="connsiteX183" fmla="*/ 496458 w 1108203"/>
                <a:gd name="connsiteY183" fmla="*/ 436499 h 697375"/>
                <a:gd name="connsiteX184" fmla="*/ 465772 w 1108203"/>
                <a:gd name="connsiteY184" fmla="*/ 421024 h 69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108203" h="697375">
                  <a:moveTo>
                    <a:pt x="37428" y="134216"/>
                  </a:moveTo>
                  <a:cubicBezTo>
                    <a:pt x="34790" y="136088"/>
                    <a:pt x="38930" y="148221"/>
                    <a:pt x="45546" y="147151"/>
                  </a:cubicBezTo>
                  <a:cubicBezTo>
                    <a:pt x="52162" y="146082"/>
                    <a:pt x="45871" y="128334"/>
                    <a:pt x="37428" y="134216"/>
                  </a:cubicBezTo>
                  <a:close/>
                  <a:moveTo>
                    <a:pt x="276177" y="248258"/>
                  </a:moveTo>
                  <a:cubicBezTo>
                    <a:pt x="278369" y="244080"/>
                    <a:pt x="257546" y="239033"/>
                    <a:pt x="260428" y="247021"/>
                  </a:cubicBezTo>
                  <a:cubicBezTo>
                    <a:pt x="261565" y="250731"/>
                    <a:pt x="266152" y="252970"/>
                    <a:pt x="270657" y="252035"/>
                  </a:cubicBezTo>
                  <a:cubicBezTo>
                    <a:pt x="273092" y="251500"/>
                    <a:pt x="275122" y="250129"/>
                    <a:pt x="276177" y="248258"/>
                  </a:cubicBezTo>
                  <a:close/>
                  <a:moveTo>
                    <a:pt x="17823" y="81608"/>
                  </a:moveTo>
                  <a:cubicBezTo>
                    <a:pt x="14089" y="85819"/>
                    <a:pt x="16403" y="102197"/>
                    <a:pt x="28458" y="99523"/>
                  </a:cubicBezTo>
                  <a:cubicBezTo>
                    <a:pt x="40513" y="96849"/>
                    <a:pt x="21517" y="77463"/>
                    <a:pt x="17823" y="81608"/>
                  </a:cubicBezTo>
                  <a:close/>
                  <a:moveTo>
                    <a:pt x="557424" y="369351"/>
                  </a:moveTo>
                  <a:cubicBezTo>
                    <a:pt x="576013" y="377875"/>
                    <a:pt x="522679" y="413069"/>
                    <a:pt x="558559" y="407554"/>
                  </a:cubicBezTo>
                  <a:cubicBezTo>
                    <a:pt x="574795" y="405114"/>
                    <a:pt x="566353" y="395923"/>
                    <a:pt x="569722" y="387500"/>
                  </a:cubicBezTo>
                  <a:cubicBezTo>
                    <a:pt x="571832" y="382219"/>
                    <a:pt x="578895" y="362667"/>
                    <a:pt x="592818" y="369986"/>
                  </a:cubicBezTo>
                  <a:cubicBezTo>
                    <a:pt x="608810" y="378409"/>
                    <a:pt x="587663" y="381852"/>
                    <a:pt x="595172" y="390776"/>
                  </a:cubicBezTo>
                  <a:cubicBezTo>
                    <a:pt x="605522" y="403109"/>
                    <a:pt x="590220" y="408591"/>
                    <a:pt x="615466" y="412902"/>
                  </a:cubicBezTo>
                  <a:cubicBezTo>
                    <a:pt x="644407" y="417883"/>
                    <a:pt x="622367" y="403443"/>
                    <a:pt x="632717" y="394319"/>
                  </a:cubicBezTo>
                  <a:cubicBezTo>
                    <a:pt x="639171" y="388670"/>
                    <a:pt x="637304" y="386297"/>
                    <a:pt x="631743" y="378576"/>
                  </a:cubicBezTo>
                  <a:cubicBezTo>
                    <a:pt x="629024" y="374766"/>
                    <a:pt x="623382" y="364004"/>
                    <a:pt x="635031" y="367145"/>
                  </a:cubicBezTo>
                  <a:cubicBezTo>
                    <a:pt x="651023" y="371390"/>
                    <a:pt x="708093" y="371323"/>
                    <a:pt x="667503" y="358221"/>
                  </a:cubicBezTo>
                  <a:cubicBezTo>
                    <a:pt x="656300" y="354578"/>
                    <a:pt x="638400" y="349665"/>
                    <a:pt x="628334" y="352807"/>
                  </a:cubicBezTo>
                  <a:cubicBezTo>
                    <a:pt x="616157" y="356583"/>
                    <a:pt x="605807" y="348963"/>
                    <a:pt x="601626" y="338936"/>
                  </a:cubicBezTo>
                  <a:cubicBezTo>
                    <a:pt x="589449" y="309423"/>
                    <a:pt x="649115" y="327472"/>
                    <a:pt x="669207" y="335961"/>
                  </a:cubicBezTo>
                  <a:cubicBezTo>
                    <a:pt x="681750" y="341209"/>
                    <a:pt x="693318" y="351503"/>
                    <a:pt x="705738" y="355681"/>
                  </a:cubicBezTo>
                  <a:cubicBezTo>
                    <a:pt x="712151" y="357820"/>
                    <a:pt x="758992" y="357286"/>
                    <a:pt x="752497" y="351002"/>
                  </a:cubicBezTo>
                  <a:cubicBezTo>
                    <a:pt x="748155" y="346824"/>
                    <a:pt x="724085" y="348227"/>
                    <a:pt x="718687" y="348027"/>
                  </a:cubicBezTo>
                  <a:cubicBezTo>
                    <a:pt x="706307" y="347559"/>
                    <a:pt x="691735" y="338802"/>
                    <a:pt x="681790" y="332953"/>
                  </a:cubicBezTo>
                  <a:cubicBezTo>
                    <a:pt x="671846" y="327104"/>
                    <a:pt x="658411" y="314537"/>
                    <a:pt x="646964" y="311963"/>
                  </a:cubicBezTo>
                  <a:cubicBezTo>
                    <a:pt x="641079" y="310659"/>
                    <a:pt x="636168" y="312464"/>
                    <a:pt x="630728" y="312699"/>
                  </a:cubicBezTo>
                  <a:cubicBezTo>
                    <a:pt x="625290" y="312932"/>
                    <a:pt x="619039" y="310058"/>
                    <a:pt x="613721" y="311027"/>
                  </a:cubicBezTo>
                  <a:cubicBezTo>
                    <a:pt x="604792" y="312699"/>
                    <a:pt x="600652" y="319483"/>
                    <a:pt x="595253" y="323795"/>
                  </a:cubicBezTo>
                  <a:cubicBezTo>
                    <a:pt x="589855" y="328107"/>
                    <a:pt x="582224" y="328541"/>
                    <a:pt x="576784" y="332652"/>
                  </a:cubicBezTo>
                  <a:cubicBezTo>
                    <a:pt x="562943" y="343047"/>
                    <a:pt x="520690" y="352707"/>
                    <a:pt x="557504" y="369418"/>
                  </a:cubicBezTo>
                  <a:close/>
                  <a:moveTo>
                    <a:pt x="204293" y="250297"/>
                  </a:moveTo>
                  <a:cubicBezTo>
                    <a:pt x="205713" y="246553"/>
                    <a:pt x="214968" y="231379"/>
                    <a:pt x="223370" y="233217"/>
                  </a:cubicBezTo>
                  <a:cubicBezTo>
                    <a:pt x="231122" y="234888"/>
                    <a:pt x="240783" y="237161"/>
                    <a:pt x="236683" y="227869"/>
                  </a:cubicBezTo>
                  <a:cubicBezTo>
                    <a:pt x="234776" y="223524"/>
                    <a:pt x="231610" y="217842"/>
                    <a:pt x="229133" y="213497"/>
                  </a:cubicBezTo>
                  <a:cubicBezTo>
                    <a:pt x="226333" y="208383"/>
                    <a:pt x="205794" y="199426"/>
                    <a:pt x="208838" y="207848"/>
                  </a:cubicBezTo>
                  <a:cubicBezTo>
                    <a:pt x="210462" y="212662"/>
                    <a:pt x="228119" y="217408"/>
                    <a:pt x="219514" y="222689"/>
                  </a:cubicBezTo>
                  <a:cubicBezTo>
                    <a:pt x="212979" y="219714"/>
                    <a:pt x="206768" y="216305"/>
                    <a:pt x="200924" y="212461"/>
                  </a:cubicBezTo>
                  <a:cubicBezTo>
                    <a:pt x="198325" y="210289"/>
                    <a:pt x="199584" y="207548"/>
                    <a:pt x="198894" y="205309"/>
                  </a:cubicBezTo>
                  <a:cubicBezTo>
                    <a:pt x="197758" y="201732"/>
                    <a:pt x="192765" y="201064"/>
                    <a:pt x="189518" y="198624"/>
                  </a:cubicBezTo>
                  <a:cubicBezTo>
                    <a:pt x="182577" y="193109"/>
                    <a:pt x="187976" y="185655"/>
                    <a:pt x="180304" y="180341"/>
                  </a:cubicBezTo>
                  <a:cubicBezTo>
                    <a:pt x="174012" y="175929"/>
                    <a:pt x="160496" y="171584"/>
                    <a:pt x="172186" y="166771"/>
                  </a:cubicBezTo>
                  <a:cubicBezTo>
                    <a:pt x="181237" y="163061"/>
                    <a:pt x="181115" y="162493"/>
                    <a:pt x="174418" y="154571"/>
                  </a:cubicBezTo>
                  <a:cubicBezTo>
                    <a:pt x="170075" y="149357"/>
                    <a:pt x="173363" y="144177"/>
                    <a:pt x="165773" y="140366"/>
                  </a:cubicBezTo>
                  <a:cubicBezTo>
                    <a:pt x="163012" y="138963"/>
                    <a:pt x="159116" y="137225"/>
                    <a:pt x="160293" y="134851"/>
                  </a:cubicBezTo>
                  <a:cubicBezTo>
                    <a:pt x="162241" y="130941"/>
                    <a:pt x="153028" y="126395"/>
                    <a:pt x="150876" y="122451"/>
                  </a:cubicBezTo>
                  <a:cubicBezTo>
                    <a:pt x="148157" y="117337"/>
                    <a:pt x="145478" y="118240"/>
                    <a:pt x="140120" y="115432"/>
                  </a:cubicBezTo>
                  <a:cubicBezTo>
                    <a:pt x="134762" y="112625"/>
                    <a:pt x="133261" y="107377"/>
                    <a:pt x="128471" y="104169"/>
                  </a:cubicBezTo>
                  <a:cubicBezTo>
                    <a:pt x="118404" y="97484"/>
                    <a:pt x="111707" y="99222"/>
                    <a:pt x="105822" y="88794"/>
                  </a:cubicBezTo>
                  <a:cubicBezTo>
                    <a:pt x="101763" y="81407"/>
                    <a:pt x="101763" y="76360"/>
                    <a:pt x="94619" y="69408"/>
                  </a:cubicBezTo>
                  <a:cubicBezTo>
                    <a:pt x="86501" y="61754"/>
                    <a:pt x="76962" y="54368"/>
                    <a:pt x="71036" y="46012"/>
                  </a:cubicBezTo>
                  <a:cubicBezTo>
                    <a:pt x="66368" y="39561"/>
                    <a:pt x="68114" y="33946"/>
                    <a:pt x="59346" y="28063"/>
                  </a:cubicBezTo>
                  <a:cubicBezTo>
                    <a:pt x="48834" y="21011"/>
                    <a:pt x="34465" y="19473"/>
                    <a:pt x="23628" y="13156"/>
                  </a:cubicBezTo>
                  <a:cubicBezTo>
                    <a:pt x="18026" y="9814"/>
                    <a:pt x="12952" y="2160"/>
                    <a:pt x="6498" y="121"/>
                  </a:cubicBezTo>
                  <a:cubicBezTo>
                    <a:pt x="-4177" y="-3221"/>
                    <a:pt x="1141" y="12688"/>
                    <a:pt x="2196" y="14861"/>
                  </a:cubicBezTo>
                  <a:cubicBezTo>
                    <a:pt x="9340" y="29433"/>
                    <a:pt x="27077" y="41232"/>
                    <a:pt x="33816" y="55470"/>
                  </a:cubicBezTo>
                  <a:cubicBezTo>
                    <a:pt x="36779" y="61721"/>
                    <a:pt x="39011" y="69742"/>
                    <a:pt x="47048" y="74923"/>
                  </a:cubicBezTo>
                  <a:cubicBezTo>
                    <a:pt x="55085" y="80104"/>
                    <a:pt x="58048" y="82610"/>
                    <a:pt x="59225" y="90030"/>
                  </a:cubicBezTo>
                  <a:cubicBezTo>
                    <a:pt x="60442" y="99656"/>
                    <a:pt x="55815" y="110920"/>
                    <a:pt x="67343" y="119443"/>
                  </a:cubicBezTo>
                  <a:cubicBezTo>
                    <a:pt x="82564" y="130707"/>
                    <a:pt x="88368" y="152299"/>
                    <a:pt x="88368" y="164933"/>
                  </a:cubicBezTo>
                  <a:cubicBezTo>
                    <a:pt x="88368" y="181411"/>
                    <a:pt x="107323" y="191671"/>
                    <a:pt x="112722" y="207514"/>
                  </a:cubicBezTo>
                  <a:cubicBezTo>
                    <a:pt x="117918" y="222388"/>
                    <a:pt x="139917" y="233885"/>
                    <a:pt x="147223" y="248024"/>
                  </a:cubicBezTo>
                  <a:cubicBezTo>
                    <a:pt x="148157" y="249862"/>
                    <a:pt x="150308" y="263265"/>
                    <a:pt x="156234" y="260391"/>
                  </a:cubicBezTo>
                  <a:cubicBezTo>
                    <a:pt x="162160" y="257516"/>
                    <a:pt x="174337" y="265738"/>
                    <a:pt x="179289" y="268312"/>
                  </a:cubicBezTo>
                  <a:cubicBezTo>
                    <a:pt x="193577" y="275799"/>
                    <a:pt x="202142" y="256513"/>
                    <a:pt x="204536" y="250297"/>
                  </a:cubicBezTo>
                  <a:cubicBezTo>
                    <a:pt x="206931" y="243545"/>
                    <a:pt x="201776" y="257048"/>
                    <a:pt x="204373" y="250297"/>
                  </a:cubicBezTo>
                  <a:close/>
                  <a:moveTo>
                    <a:pt x="825316" y="408022"/>
                  </a:moveTo>
                  <a:cubicBezTo>
                    <a:pt x="841552" y="416445"/>
                    <a:pt x="848249" y="399265"/>
                    <a:pt x="832500" y="393049"/>
                  </a:cubicBezTo>
                  <a:cubicBezTo>
                    <a:pt x="825640" y="390341"/>
                    <a:pt x="835057" y="367045"/>
                    <a:pt x="812205" y="377975"/>
                  </a:cubicBezTo>
                  <a:cubicBezTo>
                    <a:pt x="800515" y="383657"/>
                    <a:pt x="797349" y="399566"/>
                    <a:pt x="802667" y="410730"/>
                  </a:cubicBezTo>
                  <a:cubicBezTo>
                    <a:pt x="808958" y="424099"/>
                    <a:pt x="812977" y="401672"/>
                    <a:pt x="825154" y="408022"/>
                  </a:cubicBezTo>
                  <a:close/>
                  <a:moveTo>
                    <a:pt x="727901" y="436366"/>
                  </a:moveTo>
                  <a:cubicBezTo>
                    <a:pt x="726277" y="444788"/>
                    <a:pt x="745151" y="458258"/>
                    <a:pt x="755136" y="454682"/>
                  </a:cubicBezTo>
                  <a:cubicBezTo>
                    <a:pt x="765121" y="451105"/>
                    <a:pt x="729849" y="426573"/>
                    <a:pt x="727941" y="436366"/>
                  </a:cubicBezTo>
                  <a:close/>
                  <a:moveTo>
                    <a:pt x="621433" y="486501"/>
                  </a:moveTo>
                  <a:cubicBezTo>
                    <a:pt x="611854" y="481220"/>
                    <a:pt x="601138" y="479415"/>
                    <a:pt x="590463" y="476908"/>
                  </a:cubicBezTo>
                  <a:cubicBezTo>
                    <a:pt x="578287" y="474067"/>
                    <a:pt x="571630" y="469388"/>
                    <a:pt x="561807" y="463539"/>
                  </a:cubicBezTo>
                  <a:cubicBezTo>
                    <a:pt x="557302" y="460765"/>
                    <a:pt x="510014" y="444120"/>
                    <a:pt x="519228" y="453980"/>
                  </a:cubicBezTo>
                  <a:cubicBezTo>
                    <a:pt x="531690" y="467349"/>
                    <a:pt x="566069" y="477744"/>
                    <a:pt x="585390" y="481621"/>
                  </a:cubicBezTo>
                  <a:cubicBezTo>
                    <a:pt x="595943" y="483626"/>
                    <a:pt x="606334" y="486334"/>
                    <a:pt x="616359" y="489743"/>
                  </a:cubicBezTo>
                  <a:cubicBezTo>
                    <a:pt x="626345" y="493086"/>
                    <a:pt x="635802" y="494489"/>
                    <a:pt x="621433" y="486601"/>
                  </a:cubicBezTo>
                  <a:close/>
                  <a:moveTo>
                    <a:pt x="831932" y="474803"/>
                  </a:moveTo>
                  <a:cubicBezTo>
                    <a:pt x="819796" y="466079"/>
                    <a:pt x="805345" y="459762"/>
                    <a:pt x="789719" y="456420"/>
                  </a:cubicBezTo>
                  <a:cubicBezTo>
                    <a:pt x="786268" y="455751"/>
                    <a:pt x="779855" y="454882"/>
                    <a:pt x="779612" y="458058"/>
                  </a:cubicBezTo>
                  <a:cubicBezTo>
                    <a:pt x="779084" y="464742"/>
                    <a:pt x="796903" y="470290"/>
                    <a:pt x="803763" y="473132"/>
                  </a:cubicBezTo>
                  <a:cubicBezTo>
                    <a:pt x="819592" y="479817"/>
                    <a:pt x="825154" y="491347"/>
                    <a:pt x="838710" y="497564"/>
                  </a:cubicBezTo>
                  <a:cubicBezTo>
                    <a:pt x="852267" y="503781"/>
                    <a:pt x="836032" y="477777"/>
                    <a:pt x="831932" y="474803"/>
                  </a:cubicBezTo>
                  <a:cubicBezTo>
                    <a:pt x="815169" y="462637"/>
                    <a:pt x="848776" y="487236"/>
                    <a:pt x="831973" y="474903"/>
                  </a:cubicBezTo>
                  <a:close/>
                  <a:moveTo>
                    <a:pt x="392792" y="387333"/>
                  </a:moveTo>
                  <a:cubicBezTo>
                    <a:pt x="396039" y="379479"/>
                    <a:pt x="309501" y="356283"/>
                    <a:pt x="373390" y="364705"/>
                  </a:cubicBezTo>
                  <a:cubicBezTo>
                    <a:pt x="394780" y="367580"/>
                    <a:pt x="381792" y="360394"/>
                    <a:pt x="368478" y="356985"/>
                  </a:cubicBezTo>
                  <a:cubicBezTo>
                    <a:pt x="343353" y="350567"/>
                    <a:pt x="331419" y="345855"/>
                    <a:pt x="311084" y="332619"/>
                  </a:cubicBezTo>
                  <a:cubicBezTo>
                    <a:pt x="302966" y="327305"/>
                    <a:pt x="299151" y="332619"/>
                    <a:pt x="288841" y="327873"/>
                  </a:cubicBezTo>
                  <a:cubicBezTo>
                    <a:pt x="274756" y="321456"/>
                    <a:pt x="262133" y="313066"/>
                    <a:pt x="251498" y="303139"/>
                  </a:cubicBezTo>
                  <a:cubicBezTo>
                    <a:pt x="243137" y="294449"/>
                    <a:pt x="226698" y="286427"/>
                    <a:pt x="213466" y="282082"/>
                  </a:cubicBezTo>
                  <a:cubicBezTo>
                    <a:pt x="207012" y="279876"/>
                    <a:pt x="198042" y="277503"/>
                    <a:pt x="192521" y="280044"/>
                  </a:cubicBezTo>
                  <a:cubicBezTo>
                    <a:pt x="189721" y="281314"/>
                    <a:pt x="176854" y="280545"/>
                    <a:pt x="176285" y="281815"/>
                  </a:cubicBezTo>
                  <a:cubicBezTo>
                    <a:pt x="170806" y="293480"/>
                    <a:pt x="195972" y="289670"/>
                    <a:pt x="196987" y="300098"/>
                  </a:cubicBezTo>
                  <a:cubicBezTo>
                    <a:pt x="197798" y="308554"/>
                    <a:pt x="218701" y="316208"/>
                    <a:pt x="228566" y="320854"/>
                  </a:cubicBezTo>
                  <a:cubicBezTo>
                    <a:pt x="240255" y="326335"/>
                    <a:pt x="248657" y="324196"/>
                    <a:pt x="259373" y="328976"/>
                  </a:cubicBezTo>
                  <a:cubicBezTo>
                    <a:pt x="278450" y="337599"/>
                    <a:pt x="286567" y="350567"/>
                    <a:pt x="302682" y="360628"/>
                  </a:cubicBezTo>
                  <a:cubicBezTo>
                    <a:pt x="317010" y="369519"/>
                    <a:pt x="333044" y="376404"/>
                    <a:pt x="350091" y="381016"/>
                  </a:cubicBezTo>
                  <a:cubicBezTo>
                    <a:pt x="360117" y="383623"/>
                    <a:pt x="366693" y="389940"/>
                    <a:pt x="375663" y="393784"/>
                  </a:cubicBezTo>
                  <a:cubicBezTo>
                    <a:pt x="382319" y="396625"/>
                    <a:pt x="385241" y="392681"/>
                    <a:pt x="390965" y="397695"/>
                  </a:cubicBezTo>
                  <a:cubicBezTo>
                    <a:pt x="394821" y="401906"/>
                    <a:pt x="400179" y="404948"/>
                    <a:pt x="406307" y="406418"/>
                  </a:cubicBezTo>
                  <a:cubicBezTo>
                    <a:pt x="408216" y="406752"/>
                    <a:pt x="421326" y="407688"/>
                    <a:pt x="416536" y="403443"/>
                  </a:cubicBezTo>
                  <a:cubicBezTo>
                    <a:pt x="412477" y="399767"/>
                    <a:pt x="390843" y="392180"/>
                    <a:pt x="392832" y="387333"/>
                  </a:cubicBezTo>
                  <a:cubicBezTo>
                    <a:pt x="395186" y="381651"/>
                    <a:pt x="390437" y="393216"/>
                    <a:pt x="392832" y="387434"/>
                  </a:cubicBezTo>
                  <a:close/>
                  <a:moveTo>
                    <a:pt x="1036951" y="545594"/>
                  </a:moveTo>
                  <a:cubicBezTo>
                    <a:pt x="1029604" y="542252"/>
                    <a:pt x="1022948" y="545594"/>
                    <a:pt x="1017386" y="546964"/>
                  </a:cubicBezTo>
                  <a:cubicBezTo>
                    <a:pt x="1009918" y="548802"/>
                    <a:pt x="1002003" y="544558"/>
                    <a:pt x="993601" y="544424"/>
                  </a:cubicBezTo>
                  <a:cubicBezTo>
                    <a:pt x="982033" y="544223"/>
                    <a:pt x="950130" y="548335"/>
                    <a:pt x="947572" y="533896"/>
                  </a:cubicBezTo>
                  <a:cubicBezTo>
                    <a:pt x="943229" y="509530"/>
                    <a:pt x="970627" y="497831"/>
                    <a:pt x="934827" y="474168"/>
                  </a:cubicBezTo>
                  <a:cubicBezTo>
                    <a:pt x="928251" y="469622"/>
                    <a:pt x="920986" y="465812"/>
                    <a:pt x="913193" y="462871"/>
                  </a:cubicBezTo>
                  <a:cubicBezTo>
                    <a:pt x="903208" y="459328"/>
                    <a:pt x="901381" y="464241"/>
                    <a:pt x="892492" y="463105"/>
                  </a:cubicBezTo>
                  <a:cubicBezTo>
                    <a:pt x="886281" y="462302"/>
                    <a:pt x="877270" y="457590"/>
                    <a:pt x="873130" y="461467"/>
                  </a:cubicBezTo>
                  <a:cubicBezTo>
                    <a:pt x="866514" y="467650"/>
                    <a:pt x="882710" y="469522"/>
                    <a:pt x="888149" y="474268"/>
                  </a:cubicBezTo>
                  <a:cubicBezTo>
                    <a:pt x="894319" y="479716"/>
                    <a:pt x="887824" y="485131"/>
                    <a:pt x="891802" y="490545"/>
                  </a:cubicBezTo>
                  <a:cubicBezTo>
                    <a:pt x="896308" y="496695"/>
                    <a:pt x="909418" y="500806"/>
                    <a:pt x="917333" y="503714"/>
                  </a:cubicBezTo>
                  <a:cubicBezTo>
                    <a:pt x="921392" y="505252"/>
                    <a:pt x="938196" y="509697"/>
                    <a:pt x="934421" y="514510"/>
                  </a:cubicBezTo>
                  <a:cubicBezTo>
                    <a:pt x="931702" y="517852"/>
                    <a:pt x="917860" y="506856"/>
                    <a:pt x="911934" y="506488"/>
                  </a:cubicBezTo>
                  <a:cubicBezTo>
                    <a:pt x="903167" y="505920"/>
                    <a:pt x="899311" y="501408"/>
                    <a:pt x="891355" y="497999"/>
                  </a:cubicBezTo>
                  <a:cubicBezTo>
                    <a:pt x="878366" y="492417"/>
                    <a:pt x="890097" y="505285"/>
                    <a:pt x="891761" y="508728"/>
                  </a:cubicBezTo>
                  <a:cubicBezTo>
                    <a:pt x="894521" y="514376"/>
                    <a:pt x="887946" y="520125"/>
                    <a:pt x="892208" y="524971"/>
                  </a:cubicBezTo>
                  <a:cubicBezTo>
                    <a:pt x="899311" y="533094"/>
                    <a:pt x="905075" y="527278"/>
                    <a:pt x="910230" y="525874"/>
                  </a:cubicBezTo>
                  <a:cubicBezTo>
                    <a:pt x="915385" y="524470"/>
                    <a:pt x="936979" y="552245"/>
                    <a:pt x="939982" y="555955"/>
                  </a:cubicBezTo>
                  <a:cubicBezTo>
                    <a:pt x="944487" y="561437"/>
                    <a:pt x="958369" y="567386"/>
                    <a:pt x="964945" y="572099"/>
                  </a:cubicBezTo>
                  <a:cubicBezTo>
                    <a:pt x="975051" y="579285"/>
                    <a:pt x="984550" y="587006"/>
                    <a:pt x="993357" y="595261"/>
                  </a:cubicBezTo>
                  <a:cubicBezTo>
                    <a:pt x="999487" y="601010"/>
                    <a:pt x="1006549" y="607695"/>
                    <a:pt x="1009106" y="614280"/>
                  </a:cubicBezTo>
                  <a:cubicBezTo>
                    <a:pt x="1011948" y="621499"/>
                    <a:pt x="1004195" y="625543"/>
                    <a:pt x="1007564" y="632896"/>
                  </a:cubicBezTo>
                  <a:cubicBezTo>
                    <a:pt x="1019741" y="659301"/>
                    <a:pt x="986010" y="636673"/>
                    <a:pt x="969571" y="642121"/>
                  </a:cubicBezTo>
                  <a:cubicBezTo>
                    <a:pt x="955041" y="646901"/>
                    <a:pt x="993073" y="659836"/>
                    <a:pt x="998716" y="662175"/>
                  </a:cubicBezTo>
                  <a:cubicBezTo>
                    <a:pt x="1006915" y="665117"/>
                    <a:pt x="1014951" y="668359"/>
                    <a:pt x="1022785" y="671969"/>
                  </a:cubicBezTo>
                  <a:cubicBezTo>
                    <a:pt x="1031593" y="676414"/>
                    <a:pt x="1034596" y="690819"/>
                    <a:pt x="1039305" y="697036"/>
                  </a:cubicBezTo>
                  <a:cubicBezTo>
                    <a:pt x="1056109" y="674743"/>
                    <a:pt x="1072914" y="652482"/>
                    <a:pt x="1089758" y="630189"/>
                  </a:cubicBezTo>
                  <a:cubicBezTo>
                    <a:pt x="1095887" y="622067"/>
                    <a:pt x="1102016" y="613945"/>
                    <a:pt x="1108105" y="605790"/>
                  </a:cubicBezTo>
                  <a:cubicBezTo>
                    <a:pt x="1109931" y="603517"/>
                    <a:pt x="1047017" y="550106"/>
                    <a:pt x="1036951" y="545828"/>
                  </a:cubicBezTo>
                  <a:close/>
                  <a:moveTo>
                    <a:pt x="644692" y="510466"/>
                  </a:moveTo>
                  <a:cubicBezTo>
                    <a:pt x="635680" y="510265"/>
                    <a:pt x="626791" y="514042"/>
                    <a:pt x="622651" y="505653"/>
                  </a:cubicBezTo>
                  <a:cubicBezTo>
                    <a:pt x="613396" y="504249"/>
                    <a:pt x="599881" y="505653"/>
                    <a:pt x="598014" y="512338"/>
                  </a:cubicBezTo>
                  <a:cubicBezTo>
                    <a:pt x="593264" y="529049"/>
                    <a:pt x="642459" y="518421"/>
                    <a:pt x="649278" y="519022"/>
                  </a:cubicBezTo>
                  <a:cubicBezTo>
                    <a:pt x="648263" y="516048"/>
                    <a:pt x="646681" y="513207"/>
                    <a:pt x="644692" y="510599"/>
                  </a:cubicBezTo>
                  <a:cubicBezTo>
                    <a:pt x="641768" y="510399"/>
                    <a:pt x="646437" y="512739"/>
                    <a:pt x="644611" y="510466"/>
                  </a:cubicBezTo>
                  <a:close/>
                  <a:moveTo>
                    <a:pt x="508432" y="308654"/>
                  </a:moveTo>
                  <a:cubicBezTo>
                    <a:pt x="533150" y="309289"/>
                    <a:pt x="528442" y="286494"/>
                    <a:pt x="548210" y="287597"/>
                  </a:cubicBezTo>
                  <a:cubicBezTo>
                    <a:pt x="557951" y="288132"/>
                    <a:pt x="594685" y="300967"/>
                    <a:pt x="584741" y="285859"/>
                  </a:cubicBezTo>
                  <a:cubicBezTo>
                    <a:pt x="581209" y="280445"/>
                    <a:pt x="568748" y="272991"/>
                    <a:pt x="570980" y="267643"/>
                  </a:cubicBezTo>
                  <a:cubicBezTo>
                    <a:pt x="574146" y="260190"/>
                    <a:pt x="569601" y="256313"/>
                    <a:pt x="566921" y="248124"/>
                  </a:cubicBezTo>
                  <a:cubicBezTo>
                    <a:pt x="563836" y="238097"/>
                    <a:pt x="575039" y="245183"/>
                    <a:pt x="576257" y="240904"/>
                  </a:cubicBezTo>
                  <a:cubicBezTo>
                    <a:pt x="577719" y="235356"/>
                    <a:pt x="572198" y="230075"/>
                    <a:pt x="584659" y="231245"/>
                  </a:cubicBezTo>
                  <a:cubicBezTo>
                    <a:pt x="573091" y="222455"/>
                    <a:pt x="558885" y="216305"/>
                    <a:pt x="543541" y="213397"/>
                  </a:cubicBezTo>
                  <a:cubicBezTo>
                    <a:pt x="525642" y="210255"/>
                    <a:pt x="531365" y="224895"/>
                    <a:pt x="516550" y="223992"/>
                  </a:cubicBezTo>
                  <a:cubicBezTo>
                    <a:pt x="504373" y="223257"/>
                    <a:pt x="502506" y="227903"/>
                    <a:pt x="493454" y="231880"/>
                  </a:cubicBezTo>
                  <a:cubicBezTo>
                    <a:pt x="488664" y="233986"/>
                    <a:pt x="489841" y="240102"/>
                    <a:pt x="484524" y="241372"/>
                  </a:cubicBezTo>
                  <a:cubicBezTo>
                    <a:pt x="479207" y="242642"/>
                    <a:pt x="466502" y="238030"/>
                    <a:pt x="460170" y="237495"/>
                  </a:cubicBezTo>
                  <a:cubicBezTo>
                    <a:pt x="444989" y="236359"/>
                    <a:pt x="442433" y="224126"/>
                    <a:pt x="424776" y="222221"/>
                  </a:cubicBezTo>
                  <a:cubicBezTo>
                    <a:pt x="418769" y="221586"/>
                    <a:pt x="413410" y="222856"/>
                    <a:pt x="407282" y="221853"/>
                  </a:cubicBezTo>
                  <a:cubicBezTo>
                    <a:pt x="398150" y="220416"/>
                    <a:pt x="389504" y="215536"/>
                    <a:pt x="380818" y="212695"/>
                  </a:cubicBezTo>
                  <a:cubicBezTo>
                    <a:pt x="375338" y="210924"/>
                    <a:pt x="369656" y="211859"/>
                    <a:pt x="365597" y="208049"/>
                  </a:cubicBezTo>
                  <a:cubicBezTo>
                    <a:pt x="362430" y="205074"/>
                    <a:pt x="353054" y="197186"/>
                    <a:pt x="351958" y="194078"/>
                  </a:cubicBezTo>
                  <a:cubicBezTo>
                    <a:pt x="349807" y="187962"/>
                    <a:pt x="355287" y="180709"/>
                    <a:pt x="341161" y="182079"/>
                  </a:cubicBezTo>
                  <a:cubicBezTo>
                    <a:pt x="333571" y="182681"/>
                    <a:pt x="326508" y="185589"/>
                    <a:pt x="321313" y="190201"/>
                  </a:cubicBezTo>
                  <a:cubicBezTo>
                    <a:pt x="317050" y="194479"/>
                    <a:pt x="320623" y="197320"/>
                    <a:pt x="322652" y="202534"/>
                  </a:cubicBezTo>
                  <a:cubicBezTo>
                    <a:pt x="325331" y="209453"/>
                    <a:pt x="321800" y="215168"/>
                    <a:pt x="321841" y="221652"/>
                  </a:cubicBezTo>
                  <a:cubicBezTo>
                    <a:pt x="321841" y="231446"/>
                    <a:pt x="341689" y="238598"/>
                    <a:pt x="336250" y="248625"/>
                  </a:cubicBezTo>
                  <a:cubicBezTo>
                    <a:pt x="333084" y="254475"/>
                    <a:pt x="332191" y="273526"/>
                    <a:pt x="345951" y="277871"/>
                  </a:cubicBezTo>
                  <a:cubicBezTo>
                    <a:pt x="355976" y="281046"/>
                    <a:pt x="362187" y="279242"/>
                    <a:pt x="365758" y="288500"/>
                  </a:cubicBezTo>
                  <a:cubicBezTo>
                    <a:pt x="368031" y="294516"/>
                    <a:pt x="370142" y="295418"/>
                    <a:pt x="379437" y="297323"/>
                  </a:cubicBezTo>
                  <a:cubicBezTo>
                    <a:pt x="395145" y="300666"/>
                    <a:pt x="404116" y="302872"/>
                    <a:pt x="417023" y="311194"/>
                  </a:cubicBezTo>
                  <a:cubicBezTo>
                    <a:pt x="428713" y="318748"/>
                    <a:pt x="427212" y="327906"/>
                    <a:pt x="442433" y="330981"/>
                  </a:cubicBezTo>
                  <a:cubicBezTo>
                    <a:pt x="458669" y="334324"/>
                    <a:pt x="473524" y="337933"/>
                    <a:pt x="482413" y="329176"/>
                  </a:cubicBezTo>
                  <a:cubicBezTo>
                    <a:pt x="488421" y="323260"/>
                    <a:pt x="494388" y="308320"/>
                    <a:pt x="508188" y="308654"/>
                  </a:cubicBezTo>
                  <a:close/>
                  <a:moveTo>
                    <a:pt x="489477" y="458091"/>
                  </a:moveTo>
                  <a:cubicBezTo>
                    <a:pt x="491506" y="464174"/>
                    <a:pt x="505915" y="473098"/>
                    <a:pt x="511881" y="478646"/>
                  </a:cubicBezTo>
                  <a:cubicBezTo>
                    <a:pt x="515940" y="482557"/>
                    <a:pt x="535789" y="492283"/>
                    <a:pt x="530147" y="481320"/>
                  </a:cubicBezTo>
                  <a:cubicBezTo>
                    <a:pt x="526656" y="474636"/>
                    <a:pt x="515251" y="468218"/>
                    <a:pt x="507214" y="463840"/>
                  </a:cubicBezTo>
                  <a:cubicBezTo>
                    <a:pt x="506077" y="463238"/>
                    <a:pt x="488177" y="454314"/>
                    <a:pt x="489477" y="458091"/>
                  </a:cubicBezTo>
                  <a:cubicBezTo>
                    <a:pt x="491344" y="463973"/>
                    <a:pt x="487163" y="451573"/>
                    <a:pt x="489395" y="458091"/>
                  </a:cubicBezTo>
                  <a:close/>
                  <a:moveTo>
                    <a:pt x="465650" y="421024"/>
                  </a:moveTo>
                  <a:cubicBezTo>
                    <a:pt x="453270" y="427709"/>
                    <a:pt x="431352" y="400201"/>
                    <a:pt x="425060" y="414540"/>
                  </a:cubicBezTo>
                  <a:cubicBezTo>
                    <a:pt x="419337" y="427408"/>
                    <a:pt x="458100" y="434594"/>
                    <a:pt x="467842" y="436499"/>
                  </a:cubicBezTo>
                  <a:cubicBezTo>
                    <a:pt x="472875" y="437502"/>
                    <a:pt x="511638" y="451206"/>
                    <a:pt x="496458" y="436499"/>
                  </a:cubicBezTo>
                  <a:cubicBezTo>
                    <a:pt x="492845" y="432957"/>
                    <a:pt x="472104" y="417581"/>
                    <a:pt x="465772" y="42102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28223F85-939A-4770-824D-F5FE6B813C46}"/>
                </a:ext>
              </a:extLst>
            </p:cNvPr>
            <p:cNvSpPr/>
            <p:nvPr/>
          </p:nvSpPr>
          <p:spPr>
            <a:xfrm>
              <a:off x="9074597" y="5606097"/>
              <a:ext cx="86612" cy="21730"/>
            </a:xfrm>
            <a:custGeom>
              <a:avLst/>
              <a:gdLst>
                <a:gd name="connsiteX0" fmla="*/ 8668 w 86612"/>
                <a:gd name="connsiteY0" fmla="*/ 1867 h 21730"/>
                <a:gd name="connsiteX1" fmla="*/ -60 w 86612"/>
                <a:gd name="connsiteY1" fmla="*/ -339 h 21730"/>
                <a:gd name="connsiteX2" fmla="*/ 12646 w 86612"/>
                <a:gd name="connsiteY2" fmla="*/ 3004 h 21730"/>
                <a:gd name="connsiteX3" fmla="*/ 8587 w 86612"/>
                <a:gd name="connsiteY3" fmla="*/ 1800 h 21730"/>
                <a:gd name="connsiteX4" fmla="*/ 8668 w 86612"/>
                <a:gd name="connsiteY4" fmla="*/ 1867 h 21730"/>
                <a:gd name="connsiteX5" fmla="*/ 51125 w 86612"/>
                <a:gd name="connsiteY5" fmla="*/ 5510 h 21730"/>
                <a:gd name="connsiteX6" fmla="*/ 21981 w 86612"/>
                <a:gd name="connsiteY6" fmla="*/ 4474 h 21730"/>
                <a:gd name="connsiteX7" fmla="*/ 30992 w 86612"/>
                <a:gd name="connsiteY7" fmla="*/ 13265 h 21730"/>
                <a:gd name="connsiteX8" fmla="*/ 47228 w 86612"/>
                <a:gd name="connsiteY8" fmla="*/ 15604 h 21730"/>
                <a:gd name="connsiteX9" fmla="*/ 80065 w 86612"/>
                <a:gd name="connsiteY9" fmla="*/ 21052 h 21730"/>
                <a:gd name="connsiteX10" fmla="*/ 51003 w 86612"/>
                <a:gd name="connsiteY10" fmla="*/ 5510 h 21730"/>
                <a:gd name="connsiteX11" fmla="*/ 51125 w 86612"/>
                <a:gd name="connsiteY11" fmla="*/ 5210 h 21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12" h="21730">
                  <a:moveTo>
                    <a:pt x="8668" y="1867"/>
                  </a:moveTo>
                  <a:cubicBezTo>
                    <a:pt x="5867" y="864"/>
                    <a:pt x="2944" y="96"/>
                    <a:pt x="-60" y="-339"/>
                  </a:cubicBezTo>
                  <a:cubicBezTo>
                    <a:pt x="3310" y="6346"/>
                    <a:pt x="7125" y="6346"/>
                    <a:pt x="12646" y="3004"/>
                  </a:cubicBezTo>
                  <a:lnTo>
                    <a:pt x="8587" y="1800"/>
                  </a:lnTo>
                  <a:cubicBezTo>
                    <a:pt x="5745" y="631"/>
                    <a:pt x="8830" y="1867"/>
                    <a:pt x="8668" y="1867"/>
                  </a:cubicBezTo>
                  <a:close/>
                  <a:moveTo>
                    <a:pt x="51125" y="5510"/>
                  </a:moveTo>
                  <a:cubicBezTo>
                    <a:pt x="40977" y="631"/>
                    <a:pt x="31560" y="4641"/>
                    <a:pt x="21981" y="4474"/>
                  </a:cubicBezTo>
                  <a:cubicBezTo>
                    <a:pt x="25634" y="9054"/>
                    <a:pt x="23280" y="12429"/>
                    <a:pt x="30992" y="13265"/>
                  </a:cubicBezTo>
                  <a:cubicBezTo>
                    <a:pt x="36431" y="13833"/>
                    <a:pt x="41911" y="14702"/>
                    <a:pt x="47228" y="15604"/>
                  </a:cubicBezTo>
                  <a:cubicBezTo>
                    <a:pt x="58187" y="17409"/>
                    <a:pt x="69187" y="19715"/>
                    <a:pt x="80065" y="21052"/>
                  </a:cubicBezTo>
                  <a:cubicBezTo>
                    <a:pt x="103647" y="23927"/>
                    <a:pt x="55711" y="7683"/>
                    <a:pt x="51003" y="5510"/>
                  </a:cubicBezTo>
                  <a:cubicBezTo>
                    <a:pt x="41464" y="698"/>
                    <a:pt x="65493" y="12162"/>
                    <a:pt x="51125" y="5210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9CFD0E61-54C3-48D1-94A7-5AC0800CEAF7}"/>
                </a:ext>
              </a:extLst>
            </p:cNvPr>
            <p:cNvSpPr/>
            <p:nvPr/>
          </p:nvSpPr>
          <p:spPr>
            <a:xfrm>
              <a:off x="5986238" y="3974558"/>
              <a:ext cx="364913" cy="214533"/>
            </a:xfrm>
            <a:custGeom>
              <a:avLst/>
              <a:gdLst>
                <a:gd name="connsiteX0" fmla="*/ 251442 w 364913"/>
                <a:gd name="connsiteY0" fmla="*/ 185530 h 214533"/>
                <a:gd name="connsiteX1" fmla="*/ 218523 w 364913"/>
                <a:gd name="connsiteY1" fmla="*/ 186365 h 214533"/>
                <a:gd name="connsiteX2" fmla="*/ 186701 w 364913"/>
                <a:gd name="connsiteY2" fmla="*/ 189708 h 214533"/>
                <a:gd name="connsiteX3" fmla="*/ 237925 w 364913"/>
                <a:gd name="connsiteY3" fmla="*/ 207055 h 214533"/>
                <a:gd name="connsiteX4" fmla="*/ 254648 w 364913"/>
                <a:gd name="connsiteY4" fmla="*/ 214174 h 214533"/>
                <a:gd name="connsiteX5" fmla="*/ 263415 w 364913"/>
                <a:gd name="connsiteY5" fmla="*/ 199233 h 214533"/>
                <a:gd name="connsiteX6" fmla="*/ 251238 w 364913"/>
                <a:gd name="connsiteY6" fmla="*/ 185630 h 214533"/>
                <a:gd name="connsiteX7" fmla="*/ 69924 w 364913"/>
                <a:gd name="connsiteY7" fmla="*/ 127807 h 214533"/>
                <a:gd name="connsiteX8" fmla="*/ 46869 w 364913"/>
                <a:gd name="connsiteY8" fmla="*/ 131150 h 214533"/>
                <a:gd name="connsiteX9" fmla="*/ 55555 w 364913"/>
                <a:gd name="connsiteY9" fmla="*/ 143015 h 214533"/>
                <a:gd name="connsiteX10" fmla="*/ 72238 w 364913"/>
                <a:gd name="connsiteY10" fmla="*/ 169286 h 214533"/>
                <a:gd name="connsiteX11" fmla="*/ 96023 w 364913"/>
                <a:gd name="connsiteY11" fmla="*/ 159727 h 214533"/>
                <a:gd name="connsiteX12" fmla="*/ 97525 w 364913"/>
                <a:gd name="connsiteY12" fmla="*/ 141010 h 214533"/>
                <a:gd name="connsiteX13" fmla="*/ 94521 w 364913"/>
                <a:gd name="connsiteY13" fmla="*/ 127640 h 214533"/>
                <a:gd name="connsiteX14" fmla="*/ 69924 w 364913"/>
                <a:gd name="connsiteY14" fmla="*/ 128075 h 214533"/>
                <a:gd name="connsiteX15" fmla="*/ 301286 w 364913"/>
                <a:gd name="connsiteY15" fmla="*/ 121122 h 214533"/>
                <a:gd name="connsiteX16" fmla="*/ 292315 w 364913"/>
                <a:gd name="connsiteY16" fmla="*/ 114204 h 214533"/>
                <a:gd name="connsiteX17" fmla="*/ 272020 w 364913"/>
                <a:gd name="connsiteY17" fmla="*/ 110293 h 214533"/>
                <a:gd name="connsiteX18" fmla="*/ 234556 w 364913"/>
                <a:gd name="connsiteY18" fmla="*/ 91409 h 214533"/>
                <a:gd name="connsiteX19" fmla="*/ 208944 w 364913"/>
                <a:gd name="connsiteY19" fmla="*/ 68982 h 214533"/>
                <a:gd name="connsiteX20" fmla="*/ 181546 w 364913"/>
                <a:gd name="connsiteY20" fmla="*/ 54142 h 214533"/>
                <a:gd name="connsiteX21" fmla="*/ 186417 w 364913"/>
                <a:gd name="connsiteY21" fmla="*/ 35224 h 214533"/>
                <a:gd name="connsiteX22" fmla="*/ 198594 w 364913"/>
                <a:gd name="connsiteY22" fmla="*/ 26300 h 214533"/>
                <a:gd name="connsiteX23" fmla="*/ 200704 w 364913"/>
                <a:gd name="connsiteY23" fmla="*/ 8619 h 214533"/>
                <a:gd name="connsiteX24" fmla="*/ 181952 w 364913"/>
                <a:gd name="connsiteY24" fmla="*/ 5276 h 214533"/>
                <a:gd name="connsiteX25" fmla="*/ 175295 w 364913"/>
                <a:gd name="connsiteY25" fmla="*/ -339 h 214533"/>
                <a:gd name="connsiteX26" fmla="*/ 136572 w 364913"/>
                <a:gd name="connsiteY26" fmla="*/ 5410 h 214533"/>
                <a:gd name="connsiteX27" fmla="*/ 119281 w 364913"/>
                <a:gd name="connsiteY27" fmla="*/ 9789 h 214533"/>
                <a:gd name="connsiteX28" fmla="*/ 108363 w 364913"/>
                <a:gd name="connsiteY28" fmla="*/ 10791 h 214533"/>
                <a:gd name="connsiteX29" fmla="*/ 95780 w 364913"/>
                <a:gd name="connsiteY29" fmla="*/ 15337 h 214533"/>
                <a:gd name="connsiteX30" fmla="*/ 75891 w 364913"/>
                <a:gd name="connsiteY30" fmla="*/ 25598 h 214533"/>
                <a:gd name="connsiteX31" fmla="*/ 48939 w 364913"/>
                <a:gd name="connsiteY31" fmla="*/ 16841 h 214533"/>
                <a:gd name="connsiteX32" fmla="*/ 16954 w 364913"/>
                <a:gd name="connsiteY32" fmla="*/ 26367 h 214533"/>
                <a:gd name="connsiteX33" fmla="*/ 6604 w 364913"/>
                <a:gd name="connsiteY33" fmla="*/ 41741 h 214533"/>
                <a:gd name="connsiteX34" fmla="*/ 9729 w 364913"/>
                <a:gd name="connsiteY34" fmla="*/ 54543 h 214533"/>
                <a:gd name="connsiteX35" fmla="*/ 24626 w 364913"/>
                <a:gd name="connsiteY35" fmla="*/ 62865 h 214533"/>
                <a:gd name="connsiteX36" fmla="*/ 28685 w 364913"/>
                <a:gd name="connsiteY36" fmla="*/ 71054 h 214533"/>
                <a:gd name="connsiteX37" fmla="*/ 58721 w 364913"/>
                <a:gd name="connsiteY37" fmla="*/ 60058 h 214533"/>
                <a:gd name="connsiteX38" fmla="*/ 108079 w 364913"/>
                <a:gd name="connsiteY38" fmla="*/ 65740 h 214533"/>
                <a:gd name="connsiteX39" fmla="*/ 152281 w 364913"/>
                <a:gd name="connsiteY39" fmla="*/ 98829 h 214533"/>
                <a:gd name="connsiteX40" fmla="*/ 187148 w 364913"/>
                <a:gd name="connsiteY40" fmla="*/ 115541 h 214533"/>
                <a:gd name="connsiteX41" fmla="*/ 231796 w 364913"/>
                <a:gd name="connsiteY41" fmla="*/ 129412 h 214533"/>
                <a:gd name="connsiteX42" fmla="*/ 266825 w 364913"/>
                <a:gd name="connsiteY42" fmla="*/ 143617 h 214533"/>
                <a:gd name="connsiteX43" fmla="*/ 281356 w 364913"/>
                <a:gd name="connsiteY43" fmla="*/ 148196 h 214533"/>
                <a:gd name="connsiteX44" fmla="*/ 289474 w 364913"/>
                <a:gd name="connsiteY44" fmla="*/ 160195 h 214533"/>
                <a:gd name="connsiteX45" fmla="*/ 283102 w 364913"/>
                <a:gd name="connsiteY45" fmla="*/ 182421 h 214533"/>
                <a:gd name="connsiteX46" fmla="*/ 300636 w 364913"/>
                <a:gd name="connsiteY46" fmla="*/ 181118 h 214533"/>
                <a:gd name="connsiteX47" fmla="*/ 306969 w 364913"/>
                <a:gd name="connsiteY47" fmla="*/ 172394 h 214533"/>
                <a:gd name="connsiteX48" fmla="*/ 323204 w 364913"/>
                <a:gd name="connsiteY48" fmla="*/ 165710 h 214533"/>
                <a:gd name="connsiteX49" fmla="*/ 309119 w 364913"/>
                <a:gd name="connsiteY49" fmla="*/ 148764 h 214533"/>
                <a:gd name="connsiteX50" fmla="*/ 347152 w 364913"/>
                <a:gd name="connsiteY50" fmla="*/ 148129 h 214533"/>
                <a:gd name="connsiteX51" fmla="*/ 361724 w 364913"/>
                <a:gd name="connsiteY51" fmla="*/ 143115 h 214533"/>
                <a:gd name="connsiteX52" fmla="*/ 301367 w 364913"/>
                <a:gd name="connsiteY52" fmla="*/ 121423 h 214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64913" h="214533">
                  <a:moveTo>
                    <a:pt x="251442" y="185530"/>
                  </a:moveTo>
                  <a:cubicBezTo>
                    <a:pt x="240888" y="186633"/>
                    <a:pt x="229198" y="188337"/>
                    <a:pt x="218523" y="186365"/>
                  </a:cubicBezTo>
                  <a:cubicBezTo>
                    <a:pt x="207848" y="184393"/>
                    <a:pt x="192465" y="182455"/>
                    <a:pt x="186701" y="189708"/>
                  </a:cubicBezTo>
                  <a:cubicBezTo>
                    <a:pt x="180206" y="197730"/>
                    <a:pt x="230822" y="203679"/>
                    <a:pt x="237925" y="207055"/>
                  </a:cubicBezTo>
                  <a:cubicBezTo>
                    <a:pt x="242715" y="209294"/>
                    <a:pt x="247707" y="213739"/>
                    <a:pt x="254648" y="214174"/>
                  </a:cubicBezTo>
                  <a:cubicBezTo>
                    <a:pt x="269585" y="214742"/>
                    <a:pt x="261914" y="203445"/>
                    <a:pt x="263415" y="199233"/>
                  </a:cubicBezTo>
                  <a:cubicBezTo>
                    <a:pt x="267150" y="188605"/>
                    <a:pt x="289677" y="181619"/>
                    <a:pt x="251238" y="185630"/>
                  </a:cubicBezTo>
                  <a:close/>
                  <a:moveTo>
                    <a:pt x="69924" y="127807"/>
                  </a:moveTo>
                  <a:cubicBezTo>
                    <a:pt x="63714" y="130715"/>
                    <a:pt x="50400" y="127807"/>
                    <a:pt x="46869" y="131150"/>
                  </a:cubicBezTo>
                  <a:cubicBezTo>
                    <a:pt x="43338" y="134492"/>
                    <a:pt x="52796" y="140174"/>
                    <a:pt x="55555" y="143015"/>
                  </a:cubicBezTo>
                  <a:cubicBezTo>
                    <a:pt x="58316" y="145856"/>
                    <a:pt x="56611" y="177876"/>
                    <a:pt x="72238" y="169286"/>
                  </a:cubicBezTo>
                  <a:cubicBezTo>
                    <a:pt x="78976" y="165576"/>
                    <a:pt x="93182" y="165142"/>
                    <a:pt x="96023" y="159727"/>
                  </a:cubicBezTo>
                  <a:cubicBezTo>
                    <a:pt x="99067" y="153777"/>
                    <a:pt x="97079" y="147093"/>
                    <a:pt x="97525" y="141010"/>
                  </a:cubicBezTo>
                  <a:cubicBezTo>
                    <a:pt x="97850" y="136464"/>
                    <a:pt x="103248" y="130682"/>
                    <a:pt x="94521" y="127640"/>
                  </a:cubicBezTo>
                  <a:cubicBezTo>
                    <a:pt x="86607" y="124986"/>
                    <a:pt x="77717" y="125143"/>
                    <a:pt x="69924" y="128075"/>
                  </a:cubicBezTo>
                  <a:close/>
                  <a:moveTo>
                    <a:pt x="301286" y="121122"/>
                  </a:moveTo>
                  <a:cubicBezTo>
                    <a:pt x="297470" y="119672"/>
                    <a:pt x="294305" y="117245"/>
                    <a:pt x="292315" y="114204"/>
                  </a:cubicBezTo>
                  <a:cubicBezTo>
                    <a:pt x="288256" y="109759"/>
                    <a:pt x="279408" y="111162"/>
                    <a:pt x="272020" y="110293"/>
                  </a:cubicBezTo>
                  <a:cubicBezTo>
                    <a:pt x="257043" y="108231"/>
                    <a:pt x="243608" y="101463"/>
                    <a:pt x="234556" y="91409"/>
                  </a:cubicBezTo>
                  <a:cubicBezTo>
                    <a:pt x="226438" y="82552"/>
                    <a:pt x="225423" y="74931"/>
                    <a:pt x="208944" y="68982"/>
                  </a:cubicBezTo>
                  <a:cubicBezTo>
                    <a:pt x="198269" y="65105"/>
                    <a:pt x="183089" y="61963"/>
                    <a:pt x="181546" y="54142"/>
                  </a:cubicBezTo>
                  <a:cubicBezTo>
                    <a:pt x="180978" y="51267"/>
                    <a:pt x="183778" y="36761"/>
                    <a:pt x="186417" y="35224"/>
                  </a:cubicBezTo>
                  <a:cubicBezTo>
                    <a:pt x="194819" y="30344"/>
                    <a:pt x="198594" y="34054"/>
                    <a:pt x="198594" y="26300"/>
                  </a:cubicBezTo>
                  <a:cubicBezTo>
                    <a:pt x="198634" y="20367"/>
                    <a:pt x="199365" y="14448"/>
                    <a:pt x="200704" y="8619"/>
                  </a:cubicBezTo>
                  <a:cubicBezTo>
                    <a:pt x="195671" y="8318"/>
                    <a:pt x="184468" y="8385"/>
                    <a:pt x="181952" y="5276"/>
                  </a:cubicBezTo>
                  <a:cubicBezTo>
                    <a:pt x="180166" y="3137"/>
                    <a:pt x="180775" y="-339"/>
                    <a:pt x="175295" y="-339"/>
                  </a:cubicBezTo>
                  <a:cubicBezTo>
                    <a:pt x="159668" y="-339"/>
                    <a:pt x="150373" y="4808"/>
                    <a:pt x="136572" y="5410"/>
                  </a:cubicBezTo>
                  <a:cubicBezTo>
                    <a:pt x="123787" y="5978"/>
                    <a:pt x="126750" y="3505"/>
                    <a:pt x="119281" y="9789"/>
                  </a:cubicBezTo>
                  <a:cubicBezTo>
                    <a:pt x="116481" y="12128"/>
                    <a:pt x="112016" y="9789"/>
                    <a:pt x="108363" y="10791"/>
                  </a:cubicBezTo>
                  <a:cubicBezTo>
                    <a:pt x="101868" y="12763"/>
                    <a:pt x="107429" y="16039"/>
                    <a:pt x="95780" y="15337"/>
                  </a:cubicBezTo>
                  <a:cubicBezTo>
                    <a:pt x="73456" y="13966"/>
                    <a:pt x="87905" y="23826"/>
                    <a:pt x="75891" y="25598"/>
                  </a:cubicBezTo>
                  <a:cubicBezTo>
                    <a:pt x="63064" y="27536"/>
                    <a:pt x="58803" y="6012"/>
                    <a:pt x="48939" y="16841"/>
                  </a:cubicBezTo>
                  <a:cubicBezTo>
                    <a:pt x="40821" y="25932"/>
                    <a:pt x="35057" y="25364"/>
                    <a:pt x="16954" y="26367"/>
                  </a:cubicBezTo>
                  <a:cubicBezTo>
                    <a:pt x="-5086" y="27637"/>
                    <a:pt x="24667" y="36728"/>
                    <a:pt x="6604" y="41741"/>
                  </a:cubicBezTo>
                  <a:cubicBezTo>
                    <a:pt x="-13041" y="47256"/>
                    <a:pt x="17807" y="47658"/>
                    <a:pt x="9729" y="54543"/>
                  </a:cubicBezTo>
                  <a:cubicBezTo>
                    <a:pt x="1652" y="61428"/>
                    <a:pt x="15980" y="62765"/>
                    <a:pt x="24626" y="62865"/>
                  </a:cubicBezTo>
                  <a:cubicBezTo>
                    <a:pt x="37209" y="62865"/>
                    <a:pt x="29416" y="67010"/>
                    <a:pt x="28685" y="71054"/>
                  </a:cubicBezTo>
                  <a:cubicBezTo>
                    <a:pt x="45165" y="68313"/>
                    <a:pt x="46057" y="64369"/>
                    <a:pt x="58721" y="60058"/>
                  </a:cubicBezTo>
                  <a:cubicBezTo>
                    <a:pt x="74552" y="54576"/>
                    <a:pt x="96104" y="59423"/>
                    <a:pt x="108079" y="65740"/>
                  </a:cubicBezTo>
                  <a:cubicBezTo>
                    <a:pt x="128130" y="76268"/>
                    <a:pt x="125938" y="89738"/>
                    <a:pt x="152281" y="98829"/>
                  </a:cubicBezTo>
                  <a:cubicBezTo>
                    <a:pt x="165675" y="103441"/>
                    <a:pt x="175620" y="109692"/>
                    <a:pt x="187148" y="115541"/>
                  </a:cubicBezTo>
                  <a:cubicBezTo>
                    <a:pt x="200136" y="122025"/>
                    <a:pt x="218199" y="123061"/>
                    <a:pt x="231796" y="129412"/>
                  </a:cubicBezTo>
                  <a:cubicBezTo>
                    <a:pt x="243973" y="134893"/>
                    <a:pt x="256759" y="136832"/>
                    <a:pt x="266825" y="143617"/>
                  </a:cubicBezTo>
                  <a:cubicBezTo>
                    <a:pt x="270884" y="146224"/>
                    <a:pt x="278028" y="145889"/>
                    <a:pt x="281356" y="148196"/>
                  </a:cubicBezTo>
                  <a:cubicBezTo>
                    <a:pt x="284684" y="150502"/>
                    <a:pt x="287363" y="157287"/>
                    <a:pt x="289474" y="160195"/>
                  </a:cubicBezTo>
                  <a:cubicBezTo>
                    <a:pt x="296334" y="169520"/>
                    <a:pt x="283304" y="173999"/>
                    <a:pt x="283102" y="182421"/>
                  </a:cubicBezTo>
                  <a:cubicBezTo>
                    <a:pt x="282858" y="193752"/>
                    <a:pt x="295684" y="186532"/>
                    <a:pt x="300636" y="181118"/>
                  </a:cubicBezTo>
                  <a:cubicBezTo>
                    <a:pt x="302950" y="178611"/>
                    <a:pt x="303559" y="174433"/>
                    <a:pt x="306969" y="172394"/>
                  </a:cubicBezTo>
                  <a:cubicBezTo>
                    <a:pt x="311595" y="169553"/>
                    <a:pt x="318537" y="168617"/>
                    <a:pt x="323204" y="165710"/>
                  </a:cubicBezTo>
                  <a:cubicBezTo>
                    <a:pt x="331038" y="160429"/>
                    <a:pt x="305548" y="155683"/>
                    <a:pt x="309119" y="148764"/>
                  </a:cubicBezTo>
                  <a:cubicBezTo>
                    <a:pt x="314315" y="138737"/>
                    <a:pt x="337045" y="144285"/>
                    <a:pt x="347152" y="148129"/>
                  </a:cubicBezTo>
                  <a:cubicBezTo>
                    <a:pt x="357259" y="151973"/>
                    <a:pt x="371141" y="151104"/>
                    <a:pt x="361724" y="143115"/>
                  </a:cubicBezTo>
                  <a:cubicBezTo>
                    <a:pt x="348979" y="132320"/>
                    <a:pt x="320404" y="128041"/>
                    <a:pt x="301367" y="121423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3ADE8EA4-A824-4D3A-B3BE-8415AE004CED}"/>
                </a:ext>
              </a:extLst>
            </p:cNvPr>
            <p:cNvSpPr/>
            <p:nvPr/>
          </p:nvSpPr>
          <p:spPr>
            <a:xfrm>
              <a:off x="6353731" y="4056078"/>
              <a:ext cx="37680" cy="27741"/>
            </a:xfrm>
            <a:custGeom>
              <a:avLst/>
              <a:gdLst>
                <a:gd name="connsiteX0" fmla="*/ 13065 w 37680"/>
                <a:gd name="connsiteY0" fmla="*/ -339 h 27741"/>
                <a:gd name="connsiteX1" fmla="*/ 76 w 37680"/>
                <a:gd name="connsiteY1" fmla="*/ 14033 h 27741"/>
                <a:gd name="connsiteX2" fmla="*/ 22724 w 37680"/>
                <a:gd name="connsiteY2" fmla="*/ 27403 h 27741"/>
                <a:gd name="connsiteX3" fmla="*/ 37621 w 37680"/>
                <a:gd name="connsiteY3" fmla="*/ 15738 h 27741"/>
                <a:gd name="connsiteX4" fmla="*/ 13267 w 37680"/>
                <a:gd name="connsiteY4" fmla="*/ -272 h 27741"/>
                <a:gd name="connsiteX5" fmla="*/ 13065 w 37680"/>
                <a:gd name="connsiteY5" fmla="*/ -339 h 2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80" h="27741">
                  <a:moveTo>
                    <a:pt x="13065" y="-339"/>
                  </a:moveTo>
                  <a:cubicBezTo>
                    <a:pt x="6164" y="4307"/>
                    <a:pt x="1780" y="8284"/>
                    <a:pt x="76" y="14033"/>
                  </a:cubicBezTo>
                  <a:cubicBezTo>
                    <a:pt x="-1629" y="19782"/>
                    <a:pt x="13186" y="24428"/>
                    <a:pt x="22724" y="27403"/>
                  </a:cubicBezTo>
                  <a:cubicBezTo>
                    <a:pt x="24145" y="23693"/>
                    <a:pt x="29300" y="16540"/>
                    <a:pt x="37621" y="15738"/>
                  </a:cubicBezTo>
                  <a:cubicBezTo>
                    <a:pt x="29828" y="10290"/>
                    <a:pt x="21872" y="4775"/>
                    <a:pt x="13267" y="-272"/>
                  </a:cubicBezTo>
                  <a:cubicBezTo>
                    <a:pt x="6286" y="4374"/>
                    <a:pt x="19883" y="3572"/>
                    <a:pt x="13065" y="-339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438366F0-4F07-4FA8-9196-939714262DBB}"/>
                </a:ext>
              </a:extLst>
            </p:cNvPr>
            <p:cNvSpPr/>
            <p:nvPr/>
          </p:nvSpPr>
          <p:spPr>
            <a:xfrm>
              <a:off x="6365693" y="3996957"/>
              <a:ext cx="123537" cy="84606"/>
            </a:xfrm>
            <a:custGeom>
              <a:avLst/>
              <a:gdLst>
                <a:gd name="connsiteX0" fmla="*/ 114024 w 123537"/>
                <a:gd name="connsiteY0" fmla="*/ 58348 h 84606"/>
                <a:gd name="connsiteX1" fmla="*/ 110857 w 123537"/>
                <a:gd name="connsiteY1" fmla="*/ 48789 h 84606"/>
                <a:gd name="connsiteX2" fmla="*/ 115931 w 123537"/>
                <a:gd name="connsiteY2" fmla="*/ 37592 h 84606"/>
                <a:gd name="connsiteX3" fmla="*/ 82972 w 123537"/>
                <a:gd name="connsiteY3" fmla="*/ 30907 h 84606"/>
                <a:gd name="connsiteX4" fmla="*/ 76681 w 123537"/>
                <a:gd name="connsiteY4" fmla="*/ 19810 h 84606"/>
                <a:gd name="connsiteX5" fmla="*/ 56102 w 123537"/>
                <a:gd name="connsiteY5" fmla="*/ 2463 h 84606"/>
                <a:gd name="connsiteX6" fmla="*/ 21398 w 123537"/>
                <a:gd name="connsiteY6" fmla="*/ 358 h 84606"/>
                <a:gd name="connsiteX7" fmla="*/ 372 w 123537"/>
                <a:gd name="connsiteY7" fmla="*/ 7845 h 84606"/>
                <a:gd name="connsiteX8" fmla="*/ 14538 w 123537"/>
                <a:gd name="connsiteY8" fmla="*/ 19209 h 84606"/>
                <a:gd name="connsiteX9" fmla="*/ 18191 w 123537"/>
                <a:gd name="connsiteY9" fmla="*/ 43040 h 84606"/>
                <a:gd name="connsiteX10" fmla="*/ 1103 w 123537"/>
                <a:gd name="connsiteY10" fmla="*/ 58715 h 84606"/>
                <a:gd name="connsiteX11" fmla="*/ 33899 w 123537"/>
                <a:gd name="connsiteY11" fmla="*/ 76229 h 84606"/>
                <a:gd name="connsiteX12" fmla="*/ 60323 w 123537"/>
                <a:gd name="connsiteY12" fmla="*/ 84218 h 84606"/>
                <a:gd name="connsiteX13" fmla="*/ 112116 w 123537"/>
                <a:gd name="connsiteY13" fmla="*/ 78369 h 84606"/>
                <a:gd name="connsiteX14" fmla="*/ 114024 w 123537"/>
                <a:gd name="connsiteY14" fmla="*/ 58314 h 8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537" h="84606">
                  <a:moveTo>
                    <a:pt x="114024" y="58348"/>
                  </a:moveTo>
                  <a:cubicBezTo>
                    <a:pt x="109315" y="55841"/>
                    <a:pt x="107773" y="51663"/>
                    <a:pt x="110857" y="48789"/>
                  </a:cubicBezTo>
                  <a:cubicBezTo>
                    <a:pt x="116499" y="43207"/>
                    <a:pt x="115525" y="44176"/>
                    <a:pt x="115931" y="37592"/>
                  </a:cubicBezTo>
                  <a:cubicBezTo>
                    <a:pt x="116175" y="33247"/>
                    <a:pt x="88411" y="31609"/>
                    <a:pt x="82972" y="30907"/>
                  </a:cubicBezTo>
                  <a:cubicBezTo>
                    <a:pt x="73109" y="29704"/>
                    <a:pt x="85733" y="20111"/>
                    <a:pt x="76681" y="19810"/>
                  </a:cubicBezTo>
                  <a:cubicBezTo>
                    <a:pt x="70593" y="19576"/>
                    <a:pt x="53139" y="4034"/>
                    <a:pt x="56102" y="2463"/>
                  </a:cubicBezTo>
                  <a:cubicBezTo>
                    <a:pt x="42099" y="893"/>
                    <a:pt x="35117" y="-1547"/>
                    <a:pt x="21398" y="358"/>
                  </a:cubicBezTo>
                  <a:cubicBezTo>
                    <a:pt x="10642" y="1828"/>
                    <a:pt x="-2631" y="759"/>
                    <a:pt x="372" y="7845"/>
                  </a:cubicBezTo>
                  <a:cubicBezTo>
                    <a:pt x="2686" y="13193"/>
                    <a:pt x="12914" y="14162"/>
                    <a:pt x="14538" y="19209"/>
                  </a:cubicBezTo>
                  <a:cubicBezTo>
                    <a:pt x="17704" y="26866"/>
                    <a:pt x="18962" y="34975"/>
                    <a:pt x="18191" y="43040"/>
                  </a:cubicBezTo>
                  <a:cubicBezTo>
                    <a:pt x="16730" y="52231"/>
                    <a:pt x="10966" y="52064"/>
                    <a:pt x="1103" y="58715"/>
                  </a:cubicBezTo>
                  <a:cubicBezTo>
                    <a:pt x="12712" y="65400"/>
                    <a:pt x="19977" y="72085"/>
                    <a:pt x="33899" y="76229"/>
                  </a:cubicBezTo>
                  <a:cubicBezTo>
                    <a:pt x="42017" y="78703"/>
                    <a:pt x="51028" y="84886"/>
                    <a:pt x="60323" y="84218"/>
                  </a:cubicBezTo>
                  <a:cubicBezTo>
                    <a:pt x="71486" y="83349"/>
                    <a:pt x="110817" y="83716"/>
                    <a:pt x="112116" y="78369"/>
                  </a:cubicBezTo>
                  <a:cubicBezTo>
                    <a:pt x="114673" y="67873"/>
                    <a:pt x="135130" y="69478"/>
                    <a:pt x="114024" y="58314"/>
                  </a:cubicBezTo>
                  <a:close/>
                </a:path>
              </a:pathLst>
            </a:custGeom>
            <a:noFill/>
            <a:ln w="3021" cap="flat">
              <a:solidFill>
                <a:schemeClr val="tx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85239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i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 userDrawn="1"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 userDrawn="1"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2B55FFA-1186-4E42-8A70-A68F285E21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77" y="4094238"/>
            <a:ext cx="1314450" cy="794548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9D062C-F8DD-4EE9-9A9F-590CCC4C91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8850" y="3324652"/>
            <a:ext cx="4545893" cy="283844"/>
          </a:xfrm>
        </p:spPr>
        <p:txBody>
          <a:bodyPr>
            <a:normAutofit/>
          </a:bodyPr>
          <a:lstStyle>
            <a:lvl1pPr marL="0" indent="0">
              <a:buNone/>
              <a:defRPr sz="2134" b="1"/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835072B7-313D-41D9-BCD1-57FB96DAD35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58851" y="3630622"/>
            <a:ext cx="2862259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1 November 2017</a:t>
            </a:r>
          </a:p>
        </p:txBody>
      </p:sp>
    </p:spTree>
    <p:extLst>
      <p:ext uri="{BB962C8B-B14F-4D97-AF65-F5344CB8AC3E}">
        <p14:creationId xmlns:p14="http://schemas.microsoft.com/office/powerpoint/2010/main" val="1670118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 userDrawn="1"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 anchorCtr="0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Section divider 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 userDrawn="1"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93620-BE11-40B9-AD12-FA4BA58701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8B231D-CC9A-4AE4-A5CB-64FBCAD25F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E59689F-5D3F-4FE9-8ADA-BC6DC7FC3F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89771" y="3585075"/>
            <a:ext cx="2824918" cy="2191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089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 userDrawn="1"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 anchorCtr="0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Section divider 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 userDrawn="1"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93620-BE11-40B9-AD12-FA4BA58701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8B231D-CC9A-4AE4-A5CB-64FBCAD25F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E59689F-5D3F-4FE9-8ADA-BC6DC7FC3F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8289771" y="3585075"/>
            <a:ext cx="2824918" cy="2191291"/>
          </a:xfrm>
          <a:prstGeom prst="rect">
            <a:avLst/>
          </a:prstGeom>
          <a:solidFill>
            <a:schemeClr val="tx2"/>
          </a:solidFill>
        </p:spPr>
      </p:pic>
    </p:spTree>
    <p:extLst>
      <p:ext uri="{BB962C8B-B14F-4D97-AF65-F5344CB8AC3E}">
        <p14:creationId xmlns:p14="http://schemas.microsoft.com/office/powerpoint/2010/main" val="368422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rgbClr val="00B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 userDrawn="1"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 anchorCtr="0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Section divider 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 userDrawn="1"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93620-BE11-40B9-AD12-FA4BA58701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8B231D-CC9A-4AE4-A5CB-64FBCAD25F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76D462F-21EC-423E-A19B-135DFDCAD0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5435" y="3218305"/>
            <a:ext cx="2998532" cy="300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529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 userDrawn="1"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 anchorCtr="0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Section divider 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 userDrawn="1"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93620-BE11-40B9-AD12-FA4BA58701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8B231D-CC9A-4AE4-A5CB-64FBCAD25F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C42E4B1-A74A-4BDC-92D1-EE4975692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804" y="3261192"/>
            <a:ext cx="3060830" cy="3095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605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 userDrawn="1"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 anchorCtr="0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Section divider 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 userDrawn="1"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93620-BE11-40B9-AD12-FA4BA58701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8B231D-CC9A-4AE4-A5CB-64FBCAD25F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C011AD-319F-410D-848E-6B79C26209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1929" y="3803089"/>
            <a:ext cx="3701742" cy="1755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951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 userDrawn="1"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 anchorCtr="0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Section divider 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 userDrawn="1"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93620-BE11-40B9-AD12-FA4BA58701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8B231D-CC9A-4AE4-A5CB-64FBCAD25F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0F95D9-A480-4B59-9645-6BD9BB2030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5810" y="3696917"/>
            <a:ext cx="2303291" cy="2205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785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example">
    <p:bg>
      <p:bgPr>
        <a:gradFill rotWithShape="1">
          <a:gsLst>
            <a:gs pos="0">
              <a:srgbClr val="4B4C5D"/>
            </a:gs>
            <a:gs pos="53999">
              <a:srgbClr val="272941"/>
            </a:gs>
            <a:gs pos="100000">
              <a:srgbClr val="070A2A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6">
            <a:extLst>
              <a:ext uri="{FF2B5EF4-FFF2-40B4-BE49-F238E27FC236}">
                <a16:creationId xmlns:a16="http://schemas.microsoft.com/office/drawing/2014/main" id="{89A5D293-F67A-4373-B795-F792E2FEEA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86"/>
          <a:stretch>
            <a:fillRect/>
          </a:stretch>
        </p:blipFill>
        <p:spPr bwMode="auto">
          <a:xfrm>
            <a:off x="0" y="-663575"/>
            <a:ext cx="10547350" cy="824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1BF21B4-1393-454B-8D47-3D5E61071AAA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72A6B68C-E394-4C9D-B4AB-22EB46E5AA3C}"/>
              </a:ext>
            </a:extLst>
          </p:cNvPr>
          <p:cNvSpPr/>
          <p:nvPr userDrawn="1"/>
        </p:nvSpPr>
        <p:spPr>
          <a:xfrm>
            <a:off x="11952288" y="6234113"/>
            <a:ext cx="239712" cy="623887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7" name="Picture 9" descr="Logo&#10;&#10;Description automatically generated">
            <a:extLst>
              <a:ext uri="{FF2B5EF4-FFF2-40B4-BE49-F238E27FC236}">
                <a16:creationId xmlns:a16="http://schemas.microsoft.com/office/drawing/2014/main" id="{73B38E55-CA70-49D9-A07E-CD9026E598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0" y="6091238"/>
            <a:ext cx="90805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FF0ACC07-CECB-40FC-9ECC-6247AB4727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2989263"/>
            <a:ext cx="4157663" cy="174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4766323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60" y="1170044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39C45B-2EB5-49E6-A5B8-42F77D9B9E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12525" y="6356350"/>
            <a:ext cx="584200" cy="365125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41785A1D-E4E1-4940-BB83-C92A85AE4D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3986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pacit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D4F1540-3AF3-47C2-ABBB-646C322C00F7}"/>
              </a:ext>
            </a:extLst>
          </p:cNvPr>
          <p:cNvSpPr/>
          <p:nvPr userDrawn="1"/>
        </p:nvSpPr>
        <p:spPr>
          <a:xfrm>
            <a:off x="478367" y="398417"/>
            <a:ext cx="11235266" cy="6061166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72" dirty="0"/>
          </a:p>
        </p:txBody>
      </p:sp>
    </p:spTree>
    <p:extLst>
      <p:ext uri="{BB962C8B-B14F-4D97-AF65-F5344CB8AC3E}">
        <p14:creationId xmlns:p14="http://schemas.microsoft.com/office/powerpoint/2010/main" val="5397838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B1E47C-7AC7-4909-9F29-43ECB39775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BA3C0E-E7CC-45D4-BE00-E740C9CFFD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A373CA-8D0D-44FE-A54B-787CB8BE4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684" y="414056"/>
            <a:ext cx="8029285" cy="632424"/>
          </a:xfrm>
        </p:spPr>
        <p:txBody>
          <a:bodyPr anchor="b" anchorCtr="0">
            <a:normAutofit/>
          </a:bodyPr>
          <a:lstStyle>
            <a:lvl1pPr>
              <a:defRPr sz="312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B195DF-B8A3-4325-A4BB-3EBB54A11DD8}"/>
              </a:ext>
            </a:extLst>
          </p:cNvPr>
          <p:cNvCxnSpPr>
            <a:cxnSpLocks/>
          </p:cNvCxnSpPr>
          <p:nvPr userDrawn="1"/>
        </p:nvCxnSpPr>
        <p:spPr>
          <a:xfrm>
            <a:off x="478367" y="1163321"/>
            <a:ext cx="11710168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EA8B7BC-821D-4204-8193-CCD40EA47C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8454" y="1392242"/>
            <a:ext cx="8028516" cy="1868804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29967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Imag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571374-EF14-47C1-904A-E54BE4F7D817}"/>
              </a:ext>
            </a:extLst>
          </p:cNvPr>
          <p:cNvSpPr/>
          <p:nvPr/>
        </p:nvSpPr>
        <p:spPr>
          <a:xfrm>
            <a:off x="478368" y="-1"/>
            <a:ext cx="5504744" cy="51308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n-GB" sz="1872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B56AF-2B5A-43E6-A2D1-25DA00C781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8850" y="2670261"/>
            <a:ext cx="4545893" cy="590932"/>
          </a:xfrm>
        </p:spPr>
        <p:txBody>
          <a:bodyPr>
            <a:noAutofit/>
          </a:bodyPr>
          <a:lstStyle>
            <a:lvl1pPr marL="0" indent="0" algn="l">
              <a:buNone/>
              <a:defRPr sz="2134"/>
            </a:lvl1pPr>
            <a:lvl2pPr marL="609594" indent="0" algn="ctr">
              <a:buNone/>
              <a:defRPr sz="2666"/>
            </a:lvl2pPr>
            <a:lvl3pPr marL="1219188" indent="0" algn="ctr">
              <a:buNone/>
              <a:defRPr sz="2400"/>
            </a:lvl3pPr>
            <a:lvl4pPr marL="1828782" indent="0" algn="ctr">
              <a:buNone/>
              <a:defRPr sz="2134"/>
            </a:lvl4pPr>
            <a:lvl5pPr marL="2438376" indent="0" algn="ctr">
              <a:buNone/>
              <a:defRPr sz="2134"/>
            </a:lvl5pPr>
            <a:lvl6pPr marL="3047970" indent="0" algn="ctr">
              <a:buNone/>
              <a:defRPr sz="2134"/>
            </a:lvl6pPr>
            <a:lvl7pPr marL="3657564" indent="0" algn="ctr">
              <a:buNone/>
              <a:defRPr sz="2134"/>
            </a:lvl7pPr>
            <a:lvl8pPr marL="4267157" indent="0" algn="ctr">
              <a:buNone/>
              <a:defRPr sz="2134"/>
            </a:lvl8pPr>
            <a:lvl9pPr marL="4876751" indent="0" algn="ctr">
              <a:buNone/>
              <a:defRPr sz="2134"/>
            </a:lvl9pPr>
          </a:lstStyle>
          <a:p>
            <a:r>
              <a:rPr lang="en-US" dirty="0"/>
              <a:t>Sub 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EDDD3-C9AF-49EB-8A9C-0F294BCC09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8850" y="807405"/>
            <a:ext cx="4545893" cy="1799396"/>
          </a:xfrm>
        </p:spPr>
        <p:txBody>
          <a:bodyPr anchor="t">
            <a:noAutofit/>
          </a:bodyPr>
          <a:lstStyle>
            <a:lvl1pPr algn="l">
              <a:defRPr sz="4800" b="1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DB4442D-6A3E-49D3-BCEE-75457B049433}"/>
              </a:ext>
            </a:extLst>
          </p:cNvPr>
          <p:cNvCxnSpPr>
            <a:cxnSpLocks/>
          </p:cNvCxnSpPr>
          <p:nvPr/>
        </p:nvCxnSpPr>
        <p:spPr>
          <a:xfrm>
            <a:off x="958852" y="579304"/>
            <a:ext cx="5024260" cy="0"/>
          </a:xfrm>
          <a:prstGeom prst="line">
            <a:avLst/>
          </a:prstGeom>
          <a:ln w="698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9D062C-F8DD-4EE9-9A9F-590CCC4C91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8850" y="3324652"/>
            <a:ext cx="4545893" cy="283844"/>
          </a:xfrm>
        </p:spPr>
        <p:txBody>
          <a:bodyPr>
            <a:normAutofit/>
          </a:bodyPr>
          <a:lstStyle>
            <a:lvl1pPr marL="0" indent="0">
              <a:buNone/>
              <a:defRPr sz="2134" b="1"/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835072B7-313D-41D9-BCD1-57FB96DAD35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58851" y="3630622"/>
            <a:ext cx="2862259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1 November 2017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02D4AC-4C96-4779-81EC-FE3D8ED384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77" y="4094238"/>
            <a:ext cx="1314450" cy="79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803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9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6AF9C-3F51-4B23-85DB-A68EFC93D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D8EE0-49E1-456E-8E23-E9987722A2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920"/>
            </a:lvl1pPr>
            <a:lvl2pPr>
              <a:defRPr sz="1920"/>
            </a:lvl2pPr>
            <a:lvl3pPr>
              <a:defRPr sz="1920"/>
            </a:lvl3pPr>
            <a:lvl4pPr>
              <a:defRPr sz="1920"/>
            </a:lvl4pPr>
            <a:lvl5pPr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C29E06B-D39A-457F-AEB0-532193EA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Lloyd's Regis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4C71B0A-1A90-4F11-99F8-CE7D8FD873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5AFE67-61B3-47E8-9314-7767FDDBFC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68" y="1045495"/>
            <a:ext cx="11231033" cy="581026"/>
          </a:xfr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37044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352A18-7399-4043-8BA5-807AF01BE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D4F94B-1897-4D1D-8F9C-5B3C7AC8E1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1831" y="1779842"/>
            <a:ext cx="5280000" cy="43882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A293B3-8769-44ED-99BF-C66DE3F853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0169" y="1779841"/>
            <a:ext cx="5280000" cy="43882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2D74D9-D38B-41D4-832C-FE9E4D4C0D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Lloyd's Register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B85BB0D-6560-4735-A6BD-4D2ACD4D95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0C35FC-E2F7-4E1E-BB04-6742D189A24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898EEBE-808D-4297-A88B-C4B9BFA5E7D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69" y="1045495"/>
            <a:ext cx="5283464" cy="581026"/>
          </a:xfrm>
        </p:spPr>
        <p:txBody>
          <a:bodyPr anchor="ctr" anchorCtr="0"/>
          <a:lstStyle>
            <a:lvl1pPr marL="0" indent="0">
              <a:buNone/>
              <a:defRPr sz="288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9B929B3-992A-4956-B8EA-01D025BBAF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171" y="1045495"/>
            <a:ext cx="5279231" cy="581026"/>
          </a:xfrm>
        </p:spPr>
        <p:txBody>
          <a:bodyPr anchor="ctr" anchorCtr="0"/>
          <a:lstStyle>
            <a:lvl1pPr marL="0" indent="0">
              <a:buNone/>
              <a:defRPr sz="288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42708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gradFill rotWithShape="1">
          <a:gsLst>
            <a:gs pos="0">
              <a:srgbClr val="4B4C5D"/>
            </a:gs>
            <a:gs pos="53999">
              <a:srgbClr val="272941"/>
            </a:gs>
            <a:gs pos="100000">
              <a:srgbClr val="070A2A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6">
            <a:extLst>
              <a:ext uri="{FF2B5EF4-FFF2-40B4-BE49-F238E27FC236}">
                <a16:creationId xmlns:a16="http://schemas.microsoft.com/office/drawing/2014/main" id="{A78B2731-1A91-4B2E-AB62-AEF034B7B4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86"/>
          <a:stretch>
            <a:fillRect/>
          </a:stretch>
        </p:blipFill>
        <p:spPr bwMode="auto">
          <a:xfrm>
            <a:off x="0" y="-663575"/>
            <a:ext cx="10547350" cy="824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DB1B3C7-34B0-48FE-8948-85A6F122A769}"/>
              </a:ext>
            </a:extLst>
          </p:cNvPr>
          <p:cNvSpPr/>
          <p:nvPr userDrawn="1"/>
        </p:nvSpPr>
        <p:spPr>
          <a:xfrm>
            <a:off x="0" y="6234113"/>
            <a:ext cx="12192000" cy="62388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809E4BD8-C1DD-471E-AA48-3E7B8C82EE3B}"/>
              </a:ext>
            </a:extLst>
          </p:cNvPr>
          <p:cNvSpPr/>
          <p:nvPr userDrawn="1"/>
        </p:nvSpPr>
        <p:spPr>
          <a:xfrm>
            <a:off x="11952288" y="6234113"/>
            <a:ext cx="239712" cy="623887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8" name="Picture 9" descr="Logo&#10;&#10;Description automatically generated">
            <a:extLst>
              <a:ext uri="{FF2B5EF4-FFF2-40B4-BE49-F238E27FC236}">
                <a16:creationId xmlns:a16="http://schemas.microsoft.com/office/drawing/2014/main" id="{4E66431F-D962-44FF-9D7A-EB97371148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0" y="6091238"/>
            <a:ext cx="90805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566420"/>
            <a:ext cx="4766323" cy="563133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1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60" y="1170044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6407" y="2979761"/>
            <a:ext cx="4766323" cy="1743609"/>
          </a:xfrm>
          <a:prstGeom prst="rect">
            <a:avLst/>
          </a:prstGeom>
        </p:spPr>
        <p:txBody>
          <a:bodyPr numCol="2" spcCol="180000"/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872AD04-FDA4-475A-B2EA-8ECD6C1D02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12525" y="6356350"/>
            <a:ext cx="584200" cy="365125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08C01E23-2998-4452-B231-06E3FC89EEC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0179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A1E70C7E-5ECB-4308-9215-84E6799072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60" r="12360"/>
          <a:stretch>
            <a:fillRect/>
          </a:stretch>
        </p:blipFill>
        <p:spPr bwMode="auto">
          <a:xfrm>
            <a:off x="-36513" y="0"/>
            <a:ext cx="122555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>
            <a:extLst>
              <a:ext uri="{FF2B5EF4-FFF2-40B4-BE49-F238E27FC236}">
                <a16:creationId xmlns:a16="http://schemas.microsoft.com/office/drawing/2014/main" id="{B2779D89-3FC2-4452-BC11-9A3B308F7D1A}"/>
              </a:ext>
            </a:extLst>
          </p:cNvPr>
          <p:cNvSpPr/>
          <p:nvPr userDrawn="1"/>
        </p:nvSpPr>
        <p:spPr>
          <a:xfrm>
            <a:off x="-36513" y="482600"/>
            <a:ext cx="6964363" cy="5943600"/>
          </a:xfrm>
          <a:custGeom>
            <a:avLst/>
            <a:gdLst>
              <a:gd name="connsiteX0" fmla="*/ 0 w 4536527"/>
              <a:gd name="connsiteY0" fmla="*/ 0 h 5082803"/>
              <a:gd name="connsiteX1" fmla="*/ 4536527 w 4536527"/>
              <a:gd name="connsiteY1" fmla="*/ 0 h 5082803"/>
              <a:gd name="connsiteX2" fmla="*/ 4536527 w 4536527"/>
              <a:gd name="connsiteY2" fmla="*/ 5082803 h 5082803"/>
              <a:gd name="connsiteX3" fmla="*/ 0 w 4536527"/>
              <a:gd name="connsiteY3" fmla="*/ 5082803 h 5082803"/>
              <a:gd name="connsiteX4" fmla="*/ 0 w 4536527"/>
              <a:gd name="connsiteY4" fmla="*/ 0 h 5082803"/>
              <a:gd name="connsiteX0" fmla="*/ 0 w 4536527"/>
              <a:gd name="connsiteY0" fmla="*/ 0 h 5082803"/>
              <a:gd name="connsiteX1" fmla="*/ 4536527 w 4536527"/>
              <a:gd name="connsiteY1" fmla="*/ 0 h 5082803"/>
              <a:gd name="connsiteX2" fmla="*/ 2720340 w 4536527"/>
              <a:gd name="connsiteY2" fmla="*/ 5070190 h 5082803"/>
              <a:gd name="connsiteX3" fmla="*/ 0 w 4536527"/>
              <a:gd name="connsiteY3" fmla="*/ 5082803 h 5082803"/>
              <a:gd name="connsiteX4" fmla="*/ 0 w 4536527"/>
              <a:gd name="connsiteY4" fmla="*/ 0 h 5082803"/>
              <a:gd name="connsiteX0" fmla="*/ 0 w 4536527"/>
              <a:gd name="connsiteY0" fmla="*/ 0 h 5082803"/>
              <a:gd name="connsiteX1" fmla="*/ 4536527 w 4536527"/>
              <a:gd name="connsiteY1" fmla="*/ 0 h 5082803"/>
              <a:gd name="connsiteX2" fmla="*/ 3044349 w 4536527"/>
              <a:gd name="connsiteY2" fmla="*/ 5063884 h 5082803"/>
              <a:gd name="connsiteX3" fmla="*/ 0 w 4536527"/>
              <a:gd name="connsiteY3" fmla="*/ 5082803 h 5082803"/>
              <a:gd name="connsiteX4" fmla="*/ 0 w 4536527"/>
              <a:gd name="connsiteY4" fmla="*/ 0 h 5082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6527" h="5082803">
                <a:moveTo>
                  <a:pt x="0" y="0"/>
                </a:moveTo>
                <a:lnTo>
                  <a:pt x="4536527" y="0"/>
                </a:lnTo>
                <a:lnTo>
                  <a:pt x="3044349" y="5063884"/>
                </a:lnTo>
                <a:lnTo>
                  <a:pt x="0" y="5082803"/>
                </a:lnTo>
                <a:lnTo>
                  <a:pt x="0" y="0"/>
                </a:lnTo>
                <a:close/>
              </a:path>
            </a:pathLst>
          </a:custGeom>
          <a:solidFill>
            <a:srgbClr val="0F1232"/>
          </a:solidFill>
          <a:ln>
            <a:solidFill>
              <a:srgbClr val="0F12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E57365C6-2170-4550-9EA1-EEE7B0E5013F}"/>
              </a:ext>
            </a:extLst>
          </p:cNvPr>
          <p:cNvSpPr/>
          <p:nvPr/>
        </p:nvSpPr>
        <p:spPr>
          <a:xfrm>
            <a:off x="10726738" y="2279650"/>
            <a:ext cx="1492250" cy="3940175"/>
          </a:xfrm>
          <a:custGeom>
            <a:avLst/>
            <a:gdLst>
              <a:gd name="connsiteX0" fmla="*/ 0 w 2661492"/>
              <a:gd name="connsiteY0" fmla="*/ 0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0 w 2661492"/>
              <a:gd name="connsiteY4" fmla="*/ 0 h 5483224"/>
              <a:gd name="connsiteX0" fmla="*/ 2354239 w 2661492"/>
              <a:gd name="connsiteY0" fmla="*/ 709684 h 5483224"/>
              <a:gd name="connsiteX1" fmla="*/ 2661492 w 2661492"/>
              <a:gd name="connsiteY1" fmla="*/ 0 h 5483224"/>
              <a:gd name="connsiteX2" fmla="*/ 2661492 w 2661492"/>
              <a:gd name="connsiteY2" fmla="*/ 5483224 h 5483224"/>
              <a:gd name="connsiteX3" fmla="*/ 0 w 2661492"/>
              <a:gd name="connsiteY3" fmla="*/ 5483224 h 5483224"/>
              <a:gd name="connsiteX4" fmla="*/ 2354239 w 2661492"/>
              <a:gd name="connsiteY4" fmla="*/ 709684 h 5483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492" h="5483224">
                <a:moveTo>
                  <a:pt x="2354239" y="709684"/>
                </a:moveTo>
                <a:lnTo>
                  <a:pt x="2661492" y="0"/>
                </a:lnTo>
                <a:lnTo>
                  <a:pt x="2661492" y="5483224"/>
                </a:lnTo>
                <a:lnTo>
                  <a:pt x="0" y="5483224"/>
                </a:lnTo>
                <a:lnTo>
                  <a:pt x="2354239" y="709684"/>
                </a:lnTo>
                <a:close/>
              </a:path>
            </a:pathLst>
          </a:custGeom>
          <a:solidFill>
            <a:srgbClr val="0EF2B2"/>
          </a:solidFill>
          <a:ln>
            <a:solidFill>
              <a:srgbClr val="0E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360" y="2336800"/>
            <a:ext cx="4150359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bg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360" y="3784599"/>
            <a:ext cx="4150360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7359" y="1815534"/>
            <a:ext cx="4150359" cy="306871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Lato Black" panose="020F0A02020204030203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852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building, court, stone, ceiling&#10;&#10;Description automatically generated">
            <a:extLst>
              <a:ext uri="{FF2B5EF4-FFF2-40B4-BE49-F238E27FC236}">
                <a16:creationId xmlns:a16="http://schemas.microsoft.com/office/drawing/2014/main" id="{D601AEE3-B19D-4631-BEB6-C9BE10CE92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465"/>
          <a:stretch>
            <a:fillRect/>
          </a:stretch>
        </p:blipFill>
        <p:spPr bwMode="auto">
          <a:xfrm>
            <a:off x="0" y="-50800"/>
            <a:ext cx="12228513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5A4DDFB1-6ED2-416D-93EC-94873331E3C1}"/>
              </a:ext>
            </a:extLst>
          </p:cNvPr>
          <p:cNvSpPr/>
          <p:nvPr userDrawn="1"/>
        </p:nvSpPr>
        <p:spPr>
          <a:xfrm>
            <a:off x="6689725" y="431800"/>
            <a:ext cx="5538788" cy="5892800"/>
          </a:xfrm>
          <a:custGeom>
            <a:avLst/>
            <a:gdLst>
              <a:gd name="connsiteX0" fmla="*/ 0 w 5380528"/>
              <a:gd name="connsiteY0" fmla="*/ 0 h 5892800"/>
              <a:gd name="connsiteX1" fmla="*/ 5380528 w 5380528"/>
              <a:gd name="connsiteY1" fmla="*/ 0 h 5892800"/>
              <a:gd name="connsiteX2" fmla="*/ 5380528 w 5380528"/>
              <a:gd name="connsiteY2" fmla="*/ 5892800 h 5892800"/>
              <a:gd name="connsiteX3" fmla="*/ 0 w 5380528"/>
              <a:gd name="connsiteY3" fmla="*/ 5892800 h 5892800"/>
              <a:gd name="connsiteX4" fmla="*/ 0 w 5380528"/>
              <a:gd name="connsiteY4" fmla="*/ 0 h 5892800"/>
              <a:gd name="connsiteX0" fmla="*/ 2486212 w 5380528"/>
              <a:gd name="connsiteY0" fmla="*/ 5976 h 5892800"/>
              <a:gd name="connsiteX1" fmla="*/ 5380528 w 5380528"/>
              <a:gd name="connsiteY1" fmla="*/ 0 h 5892800"/>
              <a:gd name="connsiteX2" fmla="*/ 5380528 w 5380528"/>
              <a:gd name="connsiteY2" fmla="*/ 5892800 h 5892800"/>
              <a:gd name="connsiteX3" fmla="*/ 0 w 5380528"/>
              <a:gd name="connsiteY3" fmla="*/ 5892800 h 5892800"/>
              <a:gd name="connsiteX4" fmla="*/ 2486212 w 5380528"/>
              <a:gd name="connsiteY4" fmla="*/ 5976 h 5892800"/>
              <a:gd name="connsiteX0" fmla="*/ 2068954 w 4963270"/>
              <a:gd name="connsiteY0" fmla="*/ 5976 h 5892800"/>
              <a:gd name="connsiteX1" fmla="*/ 4963270 w 4963270"/>
              <a:gd name="connsiteY1" fmla="*/ 0 h 5892800"/>
              <a:gd name="connsiteX2" fmla="*/ 4963270 w 4963270"/>
              <a:gd name="connsiteY2" fmla="*/ 5892800 h 5892800"/>
              <a:gd name="connsiteX3" fmla="*/ 0 w 4963270"/>
              <a:gd name="connsiteY3" fmla="*/ 5760065 h 5892800"/>
              <a:gd name="connsiteX4" fmla="*/ 2068954 w 4963270"/>
              <a:gd name="connsiteY4" fmla="*/ 5976 h 5892800"/>
              <a:gd name="connsiteX0" fmla="*/ 2016797 w 4911113"/>
              <a:gd name="connsiteY0" fmla="*/ 5976 h 5892800"/>
              <a:gd name="connsiteX1" fmla="*/ 4911113 w 4911113"/>
              <a:gd name="connsiteY1" fmla="*/ 0 h 5892800"/>
              <a:gd name="connsiteX2" fmla="*/ 4911113 w 4911113"/>
              <a:gd name="connsiteY2" fmla="*/ 5892800 h 5892800"/>
              <a:gd name="connsiteX3" fmla="*/ 0 w 4911113"/>
              <a:gd name="connsiteY3" fmla="*/ 5878052 h 5892800"/>
              <a:gd name="connsiteX4" fmla="*/ 2016797 w 4911113"/>
              <a:gd name="connsiteY4" fmla="*/ 5976 h 5892800"/>
              <a:gd name="connsiteX0" fmla="*/ 1977679 w 4871995"/>
              <a:gd name="connsiteY0" fmla="*/ 5976 h 5892800"/>
              <a:gd name="connsiteX1" fmla="*/ 4871995 w 4871995"/>
              <a:gd name="connsiteY1" fmla="*/ 0 h 5892800"/>
              <a:gd name="connsiteX2" fmla="*/ 4871995 w 4871995"/>
              <a:gd name="connsiteY2" fmla="*/ 5892800 h 5892800"/>
              <a:gd name="connsiteX3" fmla="*/ 0 w 4871995"/>
              <a:gd name="connsiteY3" fmla="*/ 5878052 h 5892800"/>
              <a:gd name="connsiteX4" fmla="*/ 1977679 w 4871995"/>
              <a:gd name="connsiteY4" fmla="*/ 5976 h 589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71995" h="5892800">
                <a:moveTo>
                  <a:pt x="1977679" y="5976"/>
                </a:moveTo>
                <a:lnTo>
                  <a:pt x="4871995" y="0"/>
                </a:lnTo>
                <a:lnTo>
                  <a:pt x="4871995" y="5892800"/>
                </a:lnTo>
                <a:lnTo>
                  <a:pt x="0" y="5878052"/>
                </a:lnTo>
                <a:lnTo>
                  <a:pt x="1977679" y="5976"/>
                </a:lnTo>
                <a:close/>
              </a:path>
            </a:pathLst>
          </a:cu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7" name="Graphic 8">
            <a:extLst>
              <a:ext uri="{FF2B5EF4-FFF2-40B4-BE49-F238E27FC236}">
                <a16:creationId xmlns:a16="http://schemas.microsoft.com/office/drawing/2014/main" id="{67A89B0A-79E7-40AF-BD89-73587FCCFA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33"/>
          <a:stretch>
            <a:fillRect/>
          </a:stretch>
        </p:blipFill>
        <p:spPr bwMode="auto">
          <a:xfrm>
            <a:off x="0" y="-107950"/>
            <a:ext cx="4038600" cy="706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32397" y="2802964"/>
            <a:ext cx="3717036" cy="1325880"/>
          </a:xfrm>
        </p:spPr>
        <p:txBody>
          <a:bodyPr anchor="t">
            <a:normAutofit/>
          </a:bodyPr>
          <a:lstStyle>
            <a:lvl1pPr algn="l">
              <a:defRPr sz="3600" b="1">
                <a:solidFill>
                  <a:schemeClr val="tx2"/>
                </a:solidFill>
                <a:latin typeface="Lato Black" panose="020F0A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32396" y="4250763"/>
            <a:ext cx="3717036" cy="12064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8332396" y="2374174"/>
            <a:ext cx="2442077" cy="306871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Lato Black" panose="020F0A02020204030203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0611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image" Target="../media/image1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2EC7B212-6CF5-4F91-83EF-3446A38AE46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itle</a:t>
            </a:r>
            <a:endParaRPr lang="en-GB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9EB727-EF62-4E24-8F44-62A4762315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874963"/>
            <a:ext cx="10515600" cy="330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5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0C8634-1B9C-4F97-BF52-777719224A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E2511C-1284-4927-AD75-3E38C469F4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>
              <a:defRPr/>
            </a:pPr>
            <a:r>
              <a:rPr lang="en-GB"/>
              <a:t>Title of presentation here | Internal |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684947-59D2-4ABC-8AE0-6666B2DB63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2DD0B93-D66E-4C12-A9F2-929971C013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  <p:sldLayoutId id="2147484326" r:id="rId11"/>
    <p:sldLayoutId id="2147484327" r:id="rId12"/>
    <p:sldLayoutId id="2147484328" r:id="rId13"/>
    <p:sldLayoutId id="2147484329" r:id="rId14"/>
    <p:sldLayoutId id="2147484330" r:id="rId15"/>
    <p:sldLayoutId id="2147484331" r:id="rId16"/>
    <p:sldLayoutId id="2147484332" r:id="rId17"/>
    <p:sldLayoutId id="2147484333" r:id="rId18"/>
    <p:sldLayoutId id="2147484334" r:id="rId19"/>
    <p:sldLayoutId id="2147484335" r:id="rId20"/>
    <p:sldLayoutId id="2147484336" r:id="rId21"/>
    <p:sldLayoutId id="2147484337" r:id="rId22"/>
    <p:sldLayoutId id="2147484338" r:id="rId23"/>
    <p:sldLayoutId id="2147484339" r:id="rId24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kern="1200">
          <a:solidFill>
            <a:schemeClr val="bg1"/>
          </a:solidFill>
          <a:latin typeface="Lato Black" panose="020F0A02020204030203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ato Black" panose="020F0A02020204030203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b="1" kern="1200">
          <a:solidFill>
            <a:schemeClr val="tx2"/>
          </a:solidFill>
          <a:latin typeface="Source Sans Pro Black" panose="020B0803030403020204" pitchFamily="34" charset="0"/>
          <a:ea typeface="Source Sans Pro Black" panose="020B0803030403020204" pitchFamily="34" charset="0"/>
          <a:cs typeface="Source Sans Pro Black" panose="020B0803030403020204" pitchFamily="34" charset="0"/>
        </a:defRPr>
      </a:lvl2pPr>
      <a:lvl3pPr marL="1143000" indent="-228600" algn="l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kern="1200">
          <a:solidFill>
            <a:schemeClr val="tx2"/>
          </a:solidFill>
          <a:latin typeface="+mn-lt"/>
          <a:ea typeface="Source Sans Pro Black" panose="020B0803030403020204" pitchFamily="34" charset="0"/>
          <a:cs typeface="Source Sans Pro Black" panose="020B0803030403020204" pitchFamily="34" charset="0"/>
        </a:defRPr>
      </a:lvl3pPr>
      <a:lvl4pPr marL="1600200" indent="-228600" algn="l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Source Sans Pro Black" panose="020B0803030403020204" pitchFamily="34" charset="0"/>
          <a:cs typeface="Source Sans Pro Black" panose="020B0803030403020204" pitchFamily="34" charset="0"/>
        </a:defRPr>
      </a:lvl4pPr>
      <a:lvl5pPr marL="2057400" indent="-228600" algn="l" rtl="0" eaLnBrk="0" fontAlgn="base" hangingPunct="0">
        <a:lnSpc>
          <a:spcPct val="120000"/>
        </a:lnSpc>
        <a:spcBef>
          <a:spcPts val="5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Source Sans Pro Black" panose="020B0803030403020204" pitchFamily="34" charset="0"/>
          <a:cs typeface="Source Sans Pro Black" panose="020B0803030403020204" pitchFamily="34" charset="0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19B15E-905D-47E6-9B4E-0466A5A0E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4"/>
            <a:ext cx="10910887" cy="1042989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18CF54-573B-4062-AF18-A4917470F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1844675"/>
            <a:ext cx="10910887" cy="40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2E9A9F-F592-43BA-98AE-44CA0FA48706}"/>
              </a:ext>
            </a:extLst>
          </p:cNvPr>
          <p:cNvSpPr/>
          <p:nvPr userDrawn="1"/>
        </p:nvSpPr>
        <p:spPr>
          <a:xfrm>
            <a:off x="0" y="6233458"/>
            <a:ext cx="12192000" cy="62454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D35F0631-9115-4632-83F2-DE6A6C9949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6" b="20606"/>
          <a:stretch/>
        </p:blipFill>
        <p:spPr>
          <a:xfrm>
            <a:off x="293266" y="6312694"/>
            <a:ext cx="808547" cy="474664"/>
          </a:xfrm>
          <a:prstGeom prst="rect">
            <a:avLst/>
          </a:prstGeom>
        </p:spPr>
      </p:pic>
      <p:sp>
        <p:nvSpPr>
          <p:cNvPr id="28" name="Right Triangle 27">
            <a:extLst>
              <a:ext uri="{FF2B5EF4-FFF2-40B4-BE49-F238E27FC236}">
                <a16:creationId xmlns:a16="http://schemas.microsoft.com/office/drawing/2014/main" id="{C4074E2F-BB6D-409E-ABB8-4F446D1C7035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11950434" y="6228000"/>
            <a:ext cx="241566" cy="6300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CDCF22-74EB-46AA-A552-17A920C26F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80176" y="6419728"/>
            <a:ext cx="3672036" cy="252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50" b="1">
                <a:solidFill>
                  <a:schemeClr val="bg1">
                    <a:lumMod val="85000"/>
                  </a:schemeClr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F2C485-6269-4200-849C-60FD1F6FD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9728"/>
            <a:ext cx="574848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>
                    <a:lumMod val="85000"/>
                  </a:schemeClr>
                </a:solidFill>
                <a:latin typeface="+mn-lt"/>
              </a:defRPr>
            </a:lvl1pPr>
          </a:lstStyle>
          <a:p>
            <a:fld id="{4483779D-C340-494C-9B53-38C528D6A9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71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47" r:id="rId7"/>
    <p:sldLayoutId id="2147484348" r:id="rId8"/>
    <p:sldLayoutId id="2147484349" r:id="rId9"/>
    <p:sldLayoutId id="2147484350" r:id="rId10"/>
    <p:sldLayoutId id="2147484351" r:id="rId11"/>
    <p:sldLayoutId id="2147484352" r:id="rId12"/>
    <p:sldLayoutId id="2147484353" r:id="rId13"/>
    <p:sldLayoutId id="2147484354" r:id="rId14"/>
    <p:sldLayoutId id="2147484355" r:id="rId15"/>
    <p:sldLayoutId id="2147484356" r:id="rId16"/>
    <p:sldLayoutId id="2147484357" r:id="rId17"/>
    <p:sldLayoutId id="2147484358" r:id="rId18"/>
    <p:sldLayoutId id="2147484359" r:id="rId19"/>
    <p:sldLayoutId id="2147484360" r:id="rId20"/>
    <p:sldLayoutId id="2147484361" r:id="rId21"/>
    <p:sldLayoutId id="2147484362" r:id="rId22"/>
    <p:sldLayoutId id="2147484363" r:id="rId23"/>
    <p:sldLayoutId id="2147484364" r:id="rId24"/>
    <p:sldLayoutId id="2147484365" r:id="rId25"/>
    <p:sldLayoutId id="2147484366" r:id="rId26"/>
    <p:sldLayoutId id="2147484367" r:id="rId27"/>
    <p:sldLayoutId id="2147484368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Lato Black" panose="020F0A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b="1" kern="1200">
          <a:solidFill>
            <a:schemeClr val="tx2"/>
          </a:solidFill>
          <a:latin typeface="Source Sans Pro Black" panose="020B0803030403020204" pitchFamily="34" charset="0"/>
          <a:ea typeface="Source Sans Pro Black" panose="020B080303040302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orient="horz" pos="3929">
          <p15:clr>
            <a:srgbClr val="F26B43"/>
          </p15:clr>
        </p15:guide>
        <p15:guide id="3" pos="7401">
          <p15:clr>
            <a:srgbClr val="F26B43"/>
          </p15:clr>
        </p15:guide>
        <p15:guide id="4" orient="horz" pos="346">
          <p15:clr>
            <a:srgbClr val="F26B43"/>
          </p15:clr>
        </p15:guide>
        <p15:guide id="5" orient="horz" pos="709">
          <p15:clr>
            <a:srgbClr val="F26B43"/>
          </p15:clr>
        </p15:guide>
        <p15:guide id="6" orient="horz" pos="1003">
          <p15:clr>
            <a:srgbClr val="F26B43"/>
          </p15:clr>
        </p15:guide>
        <p15:guide id="7" orient="horz" pos="1162">
          <p15:clr>
            <a:srgbClr val="F26B43"/>
          </p15:clr>
        </p15:guide>
        <p15:guide id="8" pos="7151">
          <p15:clr>
            <a:srgbClr val="F26B43"/>
          </p15:clr>
        </p15:guide>
        <p15:guide id="9" orient="horz" pos="370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8425A3-6599-4FA1-B29B-F46802E4CD49}"/>
              </a:ext>
            </a:extLst>
          </p:cNvPr>
          <p:cNvCxnSpPr>
            <a:cxnSpLocks/>
          </p:cNvCxnSpPr>
          <p:nvPr/>
        </p:nvCxnSpPr>
        <p:spPr>
          <a:xfrm>
            <a:off x="481831" y="831523"/>
            <a:ext cx="11710169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0935AD-81E0-4161-81BD-F21EC2C05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32" y="351949"/>
            <a:ext cx="11228339" cy="47812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2B658F-8D83-4D7F-A355-7A5B040489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1832" y="1779840"/>
            <a:ext cx="11228339" cy="44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83DA8-8F08-4A89-86E5-E20FE8447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1831" y="6356350"/>
            <a:ext cx="227265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Lloyd's Regis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118CAE-0534-49B7-85BC-15E2172CE3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6969" y="635635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90C35FC-E2F7-4E1E-BB04-6742D189A24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6841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  <p:sldLayoutId id="2147484382" r:id="rId12"/>
  </p:sldLayoutIdLst>
  <p:hf hdr="0"/>
  <p:txStyles>
    <p:titleStyle>
      <a:lvl1pPr algn="l" defTabSz="1219188" rtl="0" eaLnBrk="1" latinLnBrk="0" hangingPunct="1">
        <a:lnSpc>
          <a:spcPct val="90000"/>
        </a:lnSpc>
        <a:spcBef>
          <a:spcPct val="0"/>
        </a:spcBef>
        <a:buNone/>
        <a:defRPr sz="336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998" indent="-287998" algn="l" defTabSz="1219188" rtl="0" eaLnBrk="1" latinLnBrk="0" hangingPunct="1">
        <a:lnSpc>
          <a:spcPct val="100000"/>
        </a:lnSpc>
        <a:spcBef>
          <a:spcPts val="1333"/>
        </a:spcBef>
        <a:buClr>
          <a:schemeClr val="tx2"/>
        </a:buClr>
        <a:buSzPct val="80000"/>
        <a:buFont typeface="Calibri" panose="020F0502020204030204" pitchFamily="34" charset="0"/>
        <a:buChar char="●"/>
        <a:defRPr sz="3120" kern="1200">
          <a:solidFill>
            <a:schemeClr val="tx1"/>
          </a:solidFill>
          <a:latin typeface="+mn-lt"/>
          <a:ea typeface="+mn-ea"/>
          <a:cs typeface="+mn-cs"/>
        </a:defRPr>
      </a:lvl1pPr>
      <a:lvl2pPr marL="575994" indent="-287998" algn="l" defTabSz="1219188" rtl="0" eaLnBrk="1" latinLnBrk="0" hangingPunct="1">
        <a:lnSpc>
          <a:spcPct val="100000"/>
        </a:lnSpc>
        <a:spcBef>
          <a:spcPts val="667"/>
        </a:spcBef>
        <a:buClr>
          <a:schemeClr val="tx2"/>
        </a:buClr>
        <a:buFont typeface="Source Sans Pro" panose="020B0503030403020204" pitchFamily="34" charset="0"/>
        <a:buChar char="–"/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863992" indent="-287998" algn="l" defTabSz="1219188" rtl="0" eaLnBrk="1" latinLnBrk="0" hangingPunct="1">
        <a:lnSpc>
          <a:spcPct val="100000"/>
        </a:lnSpc>
        <a:spcBef>
          <a:spcPts val="667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988" indent="-287998" algn="l" defTabSz="1219188" rtl="0" eaLnBrk="1" latinLnBrk="0" hangingPunct="1">
        <a:lnSpc>
          <a:spcPct val="100000"/>
        </a:lnSpc>
        <a:spcBef>
          <a:spcPts val="667"/>
        </a:spcBef>
        <a:buClr>
          <a:schemeClr val="tx2"/>
        </a:buClr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439986" indent="-287998" algn="l" defTabSz="1219188" rtl="0" eaLnBrk="1" latinLnBrk="0" hangingPunct="1">
        <a:lnSpc>
          <a:spcPct val="100000"/>
        </a:lnSpc>
        <a:spcBef>
          <a:spcPts val="667"/>
        </a:spcBef>
        <a:buClr>
          <a:schemeClr val="tx2"/>
        </a:buClr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66" indent="-304796" algn="l" defTabSz="121918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60" indent="-304796" algn="l" defTabSz="121918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954" indent="-304796" algn="l" defTabSz="121918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548" indent="-304796" algn="l" defTabSz="121918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94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88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82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76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70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64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157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751" algn="l" defTabSz="121918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1">
          <p15:clr>
            <a:srgbClr val="F26B43"/>
          </p15:clr>
        </p15:guide>
        <p15:guide id="2" pos="503">
          <p15:clr>
            <a:srgbClr val="F26B43"/>
          </p15:clr>
        </p15:guide>
        <p15:guide id="4" pos="614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pn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66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png"/><Relationship Id="rId2" Type="http://schemas.openxmlformats.org/officeDocument/2006/relationships/tags" Target="../tags/tag8.xml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4.jpeg"/><Relationship Id="rId1" Type="http://schemas.openxmlformats.org/officeDocument/2006/relationships/vmlDrawing" Target="../drawings/vmlDrawing6.vml"/><Relationship Id="rId6" Type="http://schemas.openxmlformats.org/officeDocument/2006/relationships/image" Target="../media/image48.emf"/><Relationship Id="rId11" Type="http://schemas.openxmlformats.org/officeDocument/2006/relationships/image" Target="../media/image56.png"/><Relationship Id="rId24" Type="http://schemas.openxmlformats.org/officeDocument/2006/relationships/image" Target="../media/image69.png"/><Relationship Id="rId32" Type="http://schemas.openxmlformats.org/officeDocument/2006/relationships/image" Target="../media/image77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28" Type="http://schemas.openxmlformats.org/officeDocument/2006/relationships/image" Target="../media/image73.pn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31" Type="http://schemas.openxmlformats.org/officeDocument/2006/relationships/image" Target="../media/image76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../media/image67.png"/><Relationship Id="rId27" Type="http://schemas.openxmlformats.org/officeDocument/2006/relationships/image" Target="../media/image72.png"/><Relationship Id="rId30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33.jp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9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lrqagroup-my.sharepoint.com/personal/nilay_ball_lrqa_com/Documents/ALL%20FILES%20OF%20DESKTOP/Presentations/HYDROGEN/CoC-839.pdf" TargetMode="External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4.jpeg"/><Relationship Id="rId5" Type="http://schemas.openxmlformats.org/officeDocument/2006/relationships/image" Target="../media/image80.png"/><Relationship Id="rId4" Type="http://schemas.openxmlformats.org/officeDocument/2006/relationships/hyperlink" Target="https://lrqagroup-my.sharepoint.com/personal/nilay_ball_lrqa_com/Documents/ALL%20FILES%20OF%20DESKTOP/Presentations/HYDROGEN/VRV-Cert-1700103-01%20(002).pd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lrqagroup-my.sharepoint.com/personal/nilay_ball_lrqa_com/Documents/ALL%20FILES%20OF%20DESKTOP/Presentations/HYDROGEN/HAM1965206_Proof%20Test%20Report%20-%20Design%20Verification.pdf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lloydsregistergroup.sharepoint.com/sites/ba-is/SitePages/Performance.aspx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49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3FD5F1-4337-4CC6-8095-44BFB287106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Your future.</a:t>
            </a:r>
            <a:br>
              <a:rPr lang="en-GB" dirty="0"/>
            </a:br>
            <a:r>
              <a:rPr lang="en-GB" dirty="0"/>
              <a:t>Our focus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B6D9CD1-C155-4EA3-934A-F577ADAE8D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800" b="0" i="0" u="none" strike="noStrike" baseline="0" dirty="0">
                <a:solidFill>
                  <a:srgbClr val="FFFFFF"/>
                </a:solidFill>
                <a:latin typeface="SourceSansPro-Regular"/>
              </a:rPr>
              <a:t>Introducing LRQA, a leading global assurance partner.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8CA79D-61E9-47C9-9A69-47AECC0754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716" y="4713045"/>
            <a:ext cx="4151313" cy="799939"/>
          </a:xfrm>
        </p:spPr>
        <p:txBody>
          <a:bodyPr/>
          <a:lstStyle/>
          <a:p>
            <a:r>
              <a:rPr lang="en-GB" dirty="0"/>
              <a:t>20</a:t>
            </a:r>
            <a:r>
              <a:rPr lang="en-GB" baseline="30000" dirty="0"/>
              <a:t>th</a:t>
            </a:r>
            <a:r>
              <a:rPr lang="en-GB" dirty="0"/>
              <a:t> July 2022</a:t>
            </a:r>
          </a:p>
        </p:txBody>
      </p:sp>
    </p:spTree>
    <p:extLst>
      <p:ext uri="{BB962C8B-B14F-4D97-AF65-F5344CB8AC3E}">
        <p14:creationId xmlns:p14="http://schemas.microsoft.com/office/powerpoint/2010/main" val="9191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Object 6" hidden="1">
            <a:extLst>
              <a:ext uri="{FF2B5EF4-FFF2-40B4-BE49-F238E27FC236}">
                <a16:creationId xmlns:a16="http://schemas.microsoft.com/office/drawing/2014/main" id="{7CB29661-C518-4DDE-89B4-8E18C82C52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4034" name="Object 6" hidden="1">
                        <a:extLst>
                          <a:ext uri="{FF2B5EF4-FFF2-40B4-BE49-F238E27FC236}">
                            <a16:creationId xmlns:a16="http://schemas.microsoft.com/office/drawing/2014/main" id="{7CB29661-C518-4DDE-89B4-8E18C82C52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2E16E6-0491-4DA5-847E-02B86CC83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177800"/>
            <a:ext cx="10956925" cy="825500"/>
          </a:xfrm>
        </p:spPr>
        <p:txBody>
          <a:bodyPr/>
          <a:lstStyle/>
          <a:p>
            <a:pPr eaLnBrk="1" hangingPunct="1">
              <a:defRPr/>
            </a:pPr>
            <a:r>
              <a:rPr sz="2400" dirty="0"/>
              <a:t>Equipment access to Market - Approval in Principal and Type Approval</a:t>
            </a:r>
            <a:endParaRPr sz="2400" u="sng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3665D0F-0706-49E4-B4BD-30D1B6FFE31C}"/>
              </a:ext>
            </a:extLst>
          </p:cNvPr>
          <p:cNvSpPr/>
          <p:nvPr/>
        </p:nvSpPr>
        <p:spPr>
          <a:xfrm>
            <a:off x="131763" y="2149475"/>
            <a:ext cx="1082675" cy="243522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sciplines Involved </a:t>
            </a:r>
          </a:p>
          <a:p>
            <a:pPr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• Process Safety</a:t>
            </a:r>
          </a:p>
          <a:p>
            <a:pPr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•Technical safety</a:t>
            </a:r>
          </a:p>
          <a:p>
            <a:pPr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•Mechanical</a:t>
            </a:r>
          </a:p>
          <a:p>
            <a:pPr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• Pressure Systems</a:t>
            </a:r>
          </a:p>
          <a:p>
            <a:pPr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• Electrical and C&amp;I</a:t>
            </a:r>
          </a:p>
          <a:p>
            <a:pPr>
              <a:defRPr/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• Material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E3DBA0B-F43D-4F78-A5C9-2BDE089A066C}"/>
              </a:ext>
            </a:extLst>
          </p:cNvPr>
          <p:cNvSpPr/>
          <p:nvPr/>
        </p:nvSpPr>
        <p:spPr>
          <a:xfrm>
            <a:off x="1730375" y="2166938"/>
            <a:ext cx="1425575" cy="50958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>
              <a:defRPr/>
            </a:pPr>
            <a:r>
              <a:rPr lang="en-GB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isk Review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8635382-5E68-4EAD-91D6-853A7779E170}"/>
              </a:ext>
            </a:extLst>
          </p:cNvPr>
          <p:cNvSpPr/>
          <p:nvPr/>
        </p:nvSpPr>
        <p:spPr>
          <a:xfrm>
            <a:off x="1747838" y="2940050"/>
            <a:ext cx="1425575" cy="5810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fine codes and Standards 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17802FC-BD17-4E8D-B7F1-2FD0CB3A5FBC}"/>
              </a:ext>
            </a:extLst>
          </p:cNvPr>
          <p:cNvSpPr/>
          <p:nvPr/>
        </p:nvSpPr>
        <p:spPr>
          <a:xfrm>
            <a:off x="1787525" y="3789363"/>
            <a:ext cx="1425575" cy="50006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cept Design Review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3CE29D5-F177-4886-989B-C36B239E4EE7}"/>
              </a:ext>
            </a:extLst>
          </p:cNvPr>
          <p:cNvSpPr/>
          <p:nvPr/>
        </p:nvSpPr>
        <p:spPr>
          <a:xfrm>
            <a:off x="261938" y="5949950"/>
            <a:ext cx="4159250" cy="58102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 algn="ctr">
              <a:defRPr/>
            </a:pPr>
            <a:r>
              <a:rPr lang="en-GB" dirty="0">
                <a:solidFill>
                  <a:schemeClr val="tx1"/>
                </a:solidFill>
              </a:rPr>
              <a:t>Additional HSE Studies / Regulatory advise and support 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BC063F7C-64DC-46FE-89CC-73BC1EC5B292}"/>
              </a:ext>
            </a:extLst>
          </p:cNvPr>
          <p:cNvSpPr/>
          <p:nvPr/>
        </p:nvSpPr>
        <p:spPr>
          <a:xfrm rot="5400000">
            <a:off x="2359025" y="2106613"/>
            <a:ext cx="179388" cy="141446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336041AE-997E-4051-AC3D-2379C2F9DB3D}"/>
              </a:ext>
            </a:extLst>
          </p:cNvPr>
          <p:cNvSpPr/>
          <p:nvPr/>
        </p:nvSpPr>
        <p:spPr>
          <a:xfrm rot="5400000">
            <a:off x="2386013" y="4100512"/>
            <a:ext cx="127000" cy="72072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A6FAF73-2A2F-4A0F-8557-2E2FDAD46907}"/>
              </a:ext>
            </a:extLst>
          </p:cNvPr>
          <p:cNvSpPr/>
          <p:nvPr/>
        </p:nvSpPr>
        <p:spPr>
          <a:xfrm>
            <a:off x="1393825" y="2203450"/>
            <a:ext cx="431800" cy="433388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082AC82-F1A4-4CEA-9B14-215F19332822}"/>
              </a:ext>
            </a:extLst>
          </p:cNvPr>
          <p:cNvSpPr/>
          <p:nvPr/>
        </p:nvSpPr>
        <p:spPr>
          <a:xfrm>
            <a:off x="1363663" y="3036888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AB623D9-CB3C-40CF-AFC9-896322D532BF}"/>
              </a:ext>
            </a:extLst>
          </p:cNvPr>
          <p:cNvSpPr/>
          <p:nvPr/>
        </p:nvSpPr>
        <p:spPr>
          <a:xfrm>
            <a:off x="1136650" y="5246688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B746993-C8A2-45AE-A902-013E4E341F3D}"/>
              </a:ext>
            </a:extLst>
          </p:cNvPr>
          <p:cNvCxnSpPr>
            <a:cxnSpLocks/>
          </p:cNvCxnSpPr>
          <p:nvPr/>
        </p:nvCxnSpPr>
        <p:spPr>
          <a:xfrm>
            <a:off x="5340350" y="2801938"/>
            <a:ext cx="639286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5C93AEF-BAB9-4626-AF3F-B3E045EAF00B}"/>
              </a:ext>
            </a:extLst>
          </p:cNvPr>
          <p:cNvCxnSpPr>
            <a:cxnSpLocks/>
          </p:cNvCxnSpPr>
          <p:nvPr/>
        </p:nvCxnSpPr>
        <p:spPr>
          <a:xfrm>
            <a:off x="5340350" y="3600450"/>
            <a:ext cx="639286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9ECBD14-079F-4307-800C-C74169782D01}"/>
              </a:ext>
            </a:extLst>
          </p:cNvPr>
          <p:cNvSpPr txBox="1"/>
          <p:nvPr/>
        </p:nvSpPr>
        <p:spPr>
          <a:xfrm>
            <a:off x="509588" y="1176338"/>
            <a:ext cx="11742737" cy="581025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>
              <a:defRPr/>
            </a:pPr>
            <a:r>
              <a:rPr lang="en-US" sz="1440" dirty="0"/>
              <a:t>Focus  - Documentary review of the main design and construction documents </a:t>
            </a:r>
            <a:r>
              <a:rPr lang="en-US" sz="1400" dirty="0"/>
              <a:t>outlining design basis, risk assessments and other documents providing information on the Codes and Standards that may be identified to be applicable for this type of facility</a:t>
            </a:r>
            <a:r>
              <a:rPr lang="en-US" dirty="0"/>
              <a:t>.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9260EB5-12D1-4A8D-890E-81F0FD8EBC3E}"/>
              </a:ext>
            </a:extLst>
          </p:cNvPr>
          <p:cNvSpPr>
            <a:spLocks noChangeAspect="1"/>
          </p:cNvSpPr>
          <p:nvPr/>
        </p:nvSpPr>
        <p:spPr>
          <a:xfrm>
            <a:off x="4937125" y="2378075"/>
            <a:ext cx="303213" cy="30162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45CDC06E-82B3-492B-B164-98E49AD546D7}"/>
              </a:ext>
            </a:extLst>
          </p:cNvPr>
          <p:cNvSpPr>
            <a:spLocks noChangeAspect="1"/>
          </p:cNvSpPr>
          <p:nvPr/>
        </p:nvSpPr>
        <p:spPr>
          <a:xfrm>
            <a:off x="4959350" y="3686175"/>
            <a:ext cx="303213" cy="30321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964B04A-6926-4D35-B28D-EF00C29C4AE8}"/>
              </a:ext>
            </a:extLst>
          </p:cNvPr>
          <p:cNvSpPr>
            <a:spLocks noChangeAspect="1"/>
          </p:cNvSpPr>
          <p:nvPr/>
        </p:nvSpPr>
        <p:spPr>
          <a:xfrm>
            <a:off x="4970463" y="3000375"/>
            <a:ext cx="301625" cy="30321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3A46E206-751D-444A-A17B-E0158FC36FC1}"/>
              </a:ext>
            </a:extLst>
          </p:cNvPr>
          <p:cNvSpPr>
            <a:spLocks noChangeAspect="1"/>
          </p:cNvSpPr>
          <p:nvPr/>
        </p:nvSpPr>
        <p:spPr>
          <a:xfrm>
            <a:off x="5037138" y="5327650"/>
            <a:ext cx="303212" cy="30321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GB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4053" name="TextBox 39">
            <a:extLst>
              <a:ext uri="{FF2B5EF4-FFF2-40B4-BE49-F238E27FC236}">
                <a16:creationId xmlns:a16="http://schemas.microsoft.com/office/drawing/2014/main" id="{8F0F5462-C5A1-4A75-811E-7446489218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0263" y="4397375"/>
            <a:ext cx="4879975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204788" indent="-204788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Source Sans Pro" panose="020B0503030403020204" pitchFamily="34" charset="0"/>
              </a:defRPr>
            </a:lvl1pPr>
            <a:lvl2pPr marL="661988" indent="-204788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b="1">
                <a:solidFill>
                  <a:schemeClr val="tx2"/>
                </a:solidFill>
                <a:latin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3pPr>
            <a:lvl4pPr marL="1119188" indent="-204788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>
                <a:solidFill>
                  <a:schemeClr val="tx1"/>
                </a:solidFill>
              </a:rPr>
              <a:t>Approval In Principal (AIP) Certificate to be used  for marketing purposes </a:t>
            </a:r>
          </a:p>
          <a:p>
            <a:pPr lvl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 b="0">
                <a:solidFill>
                  <a:schemeClr val="tx1"/>
                </a:solidFill>
                <a:latin typeface="Source Sans Pro" panose="020B0503030403020204" pitchFamily="34" charset="0"/>
              </a:rPr>
              <a:t>Include caveats on required including </a:t>
            </a:r>
          </a:p>
          <a:p>
            <a:pPr lvl="3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/>
              <a:t>Required Testing </a:t>
            </a:r>
          </a:p>
          <a:p>
            <a:pPr lvl="3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/>
              <a:t>Addional details for detailed design</a:t>
            </a:r>
          </a:p>
          <a:p>
            <a:pPr lvl="3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/>
              <a:t> Regulatory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FB8F299-EC11-4AC1-AFD8-4F28416D6F7D}"/>
              </a:ext>
            </a:extLst>
          </p:cNvPr>
          <p:cNvSpPr txBox="1"/>
          <p:nvPr/>
        </p:nvSpPr>
        <p:spPr>
          <a:xfrm>
            <a:off x="7121525" y="2871788"/>
            <a:ext cx="4878388" cy="581025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marL="205740" indent="-205740">
              <a:buFont typeface="Wingdings" panose="05000000000000000000" pitchFamily="2" charset="2"/>
              <a:buChar char="§"/>
              <a:defRPr/>
            </a:pPr>
            <a:r>
              <a:rPr lang="en-US" sz="1050" dirty="0"/>
              <a:t>Confirm applied Codes and Standards, Specifications and Practices that has been selected for the design and construction of this type of equipment are suitable</a:t>
            </a:r>
            <a:endParaRPr lang="en-GB" sz="144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D178DE6-7BB8-43B8-A3CD-5410047911A4}"/>
              </a:ext>
            </a:extLst>
          </p:cNvPr>
          <p:cNvSpPr txBox="1"/>
          <p:nvPr/>
        </p:nvSpPr>
        <p:spPr>
          <a:xfrm>
            <a:off x="7180263" y="3708400"/>
            <a:ext cx="4683125" cy="581025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marL="205740" indent="-205740">
              <a:buFont typeface="Wingdings" panose="05000000000000000000" pitchFamily="2" charset="2"/>
              <a:buChar char="§"/>
              <a:defRPr/>
            </a:pPr>
            <a:r>
              <a:rPr lang="en-US" sz="1100" dirty="0"/>
              <a:t>Review Design Philosophies, Design basis, System and functional details such as functional flow block diagram, process flow diagrams, Piping and Instrumentation Diagrams, Interfaces</a:t>
            </a:r>
          </a:p>
          <a:p>
            <a:pPr marL="205740" indent="-205740">
              <a:buFont typeface="Wingdings" panose="05000000000000000000" pitchFamily="2" charset="2"/>
              <a:buChar char="§"/>
              <a:defRPr/>
            </a:pPr>
            <a:endParaRPr lang="en-GB" sz="1440" dirty="0"/>
          </a:p>
        </p:txBody>
      </p: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546B1AA2-BAB9-458C-A4DC-983D88B755E4}"/>
              </a:ext>
            </a:extLst>
          </p:cNvPr>
          <p:cNvSpPr/>
          <p:nvPr/>
        </p:nvSpPr>
        <p:spPr>
          <a:xfrm rot="5400000">
            <a:off x="2359025" y="2987676"/>
            <a:ext cx="179387" cy="141446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497288B-2738-430C-B661-2B31E596AFA8}"/>
              </a:ext>
            </a:extLst>
          </p:cNvPr>
          <p:cNvCxnSpPr>
            <a:cxnSpLocks/>
          </p:cNvCxnSpPr>
          <p:nvPr/>
        </p:nvCxnSpPr>
        <p:spPr>
          <a:xfrm>
            <a:off x="4543425" y="2097088"/>
            <a:ext cx="0" cy="401002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8854C8ED-770E-417E-A519-0EAC80022359}"/>
              </a:ext>
            </a:extLst>
          </p:cNvPr>
          <p:cNvSpPr/>
          <p:nvPr/>
        </p:nvSpPr>
        <p:spPr>
          <a:xfrm>
            <a:off x="5348288" y="2198688"/>
            <a:ext cx="1582737" cy="584200"/>
          </a:xfrm>
          <a:prstGeom prst="roundRect">
            <a:avLst/>
          </a:prstGeom>
          <a:noFill/>
        </p:spPr>
        <p:txBody>
          <a:bodyPr lIns="0" tIns="0" rIns="0" bIns="0" anchor="ctr"/>
          <a:lstStyle/>
          <a:p>
            <a:pPr>
              <a:defRPr/>
            </a:pPr>
            <a:r>
              <a:rPr lang="en-GB" sz="1440" dirty="0"/>
              <a:t>Hazard and Failure Mode Identification and QRA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A8745B26-94B4-4751-A52B-B575CE5863B4}"/>
              </a:ext>
            </a:extLst>
          </p:cNvPr>
          <p:cNvSpPr/>
          <p:nvPr/>
        </p:nvSpPr>
        <p:spPr>
          <a:xfrm>
            <a:off x="5381625" y="2871788"/>
            <a:ext cx="1425575" cy="582612"/>
          </a:xfrm>
          <a:prstGeom prst="roundRect">
            <a:avLst/>
          </a:prstGeom>
          <a:noFill/>
        </p:spPr>
        <p:txBody>
          <a:bodyPr lIns="0" tIns="0" rIns="0" bIns="0"/>
          <a:lstStyle/>
          <a:p>
            <a:pPr>
              <a:defRPr/>
            </a:pPr>
            <a:r>
              <a:rPr lang="en-GB" sz="1440" dirty="0"/>
              <a:t>Code and Standard selection 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683152B9-55B6-437A-BF8E-4C9ABD5485EF}"/>
              </a:ext>
            </a:extLst>
          </p:cNvPr>
          <p:cNvSpPr/>
          <p:nvPr/>
        </p:nvSpPr>
        <p:spPr>
          <a:xfrm>
            <a:off x="5362575" y="3670300"/>
            <a:ext cx="1425575" cy="582613"/>
          </a:xfrm>
          <a:prstGeom prst="roundRect">
            <a:avLst/>
          </a:prstGeom>
          <a:noFill/>
        </p:spPr>
        <p:txBody>
          <a:bodyPr lIns="0" tIns="0" rIns="0" bIns="0"/>
          <a:lstStyle/>
          <a:p>
            <a:pPr>
              <a:defRPr/>
            </a:pPr>
            <a:r>
              <a:rPr lang="en-GB" sz="1440" dirty="0"/>
              <a:t>Concept Design Review 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B8510BEE-F8AE-47A6-9295-F92178E7540C}"/>
              </a:ext>
            </a:extLst>
          </p:cNvPr>
          <p:cNvSpPr/>
          <p:nvPr/>
        </p:nvSpPr>
        <p:spPr>
          <a:xfrm>
            <a:off x="5464175" y="5338763"/>
            <a:ext cx="6286500" cy="582612"/>
          </a:xfrm>
          <a:prstGeom prst="roundRect">
            <a:avLst/>
          </a:prstGeom>
          <a:noFill/>
        </p:spPr>
        <p:txBody>
          <a:bodyPr lIns="0" tIns="0" rIns="0" bIns="0" anchor="ctr"/>
          <a:lstStyle/>
          <a:p>
            <a:pPr>
              <a:defRPr/>
            </a:pPr>
            <a:r>
              <a:rPr lang="en-GB" sz="1440" dirty="0"/>
              <a:t>Approval for use </a:t>
            </a:r>
          </a:p>
          <a:p>
            <a:pPr>
              <a:defRPr/>
            </a:pPr>
            <a:r>
              <a:rPr lang="en-GB" sz="1440" dirty="0"/>
              <a:t>/ Type approval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2F5423D6-AB2D-4E73-BC30-C4D5022D8EFD}"/>
              </a:ext>
            </a:extLst>
          </p:cNvPr>
          <p:cNvSpPr/>
          <p:nvPr/>
        </p:nvSpPr>
        <p:spPr>
          <a:xfrm>
            <a:off x="5405438" y="4208463"/>
            <a:ext cx="1425575" cy="582612"/>
          </a:xfrm>
          <a:prstGeom prst="roundRect">
            <a:avLst/>
          </a:prstGeom>
          <a:noFill/>
        </p:spPr>
        <p:txBody>
          <a:bodyPr lIns="0" tIns="0" rIns="0" bIns="0" anchor="ctr"/>
          <a:lstStyle/>
          <a:p>
            <a:pPr>
              <a:defRPr/>
            </a:pPr>
            <a:r>
              <a:rPr lang="en-GB" sz="1440" dirty="0"/>
              <a:t>Deliverable  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5A11263B-DCEE-4C5C-9BF5-5D5117A480B3}"/>
              </a:ext>
            </a:extLst>
          </p:cNvPr>
          <p:cNvSpPr/>
          <p:nvPr/>
        </p:nvSpPr>
        <p:spPr>
          <a:xfrm>
            <a:off x="1368425" y="3827463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E1A12148-B774-4737-9A09-D8F7C9DF974E}"/>
              </a:ext>
            </a:extLst>
          </p:cNvPr>
          <p:cNvSpPr/>
          <p:nvPr/>
        </p:nvSpPr>
        <p:spPr>
          <a:xfrm>
            <a:off x="1273175" y="4576763"/>
            <a:ext cx="2638425" cy="5810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IP </a:t>
            </a:r>
            <a:r>
              <a:rPr lang="en-GB" sz="1400">
                <a:solidFill>
                  <a:schemeClr val="tx1">
                    <a:lumMod val="85000"/>
                    <a:lumOff val="15000"/>
                  </a:schemeClr>
                </a:solidFill>
              </a:rPr>
              <a:t>Certificate  </a:t>
            </a: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7F94CED-5866-4C77-B9A6-2524E5DDBC8C}"/>
              </a:ext>
            </a:extLst>
          </p:cNvPr>
          <p:cNvSpPr txBox="1"/>
          <p:nvPr/>
        </p:nvSpPr>
        <p:spPr>
          <a:xfrm>
            <a:off x="7078663" y="2133600"/>
            <a:ext cx="4802187" cy="581025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marL="205740" indent="-205740">
              <a:buFont typeface="Wingdings" panose="05000000000000000000" pitchFamily="2" charset="2"/>
              <a:buChar char="§"/>
              <a:defRPr/>
            </a:pPr>
            <a:r>
              <a:rPr lang="en-US" sz="1100" dirty="0"/>
              <a:t>Identification Hazards and failure modes applicable to the plant along with support information demonstrating  the control of these hazards and failure modes is proved to be feasible</a:t>
            </a:r>
            <a:r>
              <a:rPr lang="en-US" sz="1440" dirty="0"/>
              <a:t>. </a:t>
            </a:r>
            <a:endParaRPr lang="en-GB" sz="1440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EE7BCF5-AEC6-46CF-A3A4-85E08B03DAEC}"/>
              </a:ext>
            </a:extLst>
          </p:cNvPr>
          <p:cNvCxnSpPr>
            <a:cxnSpLocks/>
          </p:cNvCxnSpPr>
          <p:nvPr/>
        </p:nvCxnSpPr>
        <p:spPr>
          <a:xfrm>
            <a:off x="5411788" y="4252913"/>
            <a:ext cx="639286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FD004C60-20D2-45CE-B920-71334C8EB69C}"/>
              </a:ext>
            </a:extLst>
          </p:cNvPr>
          <p:cNvCxnSpPr>
            <a:cxnSpLocks/>
          </p:cNvCxnSpPr>
          <p:nvPr/>
        </p:nvCxnSpPr>
        <p:spPr>
          <a:xfrm>
            <a:off x="5381625" y="5327650"/>
            <a:ext cx="639286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068" name="Rectangle 10">
            <a:extLst>
              <a:ext uri="{FF2B5EF4-FFF2-40B4-BE49-F238E27FC236}">
                <a16:creationId xmlns:a16="http://schemas.microsoft.com/office/drawing/2014/main" id="{D952A8E2-A88B-4A99-B089-E738C2ECC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1525" y="5389563"/>
            <a:ext cx="60960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04788" indent="-204788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Source Sans Pro" panose="020B0503030403020204" pitchFamily="34" charset="0"/>
              </a:defRPr>
            </a:lvl1pPr>
            <a:lvl2pPr marL="661988" indent="-204788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b="1">
                <a:solidFill>
                  <a:schemeClr val="tx2"/>
                </a:solidFill>
                <a:latin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 dirty="0">
                <a:solidFill>
                  <a:schemeClr val="tx1"/>
                </a:solidFill>
              </a:rPr>
              <a:t>Review of detailed design- Similar process to above now investigating  </a:t>
            </a:r>
          </a:p>
          <a:p>
            <a:pPr lvl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 b="0" dirty="0">
                <a:solidFill>
                  <a:schemeClr val="tx1"/>
                </a:solidFill>
                <a:latin typeface="Source Sans Pro" panose="020B0503030403020204" pitchFamily="34" charset="0"/>
              </a:rPr>
              <a:t>Detailed design and testing for specific market use</a:t>
            </a:r>
          </a:p>
          <a:p>
            <a:pPr lvl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Char char="§"/>
            </a:pPr>
            <a:r>
              <a:rPr lang="en-GB" altLang="en-US" sz="1100" b="0" dirty="0">
                <a:solidFill>
                  <a:schemeClr val="tx1"/>
                </a:solidFill>
                <a:latin typeface="Source Sans Pro" panose="020B0503030403020204" pitchFamily="34" charset="0"/>
              </a:rPr>
              <a:t>Regulatory review  </a:t>
            </a: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DBD4E554-CA41-42AA-8FFE-4368662EB734}"/>
              </a:ext>
            </a:extLst>
          </p:cNvPr>
          <p:cNvSpPr/>
          <p:nvPr/>
        </p:nvSpPr>
        <p:spPr>
          <a:xfrm>
            <a:off x="4567238" y="3205163"/>
            <a:ext cx="295275" cy="48101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 algn="ctr">
              <a:defRPr/>
            </a:pPr>
            <a:r>
              <a:rPr lang="en-GB" sz="1200" dirty="0">
                <a:solidFill>
                  <a:schemeClr val="tx1"/>
                </a:solidFill>
              </a:rPr>
              <a:t>AIP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D6E6625-D9D0-4BB3-9237-667DBCB70B16}"/>
              </a:ext>
            </a:extLst>
          </p:cNvPr>
          <p:cNvCxnSpPr/>
          <p:nvPr/>
        </p:nvCxnSpPr>
        <p:spPr>
          <a:xfrm flipV="1">
            <a:off x="4768850" y="2378075"/>
            <a:ext cx="0" cy="7286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8AF956F-3055-4D1D-ADB4-7741B03AA22B}"/>
              </a:ext>
            </a:extLst>
          </p:cNvPr>
          <p:cNvCxnSpPr/>
          <p:nvPr/>
        </p:nvCxnSpPr>
        <p:spPr>
          <a:xfrm>
            <a:off x="4775200" y="3832225"/>
            <a:ext cx="0" cy="895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EEA88A95-BC10-4A44-8CB2-9DCA0ABD7E0E}"/>
              </a:ext>
            </a:extLst>
          </p:cNvPr>
          <p:cNvSpPr/>
          <p:nvPr/>
        </p:nvSpPr>
        <p:spPr>
          <a:xfrm>
            <a:off x="1609725" y="5197475"/>
            <a:ext cx="1754188" cy="52705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roval for use  / Type Approval</a:t>
            </a:r>
          </a:p>
        </p:txBody>
      </p:sp>
    </p:spTree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018" name="Object 6" hidden="1">
            <a:extLst>
              <a:ext uri="{FF2B5EF4-FFF2-40B4-BE49-F238E27FC236}">
                <a16:creationId xmlns:a16="http://schemas.microsoft.com/office/drawing/2014/main" id="{9E1B11B6-4510-47F2-AE49-5038CDCF6C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018" name="Object 6" hidden="1">
                        <a:extLst>
                          <a:ext uri="{FF2B5EF4-FFF2-40B4-BE49-F238E27FC236}">
                            <a16:creationId xmlns:a16="http://schemas.microsoft.com/office/drawing/2014/main" id="{9E1B11B6-4510-47F2-AE49-5038CDCF6C7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AF9CC2-4B69-4481-9AF2-9FC91598A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177800"/>
            <a:ext cx="10956925" cy="825500"/>
          </a:xfrm>
        </p:spPr>
        <p:txBody>
          <a:bodyPr/>
          <a:lstStyle/>
          <a:p>
            <a:pPr eaLnBrk="1" hangingPunct="1">
              <a:defRPr/>
            </a:pPr>
            <a:r>
              <a:t>LRQA is working with wide range of companies to drive their Hydrogen agen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ECA05A-6FFD-4D2B-9B27-1E750C6471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7213" y="1141413"/>
            <a:ext cx="3686175" cy="277812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t>Blue hydrogen process element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5D3C0B2-BAE9-4EBF-8D88-DDFC65D3B9DB}"/>
              </a:ext>
            </a:extLst>
          </p:cNvPr>
          <p:cNvSpPr/>
          <p:nvPr/>
        </p:nvSpPr>
        <p:spPr>
          <a:xfrm>
            <a:off x="1036638" y="3271838"/>
            <a:ext cx="950912" cy="235585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FCE8565-FBB6-4D42-BE91-FA725C8AA49F}"/>
              </a:ext>
            </a:extLst>
          </p:cNvPr>
          <p:cNvSpPr/>
          <p:nvPr/>
        </p:nvSpPr>
        <p:spPr>
          <a:xfrm>
            <a:off x="2101850" y="2998788"/>
            <a:ext cx="719138" cy="33813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69C6E30-2CC6-4EBD-91E8-9FEF1DFD55B6}"/>
              </a:ext>
            </a:extLst>
          </p:cNvPr>
          <p:cNvSpPr/>
          <p:nvPr/>
        </p:nvSpPr>
        <p:spPr>
          <a:xfrm>
            <a:off x="1036638" y="3259138"/>
            <a:ext cx="2849562" cy="37147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7E474DE-0C06-4863-8EE1-AB7FA995CDCE}"/>
              </a:ext>
            </a:extLst>
          </p:cNvPr>
          <p:cNvSpPr/>
          <p:nvPr/>
        </p:nvSpPr>
        <p:spPr>
          <a:xfrm>
            <a:off x="2935288" y="3255963"/>
            <a:ext cx="950912" cy="237172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pic>
        <p:nvPicPr>
          <p:cNvPr id="86025" name="Picture 13" descr="Black hydrogen filling station icon isolated on Vector Image">
            <a:extLst>
              <a:ext uri="{FF2B5EF4-FFF2-40B4-BE49-F238E27FC236}">
                <a16:creationId xmlns:a16="http://schemas.microsoft.com/office/drawing/2014/main" id="{1EB028EC-85E3-4F2E-8361-7AF845269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61" r="26352" b="36879"/>
          <a:stretch>
            <a:fillRect/>
          </a:stretch>
        </p:blipFill>
        <p:spPr bwMode="auto">
          <a:xfrm>
            <a:off x="1349375" y="3498850"/>
            <a:ext cx="303213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C73603D-19DD-41D5-957D-1AAA9D887CB3}"/>
              </a:ext>
            </a:extLst>
          </p:cNvPr>
          <p:cNvSpPr/>
          <p:nvPr/>
        </p:nvSpPr>
        <p:spPr>
          <a:xfrm>
            <a:off x="1730375" y="1573213"/>
            <a:ext cx="1452562" cy="50958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>
              <a:defRPr/>
            </a:pPr>
            <a:r>
              <a:rPr lang="en-GB" dirty="0">
                <a:solidFill>
                  <a:srgbClr val="002060"/>
                </a:solidFill>
              </a:rPr>
              <a:t>Feasibility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E9C8016-7575-4C78-ACD3-FFB6B5EC0075}"/>
              </a:ext>
            </a:extLst>
          </p:cNvPr>
          <p:cNvSpPr/>
          <p:nvPr/>
        </p:nvSpPr>
        <p:spPr>
          <a:xfrm>
            <a:off x="1747838" y="2346325"/>
            <a:ext cx="1425575" cy="34448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>
              <a:defRPr/>
            </a:pPr>
            <a:r>
              <a:rPr lang="en-GB" dirty="0">
                <a:solidFill>
                  <a:srgbClr val="002060"/>
                </a:solidFill>
              </a:rPr>
              <a:t>Production  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EAFBB90-AA06-4BC9-B84F-B3A60406ACF2}"/>
              </a:ext>
            </a:extLst>
          </p:cNvPr>
          <p:cNvSpPr/>
          <p:nvPr/>
        </p:nvSpPr>
        <p:spPr>
          <a:xfrm>
            <a:off x="863600" y="4008438"/>
            <a:ext cx="1425575" cy="34607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GB">
                <a:solidFill>
                  <a:srgbClr val="002060"/>
                </a:solidFill>
              </a:rPr>
              <a:t>Storag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D00125E-C71B-4121-A5D0-0329A7D6304C}"/>
              </a:ext>
            </a:extLst>
          </p:cNvPr>
          <p:cNvSpPr/>
          <p:nvPr/>
        </p:nvSpPr>
        <p:spPr>
          <a:xfrm>
            <a:off x="863600" y="4608513"/>
            <a:ext cx="1425575" cy="34607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GB" sz="1600">
                <a:solidFill>
                  <a:srgbClr val="002060"/>
                </a:solidFill>
              </a:rPr>
              <a:t>Transporta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777C6CD-6F00-4AFE-8EA5-017A64239852}"/>
              </a:ext>
            </a:extLst>
          </p:cNvPr>
          <p:cNvSpPr/>
          <p:nvPr/>
        </p:nvSpPr>
        <p:spPr>
          <a:xfrm>
            <a:off x="863600" y="5210175"/>
            <a:ext cx="1425575" cy="34448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GB">
                <a:solidFill>
                  <a:srgbClr val="002060"/>
                </a:solidFill>
              </a:rPr>
              <a:t>Usage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BE5F19E-94F1-4D5F-8EE4-55122513A845}"/>
              </a:ext>
            </a:extLst>
          </p:cNvPr>
          <p:cNvSpPr/>
          <p:nvPr/>
        </p:nvSpPr>
        <p:spPr>
          <a:xfrm>
            <a:off x="2762250" y="3960813"/>
            <a:ext cx="1296988" cy="1593850"/>
          </a:xfrm>
          <a:prstGeom prst="roundRect">
            <a:avLst>
              <a:gd name="adj" fmla="val 696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rIns="43200" anchor="ctr"/>
          <a:lstStyle/>
          <a:p>
            <a:pPr algn="ctr">
              <a:defRPr/>
            </a:pPr>
            <a:r>
              <a:rPr lang="en-GB">
                <a:solidFill>
                  <a:srgbClr val="002060"/>
                </a:solidFill>
              </a:rPr>
              <a:t>Carbon Capture &amp; Storage / EOR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F3C70B7-BC93-4BCE-8C5B-145E6E13F603}"/>
              </a:ext>
            </a:extLst>
          </p:cNvPr>
          <p:cNvSpPr/>
          <p:nvPr/>
        </p:nvSpPr>
        <p:spPr>
          <a:xfrm>
            <a:off x="863600" y="5756275"/>
            <a:ext cx="3195638" cy="382588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anchor="ctr"/>
          <a:lstStyle/>
          <a:p>
            <a:pPr algn="ctr">
              <a:defRPr/>
            </a:pPr>
            <a:r>
              <a:rPr lang="en-GB">
                <a:solidFill>
                  <a:srgbClr val="002060"/>
                </a:solidFill>
              </a:rPr>
              <a:t>Regulatory Framework / HSE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3B28AA4A-8C31-48EA-AD08-E55018FE513D}"/>
              </a:ext>
            </a:extLst>
          </p:cNvPr>
          <p:cNvSpPr/>
          <p:nvPr/>
        </p:nvSpPr>
        <p:spPr>
          <a:xfrm rot="5400000">
            <a:off x="2359025" y="1512888"/>
            <a:ext cx="179388" cy="141446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F21A1E7A-FA8F-454F-B33B-2D84EC4E0A24}"/>
              </a:ext>
            </a:extLst>
          </p:cNvPr>
          <p:cNvSpPr/>
          <p:nvPr/>
        </p:nvSpPr>
        <p:spPr>
          <a:xfrm rot="5400000">
            <a:off x="1415257" y="4120356"/>
            <a:ext cx="125412" cy="72072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CF262333-90CC-4F50-91DF-4CC287B21EE7}"/>
              </a:ext>
            </a:extLst>
          </p:cNvPr>
          <p:cNvSpPr/>
          <p:nvPr/>
        </p:nvSpPr>
        <p:spPr>
          <a:xfrm rot="5400000">
            <a:off x="1414463" y="4721225"/>
            <a:ext cx="127000" cy="72072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0803300-AB5B-44FB-84C3-4D745EFECB61}"/>
              </a:ext>
            </a:extLst>
          </p:cNvPr>
          <p:cNvSpPr/>
          <p:nvPr/>
        </p:nvSpPr>
        <p:spPr>
          <a:xfrm>
            <a:off x="2570163" y="3960813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>
                <a:solidFill>
                  <a:srgbClr val="002060"/>
                </a:solidFill>
              </a:rPr>
              <a:t>4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6FC0AB36-0607-4DF6-8D05-3D9DAF534DC7}"/>
              </a:ext>
            </a:extLst>
          </p:cNvPr>
          <p:cNvSpPr/>
          <p:nvPr/>
        </p:nvSpPr>
        <p:spPr>
          <a:xfrm>
            <a:off x="1393825" y="1609725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AFEEC54-114B-4FEA-8560-63366ECC2001}"/>
              </a:ext>
            </a:extLst>
          </p:cNvPr>
          <p:cNvSpPr/>
          <p:nvPr/>
        </p:nvSpPr>
        <p:spPr>
          <a:xfrm>
            <a:off x="1401763" y="2295525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>
                <a:solidFill>
                  <a:srgbClr val="002060"/>
                </a:solidFill>
              </a:rPr>
              <a:t>2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8A62DBF-9607-4411-A115-4B39FDA34A9D}"/>
              </a:ext>
            </a:extLst>
          </p:cNvPr>
          <p:cNvSpPr/>
          <p:nvPr/>
        </p:nvSpPr>
        <p:spPr>
          <a:xfrm>
            <a:off x="582613" y="5732463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>
                <a:solidFill>
                  <a:srgbClr val="002060"/>
                </a:solidFill>
              </a:rPr>
              <a:t>5</a:t>
            </a:r>
          </a:p>
        </p:txBody>
      </p:sp>
      <p:pic>
        <p:nvPicPr>
          <p:cNvPr id="86040" name="Picture 19" descr="Factory icon Royalty Free Vector Image - VectorStock">
            <a:extLst>
              <a:ext uri="{FF2B5EF4-FFF2-40B4-BE49-F238E27FC236}">
                <a16:creationId xmlns:a16="http://schemas.microsoft.com/office/drawing/2014/main" id="{D48156C1-2399-4ADA-8A66-6B082255F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57"/>
          <a:stretch>
            <a:fillRect/>
          </a:stretch>
        </p:blipFill>
        <p:spPr bwMode="auto">
          <a:xfrm>
            <a:off x="2151063" y="3008313"/>
            <a:ext cx="584200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41" name="Picture 17" descr="Carbon Dioxide Programming Language, PNG, 512x512px, Carbon Dioxide, Black,  Black And White, Brand, Carbon Download Free">
            <a:extLst>
              <a:ext uri="{FF2B5EF4-FFF2-40B4-BE49-F238E27FC236}">
                <a16:creationId xmlns:a16="http://schemas.microsoft.com/office/drawing/2014/main" id="{5DCBD5A6-CA0B-46A3-98B7-AD0DA6668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7050" y="3481388"/>
            <a:ext cx="720725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BAB658CE-E98A-4BD0-9D98-10299B4974D3}"/>
              </a:ext>
            </a:extLst>
          </p:cNvPr>
          <p:cNvCxnSpPr>
            <a:cxnSpLocks/>
            <a:stCxn id="86040" idx="3"/>
            <a:endCxn id="86041" idx="0"/>
          </p:cNvCxnSpPr>
          <p:nvPr/>
        </p:nvCxnSpPr>
        <p:spPr>
          <a:xfrm>
            <a:off x="2735263" y="3303588"/>
            <a:ext cx="692150" cy="1778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0D15975B-A836-4482-A313-F8CF4C294CEA}"/>
              </a:ext>
            </a:extLst>
          </p:cNvPr>
          <p:cNvCxnSpPr>
            <a:cxnSpLocks/>
            <a:stCxn id="86040" idx="1"/>
            <a:endCxn id="86025" idx="0"/>
          </p:cNvCxnSpPr>
          <p:nvPr/>
        </p:nvCxnSpPr>
        <p:spPr>
          <a:xfrm rot="10800000" flipV="1">
            <a:off x="1501775" y="3303588"/>
            <a:ext cx="649288" cy="19526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Arrow: Chevron 50">
            <a:extLst>
              <a:ext uri="{FF2B5EF4-FFF2-40B4-BE49-F238E27FC236}">
                <a16:creationId xmlns:a16="http://schemas.microsoft.com/office/drawing/2014/main" id="{E9B0D109-FAAB-46EE-926B-8BD7F21D3911}"/>
              </a:ext>
            </a:extLst>
          </p:cNvPr>
          <p:cNvSpPr/>
          <p:nvPr/>
        </p:nvSpPr>
        <p:spPr>
          <a:xfrm rot="5400000">
            <a:off x="2359025" y="2120901"/>
            <a:ext cx="179387" cy="141446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060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5D3AA25-1506-4A32-83E7-361F908614C4}"/>
              </a:ext>
            </a:extLst>
          </p:cNvPr>
          <p:cNvCxnSpPr>
            <a:cxnSpLocks/>
          </p:cNvCxnSpPr>
          <p:nvPr/>
        </p:nvCxnSpPr>
        <p:spPr>
          <a:xfrm>
            <a:off x="4672013" y="1281113"/>
            <a:ext cx="0" cy="48577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1EEDDBDB-CC77-4E0B-A965-29EF60A76581}"/>
              </a:ext>
            </a:extLst>
          </p:cNvPr>
          <p:cNvSpPr/>
          <p:nvPr/>
        </p:nvSpPr>
        <p:spPr>
          <a:xfrm>
            <a:off x="346075" y="4567238"/>
            <a:ext cx="431800" cy="4318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b="1">
                <a:solidFill>
                  <a:srgbClr val="002060"/>
                </a:solidFill>
              </a:rPr>
              <a:t>3</a:t>
            </a:r>
          </a:p>
        </p:txBody>
      </p: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367FA94B-E483-4B90-AE29-2E025C1249AE}"/>
              </a:ext>
            </a:extLst>
          </p:cNvPr>
          <p:cNvCxnSpPr>
            <a:stCxn id="15" idx="1"/>
            <a:endCxn id="61" idx="6"/>
          </p:cNvCxnSpPr>
          <p:nvPr/>
        </p:nvCxnSpPr>
        <p:spPr>
          <a:xfrm rot="10800000" flipV="1">
            <a:off x="777875" y="4181475"/>
            <a:ext cx="85725" cy="60166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676422A6-B420-4726-A4B8-F05BF4DBAFDB}"/>
              </a:ext>
            </a:extLst>
          </p:cNvPr>
          <p:cNvCxnSpPr>
            <a:cxnSpLocks/>
            <a:stCxn id="16" idx="1"/>
            <a:endCxn id="61" idx="6"/>
          </p:cNvCxnSpPr>
          <p:nvPr/>
        </p:nvCxnSpPr>
        <p:spPr>
          <a:xfrm rot="10800000" flipV="1">
            <a:off x="777875" y="4781550"/>
            <a:ext cx="85725" cy="158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5C334FA6-8B78-4B68-82FF-0F2846086469}"/>
              </a:ext>
            </a:extLst>
          </p:cNvPr>
          <p:cNvCxnSpPr>
            <a:cxnSpLocks/>
            <a:stCxn id="17" idx="1"/>
            <a:endCxn id="61" idx="6"/>
          </p:cNvCxnSpPr>
          <p:nvPr/>
        </p:nvCxnSpPr>
        <p:spPr>
          <a:xfrm rot="10800000">
            <a:off x="777875" y="4783138"/>
            <a:ext cx="85725" cy="598487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050" name="Picture 64">
            <a:extLst>
              <a:ext uri="{FF2B5EF4-FFF2-40B4-BE49-F238E27FC236}">
                <a16:creationId xmlns:a16="http://schemas.microsoft.com/office/drawing/2014/main" id="{B7727457-A8B5-47DD-91EE-8FCCC4D4D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52" t="15906" r="12254" b="19577"/>
          <a:stretch>
            <a:fillRect/>
          </a:stretch>
        </p:blipFill>
        <p:spPr bwMode="auto">
          <a:xfrm>
            <a:off x="5097463" y="1776413"/>
            <a:ext cx="969962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1" name="Picture 6" descr="SjÃ¸fartsdirektoratets skjemaportal">
            <a:extLst>
              <a:ext uri="{FF2B5EF4-FFF2-40B4-BE49-F238E27FC236}">
                <a16:creationId xmlns:a16="http://schemas.microsoft.com/office/drawing/2014/main" id="{49E7DA83-B221-4D92-A196-E51A62B931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63" y="1670050"/>
            <a:ext cx="2176462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2" name="Picture 8" descr="Members â Arena Ocean Hyway Cluster">
            <a:extLst>
              <a:ext uri="{FF2B5EF4-FFF2-40B4-BE49-F238E27FC236}">
                <a16:creationId xmlns:a16="http://schemas.microsoft.com/office/drawing/2014/main" id="{DDE7873F-9509-4AE2-A914-17DD3471DB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1795463"/>
            <a:ext cx="1560513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3" name="Picture 10" descr="Stiftelsen SINTEF">
            <a:extLst>
              <a:ext uri="{FF2B5EF4-FFF2-40B4-BE49-F238E27FC236}">
                <a16:creationId xmlns:a16="http://schemas.microsoft.com/office/drawing/2014/main" id="{9C82A378-06B9-4DCF-A8D2-AF659A193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838" y="2339975"/>
            <a:ext cx="1204912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4" name="Picture 12" descr="Havyard Group ASA | LinkedIn">
            <a:extLst>
              <a:ext uri="{FF2B5EF4-FFF2-40B4-BE49-F238E27FC236}">
                <a16:creationId xmlns:a16="http://schemas.microsoft.com/office/drawing/2014/main" id="{009D16E2-6646-4673-BCD1-FC9F7430AF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338" y="1981200"/>
            <a:ext cx="646112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5" name="Picture 14">
            <a:extLst>
              <a:ext uri="{FF2B5EF4-FFF2-40B4-BE49-F238E27FC236}">
                <a16:creationId xmlns:a16="http://schemas.microsoft.com/office/drawing/2014/main" id="{FCA078FF-615F-4B2D-955F-60031DA0E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138" y="1922463"/>
            <a:ext cx="1071562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6" name="Graphic 70">
            <a:extLst>
              <a:ext uri="{FF2B5EF4-FFF2-40B4-BE49-F238E27FC236}">
                <a16:creationId xmlns:a16="http://schemas.microsoft.com/office/drawing/2014/main" id="{99CAAC2A-9D52-4360-B469-89F83A6B4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163" y="3133725"/>
            <a:ext cx="1379537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7" name="Picture 14" descr="Meetando.no | Meetings made easy">
            <a:extLst>
              <a:ext uri="{FF2B5EF4-FFF2-40B4-BE49-F238E27FC236}">
                <a16:creationId xmlns:a16="http://schemas.microsoft.com/office/drawing/2014/main" id="{0E1BADE3-DA21-4883-9A5D-22FEDFC9EE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100" y="2830513"/>
            <a:ext cx="132397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8" name="Picture 34" descr="logo Hydroville">
            <a:extLst>
              <a:ext uri="{FF2B5EF4-FFF2-40B4-BE49-F238E27FC236}">
                <a16:creationId xmlns:a16="http://schemas.microsoft.com/office/drawing/2014/main" id="{B4090EAA-60F9-4A70-911A-0EE854974B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6125" y="3141663"/>
            <a:ext cx="1958975" cy="16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59" name="Picture 4" descr="TrÃ¸nderEnergi AS TrÃ¸nderEnergi Nett AS Business Central Norway, talon,  text, trademark, innovation, logo, business png | NextPNG">
            <a:extLst>
              <a:ext uri="{FF2B5EF4-FFF2-40B4-BE49-F238E27FC236}">
                <a16:creationId xmlns:a16="http://schemas.microsoft.com/office/drawing/2014/main" id="{5EE646E1-615D-4DF0-823C-0BE18FCCA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5600" y="2808288"/>
            <a:ext cx="1277938" cy="44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0" name="Picture 4" descr="Asian Development Bank - Wikipedia">
            <a:extLst>
              <a:ext uri="{FF2B5EF4-FFF2-40B4-BE49-F238E27FC236}">
                <a16:creationId xmlns:a16="http://schemas.microsoft.com/office/drawing/2014/main" id="{789FF32F-AF60-4690-BB60-5D66BFA3ED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38" y="3822700"/>
            <a:ext cx="4667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1" name="Picture 6" descr="OGA - Log In">
            <a:extLst>
              <a:ext uri="{FF2B5EF4-FFF2-40B4-BE49-F238E27FC236}">
                <a16:creationId xmlns:a16="http://schemas.microsoft.com/office/drawing/2014/main" id="{32406B9F-B9C6-45F5-92BF-0421FB0A9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1388" y="3876675"/>
            <a:ext cx="24796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2" name="Picture 76">
            <a:extLst>
              <a:ext uri="{FF2B5EF4-FFF2-40B4-BE49-F238E27FC236}">
                <a16:creationId xmlns:a16="http://schemas.microsoft.com/office/drawing/2014/main" id="{1778A3E0-E7E2-4327-A2CD-133C2861F4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52" t="15906" r="12254" b="19577"/>
          <a:stretch>
            <a:fillRect/>
          </a:stretch>
        </p:blipFill>
        <p:spPr bwMode="auto">
          <a:xfrm>
            <a:off x="9636125" y="3636963"/>
            <a:ext cx="153035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3" name="Graphic 77">
            <a:extLst>
              <a:ext uri="{FF2B5EF4-FFF2-40B4-BE49-F238E27FC236}">
                <a16:creationId xmlns:a16="http://schemas.microsoft.com/office/drawing/2014/main" id="{1AF3133A-0393-40D8-A3EC-21AE4BD63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575" y="4370388"/>
            <a:ext cx="506413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4" name="Picture 16" descr="seeklogo.com/images/S/sonatrach-logo-E24636DAF2...">
            <a:extLst>
              <a:ext uri="{FF2B5EF4-FFF2-40B4-BE49-F238E27FC236}">
                <a16:creationId xmlns:a16="http://schemas.microsoft.com/office/drawing/2014/main" id="{DC164782-0C21-4D76-BF7F-48DE8A67C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188" y="3805238"/>
            <a:ext cx="709612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5" name="Picture 20" descr="Business Consulting - HR, CFO, IT, and Performance Advisory">
            <a:extLst>
              <a:ext uri="{FF2B5EF4-FFF2-40B4-BE49-F238E27FC236}">
                <a16:creationId xmlns:a16="http://schemas.microsoft.com/office/drawing/2014/main" id="{02C9FCF7-0A59-42E7-A5F8-4A6F3C8C0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663" y="4449763"/>
            <a:ext cx="1693862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6" name="Picture 23" descr="European Commission - Wikipedia">
            <a:extLst>
              <a:ext uri="{FF2B5EF4-FFF2-40B4-BE49-F238E27FC236}">
                <a16:creationId xmlns:a16="http://schemas.microsoft.com/office/drawing/2014/main" id="{35BB28D1-8315-4EA1-AD46-21B7EB91F6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7342" y="1027111"/>
            <a:ext cx="976312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7" name="Picture 27" descr="EPC Project Management Conference | 2020 Amsterdam | World Oil Energy Hub y">
            <a:extLst>
              <a:ext uri="{FF2B5EF4-FFF2-40B4-BE49-F238E27FC236}">
                <a16:creationId xmlns:a16="http://schemas.microsoft.com/office/drawing/2014/main" id="{45DCF4EF-20D7-4CE2-B7A0-38B353B31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738" y="4614863"/>
            <a:ext cx="1046162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8" name="Picture 29" descr="Kuwait Foreign Petroleum Exploration Company K.S.C. (KUFPEC)">
            <a:extLst>
              <a:ext uri="{FF2B5EF4-FFF2-40B4-BE49-F238E27FC236}">
                <a16:creationId xmlns:a16="http://schemas.microsoft.com/office/drawing/2014/main" id="{ABC0FF02-BDF7-40C5-B32A-96AE97C410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0766" y="5489575"/>
            <a:ext cx="1398588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69" name="Picture 32" descr="New project of Local Energy Market in the UK, N-SIDE is one of the partners  with Centrica ! | N-SIDE">
            <a:extLst>
              <a:ext uri="{FF2B5EF4-FFF2-40B4-BE49-F238E27FC236}">
                <a16:creationId xmlns:a16="http://schemas.microsoft.com/office/drawing/2014/main" id="{61C5DDDC-B4CE-4C68-A65A-6A3CF56562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350" y="4933950"/>
            <a:ext cx="18557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D63591F4-1069-49D1-8F42-6972023FF20C}"/>
              </a:ext>
            </a:extLst>
          </p:cNvPr>
          <p:cNvSpPr txBox="1">
            <a:spLocks/>
          </p:cNvSpPr>
          <p:nvPr/>
        </p:nvSpPr>
        <p:spPr>
          <a:xfrm>
            <a:off x="4989513" y="1141413"/>
            <a:ext cx="3686175" cy="27781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01599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defRPr kumimoji="1" lang="en-GB" sz="1800" b="1" kern="1200" cap="small" baseline="0" dirty="0">
                <a:solidFill>
                  <a:schemeClr val="tx2"/>
                </a:solidFill>
                <a:latin typeface="Graphik" panose="020B0503030202060203" pitchFamily="34" charset="0"/>
                <a:ea typeface="+mn-ea"/>
                <a:cs typeface="Arial" pitchFamily="34" charset="0"/>
              </a:defRPr>
            </a:lvl1pPr>
            <a:lvl2pPr marL="479995" indent="-239998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Source Sans Pro" panose="020B0503030403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93" indent="-239998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9990" indent="-239998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9988" indent="-239998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9397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6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96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95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sz="2160"/>
              <a:t>Sample of Client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5EC1606-5735-41D6-8F53-83EAFFEA62B6}"/>
              </a:ext>
            </a:extLst>
          </p:cNvPr>
          <p:cNvCxnSpPr>
            <a:cxnSpLocks/>
          </p:cNvCxnSpPr>
          <p:nvPr/>
        </p:nvCxnSpPr>
        <p:spPr>
          <a:xfrm>
            <a:off x="4672013" y="2727325"/>
            <a:ext cx="729297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1072B96-57B4-4173-9004-A92151649D2F}"/>
              </a:ext>
            </a:extLst>
          </p:cNvPr>
          <p:cNvCxnSpPr>
            <a:cxnSpLocks/>
          </p:cNvCxnSpPr>
          <p:nvPr/>
        </p:nvCxnSpPr>
        <p:spPr>
          <a:xfrm>
            <a:off x="4672013" y="3533775"/>
            <a:ext cx="729297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1A7274B7-8098-49F6-B4F0-00669F90FEED}"/>
              </a:ext>
            </a:extLst>
          </p:cNvPr>
          <p:cNvCxnSpPr>
            <a:cxnSpLocks/>
          </p:cNvCxnSpPr>
          <p:nvPr/>
        </p:nvCxnSpPr>
        <p:spPr>
          <a:xfrm>
            <a:off x="3219450" y="2054225"/>
            <a:ext cx="1452563" cy="6731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92AE2F6-E964-40E4-B1D1-BF81DD8791FE}"/>
              </a:ext>
            </a:extLst>
          </p:cNvPr>
          <p:cNvCxnSpPr>
            <a:cxnSpLocks/>
          </p:cNvCxnSpPr>
          <p:nvPr/>
        </p:nvCxnSpPr>
        <p:spPr>
          <a:xfrm>
            <a:off x="3238500" y="2747963"/>
            <a:ext cx="1433513" cy="785812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2472" name="Picture 8" descr="VRV Energies India Pvt Ltd - Home | Facebook">
            <a:extLst>
              <a:ext uri="{FF2B5EF4-FFF2-40B4-BE49-F238E27FC236}">
                <a16:creationId xmlns:a16="http://schemas.microsoft.com/office/drawing/2014/main" id="{17F17260-B808-4F73-8182-81472B0F54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3476" y="5128038"/>
            <a:ext cx="879474" cy="879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74" name="Picture 10" descr="Chart Industries - Crunchbase Company Profile &amp; Funding">
            <a:extLst>
              <a:ext uri="{FF2B5EF4-FFF2-40B4-BE49-F238E27FC236}">
                <a16:creationId xmlns:a16="http://schemas.microsoft.com/office/drawing/2014/main" id="{956BA10D-A7D1-4A15-AD82-450100AF8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1481" y="5364335"/>
            <a:ext cx="1917541" cy="65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76" name="Picture 12" descr="Tata Logo, HD Png, Meaning, Information">
            <a:extLst>
              <a:ext uri="{FF2B5EF4-FFF2-40B4-BE49-F238E27FC236}">
                <a16:creationId xmlns:a16="http://schemas.microsoft.com/office/drawing/2014/main" id="{510F22CB-76B4-4EAD-978D-C8F9E1C11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016" y="5191898"/>
            <a:ext cx="1380609" cy="773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1" name="Picture 17" descr="KBR (company) - Wikipedia">
            <a:extLst>
              <a:ext uri="{FF2B5EF4-FFF2-40B4-BE49-F238E27FC236}">
                <a16:creationId xmlns:a16="http://schemas.microsoft.com/office/drawing/2014/main" id="{58BBAD25-90D0-4D66-8FB4-E63CBEB14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6244" y="1083847"/>
            <a:ext cx="1071562" cy="59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301D793B-5CC7-4319-B42F-9C6011FA189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3439521"/>
              </p:ext>
            </p:extLst>
          </p:nvPr>
        </p:nvGraphicFramePr>
        <p:xfrm>
          <a:off x="8383334" y="348800"/>
          <a:ext cx="3672678" cy="656139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3672678">
                  <a:extLst>
                    <a:ext uri="{9D8B030D-6E8A-4147-A177-3AD203B41FA5}">
                      <a16:colId xmlns:a16="http://schemas.microsoft.com/office/drawing/2014/main" val="1876158583"/>
                    </a:ext>
                  </a:extLst>
                </a:gridCol>
              </a:tblGrid>
              <a:tr h="6239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u="none" strike="noStrike" dirty="0">
                          <a:effectLst/>
                        </a:rPr>
                        <a:t>1. </a:t>
                      </a:r>
                      <a:r>
                        <a:rPr lang="en-US" sz="1800" b="1" u="none" strike="noStrike" dirty="0">
                          <a:effectLst/>
                        </a:rPr>
                        <a:t>Process Engineering Support:</a:t>
                      </a: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endParaRPr lang="en-US" sz="1800" b="0" u="none" strike="noStrike" dirty="0">
                        <a:effectLst/>
                      </a:endParaRP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u="none" strike="noStrike" dirty="0">
                          <a:effectLst/>
                        </a:rPr>
                        <a:t>Check the proposed system design including line/vessel/ instrument/ safety device sizing &amp; develop the model.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u="none" strike="noStrike" dirty="0">
                          <a:effectLst/>
                        </a:rPr>
                        <a:t>From the model devolve a series of datasheets for each of the components.</a:t>
                      </a: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endParaRPr lang="en-US" sz="1800" b="0" u="none" strike="noStrike" dirty="0">
                        <a:effectLst/>
                      </a:endParaRP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US" sz="1800" b="0" u="none" strike="noStrike" dirty="0">
                          <a:effectLst/>
                        </a:rPr>
                        <a:t>2. </a:t>
                      </a:r>
                      <a:r>
                        <a:rPr lang="en-US" sz="1800" b="1" u="none" strike="noStrike" dirty="0">
                          <a:effectLst/>
                        </a:rPr>
                        <a:t>Technical Safety Support: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u="none" strike="noStrike" dirty="0">
                          <a:effectLst/>
                        </a:rPr>
                        <a:t>Map the required fire and gas system for the facility.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u="none" strike="noStrike" dirty="0">
                          <a:effectLst/>
                        </a:rPr>
                        <a:t>Prepare philosophy and diagram.</a:t>
                      </a:r>
                    </a:p>
                    <a:p>
                      <a:pPr algn="l" fontAlgn="ctr"/>
                      <a:endParaRPr lang="en-US" sz="1800" b="0" u="none" strike="noStrike" dirty="0">
                        <a:effectLst/>
                      </a:endParaRPr>
                    </a:p>
                    <a:p>
                      <a:pPr algn="l" fontAlgn="ctr"/>
                      <a:r>
                        <a:rPr lang="en-US" sz="1800" b="0" u="none" strike="noStrike" dirty="0">
                          <a:effectLst/>
                        </a:rPr>
                        <a:t>3. </a:t>
                      </a:r>
                      <a:r>
                        <a:rPr lang="en-US" sz="1800" b="1" u="none" strike="noStrike" dirty="0">
                          <a:effectLst/>
                        </a:rPr>
                        <a:t>Mechanical Engineering Support: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u="none" strike="noStrike" dirty="0">
                          <a:effectLst/>
                        </a:rPr>
                        <a:t>Provide technical analysis of material used for gaskets and fittings and suitability for hydrogen.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u="none" strike="noStrike" dirty="0">
                          <a:effectLst/>
                        </a:rPr>
                        <a:t>Prepare the equipment data sheet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endParaRPr lang="en-US" sz="1800" b="0" u="none" strike="noStrike" dirty="0">
                        <a:effectLst/>
                      </a:endParaRP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endParaRPr lang="en-US" sz="1800" b="0" u="none" strike="noStrike" dirty="0">
                        <a:effectLst/>
                      </a:endParaRP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endParaRPr lang="en-US" sz="1600" b="0" u="none" strike="noStrike" dirty="0">
                        <a:effectLst/>
                      </a:endParaRPr>
                    </a:p>
                  </a:txBody>
                  <a:tcPr marL="8190" marR="8190" marT="819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088275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C87A248-6D39-47D5-B612-A31D3127A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cess Desig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D33CC9-2B0E-47FA-8913-12AFFE55D8B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9383" y="348800"/>
            <a:ext cx="4642046" cy="486692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>
            <a:normAutofit/>
          </a:bodyPr>
          <a:lstStyle/>
          <a:p>
            <a:pPr algn="ctr"/>
            <a:r>
              <a:rPr lang="en-IN" dirty="0"/>
              <a:t>What we Deliv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A1F020-ABA7-4A09-83E3-0F906A585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680" y="1174377"/>
            <a:ext cx="7815749" cy="541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9400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8A6BD5-E4BA-4E97-A2D7-F2B041632A3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19" name="[T2O] TextBox 13">
            <a:extLst>
              <a:ext uri="{FF2B5EF4-FFF2-40B4-BE49-F238E27FC236}">
                <a16:creationId xmlns:a16="http://schemas.microsoft.com/office/drawing/2014/main" id="{3D976891-785D-44CB-9B81-B7EDE84675F4}"/>
              </a:ext>
            </a:extLst>
          </p:cNvPr>
          <p:cNvSpPr/>
          <p:nvPr/>
        </p:nvSpPr>
        <p:spPr>
          <a:xfrm>
            <a:off x="416292" y="494231"/>
            <a:ext cx="2960460" cy="2449582"/>
          </a:xfrm>
          <a:custGeom>
            <a:avLst/>
            <a:gdLst/>
            <a:ahLst/>
            <a:cxnLst/>
            <a:rect l="l" t="t" r="r" b="b"/>
            <a:pathLst>
              <a:path w="460667" h="381171">
                <a:moveTo>
                  <a:pt x="423976" y="0"/>
                </a:moveTo>
                <a:lnTo>
                  <a:pt x="460667" y="75419"/>
                </a:lnTo>
                <a:cubicBezTo>
                  <a:pt x="428053" y="89687"/>
                  <a:pt x="403593" y="107183"/>
                  <a:pt x="387286" y="127906"/>
                </a:cubicBezTo>
                <a:cubicBezTo>
                  <a:pt x="370979" y="148629"/>
                  <a:pt x="362826" y="174278"/>
                  <a:pt x="362826" y="204854"/>
                </a:cubicBezTo>
                <a:cubicBezTo>
                  <a:pt x="364864" y="204174"/>
                  <a:pt x="368261" y="203835"/>
                  <a:pt x="373018" y="203835"/>
                </a:cubicBezTo>
                <a:cubicBezTo>
                  <a:pt x="397478" y="203835"/>
                  <a:pt x="418201" y="211309"/>
                  <a:pt x="435187" y="226256"/>
                </a:cubicBezTo>
                <a:cubicBezTo>
                  <a:pt x="452174" y="241204"/>
                  <a:pt x="460667" y="261588"/>
                  <a:pt x="460667" y="287407"/>
                </a:cubicBezTo>
                <a:cubicBezTo>
                  <a:pt x="460667" y="315944"/>
                  <a:pt x="452513" y="338705"/>
                  <a:pt x="436207" y="355692"/>
                </a:cubicBezTo>
                <a:cubicBezTo>
                  <a:pt x="419900" y="372678"/>
                  <a:pt x="398837" y="381171"/>
                  <a:pt x="373018" y="381171"/>
                </a:cubicBezTo>
                <a:cubicBezTo>
                  <a:pt x="337007" y="381171"/>
                  <a:pt x="309999" y="368092"/>
                  <a:pt x="291993" y="341933"/>
                </a:cubicBezTo>
                <a:cubicBezTo>
                  <a:pt x="273988" y="315774"/>
                  <a:pt x="264985" y="279254"/>
                  <a:pt x="264985" y="232371"/>
                </a:cubicBezTo>
                <a:cubicBezTo>
                  <a:pt x="264985" y="181413"/>
                  <a:pt x="277895" y="136399"/>
                  <a:pt x="303714" y="97331"/>
                </a:cubicBezTo>
                <a:cubicBezTo>
                  <a:pt x="329533" y="58262"/>
                  <a:pt x="369620" y="25819"/>
                  <a:pt x="423976" y="0"/>
                </a:cubicBezTo>
                <a:close/>
                <a:moveTo>
                  <a:pt x="158991" y="0"/>
                </a:moveTo>
                <a:lnTo>
                  <a:pt x="195681" y="75419"/>
                </a:lnTo>
                <a:cubicBezTo>
                  <a:pt x="163068" y="89687"/>
                  <a:pt x="138607" y="107183"/>
                  <a:pt x="122301" y="127906"/>
                </a:cubicBezTo>
                <a:cubicBezTo>
                  <a:pt x="105994" y="148629"/>
                  <a:pt x="97840" y="174278"/>
                  <a:pt x="97840" y="204854"/>
                </a:cubicBezTo>
                <a:cubicBezTo>
                  <a:pt x="99879" y="204174"/>
                  <a:pt x="103276" y="203835"/>
                  <a:pt x="108032" y="203835"/>
                </a:cubicBezTo>
                <a:cubicBezTo>
                  <a:pt x="132492" y="203835"/>
                  <a:pt x="153216" y="211309"/>
                  <a:pt x="170202" y="226256"/>
                </a:cubicBezTo>
                <a:cubicBezTo>
                  <a:pt x="187188" y="241204"/>
                  <a:pt x="195681" y="261588"/>
                  <a:pt x="195681" y="287407"/>
                </a:cubicBezTo>
                <a:cubicBezTo>
                  <a:pt x="195681" y="315944"/>
                  <a:pt x="187528" y="338705"/>
                  <a:pt x="171221" y="355692"/>
                </a:cubicBezTo>
                <a:cubicBezTo>
                  <a:pt x="154914" y="372678"/>
                  <a:pt x="133851" y="381171"/>
                  <a:pt x="108032" y="381171"/>
                </a:cubicBezTo>
                <a:cubicBezTo>
                  <a:pt x="72022" y="381171"/>
                  <a:pt x="45013" y="368092"/>
                  <a:pt x="27008" y="341933"/>
                </a:cubicBezTo>
                <a:cubicBezTo>
                  <a:pt x="9002" y="315774"/>
                  <a:pt x="0" y="279254"/>
                  <a:pt x="0" y="232371"/>
                </a:cubicBezTo>
                <a:cubicBezTo>
                  <a:pt x="0" y="181413"/>
                  <a:pt x="12909" y="136399"/>
                  <a:pt x="38728" y="97331"/>
                </a:cubicBezTo>
                <a:cubicBezTo>
                  <a:pt x="64547" y="58262"/>
                  <a:pt x="104635" y="25819"/>
                  <a:pt x="158991" y="0"/>
                </a:cubicBezTo>
                <a:close/>
              </a:path>
            </a:pathLst>
          </a:custGeom>
          <a:solidFill>
            <a:schemeClr val="bg1">
              <a:alpha val="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3" name="[T2O] TextBox 13">
            <a:extLst>
              <a:ext uri="{FF2B5EF4-FFF2-40B4-BE49-F238E27FC236}">
                <a16:creationId xmlns:a16="http://schemas.microsoft.com/office/drawing/2014/main" id="{A473C066-2175-42CF-BC57-B93F7889BDDD}"/>
              </a:ext>
            </a:extLst>
          </p:cNvPr>
          <p:cNvSpPr/>
          <p:nvPr/>
        </p:nvSpPr>
        <p:spPr>
          <a:xfrm rot="10800000">
            <a:off x="4357425" y="3488665"/>
            <a:ext cx="2960460" cy="2449582"/>
          </a:xfrm>
          <a:custGeom>
            <a:avLst/>
            <a:gdLst/>
            <a:ahLst/>
            <a:cxnLst/>
            <a:rect l="l" t="t" r="r" b="b"/>
            <a:pathLst>
              <a:path w="460667" h="381171">
                <a:moveTo>
                  <a:pt x="423976" y="0"/>
                </a:moveTo>
                <a:lnTo>
                  <a:pt x="460667" y="75419"/>
                </a:lnTo>
                <a:cubicBezTo>
                  <a:pt x="428053" y="89687"/>
                  <a:pt x="403593" y="107183"/>
                  <a:pt x="387286" y="127906"/>
                </a:cubicBezTo>
                <a:cubicBezTo>
                  <a:pt x="370979" y="148629"/>
                  <a:pt x="362826" y="174278"/>
                  <a:pt x="362826" y="204854"/>
                </a:cubicBezTo>
                <a:cubicBezTo>
                  <a:pt x="364864" y="204174"/>
                  <a:pt x="368261" y="203835"/>
                  <a:pt x="373018" y="203835"/>
                </a:cubicBezTo>
                <a:cubicBezTo>
                  <a:pt x="397478" y="203835"/>
                  <a:pt x="418201" y="211309"/>
                  <a:pt x="435187" y="226256"/>
                </a:cubicBezTo>
                <a:cubicBezTo>
                  <a:pt x="452174" y="241204"/>
                  <a:pt x="460667" y="261588"/>
                  <a:pt x="460667" y="287407"/>
                </a:cubicBezTo>
                <a:cubicBezTo>
                  <a:pt x="460667" y="315944"/>
                  <a:pt x="452513" y="338705"/>
                  <a:pt x="436207" y="355692"/>
                </a:cubicBezTo>
                <a:cubicBezTo>
                  <a:pt x="419900" y="372678"/>
                  <a:pt x="398837" y="381171"/>
                  <a:pt x="373018" y="381171"/>
                </a:cubicBezTo>
                <a:cubicBezTo>
                  <a:pt x="337007" y="381171"/>
                  <a:pt x="309999" y="368092"/>
                  <a:pt x="291993" y="341933"/>
                </a:cubicBezTo>
                <a:cubicBezTo>
                  <a:pt x="273988" y="315774"/>
                  <a:pt x="264985" y="279254"/>
                  <a:pt x="264985" y="232371"/>
                </a:cubicBezTo>
                <a:cubicBezTo>
                  <a:pt x="264985" y="181413"/>
                  <a:pt x="277895" y="136399"/>
                  <a:pt x="303714" y="97331"/>
                </a:cubicBezTo>
                <a:cubicBezTo>
                  <a:pt x="329533" y="58262"/>
                  <a:pt x="369620" y="25819"/>
                  <a:pt x="423976" y="0"/>
                </a:cubicBezTo>
                <a:close/>
                <a:moveTo>
                  <a:pt x="158991" y="0"/>
                </a:moveTo>
                <a:lnTo>
                  <a:pt x="195681" y="75419"/>
                </a:lnTo>
                <a:cubicBezTo>
                  <a:pt x="163068" y="89687"/>
                  <a:pt x="138607" y="107183"/>
                  <a:pt x="122301" y="127906"/>
                </a:cubicBezTo>
                <a:cubicBezTo>
                  <a:pt x="105994" y="148629"/>
                  <a:pt x="97840" y="174278"/>
                  <a:pt x="97840" y="204854"/>
                </a:cubicBezTo>
                <a:cubicBezTo>
                  <a:pt x="99879" y="204174"/>
                  <a:pt x="103276" y="203835"/>
                  <a:pt x="108032" y="203835"/>
                </a:cubicBezTo>
                <a:cubicBezTo>
                  <a:pt x="132492" y="203835"/>
                  <a:pt x="153216" y="211309"/>
                  <a:pt x="170202" y="226256"/>
                </a:cubicBezTo>
                <a:cubicBezTo>
                  <a:pt x="187188" y="241204"/>
                  <a:pt x="195681" y="261588"/>
                  <a:pt x="195681" y="287407"/>
                </a:cubicBezTo>
                <a:cubicBezTo>
                  <a:pt x="195681" y="315944"/>
                  <a:pt x="187528" y="338705"/>
                  <a:pt x="171221" y="355692"/>
                </a:cubicBezTo>
                <a:cubicBezTo>
                  <a:pt x="154914" y="372678"/>
                  <a:pt x="133851" y="381171"/>
                  <a:pt x="108032" y="381171"/>
                </a:cubicBezTo>
                <a:cubicBezTo>
                  <a:pt x="72022" y="381171"/>
                  <a:pt x="45013" y="368092"/>
                  <a:pt x="27008" y="341933"/>
                </a:cubicBezTo>
                <a:cubicBezTo>
                  <a:pt x="9002" y="315774"/>
                  <a:pt x="0" y="279254"/>
                  <a:pt x="0" y="232371"/>
                </a:cubicBezTo>
                <a:cubicBezTo>
                  <a:pt x="0" y="181413"/>
                  <a:pt x="12909" y="136399"/>
                  <a:pt x="38728" y="97331"/>
                </a:cubicBezTo>
                <a:cubicBezTo>
                  <a:pt x="64547" y="58262"/>
                  <a:pt x="104635" y="25819"/>
                  <a:pt x="158991" y="0"/>
                </a:cubicBezTo>
                <a:close/>
              </a:path>
            </a:pathLst>
          </a:custGeom>
          <a:solidFill>
            <a:schemeClr val="bg1">
              <a:alpha val="6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GB" sz="1600" b="1" dirty="0">
              <a:solidFill>
                <a:schemeClr val="bg1"/>
              </a:solidFill>
            </a:endParaRP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3DB0A91-B09C-47EE-BC7C-2D5FD64A3C2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" r="52534"/>
          <a:stretch/>
        </p:blipFill>
        <p:spPr>
          <a:xfrm>
            <a:off x="6595554" y="0"/>
            <a:ext cx="5596446" cy="6858000"/>
          </a:xfrm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EFE6FD8D-A4EF-4A6C-BEF6-1FAEDA1DE9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993977"/>
              </p:ext>
            </p:extLst>
          </p:nvPr>
        </p:nvGraphicFramePr>
        <p:xfrm>
          <a:off x="227348" y="494231"/>
          <a:ext cx="7416824" cy="51670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83165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5587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36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/>
              <a:ea typeface="+mn-ea"/>
              <a:cs typeface="+mn-cs"/>
              <a:sym typeface="Source Sans Pro" panose="020B05030304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How we can support The Project – </a:t>
            </a:r>
            <a:r>
              <a:rPr lang="en-GB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WNERS/Investor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58956" y="857940"/>
            <a:ext cx="11231033" cy="581026"/>
          </a:xfrm>
        </p:spPr>
        <p:txBody>
          <a:bodyPr/>
          <a:lstStyle/>
          <a:p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Project Lifecycle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45532F0-021A-BD42-B4EC-EED376B0A302}"/>
              </a:ext>
            </a:extLst>
          </p:cNvPr>
          <p:cNvSpPr/>
          <p:nvPr/>
        </p:nvSpPr>
        <p:spPr>
          <a:xfrm>
            <a:off x="1945922" y="1733073"/>
            <a:ext cx="2128048" cy="77602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nitiation &amp; Planning</a:t>
            </a:r>
            <a:endParaRPr kumimoji="0" lang="en-US" sz="9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91F2BCB-8C9D-5A44-8741-E94A6577A081}"/>
              </a:ext>
            </a:extLst>
          </p:cNvPr>
          <p:cNvSpPr/>
          <p:nvPr/>
        </p:nvSpPr>
        <p:spPr>
          <a:xfrm>
            <a:off x="4517925" y="1731141"/>
            <a:ext cx="2128051" cy="7760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sign</a:t>
            </a:r>
            <a:endParaRPr kumimoji="0" lang="en-US" sz="168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9C55FA0-726A-C54C-BD0C-9AF6DD6E7C51}"/>
              </a:ext>
            </a:extLst>
          </p:cNvPr>
          <p:cNvSpPr/>
          <p:nvPr/>
        </p:nvSpPr>
        <p:spPr>
          <a:xfrm>
            <a:off x="7089930" y="1733073"/>
            <a:ext cx="2128051" cy="776027"/>
          </a:xfrm>
          <a:prstGeom prst="roundRect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Build</a:t>
            </a:r>
            <a:endParaRPr kumimoji="0" lang="en-US" sz="168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28EE6D9-4A57-074C-B6D4-B9683A2C3EEE}"/>
              </a:ext>
            </a:extLst>
          </p:cNvPr>
          <p:cNvSpPr/>
          <p:nvPr/>
        </p:nvSpPr>
        <p:spPr>
          <a:xfrm>
            <a:off x="9661939" y="1733254"/>
            <a:ext cx="2128054" cy="776028"/>
          </a:xfrm>
          <a:prstGeom prst="roundRect">
            <a:avLst/>
          </a:prstGeom>
          <a:solidFill>
            <a:schemeClr val="accent2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tart-up and Operations</a:t>
            </a:r>
            <a:endParaRPr kumimoji="0" lang="en-US" sz="168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FD89D1-E21D-DD45-8EE9-64CFFD8662D0}"/>
              </a:ext>
            </a:extLst>
          </p:cNvPr>
          <p:cNvSpPr/>
          <p:nvPr/>
        </p:nvSpPr>
        <p:spPr>
          <a:xfrm>
            <a:off x="142945" y="2722350"/>
            <a:ext cx="1508054" cy="581026"/>
          </a:xfrm>
          <a:prstGeom prst="rect">
            <a:avLst/>
          </a:prstGeom>
          <a:solidFill>
            <a:schemeClr val="bg1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trategy</a:t>
            </a:r>
            <a:endParaRPr kumimoji="0" lang="en-US" sz="168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EE48B4D-294A-CD4A-A4A7-577EB62F6FFF}"/>
              </a:ext>
            </a:extLst>
          </p:cNvPr>
          <p:cNvSpPr/>
          <p:nvPr/>
        </p:nvSpPr>
        <p:spPr>
          <a:xfrm>
            <a:off x="142945" y="3732943"/>
            <a:ext cx="1508054" cy="58102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mpliance</a:t>
            </a:r>
            <a:endParaRPr kumimoji="0" lang="en-US" sz="168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79E386C-7C15-5944-923A-CE3902FCA00C}"/>
              </a:ext>
            </a:extLst>
          </p:cNvPr>
          <p:cNvSpPr/>
          <p:nvPr/>
        </p:nvSpPr>
        <p:spPr>
          <a:xfrm>
            <a:off x="142945" y="4743536"/>
            <a:ext cx="1508054" cy="58102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Measure</a:t>
            </a:r>
            <a:endParaRPr kumimoji="0" lang="en-US" sz="168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5BA6E4-E71E-F245-9E33-D1A17F7430B8}"/>
              </a:ext>
            </a:extLst>
          </p:cNvPr>
          <p:cNvSpPr/>
          <p:nvPr/>
        </p:nvSpPr>
        <p:spPr>
          <a:xfrm>
            <a:off x="142945" y="5754129"/>
            <a:ext cx="1508054" cy="58102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Optimise</a:t>
            </a:r>
            <a:endParaRPr kumimoji="0" lang="en-US" sz="168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33577B23-FDEB-BE43-96EB-12644902A5A7}"/>
              </a:ext>
            </a:extLst>
          </p:cNvPr>
          <p:cNvCxnSpPr>
            <a:cxnSpLocks/>
          </p:cNvCxnSpPr>
          <p:nvPr/>
        </p:nvCxnSpPr>
        <p:spPr>
          <a:xfrm>
            <a:off x="145475" y="4548347"/>
            <a:ext cx="11763305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3369B96-E117-B941-BE59-30C459F2DD85}"/>
              </a:ext>
            </a:extLst>
          </p:cNvPr>
          <p:cNvCxnSpPr>
            <a:cxnSpLocks/>
          </p:cNvCxnSpPr>
          <p:nvPr/>
        </p:nvCxnSpPr>
        <p:spPr>
          <a:xfrm>
            <a:off x="148004" y="5577893"/>
            <a:ext cx="11763305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8E4C4EC2-D826-FC46-A01F-B591E3BCBF59}"/>
              </a:ext>
            </a:extLst>
          </p:cNvPr>
          <p:cNvCxnSpPr>
            <a:cxnSpLocks/>
            <a:stCxn id="16" idx="3"/>
            <a:endCxn id="18" idx="1"/>
          </p:cNvCxnSpPr>
          <p:nvPr/>
        </p:nvCxnSpPr>
        <p:spPr>
          <a:xfrm flipV="1">
            <a:off x="4073969" y="2119154"/>
            <a:ext cx="443956" cy="19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293084AA-D319-0649-9F79-27AECAB2572A}"/>
              </a:ext>
            </a:extLst>
          </p:cNvPr>
          <p:cNvCxnSpPr>
            <a:cxnSpLocks/>
            <a:stCxn id="18" idx="3"/>
            <a:endCxn id="20" idx="1"/>
          </p:cNvCxnSpPr>
          <p:nvPr/>
        </p:nvCxnSpPr>
        <p:spPr>
          <a:xfrm>
            <a:off x="6645976" y="2119154"/>
            <a:ext cx="443954" cy="19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A30E639C-A399-B74D-9FE5-F1A3EB896705}"/>
              </a:ext>
            </a:extLst>
          </p:cNvPr>
          <p:cNvCxnSpPr>
            <a:cxnSpLocks/>
            <a:stCxn id="20" idx="3"/>
            <a:endCxn id="22" idx="1"/>
          </p:cNvCxnSpPr>
          <p:nvPr/>
        </p:nvCxnSpPr>
        <p:spPr>
          <a:xfrm>
            <a:off x="9217982" y="2121087"/>
            <a:ext cx="443958" cy="1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235F0560-6EC6-8048-8CA4-E7AA171D2C4B}"/>
              </a:ext>
            </a:extLst>
          </p:cNvPr>
          <p:cNvSpPr/>
          <p:nvPr/>
        </p:nvSpPr>
        <p:spPr>
          <a:xfrm>
            <a:off x="1945923" y="3679487"/>
            <a:ext cx="2128046" cy="772926"/>
          </a:xfrm>
          <a:prstGeom prst="roundRect">
            <a:avLst/>
          </a:prstGeom>
          <a:solidFill>
            <a:srgbClr val="FFFFFF"/>
          </a:solidFill>
          <a:ln w="25400">
            <a:solidFill>
              <a:srgbClr val="00B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et PMC, Technology Providers &amp; contractor quality requirement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46573A38-DB49-8B47-8773-C0C5F2B8FC24}"/>
              </a:ext>
            </a:extLst>
          </p:cNvPr>
          <p:cNvSpPr/>
          <p:nvPr/>
        </p:nvSpPr>
        <p:spPr>
          <a:xfrm>
            <a:off x="4517925" y="4692176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udit engineering processes, management of design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1B87DC38-16C0-AD45-838C-5FD201B856EF}"/>
              </a:ext>
            </a:extLst>
          </p:cNvPr>
          <p:cNvSpPr/>
          <p:nvPr/>
        </p:nvSpPr>
        <p:spPr>
          <a:xfrm>
            <a:off x="7089935" y="5710463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Tailored safety management system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3CBCDC6E-3B19-C142-B1A3-06C713AAD575}"/>
              </a:ext>
            </a:extLst>
          </p:cNvPr>
          <p:cNvSpPr/>
          <p:nvPr/>
        </p:nvSpPr>
        <p:spPr>
          <a:xfrm>
            <a:off x="9661945" y="2635066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mmissioning plans, operating and maintenance procedure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33038C78-5A8F-2649-8C68-9C9B6F6557B7}"/>
              </a:ext>
            </a:extLst>
          </p:cNvPr>
          <p:cNvSpPr/>
          <p:nvPr/>
        </p:nvSpPr>
        <p:spPr>
          <a:xfrm>
            <a:off x="4517925" y="3686521"/>
            <a:ext cx="2128046" cy="765755"/>
          </a:xfrm>
          <a:prstGeom prst="roundRect">
            <a:avLst/>
          </a:prstGeom>
          <a:solidFill>
            <a:schemeClr val="bg1"/>
          </a:solidFill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tailed design compliance, regulatory compliance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27F75037-F39D-194B-A67D-527CFA53C848}"/>
              </a:ext>
            </a:extLst>
          </p:cNvPr>
          <p:cNvSpPr/>
          <p:nvPr/>
        </p:nvSpPr>
        <p:spPr>
          <a:xfrm>
            <a:off x="7089935" y="3671906"/>
            <a:ext cx="2128046" cy="765755"/>
          </a:xfrm>
          <a:prstGeom prst="roundRect">
            <a:avLst/>
          </a:prstGeom>
          <a:solidFill>
            <a:schemeClr val="bg1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nsure Supply chain and construction quality</a:t>
            </a:r>
            <a:endParaRPr kumimoji="0" lang="en-US" sz="132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FF29CA96-FA09-264A-8F0F-A29F9F486CF6}"/>
              </a:ext>
            </a:extLst>
          </p:cNvPr>
          <p:cNvSpPr/>
          <p:nvPr/>
        </p:nvSpPr>
        <p:spPr>
          <a:xfrm>
            <a:off x="9661943" y="3671729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re-start-up Safety Review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09AED690-8F75-1C4B-A7BF-3AD4FE7050F8}"/>
              </a:ext>
            </a:extLst>
          </p:cNvPr>
          <p:cNvSpPr/>
          <p:nvPr/>
        </p:nvSpPr>
        <p:spPr>
          <a:xfrm>
            <a:off x="7089935" y="4685473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ssess effectiveness of project QA and QC</a:t>
            </a:r>
            <a:endParaRPr kumimoji="0" lang="en-US" sz="132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146B659C-8240-E24E-8DA4-FEA658B62B0D}"/>
              </a:ext>
            </a:extLst>
          </p:cNvPr>
          <p:cNvSpPr/>
          <p:nvPr/>
        </p:nvSpPr>
        <p:spPr>
          <a:xfrm>
            <a:off x="9661943" y="4635903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roject milestone health check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476577C3-A9DF-B944-A4B4-8389A990A16E}"/>
              </a:ext>
            </a:extLst>
          </p:cNvPr>
          <p:cNvSpPr/>
          <p:nvPr/>
        </p:nvSpPr>
        <p:spPr>
          <a:xfrm>
            <a:off x="9661943" y="5714077"/>
            <a:ext cx="2128046" cy="765755"/>
          </a:xfrm>
          <a:prstGeom prst="roundRect">
            <a:avLst/>
          </a:prstGeom>
          <a:solidFill>
            <a:schemeClr val="bg1"/>
          </a:solidFill>
          <a:ln w="254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mpleteness of project data carried forward to operations</a:t>
            </a:r>
            <a:endParaRPr kumimoji="0" lang="en-US" sz="132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FE20865C-BA5D-DB47-A80D-905CD898A2A9}"/>
              </a:ext>
            </a:extLst>
          </p:cNvPr>
          <p:cNvCxnSpPr>
            <a:cxnSpLocks/>
          </p:cNvCxnSpPr>
          <p:nvPr/>
        </p:nvCxnSpPr>
        <p:spPr>
          <a:xfrm>
            <a:off x="142945" y="3577644"/>
            <a:ext cx="11763305" cy="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394410C-5564-4DF9-A016-DDD2FF3CC8C4}"/>
              </a:ext>
            </a:extLst>
          </p:cNvPr>
          <p:cNvSpPr/>
          <p:nvPr/>
        </p:nvSpPr>
        <p:spPr>
          <a:xfrm>
            <a:off x="1945923" y="4681808"/>
            <a:ext cx="2128046" cy="772926"/>
          </a:xfrm>
          <a:prstGeom prst="roundRect">
            <a:avLst/>
          </a:prstGeom>
          <a:solidFill>
            <a:srgbClr val="FFFFFF"/>
          </a:solidFill>
          <a:ln w="25400">
            <a:solidFill>
              <a:srgbClr val="00B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stablish quality goal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D55A14B2-E3B3-463E-91B9-DF77D77F1759}"/>
              </a:ext>
            </a:extLst>
          </p:cNvPr>
          <p:cNvSpPr/>
          <p:nvPr/>
        </p:nvSpPr>
        <p:spPr>
          <a:xfrm>
            <a:off x="1945923" y="5715776"/>
            <a:ext cx="2128046" cy="772926"/>
          </a:xfrm>
          <a:prstGeom prst="roundRect">
            <a:avLst/>
          </a:prstGeom>
          <a:solidFill>
            <a:srgbClr val="FFFFFF"/>
          </a:solidFill>
          <a:ln w="25400">
            <a:solidFill>
              <a:srgbClr val="00B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Best practice project management and risk management processe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F1E31C9F-AA68-4182-81B2-C358EABCAF4E}"/>
              </a:ext>
            </a:extLst>
          </p:cNvPr>
          <p:cNvSpPr/>
          <p:nvPr/>
        </p:nvSpPr>
        <p:spPr>
          <a:xfrm>
            <a:off x="1945923" y="2656066"/>
            <a:ext cx="2128046" cy="772926"/>
          </a:xfrm>
          <a:prstGeom prst="roundRect">
            <a:avLst/>
          </a:prstGeom>
          <a:solidFill>
            <a:srgbClr val="FFFFFF"/>
          </a:solidFill>
          <a:ln w="25400">
            <a:solidFill>
              <a:srgbClr val="00B3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stablish contracting and execution strategie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EB2DF43-40C2-48F3-9E46-23C6A3AD0700}"/>
              </a:ext>
            </a:extLst>
          </p:cNvPr>
          <p:cNvSpPr/>
          <p:nvPr/>
        </p:nvSpPr>
        <p:spPr>
          <a:xfrm>
            <a:off x="4517925" y="5726150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Using safety studies to reduce risk and optimise layout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08B9581-DEB0-4BEF-8F07-FEA26D545A0B}"/>
              </a:ext>
            </a:extLst>
          </p:cNvPr>
          <p:cNvSpPr/>
          <p:nvPr/>
        </p:nvSpPr>
        <p:spPr>
          <a:xfrm>
            <a:off x="4517924" y="2645333"/>
            <a:ext cx="2128048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sign basis review – optimised detailed design methodologies/plans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5BF68F3-8B30-4BB6-8885-65B6999296E9}"/>
              </a:ext>
            </a:extLst>
          </p:cNvPr>
          <p:cNvSpPr/>
          <p:nvPr/>
        </p:nvSpPr>
        <p:spPr>
          <a:xfrm>
            <a:off x="7089935" y="2640200"/>
            <a:ext cx="2128046" cy="765755"/>
          </a:xfrm>
          <a:prstGeom prst="roundRect">
            <a:avLst/>
          </a:prstGeom>
          <a:solidFill>
            <a:srgbClr val="FFFFFF"/>
          </a:solidFill>
          <a:ln w="254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558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upply chain and construction quality assurance strategy</a:t>
            </a:r>
            <a:endParaRPr kumimoji="0" lang="en-US" sz="132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6011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F40E0-CC8E-48AC-9636-3458CD84EF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6725" y="2336800"/>
            <a:ext cx="11198225" cy="2919413"/>
          </a:xfrm>
        </p:spPr>
        <p:txBody>
          <a:bodyPr rtlCol="0">
            <a:noAutofit/>
          </a:bodyPr>
          <a:lstStyle/>
          <a:p>
            <a:pPr lvl="1">
              <a:defRPr/>
            </a:pPr>
            <a:r>
              <a:rPr lang="en-US" sz="1800" b="1" kern="1200" dirty="0">
                <a:solidFill>
                  <a:schemeClr val="tx2"/>
                </a:solidFill>
                <a:uFill>
                  <a:solidFill>
                    <a:schemeClr val="tx2"/>
                  </a:solidFill>
                </a:uFill>
                <a:ea typeface="+mj-ea"/>
                <a:cs typeface="+mj-cs"/>
              </a:rPr>
              <a:t>Experience in Hydrogen </a:t>
            </a:r>
            <a:br>
              <a:rPr lang="en-US" sz="1800" dirty="0"/>
            </a:br>
            <a:br>
              <a:rPr lang="en-US" sz="1800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sz="1200" dirty="0">
                <a:uFill>
                  <a:solidFill>
                    <a:schemeClr val="tx2"/>
                  </a:solidFill>
                </a:uFill>
              </a:rPr>
            </a:br>
            <a:br>
              <a:rPr lang="en-US" sz="1200" dirty="0">
                <a:uFill>
                  <a:solidFill>
                    <a:schemeClr val="tx2"/>
                  </a:solidFill>
                </a:uFill>
              </a:rPr>
            </a:br>
            <a:br>
              <a:rPr lang="en-GB" sz="1200" dirty="0">
                <a:uFill>
                  <a:solidFill>
                    <a:schemeClr val="tx2"/>
                  </a:solidFill>
                </a:uFill>
              </a:rPr>
            </a:br>
            <a:br>
              <a:rPr lang="en-GB" sz="1200" dirty="0">
                <a:solidFill>
                  <a:srgbClr val="808080"/>
                </a:solidFill>
                <a:latin typeface="Corbel" panose="020B0503020204020204" pitchFamily="34" charset="0"/>
              </a:rPr>
            </a:br>
            <a:br>
              <a:rPr lang="en-US" sz="1200" dirty="0">
                <a:uFill>
                  <a:solidFill>
                    <a:schemeClr val="tx2"/>
                  </a:solidFill>
                </a:uFill>
              </a:rPr>
            </a:br>
            <a:endParaRPr lang="en-GB" sz="1200" dirty="0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58EBB468-B38C-432B-988E-9F37215B51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311" y="3662363"/>
            <a:ext cx="3933825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7032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732C9847-FD61-4A72-A0A1-6AAC2874215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1175" y="862013"/>
          <a:ext cx="10709275" cy="5448298"/>
        </p:xfrm>
        <a:graphic>
          <a:graphicData uri="http://schemas.openxmlformats.org/drawingml/2006/table">
            <a:tbl>
              <a:tblPr/>
              <a:tblGrid>
                <a:gridCol w="2695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7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11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49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5530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ame of Client </a:t>
                      </a:r>
                      <a:endParaRPr kumimoji="0" lang="en-IN" altLang="en-US" sz="1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Location</a:t>
                      </a:r>
                      <a:endParaRPr kumimoji="0" lang="en-IN" altLang="en-US" sz="1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Scope of Work </a:t>
                      </a:r>
                      <a:endParaRPr kumimoji="0" lang="en-IN" altLang="en-US" sz="1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Date</a:t>
                      </a:r>
                      <a:endParaRPr kumimoji="0" lang="en-IN" altLang="en-US" sz="1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520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Total Energies Gas Mobility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Design Appraisal, Inspection and Certification of refuelling station according PED 2014/68/EU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2022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520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Alliander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Design Appraisal, Inspection and Certification of Electrolyser skid according PED 2014/68/EU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2022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520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Hydron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Design Appraisal, Inspection and Certification of Electrolyser according PED 2014/68/EU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2021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520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Air Products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Design Appraisal, Inspection and Certification of Hydrogen pipeline according PED 2014/68/EU and partly NEN3650.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2021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56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GHD Group Pty Limited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Australia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Inspection of Hydrogen Pressure vessels as per AS 3788 section 4.2- for LAVO project - Using solar energy for H2 production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2021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520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este Netherlands B.V.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Design Appraisal of Pressure Equipment for New built of Green hydrogen pilot plant on Maasvlakte Rotterdam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2021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C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520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Total Energies Gas Mobility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Design Appraisal, Inspection and Certification of refuelling station according PED 2014/68/EU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</a:defRPr>
                      </a:lvl1pPr>
                      <a:lvl2pPr marL="742950" indent="-28575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 b="1">
                          <a:solidFill>
                            <a:schemeClr val="tx2"/>
                          </a:solidFill>
                          <a:latin typeface="Source Sans Pro Black" panose="020B08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2pPr>
                      <a:lvl3pPr marL="11430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600">
                          <a:solidFill>
                            <a:schemeClr val="tx2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3pPr>
                      <a:lvl4pPr marL="16002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4pPr>
                      <a:lvl5pPr marL="2057400" indent="-228600">
                        <a:lnSpc>
                          <a:spcPct val="120000"/>
                        </a:lnSpc>
                        <a:spcBef>
                          <a:spcPts val="5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12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Source Sans Pro" panose="020B0503030403020204" pitchFamily="34" charset="0"/>
                          <a:ea typeface="Source Sans Pro Black" panose="020B0803030403020204" pitchFamily="34" charset="0"/>
                          <a:cs typeface="Source Sans Pro Black" panose="020B0803030403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Times New Roman" panose="02020603050405020304" pitchFamily="18" charset="0"/>
                        </a:rPr>
                        <a:t>2021</a:t>
                      </a:r>
                      <a:endParaRPr kumimoji="0" lang="en-IN" alt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A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20A6394-935F-46DE-AC9C-A4275E061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177800"/>
            <a:ext cx="10956925" cy="825500"/>
          </a:xfrm>
        </p:spPr>
        <p:txBody>
          <a:bodyPr/>
          <a:lstStyle/>
          <a:p>
            <a:pPr>
              <a:defRPr/>
            </a:pPr>
            <a:r>
              <a:rPr lang="en-IN"/>
              <a:t>Our Recent Engagements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D1C06E1A-FF64-4F74-9904-8386CF09E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54354" y="6414586"/>
            <a:ext cx="33702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Black" panose="020F0A02020204030203" pitchFamily="34" charset="0"/>
                <a:ea typeface="+mn-ea"/>
                <a:cs typeface="+mn-cs"/>
              </a:rPr>
              <a:t>Technical Due Diligence and Regulatory Consulting Services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Black" panose="020F0A02020204030203" pitchFamily="34" charset="0"/>
              <a:ea typeface="+mn-ea"/>
              <a:cs typeface="+mn-cs"/>
            </a:endParaRPr>
          </a:p>
        </p:txBody>
      </p:sp>
      <p:sp>
        <p:nvSpPr>
          <p:cNvPr id="33" name="Title 3">
            <a:extLst>
              <a:ext uri="{FF2B5EF4-FFF2-40B4-BE49-F238E27FC236}">
                <a16:creationId xmlns:a16="http://schemas.microsoft.com/office/drawing/2014/main" id="{93E5371F-2FB6-4894-BCDA-478CD343AAFF}"/>
              </a:ext>
            </a:extLst>
          </p:cNvPr>
          <p:cNvSpPr txBox="1">
            <a:spLocks/>
          </p:cNvSpPr>
          <p:nvPr/>
        </p:nvSpPr>
        <p:spPr bwMode="auto">
          <a:xfrm>
            <a:off x="511175" y="177800"/>
            <a:ext cx="10956925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Lato Black" panose="020F0A02020204030203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9pPr>
          </a:lstStyle>
          <a:p>
            <a:pPr>
              <a:defRPr/>
            </a:pPr>
            <a:r>
              <a:rPr lang="en-IN"/>
              <a:t>Case Study 1 - Certification Hydrogen storage facility</a:t>
            </a:r>
            <a:endParaRPr lang="en-IN" dirty="0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C43C736D-24FD-4BA4-8263-3243108D1C97}"/>
              </a:ext>
            </a:extLst>
          </p:cNvPr>
          <p:cNvSpPr txBox="1">
            <a:spLocks/>
          </p:cNvSpPr>
          <p:nvPr/>
        </p:nvSpPr>
        <p:spPr>
          <a:xfrm>
            <a:off x="558800" y="1131888"/>
            <a:ext cx="5573713" cy="27305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b="1" kern="1200">
                <a:solidFill>
                  <a:schemeClr val="tx2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kern="1200">
                <a:solidFill>
                  <a:schemeClr val="tx2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3pPr>
            <a:lvl4pPr marL="16002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4pPr>
            <a:lvl5pPr marL="20574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IN"/>
              <a:t>Metallic &amp; Non Metallic FRP storage tanks</a:t>
            </a:r>
            <a:endParaRPr lang="en-IN" dirty="0"/>
          </a:p>
        </p:txBody>
      </p:sp>
      <p:sp>
        <p:nvSpPr>
          <p:cNvPr id="35" name="Content Placeholder 11">
            <a:extLst>
              <a:ext uri="{FF2B5EF4-FFF2-40B4-BE49-F238E27FC236}">
                <a16:creationId xmlns:a16="http://schemas.microsoft.com/office/drawing/2014/main" id="{6FFF2DCB-4F15-4B9A-9133-66B9320B90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4313" y="1533525"/>
            <a:ext cx="4216400" cy="4487863"/>
          </a:xfrm>
          <a:prstGeom prst="rect">
            <a:avLst/>
          </a:prstGeo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accent2"/>
                </a:solidFill>
                <a:latin typeface="+mn-lt"/>
                <a:ea typeface="Source Sans Pro Black" panose="020B0803030403020204" pitchFamily="34" charset="0"/>
                <a:cs typeface="+mn-cs"/>
              </a:defRPr>
            </a:lvl1pPr>
            <a:lvl2pPr marL="4572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9144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3pPr>
            <a:lvl4pPr marL="13716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4pPr>
            <a:lvl5pPr marL="18288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38" indent="-287338"/>
            <a:r>
              <a:rPr lang="en-IN" altLang="en-US" sz="2000" b="1" dirty="0"/>
              <a:t>For Metallic Storage tanks </a:t>
            </a:r>
            <a:r>
              <a:rPr lang="en-IN" altLang="en-US" sz="2000" dirty="0"/>
              <a:t>we appraise the tanks to ASME SEC VIII Div. 1 + </a:t>
            </a:r>
            <a:r>
              <a:rPr lang="en-IN" altLang="en-US" sz="20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PV Rules </a:t>
            </a:r>
            <a:r>
              <a:rPr lang="en-IN" altLang="en-US" sz="2000" dirty="0"/>
              <a:t>- </a:t>
            </a:r>
            <a:r>
              <a:rPr lang="en-US" altLang="en-US" sz="2000" dirty="0"/>
              <a:t>Static and Mobile Pressure Vessels, </a:t>
            </a:r>
            <a:r>
              <a:rPr lang="en-US" altLang="en-US" sz="2000" b="1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troleum &amp; Explosives Safety Organization (PESO)</a:t>
            </a:r>
            <a:r>
              <a:rPr lang="en-IN" altLang="en-US" sz="20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endParaRPr lang="en-IN" altLang="en-US" sz="2000" dirty="0"/>
          </a:p>
          <a:p>
            <a:pPr marL="287338" indent="-287338"/>
            <a:endParaRPr lang="en-IN" altLang="en-US" sz="2000" dirty="0">
              <a:solidFill>
                <a:schemeClr val="tx1"/>
              </a:solidFill>
            </a:endParaRPr>
          </a:p>
          <a:p>
            <a:pPr marL="287338" indent="-287338"/>
            <a:r>
              <a:rPr lang="en-IN" altLang="en-US" sz="2000" b="1" dirty="0">
                <a:solidFill>
                  <a:schemeClr val="tx1"/>
                </a:solidFill>
              </a:rPr>
              <a:t>For the plastic FRP storage tanks</a:t>
            </a:r>
            <a:r>
              <a:rPr lang="en-IN" altLang="en-US" sz="2000" dirty="0">
                <a:solidFill>
                  <a:schemeClr val="tx1"/>
                </a:solidFill>
              </a:rPr>
              <a:t> our certification scheme follows -</a:t>
            </a:r>
            <a:r>
              <a:rPr lang="en-GB" altLang="en-US" sz="2000" dirty="0">
                <a:solidFill>
                  <a:schemeClr val="tx1"/>
                </a:solidFill>
              </a:rPr>
              <a:t> PED Module B and Module F and ASME Class I, Section 10</a:t>
            </a:r>
            <a:endParaRPr lang="en-IN" altLang="en-US" sz="2000" dirty="0">
              <a:solidFill>
                <a:schemeClr val="tx1"/>
              </a:solidFill>
            </a:endParaRPr>
          </a:p>
        </p:txBody>
      </p:sp>
      <p:pic>
        <p:nvPicPr>
          <p:cNvPr id="36" name="Picture 20">
            <a:extLst>
              <a:ext uri="{FF2B5EF4-FFF2-40B4-BE49-F238E27FC236}">
                <a16:creationId xmlns:a16="http://schemas.microsoft.com/office/drawing/2014/main" id="{789197F8-0E68-4EFB-A7D6-0DC1054BC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1268413"/>
            <a:ext cx="6934200" cy="302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F355942-FBE7-4C41-859D-B12E34D2B9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99000" y="4430713"/>
            <a:ext cx="7054850" cy="2730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anchor="b"/>
          <a:lstStyle>
            <a:lvl1pPr marL="631825" indent="-631825" defTabSz="895350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>
                <a:solidFill>
                  <a:schemeClr val="tx2"/>
                </a:solidFill>
                <a:latin typeface="Source Sans Pro" panose="020B0503030403020204" pitchFamily="34" charset="0"/>
              </a:defRPr>
            </a:lvl1pPr>
            <a:lvl2pPr marL="479425" indent="-239713" defTabSz="89535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 b="1">
                <a:solidFill>
                  <a:schemeClr val="tx2"/>
                </a:solidFill>
                <a:latin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719138" indent="-239713" defTabSz="89535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>
                <a:solidFill>
                  <a:schemeClr val="tx2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3pPr>
            <a:lvl4pPr marL="958850" indent="-239713" defTabSz="89535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 sz="12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4pPr>
            <a:lvl5pPr marL="1198563" indent="-239713" defTabSz="89535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5pPr>
            <a:lvl6pPr marL="1655763" indent="-239713" defTabSz="89535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6pPr>
            <a:lvl7pPr marL="2112963" indent="-239713" defTabSz="89535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7pPr>
            <a:lvl8pPr marL="2570163" indent="-239713" defTabSz="89535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8pPr>
            <a:lvl9pPr marL="3027363" indent="-239713" defTabSz="89535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533400" algn="r"/>
              </a:tabLst>
              <a:defRPr sz="1100">
                <a:solidFill>
                  <a:schemeClr val="tx1"/>
                </a:solidFill>
                <a:latin typeface="Source Sans Pro" panose="020B0503030403020204" pitchFamily="34" charset="0"/>
                <a:cs typeface="Source Sans Pro Black" panose="020B0803030403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rgbClr val="6497CB"/>
              </a:buClr>
              <a:buFont typeface="Wingdings" panose="05000000000000000000" pitchFamily="2" charset="2"/>
              <a:buNone/>
              <a:defRPr/>
            </a:pPr>
            <a:r>
              <a:rPr kumimoji="1" lang="en-GB" altLang="en-US" sz="1200" dirty="0">
                <a:solidFill>
                  <a:srgbClr val="000000"/>
                </a:solidFill>
                <a:sym typeface="Wingdings" panose="05000000000000000000" pitchFamily="2" charset="2"/>
              </a:rPr>
              <a:t>	</a:t>
            </a:r>
            <a:r>
              <a:rPr kumimoji="1" lang="en-GB" altLang="en-US" sz="1600" b="1" dirty="0">
                <a:solidFill>
                  <a:schemeClr val="tx1"/>
                </a:solidFill>
                <a:sym typeface="Wingdings" panose="05000000000000000000" pitchFamily="2" charset="2"/>
              </a:rPr>
              <a:t>INDIA’s LARGEST LIQUID STORAGE TANK MANUFACTURED IN SRI CITY</a:t>
            </a:r>
          </a:p>
        </p:txBody>
      </p:sp>
      <p:pic>
        <p:nvPicPr>
          <p:cNvPr id="38" name="Picture 8" descr="VRV Energies India Pvt Ltd - Home | Facebook">
            <a:extLst>
              <a:ext uri="{FF2B5EF4-FFF2-40B4-BE49-F238E27FC236}">
                <a16:creationId xmlns:a16="http://schemas.microsoft.com/office/drawing/2014/main" id="{3CB9225C-1E48-49AA-9AE4-C38E443451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2998" y="4840288"/>
            <a:ext cx="1250204" cy="1250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0" descr="Chart Industries - Crunchbase Company Profile &amp; Funding">
            <a:extLst>
              <a:ext uri="{FF2B5EF4-FFF2-40B4-BE49-F238E27FC236}">
                <a16:creationId xmlns:a16="http://schemas.microsoft.com/office/drawing/2014/main" id="{F33A16D4-255B-427D-AFFC-C3283455E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5099050"/>
            <a:ext cx="1917541" cy="652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83455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D1C06E1A-FF64-4F74-9904-8386CF09E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54354" y="6414586"/>
            <a:ext cx="33702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Lato Black" panose="020F0A0202020403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Black" panose="020F0A02020204030203" pitchFamily="34" charset="0"/>
                <a:ea typeface="+mn-ea"/>
                <a:cs typeface="+mn-cs"/>
              </a:rPr>
              <a:t>Technical Due Diligence and Regulatory Consulting Services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Black" panose="020F0A02020204030203" pitchFamily="34" charset="0"/>
              <a:ea typeface="+mn-ea"/>
              <a:cs typeface="+mn-cs"/>
            </a:endParaRP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6C2F5130-E70C-43C0-BF23-7B545698DE53}"/>
              </a:ext>
            </a:extLst>
          </p:cNvPr>
          <p:cNvSpPr txBox="1">
            <a:spLocks/>
          </p:cNvSpPr>
          <p:nvPr/>
        </p:nvSpPr>
        <p:spPr>
          <a:xfrm>
            <a:off x="558800" y="1502570"/>
            <a:ext cx="11440975" cy="3227663"/>
          </a:xfrm>
          <a:prstGeom prst="rect">
            <a:avLst/>
          </a:prstGeo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accent2"/>
                </a:solidFill>
                <a:latin typeface="+mn-lt"/>
                <a:ea typeface="Source Sans Pro Black" panose="020B0803030403020204" pitchFamily="34" charset="0"/>
                <a:cs typeface="+mn-cs"/>
              </a:defRPr>
            </a:lvl1pPr>
            <a:lvl2pPr marL="4572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9144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3pPr>
            <a:lvl4pPr marL="13716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4pPr>
            <a:lvl5pPr marL="1828800" indent="0" algn="ctr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38" indent="-287338">
              <a:spcBef>
                <a:spcPts val="725"/>
              </a:spcBef>
              <a:spcAft>
                <a:spcPts val="725"/>
              </a:spcAft>
              <a:buFont typeface="Arial" panose="020B0604020202020204" pitchFamily="34" charset="0"/>
              <a:buChar char="•"/>
            </a:pPr>
            <a:r>
              <a:rPr lang="en-GB" altLang="en-US" sz="1600" dirty="0"/>
              <a:t>German consortium (</a:t>
            </a:r>
            <a:r>
              <a:rPr lang="en-GB" altLang="en-US" sz="1600" dirty="0" err="1"/>
              <a:t>Emano</a:t>
            </a:r>
            <a:r>
              <a:rPr lang="en-GB" altLang="en-US" sz="1600" dirty="0"/>
              <a:t>, Fraunhofer-Institute and the Leibniz-Institute) developed bespoke hydrogen storage, manufactured from Composite</a:t>
            </a:r>
          </a:p>
          <a:p>
            <a:pPr marL="915988" lvl="1" indent="-285750" algn="l">
              <a:spcBef>
                <a:spcPts val="725"/>
              </a:spcBef>
              <a:spcAft>
                <a:spcPts val="725"/>
              </a:spcAft>
              <a:buFont typeface="Arial" panose="020B0604020202020204" pitchFamily="34" charset="0"/>
              <a:buChar char="•"/>
            </a:pPr>
            <a:r>
              <a:rPr lang="en-GB" altLang="en-US" sz="1600" b="0" dirty="0">
                <a:latin typeface="+mn-lt"/>
              </a:rPr>
              <a:t>Weight and price advantages, as well as improved risk performance in terms of brittle fracture.</a:t>
            </a:r>
          </a:p>
          <a:p>
            <a:pPr marL="915988" lvl="1" indent="-285750" algn="l">
              <a:spcBef>
                <a:spcPts val="725"/>
              </a:spcBef>
              <a:spcAft>
                <a:spcPts val="725"/>
              </a:spcAft>
              <a:buFont typeface="Arial" panose="020B0604020202020204" pitchFamily="34" charset="0"/>
              <a:buChar char="•"/>
            </a:pPr>
            <a:r>
              <a:rPr lang="en-GB" altLang="en-US" sz="1600" b="0" dirty="0">
                <a:latin typeface="+mn-lt"/>
              </a:rPr>
              <a:t>This material and use case did not have a prescribed certification route </a:t>
            </a:r>
            <a:endParaRPr lang="en-US" altLang="en-US" sz="1600" b="0" dirty="0">
              <a:latin typeface="+mn-lt"/>
            </a:endParaRPr>
          </a:p>
          <a:p>
            <a:pPr marL="287338" indent="-287338">
              <a:spcBef>
                <a:spcPts val="725"/>
              </a:spcBef>
              <a:spcAft>
                <a:spcPts val="725"/>
              </a:spcAft>
              <a:buFont typeface="Arial" panose="020B0604020202020204" pitchFamily="34" charset="0"/>
              <a:buChar char="•"/>
            </a:pPr>
            <a:r>
              <a:rPr lang="en-GB" altLang="en-US" sz="1600" dirty="0"/>
              <a:t>LRQA certified design and manufacture, taking knowledge of global standards to find most appropriate way to certify using mix of current guideline</a:t>
            </a:r>
            <a:endParaRPr lang="en-US" altLang="en-US" sz="1600" dirty="0"/>
          </a:p>
          <a:p>
            <a:pPr marL="915988" lvl="1" indent="-285750" algn="l">
              <a:spcBef>
                <a:spcPts val="725"/>
              </a:spcBef>
              <a:spcAft>
                <a:spcPts val="725"/>
              </a:spcAft>
              <a:buFont typeface="Arial" panose="020B0604020202020204" pitchFamily="34" charset="0"/>
              <a:buChar char="•"/>
            </a:pPr>
            <a:r>
              <a:rPr lang="en-GB" altLang="en-US" sz="1600" dirty="0">
                <a:latin typeface="+mn-lt"/>
              </a:rPr>
              <a:t>PED Module B and Module F and ASME Class I, Section 10 , which specifically focuses on fibre reinforced pressure vessels</a:t>
            </a:r>
          </a:p>
          <a:p>
            <a:pPr marL="287338" indent="-287338">
              <a:spcBef>
                <a:spcPts val="725"/>
              </a:spcBef>
              <a:spcAft>
                <a:spcPts val="725"/>
              </a:spcAft>
              <a:buFont typeface="Arial" panose="020B0604020202020204" pitchFamily="34" charset="0"/>
              <a:buChar char="•"/>
            </a:pPr>
            <a:r>
              <a:rPr lang="en-GB" altLang="en-US" sz="1600" dirty="0"/>
              <a:t>Vessel now can be sold and </a:t>
            </a:r>
            <a:r>
              <a:rPr lang="en-GB" altLang="en-US" sz="16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ported globally </a:t>
            </a:r>
            <a:endParaRPr lang="en-US" altLang="en-US" sz="1600" dirty="0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04A32524-FACA-41FF-A0AB-FA6E1FB0405B}"/>
              </a:ext>
            </a:extLst>
          </p:cNvPr>
          <p:cNvSpPr txBox="1">
            <a:spLocks/>
          </p:cNvSpPr>
          <p:nvPr/>
        </p:nvSpPr>
        <p:spPr bwMode="auto">
          <a:xfrm>
            <a:off x="511175" y="177800"/>
            <a:ext cx="11594686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Lato Black" panose="020F0A02020204030203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Lato Black" panose="020F0A02020204030203" pitchFamily="34" charset="0"/>
              </a:defRPr>
            </a:lvl9pPr>
          </a:lstStyle>
          <a:p>
            <a:pPr>
              <a:defRPr/>
            </a:pPr>
            <a:r>
              <a:rPr lang="en-GB" sz="2880" dirty="0"/>
              <a:t>Case Study 2 – Flexible use of Standards for Hydrogen Storag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29124667-FF6A-460C-AB23-C5C0154D73DE}"/>
              </a:ext>
            </a:extLst>
          </p:cNvPr>
          <p:cNvSpPr txBox="1">
            <a:spLocks/>
          </p:cNvSpPr>
          <p:nvPr/>
        </p:nvSpPr>
        <p:spPr>
          <a:xfrm>
            <a:off x="558800" y="1131888"/>
            <a:ext cx="5573713" cy="27305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b="1" kern="1200">
                <a:solidFill>
                  <a:schemeClr val="tx2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11430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kern="1200">
                <a:solidFill>
                  <a:schemeClr val="tx2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3pPr>
            <a:lvl4pPr marL="16002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4pPr>
            <a:lvl5pPr marL="2057400" indent="-228600" algn="l" rtl="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GB" dirty="0"/>
              <a:t>Adapting of standards for H2 use  / reducing cost </a:t>
            </a:r>
          </a:p>
        </p:txBody>
      </p:sp>
      <p:pic>
        <p:nvPicPr>
          <p:cNvPr id="18" name="Picture 13">
            <a:extLst>
              <a:ext uri="{FF2B5EF4-FFF2-40B4-BE49-F238E27FC236}">
                <a16:creationId xmlns:a16="http://schemas.microsoft.com/office/drawing/2014/main" id="{9AE113F3-E542-41A8-BED1-CEB45DFFA2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8350" y="5318806"/>
            <a:ext cx="1809750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6" descr="Individual Doctoral Projects at Fraunhofer Institutes - Research in Germany">
            <a:extLst>
              <a:ext uri="{FF2B5EF4-FFF2-40B4-BE49-F238E27FC236}">
                <a16:creationId xmlns:a16="http://schemas.microsoft.com/office/drawing/2014/main" id="{4A13FE68-66B8-44B3-A00E-9965D271F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33" b="27068"/>
          <a:stretch>
            <a:fillRect/>
          </a:stretch>
        </p:blipFill>
        <p:spPr bwMode="auto">
          <a:xfrm>
            <a:off x="5208450" y="5400675"/>
            <a:ext cx="2073275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8" descr="Leibniz Association - Wikipedia">
            <a:extLst>
              <a:ext uri="{FF2B5EF4-FFF2-40B4-BE49-F238E27FC236}">
                <a16:creationId xmlns:a16="http://schemas.microsoft.com/office/drawing/2014/main" id="{18B1F16B-436F-4727-AF95-5B14168EF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063" y="4761189"/>
            <a:ext cx="1909762" cy="127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5370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C3D43-2796-4A3A-91D1-68477D9013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6725" y="566738"/>
            <a:ext cx="6211888" cy="56356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/>
              <a:t>LRQA Expertise in Renewables  </a:t>
            </a:r>
          </a:p>
        </p:txBody>
      </p:sp>
      <p:sp>
        <p:nvSpPr>
          <p:cNvPr id="91139" name="Subtitle 2">
            <a:extLst>
              <a:ext uri="{FF2B5EF4-FFF2-40B4-BE49-F238E27FC236}">
                <a16:creationId xmlns:a16="http://schemas.microsoft.com/office/drawing/2014/main" id="{12F1D710-1E3D-457F-B9CA-8A4556E1E17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6725" y="1169988"/>
            <a:ext cx="6211888" cy="355600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en-US">
                <a:cs typeface="Source Sans Pro Black" panose="020B0803030403020204" pitchFamily="34" charset="0"/>
              </a:rPr>
              <a:t>Your Future, Our Focus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9FAF3-6B24-4C34-8586-697F018A9E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4231" y="2564606"/>
            <a:ext cx="6673866" cy="1411134"/>
          </a:xfrm>
        </p:spPr>
        <p:txBody>
          <a:bodyPr/>
          <a:lstStyle/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Feasibility &amp; Appraisal Services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We help you assess and make decisions based on the outcomes of feasibility studies and assessment reviews – Including Technical due diligence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Site Assessment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We help you to characterize the profile of your site.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Risk Management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We help you identify and manage risk throughout the entire life-cycle, from concept to decommissioning – Including Dispersion modelling, SIL, HAZOP, QRA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Project and Product Certification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We provide assurance to assets components or projects; for you and for third party interests – including AIP and Approval to market  / type approval 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endParaRPr lang="en-US" sz="1400" b="1" u="sng">
              <a:solidFill>
                <a:schemeClr val="tx2">
                  <a:lumMod val="75000"/>
                </a:schemeClr>
              </a:solidFill>
              <a:uFill>
                <a:solidFill>
                  <a:schemeClr val="tx2">
                    <a:lumMod val="75000"/>
                  </a:schemeClr>
                </a:solidFill>
              </a:uFill>
            </a:endParaRP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endParaRPr lang="en-US" sz="1400" b="1" u="sng">
              <a:solidFill>
                <a:schemeClr val="tx2">
                  <a:lumMod val="75000"/>
                </a:schemeClr>
              </a:solidFill>
              <a:uFill>
                <a:solidFill>
                  <a:schemeClr val="tx2">
                    <a:lumMod val="75000"/>
                  </a:schemeClr>
                </a:solidFill>
              </a:uFill>
            </a:endParaRP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endParaRPr lang="en-US" sz="1400" b="1" u="sng">
              <a:solidFill>
                <a:schemeClr val="tx2">
                  <a:lumMod val="75000"/>
                </a:schemeClr>
              </a:solidFill>
              <a:uFill>
                <a:solidFill>
                  <a:schemeClr val="tx2">
                    <a:lumMod val="75000"/>
                  </a:schemeClr>
                </a:solidFill>
              </a:uFill>
            </a:endParaRP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Vendor Assessments &amp; Audits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Vendor assessments and audits give you crucial information about a vendors' capabilities, machinery, management systems, and other factors.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Supply Chain &amp; Site Inspection services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We ensure the quality and reliability of your component and supply chain as well as site during installation &amp; commissioning </a:t>
            </a:r>
            <a:endParaRPr lang="en-US" sz="1400" u="sng">
              <a:solidFill>
                <a:schemeClr val="tx2">
                  <a:lumMod val="75000"/>
                </a:schemeClr>
              </a:solidFill>
              <a:uFill>
                <a:solidFill>
                  <a:schemeClr val="tx2">
                    <a:lumMod val="75000"/>
                  </a:schemeClr>
                </a:solidFill>
              </a:uFill>
            </a:endParaRP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Asset Performance Failure Investigation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We help when your asset is not preforming as expected.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 sz="1400" b="1" u="sng">
                <a:solidFill>
                  <a:schemeClr val="tx2">
                    <a:lumMod val="75000"/>
                  </a:schemeClr>
                </a:solidFill>
                <a:uFill>
                  <a:solidFill>
                    <a:schemeClr val="tx2">
                      <a:lumMod val="75000"/>
                    </a:schemeClr>
                  </a:solidFill>
                </a:uFill>
              </a:rPr>
              <a:t>Regulatory Consultancy  / support </a:t>
            </a:r>
          </a:p>
          <a:p>
            <a:pPr marL="0" indent="0" algn="just" eaLnBrk="1" fontAlgn="auto" hangingPunct="1">
              <a:buFont typeface="Arial" panose="020B0604020202020204" pitchFamily="34" charset="0"/>
              <a:buNone/>
              <a:defRPr/>
            </a:pPr>
            <a:r>
              <a:rPr lang="en-US"/>
              <a:t>We know global regulations, working across all jurisdictions and having dedicated teams interacting and influencing with regulators and standards committees globally, we are well placed to provide advise and support. </a:t>
            </a:r>
          </a:p>
          <a:p>
            <a:pPr eaLnBrk="1" fontAlgn="auto" hangingPunct="1">
              <a:defRPr/>
            </a:pPr>
            <a:endParaRPr lang="en-GB"/>
          </a:p>
        </p:txBody>
      </p:sp>
      <p:sp>
        <p:nvSpPr>
          <p:cNvPr id="91141" name="Text Placeholder 8">
            <a:extLst>
              <a:ext uri="{FF2B5EF4-FFF2-40B4-BE49-F238E27FC236}">
                <a16:creationId xmlns:a16="http://schemas.microsoft.com/office/drawing/2014/main" id="{E5FB0C4E-92D2-4BC7-A37C-8B8786BA13BF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363538" y="1525588"/>
            <a:ext cx="6759575" cy="1012825"/>
          </a:xfrm>
        </p:spPr>
        <p:txBody>
          <a:bodyPr wrap="square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ct val="0"/>
              </a:spcBef>
            </a:pPr>
            <a:r>
              <a:rPr lang="en-US" altLang="en-US"/>
              <a:t>We have a global reach with offices in 90 countries and have </a:t>
            </a:r>
            <a:r>
              <a:rPr lang="en-US" altLang="en-US" b="1"/>
              <a:t>Supported 600+ projects generating 36 + GW of renewable energ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8D8F06-689D-470E-8A8E-31960C1A76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are everywhere you 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6FB749-AAF2-4958-A2F8-EF1D41F629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243" name="N EUROPE">
            <a:extLst>
              <a:ext uri="{FF2B5EF4-FFF2-40B4-BE49-F238E27FC236}">
                <a16:creationId xmlns:a16="http://schemas.microsoft.com/office/drawing/2014/main" id="{A4AB3068-084D-47C2-B1D6-7B0B0B2134C2}"/>
              </a:ext>
            </a:extLst>
          </p:cNvPr>
          <p:cNvGrpSpPr/>
          <p:nvPr/>
        </p:nvGrpSpPr>
        <p:grpSpPr>
          <a:xfrm>
            <a:off x="4920851" y="3810531"/>
            <a:ext cx="6821079" cy="1780476"/>
            <a:chOff x="4920851" y="3810531"/>
            <a:chExt cx="6821079" cy="1780476"/>
          </a:xfrm>
        </p:grpSpPr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ACB85859-5CFA-4723-BB81-93BE09E6E732}"/>
                </a:ext>
              </a:extLst>
            </p:cNvPr>
            <p:cNvGrpSpPr/>
            <p:nvPr/>
          </p:nvGrpSpPr>
          <p:grpSpPr>
            <a:xfrm>
              <a:off x="5845226" y="3810531"/>
              <a:ext cx="5896704" cy="1780476"/>
              <a:chOff x="5845226" y="3810531"/>
              <a:chExt cx="5896704" cy="1780476"/>
            </a:xfrm>
          </p:grpSpPr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7362C9D2-E1E4-408E-AE9B-1E4EA3972B29}"/>
                  </a:ext>
                </a:extLst>
              </p:cNvPr>
              <p:cNvSpPr/>
              <p:nvPr/>
            </p:nvSpPr>
            <p:spPr>
              <a:xfrm>
                <a:off x="5866265" y="4397905"/>
                <a:ext cx="130834" cy="44280"/>
              </a:xfrm>
              <a:custGeom>
                <a:avLst/>
                <a:gdLst>
                  <a:gd name="connsiteX0" fmla="*/ 43006 w 134281"/>
                  <a:gd name="connsiteY0" fmla="*/ 48125 h 60630"/>
                  <a:gd name="connsiteX1" fmla="*/ 96909 w 134281"/>
                  <a:gd name="connsiteY1" fmla="*/ 60292 h 60630"/>
                  <a:gd name="connsiteX2" fmla="*/ 100116 w 134281"/>
                  <a:gd name="connsiteY2" fmla="*/ 40237 h 60630"/>
                  <a:gd name="connsiteX3" fmla="*/ 110750 w 134281"/>
                  <a:gd name="connsiteY3" fmla="*/ 38466 h 60630"/>
                  <a:gd name="connsiteX4" fmla="*/ 121669 w 134281"/>
                  <a:gd name="connsiteY4" fmla="*/ 31180 h 60630"/>
                  <a:gd name="connsiteX5" fmla="*/ 116392 w 134281"/>
                  <a:gd name="connsiteY5" fmla="*/ 19515 h 60630"/>
                  <a:gd name="connsiteX6" fmla="*/ 126783 w 134281"/>
                  <a:gd name="connsiteY6" fmla="*/ 14902 h 60630"/>
                  <a:gd name="connsiteX7" fmla="*/ 131735 w 134281"/>
                  <a:gd name="connsiteY7" fmla="*/ -339 h 60630"/>
                  <a:gd name="connsiteX8" fmla="*/ 75600 w 134281"/>
                  <a:gd name="connsiteY8" fmla="*/ 8184 h 60630"/>
                  <a:gd name="connsiteX9" fmla="*/ 77264 w 134281"/>
                  <a:gd name="connsiteY9" fmla="*/ 16005 h 60630"/>
                  <a:gd name="connsiteX10" fmla="*/ 60744 w 134281"/>
                  <a:gd name="connsiteY10" fmla="*/ 15471 h 60630"/>
                  <a:gd name="connsiteX11" fmla="*/ 34442 w 134281"/>
                  <a:gd name="connsiteY11" fmla="*/ 28606 h 60630"/>
                  <a:gd name="connsiteX12" fmla="*/ 27095 w 134281"/>
                  <a:gd name="connsiteY12" fmla="*/ 40438 h 60630"/>
                  <a:gd name="connsiteX13" fmla="*/ -60 w 134281"/>
                  <a:gd name="connsiteY13" fmla="*/ 52270 h 60630"/>
                  <a:gd name="connsiteX14" fmla="*/ 43006 w 134281"/>
                  <a:gd name="connsiteY14" fmla="*/ 47958 h 60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4281" h="60630">
                    <a:moveTo>
                      <a:pt x="43006" y="48125"/>
                    </a:moveTo>
                    <a:cubicBezTo>
                      <a:pt x="55913" y="41040"/>
                      <a:pt x="87370" y="56715"/>
                      <a:pt x="96909" y="60292"/>
                    </a:cubicBezTo>
                    <a:cubicBezTo>
                      <a:pt x="98979" y="53741"/>
                      <a:pt x="100034" y="47006"/>
                      <a:pt x="100116" y="40237"/>
                    </a:cubicBezTo>
                    <a:cubicBezTo>
                      <a:pt x="100116" y="38165"/>
                      <a:pt x="108843" y="38667"/>
                      <a:pt x="110750" y="38466"/>
                    </a:cubicBezTo>
                    <a:cubicBezTo>
                      <a:pt x="121588" y="37363"/>
                      <a:pt x="117204" y="34823"/>
                      <a:pt x="121669" y="31180"/>
                    </a:cubicBezTo>
                    <a:cubicBezTo>
                      <a:pt x="129381" y="24896"/>
                      <a:pt x="124591" y="25598"/>
                      <a:pt x="116392" y="19515"/>
                    </a:cubicBezTo>
                    <a:cubicBezTo>
                      <a:pt x="115053" y="18512"/>
                      <a:pt x="126662" y="14936"/>
                      <a:pt x="126783" y="14902"/>
                    </a:cubicBezTo>
                    <a:cubicBezTo>
                      <a:pt x="136646" y="10390"/>
                      <a:pt x="134901" y="5611"/>
                      <a:pt x="131735" y="-339"/>
                    </a:cubicBezTo>
                    <a:cubicBezTo>
                      <a:pt x="127960" y="5009"/>
                      <a:pt x="85260" y="-2511"/>
                      <a:pt x="75600" y="8184"/>
                    </a:cubicBezTo>
                    <a:cubicBezTo>
                      <a:pt x="72596" y="11527"/>
                      <a:pt x="78806" y="13799"/>
                      <a:pt x="77264" y="16005"/>
                    </a:cubicBezTo>
                    <a:cubicBezTo>
                      <a:pt x="75356" y="18779"/>
                      <a:pt x="61880" y="18345"/>
                      <a:pt x="60744" y="15471"/>
                    </a:cubicBezTo>
                    <a:cubicBezTo>
                      <a:pt x="57659" y="7817"/>
                      <a:pt x="36999" y="26901"/>
                      <a:pt x="34442" y="28606"/>
                    </a:cubicBezTo>
                    <a:cubicBezTo>
                      <a:pt x="29002" y="32182"/>
                      <a:pt x="32006" y="36628"/>
                      <a:pt x="27095" y="40438"/>
                    </a:cubicBezTo>
                    <a:cubicBezTo>
                      <a:pt x="20479" y="45552"/>
                      <a:pt x="9803" y="49061"/>
                      <a:pt x="-60" y="52270"/>
                    </a:cubicBezTo>
                    <a:cubicBezTo>
                      <a:pt x="13213" y="55044"/>
                      <a:pt x="32412" y="53807"/>
                      <a:pt x="43006" y="4795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021" cap="flat">
                <a:solidFill>
                  <a:schemeClr val="accent3">
                    <a:alpha val="44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18A1CA03-2AC3-42BD-A818-8316C67E3830}"/>
                  </a:ext>
                </a:extLst>
              </p:cNvPr>
              <p:cNvSpPr/>
              <p:nvPr/>
            </p:nvSpPr>
            <p:spPr>
              <a:xfrm>
                <a:off x="5845226" y="4432020"/>
                <a:ext cx="122419" cy="32607"/>
              </a:xfrm>
              <a:custGeom>
                <a:avLst/>
                <a:gdLst>
                  <a:gd name="connsiteX0" fmla="*/ 4040 w 125644"/>
                  <a:gd name="connsiteY0" fmla="*/ 13380 h 44646"/>
                  <a:gd name="connsiteX1" fmla="*/ 16217 w 125644"/>
                  <a:gd name="connsiteY1" fmla="*/ 19463 h 44646"/>
                  <a:gd name="connsiteX2" fmla="*/ 39191 w 125644"/>
                  <a:gd name="connsiteY2" fmla="*/ 25647 h 44646"/>
                  <a:gd name="connsiteX3" fmla="*/ 55427 w 125644"/>
                  <a:gd name="connsiteY3" fmla="*/ 33000 h 44646"/>
                  <a:gd name="connsiteX4" fmla="*/ 76777 w 125644"/>
                  <a:gd name="connsiteY4" fmla="*/ 30693 h 44646"/>
                  <a:gd name="connsiteX5" fmla="*/ 87899 w 125644"/>
                  <a:gd name="connsiteY5" fmla="*/ 39317 h 44646"/>
                  <a:gd name="connsiteX6" fmla="*/ 110060 w 125644"/>
                  <a:gd name="connsiteY6" fmla="*/ 44297 h 44646"/>
                  <a:gd name="connsiteX7" fmla="*/ 121182 w 125644"/>
                  <a:gd name="connsiteY7" fmla="*/ 29624 h 44646"/>
                  <a:gd name="connsiteX8" fmla="*/ 119802 w 125644"/>
                  <a:gd name="connsiteY8" fmla="*/ 16689 h 44646"/>
                  <a:gd name="connsiteX9" fmla="*/ 69958 w 125644"/>
                  <a:gd name="connsiteY9" fmla="*/ -23 h 44646"/>
                  <a:gd name="connsiteX10" fmla="*/ 39759 w 125644"/>
                  <a:gd name="connsiteY10" fmla="*/ 7297 h 44646"/>
                  <a:gd name="connsiteX11" fmla="*/ 21778 w 125644"/>
                  <a:gd name="connsiteY11" fmla="*/ 5893 h 44646"/>
                  <a:gd name="connsiteX12" fmla="*/ -60 w 125644"/>
                  <a:gd name="connsiteY12" fmla="*/ 11408 h 44646"/>
                  <a:gd name="connsiteX13" fmla="*/ 4284 w 125644"/>
                  <a:gd name="connsiteY13" fmla="*/ 13547 h 44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5644" h="44646">
                    <a:moveTo>
                      <a:pt x="4040" y="13380"/>
                    </a:moveTo>
                    <a:cubicBezTo>
                      <a:pt x="4405" y="14483"/>
                      <a:pt x="12726" y="22672"/>
                      <a:pt x="16217" y="19463"/>
                    </a:cubicBezTo>
                    <a:cubicBezTo>
                      <a:pt x="18206" y="17558"/>
                      <a:pt x="35862" y="24945"/>
                      <a:pt x="39191" y="25647"/>
                    </a:cubicBezTo>
                    <a:cubicBezTo>
                      <a:pt x="48445" y="27552"/>
                      <a:pt x="52017" y="28287"/>
                      <a:pt x="55427" y="33000"/>
                    </a:cubicBezTo>
                    <a:cubicBezTo>
                      <a:pt x="60663" y="40286"/>
                      <a:pt x="69796" y="31596"/>
                      <a:pt x="76777" y="30693"/>
                    </a:cubicBezTo>
                    <a:cubicBezTo>
                      <a:pt x="78888" y="30393"/>
                      <a:pt x="78279" y="40487"/>
                      <a:pt x="87899" y="39317"/>
                    </a:cubicBezTo>
                    <a:cubicBezTo>
                      <a:pt x="94637" y="38448"/>
                      <a:pt x="100684" y="44598"/>
                      <a:pt x="110060" y="44297"/>
                    </a:cubicBezTo>
                    <a:cubicBezTo>
                      <a:pt x="108762" y="37796"/>
                      <a:pt x="113510" y="31506"/>
                      <a:pt x="121182" y="29624"/>
                    </a:cubicBezTo>
                    <a:cubicBezTo>
                      <a:pt x="127920" y="22605"/>
                      <a:pt x="126500" y="23775"/>
                      <a:pt x="119802" y="16689"/>
                    </a:cubicBezTo>
                    <a:cubicBezTo>
                      <a:pt x="114282" y="10873"/>
                      <a:pt x="85950" y="-2563"/>
                      <a:pt x="69958" y="-23"/>
                    </a:cubicBezTo>
                    <a:cubicBezTo>
                      <a:pt x="59364" y="1548"/>
                      <a:pt x="51652" y="6094"/>
                      <a:pt x="39759" y="7297"/>
                    </a:cubicBezTo>
                    <a:cubicBezTo>
                      <a:pt x="33711" y="7915"/>
                      <a:pt x="27582" y="7437"/>
                      <a:pt x="21778" y="5893"/>
                    </a:cubicBezTo>
                    <a:cubicBezTo>
                      <a:pt x="14756" y="8377"/>
                      <a:pt x="7449" y="10228"/>
                      <a:pt x="-60" y="11408"/>
                    </a:cubicBezTo>
                    <a:cubicBezTo>
                      <a:pt x="1645" y="11645"/>
                      <a:pt x="3228" y="12411"/>
                      <a:pt x="4284" y="13547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021" cap="flat">
                <a:solidFill>
                  <a:schemeClr val="accent3">
                    <a:alpha val="44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278" name="Group 277">
                <a:extLst>
                  <a:ext uri="{FF2B5EF4-FFF2-40B4-BE49-F238E27FC236}">
                    <a16:creationId xmlns:a16="http://schemas.microsoft.com/office/drawing/2014/main" id="{19574322-4D77-4B97-ABDF-6EEFD817E629}"/>
                  </a:ext>
                </a:extLst>
              </p:cNvPr>
              <p:cNvGrpSpPr/>
              <p:nvPr/>
            </p:nvGrpSpPr>
            <p:grpSpPr>
              <a:xfrm>
                <a:off x="5919317" y="3810531"/>
                <a:ext cx="5822613" cy="1780476"/>
                <a:chOff x="5919317" y="3810531"/>
                <a:chExt cx="5822613" cy="1780476"/>
              </a:xfrm>
            </p:grpSpPr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B0D3E660-86D9-4916-98B5-8F5DA80F1EF2}"/>
                    </a:ext>
                  </a:extLst>
                </p:cNvPr>
                <p:cNvSpPr/>
                <p:nvPr/>
              </p:nvSpPr>
              <p:spPr>
                <a:xfrm>
                  <a:off x="5967315" y="4492620"/>
                  <a:ext cx="141338" cy="29827"/>
                </a:xfrm>
                <a:custGeom>
                  <a:avLst/>
                  <a:gdLst>
                    <a:gd name="connsiteX0" fmla="*/ 128848 w 145062"/>
                    <a:gd name="connsiteY0" fmla="*/ 16336 h 40840"/>
                    <a:gd name="connsiteX1" fmla="*/ 112206 w 145062"/>
                    <a:gd name="connsiteY1" fmla="*/ 11857 h 40840"/>
                    <a:gd name="connsiteX2" fmla="*/ 93291 w 145062"/>
                    <a:gd name="connsiteY2" fmla="*/ 493 h 40840"/>
                    <a:gd name="connsiteX3" fmla="*/ 32407 w 145062"/>
                    <a:gd name="connsiteY3" fmla="*/ 5641 h 40840"/>
                    <a:gd name="connsiteX4" fmla="*/ 463 w 145062"/>
                    <a:gd name="connsiteY4" fmla="*/ 32814 h 40840"/>
                    <a:gd name="connsiteX5" fmla="*/ 21042 w 145062"/>
                    <a:gd name="connsiteY5" fmla="*/ 31978 h 40840"/>
                    <a:gd name="connsiteX6" fmla="*/ 26887 w 145062"/>
                    <a:gd name="connsiteY6" fmla="*/ 40501 h 40840"/>
                    <a:gd name="connsiteX7" fmla="*/ 66746 w 145062"/>
                    <a:gd name="connsiteY7" fmla="*/ 30474 h 40840"/>
                    <a:gd name="connsiteX8" fmla="*/ 96295 w 145062"/>
                    <a:gd name="connsiteY8" fmla="*/ 37694 h 40840"/>
                    <a:gd name="connsiteX9" fmla="*/ 104048 w 145062"/>
                    <a:gd name="connsiteY9" fmla="*/ 28636 h 40840"/>
                    <a:gd name="connsiteX10" fmla="*/ 124343 w 145062"/>
                    <a:gd name="connsiteY10" fmla="*/ 26497 h 40840"/>
                    <a:gd name="connsiteX11" fmla="*/ 136885 w 145062"/>
                    <a:gd name="connsiteY11" fmla="*/ 23422 h 40840"/>
                    <a:gd name="connsiteX12" fmla="*/ 145003 w 145062"/>
                    <a:gd name="connsiteY12" fmla="*/ 17339 h 40840"/>
                    <a:gd name="connsiteX13" fmla="*/ 128767 w 145062"/>
                    <a:gd name="connsiteY13" fmla="*/ 16303 h 408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45062" h="40840">
                      <a:moveTo>
                        <a:pt x="128848" y="16336"/>
                      </a:moveTo>
                      <a:cubicBezTo>
                        <a:pt x="124383" y="17372"/>
                        <a:pt x="112247" y="14866"/>
                        <a:pt x="112206" y="11857"/>
                      </a:cubicBezTo>
                      <a:cubicBezTo>
                        <a:pt x="112206" y="3869"/>
                        <a:pt x="108147" y="2699"/>
                        <a:pt x="93291" y="493"/>
                      </a:cubicBezTo>
                      <a:cubicBezTo>
                        <a:pt x="76690" y="-2013"/>
                        <a:pt x="45883" y="1563"/>
                        <a:pt x="32407" y="5641"/>
                      </a:cubicBezTo>
                      <a:cubicBezTo>
                        <a:pt x="22746" y="8448"/>
                        <a:pt x="-4124" y="26764"/>
                        <a:pt x="463" y="32814"/>
                      </a:cubicBezTo>
                      <a:cubicBezTo>
                        <a:pt x="1883" y="34686"/>
                        <a:pt x="20758" y="23389"/>
                        <a:pt x="21042" y="31978"/>
                      </a:cubicBezTo>
                      <a:cubicBezTo>
                        <a:pt x="21042" y="35789"/>
                        <a:pt x="28510" y="36056"/>
                        <a:pt x="26887" y="40501"/>
                      </a:cubicBezTo>
                      <a:cubicBezTo>
                        <a:pt x="47182" y="39298"/>
                        <a:pt x="57329" y="40869"/>
                        <a:pt x="66746" y="30474"/>
                      </a:cubicBezTo>
                      <a:cubicBezTo>
                        <a:pt x="76163" y="20080"/>
                        <a:pt x="90410" y="45515"/>
                        <a:pt x="96295" y="37694"/>
                      </a:cubicBezTo>
                      <a:cubicBezTo>
                        <a:pt x="98731" y="34352"/>
                        <a:pt x="95199" y="29639"/>
                        <a:pt x="104048" y="28636"/>
                      </a:cubicBezTo>
                      <a:cubicBezTo>
                        <a:pt x="108553" y="28101"/>
                        <a:pt x="124586" y="31143"/>
                        <a:pt x="124343" y="26497"/>
                      </a:cubicBezTo>
                      <a:cubicBezTo>
                        <a:pt x="124099" y="21851"/>
                        <a:pt x="133638" y="26163"/>
                        <a:pt x="136885" y="23422"/>
                      </a:cubicBezTo>
                      <a:cubicBezTo>
                        <a:pt x="140132" y="20681"/>
                        <a:pt x="139645" y="19211"/>
                        <a:pt x="145003" y="17339"/>
                      </a:cubicBezTo>
                      <a:cubicBezTo>
                        <a:pt x="139808" y="15731"/>
                        <a:pt x="134206" y="15370"/>
                        <a:pt x="128767" y="16303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3021" cap="flat">
                  <a:solidFill>
                    <a:schemeClr val="accent3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grpSp>
              <p:nvGrpSpPr>
                <p:cNvPr id="281" name="Group 280">
                  <a:extLst>
                    <a:ext uri="{FF2B5EF4-FFF2-40B4-BE49-F238E27FC236}">
                      <a16:creationId xmlns:a16="http://schemas.microsoft.com/office/drawing/2014/main" id="{20D2E0B9-50EB-4FA6-A5E9-81418268B0AE}"/>
                    </a:ext>
                  </a:extLst>
                </p:cNvPr>
                <p:cNvGrpSpPr/>
                <p:nvPr/>
              </p:nvGrpSpPr>
              <p:grpSpPr>
                <a:xfrm>
                  <a:off x="5919317" y="3810531"/>
                  <a:ext cx="5822613" cy="1780476"/>
                  <a:chOff x="5919317" y="3810531"/>
                  <a:chExt cx="5822613" cy="1780476"/>
                </a:xfrm>
              </p:grpSpPr>
              <p:grpSp>
                <p:nvGrpSpPr>
                  <p:cNvPr id="282" name="Group 281">
                    <a:extLst>
                      <a:ext uri="{FF2B5EF4-FFF2-40B4-BE49-F238E27FC236}">
                        <a16:creationId xmlns:a16="http://schemas.microsoft.com/office/drawing/2014/main" id="{FB70A077-DAB0-4444-BF8A-D9795D1B149E}"/>
                      </a:ext>
                    </a:extLst>
                  </p:cNvPr>
                  <p:cNvGrpSpPr/>
                  <p:nvPr/>
                </p:nvGrpSpPr>
                <p:grpSpPr>
                  <a:xfrm>
                    <a:off x="5919317" y="3810531"/>
                    <a:ext cx="5822613" cy="1780476"/>
                    <a:chOff x="5919317" y="3810531"/>
                    <a:chExt cx="5822613" cy="1780476"/>
                  </a:xfrm>
                </p:grpSpPr>
                <p:grpSp>
                  <p:nvGrpSpPr>
                    <p:cNvPr id="427" name="Group 426">
                      <a:extLst>
                        <a:ext uri="{FF2B5EF4-FFF2-40B4-BE49-F238E27FC236}">
                          <a16:creationId xmlns:a16="http://schemas.microsoft.com/office/drawing/2014/main" id="{AE836672-7F2E-4EB8-B496-AA221123C1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919317" y="3810531"/>
                      <a:ext cx="5822613" cy="1780476"/>
                      <a:chOff x="5919317" y="3810531"/>
                      <a:chExt cx="5822613" cy="1780476"/>
                    </a:xfrm>
                  </p:grpSpPr>
                  <p:sp>
                    <p:nvSpPr>
                      <p:cNvPr id="429" name="Freeform: Shape 428">
                        <a:extLst>
                          <a:ext uri="{FF2B5EF4-FFF2-40B4-BE49-F238E27FC236}">
                            <a16:creationId xmlns:a16="http://schemas.microsoft.com/office/drawing/2014/main" id="{575C7ED2-58C9-4154-8CFB-9CFD998C64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9858" y="4480055"/>
                        <a:ext cx="201319" cy="42781"/>
                      </a:xfrm>
                      <a:custGeom>
                        <a:avLst/>
                        <a:gdLst>
                          <a:gd name="connsiteX0" fmla="*/ 203172 w 206623"/>
                          <a:gd name="connsiteY0" fmla="*/ 12885 h 58577"/>
                          <a:gd name="connsiteX1" fmla="*/ 148255 w 206623"/>
                          <a:gd name="connsiteY1" fmla="*/ -117 h 58577"/>
                          <a:gd name="connsiteX2" fmla="*/ 114524 w 206623"/>
                          <a:gd name="connsiteY2" fmla="*/ 8574 h 58577"/>
                          <a:gd name="connsiteX3" fmla="*/ 31194 w 206623"/>
                          <a:gd name="connsiteY3" fmla="*/ 9409 h 58577"/>
                          <a:gd name="connsiteX4" fmla="*/ 21939 w 206623"/>
                          <a:gd name="connsiteY4" fmla="*/ 17966 h 58577"/>
                          <a:gd name="connsiteX5" fmla="*/ 9478 w 206623"/>
                          <a:gd name="connsiteY5" fmla="*/ 21676 h 58577"/>
                          <a:gd name="connsiteX6" fmla="*/ 2050 w 206623"/>
                          <a:gd name="connsiteY6" fmla="*/ 39323 h 58577"/>
                          <a:gd name="connsiteX7" fmla="*/ 72068 w 206623"/>
                          <a:gd name="connsiteY7" fmla="*/ 57505 h 58577"/>
                          <a:gd name="connsiteX8" fmla="*/ 109369 w 206623"/>
                          <a:gd name="connsiteY8" fmla="*/ 52392 h 58577"/>
                          <a:gd name="connsiteX9" fmla="*/ 145535 w 206623"/>
                          <a:gd name="connsiteY9" fmla="*/ 52392 h 58577"/>
                          <a:gd name="connsiteX10" fmla="*/ 176221 w 206623"/>
                          <a:gd name="connsiteY10" fmla="*/ 30132 h 58577"/>
                          <a:gd name="connsiteX11" fmla="*/ 203172 w 206623"/>
                          <a:gd name="connsiteY11" fmla="*/ 13052 h 58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06623" h="58577">
                            <a:moveTo>
                              <a:pt x="203172" y="12885"/>
                            </a:moveTo>
                            <a:cubicBezTo>
                              <a:pt x="184339" y="8874"/>
                              <a:pt x="168225" y="2858"/>
                              <a:pt x="148255" y="-117"/>
                            </a:cubicBezTo>
                            <a:cubicBezTo>
                              <a:pt x="135225" y="-2022"/>
                              <a:pt x="127351" y="8975"/>
                              <a:pt x="114524" y="8574"/>
                            </a:cubicBezTo>
                            <a:cubicBezTo>
                              <a:pt x="88750" y="7805"/>
                              <a:pt x="52422" y="25586"/>
                              <a:pt x="31194" y="9409"/>
                            </a:cubicBezTo>
                            <a:cubicBezTo>
                              <a:pt x="26364" y="11648"/>
                              <a:pt x="28271" y="16963"/>
                              <a:pt x="21939" y="17966"/>
                            </a:cubicBezTo>
                            <a:cubicBezTo>
                              <a:pt x="14471" y="19169"/>
                              <a:pt x="8545" y="15860"/>
                              <a:pt x="9478" y="21676"/>
                            </a:cubicBezTo>
                            <a:cubicBezTo>
                              <a:pt x="10818" y="30265"/>
                              <a:pt x="-5784" y="31703"/>
                              <a:pt x="2050" y="39323"/>
                            </a:cubicBezTo>
                            <a:cubicBezTo>
                              <a:pt x="14552" y="51222"/>
                              <a:pt x="44954" y="61048"/>
                              <a:pt x="72068" y="57505"/>
                            </a:cubicBezTo>
                            <a:cubicBezTo>
                              <a:pt x="82621" y="56102"/>
                              <a:pt x="98451" y="51924"/>
                              <a:pt x="109369" y="52392"/>
                            </a:cubicBezTo>
                            <a:cubicBezTo>
                              <a:pt x="126377" y="53127"/>
                              <a:pt x="129299" y="57840"/>
                              <a:pt x="145535" y="52392"/>
                            </a:cubicBezTo>
                            <a:cubicBezTo>
                              <a:pt x="160188" y="47311"/>
                              <a:pt x="167535" y="37819"/>
                              <a:pt x="176221" y="30132"/>
                            </a:cubicBezTo>
                            <a:cubicBezTo>
                              <a:pt x="181132" y="25686"/>
                              <a:pt x="217704" y="16161"/>
                              <a:pt x="203172" y="13052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021" cap="flat">
                        <a:solidFill>
                          <a:schemeClr val="accent3">
                            <a:alpha val="44000"/>
                          </a:schemeClr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/>
                      </a:p>
                    </p:txBody>
                  </p:sp>
                  <p:grpSp>
                    <p:nvGrpSpPr>
                      <p:cNvPr id="430" name="Group 429">
                        <a:extLst>
                          <a:ext uri="{FF2B5EF4-FFF2-40B4-BE49-F238E27FC236}">
                            <a16:creationId xmlns:a16="http://schemas.microsoft.com/office/drawing/2014/main" id="{F0293AFD-8D37-426C-9FC8-BAE7C718439B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919317" y="3810531"/>
                        <a:ext cx="5822613" cy="1780476"/>
                        <a:chOff x="5919317" y="3810531"/>
                        <a:chExt cx="5822613" cy="1780476"/>
                      </a:xfrm>
                    </p:grpSpPr>
                    <p:sp>
                      <p:nvSpPr>
                        <p:cNvPr id="431" name="Freeform: Shape 430">
                          <a:extLst>
                            <a:ext uri="{FF2B5EF4-FFF2-40B4-BE49-F238E27FC236}">
                              <a16:creationId xmlns:a16="http://schemas.microsoft.com/office/drawing/2014/main" id="{362995A8-8C35-4D38-B920-38070215B3A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64108" y="4438426"/>
                          <a:ext cx="194845" cy="40765"/>
                        </a:xfrm>
                        <a:custGeom>
                          <a:avLst/>
                          <a:gdLst>
                            <a:gd name="connsiteX0" fmla="*/ 189406 w 199978"/>
                            <a:gd name="connsiteY0" fmla="*/ 26601 h 55817"/>
                            <a:gd name="connsiteX1" fmla="*/ 166554 w 199978"/>
                            <a:gd name="connsiteY1" fmla="*/ 20651 h 55817"/>
                            <a:gd name="connsiteX2" fmla="*/ 137695 w 199978"/>
                            <a:gd name="connsiteY2" fmla="*/ 19515 h 55817"/>
                            <a:gd name="connsiteX3" fmla="*/ 119754 w 199978"/>
                            <a:gd name="connsiteY3" fmla="*/ 10658 h 55817"/>
                            <a:gd name="connsiteX4" fmla="*/ 82858 w 199978"/>
                            <a:gd name="connsiteY4" fmla="*/ -339 h 55817"/>
                            <a:gd name="connsiteX5" fmla="*/ 59722 w 199978"/>
                            <a:gd name="connsiteY5" fmla="*/ 2736 h 55817"/>
                            <a:gd name="connsiteX6" fmla="*/ 15763 w 199978"/>
                            <a:gd name="connsiteY6" fmla="*/ 12596 h 55817"/>
                            <a:gd name="connsiteX7" fmla="*/ 5778 w 199978"/>
                            <a:gd name="connsiteY7" fmla="*/ 25966 h 55817"/>
                            <a:gd name="connsiteX8" fmla="*/ 27981 w 199978"/>
                            <a:gd name="connsiteY8" fmla="*/ 42677 h 55817"/>
                            <a:gd name="connsiteX9" fmla="*/ 48276 w 199978"/>
                            <a:gd name="connsiteY9" fmla="*/ 52705 h 55817"/>
                            <a:gd name="connsiteX10" fmla="*/ 81681 w 199978"/>
                            <a:gd name="connsiteY10" fmla="*/ 45719 h 55817"/>
                            <a:gd name="connsiteX11" fmla="*/ 112570 w 199978"/>
                            <a:gd name="connsiteY11" fmla="*/ 49864 h 55817"/>
                            <a:gd name="connsiteX12" fmla="*/ 139684 w 199978"/>
                            <a:gd name="connsiteY12" fmla="*/ 55479 h 55817"/>
                            <a:gd name="connsiteX13" fmla="*/ 168097 w 199978"/>
                            <a:gd name="connsiteY13" fmla="*/ 48025 h 55817"/>
                            <a:gd name="connsiteX14" fmla="*/ 199919 w 199978"/>
                            <a:gd name="connsiteY14" fmla="*/ 35090 h 55817"/>
                            <a:gd name="connsiteX15" fmla="*/ 189366 w 199978"/>
                            <a:gd name="connsiteY15" fmla="*/ 26668 h 55817"/>
                            <a:gd name="connsiteX16" fmla="*/ 189406 w 199978"/>
                            <a:gd name="connsiteY16" fmla="*/ 26601 h 5581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</a:cxnLst>
                          <a:rect l="l" t="t" r="r" b="b"/>
                          <a:pathLst>
                            <a:path w="199978" h="55817">
                              <a:moveTo>
                                <a:pt x="189406" y="26601"/>
                              </a:moveTo>
                              <a:cubicBezTo>
                                <a:pt x="180030" y="23459"/>
                                <a:pt x="170288" y="27169"/>
                                <a:pt x="166554" y="20651"/>
                              </a:cubicBezTo>
                              <a:cubicBezTo>
                                <a:pt x="161521" y="11828"/>
                                <a:pt x="145245" y="18713"/>
                                <a:pt x="137695" y="19515"/>
                              </a:cubicBezTo>
                              <a:cubicBezTo>
                                <a:pt x="126979" y="20651"/>
                                <a:pt x="125072" y="13298"/>
                                <a:pt x="119754" y="10658"/>
                              </a:cubicBezTo>
                              <a:cubicBezTo>
                                <a:pt x="109647" y="5711"/>
                                <a:pt x="94061" y="3973"/>
                                <a:pt x="82858" y="-339"/>
                              </a:cubicBezTo>
                              <a:cubicBezTo>
                                <a:pt x="79976" y="3405"/>
                                <a:pt x="66622" y="1266"/>
                                <a:pt x="59722" y="2736"/>
                              </a:cubicBezTo>
                              <a:cubicBezTo>
                                <a:pt x="45110" y="5778"/>
                                <a:pt x="30863" y="10424"/>
                                <a:pt x="15763" y="12596"/>
                              </a:cubicBezTo>
                              <a:cubicBezTo>
                                <a:pt x="-7860" y="15939"/>
                                <a:pt x="542" y="15939"/>
                                <a:pt x="5778" y="25966"/>
                              </a:cubicBezTo>
                              <a:cubicBezTo>
                                <a:pt x="10365" y="34723"/>
                                <a:pt x="13896" y="37463"/>
                                <a:pt x="27981" y="42677"/>
                              </a:cubicBezTo>
                              <a:cubicBezTo>
                                <a:pt x="30741" y="43680"/>
                                <a:pt x="52091" y="50331"/>
                                <a:pt x="48276" y="52705"/>
                              </a:cubicBezTo>
                              <a:cubicBezTo>
                                <a:pt x="64877" y="55211"/>
                                <a:pt x="76689" y="54777"/>
                                <a:pt x="81681" y="45719"/>
                              </a:cubicBezTo>
                              <a:cubicBezTo>
                                <a:pt x="84076" y="41307"/>
                                <a:pt x="108511" y="47357"/>
                                <a:pt x="112570" y="49864"/>
                              </a:cubicBezTo>
                              <a:cubicBezTo>
                                <a:pt x="122839" y="56114"/>
                                <a:pt x="134894" y="48560"/>
                                <a:pt x="139684" y="55479"/>
                              </a:cubicBezTo>
                              <a:cubicBezTo>
                                <a:pt x="145854" y="48527"/>
                                <a:pt x="156448" y="50766"/>
                                <a:pt x="168097" y="48025"/>
                              </a:cubicBezTo>
                              <a:cubicBezTo>
                                <a:pt x="180274" y="45117"/>
                                <a:pt x="187377" y="38332"/>
                                <a:pt x="199919" y="35090"/>
                              </a:cubicBezTo>
                              <a:cubicBezTo>
                                <a:pt x="196307" y="32617"/>
                                <a:pt x="194602" y="28405"/>
                                <a:pt x="189366" y="26668"/>
                              </a:cubicBezTo>
                              <a:cubicBezTo>
                                <a:pt x="184130" y="24930"/>
                                <a:pt x="193587" y="28038"/>
                                <a:pt x="189406" y="26601"/>
                              </a:cubicBezTo>
                              <a:close/>
                            </a:path>
                          </a:pathLst>
                        </a:custGeom>
                        <a:solidFill>
                          <a:schemeClr val="accent3"/>
                        </a:solidFill>
                        <a:ln w="3021" cap="flat">
                          <a:solidFill>
                            <a:schemeClr val="accent3">
                              <a:alpha val="44000"/>
                            </a:schemeClr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GB"/>
                        </a:p>
                      </p:txBody>
                    </p:sp>
                    <p:grpSp>
                      <p:nvGrpSpPr>
                        <p:cNvPr id="432" name="Group 431">
                          <a:extLst>
                            <a:ext uri="{FF2B5EF4-FFF2-40B4-BE49-F238E27FC236}">
                              <a16:creationId xmlns:a16="http://schemas.microsoft.com/office/drawing/2014/main" id="{AB111C0E-1C0B-4EED-823B-4142F1F18273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5919317" y="3810531"/>
                          <a:ext cx="5822613" cy="1780476"/>
                          <a:chOff x="5919317" y="3810531"/>
                          <a:chExt cx="5822613" cy="1780476"/>
                        </a:xfrm>
                      </p:grpSpPr>
                      <p:grpSp>
                        <p:nvGrpSpPr>
                          <p:cNvPr id="433" name="Group 432">
                            <a:extLst>
                              <a:ext uri="{FF2B5EF4-FFF2-40B4-BE49-F238E27FC236}">
                                <a16:creationId xmlns:a16="http://schemas.microsoft.com/office/drawing/2014/main" id="{BF2808F9-82E8-410C-B67F-C16CD498B252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5919317" y="3810531"/>
                            <a:ext cx="883469" cy="663729"/>
                            <a:chOff x="5919317" y="3810531"/>
                            <a:chExt cx="883469" cy="663729"/>
                          </a:xfrm>
                        </p:grpSpPr>
                        <p:sp>
                          <p:nvSpPr>
                            <p:cNvPr id="435" name="Freeform: Shape 434">
                              <a:extLst>
                                <a:ext uri="{FF2B5EF4-FFF2-40B4-BE49-F238E27FC236}">
                                  <a16:creationId xmlns:a16="http://schemas.microsoft.com/office/drawing/2014/main" id="{AF18591A-123A-4845-BC33-1F77FBEFF546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6023077" y="4321905"/>
                              <a:ext cx="151660" cy="55113"/>
                            </a:xfrm>
                            <a:custGeom>
                              <a:avLst/>
                              <a:gdLst>
                                <a:gd name="connsiteX0" fmla="*/ 78924 w 155655"/>
                                <a:gd name="connsiteY0" fmla="*/ 27249 h 75462"/>
                                <a:gd name="connsiteX1" fmla="*/ 67803 w 155655"/>
                                <a:gd name="connsiteY1" fmla="*/ 845 h 75462"/>
                                <a:gd name="connsiteX2" fmla="*/ 45275 w 155655"/>
                                <a:gd name="connsiteY2" fmla="*/ 12509 h 75462"/>
                                <a:gd name="connsiteX3" fmla="*/ 35006 w 155655"/>
                                <a:gd name="connsiteY3" fmla="*/ 21333 h 75462"/>
                                <a:gd name="connsiteX4" fmla="*/ 10084 w 155655"/>
                                <a:gd name="connsiteY4" fmla="*/ 18726 h 75462"/>
                                <a:gd name="connsiteX5" fmla="*/ 1113 w 155655"/>
                                <a:gd name="connsiteY5" fmla="*/ 43627 h 75462"/>
                                <a:gd name="connsiteX6" fmla="*/ 8947 w 155655"/>
                                <a:gd name="connsiteY6" fmla="*/ 53654 h 75462"/>
                                <a:gd name="connsiteX7" fmla="*/ 16253 w 155655"/>
                                <a:gd name="connsiteY7" fmla="*/ 65686 h 75462"/>
                                <a:gd name="connsiteX8" fmla="*/ 63744 w 155655"/>
                                <a:gd name="connsiteY8" fmla="*/ 70633 h 75462"/>
                                <a:gd name="connsiteX9" fmla="*/ 53677 w 155655"/>
                                <a:gd name="connsiteY9" fmla="*/ 59770 h 75462"/>
                                <a:gd name="connsiteX10" fmla="*/ 78599 w 155655"/>
                                <a:gd name="connsiteY10" fmla="*/ 65486 h 75462"/>
                                <a:gd name="connsiteX11" fmla="*/ 83713 w 155655"/>
                                <a:gd name="connsiteY11" fmla="*/ 52117 h 75462"/>
                                <a:gd name="connsiteX12" fmla="*/ 64109 w 155655"/>
                                <a:gd name="connsiteY12" fmla="*/ 51381 h 75462"/>
                                <a:gd name="connsiteX13" fmla="*/ 73525 w 155655"/>
                                <a:gd name="connsiteY13" fmla="*/ 40819 h 75462"/>
                                <a:gd name="connsiteX14" fmla="*/ 91953 w 155655"/>
                                <a:gd name="connsiteY14" fmla="*/ 36474 h 75462"/>
                                <a:gd name="connsiteX15" fmla="*/ 78924 w 155655"/>
                                <a:gd name="connsiteY15" fmla="*/ 27015 h 75462"/>
                                <a:gd name="connsiteX16" fmla="*/ 154096 w 155655"/>
                                <a:gd name="connsiteY16" fmla="*/ 42858 h 75462"/>
                                <a:gd name="connsiteX17" fmla="*/ 140377 w 155655"/>
                                <a:gd name="connsiteY17" fmla="*/ 46200 h 75462"/>
                                <a:gd name="connsiteX18" fmla="*/ 132259 w 155655"/>
                                <a:gd name="connsiteY18" fmla="*/ 41087 h 75462"/>
                                <a:gd name="connsiteX19" fmla="*/ 120529 w 155655"/>
                                <a:gd name="connsiteY19" fmla="*/ 44262 h 75462"/>
                                <a:gd name="connsiteX20" fmla="*/ 106484 w 155655"/>
                                <a:gd name="connsiteY20" fmla="*/ 54022 h 75462"/>
                                <a:gd name="connsiteX21" fmla="*/ 121949 w 155655"/>
                                <a:gd name="connsiteY21" fmla="*/ 62946 h 75462"/>
                                <a:gd name="connsiteX22" fmla="*/ 108270 w 155655"/>
                                <a:gd name="connsiteY22" fmla="*/ 69363 h 75462"/>
                                <a:gd name="connsiteX23" fmla="*/ 145532 w 155655"/>
                                <a:gd name="connsiteY23" fmla="*/ 62678 h 75462"/>
                                <a:gd name="connsiteX24" fmla="*/ 153893 w 155655"/>
                                <a:gd name="connsiteY24" fmla="*/ 42624 h 75462"/>
                                <a:gd name="connsiteX25" fmla="*/ 154096 w 155655"/>
                                <a:gd name="connsiteY25" fmla="*/ 42858 h 75462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  <a:cxn ang="0">
                                  <a:pos x="connsiteX18" y="connsiteY18"/>
                                </a:cxn>
                                <a:cxn ang="0">
                                  <a:pos x="connsiteX19" y="connsiteY19"/>
                                </a:cxn>
                                <a:cxn ang="0">
                                  <a:pos x="connsiteX20" y="connsiteY20"/>
                                </a:cxn>
                                <a:cxn ang="0">
                                  <a:pos x="connsiteX21" y="connsiteY21"/>
                                </a:cxn>
                                <a:cxn ang="0">
                                  <a:pos x="connsiteX22" y="connsiteY22"/>
                                </a:cxn>
                                <a:cxn ang="0">
                                  <a:pos x="connsiteX23" y="connsiteY23"/>
                                </a:cxn>
                                <a:cxn ang="0">
                                  <a:pos x="connsiteX24" y="connsiteY24"/>
                                </a:cxn>
                                <a:cxn ang="0">
                                  <a:pos x="connsiteX25" y="connsiteY25"/>
                                </a:cxn>
                              </a:cxnLst>
                              <a:rect l="l" t="t" r="r" b="b"/>
                              <a:pathLst>
                                <a:path w="155655" h="75462">
                                  <a:moveTo>
                                    <a:pt x="78924" y="27249"/>
                                  </a:moveTo>
                                  <a:cubicBezTo>
                                    <a:pt x="64636" y="23706"/>
                                    <a:pt x="101817" y="-6642"/>
                                    <a:pt x="67803" y="845"/>
                                  </a:cubicBezTo>
                                  <a:cubicBezTo>
                                    <a:pt x="55382" y="3585"/>
                                    <a:pt x="59685" y="12142"/>
                                    <a:pt x="45275" y="12509"/>
                                  </a:cubicBezTo>
                                  <a:cubicBezTo>
                                    <a:pt x="29770" y="12944"/>
                                    <a:pt x="44545" y="22169"/>
                                    <a:pt x="35006" y="21333"/>
                                  </a:cubicBezTo>
                                  <a:cubicBezTo>
                                    <a:pt x="26888" y="20631"/>
                                    <a:pt x="18770" y="10705"/>
                                    <a:pt x="10084" y="18726"/>
                                  </a:cubicBezTo>
                                  <a:cubicBezTo>
                                    <a:pt x="1398" y="26748"/>
                                    <a:pt x="-2093" y="34536"/>
                                    <a:pt x="1113" y="43627"/>
                                  </a:cubicBezTo>
                                  <a:cubicBezTo>
                                    <a:pt x="2169" y="47631"/>
                                    <a:pt x="4970" y="51187"/>
                                    <a:pt x="8947" y="53654"/>
                                  </a:cubicBezTo>
                                  <a:cubicBezTo>
                                    <a:pt x="16010" y="58300"/>
                                    <a:pt x="12276" y="60974"/>
                                    <a:pt x="16253" y="65686"/>
                                  </a:cubicBezTo>
                                  <a:cubicBezTo>
                                    <a:pt x="21084" y="71402"/>
                                    <a:pt x="51120" y="71536"/>
                                    <a:pt x="63744" y="70633"/>
                                  </a:cubicBezTo>
                                  <a:cubicBezTo>
                                    <a:pt x="62891" y="69898"/>
                                    <a:pt x="42434" y="60305"/>
                                    <a:pt x="53677" y="59770"/>
                                  </a:cubicBezTo>
                                  <a:cubicBezTo>
                                    <a:pt x="62729" y="59336"/>
                                    <a:pt x="69466" y="64851"/>
                                    <a:pt x="78599" y="65486"/>
                                  </a:cubicBezTo>
                                  <a:cubicBezTo>
                                    <a:pt x="95119" y="66656"/>
                                    <a:pt x="95972" y="54289"/>
                                    <a:pt x="83713" y="52117"/>
                                  </a:cubicBezTo>
                                  <a:cubicBezTo>
                                    <a:pt x="75596" y="50679"/>
                                    <a:pt x="71131" y="56395"/>
                                    <a:pt x="64109" y="51381"/>
                                  </a:cubicBezTo>
                                  <a:cubicBezTo>
                                    <a:pt x="60293" y="48640"/>
                                    <a:pt x="71983" y="43293"/>
                                    <a:pt x="73525" y="40819"/>
                                  </a:cubicBezTo>
                                  <a:cubicBezTo>
                                    <a:pt x="75677" y="37310"/>
                                    <a:pt x="86758" y="37811"/>
                                    <a:pt x="91953" y="36474"/>
                                  </a:cubicBezTo>
                                  <a:cubicBezTo>
                                    <a:pt x="103359" y="33600"/>
                                    <a:pt x="83105" y="28051"/>
                                    <a:pt x="78924" y="27015"/>
                                  </a:cubicBezTo>
                                  <a:close/>
                                  <a:moveTo>
                                    <a:pt x="154096" y="42858"/>
                                  </a:moveTo>
                                  <a:cubicBezTo>
                                    <a:pt x="148698" y="41087"/>
                                    <a:pt x="145653" y="48975"/>
                                    <a:pt x="140377" y="46200"/>
                                  </a:cubicBezTo>
                                  <a:cubicBezTo>
                                    <a:pt x="139362" y="45699"/>
                                    <a:pt x="134167" y="40452"/>
                                    <a:pt x="132259" y="41087"/>
                                  </a:cubicBezTo>
                                  <a:cubicBezTo>
                                    <a:pt x="125440" y="43560"/>
                                    <a:pt x="131447" y="44696"/>
                                    <a:pt x="120529" y="44262"/>
                                  </a:cubicBezTo>
                                  <a:cubicBezTo>
                                    <a:pt x="110868" y="43894"/>
                                    <a:pt x="104293" y="49710"/>
                                    <a:pt x="106484" y="54022"/>
                                  </a:cubicBezTo>
                                  <a:cubicBezTo>
                                    <a:pt x="108676" y="58333"/>
                                    <a:pt x="115577" y="60706"/>
                                    <a:pt x="121949" y="62946"/>
                                  </a:cubicBezTo>
                                  <a:cubicBezTo>
                                    <a:pt x="134126" y="66990"/>
                                    <a:pt x="107134" y="66622"/>
                                    <a:pt x="108270" y="69363"/>
                                  </a:cubicBezTo>
                                  <a:cubicBezTo>
                                    <a:pt x="113709" y="82732"/>
                                    <a:pt x="142244" y="69564"/>
                                    <a:pt x="145532" y="62678"/>
                                  </a:cubicBezTo>
                                  <a:cubicBezTo>
                                    <a:pt x="146831" y="59938"/>
                                    <a:pt x="157709" y="43861"/>
                                    <a:pt x="153893" y="42624"/>
                                  </a:cubicBezTo>
                                  <a:cubicBezTo>
                                    <a:pt x="150078" y="41387"/>
                                    <a:pt x="158967" y="44195"/>
                                    <a:pt x="154096" y="42858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accent3"/>
                            </a:solidFill>
                            <a:ln w="3021" cap="flat">
                              <a:solidFill>
                                <a:schemeClr val="accent3">
                                  <a:alpha val="44000"/>
                                </a:schemeClr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en-GB"/>
                            </a:p>
                          </p:txBody>
                        </p:sp>
                        <p:grpSp>
                          <p:nvGrpSpPr>
                            <p:cNvPr id="436" name="Group 435">
                              <a:extLst>
                                <a:ext uri="{FF2B5EF4-FFF2-40B4-BE49-F238E27FC236}">
                                  <a16:creationId xmlns:a16="http://schemas.microsoft.com/office/drawing/2014/main" id="{641ABF8A-DEF5-43F1-9950-6B7DB630A2BA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5919317" y="3810531"/>
                              <a:ext cx="883469" cy="663729"/>
                              <a:chOff x="5919317" y="3810531"/>
                              <a:chExt cx="883469" cy="663729"/>
                            </a:xfrm>
                          </p:grpSpPr>
                          <p:sp>
                            <p:nvSpPr>
                              <p:cNvPr id="437" name="Freeform: Shape 436">
                                <a:extLst>
                                  <a:ext uri="{FF2B5EF4-FFF2-40B4-BE49-F238E27FC236}">
                                    <a16:creationId xmlns:a16="http://schemas.microsoft.com/office/drawing/2014/main" id="{6FFB97F8-08A8-457A-AA66-E64E1A3EE678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6430401" y="4349304"/>
                                <a:ext cx="186136" cy="45974"/>
                              </a:xfrm>
                              <a:custGeom>
                                <a:avLst/>
                                <a:gdLst>
                                  <a:gd name="connsiteX0" fmla="*/ 24715 w 191040"/>
                                  <a:gd name="connsiteY0" fmla="*/ 28205 h 62949"/>
                                  <a:gd name="connsiteX1" fmla="*/ 62301 w 191040"/>
                                  <a:gd name="connsiteY1" fmla="*/ 41575 h 62949"/>
                                  <a:gd name="connsiteX2" fmla="*/ 85681 w 191040"/>
                                  <a:gd name="connsiteY2" fmla="*/ 58019 h 62949"/>
                                  <a:gd name="connsiteX3" fmla="*/ 140234 w 191040"/>
                                  <a:gd name="connsiteY3" fmla="*/ 56816 h 62949"/>
                                  <a:gd name="connsiteX4" fmla="*/ 174085 w 191040"/>
                                  <a:gd name="connsiteY4" fmla="*/ 41508 h 62949"/>
                                  <a:gd name="connsiteX5" fmla="*/ 183786 w 191040"/>
                                  <a:gd name="connsiteY5" fmla="*/ 22757 h 62949"/>
                                  <a:gd name="connsiteX6" fmla="*/ 156591 w 191040"/>
                                  <a:gd name="connsiteY6" fmla="*/ 11560 h 62949"/>
                                  <a:gd name="connsiteX7" fmla="*/ 135322 w 191040"/>
                                  <a:gd name="connsiteY7" fmla="*/ 5711 h 62949"/>
                                  <a:gd name="connsiteX8" fmla="*/ 110969 w 191040"/>
                                  <a:gd name="connsiteY8" fmla="*/ 5042 h 62949"/>
                                  <a:gd name="connsiteX9" fmla="*/ 78497 w 191040"/>
                                  <a:gd name="connsiteY9" fmla="*/ 2436 h 62949"/>
                                  <a:gd name="connsiteX10" fmla="*/ 44970 w 191040"/>
                                  <a:gd name="connsiteY10" fmla="*/ -339 h 62949"/>
                                  <a:gd name="connsiteX11" fmla="*/ 7221 w 191040"/>
                                  <a:gd name="connsiteY11" fmla="*/ 3472 h 62949"/>
                                  <a:gd name="connsiteX12" fmla="*/ 36 w 191040"/>
                                  <a:gd name="connsiteY12" fmla="*/ 24094 h 62949"/>
                                  <a:gd name="connsiteX13" fmla="*/ 24756 w 191040"/>
                                  <a:gd name="connsiteY13" fmla="*/ 28272 h 62949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</a:cxnLst>
                                <a:rect l="l" t="t" r="r" b="b"/>
                                <a:pathLst>
                                  <a:path w="191040" h="62949">
                                    <a:moveTo>
                                      <a:pt x="24715" y="28205"/>
                                    </a:moveTo>
                                    <a:cubicBezTo>
                                      <a:pt x="33604" y="35124"/>
                                      <a:pt x="65305" y="30210"/>
                                      <a:pt x="62301" y="41575"/>
                                    </a:cubicBezTo>
                                    <a:cubicBezTo>
                                      <a:pt x="58243" y="55512"/>
                                      <a:pt x="71028" y="48527"/>
                                      <a:pt x="85681" y="58019"/>
                                    </a:cubicBezTo>
                                    <a:cubicBezTo>
                                      <a:pt x="101673" y="68447"/>
                                      <a:pt x="123633" y="58019"/>
                                      <a:pt x="140234" y="56816"/>
                                    </a:cubicBezTo>
                                    <a:cubicBezTo>
                                      <a:pt x="161178" y="55178"/>
                                      <a:pt x="152411" y="44048"/>
                                      <a:pt x="174085" y="41508"/>
                                    </a:cubicBezTo>
                                    <a:cubicBezTo>
                                      <a:pt x="191295" y="39536"/>
                                      <a:pt x="196816" y="27704"/>
                                      <a:pt x="183786" y="22757"/>
                                    </a:cubicBezTo>
                                    <a:cubicBezTo>
                                      <a:pt x="174370" y="19214"/>
                                      <a:pt x="166658" y="14702"/>
                                      <a:pt x="156591" y="11560"/>
                                    </a:cubicBezTo>
                                    <a:cubicBezTo>
                                      <a:pt x="147824" y="8853"/>
                                      <a:pt x="142750" y="9354"/>
                                      <a:pt x="135322" y="5711"/>
                                    </a:cubicBezTo>
                                    <a:cubicBezTo>
                                      <a:pt x="129640" y="2970"/>
                                      <a:pt x="117665" y="5343"/>
                                      <a:pt x="110969" y="5042"/>
                                    </a:cubicBezTo>
                                    <a:cubicBezTo>
                                      <a:pt x="100293" y="4541"/>
                                      <a:pt x="89172" y="3505"/>
                                      <a:pt x="78497" y="2436"/>
                                    </a:cubicBezTo>
                                    <a:cubicBezTo>
                                      <a:pt x="67415" y="938"/>
                                      <a:pt x="56213" y="12"/>
                                      <a:pt x="44970" y="-339"/>
                                    </a:cubicBezTo>
                                    <a:cubicBezTo>
                                      <a:pt x="31981" y="-339"/>
                                      <a:pt x="20900" y="3371"/>
                                      <a:pt x="7221" y="3472"/>
                                    </a:cubicBezTo>
                                    <a:cubicBezTo>
                                      <a:pt x="16272" y="13499"/>
                                      <a:pt x="3162" y="15872"/>
                                      <a:pt x="36" y="24094"/>
                                    </a:cubicBezTo>
                                    <a:cubicBezTo>
                                      <a:pt x="-1709" y="28506"/>
                                      <a:pt x="20859" y="25264"/>
                                      <a:pt x="24756" y="28272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chemeClr val="accent3"/>
                              </a:solidFill>
                              <a:ln w="3021" cap="flat">
                                <a:solidFill>
                                  <a:schemeClr val="accent3">
                                    <a:alpha val="44000"/>
                                  </a:schemeClr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GB"/>
                              </a:p>
                            </p:txBody>
                          </p:sp>
                          <p:grpSp>
                            <p:nvGrpSpPr>
                              <p:cNvPr id="438" name="Group 437">
                                <a:extLst>
                                  <a:ext uri="{FF2B5EF4-FFF2-40B4-BE49-F238E27FC236}">
                                    <a16:creationId xmlns:a16="http://schemas.microsoft.com/office/drawing/2014/main" id="{03B8C757-C493-45C9-AE65-6BA7AD0044C1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5919317" y="3810531"/>
                                <a:ext cx="883469" cy="663729"/>
                                <a:chOff x="5919317" y="3810531"/>
                                <a:chExt cx="883469" cy="663729"/>
                              </a:xfrm>
                            </p:grpSpPr>
                            <p:sp>
                              <p:nvSpPr>
                                <p:cNvPr id="439" name="Freeform: Shape 438">
                                  <a:extLst>
                                    <a:ext uri="{FF2B5EF4-FFF2-40B4-BE49-F238E27FC236}">
                                      <a16:creationId xmlns:a16="http://schemas.microsoft.com/office/drawing/2014/main" id="{F29B2ABA-3661-4245-8204-D44B1EF7ACE8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6220655" y="4373740"/>
                                  <a:ext cx="303861" cy="100520"/>
                                </a:xfrm>
                                <a:custGeom>
                                  <a:avLst/>
                                  <a:gdLst>
                                    <a:gd name="connsiteX0" fmla="*/ 3593 w 311866"/>
                                    <a:gd name="connsiteY0" fmla="*/ 24726 h 137635"/>
                                    <a:gd name="connsiteX1" fmla="*/ 710 w 311866"/>
                                    <a:gd name="connsiteY1" fmla="*/ 47755 h 137635"/>
                                    <a:gd name="connsiteX2" fmla="*/ 16946 w 311866"/>
                                    <a:gd name="connsiteY2" fmla="*/ 71352 h 137635"/>
                                    <a:gd name="connsiteX3" fmla="*/ 43695 w 311866"/>
                                    <a:gd name="connsiteY3" fmla="*/ 94214 h 137635"/>
                                    <a:gd name="connsiteX4" fmla="*/ 63990 w 311866"/>
                                    <a:gd name="connsiteY4" fmla="*/ 100899 h 137635"/>
                                    <a:gd name="connsiteX5" fmla="*/ 79455 w 311866"/>
                                    <a:gd name="connsiteY5" fmla="*/ 108152 h 137635"/>
                                    <a:gd name="connsiteX6" fmla="*/ 87329 w 311866"/>
                                    <a:gd name="connsiteY6" fmla="*/ 104809 h 137635"/>
                                    <a:gd name="connsiteX7" fmla="*/ 101008 w 311866"/>
                                    <a:gd name="connsiteY7" fmla="*/ 105578 h 137635"/>
                                    <a:gd name="connsiteX8" fmla="*/ 112576 w 311866"/>
                                    <a:gd name="connsiteY8" fmla="*/ 113199 h 137635"/>
                                    <a:gd name="connsiteX9" fmla="*/ 134697 w 311866"/>
                                    <a:gd name="connsiteY9" fmla="*/ 117377 h 137635"/>
                                    <a:gd name="connsiteX10" fmla="*/ 156575 w 311866"/>
                                    <a:gd name="connsiteY10" fmla="*/ 125766 h 137635"/>
                                    <a:gd name="connsiteX11" fmla="*/ 178331 w 311866"/>
                                    <a:gd name="connsiteY11" fmla="*/ 127738 h 137635"/>
                                    <a:gd name="connsiteX12" fmla="*/ 205323 w 311866"/>
                                    <a:gd name="connsiteY12" fmla="*/ 128306 h 137635"/>
                                    <a:gd name="connsiteX13" fmla="*/ 235441 w 311866"/>
                                    <a:gd name="connsiteY13" fmla="*/ 131180 h 137635"/>
                                    <a:gd name="connsiteX14" fmla="*/ 265640 w 311866"/>
                                    <a:gd name="connsiteY14" fmla="*/ 137297 h 137635"/>
                                    <a:gd name="connsiteX15" fmla="*/ 268684 w 311866"/>
                                    <a:gd name="connsiteY15" fmla="*/ 123694 h 137635"/>
                                    <a:gd name="connsiteX16" fmla="*/ 296529 w 311866"/>
                                    <a:gd name="connsiteY16" fmla="*/ 111060 h 137635"/>
                                    <a:gd name="connsiteX17" fmla="*/ 309274 w 311866"/>
                                    <a:gd name="connsiteY17" fmla="*/ 98292 h 137635"/>
                                    <a:gd name="connsiteX18" fmla="*/ 296772 w 311866"/>
                                    <a:gd name="connsiteY18" fmla="*/ 79541 h 137635"/>
                                    <a:gd name="connsiteX19" fmla="*/ 297543 w 311866"/>
                                    <a:gd name="connsiteY19" fmla="*/ 70650 h 137635"/>
                                    <a:gd name="connsiteX20" fmla="*/ 287680 w 311866"/>
                                    <a:gd name="connsiteY20" fmla="*/ 63966 h 137635"/>
                                    <a:gd name="connsiteX21" fmla="*/ 311790 w 311866"/>
                                    <a:gd name="connsiteY21" fmla="*/ 49326 h 137635"/>
                                    <a:gd name="connsiteX22" fmla="*/ 306879 w 311866"/>
                                    <a:gd name="connsiteY22" fmla="*/ 41305 h 137635"/>
                                    <a:gd name="connsiteX23" fmla="*/ 302536 w 311866"/>
                                    <a:gd name="connsiteY23" fmla="*/ 26030 h 137635"/>
                                    <a:gd name="connsiteX24" fmla="*/ 275990 w 311866"/>
                                    <a:gd name="connsiteY24" fmla="*/ 16905 h 137635"/>
                                    <a:gd name="connsiteX25" fmla="*/ 193674 w 311866"/>
                                    <a:gd name="connsiteY25" fmla="*/ 12560 h 137635"/>
                                    <a:gd name="connsiteX26" fmla="*/ 182106 w 311866"/>
                                    <a:gd name="connsiteY26" fmla="*/ 10388 h 137635"/>
                                    <a:gd name="connsiteX27" fmla="*/ 162136 w 311866"/>
                                    <a:gd name="connsiteY27" fmla="*/ 12126 h 137635"/>
                                    <a:gd name="connsiteX28" fmla="*/ 137782 w 311866"/>
                                    <a:gd name="connsiteY28" fmla="*/ 1029 h 137635"/>
                                    <a:gd name="connsiteX29" fmla="*/ 68779 w 311866"/>
                                    <a:gd name="connsiteY29" fmla="*/ 9118 h 137635"/>
                                    <a:gd name="connsiteX30" fmla="*/ 27419 w 311866"/>
                                    <a:gd name="connsiteY30" fmla="*/ 16270 h 137635"/>
                                    <a:gd name="connsiteX31" fmla="*/ 3511 w 311866"/>
                                    <a:gd name="connsiteY31" fmla="*/ 22621 h 137635"/>
                                    <a:gd name="connsiteX32" fmla="*/ 3511 w 311866"/>
                                    <a:gd name="connsiteY32" fmla="*/ 24693 h 137635"/>
                                    <a:gd name="connsiteX33" fmla="*/ 3593 w 311866"/>
                                    <a:gd name="connsiteY33" fmla="*/ 24726 h 137635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  <a:cxn ang="0">
                                      <a:pos x="connsiteX22" y="connsiteY22"/>
                                    </a:cxn>
                                    <a:cxn ang="0">
                                      <a:pos x="connsiteX23" y="connsiteY23"/>
                                    </a:cxn>
                                    <a:cxn ang="0">
                                      <a:pos x="connsiteX24" y="connsiteY24"/>
                                    </a:cxn>
                                    <a:cxn ang="0">
                                      <a:pos x="connsiteX25" y="connsiteY25"/>
                                    </a:cxn>
                                    <a:cxn ang="0">
                                      <a:pos x="connsiteX26" y="connsiteY26"/>
                                    </a:cxn>
                                    <a:cxn ang="0">
                                      <a:pos x="connsiteX27" y="connsiteY27"/>
                                    </a:cxn>
                                    <a:cxn ang="0">
                                      <a:pos x="connsiteX28" y="connsiteY28"/>
                                    </a:cxn>
                                    <a:cxn ang="0">
                                      <a:pos x="connsiteX29" y="connsiteY29"/>
                                    </a:cxn>
                                    <a:cxn ang="0">
                                      <a:pos x="connsiteX30" y="connsiteY30"/>
                                    </a:cxn>
                                    <a:cxn ang="0">
                                      <a:pos x="connsiteX31" y="connsiteY31"/>
                                    </a:cxn>
                                    <a:cxn ang="0">
                                      <a:pos x="connsiteX32" y="connsiteY32"/>
                                    </a:cxn>
                                    <a:cxn ang="0">
                                      <a:pos x="connsiteX33" y="connsiteY33"/>
                                    </a:cxn>
                                  </a:cxnLst>
                                  <a:rect l="l" t="t" r="r" b="b"/>
                                  <a:pathLst>
                                    <a:path w="311866" h="137635">
                                      <a:moveTo>
                                        <a:pt x="3593" y="24726"/>
                                      </a:moveTo>
                                      <a:cubicBezTo>
                                        <a:pt x="7367" y="30041"/>
                                        <a:pt x="-2862" y="45549"/>
                                        <a:pt x="710" y="47755"/>
                                      </a:cubicBezTo>
                                      <a:cubicBezTo>
                                        <a:pt x="12644" y="55209"/>
                                        <a:pt x="14024" y="61659"/>
                                        <a:pt x="16946" y="71352"/>
                                      </a:cubicBezTo>
                                      <a:cubicBezTo>
                                        <a:pt x="19869" y="81045"/>
                                        <a:pt x="25430" y="90571"/>
                                        <a:pt x="43695" y="94214"/>
                                      </a:cubicBezTo>
                                      <a:cubicBezTo>
                                        <a:pt x="50352" y="95584"/>
                                        <a:pt x="60256" y="97323"/>
                                        <a:pt x="63990" y="100899"/>
                                      </a:cubicBezTo>
                                      <a:cubicBezTo>
                                        <a:pt x="67074" y="103706"/>
                                        <a:pt x="70809" y="109054"/>
                                        <a:pt x="79455" y="108152"/>
                                      </a:cubicBezTo>
                                      <a:lnTo>
                                        <a:pt x="87329" y="104809"/>
                                      </a:lnTo>
                                      <a:cubicBezTo>
                                        <a:pt x="91915" y="104813"/>
                                        <a:pt x="96462" y="105070"/>
                                        <a:pt x="101008" y="105578"/>
                                      </a:cubicBezTo>
                                      <a:cubicBezTo>
                                        <a:pt x="110708" y="105812"/>
                                        <a:pt x="105473" y="112029"/>
                                        <a:pt x="112576" y="113199"/>
                                      </a:cubicBezTo>
                                      <a:cubicBezTo>
                                        <a:pt x="119679" y="114368"/>
                                        <a:pt x="129786" y="113199"/>
                                        <a:pt x="134697" y="117377"/>
                                      </a:cubicBezTo>
                                      <a:cubicBezTo>
                                        <a:pt x="139608" y="121555"/>
                                        <a:pt x="143992" y="128406"/>
                                        <a:pt x="156575" y="125766"/>
                                      </a:cubicBezTo>
                                      <a:cubicBezTo>
                                        <a:pt x="164937" y="124028"/>
                                        <a:pt x="169929" y="126835"/>
                                        <a:pt x="178331" y="127738"/>
                                      </a:cubicBezTo>
                                      <a:cubicBezTo>
                                        <a:pt x="187667" y="128774"/>
                                        <a:pt x="196272" y="126668"/>
                                        <a:pt x="205323" y="128306"/>
                                      </a:cubicBezTo>
                                      <a:cubicBezTo>
                                        <a:pt x="215227" y="130144"/>
                                        <a:pt x="225618" y="129476"/>
                                        <a:pt x="235441" y="131180"/>
                                      </a:cubicBezTo>
                                      <a:cubicBezTo>
                                        <a:pt x="246197" y="133019"/>
                                        <a:pt x="254194" y="135960"/>
                                        <a:pt x="265640" y="137297"/>
                                      </a:cubicBezTo>
                                      <a:cubicBezTo>
                                        <a:pt x="270348" y="132718"/>
                                        <a:pt x="260729" y="127738"/>
                                        <a:pt x="268684" y="123694"/>
                                      </a:cubicBezTo>
                                      <a:cubicBezTo>
                                        <a:pt x="277533" y="119248"/>
                                        <a:pt x="288005" y="115672"/>
                                        <a:pt x="296529" y="111060"/>
                                      </a:cubicBezTo>
                                      <a:cubicBezTo>
                                        <a:pt x="305946" y="105979"/>
                                        <a:pt x="316255" y="107082"/>
                                        <a:pt x="309274" y="98292"/>
                                      </a:cubicBezTo>
                                      <a:cubicBezTo>
                                        <a:pt x="303835" y="91607"/>
                                        <a:pt x="296772" y="87128"/>
                                        <a:pt x="296772" y="79541"/>
                                      </a:cubicBezTo>
                                      <a:cubicBezTo>
                                        <a:pt x="296772" y="77268"/>
                                        <a:pt x="299898" y="72856"/>
                                        <a:pt x="297543" y="70650"/>
                                      </a:cubicBezTo>
                                      <a:cubicBezTo>
                                        <a:pt x="295189" y="68444"/>
                                        <a:pt x="287558" y="66573"/>
                                        <a:pt x="287680" y="63966"/>
                                      </a:cubicBezTo>
                                      <a:cubicBezTo>
                                        <a:pt x="288167" y="56412"/>
                                        <a:pt x="312521" y="58651"/>
                                        <a:pt x="311790" y="49326"/>
                                      </a:cubicBezTo>
                                      <a:cubicBezTo>
                                        <a:pt x="311831" y="46154"/>
                                        <a:pt x="310005" y="43163"/>
                                        <a:pt x="306879" y="41305"/>
                                      </a:cubicBezTo>
                                      <a:cubicBezTo>
                                        <a:pt x="296001" y="35823"/>
                                        <a:pt x="306270" y="31578"/>
                                        <a:pt x="302536" y="26030"/>
                                      </a:cubicBezTo>
                                      <a:cubicBezTo>
                                        <a:pt x="298802" y="20482"/>
                                        <a:pt x="277695" y="20248"/>
                                        <a:pt x="275990" y="16905"/>
                                      </a:cubicBezTo>
                                      <a:cubicBezTo>
                                        <a:pt x="249728" y="18309"/>
                                        <a:pt x="219652" y="15401"/>
                                        <a:pt x="193674" y="12560"/>
                                      </a:cubicBezTo>
                                      <a:cubicBezTo>
                                        <a:pt x="189778" y="12045"/>
                                        <a:pt x="185881" y="11320"/>
                                        <a:pt x="182106" y="10388"/>
                                      </a:cubicBezTo>
                                      <a:cubicBezTo>
                                        <a:pt x="166398" y="7045"/>
                                        <a:pt x="174962" y="10154"/>
                                        <a:pt x="162136" y="12126"/>
                                      </a:cubicBezTo>
                                      <a:cubicBezTo>
                                        <a:pt x="137295" y="15936"/>
                                        <a:pt x="147889" y="4071"/>
                                        <a:pt x="137782" y="1029"/>
                                      </a:cubicBezTo>
                                      <a:cubicBezTo>
                                        <a:pt x="122277" y="-3617"/>
                                        <a:pt x="81362" y="4706"/>
                                        <a:pt x="68779" y="9118"/>
                                      </a:cubicBezTo>
                                      <a:cubicBezTo>
                                        <a:pt x="55628" y="13570"/>
                                        <a:pt x="41625" y="15996"/>
                                        <a:pt x="27419" y="16270"/>
                                      </a:cubicBezTo>
                                      <a:cubicBezTo>
                                        <a:pt x="20356" y="16638"/>
                                        <a:pt x="6230" y="23323"/>
                                        <a:pt x="3511" y="22621"/>
                                      </a:cubicBezTo>
                                      <a:cubicBezTo>
                                        <a:pt x="3511" y="23323"/>
                                        <a:pt x="3511" y="23991"/>
                                        <a:pt x="3511" y="24693"/>
                                      </a:cubicBezTo>
                                      <a:cubicBezTo>
                                        <a:pt x="5784" y="27768"/>
                                        <a:pt x="3186" y="24125"/>
                                        <a:pt x="3593" y="24726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chemeClr val="accent3"/>
                                </a:solidFill>
                                <a:ln w="3021" cap="flat">
                                  <a:solidFill>
                                    <a:schemeClr val="accent3">
                                      <a:alpha val="44000"/>
                                    </a:schemeClr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GB"/>
                                </a:p>
                              </p:txBody>
                            </p:sp>
                            <p:grpSp>
                              <p:nvGrpSpPr>
                                <p:cNvPr id="440" name="Group 439">
                                  <a:extLst>
                                    <a:ext uri="{FF2B5EF4-FFF2-40B4-BE49-F238E27FC236}">
                                      <a16:creationId xmlns:a16="http://schemas.microsoft.com/office/drawing/2014/main" id="{9FF61B21-7C5F-4ECD-B8C6-B4F3D1A2C83D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6127475" y="4084420"/>
                                  <a:ext cx="668091" cy="284044"/>
                                  <a:chOff x="6127475" y="4084420"/>
                                  <a:chExt cx="668091" cy="284044"/>
                                </a:xfrm>
                              </p:grpSpPr>
                              <p:sp>
                                <p:nvSpPr>
                                  <p:cNvPr id="442" name="Freeform: Shape 441">
                                    <a:extLst>
                                      <a:ext uri="{FF2B5EF4-FFF2-40B4-BE49-F238E27FC236}">
                                        <a16:creationId xmlns:a16="http://schemas.microsoft.com/office/drawing/2014/main" id="{577DAB01-EC1E-4D4B-B824-FB3A33EE2D2D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432786" y="4323109"/>
                                    <a:ext cx="237765" cy="45355"/>
                                  </a:xfrm>
                                  <a:custGeom>
                                    <a:avLst/>
                                    <a:gdLst>
                                      <a:gd name="connsiteX0" fmla="*/ 80271 w 244029"/>
                                      <a:gd name="connsiteY0" fmla="*/ 38601 h 62102"/>
                                      <a:gd name="connsiteX1" fmla="*/ 154145 w 244029"/>
                                      <a:gd name="connsiteY1" fmla="*/ 47359 h 62102"/>
                                      <a:gd name="connsiteX2" fmla="*/ 173628 w 244029"/>
                                      <a:gd name="connsiteY2" fmla="*/ 55313 h 62102"/>
                                      <a:gd name="connsiteX3" fmla="*/ 190189 w 244029"/>
                                      <a:gd name="connsiteY3" fmla="*/ 61764 h 62102"/>
                                      <a:gd name="connsiteX4" fmla="*/ 205044 w 244029"/>
                                      <a:gd name="connsiteY4" fmla="*/ 57152 h 62102"/>
                                      <a:gd name="connsiteX5" fmla="*/ 225339 w 244029"/>
                                      <a:gd name="connsiteY5" fmla="*/ 57386 h 62102"/>
                                      <a:gd name="connsiteX6" fmla="*/ 243970 w 244029"/>
                                      <a:gd name="connsiteY6" fmla="*/ 51369 h 62102"/>
                                      <a:gd name="connsiteX7" fmla="*/ 232402 w 244029"/>
                                      <a:gd name="connsiteY7" fmla="*/ 37064 h 62102"/>
                                      <a:gd name="connsiteX8" fmla="*/ 225055 w 244029"/>
                                      <a:gd name="connsiteY8" fmla="*/ 20352 h 62102"/>
                                      <a:gd name="connsiteX9" fmla="*/ 197008 w 244029"/>
                                      <a:gd name="connsiteY9" fmla="*/ 13233 h 62102"/>
                                      <a:gd name="connsiteX10" fmla="*/ 175414 w 244029"/>
                                      <a:gd name="connsiteY10" fmla="*/ 9891 h 62102"/>
                                      <a:gd name="connsiteX11" fmla="*/ 127559 w 244029"/>
                                      <a:gd name="connsiteY11" fmla="*/ -337 h 62102"/>
                                      <a:gd name="connsiteX12" fmla="*/ 96954 w 244029"/>
                                      <a:gd name="connsiteY12" fmla="*/ 22257 h 62102"/>
                                      <a:gd name="connsiteX13" fmla="*/ 59084 w 244029"/>
                                      <a:gd name="connsiteY13" fmla="*/ 4643 h 62102"/>
                                      <a:gd name="connsiteX14" fmla="*/ 14881 w 244029"/>
                                      <a:gd name="connsiteY14" fmla="*/ 17277 h 62102"/>
                                      <a:gd name="connsiteX15" fmla="*/ 14881 w 244029"/>
                                      <a:gd name="connsiteY15" fmla="*/ 38936 h 62102"/>
                                      <a:gd name="connsiteX16" fmla="*/ 49504 w 244029"/>
                                      <a:gd name="connsiteY16" fmla="*/ 35593 h 62102"/>
                                      <a:gd name="connsiteX17" fmla="*/ 80271 w 244029"/>
                                      <a:gd name="connsiteY17" fmla="*/ 38601 h 62102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</a:cxnLst>
                                    <a:rect l="l" t="t" r="r" b="b"/>
                                    <a:pathLst>
                                      <a:path w="244029" h="62102">
                                        <a:moveTo>
                                          <a:pt x="80271" y="38601"/>
                                        </a:moveTo>
                                        <a:cubicBezTo>
                                          <a:pt x="107426" y="39738"/>
                                          <a:pt x="131252" y="40273"/>
                                          <a:pt x="154145" y="47359"/>
                                        </a:cubicBezTo>
                                        <a:cubicBezTo>
                                          <a:pt x="160923" y="49531"/>
                                          <a:pt x="167418" y="52192"/>
                                          <a:pt x="173628" y="55313"/>
                                        </a:cubicBezTo>
                                        <a:cubicBezTo>
                                          <a:pt x="178986" y="57736"/>
                                          <a:pt x="184506" y="59889"/>
                                          <a:pt x="190189" y="61764"/>
                                        </a:cubicBezTo>
                                        <a:cubicBezTo>
                                          <a:pt x="194329" y="58850"/>
                                          <a:pt x="199605" y="57218"/>
                                          <a:pt x="205044" y="57152"/>
                                        </a:cubicBezTo>
                                        <a:cubicBezTo>
                                          <a:pt x="211052" y="56951"/>
                                          <a:pt x="220185" y="59558"/>
                                          <a:pt x="225339" y="57386"/>
                                        </a:cubicBezTo>
                                        <a:cubicBezTo>
                                          <a:pt x="232240" y="54478"/>
                                          <a:pt x="233904" y="51837"/>
                                          <a:pt x="243970" y="51369"/>
                                        </a:cubicBezTo>
                                        <a:cubicBezTo>
                                          <a:pt x="239465" y="45888"/>
                                          <a:pt x="239302" y="42211"/>
                                          <a:pt x="232402" y="37064"/>
                                        </a:cubicBezTo>
                                        <a:cubicBezTo>
                                          <a:pt x="224284" y="31148"/>
                                          <a:pt x="234350" y="25867"/>
                                          <a:pt x="225055" y="20352"/>
                                        </a:cubicBezTo>
                                        <a:cubicBezTo>
                                          <a:pt x="215760" y="14837"/>
                                          <a:pt x="211985" y="14503"/>
                                          <a:pt x="197008" y="13233"/>
                                        </a:cubicBezTo>
                                        <a:cubicBezTo>
                                          <a:pt x="187997" y="12498"/>
                                          <a:pt x="183410" y="12798"/>
                                          <a:pt x="175414" y="9891"/>
                                        </a:cubicBezTo>
                                        <a:cubicBezTo>
                                          <a:pt x="156134" y="2905"/>
                                          <a:pt x="152116" y="-136"/>
                                          <a:pt x="127559" y="-337"/>
                                        </a:cubicBezTo>
                                        <a:cubicBezTo>
                                          <a:pt x="96020" y="-571"/>
                                          <a:pt x="130440" y="23060"/>
                                          <a:pt x="96954" y="22257"/>
                                        </a:cubicBezTo>
                                        <a:cubicBezTo>
                                          <a:pt x="75725" y="21756"/>
                                          <a:pt x="69190" y="13200"/>
                                          <a:pt x="59084" y="4643"/>
                                        </a:cubicBezTo>
                                        <a:cubicBezTo>
                                          <a:pt x="48977" y="-3913"/>
                                          <a:pt x="17357" y="11328"/>
                                          <a:pt x="14881" y="17277"/>
                                        </a:cubicBezTo>
                                        <a:cubicBezTo>
                                          <a:pt x="12649" y="22458"/>
                                          <a:pt x="-17591" y="40674"/>
                                          <a:pt x="14881" y="38936"/>
                                        </a:cubicBezTo>
                                        <a:cubicBezTo>
                                          <a:pt x="27464" y="38301"/>
                                          <a:pt x="36435" y="34858"/>
                                          <a:pt x="49504" y="35593"/>
                                        </a:cubicBezTo>
                                        <a:cubicBezTo>
                                          <a:pt x="59733" y="36228"/>
                                          <a:pt x="69921" y="38167"/>
                                          <a:pt x="80271" y="3860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443" name="Freeform: Shape 442">
                                    <a:extLst>
                                      <a:ext uri="{FF2B5EF4-FFF2-40B4-BE49-F238E27FC236}">
                                        <a16:creationId xmlns:a16="http://schemas.microsoft.com/office/drawing/2014/main" id="{2F3949E2-46B4-4CE3-B931-743D25902CA4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446735" y="4084420"/>
                                    <a:ext cx="348831" cy="201293"/>
                                  </a:xfrm>
                                  <a:custGeom>
                                    <a:avLst/>
                                    <a:gdLst>
                                      <a:gd name="connsiteX0" fmla="*/ 302349 w 358021"/>
                                      <a:gd name="connsiteY0" fmla="*/ 241220 h 275616"/>
                                      <a:gd name="connsiteX1" fmla="*/ 357957 w 358021"/>
                                      <a:gd name="connsiteY1" fmla="*/ 216319 h 275616"/>
                                      <a:gd name="connsiteX2" fmla="*/ 309818 w 358021"/>
                                      <a:gd name="connsiteY2" fmla="*/ 184299 h 275616"/>
                                      <a:gd name="connsiteX3" fmla="*/ 325688 w 358021"/>
                                      <a:gd name="connsiteY3" fmla="*/ 175542 h 275616"/>
                                      <a:gd name="connsiteX4" fmla="*/ 315135 w 358021"/>
                                      <a:gd name="connsiteY4" fmla="*/ 161738 h 275616"/>
                                      <a:gd name="connsiteX5" fmla="*/ 300726 w 358021"/>
                                      <a:gd name="connsiteY5" fmla="*/ 152179 h 275616"/>
                                      <a:gd name="connsiteX6" fmla="*/ 304257 w 358021"/>
                                      <a:gd name="connsiteY6" fmla="*/ 135634 h 275616"/>
                                      <a:gd name="connsiteX7" fmla="*/ 319559 w 358021"/>
                                      <a:gd name="connsiteY7" fmla="*/ 130019 h 275616"/>
                                      <a:gd name="connsiteX8" fmla="*/ 294556 w 358021"/>
                                      <a:gd name="connsiteY8" fmla="*/ 105954 h 275616"/>
                                      <a:gd name="connsiteX9" fmla="*/ 320209 w 358021"/>
                                      <a:gd name="connsiteY9" fmla="*/ 77979 h 275616"/>
                                      <a:gd name="connsiteX10" fmla="*/ 299386 w 358021"/>
                                      <a:gd name="connsiteY10" fmla="*/ 65044 h 275616"/>
                                      <a:gd name="connsiteX11" fmla="*/ 270608 w 358021"/>
                                      <a:gd name="connsiteY11" fmla="*/ 52109 h 275616"/>
                                      <a:gd name="connsiteX12" fmla="*/ 298452 w 358021"/>
                                      <a:gd name="connsiteY12" fmla="*/ 16680 h 275616"/>
                                      <a:gd name="connsiteX13" fmla="*/ 267361 w 358021"/>
                                      <a:gd name="connsiteY13" fmla="*/ 6218 h 275616"/>
                                      <a:gd name="connsiteX14" fmla="*/ 235376 w 358021"/>
                                      <a:gd name="connsiteY14" fmla="*/ 2408 h 275616"/>
                                      <a:gd name="connsiteX15" fmla="*/ 204609 w 358021"/>
                                      <a:gd name="connsiteY15" fmla="*/ 2575 h 275616"/>
                                      <a:gd name="connsiteX16" fmla="*/ 178631 w 358021"/>
                                      <a:gd name="connsiteY16" fmla="*/ 12335 h 275616"/>
                                      <a:gd name="connsiteX17" fmla="*/ 177779 w 358021"/>
                                      <a:gd name="connsiteY17" fmla="*/ 27843 h 275616"/>
                                      <a:gd name="connsiteX18" fmla="*/ 158215 w 358021"/>
                                      <a:gd name="connsiteY18" fmla="*/ 32556 h 275616"/>
                                      <a:gd name="connsiteX19" fmla="*/ 106301 w 358021"/>
                                      <a:gd name="connsiteY19" fmla="*/ 32556 h 275616"/>
                                      <a:gd name="connsiteX20" fmla="*/ 61043 w 358021"/>
                                      <a:gd name="connsiteY20" fmla="*/ 28645 h 275616"/>
                                      <a:gd name="connsiteX21" fmla="*/ 29748 w 358021"/>
                                      <a:gd name="connsiteY21" fmla="*/ 14908 h 275616"/>
                                      <a:gd name="connsiteX22" fmla="*/ 10509 w 358021"/>
                                      <a:gd name="connsiteY22" fmla="*/ 18886 h 275616"/>
                                      <a:gd name="connsiteX23" fmla="*/ 19844 w 358021"/>
                                      <a:gd name="connsiteY23" fmla="*/ 28345 h 275616"/>
                                      <a:gd name="connsiteX24" fmla="*/ 72611 w 358021"/>
                                      <a:gd name="connsiteY24" fmla="*/ 44321 h 275616"/>
                                      <a:gd name="connsiteX25" fmla="*/ 91769 w 358021"/>
                                      <a:gd name="connsiteY25" fmla="*/ 57457 h 275616"/>
                                      <a:gd name="connsiteX26" fmla="*/ 97249 w 358021"/>
                                      <a:gd name="connsiteY26" fmla="*/ 74837 h 275616"/>
                                      <a:gd name="connsiteX27" fmla="*/ 97858 w 358021"/>
                                      <a:gd name="connsiteY27" fmla="*/ 83928 h 275616"/>
                                      <a:gd name="connsiteX28" fmla="*/ 106503 w 358021"/>
                                      <a:gd name="connsiteY28" fmla="*/ 90078 h 275616"/>
                                      <a:gd name="connsiteX29" fmla="*/ 96762 w 358021"/>
                                      <a:gd name="connsiteY29" fmla="*/ 103849 h 275616"/>
                                      <a:gd name="connsiteX30" fmla="*/ 106747 w 358021"/>
                                      <a:gd name="connsiteY30" fmla="*/ 111436 h 275616"/>
                                      <a:gd name="connsiteX31" fmla="*/ 128016 w 358021"/>
                                      <a:gd name="connsiteY31" fmla="*/ 122633 h 275616"/>
                                      <a:gd name="connsiteX32" fmla="*/ 148311 w 358021"/>
                                      <a:gd name="connsiteY32" fmla="*/ 142286 h 275616"/>
                                      <a:gd name="connsiteX33" fmla="*/ 125256 w 358021"/>
                                      <a:gd name="connsiteY33" fmla="*/ 147399 h 275616"/>
                                      <a:gd name="connsiteX34" fmla="*/ 91080 w 358021"/>
                                      <a:gd name="connsiteY34" fmla="*/ 166250 h 275616"/>
                                      <a:gd name="connsiteX35" fmla="*/ 57471 w 358021"/>
                                      <a:gd name="connsiteY35" fmla="*/ 174640 h 275616"/>
                                      <a:gd name="connsiteX36" fmla="*/ 27516 w 358021"/>
                                      <a:gd name="connsiteY36" fmla="*/ 187274 h 275616"/>
                                      <a:gd name="connsiteX37" fmla="*/ 483 w 358021"/>
                                      <a:gd name="connsiteY37" fmla="*/ 199808 h 275616"/>
                                      <a:gd name="connsiteX38" fmla="*/ 8601 w 358021"/>
                                      <a:gd name="connsiteY38" fmla="*/ 215717 h 275616"/>
                                      <a:gd name="connsiteX39" fmla="*/ 16394 w 358021"/>
                                      <a:gd name="connsiteY39" fmla="*/ 229287 h 275616"/>
                                      <a:gd name="connsiteX40" fmla="*/ 1823 w 358021"/>
                                      <a:gd name="connsiteY40" fmla="*/ 255491 h 275616"/>
                                      <a:gd name="connsiteX41" fmla="*/ 35471 w 358021"/>
                                      <a:gd name="connsiteY41" fmla="*/ 263379 h 275616"/>
                                      <a:gd name="connsiteX42" fmla="*/ 47446 w 358021"/>
                                      <a:gd name="connsiteY42" fmla="*/ 267958 h 275616"/>
                                      <a:gd name="connsiteX43" fmla="*/ 61855 w 358021"/>
                                      <a:gd name="connsiteY43" fmla="*/ 270031 h 275616"/>
                                      <a:gd name="connsiteX44" fmla="*/ 105489 w 358021"/>
                                      <a:gd name="connsiteY44" fmla="*/ 275178 h 275616"/>
                                      <a:gd name="connsiteX45" fmla="*/ 208871 w 358021"/>
                                      <a:gd name="connsiteY45" fmla="*/ 268861 h 275616"/>
                                      <a:gd name="connsiteX46" fmla="*/ 253520 w 358021"/>
                                      <a:gd name="connsiteY46" fmla="*/ 257163 h 275616"/>
                                      <a:gd name="connsiteX47" fmla="*/ 302674 w 358021"/>
                                      <a:gd name="connsiteY47" fmla="*/ 241286 h 275616"/>
                                      <a:gd name="connsiteX48" fmla="*/ 302349 w 358021"/>
                                      <a:gd name="connsiteY48" fmla="*/ 241220 h 275616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  <a:cxn ang="0">
                                        <a:pos x="connsiteX40" y="connsiteY40"/>
                                      </a:cxn>
                                      <a:cxn ang="0">
                                        <a:pos x="connsiteX41" y="connsiteY41"/>
                                      </a:cxn>
                                      <a:cxn ang="0">
                                        <a:pos x="connsiteX42" y="connsiteY42"/>
                                      </a:cxn>
                                      <a:cxn ang="0">
                                        <a:pos x="connsiteX43" y="connsiteY43"/>
                                      </a:cxn>
                                      <a:cxn ang="0">
                                        <a:pos x="connsiteX44" y="connsiteY44"/>
                                      </a:cxn>
                                      <a:cxn ang="0">
                                        <a:pos x="connsiteX45" y="connsiteY45"/>
                                      </a:cxn>
                                      <a:cxn ang="0">
                                        <a:pos x="connsiteX46" y="connsiteY46"/>
                                      </a:cxn>
                                      <a:cxn ang="0">
                                        <a:pos x="connsiteX47" y="connsiteY47"/>
                                      </a:cxn>
                                      <a:cxn ang="0">
                                        <a:pos x="connsiteX48" y="connsiteY48"/>
                                      </a:cxn>
                                    </a:cxnLst>
                                    <a:rect l="l" t="t" r="r" b="b"/>
                                    <a:pathLst>
                                      <a:path w="358021" h="275616">
                                        <a:moveTo>
                                          <a:pt x="302349" y="241220"/>
                                        </a:moveTo>
                                        <a:cubicBezTo>
                                          <a:pt x="312983" y="231192"/>
                                          <a:pt x="358485" y="229588"/>
                                          <a:pt x="357957" y="216319"/>
                                        </a:cubicBezTo>
                                        <a:cubicBezTo>
                                          <a:pt x="357673" y="208164"/>
                                          <a:pt x="298169" y="186873"/>
                                          <a:pt x="309818" y="184299"/>
                                        </a:cubicBezTo>
                                        <a:cubicBezTo>
                                          <a:pt x="316475" y="182795"/>
                                          <a:pt x="334943" y="181659"/>
                                          <a:pt x="325688" y="175542"/>
                                        </a:cubicBezTo>
                                        <a:cubicBezTo>
                                          <a:pt x="316434" y="169426"/>
                                          <a:pt x="303323" y="168857"/>
                                          <a:pt x="315135" y="161738"/>
                                        </a:cubicBezTo>
                                        <a:cubicBezTo>
                                          <a:pt x="321345" y="158095"/>
                                          <a:pt x="292486" y="154820"/>
                                          <a:pt x="300726" y="152179"/>
                                        </a:cubicBezTo>
                                        <a:cubicBezTo>
                                          <a:pt x="316109" y="147266"/>
                                          <a:pt x="292608" y="141951"/>
                                          <a:pt x="304257" y="135634"/>
                                        </a:cubicBezTo>
                                        <a:cubicBezTo>
                                          <a:pt x="309087" y="133094"/>
                                          <a:pt x="322482" y="135133"/>
                                          <a:pt x="319559" y="130019"/>
                                        </a:cubicBezTo>
                                        <a:cubicBezTo>
                                          <a:pt x="314892" y="121764"/>
                                          <a:pt x="303323" y="113307"/>
                                          <a:pt x="294556" y="105954"/>
                                        </a:cubicBezTo>
                                        <a:cubicBezTo>
                                          <a:pt x="271826" y="86335"/>
                                          <a:pt x="318910" y="93186"/>
                                          <a:pt x="320209" y="77979"/>
                                        </a:cubicBezTo>
                                        <a:cubicBezTo>
                                          <a:pt x="320614" y="73801"/>
                                          <a:pt x="305231" y="67617"/>
                                          <a:pt x="299386" y="65044"/>
                                        </a:cubicBezTo>
                                        <a:cubicBezTo>
                                          <a:pt x="287209" y="59663"/>
                                          <a:pt x="279091" y="60064"/>
                                          <a:pt x="270608" y="52109"/>
                                        </a:cubicBezTo>
                                        <a:cubicBezTo>
                                          <a:pt x="255509" y="38171"/>
                                          <a:pt x="320899" y="30952"/>
                                          <a:pt x="298452" y="16680"/>
                                        </a:cubicBezTo>
                                        <a:cubicBezTo>
                                          <a:pt x="290822" y="11833"/>
                                          <a:pt x="276169" y="10563"/>
                                          <a:pt x="267361" y="6218"/>
                                        </a:cubicBezTo>
                                        <a:cubicBezTo>
                                          <a:pt x="258553" y="1873"/>
                                          <a:pt x="246822" y="-3809"/>
                                          <a:pt x="235376" y="2408"/>
                                        </a:cubicBezTo>
                                        <a:cubicBezTo>
                                          <a:pt x="229937" y="5416"/>
                                          <a:pt x="212077" y="2074"/>
                                          <a:pt x="204609" y="2575"/>
                                        </a:cubicBezTo>
                                        <a:cubicBezTo>
                                          <a:pt x="195598" y="5132"/>
                                          <a:pt x="186871" y="8401"/>
                                          <a:pt x="178631" y="12335"/>
                                        </a:cubicBezTo>
                                        <a:cubicBezTo>
                                          <a:pt x="171813" y="16580"/>
                                          <a:pt x="183421" y="23365"/>
                                          <a:pt x="177779" y="27843"/>
                                        </a:cubicBezTo>
                                        <a:cubicBezTo>
                                          <a:pt x="172137" y="32322"/>
                                          <a:pt x="160529" y="25370"/>
                                          <a:pt x="158215" y="32556"/>
                                        </a:cubicBezTo>
                                        <a:cubicBezTo>
                                          <a:pt x="152370" y="50906"/>
                                          <a:pt x="119614" y="22930"/>
                                          <a:pt x="106301" y="32556"/>
                                        </a:cubicBezTo>
                                        <a:cubicBezTo>
                                          <a:pt x="99766" y="37269"/>
                                          <a:pt x="68511" y="30985"/>
                                          <a:pt x="61043" y="28645"/>
                                        </a:cubicBezTo>
                                        <a:cubicBezTo>
                                          <a:pt x="49962" y="25303"/>
                                          <a:pt x="43265" y="16212"/>
                                          <a:pt x="29748" y="14908"/>
                                        </a:cubicBezTo>
                                        <a:cubicBezTo>
                                          <a:pt x="22970" y="14334"/>
                                          <a:pt x="16150" y="15744"/>
                                          <a:pt x="10509" y="18886"/>
                                        </a:cubicBezTo>
                                        <a:cubicBezTo>
                                          <a:pt x="1660" y="23899"/>
                                          <a:pt x="11970" y="24668"/>
                                          <a:pt x="19844" y="28345"/>
                                        </a:cubicBezTo>
                                        <a:cubicBezTo>
                                          <a:pt x="35756" y="35698"/>
                                          <a:pt x="53534" y="39375"/>
                                          <a:pt x="72611" y="44321"/>
                                        </a:cubicBezTo>
                                        <a:cubicBezTo>
                                          <a:pt x="85519" y="47664"/>
                                          <a:pt x="94976" y="50204"/>
                                          <a:pt x="91769" y="57457"/>
                                        </a:cubicBezTo>
                                        <a:cubicBezTo>
                                          <a:pt x="88238" y="65378"/>
                                          <a:pt x="97290" y="68186"/>
                                          <a:pt x="97249" y="74837"/>
                                        </a:cubicBezTo>
                                        <a:cubicBezTo>
                                          <a:pt x="97249" y="77711"/>
                                          <a:pt x="95463" y="81054"/>
                                          <a:pt x="97858" y="83928"/>
                                        </a:cubicBezTo>
                                        <a:cubicBezTo>
                                          <a:pt x="100253" y="86803"/>
                                          <a:pt x="105205" y="86970"/>
                                          <a:pt x="106503" y="90078"/>
                                        </a:cubicBezTo>
                                        <a:cubicBezTo>
                                          <a:pt x="109061" y="96195"/>
                                          <a:pt x="93799" y="100774"/>
                                          <a:pt x="96762" y="103849"/>
                                        </a:cubicBezTo>
                                        <a:cubicBezTo>
                                          <a:pt x="99725" y="106924"/>
                                          <a:pt x="104880" y="108595"/>
                                          <a:pt x="106747" y="111436"/>
                                        </a:cubicBezTo>
                                        <a:cubicBezTo>
                                          <a:pt x="112227" y="119257"/>
                                          <a:pt x="112145" y="118120"/>
                                          <a:pt x="128016" y="122633"/>
                                        </a:cubicBezTo>
                                        <a:cubicBezTo>
                                          <a:pt x="147418" y="128114"/>
                                          <a:pt x="148920" y="132058"/>
                                          <a:pt x="148311" y="142286"/>
                                        </a:cubicBezTo>
                                        <a:cubicBezTo>
                                          <a:pt x="147946" y="147901"/>
                                          <a:pt x="132400" y="140949"/>
                                          <a:pt x="125256" y="147399"/>
                                        </a:cubicBezTo>
                                        <a:cubicBezTo>
                                          <a:pt x="116570" y="155254"/>
                                          <a:pt x="110319" y="163209"/>
                                          <a:pt x="91080" y="166250"/>
                                        </a:cubicBezTo>
                                        <a:cubicBezTo>
                                          <a:pt x="77807" y="168356"/>
                                          <a:pt x="70460" y="172133"/>
                                          <a:pt x="57471" y="174640"/>
                                        </a:cubicBezTo>
                                        <a:cubicBezTo>
                                          <a:pt x="40302" y="177982"/>
                                          <a:pt x="50003" y="187374"/>
                                          <a:pt x="27516" y="187274"/>
                                        </a:cubicBezTo>
                                        <a:cubicBezTo>
                                          <a:pt x="16678" y="187936"/>
                                          <a:pt x="6775" y="192531"/>
                                          <a:pt x="483" y="199808"/>
                                        </a:cubicBezTo>
                                        <a:cubicBezTo>
                                          <a:pt x="-2805" y="204253"/>
                                          <a:pt x="9981" y="210269"/>
                                          <a:pt x="8601" y="215717"/>
                                        </a:cubicBezTo>
                                        <a:cubicBezTo>
                                          <a:pt x="7343" y="220463"/>
                                          <a:pt x="14689" y="224675"/>
                                          <a:pt x="16394" y="229287"/>
                                        </a:cubicBezTo>
                                        <a:cubicBezTo>
                                          <a:pt x="19520" y="237911"/>
                                          <a:pt x="-4185" y="247971"/>
                                          <a:pt x="1823" y="255491"/>
                                        </a:cubicBezTo>
                                        <a:cubicBezTo>
                                          <a:pt x="2878" y="256795"/>
                                          <a:pt x="31656" y="263413"/>
                                          <a:pt x="35471" y="263379"/>
                                        </a:cubicBezTo>
                                        <a:cubicBezTo>
                                          <a:pt x="41398" y="263379"/>
                                          <a:pt x="44158" y="265986"/>
                                          <a:pt x="47446" y="267958"/>
                                        </a:cubicBezTo>
                                        <a:cubicBezTo>
                                          <a:pt x="52113" y="270766"/>
                                          <a:pt x="56456" y="268761"/>
                                          <a:pt x="61855" y="270031"/>
                                        </a:cubicBezTo>
                                        <a:cubicBezTo>
                                          <a:pt x="75899" y="273985"/>
                                          <a:pt x="90674" y="275729"/>
                                          <a:pt x="105489" y="275178"/>
                                        </a:cubicBezTo>
                                        <a:cubicBezTo>
                                          <a:pt x="140518" y="273640"/>
                                          <a:pt x="173193" y="267958"/>
                                          <a:pt x="208871" y="268861"/>
                                        </a:cubicBezTo>
                                        <a:cubicBezTo>
                                          <a:pt x="233671" y="269529"/>
                                          <a:pt x="234808" y="263045"/>
                                          <a:pt x="253520" y="257163"/>
                                        </a:cubicBezTo>
                                        <a:cubicBezTo>
                                          <a:pt x="269066" y="252249"/>
                                          <a:pt x="293501" y="249976"/>
                                          <a:pt x="302674" y="241286"/>
                                        </a:cubicBezTo>
                                        <a:cubicBezTo>
                                          <a:pt x="311847" y="232596"/>
                                          <a:pt x="293379" y="249742"/>
                                          <a:pt x="302349" y="241220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444" name="Freeform: Shape 443">
                                    <a:extLst>
                                      <a:ext uri="{FF2B5EF4-FFF2-40B4-BE49-F238E27FC236}">
                                        <a16:creationId xmlns:a16="http://schemas.microsoft.com/office/drawing/2014/main" id="{BE86CA71-A5C0-4763-A1B3-28F502B83F52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127475" y="4099354"/>
                                    <a:ext cx="425862" cy="264869"/>
                                  </a:xfrm>
                                  <a:custGeom>
                                    <a:avLst/>
                                    <a:gdLst>
                                      <a:gd name="connsiteX0" fmla="*/ 432347 w 437081"/>
                                      <a:gd name="connsiteY0" fmla="*/ 89049 h 362666"/>
                                      <a:gd name="connsiteX1" fmla="*/ 432103 w 437081"/>
                                      <a:gd name="connsiteY1" fmla="*/ 77652 h 362666"/>
                                      <a:gd name="connsiteX2" fmla="*/ 425447 w 437081"/>
                                      <a:gd name="connsiteY2" fmla="*/ 63414 h 362666"/>
                                      <a:gd name="connsiteX3" fmla="*/ 424838 w 437081"/>
                                      <a:gd name="connsiteY3" fmla="*/ 54322 h 362666"/>
                                      <a:gd name="connsiteX4" fmla="*/ 418060 w 437081"/>
                                      <a:gd name="connsiteY4" fmla="*/ 47404 h 362666"/>
                                      <a:gd name="connsiteX5" fmla="*/ 412986 w 437081"/>
                                      <a:gd name="connsiteY5" fmla="*/ 27650 h 362666"/>
                                      <a:gd name="connsiteX6" fmla="*/ 371381 w 437081"/>
                                      <a:gd name="connsiteY6" fmla="*/ 16788 h 362666"/>
                                      <a:gd name="connsiteX7" fmla="*/ 330102 w 437081"/>
                                      <a:gd name="connsiteY7" fmla="*/ 744 h 362666"/>
                                      <a:gd name="connsiteX8" fmla="*/ 309807 w 437081"/>
                                      <a:gd name="connsiteY8" fmla="*/ 10069 h 362666"/>
                                      <a:gd name="connsiteX9" fmla="*/ 279486 w 437081"/>
                                      <a:gd name="connsiteY9" fmla="*/ 13813 h 362666"/>
                                      <a:gd name="connsiteX10" fmla="*/ 240561 w 437081"/>
                                      <a:gd name="connsiteY10" fmla="*/ 11239 h 362666"/>
                                      <a:gd name="connsiteX11" fmla="*/ 238085 w 437081"/>
                                      <a:gd name="connsiteY11" fmla="*/ 25578 h 362666"/>
                                      <a:gd name="connsiteX12" fmla="*/ 199159 w 437081"/>
                                      <a:gd name="connsiteY12" fmla="*/ 28920 h 362666"/>
                                      <a:gd name="connsiteX13" fmla="*/ 174805 w 437081"/>
                                      <a:gd name="connsiteY13" fmla="*/ 46602 h 362666"/>
                                      <a:gd name="connsiteX14" fmla="*/ 173344 w 437081"/>
                                      <a:gd name="connsiteY14" fmla="*/ 54757 h 362666"/>
                                      <a:gd name="connsiteX15" fmla="*/ 159016 w 437081"/>
                                      <a:gd name="connsiteY15" fmla="*/ 62110 h 362666"/>
                                      <a:gd name="connsiteX16" fmla="*/ 146108 w 437081"/>
                                      <a:gd name="connsiteY16" fmla="*/ 77117 h 362666"/>
                                      <a:gd name="connsiteX17" fmla="*/ 112662 w 437081"/>
                                      <a:gd name="connsiteY17" fmla="*/ 84838 h 362666"/>
                                      <a:gd name="connsiteX18" fmla="*/ 95452 w 437081"/>
                                      <a:gd name="connsiteY18" fmla="*/ 115454 h 362666"/>
                                      <a:gd name="connsiteX19" fmla="*/ 97482 w 437081"/>
                                      <a:gd name="connsiteY19" fmla="*/ 128456 h 362666"/>
                                      <a:gd name="connsiteX20" fmla="*/ 79866 w 437081"/>
                                      <a:gd name="connsiteY20" fmla="*/ 139720 h 362666"/>
                                      <a:gd name="connsiteX21" fmla="*/ 45040 w 437081"/>
                                      <a:gd name="connsiteY21" fmla="*/ 146204 h 362666"/>
                                      <a:gd name="connsiteX22" fmla="*/ 36516 w 437081"/>
                                      <a:gd name="connsiteY22" fmla="*/ 169400 h 362666"/>
                                      <a:gd name="connsiteX23" fmla="*/ 33147 w 437081"/>
                                      <a:gd name="connsiteY23" fmla="*/ 179427 h 362666"/>
                                      <a:gd name="connsiteX24" fmla="*/ 38383 w 437081"/>
                                      <a:gd name="connsiteY24" fmla="*/ 191259 h 362666"/>
                                      <a:gd name="connsiteX25" fmla="*/ 45567 w 437081"/>
                                      <a:gd name="connsiteY25" fmla="*/ 206233 h 362666"/>
                                      <a:gd name="connsiteX26" fmla="*/ 48855 w 437081"/>
                                      <a:gd name="connsiteY26" fmla="*/ 220772 h 362666"/>
                                      <a:gd name="connsiteX27" fmla="*/ 49424 w 437081"/>
                                      <a:gd name="connsiteY27" fmla="*/ 233540 h 362666"/>
                                      <a:gd name="connsiteX28" fmla="*/ 39195 w 437081"/>
                                      <a:gd name="connsiteY28" fmla="*/ 247110 h 362666"/>
                                      <a:gd name="connsiteX29" fmla="*/ 22269 w 437081"/>
                                      <a:gd name="connsiteY29" fmla="*/ 256669 h 362666"/>
                                      <a:gd name="connsiteX30" fmla="*/ 16058 w 437081"/>
                                      <a:gd name="connsiteY30" fmla="*/ 273380 h 362666"/>
                                      <a:gd name="connsiteX31" fmla="*/ 2340 w 437081"/>
                                      <a:gd name="connsiteY31" fmla="*/ 282773 h 362666"/>
                                      <a:gd name="connsiteX32" fmla="*/ 22269 w 437081"/>
                                      <a:gd name="connsiteY32" fmla="*/ 302526 h 362666"/>
                                      <a:gd name="connsiteX33" fmla="*/ 44269 w 437081"/>
                                      <a:gd name="connsiteY33" fmla="*/ 325622 h 362666"/>
                                      <a:gd name="connsiteX34" fmla="*/ 52387 w 437081"/>
                                      <a:gd name="connsiteY34" fmla="*/ 342801 h 362666"/>
                                      <a:gd name="connsiteX35" fmla="*/ 60910 w 437081"/>
                                      <a:gd name="connsiteY35" fmla="*/ 360783 h 362666"/>
                                      <a:gd name="connsiteX36" fmla="*/ 94559 w 437081"/>
                                      <a:gd name="connsiteY36" fmla="*/ 360148 h 362666"/>
                                      <a:gd name="connsiteX37" fmla="*/ 104504 w 437081"/>
                                      <a:gd name="connsiteY37" fmla="*/ 347447 h 362666"/>
                                      <a:gd name="connsiteX38" fmla="*/ 138234 w 437081"/>
                                      <a:gd name="connsiteY38" fmla="*/ 344506 h 362666"/>
                                      <a:gd name="connsiteX39" fmla="*/ 160112 w 437081"/>
                                      <a:gd name="connsiteY39" fmla="*/ 334713 h 362666"/>
                                      <a:gd name="connsiteX40" fmla="*/ 175130 w 437081"/>
                                      <a:gd name="connsiteY40" fmla="*/ 337721 h 362666"/>
                                      <a:gd name="connsiteX41" fmla="*/ 190514 w 437081"/>
                                      <a:gd name="connsiteY41" fmla="*/ 319538 h 362666"/>
                                      <a:gd name="connsiteX42" fmla="*/ 171152 w 437081"/>
                                      <a:gd name="connsiteY42" fmla="*/ 326223 h 362666"/>
                                      <a:gd name="connsiteX43" fmla="*/ 178499 w 437081"/>
                                      <a:gd name="connsiteY43" fmla="*/ 310648 h 362666"/>
                                      <a:gd name="connsiteX44" fmla="*/ 183167 w 437081"/>
                                      <a:gd name="connsiteY44" fmla="*/ 288956 h 362666"/>
                                      <a:gd name="connsiteX45" fmla="*/ 215638 w 437081"/>
                                      <a:gd name="connsiteY45" fmla="*/ 276455 h 362666"/>
                                      <a:gd name="connsiteX46" fmla="*/ 236583 w 437081"/>
                                      <a:gd name="connsiteY46" fmla="*/ 261682 h 362666"/>
                                      <a:gd name="connsiteX47" fmla="*/ 253671 w 437081"/>
                                      <a:gd name="connsiteY47" fmla="*/ 250485 h 362666"/>
                                      <a:gd name="connsiteX48" fmla="*/ 225989 w 437081"/>
                                      <a:gd name="connsiteY48" fmla="*/ 234542 h 362666"/>
                                      <a:gd name="connsiteX49" fmla="*/ 199037 w 437081"/>
                                      <a:gd name="connsiteY49" fmla="*/ 227523 h 362666"/>
                                      <a:gd name="connsiteX50" fmla="*/ 199037 w 437081"/>
                                      <a:gd name="connsiteY50" fmla="*/ 203592 h 362666"/>
                                      <a:gd name="connsiteX51" fmla="*/ 212513 w 437081"/>
                                      <a:gd name="connsiteY51" fmla="*/ 182903 h 362666"/>
                                      <a:gd name="connsiteX52" fmla="*/ 243686 w 437081"/>
                                      <a:gd name="connsiteY52" fmla="*/ 170269 h 362666"/>
                                      <a:gd name="connsiteX53" fmla="*/ 327829 w 437081"/>
                                      <a:gd name="connsiteY53" fmla="*/ 142895 h 362666"/>
                                      <a:gd name="connsiteX54" fmla="*/ 345891 w 437081"/>
                                      <a:gd name="connsiteY54" fmla="*/ 129960 h 362666"/>
                                      <a:gd name="connsiteX55" fmla="*/ 352426 w 437081"/>
                                      <a:gd name="connsiteY55" fmla="*/ 111677 h 362666"/>
                                      <a:gd name="connsiteX56" fmla="*/ 437015 w 437081"/>
                                      <a:gd name="connsiteY56" fmla="*/ 97706 h 362666"/>
                                      <a:gd name="connsiteX57" fmla="*/ 432672 w 437081"/>
                                      <a:gd name="connsiteY57" fmla="*/ 89116 h 362666"/>
                                      <a:gd name="connsiteX58" fmla="*/ 248638 w 437081"/>
                                      <a:gd name="connsiteY58" fmla="*/ 304531 h 362666"/>
                                      <a:gd name="connsiteX59" fmla="*/ 224812 w 437081"/>
                                      <a:gd name="connsiteY59" fmla="*/ 326123 h 362666"/>
                                      <a:gd name="connsiteX60" fmla="*/ 248638 w 437081"/>
                                      <a:gd name="connsiteY60" fmla="*/ 304531 h 362666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  <a:cxn ang="0">
                                        <a:pos x="connsiteX40" y="connsiteY40"/>
                                      </a:cxn>
                                      <a:cxn ang="0">
                                        <a:pos x="connsiteX41" y="connsiteY41"/>
                                      </a:cxn>
                                      <a:cxn ang="0">
                                        <a:pos x="connsiteX42" y="connsiteY42"/>
                                      </a:cxn>
                                      <a:cxn ang="0">
                                        <a:pos x="connsiteX43" y="connsiteY43"/>
                                      </a:cxn>
                                      <a:cxn ang="0">
                                        <a:pos x="connsiteX44" y="connsiteY44"/>
                                      </a:cxn>
                                      <a:cxn ang="0">
                                        <a:pos x="connsiteX45" y="connsiteY45"/>
                                      </a:cxn>
                                      <a:cxn ang="0">
                                        <a:pos x="connsiteX46" y="connsiteY46"/>
                                      </a:cxn>
                                      <a:cxn ang="0">
                                        <a:pos x="connsiteX47" y="connsiteY47"/>
                                      </a:cxn>
                                      <a:cxn ang="0">
                                        <a:pos x="connsiteX48" y="connsiteY48"/>
                                      </a:cxn>
                                      <a:cxn ang="0">
                                        <a:pos x="connsiteX49" y="connsiteY49"/>
                                      </a:cxn>
                                      <a:cxn ang="0">
                                        <a:pos x="connsiteX50" y="connsiteY50"/>
                                      </a:cxn>
                                      <a:cxn ang="0">
                                        <a:pos x="connsiteX51" y="connsiteY51"/>
                                      </a:cxn>
                                      <a:cxn ang="0">
                                        <a:pos x="connsiteX52" y="connsiteY52"/>
                                      </a:cxn>
                                      <a:cxn ang="0">
                                        <a:pos x="connsiteX53" y="connsiteY53"/>
                                      </a:cxn>
                                      <a:cxn ang="0">
                                        <a:pos x="connsiteX54" y="connsiteY54"/>
                                      </a:cxn>
                                      <a:cxn ang="0">
                                        <a:pos x="connsiteX55" y="connsiteY55"/>
                                      </a:cxn>
                                      <a:cxn ang="0">
                                        <a:pos x="connsiteX56" y="connsiteY56"/>
                                      </a:cxn>
                                      <a:cxn ang="0">
                                        <a:pos x="connsiteX57" y="connsiteY57"/>
                                      </a:cxn>
                                      <a:cxn ang="0">
                                        <a:pos x="connsiteX58" y="connsiteY58"/>
                                      </a:cxn>
                                      <a:cxn ang="0">
                                        <a:pos x="connsiteX59" y="connsiteY59"/>
                                      </a:cxn>
                                      <a:cxn ang="0">
                                        <a:pos x="connsiteX60" y="connsiteY60"/>
                                      </a:cxn>
                                    </a:cxnLst>
                                    <a:rect l="l" t="t" r="r" b="b"/>
                                    <a:pathLst>
                                      <a:path w="437081" h="362666">
                                        <a:moveTo>
                                          <a:pt x="432347" y="89049"/>
                                        </a:moveTo>
                                        <a:cubicBezTo>
                                          <a:pt x="418669" y="81596"/>
                                          <a:pt x="426665" y="82899"/>
                                          <a:pt x="432103" y="77652"/>
                                        </a:cubicBezTo>
                                        <a:cubicBezTo>
                                          <a:pt x="439085" y="70967"/>
                                          <a:pt x="430034" y="68828"/>
                                          <a:pt x="425447" y="63414"/>
                                        </a:cubicBezTo>
                                        <a:cubicBezTo>
                                          <a:pt x="423052" y="60539"/>
                                          <a:pt x="424838" y="57197"/>
                                          <a:pt x="424838" y="54322"/>
                                        </a:cubicBezTo>
                                        <a:cubicBezTo>
                                          <a:pt x="424838" y="50579"/>
                                          <a:pt x="420414" y="50545"/>
                                          <a:pt x="418060" y="47404"/>
                                        </a:cubicBezTo>
                                        <a:cubicBezTo>
                                          <a:pt x="412458" y="39984"/>
                                          <a:pt x="428857" y="33433"/>
                                          <a:pt x="412986" y="27650"/>
                                        </a:cubicBezTo>
                                        <a:cubicBezTo>
                                          <a:pt x="400322" y="23038"/>
                                          <a:pt x="385141" y="20397"/>
                                          <a:pt x="371381" y="16788"/>
                                        </a:cubicBezTo>
                                        <a:cubicBezTo>
                                          <a:pt x="355470" y="12676"/>
                                          <a:pt x="345201" y="5323"/>
                                          <a:pt x="330102" y="744"/>
                                        </a:cubicBezTo>
                                        <a:cubicBezTo>
                                          <a:pt x="316463" y="-3400"/>
                                          <a:pt x="310984" y="5357"/>
                                          <a:pt x="309807" y="10069"/>
                                        </a:cubicBezTo>
                                        <a:cubicBezTo>
                                          <a:pt x="306560" y="22436"/>
                                          <a:pt x="296493" y="16520"/>
                                          <a:pt x="279486" y="13813"/>
                                        </a:cubicBezTo>
                                        <a:cubicBezTo>
                                          <a:pt x="274534" y="12977"/>
                                          <a:pt x="242712" y="9969"/>
                                          <a:pt x="240561" y="11239"/>
                                        </a:cubicBezTo>
                                        <a:cubicBezTo>
                                          <a:pt x="233944" y="15050"/>
                                          <a:pt x="245147" y="22002"/>
                                          <a:pt x="238085" y="25578"/>
                                        </a:cubicBezTo>
                                        <a:cubicBezTo>
                                          <a:pt x="229439" y="29923"/>
                                          <a:pt x="210200" y="26514"/>
                                          <a:pt x="199159" y="28920"/>
                                        </a:cubicBezTo>
                                        <a:cubicBezTo>
                                          <a:pt x="189458" y="31093"/>
                                          <a:pt x="177241" y="41521"/>
                                          <a:pt x="174805" y="46602"/>
                                        </a:cubicBezTo>
                                        <a:cubicBezTo>
                                          <a:pt x="172938" y="50211"/>
                                          <a:pt x="180569" y="51080"/>
                                          <a:pt x="173344" y="54757"/>
                                        </a:cubicBezTo>
                                        <a:cubicBezTo>
                                          <a:pt x="168270" y="56812"/>
                                          <a:pt x="163481" y="59276"/>
                                          <a:pt x="159016" y="62110"/>
                                        </a:cubicBezTo>
                                        <a:cubicBezTo>
                                          <a:pt x="151831" y="67658"/>
                                          <a:pt x="150898" y="71636"/>
                                          <a:pt x="146108" y="77117"/>
                                        </a:cubicBezTo>
                                        <a:cubicBezTo>
                                          <a:pt x="140304" y="84036"/>
                                          <a:pt x="114610" y="77786"/>
                                          <a:pt x="112662" y="84838"/>
                                        </a:cubicBezTo>
                                        <a:cubicBezTo>
                                          <a:pt x="109131" y="97338"/>
                                          <a:pt x="111688" y="104458"/>
                                          <a:pt x="95452" y="115454"/>
                                        </a:cubicBezTo>
                                        <a:cubicBezTo>
                                          <a:pt x="86928" y="121236"/>
                                          <a:pt x="80596" y="125481"/>
                                          <a:pt x="97482" y="128456"/>
                                        </a:cubicBezTo>
                                        <a:cubicBezTo>
                                          <a:pt x="110146" y="130695"/>
                                          <a:pt x="95168" y="142360"/>
                                          <a:pt x="79866" y="139720"/>
                                        </a:cubicBezTo>
                                        <a:cubicBezTo>
                                          <a:pt x="67689" y="137905"/>
                                          <a:pt x="55106" y="140244"/>
                                          <a:pt x="45040" y="146204"/>
                                        </a:cubicBezTo>
                                        <a:cubicBezTo>
                                          <a:pt x="28520" y="155295"/>
                                          <a:pt x="39195" y="160008"/>
                                          <a:pt x="36516" y="169400"/>
                                        </a:cubicBezTo>
                                        <a:cubicBezTo>
                                          <a:pt x="35501" y="172742"/>
                                          <a:pt x="32457" y="175750"/>
                                          <a:pt x="33147" y="179427"/>
                                        </a:cubicBezTo>
                                        <a:cubicBezTo>
                                          <a:pt x="33837" y="183103"/>
                                          <a:pt x="40534" y="186914"/>
                                          <a:pt x="38383" y="191259"/>
                                        </a:cubicBezTo>
                                        <a:cubicBezTo>
                                          <a:pt x="35014" y="197943"/>
                                          <a:pt x="30712" y="202188"/>
                                          <a:pt x="45567" y="206233"/>
                                        </a:cubicBezTo>
                                        <a:cubicBezTo>
                                          <a:pt x="55918" y="209074"/>
                                          <a:pt x="64442" y="217764"/>
                                          <a:pt x="48855" y="220772"/>
                                        </a:cubicBezTo>
                                        <a:cubicBezTo>
                                          <a:pt x="30590" y="224281"/>
                                          <a:pt x="47597" y="227189"/>
                                          <a:pt x="49424" y="233540"/>
                                        </a:cubicBezTo>
                                        <a:cubicBezTo>
                                          <a:pt x="50722" y="238252"/>
                                          <a:pt x="51534" y="246642"/>
                                          <a:pt x="39195" y="247110"/>
                                        </a:cubicBezTo>
                                        <a:cubicBezTo>
                                          <a:pt x="21538" y="247745"/>
                                          <a:pt x="26774" y="248781"/>
                                          <a:pt x="22269" y="256669"/>
                                        </a:cubicBezTo>
                                        <a:cubicBezTo>
                                          <a:pt x="19265" y="261983"/>
                                          <a:pt x="20645" y="268434"/>
                                          <a:pt x="16058" y="273380"/>
                                        </a:cubicBezTo>
                                        <a:cubicBezTo>
                                          <a:pt x="11472" y="278327"/>
                                          <a:pt x="-6469" y="268634"/>
                                          <a:pt x="2340" y="282773"/>
                                        </a:cubicBezTo>
                                        <a:cubicBezTo>
                                          <a:pt x="7373" y="290828"/>
                                          <a:pt x="20767" y="293635"/>
                                          <a:pt x="22269" y="302526"/>
                                        </a:cubicBezTo>
                                        <a:cubicBezTo>
                                          <a:pt x="23324" y="308709"/>
                                          <a:pt x="34771" y="321444"/>
                                          <a:pt x="44269" y="325622"/>
                                        </a:cubicBezTo>
                                        <a:cubicBezTo>
                                          <a:pt x="56648" y="331070"/>
                                          <a:pt x="45080" y="339893"/>
                                          <a:pt x="52387" y="342801"/>
                                        </a:cubicBezTo>
                                        <a:cubicBezTo>
                                          <a:pt x="66349" y="348350"/>
                                          <a:pt x="53726" y="353330"/>
                                          <a:pt x="60910" y="360783"/>
                                        </a:cubicBezTo>
                                        <a:cubicBezTo>
                                          <a:pt x="64076" y="364126"/>
                                          <a:pt x="89729" y="361151"/>
                                          <a:pt x="94559" y="360148"/>
                                        </a:cubicBezTo>
                                        <a:cubicBezTo>
                                          <a:pt x="105518" y="357875"/>
                                          <a:pt x="93707" y="349219"/>
                                          <a:pt x="104504" y="347447"/>
                                        </a:cubicBezTo>
                                        <a:cubicBezTo>
                                          <a:pt x="117614" y="345275"/>
                                          <a:pt x="121024" y="340462"/>
                                          <a:pt x="138234" y="344506"/>
                                        </a:cubicBezTo>
                                        <a:cubicBezTo>
                                          <a:pt x="158001" y="349252"/>
                                          <a:pt x="150411" y="336016"/>
                                          <a:pt x="160112" y="334713"/>
                                        </a:cubicBezTo>
                                        <a:cubicBezTo>
                                          <a:pt x="167824" y="333677"/>
                                          <a:pt x="166525" y="343670"/>
                                          <a:pt x="175130" y="337721"/>
                                        </a:cubicBezTo>
                                        <a:cubicBezTo>
                                          <a:pt x="177646" y="335983"/>
                                          <a:pt x="195628" y="321210"/>
                                          <a:pt x="190514" y="319538"/>
                                        </a:cubicBezTo>
                                        <a:cubicBezTo>
                                          <a:pt x="186170" y="318168"/>
                                          <a:pt x="173669" y="328329"/>
                                          <a:pt x="171152" y="326223"/>
                                        </a:cubicBezTo>
                                        <a:cubicBezTo>
                                          <a:pt x="166687" y="322212"/>
                                          <a:pt x="176632" y="314525"/>
                                          <a:pt x="178499" y="310648"/>
                                        </a:cubicBezTo>
                                        <a:cubicBezTo>
                                          <a:pt x="181909" y="303562"/>
                                          <a:pt x="179920" y="296008"/>
                                          <a:pt x="183167" y="288956"/>
                                        </a:cubicBezTo>
                                        <a:cubicBezTo>
                                          <a:pt x="187510" y="279597"/>
                                          <a:pt x="201635" y="280567"/>
                                          <a:pt x="215638" y="276455"/>
                                        </a:cubicBezTo>
                                        <a:cubicBezTo>
                                          <a:pt x="230616" y="272077"/>
                                          <a:pt x="227815" y="266729"/>
                                          <a:pt x="236583" y="261682"/>
                                        </a:cubicBezTo>
                                        <a:cubicBezTo>
                                          <a:pt x="241210" y="259042"/>
                                          <a:pt x="257487" y="254998"/>
                                          <a:pt x="253671" y="250485"/>
                                        </a:cubicBezTo>
                                        <a:cubicBezTo>
                                          <a:pt x="248475" y="244402"/>
                                          <a:pt x="236015" y="238720"/>
                                          <a:pt x="225989" y="234542"/>
                                        </a:cubicBezTo>
                                        <a:cubicBezTo>
                                          <a:pt x="217303" y="230932"/>
                                          <a:pt x="198834" y="233640"/>
                                          <a:pt x="199037" y="227523"/>
                                        </a:cubicBezTo>
                                        <a:cubicBezTo>
                                          <a:pt x="199281" y="219769"/>
                                          <a:pt x="190635" y="210578"/>
                                          <a:pt x="199037" y="203592"/>
                                        </a:cubicBezTo>
                                        <a:cubicBezTo>
                                          <a:pt x="206465" y="197342"/>
                                          <a:pt x="204476" y="188117"/>
                                          <a:pt x="212513" y="182903"/>
                                        </a:cubicBezTo>
                                        <a:cubicBezTo>
                                          <a:pt x="220550" y="177689"/>
                                          <a:pt x="236867" y="175483"/>
                                          <a:pt x="243686" y="170269"/>
                                        </a:cubicBezTo>
                                        <a:cubicBezTo>
                                          <a:pt x="262235" y="155897"/>
                                          <a:pt x="299538" y="152253"/>
                                          <a:pt x="327829" y="142895"/>
                                        </a:cubicBezTo>
                                        <a:cubicBezTo>
                                          <a:pt x="335947" y="140221"/>
                                          <a:pt x="351817" y="135943"/>
                                          <a:pt x="345891" y="129960"/>
                                        </a:cubicBezTo>
                                        <a:cubicBezTo>
                                          <a:pt x="334648" y="118529"/>
                                          <a:pt x="349585" y="122005"/>
                                          <a:pt x="352426" y="111677"/>
                                        </a:cubicBezTo>
                                        <a:cubicBezTo>
                                          <a:pt x="356932" y="94965"/>
                                          <a:pt x="409252" y="93127"/>
                                          <a:pt x="437015" y="97706"/>
                                        </a:cubicBezTo>
                                        <a:cubicBezTo>
                                          <a:pt x="437137" y="94457"/>
                                          <a:pt x="435554" y="91322"/>
                                          <a:pt x="432672" y="89116"/>
                                        </a:cubicBezTo>
                                        <a:close/>
                                        <a:moveTo>
                                          <a:pt x="248638" y="304531"/>
                                        </a:moveTo>
                                        <a:cubicBezTo>
                                          <a:pt x="229561" y="304297"/>
                                          <a:pt x="220225" y="322914"/>
                                          <a:pt x="224812" y="326123"/>
                                        </a:cubicBezTo>
                                        <a:cubicBezTo>
                                          <a:pt x="228668" y="328730"/>
                                          <a:pt x="267634" y="304799"/>
                                          <a:pt x="248638" y="30453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445" name="Freeform: Shape 444">
                                    <a:extLst>
                                      <a:ext uri="{FF2B5EF4-FFF2-40B4-BE49-F238E27FC236}">
                                        <a16:creationId xmlns:a16="http://schemas.microsoft.com/office/drawing/2014/main" id="{AB003838-F82E-4652-B6A0-53F0945E3263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470770" y="4295319"/>
                                    <a:ext cx="200711" cy="39582"/>
                                  </a:xfrm>
                                  <a:custGeom>
                                    <a:avLst/>
                                    <a:gdLst>
                                      <a:gd name="connsiteX0" fmla="*/ 195730 w 205999"/>
                                      <a:gd name="connsiteY0" fmla="*/ 16591 h 54197"/>
                                      <a:gd name="connsiteX1" fmla="*/ 203604 w 205999"/>
                                      <a:gd name="connsiteY1" fmla="*/ 5795 h 54197"/>
                                      <a:gd name="connsiteX2" fmla="*/ 138376 w 205999"/>
                                      <a:gd name="connsiteY2" fmla="*/ 414 h 54197"/>
                                      <a:gd name="connsiteX3" fmla="*/ 71444 w 205999"/>
                                      <a:gd name="connsiteY3" fmla="*/ 2587 h 54197"/>
                                      <a:gd name="connsiteX4" fmla="*/ 46157 w 205999"/>
                                      <a:gd name="connsiteY4" fmla="*/ 9271 h 54197"/>
                                      <a:gd name="connsiteX5" fmla="*/ 50581 w 205999"/>
                                      <a:gd name="connsiteY5" fmla="*/ 20502 h 54197"/>
                                      <a:gd name="connsiteX6" fmla="*/ 78994 w 205999"/>
                                      <a:gd name="connsiteY6" fmla="*/ 37815 h 54197"/>
                                      <a:gd name="connsiteX7" fmla="*/ 131314 w 205999"/>
                                      <a:gd name="connsiteY7" fmla="*/ 46037 h 54197"/>
                                      <a:gd name="connsiteX8" fmla="*/ 180914 w 205999"/>
                                      <a:gd name="connsiteY8" fmla="*/ 53858 h 54197"/>
                                      <a:gd name="connsiteX9" fmla="*/ 188140 w 205999"/>
                                      <a:gd name="connsiteY9" fmla="*/ 40823 h 54197"/>
                                      <a:gd name="connsiteX10" fmla="*/ 195852 w 205999"/>
                                      <a:gd name="connsiteY10" fmla="*/ 16625 h 54197"/>
                                      <a:gd name="connsiteX11" fmla="*/ 17135 w 205999"/>
                                      <a:gd name="connsiteY11" fmla="*/ 20234 h 54197"/>
                                      <a:gd name="connsiteX12" fmla="*/ 12791 w 205999"/>
                                      <a:gd name="connsiteY12" fmla="*/ 33035 h 54197"/>
                                      <a:gd name="connsiteX13" fmla="*/ 17135 w 205999"/>
                                      <a:gd name="connsiteY13" fmla="*/ 20234 h 54197"/>
                                      <a:gd name="connsiteX14" fmla="*/ 32640 w 205999"/>
                                      <a:gd name="connsiteY14" fmla="*/ 13550 h 54197"/>
                                      <a:gd name="connsiteX15" fmla="*/ 10965 w 205999"/>
                                      <a:gd name="connsiteY15" fmla="*/ 13984 h 54197"/>
                                      <a:gd name="connsiteX16" fmla="*/ 32559 w 205999"/>
                                      <a:gd name="connsiteY16" fmla="*/ 13516 h 54197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</a:cxnLst>
                                    <a:rect l="l" t="t" r="r" b="b"/>
                                    <a:pathLst>
                                      <a:path w="205999" h="54197">
                                        <a:moveTo>
                                          <a:pt x="195730" y="16591"/>
                                        </a:moveTo>
                                        <a:cubicBezTo>
                                          <a:pt x="200113" y="12447"/>
                                          <a:pt x="210586" y="11678"/>
                                          <a:pt x="203604" y="5795"/>
                                        </a:cubicBezTo>
                                        <a:cubicBezTo>
                                          <a:pt x="187368" y="11477"/>
                                          <a:pt x="156398" y="1316"/>
                                          <a:pt x="138376" y="414"/>
                                        </a:cubicBezTo>
                                        <a:cubicBezTo>
                                          <a:pt x="119299" y="-555"/>
                                          <a:pt x="88654" y="-1224"/>
                                          <a:pt x="71444" y="2587"/>
                                        </a:cubicBezTo>
                                        <a:cubicBezTo>
                                          <a:pt x="62798" y="4258"/>
                                          <a:pt x="54356" y="6491"/>
                                          <a:pt x="46157" y="9271"/>
                                        </a:cubicBezTo>
                                        <a:cubicBezTo>
                                          <a:pt x="43924" y="10140"/>
                                          <a:pt x="50216" y="18095"/>
                                          <a:pt x="50581" y="20502"/>
                                        </a:cubicBezTo>
                                        <a:cubicBezTo>
                                          <a:pt x="52732" y="31498"/>
                                          <a:pt x="96041" y="29493"/>
                                          <a:pt x="78994" y="37815"/>
                                        </a:cubicBezTo>
                                        <a:cubicBezTo>
                                          <a:pt x="103916" y="37815"/>
                                          <a:pt x="112236" y="38417"/>
                                          <a:pt x="131314" y="46037"/>
                                        </a:cubicBezTo>
                                        <a:cubicBezTo>
                                          <a:pt x="146535" y="52120"/>
                                          <a:pt x="162690" y="51652"/>
                                          <a:pt x="180914" y="53858"/>
                                        </a:cubicBezTo>
                                        <a:cubicBezTo>
                                          <a:pt x="175476" y="45503"/>
                                          <a:pt x="199058" y="51051"/>
                                          <a:pt x="188140" y="40823"/>
                                        </a:cubicBezTo>
                                        <a:cubicBezTo>
                                          <a:pt x="177221" y="30596"/>
                                          <a:pt x="187449" y="24512"/>
                                          <a:pt x="195852" y="16625"/>
                                        </a:cubicBezTo>
                                        <a:close/>
                                        <a:moveTo>
                                          <a:pt x="17135" y="20234"/>
                                        </a:moveTo>
                                        <a:cubicBezTo>
                                          <a:pt x="1427" y="21805"/>
                                          <a:pt x="-10020" y="38651"/>
                                          <a:pt x="12791" y="33035"/>
                                        </a:cubicBezTo>
                                        <a:cubicBezTo>
                                          <a:pt x="29271" y="29025"/>
                                          <a:pt x="56304" y="16324"/>
                                          <a:pt x="17135" y="20234"/>
                                        </a:cubicBezTo>
                                        <a:close/>
                                        <a:moveTo>
                                          <a:pt x="32640" y="13550"/>
                                        </a:moveTo>
                                        <a:cubicBezTo>
                                          <a:pt x="36943" y="9940"/>
                                          <a:pt x="3740" y="10207"/>
                                          <a:pt x="10965" y="13984"/>
                                        </a:cubicBezTo>
                                        <a:cubicBezTo>
                                          <a:pt x="16283" y="16691"/>
                                          <a:pt x="28256" y="17126"/>
                                          <a:pt x="32559" y="13516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441" name="Freeform: Shape 440">
                                  <a:extLst>
                                    <a:ext uri="{FF2B5EF4-FFF2-40B4-BE49-F238E27FC236}">
                                      <a16:creationId xmlns:a16="http://schemas.microsoft.com/office/drawing/2014/main" id="{0EB5213B-902A-4DAA-94A9-EF5DBCF0DCC4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5919317" y="3810531"/>
                                  <a:ext cx="883469" cy="505131"/>
                                </a:xfrm>
                                <a:custGeom>
                                  <a:avLst/>
                                  <a:gdLst>
                                    <a:gd name="connsiteX0" fmla="*/ 879299 w 906744"/>
                                    <a:gd name="connsiteY0" fmla="*/ 389425 h 691640"/>
                                    <a:gd name="connsiteX1" fmla="*/ 862333 w 906744"/>
                                    <a:gd name="connsiteY1" fmla="*/ 385748 h 691640"/>
                                    <a:gd name="connsiteX2" fmla="*/ 841307 w 906744"/>
                                    <a:gd name="connsiteY2" fmla="*/ 377626 h 691640"/>
                                    <a:gd name="connsiteX3" fmla="*/ 870492 w 906744"/>
                                    <a:gd name="connsiteY3" fmla="*/ 380969 h 691640"/>
                                    <a:gd name="connsiteX4" fmla="*/ 883115 w 906744"/>
                                    <a:gd name="connsiteY4" fmla="*/ 377626 h 691640"/>
                                    <a:gd name="connsiteX5" fmla="*/ 904465 w 906744"/>
                                    <a:gd name="connsiteY5" fmla="*/ 376222 h 691640"/>
                                    <a:gd name="connsiteX6" fmla="*/ 863876 w 906744"/>
                                    <a:gd name="connsiteY6" fmla="*/ 358876 h 691640"/>
                                    <a:gd name="connsiteX7" fmla="*/ 816548 w 906744"/>
                                    <a:gd name="connsiteY7" fmla="*/ 360747 h 691640"/>
                                    <a:gd name="connsiteX8" fmla="*/ 807943 w 906744"/>
                                    <a:gd name="connsiteY8" fmla="*/ 361750 h 691640"/>
                                    <a:gd name="connsiteX9" fmla="*/ 808470 w 906744"/>
                                    <a:gd name="connsiteY9" fmla="*/ 353661 h 691640"/>
                                    <a:gd name="connsiteX10" fmla="*/ 818496 w 906744"/>
                                    <a:gd name="connsiteY10" fmla="*/ 349885 h 691640"/>
                                    <a:gd name="connsiteX11" fmla="*/ 776121 w 906744"/>
                                    <a:gd name="connsiteY11" fmla="*/ 350319 h 691640"/>
                                    <a:gd name="connsiteX12" fmla="*/ 752781 w 906744"/>
                                    <a:gd name="connsiteY12" fmla="*/ 355266 h 691640"/>
                                    <a:gd name="connsiteX13" fmla="*/ 718320 w 906744"/>
                                    <a:gd name="connsiteY13" fmla="*/ 359644 h 691640"/>
                                    <a:gd name="connsiteX14" fmla="*/ 693642 w 906744"/>
                                    <a:gd name="connsiteY14" fmla="*/ 366697 h 691640"/>
                                    <a:gd name="connsiteX15" fmla="*/ 710162 w 906744"/>
                                    <a:gd name="connsiteY15" fmla="*/ 354731 h 691640"/>
                                    <a:gd name="connsiteX16" fmla="*/ 728306 w 906744"/>
                                    <a:gd name="connsiteY16" fmla="*/ 344704 h 691640"/>
                                    <a:gd name="connsiteX17" fmla="*/ 717874 w 906744"/>
                                    <a:gd name="connsiteY17" fmla="*/ 337652 h 691640"/>
                                    <a:gd name="connsiteX18" fmla="*/ 701029 w 906744"/>
                                    <a:gd name="connsiteY18" fmla="*/ 344804 h 691640"/>
                                    <a:gd name="connsiteX19" fmla="*/ 679232 w 906744"/>
                                    <a:gd name="connsiteY19" fmla="*/ 341830 h 691640"/>
                                    <a:gd name="connsiteX20" fmla="*/ 674118 w 906744"/>
                                    <a:gd name="connsiteY20" fmla="*/ 344203 h 691640"/>
                                    <a:gd name="connsiteX21" fmla="*/ 674118 w 906744"/>
                                    <a:gd name="connsiteY21" fmla="*/ 350887 h 691640"/>
                                    <a:gd name="connsiteX22" fmla="*/ 652606 w 906744"/>
                                    <a:gd name="connsiteY22" fmla="*/ 348247 h 691640"/>
                                    <a:gd name="connsiteX23" fmla="*/ 628252 w 906744"/>
                                    <a:gd name="connsiteY23" fmla="*/ 358274 h 691640"/>
                                    <a:gd name="connsiteX24" fmla="*/ 622854 w 906744"/>
                                    <a:gd name="connsiteY24" fmla="*/ 368669 h 691640"/>
                                    <a:gd name="connsiteX25" fmla="*/ 616197 w 906744"/>
                                    <a:gd name="connsiteY25" fmla="*/ 357873 h 691640"/>
                                    <a:gd name="connsiteX26" fmla="*/ 616197 w 906744"/>
                                    <a:gd name="connsiteY26" fmla="*/ 351823 h 691640"/>
                                    <a:gd name="connsiteX27" fmla="*/ 640551 w 906744"/>
                                    <a:gd name="connsiteY27" fmla="*/ 344771 h 691640"/>
                                    <a:gd name="connsiteX28" fmla="*/ 628374 w 906744"/>
                                    <a:gd name="connsiteY28" fmla="*/ 344203 h 691640"/>
                                    <a:gd name="connsiteX29" fmla="*/ 594562 w 906744"/>
                                    <a:gd name="connsiteY29" fmla="*/ 354698 h 691640"/>
                                    <a:gd name="connsiteX30" fmla="*/ 562090 w 906744"/>
                                    <a:gd name="connsiteY30" fmla="*/ 360480 h 691640"/>
                                    <a:gd name="connsiteX31" fmla="*/ 583116 w 906744"/>
                                    <a:gd name="connsiteY31" fmla="*/ 368903 h 691640"/>
                                    <a:gd name="connsiteX32" fmla="*/ 556124 w 906744"/>
                                    <a:gd name="connsiteY32" fmla="*/ 366429 h 691640"/>
                                    <a:gd name="connsiteX33" fmla="*/ 542689 w 906744"/>
                                    <a:gd name="connsiteY33" fmla="*/ 359444 h 691640"/>
                                    <a:gd name="connsiteX34" fmla="*/ 532419 w 906744"/>
                                    <a:gd name="connsiteY34" fmla="*/ 362987 h 691640"/>
                                    <a:gd name="connsiteX35" fmla="*/ 544921 w 906744"/>
                                    <a:gd name="connsiteY35" fmla="*/ 369504 h 691640"/>
                                    <a:gd name="connsiteX36" fmla="*/ 538508 w 906744"/>
                                    <a:gd name="connsiteY36" fmla="*/ 377693 h 691640"/>
                                    <a:gd name="connsiteX37" fmla="*/ 531689 w 906744"/>
                                    <a:gd name="connsiteY37" fmla="*/ 368836 h 691640"/>
                                    <a:gd name="connsiteX38" fmla="*/ 508349 w 906744"/>
                                    <a:gd name="connsiteY38" fmla="*/ 370540 h 691640"/>
                                    <a:gd name="connsiteX39" fmla="*/ 509730 w 906744"/>
                                    <a:gd name="connsiteY39" fmla="*/ 360146 h 691640"/>
                                    <a:gd name="connsiteX40" fmla="*/ 473199 w 906744"/>
                                    <a:gd name="connsiteY40" fmla="*/ 361583 h 691640"/>
                                    <a:gd name="connsiteX41" fmla="*/ 471332 w 906744"/>
                                    <a:gd name="connsiteY41" fmla="*/ 372680 h 691640"/>
                                    <a:gd name="connsiteX42" fmla="*/ 449454 w 906744"/>
                                    <a:gd name="connsiteY42" fmla="*/ 378863 h 691640"/>
                                    <a:gd name="connsiteX43" fmla="*/ 427251 w 906744"/>
                                    <a:gd name="connsiteY43" fmla="*/ 375888 h 691640"/>
                                    <a:gd name="connsiteX44" fmla="*/ 404034 w 906744"/>
                                    <a:gd name="connsiteY44" fmla="*/ 389057 h 691640"/>
                                    <a:gd name="connsiteX45" fmla="*/ 430539 w 906744"/>
                                    <a:gd name="connsiteY45" fmla="*/ 390127 h 691640"/>
                                    <a:gd name="connsiteX46" fmla="*/ 432122 w 906744"/>
                                    <a:gd name="connsiteY46" fmla="*/ 400455 h 691640"/>
                                    <a:gd name="connsiteX47" fmla="*/ 409473 w 906744"/>
                                    <a:gd name="connsiteY47" fmla="*/ 399987 h 691640"/>
                                    <a:gd name="connsiteX48" fmla="*/ 387554 w 906744"/>
                                    <a:gd name="connsiteY48" fmla="*/ 395107 h 691640"/>
                                    <a:gd name="connsiteX49" fmla="*/ 380127 w 906744"/>
                                    <a:gd name="connsiteY49" fmla="*/ 384177 h 691640"/>
                                    <a:gd name="connsiteX50" fmla="*/ 354393 w 906744"/>
                                    <a:gd name="connsiteY50" fmla="*/ 395809 h 691640"/>
                                    <a:gd name="connsiteX51" fmla="*/ 338157 w 906744"/>
                                    <a:gd name="connsiteY51" fmla="*/ 399719 h 691640"/>
                                    <a:gd name="connsiteX52" fmla="*/ 337142 w 906744"/>
                                    <a:gd name="connsiteY52" fmla="*/ 404098 h 691640"/>
                                    <a:gd name="connsiteX53" fmla="*/ 310272 w 906744"/>
                                    <a:gd name="connsiteY53" fmla="*/ 414827 h 691640"/>
                                    <a:gd name="connsiteX54" fmla="*/ 274431 w 906744"/>
                                    <a:gd name="connsiteY54" fmla="*/ 424553 h 691640"/>
                                    <a:gd name="connsiteX55" fmla="*/ 318471 w 906744"/>
                                    <a:gd name="connsiteY55" fmla="*/ 415729 h 691640"/>
                                    <a:gd name="connsiteX56" fmla="*/ 353094 w 906744"/>
                                    <a:gd name="connsiteY56" fmla="*/ 410114 h 691640"/>
                                    <a:gd name="connsiteX57" fmla="*/ 381506 w 906744"/>
                                    <a:gd name="connsiteY57" fmla="*/ 406237 h 691640"/>
                                    <a:gd name="connsiteX58" fmla="*/ 395551 w 906744"/>
                                    <a:gd name="connsiteY58" fmla="*/ 411785 h 691640"/>
                                    <a:gd name="connsiteX59" fmla="*/ 392831 w 906744"/>
                                    <a:gd name="connsiteY59" fmla="*/ 421311 h 691640"/>
                                    <a:gd name="connsiteX60" fmla="*/ 374160 w 906744"/>
                                    <a:gd name="connsiteY60" fmla="*/ 415361 h 691640"/>
                                    <a:gd name="connsiteX61" fmla="*/ 346884 w 906744"/>
                                    <a:gd name="connsiteY61" fmla="*/ 424586 h 691640"/>
                                    <a:gd name="connsiteX62" fmla="*/ 336330 w 906744"/>
                                    <a:gd name="connsiteY62" fmla="*/ 437956 h 691640"/>
                                    <a:gd name="connsiteX63" fmla="*/ 322733 w 906744"/>
                                    <a:gd name="connsiteY63" fmla="*/ 443671 h 691640"/>
                                    <a:gd name="connsiteX64" fmla="*/ 291966 w 906744"/>
                                    <a:gd name="connsiteY64" fmla="*/ 461854 h 691640"/>
                                    <a:gd name="connsiteX65" fmla="*/ 286121 w 906744"/>
                                    <a:gd name="connsiteY65" fmla="*/ 474387 h 691640"/>
                                    <a:gd name="connsiteX66" fmla="*/ 263228 w 906744"/>
                                    <a:gd name="connsiteY66" fmla="*/ 476025 h 691640"/>
                                    <a:gd name="connsiteX67" fmla="*/ 257302 w 906744"/>
                                    <a:gd name="connsiteY67" fmla="*/ 486988 h 691640"/>
                                    <a:gd name="connsiteX68" fmla="*/ 253893 w 906744"/>
                                    <a:gd name="connsiteY68" fmla="*/ 492102 h 691640"/>
                                    <a:gd name="connsiteX69" fmla="*/ 253893 w 906744"/>
                                    <a:gd name="connsiteY69" fmla="*/ 503700 h 691640"/>
                                    <a:gd name="connsiteX70" fmla="*/ 234369 w 906744"/>
                                    <a:gd name="connsiteY70" fmla="*/ 503967 h 691640"/>
                                    <a:gd name="connsiteX71" fmla="*/ 218133 w 906744"/>
                                    <a:gd name="connsiteY71" fmla="*/ 508212 h 691640"/>
                                    <a:gd name="connsiteX72" fmla="*/ 215048 w 906744"/>
                                    <a:gd name="connsiteY72" fmla="*/ 514496 h 691640"/>
                                    <a:gd name="connsiteX73" fmla="*/ 202871 w 906744"/>
                                    <a:gd name="connsiteY73" fmla="*/ 522952 h 691640"/>
                                    <a:gd name="connsiteX74" fmla="*/ 175839 w 906744"/>
                                    <a:gd name="connsiteY74" fmla="*/ 532143 h 691640"/>
                                    <a:gd name="connsiteX75" fmla="*/ 159278 w 906744"/>
                                    <a:gd name="connsiteY75" fmla="*/ 539530 h 691640"/>
                                    <a:gd name="connsiteX76" fmla="*/ 147426 w 906744"/>
                                    <a:gd name="connsiteY76" fmla="*/ 551629 h 691640"/>
                                    <a:gd name="connsiteX77" fmla="*/ 133666 w 906744"/>
                                    <a:gd name="connsiteY77" fmla="*/ 545246 h 691640"/>
                                    <a:gd name="connsiteX78" fmla="*/ 119946 w 906744"/>
                                    <a:gd name="connsiteY78" fmla="*/ 550326 h 691640"/>
                                    <a:gd name="connsiteX79" fmla="*/ 115319 w 906744"/>
                                    <a:gd name="connsiteY79" fmla="*/ 557579 h 691640"/>
                                    <a:gd name="connsiteX80" fmla="*/ 74080 w 906744"/>
                                    <a:gd name="connsiteY80" fmla="*/ 569210 h 691640"/>
                                    <a:gd name="connsiteX81" fmla="*/ 90600 w 906744"/>
                                    <a:gd name="connsiteY81" fmla="*/ 574224 h 691640"/>
                                    <a:gd name="connsiteX82" fmla="*/ 61334 w 906744"/>
                                    <a:gd name="connsiteY82" fmla="*/ 573689 h 691640"/>
                                    <a:gd name="connsiteX83" fmla="*/ 43110 w 906744"/>
                                    <a:gd name="connsiteY83" fmla="*/ 580006 h 691640"/>
                                    <a:gd name="connsiteX84" fmla="*/ 29593 w 906744"/>
                                    <a:gd name="connsiteY84" fmla="*/ 590033 h 691640"/>
                                    <a:gd name="connsiteX85" fmla="*/ 1708 w 906744"/>
                                    <a:gd name="connsiteY85" fmla="*/ 594478 h 691640"/>
                                    <a:gd name="connsiteX86" fmla="*/ 12749 w 906744"/>
                                    <a:gd name="connsiteY86" fmla="*/ 606143 h 691640"/>
                                    <a:gd name="connsiteX87" fmla="*/ 5564 w 906744"/>
                                    <a:gd name="connsiteY87" fmla="*/ 611458 h 691640"/>
                                    <a:gd name="connsiteX88" fmla="*/ 11125 w 906744"/>
                                    <a:gd name="connsiteY88" fmla="*/ 616805 h 691640"/>
                                    <a:gd name="connsiteX89" fmla="*/ 1586 w 906744"/>
                                    <a:gd name="connsiteY89" fmla="*/ 623490 h 691640"/>
                                    <a:gd name="connsiteX90" fmla="*/ 2520 w 906744"/>
                                    <a:gd name="connsiteY90" fmla="*/ 632247 h 691640"/>
                                    <a:gd name="connsiteX91" fmla="*/ 18756 w 906744"/>
                                    <a:gd name="connsiteY91" fmla="*/ 638364 h 691640"/>
                                    <a:gd name="connsiteX92" fmla="*/ 30527 w 906744"/>
                                    <a:gd name="connsiteY92" fmla="*/ 640770 h 691640"/>
                                    <a:gd name="connsiteX93" fmla="*/ 50294 w 906744"/>
                                    <a:gd name="connsiteY93" fmla="*/ 633317 h 691640"/>
                                    <a:gd name="connsiteX94" fmla="*/ 56464 w 906744"/>
                                    <a:gd name="connsiteY94" fmla="*/ 637495 h 691640"/>
                                    <a:gd name="connsiteX95" fmla="*/ 44693 w 906744"/>
                                    <a:gd name="connsiteY95" fmla="*/ 640402 h 691640"/>
                                    <a:gd name="connsiteX96" fmla="*/ 21881 w 906744"/>
                                    <a:gd name="connsiteY96" fmla="*/ 648491 h 691640"/>
                                    <a:gd name="connsiteX97" fmla="*/ 15955 w 906744"/>
                                    <a:gd name="connsiteY97" fmla="*/ 643812 h 691640"/>
                                    <a:gd name="connsiteX98" fmla="*/ 7310 w 906744"/>
                                    <a:gd name="connsiteY98" fmla="*/ 648926 h 691640"/>
                                    <a:gd name="connsiteX99" fmla="*/ 10476 w 906744"/>
                                    <a:gd name="connsiteY99" fmla="*/ 656145 h 691640"/>
                                    <a:gd name="connsiteX100" fmla="*/ 8974 w 906744"/>
                                    <a:gd name="connsiteY100" fmla="*/ 663131 h 691640"/>
                                    <a:gd name="connsiteX101" fmla="*/ 40350 w 906744"/>
                                    <a:gd name="connsiteY101" fmla="*/ 657749 h 691640"/>
                                    <a:gd name="connsiteX102" fmla="*/ 42541 w 906744"/>
                                    <a:gd name="connsiteY102" fmla="*/ 662830 h 691640"/>
                                    <a:gd name="connsiteX103" fmla="*/ 34423 w 906744"/>
                                    <a:gd name="connsiteY103" fmla="*/ 669849 h 691640"/>
                                    <a:gd name="connsiteX104" fmla="*/ 25940 w 906744"/>
                                    <a:gd name="connsiteY104" fmla="*/ 678071 h 691640"/>
                                    <a:gd name="connsiteX105" fmla="*/ 57682 w 906744"/>
                                    <a:gd name="connsiteY105" fmla="*/ 686260 h 691640"/>
                                    <a:gd name="connsiteX106" fmla="*/ 97419 w 906744"/>
                                    <a:gd name="connsiteY106" fmla="*/ 691039 h 691640"/>
                                    <a:gd name="connsiteX107" fmla="*/ 137400 w 906744"/>
                                    <a:gd name="connsiteY107" fmla="*/ 678405 h 691640"/>
                                    <a:gd name="connsiteX108" fmla="*/ 160414 w 906744"/>
                                    <a:gd name="connsiteY108" fmla="*/ 667075 h 691640"/>
                                    <a:gd name="connsiteX109" fmla="*/ 188827 w 906744"/>
                                    <a:gd name="connsiteY109" fmla="*/ 659253 h 691640"/>
                                    <a:gd name="connsiteX110" fmla="*/ 201004 w 906744"/>
                                    <a:gd name="connsiteY110" fmla="*/ 657281 h 691640"/>
                                    <a:gd name="connsiteX111" fmla="*/ 210461 w 906744"/>
                                    <a:gd name="connsiteY111" fmla="*/ 662729 h 691640"/>
                                    <a:gd name="connsiteX112" fmla="*/ 214520 w 906744"/>
                                    <a:gd name="connsiteY112" fmla="*/ 669180 h 691640"/>
                                    <a:gd name="connsiteX113" fmla="*/ 225155 w 906744"/>
                                    <a:gd name="connsiteY113" fmla="*/ 669949 h 691640"/>
                                    <a:gd name="connsiteX114" fmla="*/ 242690 w 906744"/>
                                    <a:gd name="connsiteY114" fmla="*/ 642776 h 691640"/>
                                    <a:gd name="connsiteX115" fmla="*/ 263472 w 906744"/>
                                    <a:gd name="connsiteY115" fmla="*/ 635656 h 691640"/>
                                    <a:gd name="connsiteX116" fmla="*/ 254501 w 906744"/>
                                    <a:gd name="connsiteY116" fmla="*/ 617641 h 691640"/>
                                    <a:gd name="connsiteX117" fmla="*/ 268911 w 906744"/>
                                    <a:gd name="connsiteY117" fmla="*/ 605074 h 691640"/>
                                    <a:gd name="connsiteX118" fmla="*/ 248616 w 906744"/>
                                    <a:gd name="connsiteY118" fmla="*/ 592105 h 691640"/>
                                    <a:gd name="connsiteX119" fmla="*/ 252675 w 906744"/>
                                    <a:gd name="connsiteY119" fmla="*/ 583516 h 691640"/>
                                    <a:gd name="connsiteX120" fmla="*/ 247358 w 906744"/>
                                    <a:gd name="connsiteY120" fmla="*/ 570982 h 691640"/>
                                    <a:gd name="connsiteX121" fmla="*/ 248941 w 906744"/>
                                    <a:gd name="connsiteY121" fmla="*/ 549791 h 691640"/>
                                    <a:gd name="connsiteX122" fmla="*/ 284010 w 906744"/>
                                    <a:gd name="connsiteY122" fmla="*/ 534149 h 691640"/>
                                    <a:gd name="connsiteX123" fmla="*/ 314655 w 906744"/>
                                    <a:gd name="connsiteY123" fmla="*/ 529135 h 691640"/>
                                    <a:gd name="connsiteX124" fmla="*/ 299799 w 906744"/>
                                    <a:gd name="connsiteY124" fmla="*/ 518206 h 691640"/>
                                    <a:gd name="connsiteX125" fmla="*/ 327197 w 906744"/>
                                    <a:gd name="connsiteY125" fmla="*/ 488125 h 691640"/>
                                    <a:gd name="connsiteX126" fmla="*/ 355610 w 906744"/>
                                    <a:gd name="connsiteY126" fmla="*/ 474989 h 691640"/>
                                    <a:gd name="connsiteX127" fmla="*/ 373145 w 906744"/>
                                    <a:gd name="connsiteY127" fmla="*/ 457509 h 691640"/>
                                    <a:gd name="connsiteX128" fmla="*/ 387474 w 906744"/>
                                    <a:gd name="connsiteY128" fmla="*/ 450155 h 691640"/>
                                    <a:gd name="connsiteX129" fmla="*/ 391248 w 906744"/>
                                    <a:gd name="connsiteY129" fmla="*/ 440128 h 691640"/>
                                    <a:gd name="connsiteX130" fmla="*/ 427251 w 906744"/>
                                    <a:gd name="connsiteY130" fmla="*/ 423015 h 691640"/>
                                    <a:gd name="connsiteX131" fmla="*/ 453472 w 906744"/>
                                    <a:gd name="connsiteY131" fmla="*/ 413657 h 691640"/>
                                    <a:gd name="connsiteX132" fmla="*/ 486999 w 906744"/>
                                    <a:gd name="connsiteY132" fmla="*/ 408777 h 691640"/>
                                    <a:gd name="connsiteX133" fmla="*/ 523530 w 906744"/>
                                    <a:gd name="connsiteY133" fmla="*/ 408576 h 691640"/>
                                    <a:gd name="connsiteX134" fmla="*/ 547884 w 906744"/>
                                    <a:gd name="connsiteY134" fmla="*/ 397413 h 691640"/>
                                    <a:gd name="connsiteX135" fmla="*/ 592086 w 906744"/>
                                    <a:gd name="connsiteY135" fmla="*/ 398616 h 691640"/>
                                    <a:gd name="connsiteX136" fmla="*/ 619728 w 906744"/>
                                    <a:gd name="connsiteY136" fmla="*/ 406638 h 691640"/>
                                    <a:gd name="connsiteX137" fmla="*/ 637344 w 906744"/>
                                    <a:gd name="connsiteY137" fmla="*/ 409044 h 691640"/>
                                    <a:gd name="connsiteX138" fmla="*/ 652241 w 906744"/>
                                    <a:gd name="connsiteY138" fmla="*/ 406437 h 691640"/>
                                    <a:gd name="connsiteX139" fmla="*/ 687635 w 906744"/>
                                    <a:gd name="connsiteY139" fmla="*/ 414526 h 691640"/>
                                    <a:gd name="connsiteX140" fmla="*/ 700299 w 906744"/>
                                    <a:gd name="connsiteY140" fmla="*/ 407641 h 691640"/>
                                    <a:gd name="connsiteX141" fmla="*/ 716535 w 906744"/>
                                    <a:gd name="connsiteY141" fmla="*/ 404064 h 691640"/>
                                    <a:gd name="connsiteX142" fmla="*/ 724652 w 906744"/>
                                    <a:gd name="connsiteY142" fmla="*/ 385715 h 691640"/>
                                    <a:gd name="connsiteX143" fmla="*/ 763659 w 906744"/>
                                    <a:gd name="connsiteY143" fmla="*/ 378194 h 691640"/>
                                    <a:gd name="connsiteX144" fmla="*/ 809201 w 906744"/>
                                    <a:gd name="connsiteY144" fmla="*/ 381303 h 691640"/>
                                    <a:gd name="connsiteX145" fmla="*/ 841064 w 906744"/>
                                    <a:gd name="connsiteY145" fmla="*/ 403028 h 691640"/>
                                    <a:gd name="connsiteX146" fmla="*/ 893425 w 906744"/>
                                    <a:gd name="connsiteY146" fmla="*/ 396343 h 691640"/>
                                    <a:gd name="connsiteX147" fmla="*/ 879827 w 906744"/>
                                    <a:gd name="connsiteY147" fmla="*/ 389659 h 691640"/>
                                    <a:gd name="connsiteX148" fmla="*/ 879299 w 906744"/>
                                    <a:gd name="connsiteY148" fmla="*/ 389425 h 691640"/>
                                    <a:gd name="connsiteX149" fmla="*/ 245450 w 906744"/>
                                    <a:gd name="connsiteY149" fmla="*/ 43892 h 691640"/>
                                    <a:gd name="connsiteX150" fmla="*/ 225885 w 906744"/>
                                    <a:gd name="connsiteY150" fmla="*/ 65717 h 691640"/>
                                    <a:gd name="connsiteX151" fmla="*/ 295335 w 906744"/>
                                    <a:gd name="connsiteY151" fmla="*/ 83499 h 691640"/>
                                    <a:gd name="connsiteX152" fmla="*/ 320744 w 906744"/>
                                    <a:gd name="connsiteY152" fmla="*/ 76647 h 691640"/>
                                    <a:gd name="connsiteX153" fmla="*/ 329389 w 906744"/>
                                    <a:gd name="connsiteY153" fmla="*/ 68993 h 691640"/>
                                    <a:gd name="connsiteX154" fmla="*/ 344245 w 906744"/>
                                    <a:gd name="connsiteY154" fmla="*/ 66586 h 691640"/>
                                    <a:gd name="connsiteX155" fmla="*/ 362308 w 906744"/>
                                    <a:gd name="connsiteY155" fmla="*/ 62509 h 691640"/>
                                    <a:gd name="connsiteX156" fmla="*/ 360156 w 906744"/>
                                    <a:gd name="connsiteY156" fmla="*/ 75076 h 691640"/>
                                    <a:gd name="connsiteX157" fmla="*/ 396159 w 906744"/>
                                    <a:gd name="connsiteY157" fmla="*/ 68057 h 691640"/>
                                    <a:gd name="connsiteX158" fmla="*/ 396159 w 906744"/>
                                    <a:gd name="connsiteY158" fmla="*/ 79254 h 691640"/>
                                    <a:gd name="connsiteX159" fmla="*/ 363363 w 906744"/>
                                    <a:gd name="connsiteY159" fmla="*/ 82997 h 691640"/>
                                    <a:gd name="connsiteX160" fmla="*/ 326832 w 906744"/>
                                    <a:gd name="connsiteY160" fmla="*/ 89014 h 691640"/>
                                    <a:gd name="connsiteX161" fmla="*/ 325493 w 906744"/>
                                    <a:gd name="connsiteY161" fmla="*/ 100311 h 691640"/>
                                    <a:gd name="connsiteX162" fmla="*/ 411584 w 906744"/>
                                    <a:gd name="connsiteY162" fmla="*/ 100311 h 691640"/>
                                    <a:gd name="connsiteX163" fmla="*/ 344002 w 906744"/>
                                    <a:gd name="connsiteY163" fmla="*/ 105592 h 691640"/>
                                    <a:gd name="connsiteX164" fmla="*/ 337426 w 906744"/>
                                    <a:gd name="connsiteY164" fmla="*/ 109402 h 691640"/>
                                    <a:gd name="connsiteX165" fmla="*/ 310718 w 906744"/>
                                    <a:gd name="connsiteY165" fmla="*/ 108800 h 691640"/>
                                    <a:gd name="connsiteX166" fmla="*/ 335518 w 906744"/>
                                    <a:gd name="connsiteY166" fmla="*/ 122905 h 691640"/>
                                    <a:gd name="connsiteX167" fmla="*/ 351024 w 906744"/>
                                    <a:gd name="connsiteY167" fmla="*/ 127751 h 691640"/>
                                    <a:gd name="connsiteX168" fmla="*/ 379843 w 906744"/>
                                    <a:gd name="connsiteY168" fmla="*/ 128955 h 691640"/>
                                    <a:gd name="connsiteX169" fmla="*/ 360075 w 906744"/>
                                    <a:gd name="connsiteY169" fmla="*/ 135038 h 691640"/>
                                    <a:gd name="connsiteX170" fmla="*/ 389706 w 906744"/>
                                    <a:gd name="connsiteY170" fmla="*/ 142993 h 691640"/>
                                    <a:gd name="connsiteX171" fmla="*/ 430580 w 906744"/>
                                    <a:gd name="connsiteY171" fmla="*/ 121033 h 691640"/>
                                    <a:gd name="connsiteX172" fmla="*/ 466136 w 906744"/>
                                    <a:gd name="connsiteY172" fmla="*/ 108800 h 691640"/>
                                    <a:gd name="connsiteX173" fmla="*/ 472184 w 906744"/>
                                    <a:gd name="connsiteY173" fmla="*/ 96333 h 691640"/>
                                    <a:gd name="connsiteX174" fmla="*/ 489678 w 906744"/>
                                    <a:gd name="connsiteY174" fmla="*/ 90350 h 691640"/>
                                    <a:gd name="connsiteX175" fmla="*/ 517807 w 906744"/>
                                    <a:gd name="connsiteY175" fmla="*/ 73104 h 691640"/>
                                    <a:gd name="connsiteX176" fmla="*/ 563064 w 906744"/>
                                    <a:gd name="connsiteY176" fmla="*/ 71132 h 691640"/>
                                    <a:gd name="connsiteX177" fmla="*/ 545895 w 906744"/>
                                    <a:gd name="connsiteY177" fmla="*/ 77817 h 691640"/>
                                    <a:gd name="connsiteX178" fmla="*/ 577068 w 906744"/>
                                    <a:gd name="connsiteY178" fmla="*/ 104555 h 691640"/>
                                    <a:gd name="connsiteX179" fmla="*/ 565987 w 906744"/>
                                    <a:gd name="connsiteY179" fmla="*/ 117724 h 691640"/>
                                    <a:gd name="connsiteX180" fmla="*/ 615060 w 906744"/>
                                    <a:gd name="connsiteY180" fmla="*/ 115017 h 691640"/>
                                    <a:gd name="connsiteX181" fmla="*/ 618875 w 906744"/>
                                    <a:gd name="connsiteY181" fmla="*/ 123841 h 691640"/>
                                    <a:gd name="connsiteX182" fmla="*/ 661657 w 906744"/>
                                    <a:gd name="connsiteY182" fmla="*/ 119997 h 691640"/>
                                    <a:gd name="connsiteX183" fmla="*/ 699365 w 906744"/>
                                    <a:gd name="connsiteY183" fmla="*/ 110371 h 691640"/>
                                    <a:gd name="connsiteX184" fmla="*/ 668801 w 906744"/>
                                    <a:gd name="connsiteY184" fmla="*/ 105124 h 691640"/>
                                    <a:gd name="connsiteX185" fmla="*/ 644447 w 906744"/>
                                    <a:gd name="connsiteY185" fmla="*/ 99943 h 691640"/>
                                    <a:gd name="connsiteX186" fmla="*/ 616968 w 906744"/>
                                    <a:gd name="connsiteY186" fmla="*/ 91119 h 691640"/>
                                    <a:gd name="connsiteX187" fmla="*/ 612909 w 906744"/>
                                    <a:gd name="connsiteY187" fmla="*/ 83365 h 691640"/>
                                    <a:gd name="connsiteX188" fmla="*/ 581817 w 906744"/>
                                    <a:gd name="connsiteY188" fmla="*/ 73104 h 691640"/>
                                    <a:gd name="connsiteX189" fmla="*/ 568017 w 906744"/>
                                    <a:gd name="connsiteY189" fmla="*/ 61205 h 691640"/>
                                    <a:gd name="connsiteX190" fmla="*/ 548980 w 906744"/>
                                    <a:gd name="connsiteY190" fmla="*/ 54821 h 691640"/>
                                    <a:gd name="connsiteX191" fmla="*/ 523489 w 906744"/>
                                    <a:gd name="connsiteY191" fmla="*/ 52816 h 691640"/>
                                    <a:gd name="connsiteX192" fmla="*/ 488948 w 906744"/>
                                    <a:gd name="connsiteY192" fmla="*/ 48805 h 691640"/>
                                    <a:gd name="connsiteX193" fmla="*/ 474579 w 906744"/>
                                    <a:gd name="connsiteY193" fmla="*/ 35202 h 691640"/>
                                    <a:gd name="connsiteX194" fmla="*/ 441580 w 906744"/>
                                    <a:gd name="connsiteY194" fmla="*/ 39346 h 691640"/>
                                    <a:gd name="connsiteX195" fmla="*/ 452133 w 906744"/>
                                    <a:gd name="connsiteY195" fmla="*/ 25810 h 691640"/>
                                    <a:gd name="connsiteX196" fmla="*/ 421447 w 906744"/>
                                    <a:gd name="connsiteY196" fmla="*/ 20328 h 691640"/>
                                    <a:gd name="connsiteX197" fmla="*/ 403506 w 906744"/>
                                    <a:gd name="connsiteY197" fmla="*/ 17153 h 691640"/>
                                    <a:gd name="connsiteX198" fmla="*/ 386337 w 906744"/>
                                    <a:gd name="connsiteY198" fmla="*/ 21598 h 691640"/>
                                    <a:gd name="connsiteX199" fmla="*/ 388407 w 906744"/>
                                    <a:gd name="connsiteY199" fmla="*/ 33430 h 691640"/>
                                    <a:gd name="connsiteX200" fmla="*/ 403141 w 906744"/>
                                    <a:gd name="connsiteY200" fmla="*/ 52080 h 691640"/>
                                    <a:gd name="connsiteX201" fmla="*/ 366285 w 906744"/>
                                    <a:gd name="connsiteY201" fmla="*/ 37942 h 691640"/>
                                    <a:gd name="connsiteX202" fmla="*/ 345990 w 906744"/>
                                    <a:gd name="connsiteY202" fmla="*/ 22367 h 691640"/>
                                    <a:gd name="connsiteX203" fmla="*/ 321840 w 906744"/>
                                    <a:gd name="connsiteY203" fmla="*/ 34667 h 691640"/>
                                    <a:gd name="connsiteX204" fmla="*/ 320541 w 906744"/>
                                    <a:gd name="connsiteY204" fmla="*/ 42521 h 691640"/>
                                    <a:gd name="connsiteX205" fmla="*/ 312423 w 906744"/>
                                    <a:gd name="connsiteY205" fmla="*/ 40650 h 691640"/>
                                    <a:gd name="connsiteX206" fmla="*/ 283320 w 906744"/>
                                    <a:gd name="connsiteY206" fmla="*/ 29820 h 691640"/>
                                    <a:gd name="connsiteX207" fmla="*/ 307674 w 906744"/>
                                    <a:gd name="connsiteY207" fmla="*/ 20629 h 691640"/>
                                    <a:gd name="connsiteX208" fmla="*/ 244597 w 906744"/>
                                    <a:gd name="connsiteY208" fmla="*/ 23637 h 691640"/>
                                    <a:gd name="connsiteX209" fmla="*/ 198609 w 906744"/>
                                    <a:gd name="connsiteY209" fmla="*/ 32762 h 691640"/>
                                    <a:gd name="connsiteX210" fmla="*/ 217402 w 906744"/>
                                    <a:gd name="connsiteY210" fmla="*/ 48972 h 691640"/>
                                    <a:gd name="connsiteX211" fmla="*/ 245490 w 906744"/>
                                    <a:gd name="connsiteY211" fmla="*/ 43959 h 691640"/>
                                    <a:gd name="connsiteX212" fmla="*/ 211557 w 906744"/>
                                    <a:gd name="connsiteY212" fmla="*/ 74441 h 691640"/>
                                    <a:gd name="connsiteX213" fmla="*/ 237819 w 906744"/>
                                    <a:gd name="connsiteY213" fmla="*/ 82830 h 691640"/>
                                    <a:gd name="connsiteX214" fmla="*/ 200517 w 906744"/>
                                    <a:gd name="connsiteY214" fmla="*/ 60035 h 691640"/>
                                    <a:gd name="connsiteX215" fmla="*/ 185661 w 906744"/>
                                    <a:gd name="connsiteY215" fmla="*/ 63846 h 691640"/>
                                    <a:gd name="connsiteX216" fmla="*/ 211557 w 906744"/>
                                    <a:gd name="connsiteY216" fmla="*/ 74441 h 691640"/>
                                    <a:gd name="connsiteX217" fmla="*/ 475391 w 906744"/>
                                    <a:gd name="connsiteY217" fmla="*/ 16618 h 691640"/>
                                    <a:gd name="connsiteX218" fmla="*/ 474579 w 906744"/>
                                    <a:gd name="connsiteY218" fmla="*/ 24372 h 691640"/>
                                    <a:gd name="connsiteX219" fmla="*/ 509324 w 906744"/>
                                    <a:gd name="connsiteY219" fmla="*/ 28717 h 691640"/>
                                    <a:gd name="connsiteX220" fmla="*/ 593020 w 906744"/>
                                    <a:gd name="connsiteY220" fmla="*/ 28049 h 691640"/>
                                    <a:gd name="connsiteX221" fmla="*/ 587987 w 906744"/>
                                    <a:gd name="connsiteY221" fmla="*/ 32394 h 691640"/>
                                    <a:gd name="connsiteX222" fmla="*/ 529619 w 906744"/>
                                    <a:gd name="connsiteY222" fmla="*/ 37341 h 691640"/>
                                    <a:gd name="connsiteX223" fmla="*/ 578326 w 906744"/>
                                    <a:gd name="connsiteY223" fmla="*/ 45997 h 691640"/>
                                    <a:gd name="connsiteX224" fmla="*/ 630646 w 906744"/>
                                    <a:gd name="connsiteY224" fmla="*/ 49340 h 691640"/>
                                    <a:gd name="connsiteX225" fmla="*/ 711096 w 906744"/>
                                    <a:gd name="connsiteY225" fmla="*/ 52381 h 691640"/>
                                    <a:gd name="connsiteX226" fmla="*/ 776364 w 906744"/>
                                    <a:gd name="connsiteY226" fmla="*/ 39012 h 691640"/>
                                    <a:gd name="connsiteX227" fmla="*/ 781843 w 906744"/>
                                    <a:gd name="connsiteY227" fmla="*/ 22935 h 691640"/>
                                    <a:gd name="connsiteX228" fmla="*/ 739833 w 906744"/>
                                    <a:gd name="connsiteY228" fmla="*/ 20428 h 691640"/>
                                    <a:gd name="connsiteX229" fmla="*/ 703302 w 906744"/>
                                    <a:gd name="connsiteY229" fmla="*/ 13409 h 691640"/>
                                    <a:gd name="connsiteX230" fmla="*/ 669816 w 906744"/>
                                    <a:gd name="connsiteY230" fmla="*/ 16752 h 691640"/>
                                    <a:gd name="connsiteX231" fmla="*/ 651672 w 906744"/>
                                    <a:gd name="connsiteY231" fmla="*/ 11872 h 691640"/>
                                    <a:gd name="connsiteX232" fmla="*/ 625979 w 906744"/>
                                    <a:gd name="connsiteY232" fmla="*/ 6858 h 691640"/>
                                    <a:gd name="connsiteX233" fmla="*/ 626222 w 906744"/>
                                    <a:gd name="connsiteY233" fmla="*/ 20896 h 691640"/>
                                    <a:gd name="connsiteX234" fmla="*/ 598337 w 906744"/>
                                    <a:gd name="connsiteY234" fmla="*/ 15782 h 691640"/>
                                    <a:gd name="connsiteX235" fmla="*/ 576013 w 906744"/>
                                    <a:gd name="connsiteY235" fmla="*/ 13376 h 691640"/>
                                    <a:gd name="connsiteX236" fmla="*/ 553080 w 906744"/>
                                    <a:gd name="connsiteY236" fmla="*/ 4652 h 691640"/>
                                    <a:gd name="connsiteX237" fmla="*/ 523287 w 906744"/>
                                    <a:gd name="connsiteY237" fmla="*/ 341 h 691640"/>
                                    <a:gd name="connsiteX238" fmla="*/ 511110 w 906744"/>
                                    <a:gd name="connsiteY238" fmla="*/ 5455 h 691640"/>
                                    <a:gd name="connsiteX239" fmla="*/ 500962 w 906744"/>
                                    <a:gd name="connsiteY239" fmla="*/ 10234 h 691640"/>
                                    <a:gd name="connsiteX240" fmla="*/ 482453 w 906744"/>
                                    <a:gd name="connsiteY240" fmla="*/ 5154 h 691640"/>
                                    <a:gd name="connsiteX241" fmla="*/ 466217 w 906744"/>
                                    <a:gd name="connsiteY241" fmla="*/ 3382 h 691640"/>
                                    <a:gd name="connsiteX242" fmla="*/ 454527 w 906744"/>
                                    <a:gd name="connsiteY242" fmla="*/ 9265 h 691640"/>
                                    <a:gd name="connsiteX243" fmla="*/ 475269 w 906744"/>
                                    <a:gd name="connsiteY243" fmla="*/ 16652 h 691640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  <a:cxn ang="0">
                                      <a:pos x="connsiteX22" y="connsiteY22"/>
                                    </a:cxn>
                                    <a:cxn ang="0">
                                      <a:pos x="connsiteX23" y="connsiteY23"/>
                                    </a:cxn>
                                    <a:cxn ang="0">
                                      <a:pos x="connsiteX24" y="connsiteY24"/>
                                    </a:cxn>
                                    <a:cxn ang="0">
                                      <a:pos x="connsiteX25" y="connsiteY25"/>
                                    </a:cxn>
                                    <a:cxn ang="0">
                                      <a:pos x="connsiteX26" y="connsiteY26"/>
                                    </a:cxn>
                                    <a:cxn ang="0">
                                      <a:pos x="connsiteX27" y="connsiteY27"/>
                                    </a:cxn>
                                    <a:cxn ang="0">
                                      <a:pos x="connsiteX28" y="connsiteY28"/>
                                    </a:cxn>
                                    <a:cxn ang="0">
                                      <a:pos x="connsiteX29" y="connsiteY29"/>
                                    </a:cxn>
                                    <a:cxn ang="0">
                                      <a:pos x="connsiteX30" y="connsiteY30"/>
                                    </a:cxn>
                                    <a:cxn ang="0">
                                      <a:pos x="connsiteX31" y="connsiteY31"/>
                                    </a:cxn>
                                    <a:cxn ang="0">
                                      <a:pos x="connsiteX32" y="connsiteY32"/>
                                    </a:cxn>
                                    <a:cxn ang="0">
                                      <a:pos x="connsiteX33" y="connsiteY33"/>
                                    </a:cxn>
                                    <a:cxn ang="0">
                                      <a:pos x="connsiteX34" y="connsiteY34"/>
                                    </a:cxn>
                                    <a:cxn ang="0">
                                      <a:pos x="connsiteX35" y="connsiteY35"/>
                                    </a:cxn>
                                    <a:cxn ang="0">
                                      <a:pos x="connsiteX36" y="connsiteY36"/>
                                    </a:cxn>
                                    <a:cxn ang="0">
                                      <a:pos x="connsiteX37" y="connsiteY37"/>
                                    </a:cxn>
                                    <a:cxn ang="0">
                                      <a:pos x="connsiteX38" y="connsiteY38"/>
                                    </a:cxn>
                                    <a:cxn ang="0">
                                      <a:pos x="connsiteX39" y="connsiteY39"/>
                                    </a:cxn>
                                    <a:cxn ang="0">
                                      <a:pos x="connsiteX40" y="connsiteY40"/>
                                    </a:cxn>
                                    <a:cxn ang="0">
                                      <a:pos x="connsiteX41" y="connsiteY41"/>
                                    </a:cxn>
                                    <a:cxn ang="0">
                                      <a:pos x="connsiteX42" y="connsiteY42"/>
                                    </a:cxn>
                                    <a:cxn ang="0">
                                      <a:pos x="connsiteX43" y="connsiteY43"/>
                                    </a:cxn>
                                    <a:cxn ang="0">
                                      <a:pos x="connsiteX44" y="connsiteY44"/>
                                    </a:cxn>
                                    <a:cxn ang="0">
                                      <a:pos x="connsiteX45" y="connsiteY45"/>
                                    </a:cxn>
                                    <a:cxn ang="0">
                                      <a:pos x="connsiteX46" y="connsiteY46"/>
                                    </a:cxn>
                                    <a:cxn ang="0">
                                      <a:pos x="connsiteX47" y="connsiteY47"/>
                                    </a:cxn>
                                    <a:cxn ang="0">
                                      <a:pos x="connsiteX48" y="connsiteY48"/>
                                    </a:cxn>
                                    <a:cxn ang="0">
                                      <a:pos x="connsiteX49" y="connsiteY49"/>
                                    </a:cxn>
                                    <a:cxn ang="0">
                                      <a:pos x="connsiteX50" y="connsiteY50"/>
                                    </a:cxn>
                                    <a:cxn ang="0">
                                      <a:pos x="connsiteX51" y="connsiteY51"/>
                                    </a:cxn>
                                    <a:cxn ang="0">
                                      <a:pos x="connsiteX52" y="connsiteY52"/>
                                    </a:cxn>
                                    <a:cxn ang="0">
                                      <a:pos x="connsiteX53" y="connsiteY53"/>
                                    </a:cxn>
                                    <a:cxn ang="0">
                                      <a:pos x="connsiteX54" y="connsiteY54"/>
                                    </a:cxn>
                                    <a:cxn ang="0">
                                      <a:pos x="connsiteX55" y="connsiteY55"/>
                                    </a:cxn>
                                    <a:cxn ang="0">
                                      <a:pos x="connsiteX56" y="connsiteY56"/>
                                    </a:cxn>
                                    <a:cxn ang="0">
                                      <a:pos x="connsiteX57" y="connsiteY57"/>
                                    </a:cxn>
                                    <a:cxn ang="0">
                                      <a:pos x="connsiteX58" y="connsiteY58"/>
                                    </a:cxn>
                                    <a:cxn ang="0">
                                      <a:pos x="connsiteX59" y="connsiteY59"/>
                                    </a:cxn>
                                    <a:cxn ang="0">
                                      <a:pos x="connsiteX60" y="connsiteY60"/>
                                    </a:cxn>
                                    <a:cxn ang="0">
                                      <a:pos x="connsiteX61" y="connsiteY61"/>
                                    </a:cxn>
                                    <a:cxn ang="0">
                                      <a:pos x="connsiteX62" y="connsiteY62"/>
                                    </a:cxn>
                                    <a:cxn ang="0">
                                      <a:pos x="connsiteX63" y="connsiteY63"/>
                                    </a:cxn>
                                    <a:cxn ang="0">
                                      <a:pos x="connsiteX64" y="connsiteY64"/>
                                    </a:cxn>
                                    <a:cxn ang="0">
                                      <a:pos x="connsiteX65" y="connsiteY65"/>
                                    </a:cxn>
                                    <a:cxn ang="0">
                                      <a:pos x="connsiteX66" y="connsiteY66"/>
                                    </a:cxn>
                                    <a:cxn ang="0">
                                      <a:pos x="connsiteX67" y="connsiteY67"/>
                                    </a:cxn>
                                    <a:cxn ang="0">
                                      <a:pos x="connsiteX68" y="connsiteY68"/>
                                    </a:cxn>
                                    <a:cxn ang="0">
                                      <a:pos x="connsiteX69" y="connsiteY69"/>
                                    </a:cxn>
                                    <a:cxn ang="0">
                                      <a:pos x="connsiteX70" y="connsiteY70"/>
                                    </a:cxn>
                                    <a:cxn ang="0">
                                      <a:pos x="connsiteX71" y="connsiteY71"/>
                                    </a:cxn>
                                    <a:cxn ang="0">
                                      <a:pos x="connsiteX72" y="connsiteY72"/>
                                    </a:cxn>
                                    <a:cxn ang="0">
                                      <a:pos x="connsiteX73" y="connsiteY73"/>
                                    </a:cxn>
                                    <a:cxn ang="0">
                                      <a:pos x="connsiteX74" y="connsiteY74"/>
                                    </a:cxn>
                                    <a:cxn ang="0">
                                      <a:pos x="connsiteX75" y="connsiteY75"/>
                                    </a:cxn>
                                    <a:cxn ang="0">
                                      <a:pos x="connsiteX76" y="connsiteY76"/>
                                    </a:cxn>
                                    <a:cxn ang="0">
                                      <a:pos x="connsiteX77" y="connsiteY77"/>
                                    </a:cxn>
                                    <a:cxn ang="0">
                                      <a:pos x="connsiteX78" y="connsiteY78"/>
                                    </a:cxn>
                                    <a:cxn ang="0">
                                      <a:pos x="connsiteX79" y="connsiteY79"/>
                                    </a:cxn>
                                    <a:cxn ang="0">
                                      <a:pos x="connsiteX80" y="connsiteY80"/>
                                    </a:cxn>
                                    <a:cxn ang="0">
                                      <a:pos x="connsiteX81" y="connsiteY81"/>
                                    </a:cxn>
                                    <a:cxn ang="0">
                                      <a:pos x="connsiteX82" y="connsiteY82"/>
                                    </a:cxn>
                                    <a:cxn ang="0">
                                      <a:pos x="connsiteX83" y="connsiteY83"/>
                                    </a:cxn>
                                    <a:cxn ang="0">
                                      <a:pos x="connsiteX84" y="connsiteY84"/>
                                    </a:cxn>
                                    <a:cxn ang="0">
                                      <a:pos x="connsiteX85" y="connsiteY85"/>
                                    </a:cxn>
                                    <a:cxn ang="0">
                                      <a:pos x="connsiteX86" y="connsiteY86"/>
                                    </a:cxn>
                                    <a:cxn ang="0">
                                      <a:pos x="connsiteX87" y="connsiteY87"/>
                                    </a:cxn>
                                    <a:cxn ang="0">
                                      <a:pos x="connsiteX88" y="connsiteY88"/>
                                    </a:cxn>
                                    <a:cxn ang="0">
                                      <a:pos x="connsiteX89" y="connsiteY89"/>
                                    </a:cxn>
                                    <a:cxn ang="0">
                                      <a:pos x="connsiteX90" y="connsiteY90"/>
                                    </a:cxn>
                                    <a:cxn ang="0">
                                      <a:pos x="connsiteX91" y="connsiteY91"/>
                                    </a:cxn>
                                    <a:cxn ang="0">
                                      <a:pos x="connsiteX92" y="connsiteY92"/>
                                    </a:cxn>
                                    <a:cxn ang="0">
                                      <a:pos x="connsiteX93" y="connsiteY93"/>
                                    </a:cxn>
                                    <a:cxn ang="0">
                                      <a:pos x="connsiteX94" y="connsiteY94"/>
                                    </a:cxn>
                                    <a:cxn ang="0">
                                      <a:pos x="connsiteX95" y="connsiteY95"/>
                                    </a:cxn>
                                    <a:cxn ang="0">
                                      <a:pos x="connsiteX96" y="connsiteY96"/>
                                    </a:cxn>
                                    <a:cxn ang="0">
                                      <a:pos x="connsiteX97" y="connsiteY97"/>
                                    </a:cxn>
                                    <a:cxn ang="0">
                                      <a:pos x="connsiteX98" y="connsiteY98"/>
                                    </a:cxn>
                                    <a:cxn ang="0">
                                      <a:pos x="connsiteX99" y="connsiteY99"/>
                                    </a:cxn>
                                    <a:cxn ang="0">
                                      <a:pos x="connsiteX100" y="connsiteY100"/>
                                    </a:cxn>
                                    <a:cxn ang="0">
                                      <a:pos x="connsiteX101" y="connsiteY101"/>
                                    </a:cxn>
                                    <a:cxn ang="0">
                                      <a:pos x="connsiteX102" y="connsiteY102"/>
                                    </a:cxn>
                                    <a:cxn ang="0">
                                      <a:pos x="connsiteX103" y="connsiteY103"/>
                                    </a:cxn>
                                    <a:cxn ang="0">
                                      <a:pos x="connsiteX104" y="connsiteY104"/>
                                    </a:cxn>
                                    <a:cxn ang="0">
                                      <a:pos x="connsiteX105" y="connsiteY105"/>
                                    </a:cxn>
                                    <a:cxn ang="0">
                                      <a:pos x="connsiteX106" y="connsiteY106"/>
                                    </a:cxn>
                                    <a:cxn ang="0">
                                      <a:pos x="connsiteX107" y="connsiteY107"/>
                                    </a:cxn>
                                    <a:cxn ang="0">
                                      <a:pos x="connsiteX108" y="connsiteY108"/>
                                    </a:cxn>
                                    <a:cxn ang="0">
                                      <a:pos x="connsiteX109" y="connsiteY109"/>
                                    </a:cxn>
                                    <a:cxn ang="0">
                                      <a:pos x="connsiteX110" y="connsiteY110"/>
                                    </a:cxn>
                                    <a:cxn ang="0">
                                      <a:pos x="connsiteX111" y="connsiteY111"/>
                                    </a:cxn>
                                    <a:cxn ang="0">
                                      <a:pos x="connsiteX112" y="connsiteY112"/>
                                    </a:cxn>
                                    <a:cxn ang="0">
                                      <a:pos x="connsiteX113" y="connsiteY113"/>
                                    </a:cxn>
                                    <a:cxn ang="0">
                                      <a:pos x="connsiteX114" y="connsiteY114"/>
                                    </a:cxn>
                                    <a:cxn ang="0">
                                      <a:pos x="connsiteX115" y="connsiteY115"/>
                                    </a:cxn>
                                    <a:cxn ang="0">
                                      <a:pos x="connsiteX116" y="connsiteY116"/>
                                    </a:cxn>
                                    <a:cxn ang="0">
                                      <a:pos x="connsiteX117" y="connsiteY117"/>
                                    </a:cxn>
                                    <a:cxn ang="0">
                                      <a:pos x="connsiteX118" y="connsiteY118"/>
                                    </a:cxn>
                                    <a:cxn ang="0">
                                      <a:pos x="connsiteX119" y="connsiteY119"/>
                                    </a:cxn>
                                    <a:cxn ang="0">
                                      <a:pos x="connsiteX120" y="connsiteY120"/>
                                    </a:cxn>
                                    <a:cxn ang="0">
                                      <a:pos x="connsiteX121" y="connsiteY121"/>
                                    </a:cxn>
                                    <a:cxn ang="0">
                                      <a:pos x="connsiteX122" y="connsiteY122"/>
                                    </a:cxn>
                                    <a:cxn ang="0">
                                      <a:pos x="connsiteX123" y="connsiteY123"/>
                                    </a:cxn>
                                    <a:cxn ang="0">
                                      <a:pos x="connsiteX124" y="connsiteY124"/>
                                    </a:cxn>
                                    <a:cxn ang="0">
                                      <a:pos x="connsiteX125" y="connsiteY125"/>
                                    </a:cxn>
                                    <a:cxn ang="0">
                                      <a:pos x="connsiteX126" y="connsiteY126"/>
                                    </a:cxn>
                                    <a:cxn ang="0">
                                      <a:pos x="connsiteX127" y="connsiteY127"/>
                                    </a:cxn>
                                    <a:cxn ang="0">
                                      <a:pos x="connsiteX128" y="connsiteY128"/>
                                    </a:cxn>
                                    <a:cxn ang="0">
                                      <a:pos x="connsiteX129" y="connsiteY129"/>
                                    </a:cxn>
                                    <a:cxn ang="0">
                                      <a:pos x="connsiteX130" y="connsiteY130"/>
                                    </a:cxn>
                                    <a:cxn ang="0">
                                      <a:pos x="connsiteX131" y="connsiteY131"/>
                                    </a:cxn>
                                    <a:cxn ang="0">
                                      <a:pos x="connsiteX132" y="connsiteY132"/>
                                    </a:cxn>
                                    <a:cxn ang="0">
                                      <a:pos x="connsiteX133" y="connsiteY133"/>
                                    </a:cxn>
                                    <a:cxn ang="0">
                                      <a:pos x="connsiteX134" y="connsiteY134"/>
                                    </a:cxn>
                                    <a:cxn ang="0">
                                      <a:pos x="connsiteX135" y="connsiteY135"/>
                                    </a:cxn>
                                    <a:cxn ang="0">
                                      <a:pos x="connsiteX136" y="connsiteY136"/>
                                    </a:cxn>
                                    <a:cxn ang="0">
                                      <a:pos x="connsiteX137" y="connsiteY137"/>
                                    </a:cxn>
                                    <a:cxn ang="0">
                                      <a:pos x="connsiteX138" y="connsiteY138"/>
                                    </a:cxn>
                                    <a:cxn ang="0">
                                      <a:pos x="connsiteX139" y="connsiteY139"/>
                                    </a:cxn>
                                    <a:cxn ang="0">
                                      <a:pos x="connsiteX140" y="connsiteY140"/>
                                    </a:cxn>
                                    <a:cxn ang="0">
                                      <a:pos x="connsiteX141" y="connsiteY141"/>
                                    </a:cxn>
                                    <a:cxn ang="0">
                                      <a:pos x="connsiteX142" y="connsiteY142"/>
                                    </a:cxn>
                                    <a:cxn ang="0">
                                      <a:pos x="connsiteX143" y="connsiteY143"/>
                                    </a:cxn>
                                    <a:cxn ang="0">
                                      <a:pos x="connsiteX144" y="connsiteY144"/>
                                    </a:cxn>
                                    <a:cxn ang="0">
                                      <a:pos x="connsiteX145" y="connsiteY145"/>
                                    </a:cxn>
                                    <a:cxn ang="0">
                                      <a:pos x="connsiteX146" y="connsiteY146"/>
                                    </a:cxn>
                                    <a:cxn ang="0">
                                      <a:pos x="connsiteX147" y="connsiteY147"/>
                                    </a:cxn>
                                    <a:cxn ang="0">
                                      <a:pos x="connsiteX148" y="connsiteY148"/>
                                    </a:cxn>
                                    <a:cxn ang="0">
                                      <a:pos x="connsiteX149" y="connsiteY149"/>
                                    </a:cxn>
                                    <a:cxn ang="0">
                                      <a:pos x="connsiteX150" y="connsiteY150"/>
                                    </a:cxn>
                                    <a:cxn ang="0">
                                      <a:pos x="connsiteX151" y="connsiteY151"/>
                                    </a:cxn>
                                    <a:cxn ang="0">
                                      <a:pos x="connsiteX152" y="connsiteY152"/>
                                    </a:cxn>
                                    <a:cxn ang="0">
                                      <a:pos x="connsiteX153" y="connsiteY153"/>
                                    </a:cxn>
                                    <a:cxn ang="0">
                                      <a:pos x="connsiteX154" y="connsiteY154"/>
                                    </a:cxn>
                                    <a:cxn ang="0">
                                      <a:pos x="connsiteX155" y="connsiteY155"/>
                                    </a:cxn>
                                    <a:cxn ang="0">
                                      <a:pos x="connsiteX156" y="connsiteY156"/>
                                    </a:cxn>
                                    <a:cxn ang="0">
                                      <a:pos x="connsiteX157" y="connsiteY157"/>
                                    </a:cxn>
                                    <a:cxn ang="0">
                                      <a:pos x="connsiteX158" y="connsiteY158"/>
                                    </a:cxn>
                                    <a:cxn ang="0">
                                      <a:pos x="connsiteX159" y="connsiteY159"/>
                                    </a:cxn>
                                    <a:cxn ang="0">
                                      <a:pos x="connsiteX160" y="connsiteY160"/>
                                    </a:cxn>
                                    <a:cxn ang="0">
                                      <a:pos x="connsiteX161" y="connsiteY161"/>
                                    </a:cxn>
                                    <a:cxn ang="0">
                                      <a:pos x="connsiteX162" y="connsiteY162"/>
                                    </a:cxn>
                                    <a:cxn ang="0">
                                      <a:pos x="connsiteX163" y="connsiteY163"/>
                                    </a:cxn>
                                    <a:cxn ang="0">
                                      <a:pos x="connsiteX164" y="connsiteY164"/>
                                    </a:cxn>
                                    <a:cxn ang="0">
                                      <a:pos x="connsiteX165" y="connsiteY165"/>
                                    </a:cxn>
                                    <a:cxn ang="0">
                                      <a:pos x="connsiteX166" y="connsiteY166"/>
                                    </a:cxn>
                                    <a:cxn ang="0">
                                      <a:pos x="connsiteX167" y="connsiteY167"/>
                                    </a:cxn>
                                    <a:cxn ang="0">
                                      <a:pos x="connsiteX168" y="connsiteY168"/>
                                    </a:cxn>
                                    <a:cxn ang="0">
                                      <a:pos x="connsiteX169" y="connsiteY169"/>
                                    </a:cxn>
                                    <a:cxn ang="0">
                                      <a:pos x="connsiteX170" y="connsiteY170"/>
                                    </a:cxn>
                                    <a:cxn ang="0">
                                      <a:pos x="connsiteX171" y="connsiteY171"/>
                                    </a:cxn>
                                    <a:cxn ang="0">
                                      <a:pos x="connsiteX172" y="connsiteY172"/>
                                    </a:cxn>
                                    <a:cxn ang="0">
                                      <a:pos x="connsiteX173" y="connsiteY173"/>
                                    </a:cxn>
                                    <a:cxn ang="0">
                                      <a:pos x="connsiteX174" y="connsiteY174"/>
                                    </a:cxn>
                                    <a:cxn ang="0">
                                      <a:pos x="connsiteX175" y="connsiteY175"/>
                                    </a:cxn>
                                    <a:cxn ang="0">
                                      <a:pos x="connsiteX176" y="connsiteY176"/>
                                    </a:cxn>
                                    <a:cxn ang="0">
                                      <a:pos x="connsiteX177" y="connsiteY177"/>
                                    </a:cxn>
                                    <a:cxn ang="0">
                                      <a:pos x="connsiteX178" y="connsiteY178"/>
                                    </a:cxn>
                                    <a:cxn ang="0">
                                      <a:pos x="connsiteX179" y="connsiteY179"/>
                                    </a:cxn>
                                    <a:cxn ang="0">
                                      <a:pos x="connsiteX180" y="connsiteY180"/>
                                    </a:cxn>
                                    <a:cxn ang="0">
                                      <a:pos x="connsiteX181" y="connsiteY181"/>
                                    </a:cxn>
                                    <a:cxn ang="0">
                                      <a:pos x="connsiteX182" y="connsiteY182"/>
                                    </a:cxn>
                                    <a:cxn ang="0">
                                      <a:pos x="connsiteX183" y="connsiteY183"/>
                                    </a:cxn>
                                    <a:cxn ang="0">
                                      <a:pos x="connsiteX184" y="connsiteY184"/>
                                    </a:cxn>
                                    <a:cxn ang="0">
                                      <a:pos x="connsiteX185" y="connsiteY185"/>
                                    </a:cxn>
                                    <a:cxn ang="0">
                                      <a:pos x="connsiteX186" y="connsiteY186"/>
                                    </a:cxn>
                                    <a:cxn ang="0">
                                      <a:pos x="connsiteX187" y="connsiteY187"/>
                                    </a:cxn>
                                    <a:cxn ang="0">
                                      <a:pos x="connsiteX188" y="connsiteY188"/>
                                    </a:cxn>
                                    <a:cxn ang="0">
                                      <a:pos x="connsiteX189" y="connsiteY189"/>
                                    </a:cxn>
                                    <a:cxn ang="0">
                                      <a:pos x="connsiteX190" y="connsiteY190"/>
                                    </a:cxn>
                                    <a:cxn ang="0">
                                      <a:pos x="connsiteX191" y="connsiteY191"/>
                                    </a:cxn>
                                    <a:cxn ang="0">
                                      <a:pos x="connsiteX192" y="connsiteY192"/>
                                    </a:cxn>
                                    <a:cxn ang="0">
                                      <a:pos x="connsiteX193" y="connsiteY193"/>
                                    </a:cxn>
                                    <a:cxn ang="0">
                                      <a:pos x="connsiteX194" y="connsiteY194"/>
                                    </a:cxn>
                                    <a:cxn ang="0">
                                      <a:pos x="connsiteX195" y="connsiteY195"/>
                                    </a:cxn>
                                    <a:cxn ang="0">
                                      <a:pos x="connsiteX196" y="connsiteY196"/>
                                    </a:cxn>
                                    <a:cxn ang="0">
                                      <a:pos x="connsiteX197" y="connsiteY197"/>
                                    </a:cxn>
                                    <a:cxn ang="0">
                                      <a:pos x="connsiteX198" y="connsiteY198"/>
                                    </a:cxn>
                                    <a:cxn ang="0">
                                      <a:pos x="connsiteX199" y="connsiteY199"/>
                                    </a:cxn>
                                    <a:cxn ang="0">
                                      <a:pos x="connsiteX200" y="connsiteY200"/>
                                    </a:cxn>
                                    <a:cxn ang="0">
                                      <a:pos x="connsiteX201" y="connsiteY201"/>
                                    </a:cxn>
                                    <a:cxn ang="0">
                                      <a:pos x="connsiteX202" y="connsiteY202"/>
                                    </a:cxn>
                                    <a:cxn ang="0">
                                      <a:pos x="connsiteX203" y="connsiteY203"/>
                                    </a:cxn>
                                    <a:cxn ang="0">
                                      <a:pos x="connsiteX204" y="connsiteY204"/>
                                    </a:cxn>
                                    <a:cxn ang="0">
                                      <a:pos x="connsiteX205" y="connsiteY205"/>
                                    </a:cxn>
                                    <a:cxn ang="0">
                                      <a:pos x="connsiteX206" y="connsiteY206"/>
                                    </a:cxn>
                                    <a:cxn ang="0">
                                      <a:pos x="connsiteX207" y="connsiteY207"/>
                                    </a:cxn>
                                    <a:cxn ang="0">
                                      <a:pos x="connsiteX208" y="connsiteY208"/>
                                    </a:cxn>
                                    <a:cxn ang="0">
                                      <a:pos x="connsiteX209" y="connsiteY209"/>
                                    </a:cxn>
                                    <a:cxn ang="0">
                                      <a:pos x="connsiteX210" y="connsiteY210"/>
                                    </a:cxn>
                                    <a:cxn ang="0">
                                      <a:pos x="connsiteX211" y="connsiteY211"/>
                                    </a:cxn>
                                    <a:cxn ang="0">
                                      <a:pos x="connsiteX212" y="connsiteY212"/>
                                    </a:cxn>
                                    <a:cxn ang="0">
                                      <a:pos x="connsiteX213" y="connsiteY213"/>
                                    </a:cxn>
                                    <a:cxn ang="0">
                                      <a:pos x="connsiteX214" y="connsiteY214"/>
                                    </a:cxn>
                                    <a:cxn ang="0">
                                      <a:pos x="connsiteX215" y="connsiteY215"/>
                                    </a:cxn>
                                    <a:cxn ang="0">
                                      <a:pos x="connsiteX216" y="connsiteY216"/>
                                    </a:cxn>
                                    <a:cxn ang="0">
                                      <a:pos x="connsiteX217" y="connsiteY217"/>
                                    </a:cxn>
                                    <a:cxn ang="0">
                                      <a:pos x="connsiteX218" y="connsiteY218"/>
                                    </a:cxn>
                                    <a:cxn ang="0">
                                      <a:pos x="connsiteX219" y="connsiteY219"/>
                                    </a:cxn>
                                    <a:cxn ang="0">
                                      <a:pos x="connsiteX220" y="connsiteY220"/>
                                    </a:cxn>
                                    <a:cxn ang="0">
                                      <a:pos x="connsiteX221" y="connsiteY221"/>
                                    </a:cxn>
                                    <a:cxn ang="0">
                                      <a:pos x="connsiteX222" y="connsiteY222"/>
                                    </a:cxn>
                                    <a:cxn ang="0">
                                      <a:pos x="connsiteX223" y="connsiteY223"/>
                                    </a:cxn>
                                    <a:cxn ang="0">
                                      <a:pos x="connsiteX224" y="connsiteY224"/>
                                    </a:cxn>
                                    <a:cxn ang="0">
                                      <a:pos x="connsiteX225" y="connsiteY225"/>
                                    </a:cxn>
                                    <a:cxn ang="0">
                                      <a:pos x="connsiteX226" y="connsiteY226"/>
                                    </a:cxn>
                                    <a:cxn ang="0">
                                      <a:pos x="connsiteX227" y="connsiteY227"/>
                                    </a:cxn>
                                    <a:cxn ang="0">
                                      <a:pos x="connsiteX228" y="connsiteY228"/>
                                    </a:cxn>
                                    <a:cxn ang="0">
                                      <a:pos x="connsiteX229" y="connsiteY229"/>
                                    </a:cxn>
                                    <a:cxn ang="0">
                                      <a:pos x="connsiteX230" y="connsiteY230"/>
                                    </a:cxn>
                                    <a:cxn ang="0">
                                      <a:pos x="connsiteX231" y="connsiteY231"/>
                                    </a:cxn>
                                    <a:cxn ang="0">
                                      <a:pos x="connsiteX232" y="connsiteY232"/>
                                    </a:cxn>
                                    <a:cxn ang="0">
                                      <a:pos x="connsiteX233" y="connsiteY233"/>
                                    </a:cxn>
                                    <a:cxn ang="0">
                                      <a:pos x="connsiteX234" y="connsiteY234"/>
                                    </a:cxn>
                                    <a:cxn ang="0">
                                      <a:pos x="connsiteX235" y="connsiteY235"/>
                                    </a:cxn>
                                    <a:cxn ang="0">
                                      <a:pos x="connsiteX236" y="connsiteY236"/>
                                    </a:cxn>
                                    <a:cxn ang="0">
                                      <a:pos x="connsiteX237" y="connsiteY237"/>
                                    </a:cxn>
                                    <a:cxn ang="0">
                                      <a:pos x="connsiteX238" y="connsiteY238"/>
                                    </a:cxn>
                                    <a:cxn ang="0">
                                      <a:pos x="connsiteX239" y="connsiteY239"/>
                                    </a:cxn>
                                    <a:cxn ang="0">
                                      <a:pos x="connsiteX240" y="connsiteY240"/>
                                    </a:cxn>
                                    <a:cxn ang="0">
                                      <a:pos x="connsiteX241" y="connsiteY241"/>
                                    </a:cxn>
                                    <a:cxn ang="0">
                                      <a:pos x="connsiteX242" y="connsiteY242"/>
                                    </a:cxn>
                                    <a:cxn ang="0">
                                      <a:pos x="connsiteX243" y="connsiteY243"/>
                                    </a:cxn>
                                  </a:cxnLst>
                                  <a:rect l="l" t="t" r="r" b="b"/>
                                  <a:pathLst>
                                    <a:path w="906744" h="691640">
                                      <a:moveTo>
                                        <a:pt x="879299" y="389425"/>
                                      </a:moveTo>
                                      <a:cubicBezTo>
                                        <a:pt x="874429" y="396611"/>
                                        <a:pt x="864647" y="387319"/>
                                        <a:pt x="862333" y="385748"/>
                                      </a:cubicBezTo>
                                      <a:cubicBezTo>
                                        <a:pt x="858274" y="382941"/>
                                        <a:pt x="842809" y="380601"/>
                                        <a:pt x="841307" y="377626"/>
                                      </a:cubicBezTo>
                                      <a:cubicBezTo>
                                        <a:pt x="840211" y="375287"/>
                                        <a:pt x="866960" y="381303"/>
                                        <a:pt x="870492" y="380969"/>
                                      </a:cubicBezTo>
                                      <a:cubicBezTo>
                                        <a:pt x="874875" y="380367"/>
                                        <a:pt x="879137" y="379241"/>
                                        <a:pt x="883115" y="377626"/>
                                      </a:cubicBezTo>
                                      <a:cubicBezTo>
                                        <a:pt x="890056" y="375053"/>
                                        <a:pt x="896794" y="376958"/>
                                        <a:pt x="904465" y="376222"/>
                                      </a:cubicBezTo>
                                      <a:cubicBezTo>
                                        <a:pt x="916642" y="375053"/>
                                        <a:pt x="875281" y="358608"/>
                                        <a:pt x="863876" y="358876"/>
                                      </a:cubicBezTo>
                                      <a:cubicBezTo>
                                        <a:pt x="851699" y="359143"/>
                                        <a:pt x="818131" y="343033"/>
                                        <a:pt x="816548" y="360747"/>
                                      </a:cubicBezTo>
                                      <a:cubicBezTo>
                                        <a:pt x="816020" y="366931"/>
                                        <a:pt x="803356" y="364925"/>
                                        <a:pt x="807943" y="361750"/>
                                      </a:cubicBezTo>
                                      <a:cubicBezTo>
                                        <a:pt x="812002" y="359076"/>
                                        <a:pt x="806075" y="356269"/>
                                        <a:pt x="808470" y="353661"/>
                                      </a:cubicBezTo>
                                      <a:cubicBezTo>
                                        <a:pt x="810865" y="351054"/>
                                        <a:pt x="818252" y="353127"/>
                                        <a:pt x="818496" y="349885"/>
                                      </a:cubicBezTo>
                                      <a:cubicBezTo>
                                        <a:pt x="819470" y="336515"/>
                                        <a:pt x="762929" y="342197"/>
                                        <a:pt x="776121" y="350319"/>
                                      </a:cubicBezTo>
                                      <a:cubicBezTo>
                                        <a:pt x="782736" y="354363"/>
                                        <a:pt x="743649" y="371911"/>
                                        <a:pt x="752781" y="355266"/>
                                      </a:cubicBezTo>
                                      <a:cubicBezTo>
                                        <a:pt x="763619" y="335513"/>
                                        <a:pt x="729239" y="354297"/>
                                        <a:pt x="718320" y="359644"/>
                                      </a:cubicBezTo>
                                      <a:cubicBezTo>
                                        <a:pt x="714951" y="361282"/>
                                        <a:pt x="700704" y="369671"/>
                                        <a:pt x="693642" y="366697"/>
                                      </a:cubicBezTo>
                                      <a:cubicBezTo>
                                        <a:pt x="682602" y="362184"/>
                                        <a:pt x="706468" y="356369"/>
                                        <a:pt x="710162" y="354731"/>
                                      </a:cubicBezTo>
                                      <a:cubicBezTo>
                                        <a:pt x="714951" y="352592"/>
                                        <a:pt x="720106" y="344303"/>
                                        <a:pt x="728306" y="344704"/>
                                      </a:cubicBezTo>
                                      <a:cubicBezTo>
                                        <a:pt x="741781" y="345406"/>
                                        <a:pt x="729199" y="336549"/>
                                        <a:pt x="717874" y="337652"/>
                                      </a:cubicBezTo>
                                      <a:cubicBezTo>
                                        <a:pt x="709756" y="338387"/>
                                        <a:pt x="708741" y="345272"/>
                                        <a:pt x="701029" y="344804"/>
                                      </a:cubicBezTo>
                                      <a:cubicBezTo>
                                        <a:pt x="699081" y="344804"/>
                                        <a:pt x="679111" y="341061"/>
                                        <a:pt x="679232" y="341830"/>
                                      </a:cubicBezTo>
                                      <a:cubicBezTo>
                                        <a:pt x="677974" y="343136"/>
                                        <a:pt x="676148" y="343989"/>
                                        <a:pt x="674118" y="344203"/>
                                      </a:cubicBezTo>
                                      <a:cubicBezTo>
                                        <a:pt x="668192" y="346208"/>
                                        <a:pt x="674443" y="348147"/>
                                        <a:pt x="674118" y="350887"/>
                                      </a:cubicBezTo>
                                      <a:cubicBezTo>
                                        <a:pt x="673306" y="355700"/>
                                        <a:pt x="659100" y="347244"/>
                                        <a:pt x="652606" y="348247"/>
                                      </a:cubicBezTo>
                                      <a:cubicBezTo>
                                        <a:pt x="648547" y="348848"/>
                                        <a:pt x="628536" y="356135"/>
                                        <a:pt x="628252" y="358274"/>
                                      </a:cubicBezTo>
                                      <a:cubicBezTo>
                                        <a:pt x="628252" y="356970"/>
                                        <a:pt x="638805" y="375587"/>
                                        <a:pt x="622854" y="368669"/>
                                      </a:cubicBezTo>
                                      <a:cubicBezTo>
                                        <a:pt x="616643" y="365995"/>
                                        <a:pt x="621311" y="360747"/>
                                        <a:pt x="616197" y="357873"/>
                                      </a:cubicBezTo>
                                      <a:cubicBezTo>
                                        <a:pt x="612787" y="355968"/>
                                        <a:pt x="604994" y="354865"/>
                                        <a:pt x="616197" y="351823"/>
                                      </a:cubicBezTo>
                                      <a:cubicBezTo>
                                        <a:pt x="625573" y="349216"/>
                                        <a:pt x="634827" y="350553"/>
                                        <a:pt x="640551" y="344771"/>
                                      </a:cubicBezTo>
                                      <a:cubicBezTo>
                                        <a:pt x="644366" y="340827"/>
                                        <a:pt x="628780" y="339590"/>
                                        <a:pt x="628374" y="344203"/>
                                      </a:cubicBezTo>
                                      <a:cubicBezTo>
                                        <a:pt x="628008" y="350052"/>
                                        <a:pt x="569113" y="340860"/>
                                        <a:pt x="594562" y="354698"/>
                                      </a:cubicBezTo>
                                      <a:cubicBezTo>
                                        <a:pt x="629429" y="373549"/>
                                        <a:pt x="559330" y="350119"/>
                                        <a:pt x="562090" y="360480"/>
                                      </a:cubicBezTo>
                                      <a:cubicBezTo>
                                        <a:pt x="563186" y="364524"/>
                                        <a:pt x="581533" y="364992"/>
                                        <a:pt x="583116" y="368903"/>
                                      </a:cubicBezTo>
                                      <a:cubicBezTo>
                                        <a:pt x="582710" y="367800"/>
                                        <a:pt x="559330" y="367365"/>
                                        <a:pt x="556124" y="366429"/>
                                      </a:cubicBezTo>
                                      <a:cubicBezTo>
                                        <a:pt x="550482" y="364791"/>
                                        <a:pt x="549102" y="359377"/>
                                        <a:pt x="542689" y="359444"/>
                                      </a:cubicBezTo>
                                      <a:cubicBezTo>
                                        <a:pt x="540497" y="359444"/>
                                        <a:pt x="529375" y="360848"/>
                                        <a:pt x="532419" y="362987"/>
                                      </a:cubicBezTo>
                                      <a:cubicBezTo>
                                        <a:pt x="536803" y="366028"/>
                                        <a:pt x="545408" y="364457"/>
                                        <a:pt x="544921" y="369504"/>
                                      </a:cubicBezTo>
                                      <a:cubicBezTo>
                                        <a:pt x="544921" y="371309"/>
                                        <a:pt x="545652" y="378829"/>
                                        <a:pt x="538508" y="377693"/>
                                      </a:cubicBezTo>
                                      <a:cubicBezTo>
                                        <a:pt x="527589" y="376022"/>
                                        <a:pt x="535910" y="371543"/>
                                        <a:pt x="531689" y="368836"/>
                                      </a:cubicBezTo>
                                      <a:cubicBezTo>
                                        <a:pt x="525681" y="365025"/>
                                        <a:pt x="514154" y="371276"/>
                                        <a:pt x="508349" y="370540"/>
                                      </a:cubicBezTo>
                                      <a:cubicBezTo>
                                        <a:pt x="506807" y="370340"/>
                                        <a:pt x="511069" y="361583"/>
                                        <a:pt x="509730" y="360146"/>
                                      </a:cubicBezTo>
                                      <a:cubicBezTo>
                                        <a:pt x="506239" y="356269"/>
                                        <a:pt x="478760" y="359945"/>
                                        <a:pt x="473199" y="361583"/>
                                      </a:cubicBezTo>
                                      <a:cubicBezTo>
                                        <a:pt x="469789" y="362552"/>
                                        <a:pt x="488948" y="374651"/>
                                        <a:pt x="471332" y="372680"/>
                                      </a:cubicBezTo>
                                      <a:cubicBezTo>
                                        <a:pt x="456719" y="371075"/>
                                        <a:pt x="460495" y="382707"/>
                                        <a:pt x="449454" y="378863"/>
                                      </a:cubicBezTo>
                                      <a:cubicBezTo>
                                        <a:pt x="441336" y="376089"/>
                                        <a:pt x="440200" y="372178"/>
                                        <a:pt x="427251" y="375888"/>
                                      </a:cubicBezTo>
                                      <a:cubicBezTo>
                                        <a:pt x="420798" y="377693"/>
                                        <a:pt x="402897" y="385046"/>
                                        <a:pt x="404034" y="389057"/>
                                      </a:cubicBezTo>
                                      <a:cubicBezTo>
                                        <a:pt x="405495" y="393837"/>
                                        <a:pt x="425425" y="384879"/>
                                        <a:pt x="430539" y="390127"/>
                                      </a:cubicBezTo>
                                      <a:cubicBezTo>
                                        <a:pt x="431595" y="391196"/>
                                        <a:pt x="434598" y="400154"/>
                                        <a:pt x="432122" y="400455"/>
                                      </a:cubicBezTo>
                                      <a:cubicBezTo>
                                        <a:pt x="425587" y="400922"/>
                                        <a:pt x="412355" y="391330"/>
                                        <a:pt x="409473" y="399987"/>
                                      </a:cubicBezTo>
                                      <a:cubicBezTo>
                                        <a:pt x="407322" y="406671"/>
                                        <a:pt x="394901" y="391965"/>
                                        <a:pt x="387554" y="395107"/>
                                      </a:cubicBezTo>
                                      <a:cubicBezTo>
                                        <a:pt x="356057" y="408476"/>
                                        <a:pt x="392709" y="385080"/>
                                        <a:pt x="380127" y="384177"/>
                                      </a:cubicBezTo>
                                      <a:cubicBezTo>
                                        <a:pt x="373876" y="383743"/>
                                        <a:pt x="360116" y="394204"/>
                                        <a:pt x="354393" y="395809"/>
                                      </a:cubicBezTo>
                                      <a:cubicBezTo>
                                        <a:pt x="351267" y="396678"/>
                                        <a:pt x="340186" y="397914"/>
                                        <a:pt x="338157" y="399719"/>
                                      </a:cubicBezTo>
                                      <a:cubicBezTo>
                                        <a:pt x="336127" y="401524"/>
                                        <a:pt x="343840" y="401791"/>
                                        <a:pt x="337142" y="404098"/>
                                      </a:cubicBezTo>
                                      <a:cubicBezTo>
                                        <a:pt x="327116" y="407440"/>
                                        <a:pt x="321880" y="412520"/>
                                        <a:pt x="310272" y="414827"/>
                                      </a:cubicBezTo>
                                      <a:cubicBezTo>
                                        <a:pt x="306213" y="415562"/>
                                        <a:pt x="270412" y="421511"/>
                                        <a:pt x="274431" y="424553"/>
                                      </a:cubicBezTo>
                                      <a:cubicBezTo>
                                        <a:pt x="276826" y="426425"/>
                                        <a:pt x="313559" y="417133"/>
                                        <a:pt x="318471" y="415729"/>
                                      </a:cubicBezTo>
                                      <a:cubicBezTo>
                                        <a:pt x="324925" y="413824"/>
                                        <a:pt x="344692" y="407139"/>
                                        <a:pt x="353094" y="410114"/>
                                      </a:cubicBezTo>
                                      <a:cubicBezTo>
                                        <a:pt x="366813" y="415027"/>
                                        <a:pt x="370142" y="407908"/>
                                        <a:pt x="381506" y="406237"/>
                                      </a:cubicBezTo>
                                      <a:cubicBezTo>
                                        <a:pt x="387554" y="405301"/>
                                        <a:pt x="402410" y="408209"/>
                                        <a:pt x="395551" y="411785"/>
                                      </a:cubicBezTo>
                                      <a:cubicBezTo>
                                        <a:pt x="388691" y="415361"/>
                                        <a:pt x="397621" y="419807"/>
                                        <a:pt x="392831" y="421311"/>
                                      </a:cubicBezTo>
                                      <a:cubicBezTo>
                                        <a:pt x="381669" y="424921"/>
                                        <a:pt x="383374" y="415930"/>
                                        <a:pt x="374160" y="415361"/>
                                      </a:cubicBezTo>
                                      <a:cubicBezTo>
                                        <a:pt x="372577" y="415361"/>
                                        <a:pt x="349806" y="423450"/>
                                        <a:pt x="346884" y="424586"/>
                                      </a:cubicBezTo>
                                      <a:cubicBezTo>
                                        <a:pt x="337873" y="428263"/>
                                        <a:pt x="342825" y="434613"/>
                                        <a:pt x="336330" y="437956"/>
                                      </a:cubicBezTo>
                                      <a:cubicBezTo>
                                        <a:pt x="329836" y="441298"/>
                                        <a:pt x="328212" y="437722"/>
                                        <a:pt x="322733" y="443671"/>
                                      </a:cubicBezTo>
                                      <a:cubicBezTo>
                                        <a:pt x="316279" y="450724"/>
                                        <a:pt x="303290" y="456640"/>
                                        <a:pt x="291966" y="461854"/>
                                      </a:cubicBezTo>
                                      <a:cubicBezTo>
                                        <a:pt x="280641" y="467068"/>
                                        <a:pt x="291641" y="469407"/>
                                        <a:pt x="286121" y="474387"/>
                                      </a:cubicBezTo>
                                      <a:cubicBezTo>
                                        <a:pt x="282062" y="478064"/>
                                        <a:pt x="269885" y="475992"/>
                                        <a:pt x="263228" y="476025"/>
                                      </a:cubicBezTo>
                                      <a:cubicBezTo>
                                        <a:pt x="252350" y="476025"/>
                                        <a:pt x="257424" y="483746"/>
                                        <a:pt x="257302" y="486988"/>
                                      </a:cubicBezTo>
                                      <a:cubicBezTo>
                                        <a:pt x="257505" y="489101"/>
                                        <a:pt x="256165" y="491116"/>
                                        <a:pt x="253893" y="492102"/>
                                      </a:cubicBezTo>
                                      <a:cubicBezTo>
                                        <a:pt x="246018" y="495444"/>
                                        <a:pt x="253893" y="499923"/>
                                        <a:pt x="253893" y="503700"/>
                                      </a:cubicBezTo>
                                      <a:cubicBezTo>
                                        <a:pt x="253893" y="506608"/>
                                        <a:pt x="237657" y="503433"/>
                                        <a:pt x="234369" y="503967"/>
                                      </a:cubicBezTo>
                                      <a:cubicBezTo>
                                        <a:pt x="228037" y="504937"/>
                                        <a:pt x="227306" y="507811"/>
                                        <a:pt x="218133" y="508212"/>
                                      </a:cubicBezTo>
                                      <a:cubicBezTo>
                                        <a:pt x="205347" y="508780"/>
                                        <a:pt x="205022" y="510117"/>
                                        <a:pt x="215048" y="514496"/>
                                      </a:cubicBezTo>
                                      <a:cubicBezTo>
                                        <a:pt x="244192" y="527297"/>
                                        <a:pt x="216469" y="518741"/>
                                        <a:pt x="202871" y="522952"/>
                                      </a:cubicBezTo>
                                      <a:cubicBezTo>
                                        <a:pt x="194307" y="525592"/>
                                        <a:pt x="181074" y="527598"/>
                                        <a:pt x="175839" y="532143"/>
                                      </a:cubicBezTo>
                                      <a:cubicBezTo>
                                        <a:pt x="169750" y="537424"/>
                                        <a:pt x="168086" y="536188"/>
                                        <a:pt x="159278" y="539530"/>
                                      </a:cubicBezTo>
                                      <a:cubicBezTo>
                                        <a:pt x="151647" y="542471"/>
                                        <a:pt x="155219" y="548722"/>
                                        <a:pt x="147426" y="551629"/>
                                      </a:cubicBezTo>
                                      <a:cubicBezTo>
                                        <a:pt x="141297" y="553936"/>
                                        <a:pt x="137603" y="546549"/>
                                        <a:pt x="133666" y="545246"/>
                                      </a:cubicBezTo>
                                      <a:cubicBezTo>
                                        <a:pt x="125548" y="542572"/>
                                        <a:pt x="115928" y="545647"/>
                                        <a:pt x="119946" y="550326"/>
                                      </a:cubicBezTo>
                                      <a:cubicBezTo>
                                        <a:pt x="125020" y="556242"/>
                                        <a:pt x="129485" y="556409"/>
                                        <a:pt x="115319" y="557579"/>
                                      </a:cubicBezTo>
                                      <a:cubicBezTo>
                                        <a:pt x="108338" y="558147"/>
                                        <a:pt x="67220" y="567372"/>
                                        <a:pt x="74080" y="569210"/>
                                      </a:cubicBezTo>
                                      <a:cubicBezTo>
                                        <a:pt x="75500" y="569611"/>
                                        <a:pt x="95187" y="572285"/>
                                        <a:pt x="90600" y="574224"/>
                                      </a:cubicBezTo>
                                      <a:cubicBezTo>
                                        <a:pt x="84633" y="576664"/>
                                        <a:pt x="67869" y="574224"/>
                                        <a:pt x="61334" y="573689"/>
                                      </a:cubicBezTo>
                                      <a:cubicBezTo>
                                        <a:pt x="50659" y="572653"/>
                                        <a:pt x="53216" y="580842"/>
                                        <a:pt x="43110" y="580006"/>
                                      </a:cubicBezTo>
                                      <a:cubicBezTo>
                                        <a:pt x="21678" y="578268"/>
                                        <a:pt x="31664" y="586691"/>
                                        <a:pt x="29593" y="590033"/>
                                      </a:cubicBezTo>
                                      <a:cubicBezTo>
                                        <a:pt x="27929" y="593008"/>
                                        <a:pt x="7959" y="587660"/>
                                        <a:pt x="1708" y="594478"/>
                                      </a:cubicBezTo>
                                      <a:cubicBezTo>
                                        <a:pt x="-5963" y="602901"/>
                                        <a:pt x="13885" y="601163"/>
                                        <a:pt x="12749" y="606143"/>
                                      </a:cubicBezTo>
                                      <a:cubicBezTo>
                                        <a:pt x="12302" y="608182"/>
                                        <a:pt x="5118" y="609486"/>
                                        <a:pt x="5564" y="611458"/>
                                      </a:cubicBezTo>
                                      <a:cubicBezTo>
                                        <a:pt x="6092" y="614131"/>
                                        <a:pt x="19162" y="612293"/>
                                        <a:pt x="11125" y="616805"/>
                                      </a:cubicBezTo>
                                      <a:cubicBezTo>
                                        <a:pt x="7066" y="619078"/>
                                        <a:pt x="-1052" y="619613"/>
                                        <a:pt x="1586" y="623490"/>
                                      </a:cubicBezTo>
                                      <a:cubicBezTo>
                                        <a:pt x="5199" y="628804"/>
                                        <a:pt x="8771" y="627401"/>
                                        <a:pt x="2520" y="632247"/>
                                      </a:cubicBezTo>
                                      <a:cubicBezTo>
                                        <a:pt x="-7100" y="639767"/>
                                        <a:pt x="14413" y="637829"/>
                                        <a:pt x="18756" y="638364"/>
                                      </a:cubicBezTo>
                                      <a:cubicBezTo>
                                        <a:pt x="24682" y="639099"/>
                                        <a:pt x="21759" y="643110"/>
                                        <a:pt x="30527" y="640770"/>
                                      </a:cubicBezTo>
                                      <a:cubicBezTo>
                                        <a:pt x="37224" y="638999"/>
                                        <a:pt x="42704" y="634085"/>
                                        <a:pt x="50294" y="633317"/>
                                      </a:cubicBezTo>
                                      <a:cubicBezTo>
                                        <a:pt x="54962" y="632949"/>
                                        <a:pt x="56870" y="635723"/>
                                        <a:pt x="56464" y="637495"/>
                                      </a:cubicBezTo>
                                      <a:cubicBezTo>
                                        <a:pt x="55733" y="640670"/>
                                        <a:pt x="48995" y="639767"/>
                                        <a:pt x="44693" y="640402"/>
                                      </a:cubicBezTo>
                                      <a:cubicBezTo>
                                        <a:pt x="36210" y="641672"/>
                                        <a:pt x="31460" y="655443"/>
                                        <a:pt x="21881" y="648491"/>
                                      </a:cubicBezTo>
                                      <a:cubicBezTo>
                                        <a:pt x="20014" y="647154"/>
                                        <a:pt x="21678" y="643010"/>
                                        <a:pt x="15955" y="643812"/>
                                      </a:cubicBezTo>
                                      <a:cubicBezTo>
                                        <a:pt x="11896" y="644380"/>
                                        <a:pt x="7432" y="646686"/>
                                        <a:pt x="7310" y="648926"/>
                                      </a:cubicBezTo>
                                      <a:cubicBezTo>
                                        <a:pt x="7310" y="651934"/>
                                        <a:pt x="13641" y="652736"/>
                                        <a:pt x="10476" y="656145"/>
                                      </a:cubicBezTo>
                                      <a:cubicBezTo>
                                        <a:pt x="8933" y="657816"/>
                                        <a:pt x="3494" y="661660"/>
                                        <a:pt x="8974" y="663131"/>
                                      </a:cubicBezTo>
                                      <a:cubicBezTo>
                                        <a:pt x="22166" y="666673"/>
                                        <a:pt x="28051" y="652602"/>
                                        <a:pt x="40350" y="657749"/>
                                      </a:cubicBezTo>
                                      <a:cubicBezTo>
                                        <a:pt x="42339" y="658551"/>
                                        <a:pt x="47372" y="661794"/>
                                        <a:pt x="42541" y="662830"/>
                                      </a:cubicBezTo>
                                      <a:cubicBezTo>
                                        <a:pt x="34180" y="664668"/>
                                        <a:pt x="39294" y="667208"/>
                                        <a:pt x="34423" y="669849"/>
                                      </a:cubicBezTo>
                                      <a:cubicBezTo>
                                        <a:pt x="29553" y="672489"/>
                                        <a:pt x="12830" y="672222"/>
                                        <a:pt x="25940" y="678071"/>
                                      </a:cubicBezTo>
                                      <a:cubicBezTo>
                                        <a:pt x="35885" y="682225"/>
                                        <a:pt x="46641" y="684993"/>
                                        <a:pt x="57682" y="686260"/>
                                      </a:cubicBezTo>
                                      <a:cubicBezTo>
                                        <a:pt x="72172" y="687830"/>
                                        <a:pt x="81224" y="692443"/>
                                        <a:pt x="97419" y="691039"/>
                                      </a:cubicBezTo>
                                      <a:cubicBezTo>
                                        <a:pt x="112315" y="689736"/>
                                        <a:pt x="126400" y="683185"/>
                                        <a:pt x="137400" y="678405"/>
                                      </a:cubicBezTo>
                                      <a:cubicBezTo>
                                        <a:pt x="145477" y="675213"/>
                                        <a:pt x="153189" y="671420"/>
                                        <a:pt x="160414" y="667075"/>
                                      </a:cubicBezTo>
                                      <a:cubicBezTo>
                                        <a:pt x="168532" y="661760"/>
                                        <a:pt x="185864" y="669481"/>
                                        <a:pt x="188827" y="659253"/>
                                      </a:cubicBezTo>
                                      <a:cubicBezTo>
                                        <a:pt x="190653" y="652769"/>
                                        <a:pt x="194266" y="649494"/>
                                        <a:pt x="201004" y="657281"/>
                                      </a:cubicBezTo>
                                      <a:cubicBezTo>
                                        <a:pt x="203805" y="660624"/>
                                        <a:pt x="205915" y="660457"/>
                                        <a:pt x="210461" y="662729"/>
                                      </a:cubicBezTo>
                                      <a:cubicBezTo>
                                        <a:pt x="213181" y="664070"/>
                                        <a:pt x="214764" y="666570"/>
                                        <a:pt x="214520" y="669180"/>
                                      </a:cubicBezTo>
                                      <a:cubicBezTo>
                                        <a:pt x="218092" y="668769"/>
                                        <a:pt x="221745" y="669033"/>
                                        <a:pt x="225155" y="669949"/>
                                      </a:cubicBezTo>
                                      <a:cubicBezTo>
                                        <a:pt x="230553" y="672021"/>
                                        <a:pt x="237007" y="643210"/>
                                        <a:pt x="242690" y="642776"/>
                                      </a:cubicBezTo>
                                      <a:cubicBezTo>
                                        <a:pt x="255272" y="641840"/>
                                        <a:pt x="261767" y="643244"/>
                                        <a:pt x="263472" y="635656"/>
                                      </a:cubicBezTo>
                                      <a:cubicBezTo>
                                        <a:pt x="264730" y="630275"/>
                                        <a:pt x="250808" y="621117"/>
                                        <a:pt x="254501" y="617641"/>
                                      </a:cubicBezTo>
                                      <a:cubicBezTo>
                                        <a:pt x="258195" y="614165"/>
                                        <a:pt x="281900" y="613931"/>
                                        <a:pt x="268911" y="605074"/>
                                      </a:cubicBezTo>
                                      <a:cubicBezTo>
                                        <a:pt x="261645" y="600094"/>
                                        <a:pt x="244841" y="600328"/>
                                        <a:pt x="248616" y="592105"/>
                                      </a:cubicBezTo>
                                      <a:cubicBezTo>
                                        <a:pt x="250036" y="589131"/>
                                        <a:pt x="253689" y="586758"/>
                                        <a:pt x="252675" y="583516"/>
                                      </a:cubicBezTo>
                                      <a:cubicBezTo>
                                        <a:pt x="251498" y="578970"/>
                                        <a:pt x="245693" y="575795"/>
                                        <a:pt x="247358" y="570982"/>
                                      </a:cubicBezTo>
                                      <a:cubicBezTo>
                                        <a:pt x="249834" y="563929"/>
                                        <a:pt x="243948" y="556409"/>
                                        <a:pt x="248941" y="549791"/>
                                      </a:cubicBezTo>
                                      <a:cubicBezTo>
                                        <a:pt x="253933" y="543173"/>
                                        <a:pt x="268099" y="535285"/>
                                        <a:pt x="284010" y="534149"/>
                                      </a:cubicBezTo>
                                      <a:cubicBezTo>
                                        <a:pt x="298135" y="533146"/>
                                        <a:pt x="309865" y="540366"/>
                                        <a:pt x="314655" y="529135"/>
                                      </a:cubicBezTo>
                                      <a:cubicBezTo>
                                        <a:pt x="317700" y="521949"/>
                                        <a:pt x="297242" y="524289"/>
                                        <a:pt x="299799" y="518206"/>
                                      </a:cubicBezTo>
                                      <a:cubicBezTo>
                                        <a:pt x="304589" y="506842"/>
                                        <a:pt x="328212" y="501494"/>
                                        <a:pt x="327197" y="488125"/>
                                      </a:cubicBezTo>
                                      <a:cubicBezTo>
                                        <a:pt x="326021" y="473151"/>
                                        <a:pt x="335802" y="481039"/>
                                        <a:pt x="355610" y="474989"/>
                                      </a:cubicBezTo>
                                      <a:cubicBezTo>
                                        <a:pt x="361780" y="473084"/>
                                        <a:pt x="368193" y="461285"/>
                                        <a:pt x="373145" y="457509"/>
                                      </a:cubicBezTo>
                                      <a:cubicBezTo>
                                        <a:pt x="377610" y="454674"/>
                                        <a:pt x="382400" y="452211"/>
                                        <a:pt x="387474" y="450155"/>
                                      </a:cubicBezTo>
                                      <a:cubicBezTo>
                                        <a:pt x="394861" y="446412"/>
                                        <a:pt x="385565" y="443471"/>
                                        <a:pt x="391248" y="440128"/>
                                      </a:cubicBezTo>
                                      <a:cubicBezTo>
                                        <a:pt x="402248" y="433076"/>
                                        <a:pt x="403101" y="422481"/>
                                        <a:pt x="427251" y="423015"/>
                                      </a:cubicBezTo>
                                      <a:cubicBezTo>
                                        <a:pt x="444786" y="423383"/>
                                        <a:pt x="455258" y="423015"/>
                                        <a:pt x="453472" y="413657"/>
                                      </a:cubicBezTo>
                                      <a:cubicBezTo>
                                        <a:pt x="451199" y="402025"/>
                                        <a:pt x="469992" y="408242"/>
                                        <a:pt x="486999" y="408777"/>
                                      </a:cubicBezTo>
                                      <a:cubicBezTo>
                                        <a:pt x="496822" y="409044"/>
                                        <a:pt x="523043" y="420074"/>
                                        <a:pt x="523530" y="408576"/>
                                      </a:cubicBezTo>
                                      <a:cubicBezTo>
                                        <a:pt x="523855" y="401624"/>
                                        <a:pt x="529984" y="391296"/>
                                        <a:pt x="547884" y="397413"/>
                                      </a:cubicBezTo>
                                      <a:cubicBezTo>
                                        <a:pt x="560061" y="385280"/>
                                        <a:pt x="578083" y="390728"/>
                                        <a:pt x="592086" y="398616"/>
                                      </a:cubicBezTo>
                                      <a:cubicBezTo>
                                        <a:pt x="600204" y="403329"/>
                                        <a:pt x="607876" y="404766"/>
                                        <a:pt x="619728" y="406638"/>
                                      </a:cubicBezTo>
                                      <a:cubicBezTo>
                                        <a:pt x="625532" y="407684"/>
                                        <a:pt x="631418" y="408486"/>
                                        <a:pt x="637344" y="409044"/>
                                      </a:cubicBezTo>
                                      <a:cubicBezTo>
                                        <a:pt x="645746" y="409646"/>
                                        <a:pt x="645462" y="406671"/>
                                        <a:pt x="652241" y="406437"/>
                                      </a:cubicBezTo>
                                      <a:cubicBezTo>
                                        <a:pt x="666203" y="405936"/>
                                        <a:pt x="678056" y="411217"/>
                                        <a:pt x="687635" y="414526"/>
                                      </a:cubicBezTo>
                                      <a:cubicBezTo>
                                        <a:pt x="693966" y="416698"/>
                                        <a:pt x="699812" y="409479"/>
                                        <a:pt x="700299" y="407641"/>
                                      </a:cubicBezTo>
                                      <a:cubicBezTo>
                                        <a:pt x="702206" y="401691"/>
                                        <a:pt x="707239" y="405401"/>
                                        <a:pt x="716535" y="404064"/>
                                      </a:cubicBezTo>
                                      <a:cubicBezTo>
                                        <a:pt x="729158" y="402293"/>
                                        <a:pt x="711989" y="389458"/>
                                        <a:pt x="724652" y="385715"/>
                                      </a:cubicBezTo>
                                      <a:cubicBezTo>
                                        <a:pt x="740888" y="381035"/>
                                        <a:pt x="743121" y="377125"/>
                                        <a:pt x="763659" y="378194"/>
                                      </a:cubicBezTo>
                                      <a:cubicBezTo>
                                        <a:pt x="785862" y="379331"/>
                                        <a:pt x="789068" y="371510"/>
                                        <a:pt x="809201" y="381303"/>
                                      </a:cubicBezTo>
                                      <a:cubicBezTo>
                                        <a:pt x="829334" y="391096"/>
                                        <a:pt x="842687" y="387352"/>
                                        <a:pt x="841064" y="403028"/>
                                      </a:cubicBezTo>
                                      <a:cubicBezTo>
                                        <a:pt x="851617" y="398817"/>
                                        <a:pt x="879584" y="395608"/>
                                        <a:pt x="893425" y="396343"/>
                                      </a:cubicBezTo>
                                      <a:cubicBezTo>
                                        <a:pt x="925125" y="397814"/>
                                        <a:pt x="886362" y="380066"/>
                                        <a:pt x="879827" y="389659"/>
                                      </a:cubicBezTo>
                                      <a:cubicBezTo>
                                        <a:pt x="876823" y="393068"/>
                                        <a:pt x="881573" y="386149"/>
                                        <a:pt x="879299" y="389425"/>
                                      </a:cubicBezTo>
                                      <a:close/>
                                      <a:moveTo>
                                        <a:pt x="245450" y="43892"/>
                                      </a:moveTo>
                                      <a:cubicBezTo>
                                        <a:pt x="255394" y="44861"/>
                                        <a:pt x="217362" y="59333"/>
                                        <a:pt x="225885" y="65717"/>
                                      </a:cubicBezTo>
                                      <a:cubicBezTo>
                                        <a:pt x="238874" y="75410"/>
                                        <a:pt x="270818" y="84267"/>
                                        <a:pt x="295335" y="83499"/>
                                      </a:cubicBezTo>
                                      <a:cubicBezTo>
                                        <a:pt x="306821" y="83164"/>
                                        <a:pt x="316360" y="81928"/>
                                        <a:pt x="320744" y="76647"/>
                                      </a:cubicBezTo>
                                      <a:cubicBezTo>
                                        <a:pt x="322773" y="74207"/>
                                        <a:pt x="324113" y="70530"/>
                                        <a:pt x="329389" y="68993"/>
                                      </a:cubicBezTo>
                                      <a:cubicBezTo>
                                        <a:pt x="334666" y="67455"/>
                                        <a:pt x="341039" y="69461"/>
                                        <a:pt x="344245" y="66586"/>
                                      </a:cubicBezTo>
                                      <a:cubicBezTo>
                                        <a:pt x="346396" y="64648"/>
                                        <a:pt x="356828" y="56559"/>
                                        <a:pt x="362308" y="62509"/>
                                      </a:cubicBezTo>
                                      <a:cubicBezTo>
                                        <a:pt x="366367" y="66586"/>
                                        <a:pt x="346559" y="74508"/>
                                        <a:pt x="360156" y="75076"/>
                                      </a:cubicBezTo>
                                      <a:cubicBezTo>
                                        <a:pt x="376068" y="75778"/>
                                        <a:pt x="383130" y="70230"/>
                                        <a:pt x="396159" y="68057"/>
                                      </a:cubicBezTo>
                                      <a:cubicBezTo>
                                        <a:pt x="408336" y="66052"/>
                                        <a:pt x="406023" y="77650"/>
                                        <a:pt x="396159" y="79254"/>
                                      </a:cubicBezTo>
                                      <a:cubicBezTo>
                                        <a:pt x="385565" y="80992"/>
                                        <a:pt x="373186" y="80123"/>
                                        <a:pt x="363363" y="82997"/>
                                      </a:cubicBezTo>
                                      <a:cubicBezTo>
                                        <a:pt x="351754" y="86908"/>
                                        <a:pt x="339374" y="88950"/>
                                        <a:pt x="326832" y="89014"/>
                                      </a:cubicBezTo>
                                      <a:cubicBezTo>
                                        <a:pt x="294360" y="90183"/>
                                        <a:pt x="286242" y="102182"/>
                                        <a:pt x="325493" y="100311"/>
                                      </a:cubicBezTo>
                                      <a:cubicBezTo>
                                        <a:pt x="341404" y="99509"/>
                                        <a:pt x="399731" y="93225"/>
                                        <a:pt x="411584" y="100311"/>
                                      </a:cubicBezTo>
                                      <a:cubicBezTo>
                                        <a:pt x="411056" y="99943"/>
                                        <a:pt x="349847" y="102851"/>
                                        <a:pt x="344002" y="105592"/>
                                      </a:cubicBezTo>
                                      <a:cubicBezTo>
                                        <a:pt x="340552" y="107163"/>
                                        <a:pt x="343352" y="109502"/>
                                        <a:pt x="337426" y="109402"/>
                                      </a:cubicBezTo>
                                      <a:cubicBezTo>
                                        <a:pt x="328740" y="109235"/>
                                        <a:pt x="319283" y="107564"/>
                                        <a:pt x="310718" y="108800"/>
                                      </a:cubicBezTo>
                                      <a:cubicBezTo>
                                        <a:pt x="288678" y="112143"/>
                                        <a:pt x="331256" y="121702"/>
                                        <a:pt x="335518" y="122905"/>
                                      </a:cubicBezTo>
                                      <a:cubicBezTo>
                                        <a:pt x="341648" y="124610"/>
                                        <a:pt x="343231" y="127417"/>
                                        <a:pt x="351024" y="127751"/>
                                      </a:cubicBezTo>
                                      <a:cubicBezTo>
                                        <a:pt x="353703" y="127751"/>
                                        <a:pt x="380410" y="126615"/>
                                        <a:pt x="379843" y="128955"/>
                                      </a:cubicBezTo>
                                      <a:cubicBezTo>
                                        <a:pt x="379356" y="130726"/>
                                        <a:pt x="356666" y="133433"/>
                                        <a:pt x="360075" y="135038"/>
                                      </a:cubicBezTo>
                                      <a:cubicBezTo>
                                        <a:pt x="367868" y="138681"/>
                                        <a:pt x="383820" y="138213"/>
                                        <a:pt x="389706" y="142993"/>
                                      </a:cubicBezTo>
                                      <a:cubicBezTo>
                                        <a:pt x="405455" y="155727"/>
                                        <a:pt x="426236" y="123774"/>
                                        <a:pt x="430580" y="121033"/>
                                      </a:cubicBezTo>
                                      <a:cubicBezTo>
                                        <a:pt x="440605" y="114349"/>
                                        <a:pt x="451483" y="112477"/>
                                        <a:pt x="466136" y="108800"/>
                                      </a:cubicBezTo>
                                      <a:cubicBezTo>
                                        <a:pt x="477623" y="105892"/>
                                        <a:pt x="469627" y="101013"/>
                                        <a:pt x="472184" y="96333"/>
                                      </a:cubicBezTo>
                                      <a:cubicBezTo>
                                        <a:pt x="474742" y="91654"/>
                                        <a:pt x="493778" y="94395"/>
                                        <a:pt x="489678" y="90350"/>
                                      </a:cubicBezTo>
                                      <a:cubicBezTo>
                                        <a:pt x="481804" y="82630"/>
                                        <a:pt x="502505" y="74140"/>
                                        <a:pt x="517807" y="73104"/>
                                      </a:cubicBezTo>
                                      <a:cubicBezTo>
                                        <a:pt x="528442" y="72369"/>
                                        <a:pt x="553648" y="69461"/>
                                        <a:pt x="563064" y="71132"/>
                                      </a:cubicBezTo>
                                      <a:cubicBezTo>
                                        <a:pt x="578286" y="73806"/>
                                        <a:pt x="547275" y="76413"/>
                                        <a:pt x="545895" y="77817"/>
                                      </a:cubicBezTo>
                                      <a:cubicBezTo>
                                        <a:pt x="535017" y="88111"/>
                                        <a:pt x="590097" y="92389"/>
                                        <a:pt x="577068" y="104555"/>
                                      </a:cubicBezTo>
                                      <a:cubicBezTo>
                                        <a:pt x="574470" y="106962"/>
                                        <a:pt x="551253" y="115886"/>
                                        <a:pt x="565987" y="117724"/>
                                      </a:cubicBezTo>
                                      <a:cubicBezTo>
                                        <a:pt x="583238" y="119897"/>
                                        <a:pt x="598459" y="113847"/>
                                        <a:pt x="615060" y="115017"/>
                                      </a:cubicBezTo>
                                      <a:cubicBezTo>
                                        <a:pt x="623178" y="115585"/>
                                        <a:pt x="617455" y="121535"/>
                                        <a:pt x="618875" y="123841"/>
                                      </a:cubicBezTo>
                                      <a:cubicBezTo>
                                        <a:pt x="624274" y="132464"/>
                                        <a:pt x="655406" y="122370"/>
                                        <a:pt x="661657" y="119997"/>
                                      </a:cubicBezTo>
                                      <a:cubicBezTo>
                                        <a:pt x="672657" y="115752"/>
                                        <a:pt x="689745" y="114382"/>
                                        <a:pt x="699365" y="110371"/>
                                      </a:cubicBezTo>
                                      <a:cubicBezTo>
                                        <a:pt x="713653" y="104355"/>
                                        <a:pt x="670952" y="105023"/>
                                        <a:pt x="668801" y="105124"/>
                                      </a:cubicBezTo>
                                      <a:cubicBezTo>
                                        <a:pt x="665351" y="105124"/>
                                        <a:pt x="633934" y="103854"/>
                                        <a:pt x="644447" y="99943"/>
                                      </a:cubicBezTo>
                                      <a:cubicBezTo>
                                        <a:pt x="665229" y="92256"/>
                                        <a:pt x="626709" y="92623"/>
                                        <a:pt x="616968" y="91119"/>
                                      </a:cubicBezTo>
                                      <a:cubicBezTo>
                                        <a:pt x="596389" y="87777"/>
                                        <a:pt x="617820" y="87944"/>
                                        <a:pt x="612909" y="83365"/>
                                      </a:cubicBezTo>
                                      <a:cubicBezTo>
                                        <a:pt x="606983" y="78051"/>
                                        <a:pt x="582791" y="77883"/>
                                        <a:pt x="581817" y="73104"/>
                                      </a:cubicBezTo>
                                      <a:cubicBezTo>
                                        <a:pt x="580356" y="65784"/>
                                        <a:pt x="585227" y="64547"/>
                                        <a:pt x="568017" y="61205"/>
                                      </a:cubicBezTo>
                                      <a:cubicBezTo>
                                        <a:pt x="556368" y="58966"/>
                                        <a:pt x="559452" y="55924"/>
                                        <a:pt x="548980" y="54821"/>
                                      </a:cubicBezTo>
                                      <a:cubicBezTo>
                                        <a:pt x="541390" y="53986"/>
                                        <a:pt x="523124" y="60871"/>
                                        <a:pt x="523489" y="52816"/>
                                      </a:cubicBezTo>
                                      <a:cubicBezTo>
                                        <a:pt x="523733" y="47501"/>
                                        <a:pt x="495280" y="48738"/>
                                        <a:pt x="488948" y="48805"/>
                                      </a:cubicBezTo>
                                      <a:cubicBezTo>
                                        <a:pt x="479653" y="48805"/>
                                        <a:pt x="481195" y="37675"/>
                                        <a:pt x="474579" y="35202"/>
                                      </a:cubicBezTo>
                                      <a:cubicBezTo>
                                        <a:pt x="467963" y="32728"/>
                                        <a:pt x="441863" y="42354"/>
                                        <a:pt x="441580" y="39346"/>
                                      </a:cubicBezTo>
                                      <a:cubicBezTo>
                                        <a:pt x="441133" y="34934"/>
                                        <a:pt x="460535" y="29987"/>
                                        <a:pt x="452133" y="25810"/>
                                      </a:cubicBezTo>
                                      <a:cubicBezTo>
                                        <a:pt x="442594" y="21942"/>
                                        <a:pt x="432082" y="20061"/>
                                        <a:pt x="421447" y="20328"/>
                                      </a:cubicBezTo>
                                      <a:cubicBezTo>
                                        <a:pt x="409270" y="20729"/>
                                        <a:pt x="413329" y="24172"/>
                                        <a:pt x="403506" y="17153"/>
                                      </a:cubicBezTo>
                                      <a:cubicBezTo>
                                        <a:pt x="388772" y="6758"/>
                                        <a:pt x="395023" y="20863"/>
                                        <a:pt x="386337" y="21598"/>
                                      </a:cubicBezTo>
                                      <a:cubicBezTo>
                                        <a:pt x="365433" y="23370"/>
                                        <a:pt x="382927" y="29286"/>
                                        <a:pt x="388407" y="33430"/>
                                      </a:cubicBezTo>
                                      <a:cubicBezTo>
                                        <a:pt x="395185" y="38504"/>
                                        <a:pt x="400259" y="44924"/>
                                        <a:pt x="403141" y="52080"/>
                                      </a:cubicBezTo>
                                      <a:cubicBezTo>
                                        <a:pt x="407200" y="62408"/>
                                        <a:pt x="369898" y="41117"/>
                                        <a:pt x="366285" y="37942"/>
                                      </a:cubicBezTo>
                                      <a:cubicBezTo>
                                        <a:pt x="360359" y="32695"/>
                                        <a:pt x="361658" y="24339"/>
                                        <a:pt x="345990" y="22367"/>
                                      </a:cubicBezTo>
                                      <a:cubicBezTo>
                                        <a:pt x="338685" y="21431"/>
                                        <a:pt x="323260" y="31625"/>
                                        <a:pt x="321840" y="34667"/>
                                      </a:cubicBezTo>
                                      <a:cubicBezTo>
                                        <a:pt x="320419" y="37708"/>
                                        <a:pt x="325899" y="40382"/>
                                        <a:pt x="320541" y="42521"/>
                                      </a:cubicBezTo>
                                      <a:cubicBezTo>
                                        <a:pt x="316807" y="44059"/>
                                        <a:pt x="312423" y="42856"/>
                                        <a:pt x="312423" y="40650"/>
                                      </a:cubicBezTo>
                                      <a:cubicBezTo>
                                        <a:pt x="312423" y="37575"/>
                                        <a:pt x="289043" y="27715"/>
                                        <a:pt x="283320" y="29820"/>
                                      </a:cubicBezTo>
                                      <a:cubicBezTo>
                                        <a:pt x="287379" y="28350"/>
                                        <a:pt x="341648" y="22534"/>
                                        <a:pt x="307674" y="20629"/>
                                      </a:cubicBezTo>
                                      <a:cubicBezTo>
                                        <a:pt x="286526" y="19459"/>
                                        <a:pt x="263025" y="27314"/>
                                        <a:pt x="244597" y="23637"/>
                                      </a:cubicBezTo>
                                      <a:cubicBezTo>
                                        <a:pt x="233395" y="21398"/>
                                        <a:pt x="199665" y="26979"/>
                                        <a:pt x="198609" y="32762"/>
                                      </a:cubicBezTo>
                                      <a:cubicBezTo>
                                        <a:pt x="197757" y="37307"/>
                                        <a:pt x="203886" y="49106"/>
                                        <a:pt x="217402" y="48972"/>
                                      </a:cubicBezTo>
                                      <a:cubicBezTo>
                                        <a:pt x="227956" y="48972"/>
                                        <a:pt x="233922" y="42789"/>
                                        <a:pt x="245490" y="43959"/>
                                      </a:cubicBezTo>
                                      <a:close/>
                                      <a:moveTo>
                                        <a:pt x="211557" y="74441"/>
                                      </a:moveTo>
                                      <a:cubicBezTo>
                                        <a:pt x="221543" y="75611"/>
                                        <a:pt x="226941" y="83231"/>
                                        <a:pt x="237819" y="82830"/>
                                      </a:cubicBezTo>
                                      <a:cubicBezTo>
                                        <a:pt x="234125" y="82830"/>
                                        <a:pt x="206443" y="62408"/>
                                        <a:pt x="200517" y="60035"/>
                                      </a:cubicBezTo>
                                      <a:cubicBezTo>
                                        <a:pt x="193779" y="57294"/>
                                        <a:pt x="180750" y="59367"/>
                                        <a:pt x="185661" y="63846"/>
                                      </a:cubicBezTo>
                                      <a:cubicBezTo>
                                        <a:pt x="192845" y="69387"/>
                                        <a:pt x="201856" y="73074"/>
                                        <a:pt x="211557" y="74441"/>
                                      </a:cubicBezTo>
                                      <a:close/>
                                      <a:moveTo>
                                        <a:pt x="475391" y="16618"/>
                                      </a:moveTo>
                                      <a:cubicBezTo>
                                        <a:pt x="481317" y="18891"/>
                                        <a:pt x="461590" y="19960"/>
                                        <a:pt x="474579" y="24372"/>
                                      </a:cubicBezTo>
                                      <a:cubicBezTo>
                                        <a:pt x="484442" y="27715"/>
                                        <a:pt x="497796" y="28316"/>
                                        <a:pt x="509324" y="28717"/>
                                      </a:cubicBezTo>
                                      <a:cubicBezTo>
                                        <a:pt x="537412" y="29720"/>
                                        <a:pt x="565054" y="27782"/>
                                        <a:pt x="593020" y="28049"/>
                                      </a:cubicBezTo>
                                      <a:cubicBezTo>
                                        <a:pt x="617374" y="28283"/>
                                        <a:pt x="602193" y="31391"/>
                                        <a:pt x="587987" y="32394"/>
                                      </a:cubicBezTo>
                                      <a:cubicBezTo>
                                        <a:pt x="571223" y="33464"/>
                                        <a:pt x="543622" y="32695"/>
                                        <a:pt x="529619" y="37341"/>
                                      </a:cubicBezTo>
                                      <a:cubicBezTo>
                                        <a:pt x="522028" y="39814"/>
                                        <a:pt x="573983" y="45596"/>
                                        <a:pt x="578326" y="45997"/>
                                      </a:cubicBezTo>
                                      <a:cubicBezTo>
                                        <a:pt x="595496" y="47334"/>
                                        <a:pt x="616765" y="44961"/>
                                        <a:pt x="630646" y="49340"/>
                                      </a:cubicBezTo>
                                      <a:cubicBezTo>
                                        <a:pt x="660358" y="58832"/>
                                        <a:pt x="680735" y="52949"/>
                                        <a:pt x="711096" y="52381"/>
                                      </a:cubicBezTo>
                                      <a:cubicBezTo>
                                        <a:pt x="740564" y="51813"/>
                                        <a:pt x="751360" y="43323"/>
                                        <a:pt x="776364" y="39012"/>
                                      </a:cubicBezTo>
                                      <a:cubicBezTo>
                                        <a:pt x="797430" y="35335"/>
                                        <a:pt x="819064" y="26211"/>
                                        <a:pt x="781843" y="22935"/>
                                      </a:cubicBezTo>
                                      <a:cubicBezTo>
                                        <a:pt x="767881" y="21732"/>
                                        <a:pt x="753756" y="21765"/>
                                        <a:pt x="739833" y="20428"/>
                                      </a:cubicBezTo>
                                      <a:cubicBezTo>
                                        <a:pt x="727291" y="19192"/>
                                        <a:pt x="715885" y="15181"/>
                                        <a:pt x="703302" y="13409"/>
                                      </a:cubicBezTo>
                                      <a:cubicBezTo>
                                        <a:pt x="685483" y="10802"/>
                                        <a:pt x="681668" y="11905"/>
                                        <a:pt x="669816" y="16752"/>
                                      </a:cubicBezTo>
                                      <a:cubicBezTo>
                                        <a:pt x="657963" y="21598"/>
                                        <a:pt x="652809" y="16752"/>
                                        <a:pt x="651672" y="11872"/>
                                      </a:cubicBezTo>
                                      <a:cubicBezTo>
                                        <a:pt x="650170" y="5555"/>
                                        <a:pt x="637506" y="3015"/>
                                        <a:pt x="625979" y="6858"/>
                                      </a:cubicBezTo>
                                      <a:cubicBezTo>
                                        <a:pt x="615385" y="10401"/>
                                        <a:pt x="625654" y="16384"/>
                                        <a:pt x="626222" y="20896"/>
                                      </a:cubicBezTo>
                                      <a:cubicBezTo>
                                        <a:pt x="626791" y="25408"/>
                                        <a:pt x="600610" y="17286"/>
                                        <a:pt x="598337" y="15782"/>
                                      </a:cubicBezTo>
                                      <a:cubicBezTo>
                                        <a:pt x="590219" y="10334"/>
                                        <a:pt x="590219" y="11905"/>
                                        <a:pt x="576013" y="13376"/>
                                      </a:cubicBezTo>
                                      <a:cubicBezTo>
                                        <a:pt x="564526" y="14579"/>
                                        <a:pt x="561928" y="7427"/>
                                        <a:pt x="553080" y="4652"/>
                                      </a:cubicBezTo>
                                      <a:cubicBezTo>
                                        <a:pt x="551415" y="4151"/>
                                        <a:pt x="522028" y="-2433"/>
                                        <a:pt x="523287" y="341"/>
                                      </a:cubicBezTo>
                                      <a:cubicBezTo>
                                        <a:pt x="525966" y="6290"/>
                                        <a:pt x="529497" y="10368"/>
                                        <a:pt x="511110" y="5455"/>
                                      </a:cubicBezTo>
                                      <a:cubicBezTo>
                                        <a:pt x="494102" y="1009"/>
                                        <a:pt x="499623" y="4218"/>
                                        <a:pt x="500962" y="10234"/>
                                      </a:cubicBezTo>
                                      <a:cubicBezTo>
                                        <a:pt x="502464" y="17119"/>
                                        <a:pt x="484726" y="6156"/>
                                        <a:pt x="482453" y="5154"/>
                                      </a:cubicBezTo>
                                      <a:cubicBezTo>
                                        <a:pt x="478394" y="3382"/>
                                        <a:pt x="471575" y="1277"/>
                                        <a:pt x="466217" y="3382"/>
                                      </a:cubicBezTo>
                                      <a:cubicBezTo>
                                        <a:pt x="466217" y="3382"/>
                                        <a:pt x="455299" y="10368"/>
                                        <a:pt x="454527" y="9265"/>
                                      </a:cubicBezTo>
                                      <a:cubicBezTo>
                                        <a:pt x="456598" y="12206"/>
                                        <a:pt x="470276" y="14713"/>
                                        <a:pt x="475269" y="16652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chemeClr val="accent3"/>
                                </a:solidFill>
                                <a:ln w="3021" cap="flat">
                                  <a:solidFill>
                                    <a:schemeClr val="accent3">
                                      <a:alpha val="44000"/>
                                    </a:schemeClr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GB"/>
                                </a:p>
                              </p:txBody>
                            </p:sp>
                          </p:grpSp>
                        </p:grpSp>
                      </p:grpSp>
                      <p:sp>
                        <p:nvSpPr>
                          <p:cNvPr id="434" name="Freeform: Shape 433">
                            <a:extLst>
                              <a:ext uri="{FF2B5EF4-FFF2-40B4-BE49-F238E27FC236}">
                                <a16:creationId xmlns:a16="http://schemas.microsoft.com/office/drawing/2014/main" id="{01192E8F-01E5-4DB7-A723-CF2D6C8EDD7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387012" y="3856593"/>
                            <a:ext cx="5354918" cy="1734414"/>
                          </a:xfrm>
                          <a:custGeom>
                            <a:avLst/>
                            <a:gdLst>
                              <a:gd name="connsiteX0" fmla="*/ 86305 w 5495992"/>
                              <a:gd name="connsiteY0" fmla="*/ 704436 h 2374809"/>
                              <a:gd name="connsiteX1" fmla="*/ 70434 w 5495992"/>
                              <a:gd name="connsiteY1" fmla="*/ 701930 h 2374809"/>
                              <a:gd name="connsiteX2" fmla="*/ 46080 w 5495992"/>
                              <a:gd name="connsiteY2" fmla="*/ 698253 h 2374809"/>
                              <a:gd name="connsiteX3" fmla="*/ 40722 w 5495992"/>
                              <a:gd name="connsiteY3" fmla="*/ 706342 h 2374809"/>
                              <a:gd name="connsiteX4" fmla="*/ 32199 w 5495992"/>
                              <a:gd name="connsiteY4" fmla="*/ 713327 h 2374809"/>
                              <a:gd name="connsiteX5" fmla="*/ 14826 w 5495992"/>
                              <a:gd name="connsiteY5" fmla="*/ 706308 h 2374809"/>
                              <a:gd name="connsiteX6" fmla="*/ 8697 w 5495992"/>
                              <a:gd name="connsiteY6" fmla="*/ 715567 h 2374809"/>
                              <a:gd name="connsiteX7" fmla="*/ 78025 w 5495992"/>
                              <a:gd name="connsiteY7" fmla="*/ 721883 h 2374809"/>
                              <a:gd name="connsiteX8" fmla="*/ 103068 w 5495992"/>
                              <a:gd name="connsiteY8" fmla="*/ 716536 h 2374809"/>
                              <a:gd name="connsiteX9" fmla="*/ 86224 w 5495992"/>
                              <a:gd name="connsiteY9" fmla="*/ 704436 h 2374809"/>
                              <a:gd name="connsiteX10" fmla="*/ 1722803 w 5495992"/>
                              <a:gd name="connsiteY10" fmla="*/ 109497 h 2374809"/>
                              <a:gd name="connsiteX11" fmla="*/ 1754504 w 5495992"/>
                              <a:gd name="connsiteY11" fmla="*/ 102478 h 2374809"/>
                              <a:gd name="connsiteX12" fmla="*/ 1707866 w 5495992"/>
                              <a:gd name="connsiteY12" fmla="*/ 97330 h 2374809"/>
                              <a:gd name="connsiteX13" fmla="*/ 1661512 w 5495992"/>
                              <a:gd name="connsiteY13" fmla="*/ 95058 h 2374809"/>
                              <a:gd name="connsiteX14" fmla="*/ 1722803 w 5495992"/>
                              <a:gd name="connsiteY14" fmla="*/ 109497 h 2374809"/>
                              <a:gd name="connsiteX15" fmla="*/ 1722843 w 5495992"/>
                              <a:gd name="connsiteY15" fmla="*/ 109563 h 2374809"/>
                              <a:gd name="connsiteX16" fmla="*/ 1846642 w 5495992"/>
                              <a:gd name="connsiteY16" fmla="*/ 423177 h 2374809"/>
                              <a:gd name="connsiteX17" fmla="*/ 1895350 w 5495992"/>
                              <a:gd name="connsiteY17" fmla="*/ 422141 h 2374809"/>
                              <a:gd name="connsiteX18" fmla="*/ 1847981 w 5495992"/>
                              <a:gd name="connsiteY18" fmla="*/ 412882 h 2374809"/>
                              <a:gd name="connsiteX19" fmla="*/ 1846520 w 5495992"/>
                              <a:gd name="connsiteY19" fmla="*/ 423177 h 2374809"/>
                              <a:gd name="connsiteX20" fmla="*/ 2713233 w 5495992"/>
                              <a:gd name="connsiteY20" fmla="*/ 374412 h 2374809"/>
                              <a:gd name="connsiteX21" fmla="*/ 2702071 w 5495992"/>
                              <a:gd name="connsiteY21" fmla="*/ 378055 h 2374809"/>
                              <a:gd name="connsiteX22" fmla="*/ 2674348 w 5495992"/>
                              <a:gd name="connsiteY22" fmla="*/ 376317 h 2374809"/>
                              <a:gd name="connsiteX23" fmla="*/ 2701746 w 5495992"/>
                              <a:gd name="connsiteY23" fmla="*/ 395101 h 2374809"/>
                              <a:gd name="connsiteX24" fmla="*/ 2748790 w 5495992"/>
                              <a:gd name="connsiteY24" fmla="*/ 396338 h 2374809"/>
                              <a:gd name="connsiteX25" fmla="*/ 2818279 w 5495992"/>
                              <a:gd name="connsiteY25" fmla="*/ 405964 h 2374809"/>
                              <a:gd name="connsiteX26" fmla="*/ 2852457 w 5495992"/>
                              <a:gd name="connsiteY26" fmla="*/ 413183 h 2374809"/>
                              <a:gd name="connsiteX27" fmla="*/ 2858423 w 5495992"/>
                              <a:gd name="connsiteY27" fmla="*/ 403156 h 2374809"/>
                              <a:gd name="connsiteX28" fmla="*/ 2882047 w 5495992"/>
                              <a:gd name="connsiteY28" fmla="*/ 404727 h 2374809"/>
                              <a:gd name="connsiteX29" fmla="*/ 2844176 w 5495992"/>
                              <a:gd name="connsiteY29" fmla="*/ 384071 h 2374809"/>
                              <a:gd name="connsiteX30" fmla="*/ 2816494 w 5495992"/>
                              <a:gd name="connsiteY30" fmla="*/ 362480 h 2374809"/>
                              <a:gd name="connsiteX31" fmla="*/ 2737628 w 5495992"/>
                              <a:gd name="connsiteY31" fmla="*/ 356965 h 2374809"/>
                              <a:gd name="connsiteX32" fmla="*/ 2716967 w 5495992"/>
                              <a:gd name="connsiteY32" fmla="*/ 363148 h 2374809"/>
                              <a:gd name="connsiteX33" fmla="*/ 2713233 w 5495992"/>
                              <a:gd name="connsiteY33" fmla="*/ 374378 h 2374809"/>
                              <a:gd name="connsiteX34" fmla="*/ 2763078 w 5495992"/>
                              <a:gd name="connsiteY34" fmla="*/ 404493 h 2374809"/>
                              <a:gd name="connsiteX35" fmla="*/ 2736451 w 5495992"/>
                              <a:gd name="connsiteY35" fmla="*/ 407835 h 2374809"/>
                              <a:gd name="connsiteX36" fmla="*/ 2757314 w 5495992"/>
                              <a:gd name="connsiteY36" fmla="*/ 422709 h 2374809"/>
                              <a:gd name="connsiteX37" fmla="*/ 2775377 w 5495992"/>
                              <a:gd name="connsiteY37" fmla="*/ 439722 h 2374809"/>
                              <a:gd name="connsiteX38" fmla="*/ 2809147 w 5495992"/>
                              <a:gd name="connsiteY38" fmla="*/ 452255 h 2374809"/>
                              <a:gd name="connsiteX39" fmla="*/ 2897917 w 5495992"/>
                              <a:gd name="connsiteY39" fmla="*/ 488553 h 2374809"/>
                              <a:gd name="connsiteX40" fmla="*/ 2915208 w 5495992"/>
                              <a:gd name="connsiteY40" fmla="*/ 483573 h 2374809"/>
                              <a:gd name="connsiteX41" fmla="*/ 2909201 w 5495992"/>
                              <a:gd name="connsiteY41" fmla="*/ 479362 h 2374809"/>
                              <a:gd name="connsiteX42" fmla="*/ 2920079 w 5495992"/>
                              <a:gd name="connsiteY42" fmla="*/ 472376 h 2374809"/>
                              <a:gd name="connsiteX43" fmla="*/ 2917360 w 5495992"/>
                              <a:gd name="connsiteY43" fmla="*/ 447008 h 2374809"/>
                              <a:gd name="connsiteX44" fmla="*/ 2892153 w 5495992"/>
                              <a:gd name="connsiteY44" fmla="*/ 439521 h 2374809"/>
                              <a:gd name="connsiteX45" fmla="*/ 2873807 w 5495992"/>
                              <a:gd name="connsiteY45" fmla="*/ 435878 h 2374809"/>
                              <a:gd name="connsiteX46" fmla="*/ 2827412 w 5495992"/>
                              <a:gd name="connsiteY46" fmla="*/ 413217 h 2374809"/>
                              <a:gd name="connsiteX47" fmla="*/ 2763240 w 5495992"/>
                              <a:gd name="connsiteY47" fmla="*/ 404460 h 2374809"/>
                              <a:gd name="connsiteX48" fmla="*/ 2146113 w 5495992"/>
                              <a:gd name="connsiteY48" fmla="*/ 499784 h 2374809"/>
                              <a:gd name="connsiteX49" fmla="*/ 2174851 w 5495992"/>
                              <a:gd name="connsiteY49" fmla="*/ 501087 h 2374809"/>
                              <a:gd name="connsiteX50" fmla="*/ 2146439 w 5495992"/>
                              <a:gd name="connsiteY50" fmla="*/ 499884 h 2374809"/>
                              <a:gd name="connsiteX51" fmla="*/ 2700367 w 5495992"/>
                              <a:gd name="connsiteY51" fmla="*/ 332666 h 2374809"/>
                              <a:gd name="connsiteX52" fmla="*/ 2651375 w 5495992"/>
                              <a:gd name="connsiteY52" fmla="*/ 321569 h 2374809"/>
                              <a:gd name="connsiteX53" fmla="*/ 2700691 w 5495992"/>
                              <a:gd name="connsiteY53" fmla="*/ 332766 h 2374809"/>
                              <a:gd name="connsiteX54" fmla="*/ 5296001 w 5495992"/>
                              <a:gd name="connsiteY54" fmla="*/ 2021426 h 2374809"/>
                              <a:gd name="connsiteX55" fmla="*/ 5328473 w 5495992"/>
                              <a:gd name="connsiteY55" fmla="*/ 2042550 h 2374809"/>
                              <a:gd name="connsiteX56" fmla="*/ 5355789 w 5495992"/>
                              <a:gd name="connsiteY56" fmla="*/ 2067216 h 2374809"/>
                              <a:gd name="connsiteX57" fmla="*/ 5408961 w 5495992"/>
                              <a:gd name="connsiteY57" fmla="*/ 2093354 h 2374809"/>
                              <a:gd name="connsiteX58" fmla="*/ 5352380 w 5495992"/>
                              <a:gd name="connsiteY58" fmla="*/ 2038272 h 2374809"/>
                              <a:gd name="connsiteX59" fmla="*/ 5296123 w 5495992"/>
                              <a:gd name="connsiteY59" fmla="*/ 2021560 h 2374809"/>
                              <a:gd name="connsiteX60" fmla="*/ 2893858 w 5495992"/>
                              <a:gd name="connsiteY60" fmla="*/ 521476 h 2374809"/>
                              <a:gd name="connsiteX61" fmla="*/ 2934001 w 5495992"/>
                              <a:gd name="connsiteY61" fmla="*/ 533508 h 2374809"/>
                              <a:gd name="connsiteX62" fmla="*/ 2992207 w 5495992"/>
                              <a:gd name="connsiteY62" fmla="*/ 548883 h 2374809"/>
                              <a:gd name="connsiteX63" fmla="*/ 3082925 w 5495992"/>
                              <a:gd name="connsiteY63" fmla="*/ 568937 h 2374809"/>
                              <a:gd name="connsiteX64" fmla="*/ 3104357 w 5495992"/>
                              <a:gd name="connsiteY64" fmla="*/ 557573 h 2374809"/>
                              <a:gd name="connsiteX65" fmla="*/ 3067623 w 5495992"/>
                              <a:gd name="connsiteY65" fmla="*/ 534177 h 2374809"/>
                              <a:gd name="connsiteX66" fmla="*/ 3021878 w 5495992"/>
                              <a:gd name="connsiteY66" fmla="*/ 529497 h 2374809"/>
                              <a:gd name="connsiteX67" fmla="*/ 3034055 w 5495992"/>
                              <a:gd name="connsiteY67" fmla="*/ 521743 h 2374809"/>
                              <a:gd name="connsiteX68" fmla="*/ 3030930 w 5495992"/>
                              <a:gd name="connsiteY68" fmla="*/ 506803 h 2374809"/>
                              <a:gd name="connsiteX69" fmla="*/ 3013030 w 5495992"/>
                              <a:gd name="connsiteY69" fmla="*/ 505366 h 2374809"/>
                              <a:gd name="connsiteX70" fmla="*/ 2979786 w 5495992"/>
                              <a:gd name="connsiteY70" fmla="*/ 497244 h 2374809"/>
                              <a:gd name="connsiteX71" fmla="*/ 2959491 w 5495992"/>
                              <a:gd name="connsiteY71" fmla="*/ 506736 h 2374809"/>
                              <a:gd name="connsiteX72" fmla="*/ 2935625 w 5495992"/>
                              <a:gd name="connsiteY72" fmla="*/ 503159 h 2374809"/>
                              <a:gd name="connsiteX73" fmla="*/ 2908998 w 5495992"/>
                              <a:gd name="connsiteY73" fmla="*/ 514724 h 2374809"/>
                              <a:gd name="connsiteX74" fmla="*/ 2893695 w 5495992"/>
                              <a:gd name="connsiteY74" fmla="*/ 521643 h 2374809"/>
                              <a:gd name="connsiteX75" fmla="*/ 4121901 w 5495992"/>
                              <a:gd name="connsiteY75" fmla="*/ 1134598 h 2374809"/>
                              <a:gd name="connsiteX76" fmla="*/ 4162815 w 5495992"/>
                              <a:gd name="connsiteY76" fmla="*/ 1168255 h 2374809"/>
                              <a:gd name="connsiteX77" fmla="*/ 4201457 w 5495992"/>
                              <a:gd name="connsiteY77" fmla="*/ 1186271 h 2374809"/>
                              <a:gd name="connsiteX78" fmla="*/ 4252803 w 5495992"/>
                              <a:gd name="connsiteY78" fmla="*/ 1208163 h 2374809"/>
                              <a:gd name="connsiteX79" fmla="*/ 4288604 w 5495992"/>
                              <a:gd name="connsiteY79" fmla="*/ 1218658 h 2374809"/>
                              <a:gd name="connsiteX80" fmla="*/ 4298953 w 5495992"/>
                              <a:gd name="connsiteY80" fmla="*/ 1206258 h 2374809"/>
                              <a:gd name="connsiteX81" fmla="*/ 4300131 w 5495992"/>
                              <a:gd name="connsiteY81" fmla="*/ 1223338 h 2374809"/>
                              <a:gd name="connsiteX82" fmla="*/ 4347337 w 5495992"/>
                              <a:gd name="connsiteY82" fmla="*/ 1255458 h 2374809"/>
                              <a:gd name="connsiteX83" fmla="*/ 4366048 w 5495992"/>
                              <a:gd name="connsiteY83" fmla="*/ 1249876 h 2374809"/>
                              <a:gd name="connsiteX84" fmla="*/ 4361015 w 5495992"/>
                              <a:gd name="connsiteY84" fmla="*/ 1227449 h 2374809"/>
                              <a:gd name="connsiteX85" fmla="*/ 4302770 w 5495992"/>
                              <a:gd name="connsiteY85" fmla="*/ 1190683 h 2374809"/>
                              <a:gd name="connsiteX86" fmla="*/ 4256619 w 5495992"/>
                              <a:gd name="connsiteY86" fmla="*/ 1170094 h 2374809"/>
                              <a:gd name="connsiteX87" fmla="*/ 4234984 w 5495992"/>
                              <a:gd name="connsiteY87" fmla="*/ 1162172 h 2374809"/>
                              <a:gd name="connsiteX88" fmla="*/ 4171948 w 5495992"/>
                              <a:gd name="connsiteY88" fmla="*/ 1118722 h 2374809"/>
                              <a:gd name="connsiteX89" fmla="*/ 4121901 w 5495992"/>
                              <a:gd name="connsiteY89" fmla="*/ 1134398 h 2374809"/>
                              <a:gd name="connsiteX90" fmla="*/ 4277806 w 5495992"/>
                              <a:gd name="connsiteY90" fmla="*/ 1290084 h 2374809"/>
                              <a:gd name="connsiteX91" fmla="*/ 4263235 w 5495992"/>
                              <a:gd name="connsiteY91" fmla="*/ 1260003 h 2374809"/>
                              <a:gd name="connsiteX92" fmla="*/ 4192405 w 5495992"/>
                              <a:gd name="connsiteY92" fmla="*/ 1232997 h 2374809"/>
                              <a:gd name="connsiteX93" fmla="*/ 4277644 w 5495992"/>
                              <a:gd name="connsiteY93" fmla="*/ 1289817 h 2374809"/>
                              <a:gd name="connsiteX94" fmla="*/ 4224391 w 5495992"/>
                              <a:gd name="connsiteY94" fmla="*/ 1222937 h 2374809"/>
                              <a:gd name="connsiteX95" fmla="*/ 4190052 w 5495992"/>
                              <a:gd name="connsiteY95" fmla="*/ 1212909 h 2374809"/>
                              <a:gd name="connsiteX96" fmla="*/ 4224391 w 5495992"/>
                              <a:gd name="connsiteY96" fmla="*/ 1222937 h 2374809"/>
                              <a:gd name="connsiteX97" fmla="*/ 4408505 w 5495992"/>
                              <a:gd name="connsiteY97" fmla="*/ 1282263 h 2374809"/>
                              <a:gd name="connsiteX98" fmla="*/ 4436594 w 5495992"/>
                              <a:gd name="connsiteY98" fmla="*/ 1306663 h 2374809"/>
                              <a:gd name="connsiteX99" fmla="*/ 4495612 w 5495992"/>
                              <a:gd name="connsiteY99" fmla="*/ 1347372 h 2374809"/>
                              <a:gd name="connsiteX100" fmla="*/ 4540706 w 5495992"/>
                              <a:gd name="connsiteY100" fmla="*/ 1353222 h 2374809"/>
                              <a:gd name="connsiteX101" fmla="*/ 4505231 w 5495992"/>
                              <a:gd name="connsiteY101" fmla="*/ 1333435 h 2374809"/>
                              <a:gd name="connsiteX102" fmla="*/ 4488670 w 5495992"/>
                              <a:gd name="connsiteY102" fmla="*/ 1318728 h 2374809"/>
                              <a:gd name="connsiteX103" fmla="*/ 4462733 w 5495992"/>
                              <a:gd name="connsiteY103" fmla="*/ 1305560 h 2374809"/>
                              <a:gd name="connsiteX104" fmla="*/ 4439962 w 5495992"/>
                              <a:gd name="connsiteY104" fmla="*/ 1288614 h 2374809"/>
                              <a:gd name="connsiteX105" fmla="*/ 4429450 w 5495992"/>
                              <a:gd name="connsiteY105" fmla="*/ 1278587 h 2374809"/>
                              <a:gd name="connsiteX106" fmla="*/ 4408505 w 5495992"/>
                              <a:gd name="connsiteY106" fmla="*/ 1282330 h 2374809"/>
                              <a:gd name="connsiteX107" fmla="*/ 4408505 w 5495992"/>
                              <a:gd name="connsiteY107" fmla="*/ 1282263 h 2374809"/>
                              <a:gd name="connsiteX108" fmla="*/ 1056440 w 5495992"/>
                              <a:gd name="connsiteY108" fmla="*/ 10797 h 2374809"/>
                              <a:gd name="connsiteX109" fmla="*/ 1100359 w 5495992"/>
                              <a:gd name="connsiteY109" fmla="*/ 11699 h 2374809"/>
                              <a:gd name="connsiteX110" fmla="*/ 1120329 w 5495992"/>
                              <a:gd name="connsiteY110" fmla="*/ 12200 h 2374809"/>
                              <a:gd name="connsiteX111" fmla="*/ 1060053 w 5495992"/>
                              <a:gd name="connsiteY111" fmla="*/ 2574 h 2374809"/>
                              <a:gd name="connsiteX112" fmla="*/ 998113 w 5495992"/>
                              <a:gd name="connsiteY112" fmla="*/ 302 h 2374809"/>
                              <a:gd name="connsiteX113" fmla="*/ 1006962 w 5495992"/>
                              <a:gd name="connsiteY113" fmla="*/ 7889 h 2374809"/>
                              <a:gd name="connsiteX114" fmla="*/ 1056440 w 5495992"/>
                              <a:gd name="connsiteY114" fmla="*/ 10797 h 2374809"/>
                              <a:gd name="connsiteX115" fmla="*/ 3890662 w 5495992"/>
                              <a:gd name="connsiteY115" fmla="*/ 1777668 h 2374809"/>
                              <a:gd name="connsiteX116" fmla="*/ 3910956 w 5495992"/>
                              <a:gd name="connsiteY116" fmla="*/ 1745247 h 2374809"/>
                              <a:gd name="connsiteX117" fmla="*/ 3907872 w 5495992"/>
                              <a:gd name="connsiteY117" fmla="*/ 1725193 h 2374809"/>
                              <a:gd name="connsiteX118" fmla="*/ 3901580 w 5495992"/>
                              <a:gd name="connsiteY118" fmla="*/ 1718241 h 2374809"/>
                              <a:gd name="connsiteX119" fmla="*/ 3888388 w 5495992"/>
                              <a:gd name="connsiteY119" fmla="*/ 1727165 h 2374809"/>
                              <a:gd name="connsiteX120" fmla="*/ 3870326 w 5495992"/>
                              <a:gd name="connsiteY120" fmla="*/ 1726463 h 2374809"/>
                              <a:gd name="connsiteX121" fmla="*/ 3849259 w 5495992"/>
                              <a:gd name="connsiteY121" fmla="*/ 1762995 h 2374809"/>
                              <a:gd name="connsiteX122" fmla="*/ 3810943 w 5495992"/>
                              <a:gd name="connsiteY122" fmla="*/ 1815069 h 2374809"/>
                              <a:gd name="connsiteX123" fmla="*/ 3800592 w 5495992"/>
                              <a:gd name="connsiteY123" fmla="*/ 1834053 h 2374809"/>
                              <a:gd name="connsiteX124" fmla="*/ 3771449 w 5495992"/>
                              <a:gd name="connsiteY124" fmla="*/ 1858452 h 2374809"/>
                              <a:gd name="connsiteX125" fmla="*/ 3779567 w 5495992"/>
                              <a:gd name="connsiteY125" fmla="*/ 1864803 h 2374809"/>
                              <a:gd name="connsiteX126" fmla="*/ 3806681 w 5495992"/>
                              <a:gd name="connsiteY126" fmla="*/ 1882217 h 2374809"/>
                              <a:gd name="connsiteX127" fmla="*/ 3818655 w 5495992"/>
                              <a:gd name="connsiteY127" fmla="*/ 1876134 h 2374809"/>
                              <a:gd name="connsiteX128" fmla="*/ 3808386 w 5495992"/>
                              <a:gd name="connsiteY128" fmla="*/ 1863132 h 2374809"/>
                              <a:gd name="connsiteX129" fmla="*/ 3810131 w 5495992"/>
                              <a:gd name="connsiteY129" fmla="*/ 1841874 h 2374809"/>
                              <a:gd name="connsiteX130" fmla="*/ 3852303 w 5495992"/>
                              <a:gd name="connsiteY130" fmla="*/ 1826232 h 2374809"/>
                              <a:gd name="connsiteX131" fmla="*/ 3881610 w 5495992"/>
                              <a:gd name="connsiteY131" fmla="*/ 1844749 h 2374809"/>
                              <a:gd name="connsiteX132" fmla="*/ 3890621 w 5495992"/>
                              <a:gd name="connsiteY132" fmla="*/ 1777601 h 2374809"/>
                              <a:gd name="connsiteX133" fmla="*/ 3890662 w 5495992"/>
                              <a:gd name="connsiteY133" fmla="*/ 1777668 h 2374809"/>
                              <a:gd name="connsiteX134" fmla="*/ 1160594 w 5495992"/>
                              <a:gd name="connsiteY134" fmla="*/ 19788 h 2374809"/>
                              <a:gd name="connsiteX135" fmla="*/ 1137092 w 5495992"/>
                              <a:gd name="connsiteY135" fmla="*/ 21358 h 2374809"/>
                              <a:gd name="connsiteX136" fmla="*/ 1093865 w 5495992"/>
                              <a:gd name="connsiteY136" fmla="*/ 22963 h 2374809"/>
                              <a:gd name="connsiteX137" fmla="*/ 1128772 w 5495992"/>
                              <a:gd name="connsiteY137" fmla="*/ 36901 h 2374809"/>
                              <a:gd name="connsiteX138" fmla="*/ 1138797 w 5495992"/>
                              <a:gd name="connsiteY138" fmla="*/ 33825 h 2374809"/>
                              <a:gd name="connsiteX139" fmla="*/ 1161000 w 5495992"/>
                              <a:gd name="connsiteY139" fmla="*/ 35630 h 2374809"/>
                              <a:gd name="connsiteX140" fmla="*/ 1170539 w 5495992"/>
                              <a:gd name="connsiteY140" fmla="*/ 30316 h 2374809"/>
                              <a:gd name="connsiteX141" fmla="*/ 1209261 w 5495992"/>
                              <a:gd name="connsiteY141" fmla="*/ 30082 h 2374809"/>
                              <a:gd name="connsiteX142" fmla="*/ 1205202 w 5495992"/>
                              <a:gd name="connsiteY142" fmla="*/ 15877 h 2374809"/>
                              <a:gd name="connsiteX143" fmla="*/ 1160553 w 5495992"/>
                              <a:gd name="connsiteY143" fmla="*/ 19788 h 2374809"/>
                              <a:gd name="connsiteX144" fmla="*/ 1035131 w 5495992"/>
                              <a:gd name="connsiteY144" fmla="*/ 415824 h 2374809"/>
                              <a:gd name="connsiteX145" fmla="*/ 1082134 w 5495992"/>
                              <a:gd name="connsiteY145" fmla="*/ 421138 h 2374809"/>
                              <a:gd name="connsiteX146" fmla="*/ 1103159 w 5495992"/>
                              <a:gd name="connsiteY146" fmla="*/ 414453 h 2374809"/>
                              <a:gd name="connsiteX147" fmla="*/ 1051205 w 5495992"/>
                              <a:gd name="connsiteY147" fmla="*/ 400750 h 2374809"/>
                              <a:gd name="connsiteX148" fmla="*/ 1034969 w 5495992"/>
                              <a:gd name="connsiteY148" fmla="*/ 415824 h 2374809"/>
                              <a:gd name="connsiteX149" fmla="*/ 1035131 w 5495992"/>
                              <a:gd name="connsiteY149" fmla="*/ 415824 h 2374809"/>
                              <a:gd name="connsiteX150" fmla="*/ 5491440 w 5495992"/>
                              <a:gd name="connsiteY150" fmla="*/ 2368263 h 2374809"/>
                              <a:gd name="connsiteX151" fmla="*/ 5465707 w 5495992"/>
                              <a:gd name="connsiteY151" fmla="*/ 2320066 h 2374809"/>
                              <a:gd name="connsiteX152" fmla="*/ 5446466 w 5495992"/>
                              <a:gd name="connsiteY152" fmla="*/ 2297839 h 2374809"/>
                              <a:gd name="connsiteX153" fmla="*/ 5428729 w 5495992"/>
                              <a:gd name="connsiteY153" fmla="*/ 2285640 h 2374809"/>
                              <a:gd name="connsiteX154" fmla="*/ 5419515 w 5495992"/>
                              <a:gd name="connsiteY154" fmla="*/ 2269462 h 2374809"/>
                              <a:gd name="connsiteX155" fmla="*/ 5394309 w 5495992"/>
                              <a:gd name="connsiteY155" fmla="*/ 2250010 h 2374809"/>
                              <a:gd name="connsiteX156" fmla="*/ 5395973 w 5495992"/>
                              <a:gd name="connsiteY156" fmla="*/ 2264215 h 2374809"/>
                              <a:gd name="connsiteX157" fmla="*/ 5381604 w 5495992"/>
                              <a:gd name="connsiteY157" fmla="*/ 2269864 h 2374809"/>
                              <a:gd name="connsiteX158" fmla="*/ 5368981 w 5495992"/>
                              <a:gd name="connsiteY158" fmla="*/ 2249007 h 2374809"/>
                              <a:gd name="connsiteX159" fmla="*/ 5384446 w 5495992"/>
                              <a:gd name="connsiteY159" fmla="*/ 2236273 h 2374809"/>
                              <a:gd name="connsiteX160" fmla="*/ 5379169 w 5495992"/>
                              <a:gd name="connsiteY160" fmla="*/ 2219327 h 2374809"/>
                              <a:gd name="connsiteX161" fmla="*/ 5356967 w 5495992"/>
                              <a:gd name="connsiteY161" fmla="*/ 2186338 h 2374809"/>
                              <a:gd name="connsiteX162" fmla="*/ 5310451 w 5495992"/>
                              <a:gd name="connsiteY162" fmla="*/ 2124772 h 2374809"/>
                              <a:gd name="connsiteX163" fmla="*/ 5283864 w 5495992"/>
                              <a:gd name="connsiteY163" fmla="*/ 2095292 h 2374809"/>
                              <a:gd name="connsiteX164" fmla="*/ 5264666 w 5495992"/>
                              <a:gd name="connsiteY164" fmla="*/ 2066080 h 2374809"/>
                              <a:gd name="connsiteX165" fmla="*/ 5207637 w 5495992"/>
                              <a:gd name="connsiteY165" fmla="*/ 2007288 h 2374809"/>
                              <a:gd name="connsiteX166" fmla="*/ 5193674 w 5495992"/>
                              <a:gd name="connsiteY166" fmla="*/ 1989373 h 2374809"/>
                              <a:gd name="connsiteX167" fmla="*/ 5158158 w 5495992"/>
                              <a:gd name="connsiteY167" fmla="*/ 1964071 h 2374809"/>
                              <a:gd name="connsiteX168" fmla="*/ 5127635 w 5495992"/>
                              <a:gd name="connsiteY168" fmla="*/ 1940675 h 2374809"/>
                              <a:gd name="connsiteX169" fmla="*/ 5097394 w 5495992"/>
                              <a:gd name="connsiteY169" fmla="*/ 1922158 h 2374809"/>
                              <a:gd name="connsiteX170" fmla="*/ 5044628 w 5495992"/>
                              <a:gd name="connsiteY170" fmla="*/ 1873493 h 2374809"/>
                              <a:gd name="connsiteX171" fmla="*/ 5021979 w 5495992"/>
                              <a:gd name="connsiteY171" fmla="*/ 1873226 h 2374809"/>
                              <a:gd name="connsiteX172" fmla="*/ 5025551 w 5495992"/>
                              <a:gd name="connsiteY172" fmla="*/ 1893280 h 2374809"/>
                              <a:gd name="connsiteX173" fmla="*/ 4972460 w 5495992"/>
                              <a:gd name="connsiteY173" fmla="*/ 1867443 h 2374809"/>
                              <a:gd name="connsiteX174" fmla="*/ 4952977 w 5495992"/>
                              <a:gd name="connsiteY174" fmla="*/ 1843846 h 2374809"/>
                              <a:gd name="connsiteX175" fmla="*/ 4969659 w 5495992"/>
                              <a:gd name="connsiteY175" fmla="*/ 1845718 h 2374809"/>
                              <a:gd name="connsiteX176" fmla="*/ 4995718 w 5495992"/>
                              <a:gd name="connsiteY176" fmla="*/ 1854442 h 2374809"/>
                              <a:gd name="connsiteX177" fmla="*/ 4964950 w 5495992"/>
                              <a:gd name="connsiteY177" fmla="*/ 1825029 h 2374809"/>
                              <a:gd name="connsiteX178" fmla="*/ 4925619 w 5495992"/>
                              <a:gd name="connsiteY178" fmla="*/ 1816439 h 2374809"/>
                              <a:gd name="connsiteX179" fmla="*/ 4895258 w 5495992"/>
                              <a:gd name="connsiteY179" fmla="*/ 1801298 h 2374809"/>
                              <a:gd name="connsiteX180" fmla="*/ 4845982 w 5495992"/>
                              <a:gd name="connsiteY180" fmla="*/ 1760455 h 2374809"/>
                              <a:gd name="connsiteX181" fmla="*/ 4788385 w 5495992"/>
                              <a:gd name="connsiteY181" fmla="*/ 1724591 h 2374809"/>
                              <a:gd name="connsiteX182" fmla="*/ 4743249 w 5495992"/>
                              <a:gd name="connsiteY182" fmla="*/ 1716135 h 2374809"/>
                              <a:gd name="connsiteX183" fmla="*/ 4739474 w 5495992"/>
                              <a:gd name="connsiteY183" fmla="*/ 1717606 h 2374809"/>
                              <a:gd name="connsiteX184" fmla="*/ 4741422 w 5495992"/>
                              <a:gd name="connsiteY184" fmla="*/ 1703133 h 2374809"/>
                              <a:gd name="connsiteX185" fmla="*/ 4731641 w 5495992"/>
                              <a:gd name="connsiteY185" fmla="*/ 1686421 h 2374809"/>
                              <a:gd name="connsiteX186" fmla="*/ 4710858 w 5495992"/>
                              <a:gd name="connsiteY186" fmla="*/ 1668874 h 2374809"/>
                              <a:gd name="connsiteX187" fmla="*/ 4717353 w 5495992"/>
                              <a:gd name="connsiteY187" fmla="*/ 1663092 h 2374809"/>
                              <a:gd name="connsiteX188" fmla="*/ 4728312 w 5495992"/>
                              <a:gd name="connsiteY188" fmla="*/ 1659549 h 2374809"/>
                              <a:gd name="connsiteX189" fmla="*/ 4586004 w 5495992"/>
                              <a:gd name="connsiteY189" fmla="*/ 1549251 h 2374809"/>
                              <a:gd name="connsiteX190" fmla="*/ 4505353 w 5495992"/>
                              <a:gd name="connsiteY190" fmla="*/ 1506369 h 2374809"/>
                              <a:gd name="connsiteX191" fmla="*/ 4502958 w 5495992"/>
                              <a:gd name="connsiteY191" fmla="*/ 1494871 h 2374809"/>
                              <a:gd name="connsiteX192" fmla="*/ 4475559 w 5495992"/>
                              <a:gd name="connsiteY192" fmla="*/ 1470071 h 2374809"/>
                              <a:gd name="connsiteX193" fmla="*/ 4462774 w 5495992"/>
                              <a:gd name="connsiteY193" fmla="*/ 1466294 h 2374809"/>
                              <a:gd name="connsiteX194" fmla="*/ 4458390 w 5495992"/>
                              <a:gd name="connsiteY194" fmla="*/ 1457169 h 2374809"/>
                              <a:gd name="connsiteX195" fmla="*/ 4429977 w 5495992"/>
                              <a:gd name="connsiteY195" fmla="*/ 1433772 h 2374809"/>
                              <a:gd name="connsiteX196" fmla="*/ 4425594 w 5495992"/>
                              <a:gd name="connsiteY196" fmla="*/ 1424848 h 2374809"/>
                              <a:gd name="connsiteX197" fmla="*/ 4455630 w 5495992"/>
                              <a:gd name="connsiteY197" fmla="*/ 1436847 h 2374809"/>
                              <a:gd name="connsiteX198" fmla="*/ 4412930 w 5495992"/>
                              <a:gd name="connsiteY198" fmla="*/ 1400382 h 2374809"/>
                              <a:gd name="connsiteX199" fmla="*/ 4358134 w 5495992"/>
                              <a:gd name="connsiteY199" fmla="*/ 1370100 h 2374809"/>
                              <a:gd name="connsiteX200" fmla="*/ 4331791 w 5495992"/>
                              <a:gd name="connsiteY200" fmla="*/ 1374646 h 2374809"/>
                              <a:gd name="connsiteX201" fmla="*/ 4298426 w 5495992"/>
                              <a:gd name="connsiteY201" fmla="*/ 1357299 h 2374809"/>
                              <a:gd name="connsiteX202" fmla="*/ 4313200 w 5495992"/>
                              <a:gd name="connsiteY202" fmla="*/ 1348944 h 2374809"/>
                              <a:gd name="connsiteX203" fmla="*/ 4304027 w 5495992"/>
                              <a:gd name="connsiteY203" fmla="*/ 1335908 h 2374809"/>
                              <a:gd name="connsiteX204" fmla="*/ 4343116 w 5495992"/>
                              <a:gd name="connsiteY204" fmla="*/ 1358569 h 2374809"/>
                              <a:gd name="connsiteX205" fmla="*/ 4338813 w 5495992"/>
                              <a:gd name="connsiteY205" fmla="*/ 1350080 h 2374809"/>
                              <a:gd name="connsiteX206" fmla="*/ 4295260 w 5495992"/>
                              <a:gd name="connsiteY206" fmla="*/ 1321202 h 2374809"/>
                              <a:gd name="connsiteX207" fmla="*/ 4211158 w 5495992"/>
                              <a:gd name="connsiteY207" fmla="*/ 1270398 h 2374809"/>
                              <a:gd name="connsiteX208" fmla="*/ 4182745 w 5495992"/>
                              <a:gd name="connsiteY208" fmla="*/ 1258232 h 2374809"/>
                              <a:gd name="connsiteX209" fmla="*/ 4152708 w 5495992"/>
                              <a:gd name="connsiteY209" fmla="*/ 1252650 h 2374809"/>
                              <a:gd name="connsiteX210" fmla="*/ 4116543 w 5495992"/>
                              <a:gd name="connsiteY210" fmla="*/ 1243793 h 2374809"/>
                              <a:gd name="connsiteX211" fmla="*/ 4142805 w 5495992"/>
                              <a:gd name="connsiteY211" fmla="*/ 1261407 h 2374809"/>
                              <a:gd name="connsiteX212" fmla="*/ 4126001 w 5495992"/>
                              <a:gd name="connsiteY212" fmla="*/ 1261207 h 2374809"/>
                              <a:gd name="connsiteX213" fmla="*/ 4128152 w 5495992"/>
                              <a:gd name="connsiteY213" fmla="*/ 1278854 h 2374809"/>
                              <a:gd name="connsiteX214" fmla="*/ 4101200 w 5495992"/>
                              <a:gd name="connsiteY214" fmla="*/ 1261507 h 2374809"/>
                              <a:gd name="connsiteX215" fmla="*/ 4058337 w 5495992"/>
                              <a:gd name="connsiteY215" fmla="*/ 1244160 h 2374809"/>
                              <a:gd name="connsiteX216" fmla="*/ 4074168 w 5495992"/>
                              <a:gd name="connsiteY216" fmla="*/ 1257296 h 2374809"/>
                              <a:gd name="connsiteX217" fmla="*/ 4049408 w 5495992"/>
                              <a:gd name="connsiteY217" fmla="*/ 1247269 h 2374809"/>
                              <a:gd name="connsiteX218" fmla="*/ 4039544 w 5495992"/>
                              <a:gd name="connsiteY218" fmla="*/ 1234568 h 2374809"/>
                              <a:gd name="connsiteX219" fmla="*/ 4006342 w 5495992"/>
                              <a:gd name="connsiteY219" fmla="*/ 1214180 h 2374809"/>
                              <a:gd name="connsiteX220" fmla="*/ 3944930 w 5495992"/>
                              <a:gd name="connsiteY220" fmla="*/ 1190783 h 2374809"/>
                              <a:gd name="connsiteX221" fmla="*/ 3913148 w 5495992"/>
                              <a:gd name="connsiteY221" fmla="*/ 1166818 h 2374809"/>
                              <a:gd name="connsiteX222" fmla="*/ 3892854 w 5495992"/>
                              <a:gd name="connsiteY222" fmla="*/ 1153917 h 2374809"/>
                              <a:gd name="connsiteX223" fmla="*/ 3873330 w 5495992"/>
                              <a:gd name="connsiteY223" fmla="*/ 1160902 h 2374809"/>
                              <a:gd name="connsiteX224" fmla="*/ 3851005 w 5495992"/>
                              <a:gd name="connsiteY224" fmla="*/ 1161404 h 2374809"/>
                              <a:gd name="connsiteX225" fmla="*/ 3812648 w 5495992"/>
                              <a:gd name="connsiteY225" fmla="*/ 1147032 h 2374809"/>
                              <a:gd name="connsiteX226" fmla="*/ 3784235 w 5495992"/>
                              <a:gd name="connsiteY226" fmla="*/ 1110533 h 2374809"/>
                              <a:gd name="connsiteX227" fmla="*/ 3763940 w 5495992"/>
                              <a:gd name="connsiteY227" fmla="*/ 1078413 h 2374809"/>
                              <a:gd name="connsiteX228" fmla="*/ 3803880 w 5495992"/>
                              <a:gd name="connsiteY228" fmla="*/ 1097932 h 2374809"/>
                              <a:gd name="connsiteX229" fmla="*/ 3795762 w 5495992"/>
                              <a:gd name="connsiteY229" fmla="*/ 1078146 h 2374809"/>
                              <a:gd name="connsiteX230" fmla="*/ 3801486 w 5495992"/>
                              <a:gd name="connsiteY230" fmla="*/ 1068553 h 2374809"/>
                              <a:gd name="connsiteX231" fmla="*/ 3807858 w 5495992"/>
                              <a:gd name="connsiteY231" fmla="*/ 1065545 h 2374809"/>
                              <a:gd name="connsiteX232" fmla="*/ 3793530 w 5495992"/>
                              <a:gd name="connsiteY232" fmla="*/ 1052175 h 2374809"/>
                              <a:gd name="connsiteX233" fmla="*/ 3772545 w 5495992"/>
                              <a:gd name="connsiteY233" fmla="*/ 1032556 h 2374809"/>
                              <a:gd name="connsiteX234" fmla="*/ 3739667 w 5495992"/>
                              <a:gd name="connsiteY234" fmla="*/ 1020523 h 2374809"/>
                              <a:gd name="connsiteX235" fmla="*/ 3725258 w 5495992"/>
                              <a:gd name="connsiteY235" fmla="*/ 1011165 h 2374809"/>
                              <a:gd name="connsiteX236" fmla="*/ 3676551 w 5495992"/>
                              <a:gd name="connsiteY236" fmla="*/ 977741 h 2374809"/>
                              <a:gd name="connsiteX237" fmla="*/ 3660315 w 5495992"/>
                              <a:gd name="connsiteY237" fmla="*/ 973195 h 2374809"/>
                              <a:gd name="connsiteX238" fmla="*/ 3629222 w 5495992"/>
                              <a:gd name="connsiteY238" fmla="*/ 972460 h 2374809"/>
                              <a:gd name="connsiteX239" fmla="*/ 3612459 w 5495992"/>
                              <a:gd name="connsiteY239" fmla="*/ 983189 h 2374809"/>
                              <a:gd name="connsiteX240" fmla="*/ 3576172 w 5495992"/>
                              <a:gd name="connsiteY240" fmla="*/ 968516 h 2374809"/>
                              <a:gd name="connsiteX241" fmla="*/ 3526368 w 5495992"/>
                              <a:gd name="connsiteY241" fmla="*/ 944652 h 2374809"/>
                              <a:gd name="connsiteX242" fmla="*/ 3503516 w 5495992"/>
                              <a:gd name="connsiteY242" fmla="*/ 932118 h 2374809"/>
                              <a:gd name="connsiteX243" fmla="*/ 3468406 w 5495992"/>
                              <a:gd name="connsiteY243" fmla="*/ 917144 h 2374809"/>
                              <a:gd name="connsiteX244" fmla="*/ 3480583 w 5495992"/>
                              <a:gd name="connsiteY244" fmla="*/ 908186 h 2374809"/>
                              <a:gd name="connsiteX245" fmla="*/ 3424813 w 5495992"/>
                              <a:gd name="connsiteY245" fmla="*/ 881047 h 2374809"/>
                              <a:gd name="connsiteX246" fmla="*/ 3357230 w 5495992"/>
                              <a:gd name="connsiteY246" fmla="*/ 853171 h 2374809"/>
                              <a:gd name="connsiteX247" fmla="*/ 3304464 w 5495992"/>
                              <a:gd name="connsiteY247" fmla="*/ 836961 h 2374809"/>
                              <a:gd name="connsiteX248" fmla="*/ 3299959 w 5495992"/>
                              <a:gd name="connsiteY248" fmla="*/ 844214 h 2374809"/>
                              <a:gd name="connsiteX249" fmla="*/ 3293220 w 5495992"/>
                              <a:gd name="connsiteY249" fmla="*/ 834187 h 2374809"/>
                              <a:gd name="connsiteX250" fmla="*/ 3283723 w 5495992"/>
                              <a:gd name="connsiteY250" fmla="*/ 816506 h 2374809"/>
                              <a:gd name="connsiteX251" fmla="*/ 3246623 w 5495992"/>
                              <a:gd name="connsiteY251" fmla="*/ 807147 h 2374809"/>
                              <a:gd name="connsiteX252" fmla="*/ 3190123 w 5495992"/>
                              <a:gd name="connsiteY252" fmla="*/ 776865 h 2374809"/>
                              <a:gd name="connsiteX253" fmla="*/ 3169462 w 5495992"/>
                              <a:gd name="connsiteY253" fmla="*/ 778102 h 2374809"/>
                              <a:gd name="connsiteX254" fmla="*/ 3188540 w 5495992"/>
                              <a:gd name="connsiteY254" fmla="*/ 789700 h 2374809"/>
                              <a:gd name="connsiteX255" fmla="*/ 3152943 w 5495992"/>
                              <a:gd name="connsiteY255" fmla="*/ 781177 h 2374809"/>
                              <a:gd name="connsiteX256" fmla="*/ 3120471 w 5495992"/>
                              <a:gd name="connsiteY256" fmla="*/ 777634 h 2374809"/>
                              <a:gd name="connsiteX257" fmla="*/ 3062346 w 5495992"/>
                              <a:gd name="connsiteY257" fmla="*/ 762527 h 2374809"/>
                              <a:gd name="connsiteX258" fmla="*/ 3021472 w 5495992"/>
                              <a:gd name="connsiteY258" fmla="*/ 757613 h 2374809"/>
                              <a:gd name="connsiteX259" fmla="*/ 3059505 w 5495992"/>
                              <a:gd name="connsiteY259" fmla="*/ 751630 h 2374809"/>
                              <a:gd name="connsiteX260" fmla="*/ 3083574 w 5495992"/>
                              <a:gd name="connsiteY260" fmla="*/ 753435 h 2374809"/>
                              <a:gd name="connsiteX261" fmla="*/ 3118523 w 5495992"/>
                              <a:gd name="connsiteY261" fmla="*/ 761758 h 2374809"/>
                              <a:gd name="connsiteX262" fmla="*/ 3171289 w 5495992"/>
                              <a:gd name="connsiteY262" fmla="*/ 766103 h 2374809"/>
                              <a:gd name="connsiteX263" fmla="*/ 3220971 w 5495992"/>
                              <a:gd name="connsiteY263" fmla="*/ 768910 h 2374809"/>
                              <a:gd name="connsiteX264" fmla="*/ 3265620 w 5495992"/>
                              <a:gd name="connsiteY264" fmla="*/ 776130 h 2374809"/>
                              <a:gd name="connsiteX265" fmla="*/ 3313718 w 5495992"/>
                              <a:gd name="connsiteY265" fmla="*/ 781611 h 2374809"/>
                              <a:gd name="connsiteX266" fmla="*/ 3337626 w 5495992"/>
                              <a:gd name="connsiteY266" fmla="*/ 781043 h 2374809"/>
                              <a:gd name="connsiteX267" fmla="*/ 3328209 w 5495992"/>
                              <a:gd name="connsiteY267" fmla="*/ 768075 h 2374809"/>
                              <a:gd name="connsiteX268" fmla="*/ 3351589 w 5495992"/>
                              <a:gd name="connsiteY268" fmla="*/ 771818 h 2374809"/>
                              <a:gd name="connsiteX269" fmla="*/ 3339412 w 5495992"/>
                              <a:gd name="connsiteY269" fmla="*/ 760454 h 2374809"/>
                              <a:gd name="connsiteX270" fmla="*/ 3339980 w 5495992"/>
                              <a:gd name="connsiteY270" fmla="*/ 749892 h 2374809"/>
                              <a:gd name="connsiteX271" fmla="*/ 3322486 w 5495992"/>
                              <a:gd name="connsiteY271" fmla="*/ 742539 h 2374809"/>
                              <a:gd name="connsiteX272" fmla="*/ 3319442 w 5495992"/>
                              <a:gd name="connsiteY272" fmla="*/ 725360 h 2374809"/>
                              <a:gd name="connsiteX273" fmla="*/ 3288837 w 5495992"/>
                              <a:gd name="connsiteY273" fmla="*/ 713661 h 2374809"/>
                              <a:gd name="connsiteX274" fmla="*/ 3239642 w 5495992"/>
                              <a:gd name="connsiteY274" fmla="*/ 690465 h 2374809"/>
                              <a:gd name="connsiteX275" fmla="*/ 3183060 w 5495992"/>
                              <a:gd name="connsiteY275" fmla="*/ 669375 h 2374809"/>
                              <a:gd name="connsiteX276" fmla="*/ 3155702 w 5495992"/>
                              <a:gd name="connsiteY276" fmla="*/ 667871 h 2374809"/>
                              <a:gd name="connsiteX277" fmla="*/ 3121445 w 5495992"/>
                              <a:gd name="connsiteY277" fmla="*/ 657075 h 2374809"/>
                              <a:gd name="connsiteX278" fmla="*/ 3144825 w 5495992"/>
                              <a:gd name="connsiteY278" fmla="*/ 648519 h 2374809"/>
                              <a:gd name="connsiteX279" fmla="*/ 3099080 w 5495992"/>
                              <a:gd name="connsiteY279" fmla="*/ 630236 h 2374809"/>
                              <a:gd name="connsiteX280" fmla="*/ 3084142 w 5495992"/>
                              <a:gd name="connsiteY280" fmla="*/ 622047 h 2374809"/>
                              <a:gd name="connsiteX281" fmla="*/ 3046516 w 5495992"/>
                              <a:gd name="connsiteY281" fmla="*/ 607508 h 2374809"/>
                              <a:gd name="connsiteX282" fmla="*/ 3104235 w 5495992"/>
                              <a:gd name="connsiteY282" fmla="*/ 617836 h 2374809"/>
                              <a:gd name="connsiteX283" fmla="*/ 3068638 w 5495992"/>
                              <a:gd name="connsiteY283" fmla="*/ 594038 h 2374809"/>
                              <a:gd name="connsiteX284" fmla="*/ 3006698 w 5495992"/>
                              <a:gd name="connsiteY284" fmla="*/ 573483 h 2374809"/>
                              <a:gd name="connsiteX285" fmla="*/ 2954986 w 5495992"/>
                              <a:gd name="connsiteY285" fmla="*/ 571277 h 2374809"/>
                              <a:gd name="connsiteX286" fmla="*/ 2917846 w 5495992"/>
                              <a:gd name="connsiteY286" fmla="*/ 575589 h 2374809"/>
                              <a:gd name="connsiteX287" fmla="*/ 2925112 w 5495992"/>
                              <a:gd name="connsiteY287" fmla="*/ 580602 h 2374809"/>
                              <a:gd name="connsiteX288" fmla="*/ 2923245 w 5495992"/>
                              <a:gd name="connsiteY288" fmla="*/ 586117 h 2374809"/>
                              <a:gd name="connsiteX289" fmla="*/ 2902463 w 5495992"/>
                              <a:gd name="connsiteY289" fmla="*/ 582540 h 2374809"/>
                              <a:gd name="connsiteX290" fmla="*/ 2856800 w 5495992"/>
                              <a:gd name="connsiteY290" fmla="*/ 568703 h 2374809"/>
                              <a:gd name="connsiteX291" fmla="*/ 2866866 w 5495992"/>
                              <a:gd name="connsiteY291" fmla="*/ 583978 h 2374809"/>
                              <a:gd name="connsiteX292" fmla="*/ 2814870 w 5495992"/>
                              <a:gd name="connsiteY292" fmla="*/ 565795 h 2374809"/>
                              <a:gd name="connsiteX293" fmla="*/ 2791328 w 5495992"/>
                              <a:gd name="connsiteY293" fmla="*/ 563890 h 2374809"/>
                              <a:gd name="connsiteX294" fmla="*/ 2762509 w 5495992"/>
                              <a:gd name="connsiteY294" fmla="*/ 554130 h 2374809"/>
                              <a:gd name="connsiteX295" fmla="*/ 2769572 w 5495992"/>
                              <a:gd name="connsiteY295" fmla="*/ 545674 h 2374809"/>
                              <a:gd name="connsiteX296" fmla="*/ 2728089 w 5495992"/>
                              <a:gd name="connsiteY296" fmla="*/ 537653 h 2374809"/>
                              <a:gd name="connsiteX297" fmla="*/ 2705805 w 5495992"/>
                              <a:gd name="connsiteY297" fmla="*/ 533675 h 2374809"/>
                              <a:gd name="connsiteX298" fmla="*/ 2672562 w 5495992"/>
                              <a:gd name="connsiteY298" fmla="*/ 525720 h 2374809"/>
                              <a:gd name="connsiteX299" fmla="*/ 2679584 w 5495992"/>
                              <a:gd name="connsiteY299" fmla="*/ 537084 h 2374809"/>
                              <a:gd name="connsiteX300" fmla="*/ 2575106 w 5495992"/>
                              <a:gd name="connsiteY300" fmla="*/ 513989 h 2374809"/>
                              <a:gd name="connsiteX301" fmla="*/ 2550996 w 5495992"/>
                              <a:gd name="connsiteY301" fmla="*/ 512652 h 2374809"/>
                              <a:gd name="connsiteX302" fmla="*/ 2514466 w 5495992"/>
                              <a:gd name="connsiteY302" fmla="*/ 507538 h 2374809"/>
                              <a:gd name="connsiteX303" fmla="*/ 2486053 w 5495992"/>
                              <a:gd name="connsiteY303" fmla="*/ 507538 h 2374809"/>
                              <a:gd name="connsiteX304" fmla="*/ 2459344 w 5495992"/>
                              <a:gd name="connsiteY304" fmla="*/ 499316 h 2374809"/>
                              <a:gd name="connsiteX305" fmla="*/ 2459588 w 5495992"/>
                              <a:gd name="connsiteY305" fmla="*/ 504329 h 2374809"/>
                              <a:gd name="connsiteX306" fmla="*/ 2437832 w 5495992"/>
                              <a:gd name="connsiteY306" fmla="*/ 502591 h 2374809"/>
                              <a:gd name="connsiteX307" fmla="*/ 2447411 w 5495992"/>
                              <a:gd name="connsiteY307" fmla="*/ 511983 h 2374809"/>
                              <a:gd name="connsiteX308" fmla="*/ 2427116 w 5495992"/>
                              <a:gd name="connsiteY308" fmla="*/ 505299 h 2374809"/>
                              <a:gd name="connsiteX309" fmla="*/ 2420662 w 5495992"/>
                              <a:gd name="connsiteY309" fmla="*/ 507839 h 2374809"/>
                              <a:gd name="connsiteX310" fmla="*/ 2447005 w 5495992"/>
                              <a:gd name="connsiteY310" fmla="*/ 519571 h 2374809"/>
                              <a:gd name="connsiteX311" fmla="*/ 2420013 w 5495992"/>
                              <a:gd name="connsiteY311" fmla="*/ 518601 h 2374809"/>
                              <a:gd name="connsiteX312" fmla="*/ 2439780 w 5495992"/>
                              <a:gd name="connsiteY312" fmla="*/ 538655 h 2374809"/>
                              <a:gd name="connsiteX313" fmla="*/ 2416603 w 5495992"/>
                              <a:gd name="connsiteY313" fmla="*/ 533776 h 2374809"/>
                              <a:gd name="connsiteX314" fmla="*/ 2394157 w 5495992"/>
                              <a:gd name="connsiteY314" fmla="*/ 529598 h 2374809"/>
                              <a:gd name="connsiteX315" fmla="*/ 2373376 w 5495992"/>
                              <a:gd name="connsiteY315" fmla="*/ 525954 h 2374809"/>
                              <a:gd name="connsiteX316" fmla="*/ 2311395 w 5495992"/>
                              <a:gd name="connsiteY316" fmla="*/ 511983 h 2374809"/>
                              <a:gd name="connsiteX317" fmla="*/ 2242108 w 5495992"/>
                              <a:gd name="connsiteY317" fmla="*/ 496742 h 2374809"/>
                              <a:gd name="connsiteX318" fmla="*/ 2215360 w 5495992"/>
                              <a:gd name="connsiteY318" fmla="*/ 508608 h 2374809"/>
                              <a:gd name="connsiteX319" fmla="*/ 2223478 w 5495992"/>
                              <a:gd name="connsiteY319" fmla="*/ 530099 h 2374809"/>
                              <a:gd name="connsiteX320" fmla="*/ 2270197 w 5495992"/>
                              <a:gd name="connsiteY320" fmla="*/ 553495 h 2374809"/>
                              <a:gd name="connsiteX321" fmla="*/ 2245599 w 5495992"/>
                              <a:gd name="connsiteY321" fmla="*/ 560481 h 2374809"/>
                              <a:gd name="connsiteX322" fmla="*/ 2195836 w 5495992"/>
                              <a:gd name="connsiteY322" fmla="*/ 531837 h 2374809"/>
                              <a:gd name="connsiteX323" fmla="*/ 2141040 w 5495992"/>
                              <a:gd name="connsiteY323" fmla="*/ 512685 h 2374809"/>
                              <a:gd name="connsiteX324" fmla="*/ 2105564 w 5495992"/>
                              <a:gd name="connsiteY324" fmla="*/ 498079 h 2374809"/>
                              <a:gd name="connsiteX325" fmla="*/ 2084539 w 5495992"/>
                              <a:gd name="connsiteY325" fmla="*/ 499683 h 2374809"/>
                              <a:gd name="connsiteX326" fmla="*/ 2105077 w 5495992"/>
                              <a:gd name="connsiteY326" fmla="*/ 507237 h 2374809"/>
                              <a:gd name="connsiteX327" fmla="*/ 2099517 w 5495992"/>
                              <a:gd name="connsiteY327" fmla="*/ 509376 h 2374809"/>
                              <a:gd name="connsiteX328" fmla="*/ 2119202 w 5495992"/>
                              <a:gd name="connsiteY328" fmla="*/ 518167 h 2374809"/>
                              <a:gd name="connsiteX329" fmla="*/ 2108934 w 5495992"/>
                              <a:gd name="connsiteY329" fmla="*/ 520807 h 2374809"/>
                              <a:gd name="connsiteX330" fmla="*/ 2071550 w 5495992"/>
                              <a:gd name="connsiteY330" fmla="*/ 507137 h 2374809"/>
                              <a:gd name="connsiteX331" fmla="*/ 2050362 w 5495992"/>
                              <a:gd name="connsiteY331" fmla="*/ 512017 h 2374809"/>
                              <a:gd name="connsiteX332" fmla="*/ 2109623 w 5495992"/>
                              <a:gd name="connsiteY332" fmla="*/ 544471 h 2374809"/>
                              <a:gd name="connsiteX333" fmla="*/ 2124438 w 5495992"/>
                              <a:gd name="connsiteY333" fmla="*/ 555167 h 2374809"/>
                              <a:gd name="connsiteX334" fmla="*/ 2101830 w 5495992"/>
                              <a:gd name="connsiteY334" fmla="*/ 551356 h 2374809"/>
                              <a:gd name="connsiteX335" fmla="*/ 2037414 w 5495992"/>
                              <a:gd name="connsiteY335" fmla="*/ 526289 h 2374809"/>
                              <a:gd name="connsiteX336" fmla="*/ 2016307 w 5495992"/>
                              <a:gd name="connsiteY336" fmla="*/ 516529 h 2374809"/>
                              <a:gd name="connsiteX337" fmla="*/ 2020934 w 5495992"/>
                              <a:gd name="connsiteY337" fmla="*/ 511749 h 2374809"/>
                              <a:gd name="connsiteX338" fmla="*/ 2018337 w 5495992"/>
                              <a:gd name="connsiteY338" fmla="*/ 503159 h 2374809"/>
                              <a:gd name="connsiteX339" fmla="*/ 2025400 w 5495992"/>
                              <a:gd name="connsiteY339" fmla="*/ 470672 h 2374809"/>
                              <a:gd name="connsiteX340" fmla="*/ 1999179 w 5495992"/>
                              <a:gd name="connsiteY340" fmla="*/ 490291 h 2374809"/>
                              <a:gd name="connsiteX341" fmla="*/ 1951810 w 5495992"/>
                              <a:gd name="connsiteY341" fmla="*/ 492598 h 2374809"/>
                              <a:gd name="connsiteX342" fmla="*/ 1936670 w 5495992"/>
                              <a:gd name="connsiteY342" fmla="*/ 498046 h 2374809"/>
                              <a:gd name="connsiteX343" fmla="*/ 1952216 w 5495992"/>
                              <a:gd name="connsiteY343" fmla="*/ 511649 h 2374809"/>
                              <a:gd name="connsiteX344" fmla="*/ 1960334 w 5495992"/>
                              <a:gd name="connsiteY344" fmla="*/ 536550 h 2374809"/>
                              <a:gd name="connsiteX345" fmla="*/ 1933788 w 5495992"/>
                              <a:gd name="connsiteY345" fmla="*/ 566631 h 2374809"/>
                              <a:gd name="connsiteX346" fmla="*/ 2002142 w 5495992"/>
                              <a:gd name="connsiteY346" fmla="*/ 582942 h 2374809"/>
                              <a:gd name="connsiteX347" fmla="*/ 2064324 w 5495992"/>
                              <a:gd name="connsiteY347" fmla="*/ 609246 h 2374809"/>
                              <a:gd name="connsiteX348" fmla="*/ 2073052 w 5495992"/>
                              <a:gd name="connsiteY348" fmla="*/ 626994 h 2374809"/>
                              <a:gd name="connsiteX349" fmla="*/ 2054827 w 5495992"/>
                              <a:gd name="connsiteY349" fmla="*/ 630838 h 2374809"/>
                              <a:gd name="connsiteX350" fmla="*/ 2087299 w 5495992"/>
                              <a:gd name="connsiteY350" fmla="*/ 655337 h 2374809"/>
                              <a:gd name="connsiteX351" fmla="*/ 2059982 w 5495992"/>
                              <a:gd name="connsiteY351" fmla="*/ 648652 h 2374809"/>
                              <a:gd name="connsiteX352" fmla="*/ 2039078 w 5495992"/>
                              <a:gd name="connsiteY352" fmla="*/ 632442 h 2374809"/>
                              <a:gd name="connsiteX353" fmla="*/ 2050402 w 5495992"/>
                              <a:gd name="connsiteY353" fmla="*/ 617936 h 2374809"/>
                              <a:gd name="connsiteX354" fmla="*/ 2024060 w 5495992"/>
                              <a:gd name="connsiteY354" fmla="*/ 596010 h 2374809"/>
                              <a:gd name="connsiteX355" fmla="*/ 1956518 w 5495992"/>
                              <a:gd name="connsiteY355" fmla="*/ 593203 h 2374809"/>
                              <a:gd name="connsiteX356" fmla="*/ 1961592 w 5495992"/>
                              <a:gd name="connsiteY356" fmla="*/ 615195 h 2374809"/>
                              <a:gd name="connsiteX357" fmla="*/ 1930988 w 5495992"/>
                              <a:gd name="connsiteY357" fmla="*/ 623518 h 2374809"/>
                              <a:gd name="connsiteX358" fmla="*/ 1906634 w 5495992"/>
                              <a:gd name="connsiteY358" fmla="*/ 631038 h 2374809"/>
                              <a:gd name="connsiteX359" fmla="*/ 1863771 w 5495992"/>
                              <a:gd name="connsiteY359" fmla="*/ 634782 h 2374809"/>
                              <a:gd name="connsiteX360" fmla="*/ 1836535 w 5495992"/>
                              <a:gd name="connsiteY360" fmla="*/ 633445 h 2374809"/>
                              <a:gd name="connsiteX361" fmla="*/ 1783769 w 5495992"/>
                              <a:gd name="connsiteY361" fmla="*/ 621345 h 2374809"/>
                              <a:gd name="connsiteX362" fmla="*/ 1771267 w 5495992"/>
                              <a:gd name="connsiteY362" fmla="*/ 614661 h 2374809"/>
                              <a:gd name="connsiteX363" fmla="*/ 1751216 w 5495992"/>
                              <a:gd name="connsiteY363" fmla="*/ 609814 h 2374809"/>
                              <a:gd name="connsiteX364" fmla="*/ 1768101 w 5495992"/>
                              <a:gd name="connsiteY364" fmla="*/ 609279 h 2374809"/>
                              <a:gd name="connsiteX365" fmla="*/ 1797001 w 5495992"/>
                              <a:gd name="connsiteY365" fmla="*/ 615964 h 2374809"/>
                              <a:gd name="connsiteX366" fmla="*/ 1825414 w 5495992"/>
                              <a:gd name="connsiteY366" fmla="*/ 621178 h 2374809"/>
                              <a:gd name="connsiteX367" fmla="*/ 1845709 w 5495992"/>
                              <a:gd name="connsiteY367" fmla="*/ 616165 h 2374809"/>
                              <a:gd name="connsiteX368" fmla="*/ 1869819 w 5495992"/>
                              <a:gd name="connsiteY368" fmla="*/ 608544 h 2374809"/>
                              <a:gd name="connsiteX369" fmla="*/ 1894741 w 5495992"/>
                              <a:gd name="connsiteY369" fmla="*/ 604834 h 2374809"/>
                              <a:gd name="connsiteX370" fmla="*/ 1910977 w 5495992"/>
                              <a:gd name="connsiteY370" fmla="*/ 590195 h 2374809"/>
                              <a:gd name="connsiteX371" fmla="*/ 1912073 w 5495992"/>
                              <a:gd name="connsiteY371" fmla="*/ 578864 h 2374809"/>
                              <a:gd name="connsiteX372" fmla="*/ 1898313 w 5495992"/>
                              <a:gd name="connsiteY372" fmla="*/ 560381 h 2374809"/>
                              <a:gd name="connsiteX373" fmla="*/ 1905335 w 5495992"/>
                              <a:gd name="connsiteY373" fmla="*/ 539257 h 2374809"/>
                              <a:gd name="connsiteX374" fmla="*/ 1920637 w 5495992"/>
                              <a:gd name="connsiteY374" fmla="*/ 515493 h 2374809"/>
                              <a:gd name="connsiteX375" fmla="*/ 1913899 w 5495992"/>
                              <a:gd name="connsiteY375" fmla="*/ 480532 h 2374809"/>
                              <a:gd name="connsiteX376" fmla="*/ 1928309 w 5495992"/>
                              <a:gd name="connsiteY376" fmla="*/ 449414 h 2374809"/>
                              <a:gd name="connsiteX377" fmla="*/ 1851878 w 5495992"/>
                              <a:gd name="connsiteY377" fmla="*/ 429360 h 2374809"/>
                              <a:gd name="connsiteX378" fmla="*/ 1817458 w 5495992"/>
                              <a:gd name="connsiteY378" fmla="*/ 423645 h 2374809"/>
                              <a:gd name="connsiteX379" fmla="*/ 1786366 w 5495992"/>
                              <a:gd name="connsiteY379" fmla="*/ 440357 h 2374809"/>
                              <a:gd name="connsiteX380" fmla="*/ 1755680 w 5495992"/>
                              <a:gd name="connsiteY380" fmla="*/ 454628 h 2374809"/>
                              <a:gd name="connsiteX381" fmla="*/ 1717932 w 5495992"/>
                              <a:gd name="connsiteY381" fmla="*/ 455665 h 2374809"/>
                              <a:gd name="connsiteX382" fmla="*/ 1719312 w 5495992"/>
                              <a:gd name="connsiteY382" fmla="*/ 471039 h 2374809"/>
                              <a:gd name="connsiteX383" fmla="*/ 1717486 w 5495992"/>
                              <a:gd name="connsiteY383" fmla="*/ 485044 h 2374809"/>
                              <a:gd name="connsiteX384" fmla="*/ 1717242 w 5495992"/>
                              <a:gd name="connsiteY384" fmla="*/ 491027 h 2374809"/>
                              <a:gd name="connsiteX385" fmla="*/ 1700316 w 5495992"/>
                              <a:gd name="connsiteY385" fmla="*/ 495806 h 2374809"/>
                              <a:gd name="connsiteX386" fmla="*/ 1718662 w 5495992"/>
                              <a:gd name="connsiteY386" fmla="*/ 509945 h 2374809"/>
                              <a:gd name="connsiteX387" fmla="*/ 1744437 w 5495992"/>
                              <a:gd name="connsiteY387" fmla="*/ 528796 h 2374809"/>
                              <a:gd name="connsiteX388" fmla="*/ 1765016 w 5495992"/>
                              <a:gd name="connsiteY388" fmla="*/ 546677 h 2374809"/>
                              <a:gd name="connsiteX389" fmla="*/ 1717648 w 5495992"/>
                              <a:gd name="connsiteY389" fmla="*/ 540828 h 2374809"/>
                              <a:gd name="connsiteX390" fmla="*/ 1643693 w 5495992"/>
                              <a:gd name="connsiteY390" fmla="*/ 504764 h 2374809"/>
                              <a:gd name="connsiteX391" fmla="*/ 1564137 w 5495992"/>
                              <a:gd name="connsiteY391" fmla="*/ 473546 h 2374809"/>
                              <a:gd name="connsiteX392" fmla="*/ 1473379 w 5495992"/>
                              <a:gd name="connsiteY392" fmla="*/ 451086 h 2374809"/>
                              <a:gd name="connsiteX393" fmla="*/ 1410749 w 5495992"/>
                              <a:gd name="connsiteY393" fmla="*/ 433171 h 2374809"/>
                              <a:gd name="connsiteX394" fmla="*/ 1469685 w 5495992"/>
                              <a:gd name="connsiteY394" fmla="*/ 461480 h 2374809"/>
                              <a:gd name="connsiteX395" fmla="*/ 1472323 w 5495992"/>
                              <a:gd name="connsiteY395" fmla="*/ 472778 h 2374809"/>
                              <a:gd name="connsiteX396" fmla="*/ 1484297 w 5495992"/>
                              <a:gd name="connsiteY396" fmla="*/ 483841 h 2374809"/>
                              <a:gd name="connsiteX397" fmla="*/ 1452272 w 5495992"/>
                              <a:gd name="connsiteY397" fmla="*/ 486047 h 2374809"/>
                              <a:gd name="connsiteX398" fmla="*/ 1438350 w 5495992"/>
                              <a:gd name="connsiteY398" fmla="*/ 493734 h 2374809"/>
                              <a:gd name="connsiteX399" fmla="*/ 1427066 w 5495992"/>
                              <a:gd name="connsiteY399" fmla="*/ 480365 h 2374809"/>
                              <a:gd name="connsiteX400" fmla="*/ 1404904 w 5495992"/>
                              <a:gd name="connsiteY400" fmla="*/ 468499 h 2374809"/>
                              <a:gd name="connsiteX401" fmla="*/ 1370605 w 5495992"/>
                              <a:gd name="connsiteY401" fmla="*/ 470906 h 2374809"/>
                              <a:gd name="connsiteX402" fmla="*/ 1339514 w 5495992"/>
                              <a:gd name="connsiteY402" fmla="*/ 471441 h 2374809"/>
                              <a:gd name="connsiteX403" fmla="*/ 1277493 w 5495992"/>
                              <a:gd name="connsiteY403" fmla="*/ 464488 h 2374809"/>
                              <a:gd name="connsiteX404" fmla="*/ 1257198 w 5495992"/>
                              <a:gd name="connsiteY404" fmla="*/ 469870 h 2374809"/>
                              <a:gd name="connsiteX405" fmla="*/ 1215837 w 5495992"/>
                              <a:gd name="connsiteY405" fmla="*/ 462784 h 2374809"/>
                              <a:gd name="connsiteX406" fmla="*/ 1227202 w 5495992"/>
                              <a:gd name="connsiteY406" fmla="*/ 458706 h 2374809"/>
                              <a:gd name="connsiteX407" fmla="*/ 1229800 w 5495992"/>
                              <a:gd name="connsiteY407" fmla="*/ 454161 h 2374809"/>
                              <a:gd name="connsiteX408" fmla="*/ 1238527 w 5495992"/>
                              <a:gd name="connsiteY408" fmla="*/ 445537 h 2374809"/>
                              <a:gd name="connsiteX409" fmla="*/ 1191117 w 5495992"/>
                              <a:gd name="connsiteY409" fmla="*/ 443498 h 2374809"/>
                              <a:gd name="connsiteX410" fmla="*/ 1172365 w 5495992"/>
                              <a:gd name="connsiteY410" fmla="*/ 447509 h 2374809"/>
                              <a:gd name="connsiteX411" fmla="*/ 1139000 w 5495992"/>
                              <a:gd name="connsiteY411" fmla="*/ 442730 h 2374809"/>
                              <a:gd name="connsiteX412" fmla="*/ 1098005 w 5495992"/>
                              <a:gd name="connsiteY412" fmla="*/ 443298 h 2374809"/>
                              <a:gd name="connsiteX413" fmla="*/ 1066304 w 5495992"/>
                              <a:gd name="connsiteY413" fmla="*/ 448378 h 2374809"/>
                              <a:gd name="connsiteX414" fmla="*/ 1043696 w 5495992"/>
                              <a:gd name="connsiteY414" fmla="*/ 452255 h 2374809"/>
                              <a:gd name="connsiteX415" fmla="*/ 1003755 w 5495992"/>
                              <a:gd name="connsiteY415" fmla="*/ 455330 h 2374809"/>
                              <a:gd name="connsiteX416" fmla="*/ 993405 w 5495992"/>
                              <a:gd name="connsiteY416" fmla="*/ 469602 h 2374809"/>
                              <a:gd name="connsiteX417" fmla="*/ 955250 w 5495992"/>
                              <a:gd name="connsiteY417" fmla="*/ 466460 h 2374809"/>
                              <a:gd name="connsiteX418" fmla="*/ 927284 w 5495992"/>
                              <a:gd name="connsiteY418" fmla="*/ 458238 h 2374809"/>
                              <a:gd name="connsiteX419" fmla="*/ 910074 w 5495992"/>
                              <a:gd name="connsiteY419" fmla="*/ 441961 h 2374809"/>
                              <a:gd name="connsiteX420" fmla="*/ 939948 w 5495992"/>
                              <a:gd name="connsiteY420" fmla="*/ 436012 h 2374809"/>
                              <a:gd name="connsiteX421" fmla="*/ 971892 w 5495992"/>
                              <a:gd name="connsiteY421" fmla="*/ 437716 h 2374809"/>
                              <a:gd name="connsiteX422" fmla="*/ 952896 w 5495992"/>
                              <a:gd name="connsiteY422" fmla="*/ 420269 h 2374809"/>
                              <a:gd name="connsiteX423" fmla="*/ 915757 w 5495992"/>
                              <a:gd name="connsiteY423" fmla="*/ 409072 h 2374809"/>
                              <a:gd name="connsiteX424" fmla="*/ 866156 w 5495992"/>
                              <a:gd name="connsiteY424" fmla="*/ 401585 h 2374809"/>
                              <a:gd name="connsiteX425" fmla="*/ 871270 w 5495992"/>
                              <a:gd name="connsiteY425" fmla="*/ 408771 h 2374809"/>
                              <a:gd name="connsiteX426" fmla="*/ 860676 w 5495992"/>
                              <a:gd name="connsiteY426" fmla="*/ 444601 h 2374809"/>
                              <a:gd name="connsiteX427" fmla="*/ 884584 w 5495992"/>
                              <a:gd name="connsiteY427" fmla="*/ 455832 h 2374809"/>
                              <a:gd name="connsiteX428" fmla="*/ 872163 w 5495992"/>
                              <a:gd name="connsiteY428" fmla="*/ 471975 h 2374809"/>
                              <a:gd name="connsiteX429" fmla="*/ 855927 w 5495992"/>
                              <a:gd name="connsiteY429" fmla="*/ 472410 h 2374809"/>
                              <a:gd name="connsiteX430" fmla="*/ 846510 w 5495992"/>
                              <a:gd name="connsiteY430" fmla="*/ 466260 h 2374809"/>
                              <a:gd name="connsiteX431" fmla="*/ 825850 w 5495992"/>
                              <a:gd name="connsiteY431" fmla="*/ 461280 h 2374809"/>
                              <a:gd name="connsiteX432" fmla="*/ 789076 w 5495992"/>
                              <a:gd name="connsiteY432" fmla="*/ 461982 h 2374809"/>
                              <a:gd name="connsiteX433" fmla="*/ 751855 w 5495992"/>
                              <a:gd name="connsiteY433" fmla="*/ 465525 h 2374809"/>
                              <a:gd name="connsiteX434" fmla="*/ 717110 w 5495992"/>
                              <a:gd name="connsiteY434" fmla="*/ 475217 h 2374809"/>
                              <a:gd name="connsiteX435" fmla="*/ 733914 w 5495992"/>
                              <a:gd name="connsiteY435" fmla="*/ 498814 h 2374809"/>
                              <a:gd name="connsiteX436" fmla="*/ 689266 w 5495992"/>
                              <a:gd name="connsiteY436" fmla="*/ 495873 h 2374809"/>
                              <a:gd name="connsiteX437" fmla="*/ 654440 w 5495992"/>
                              <a:gd name="connsiteY437" fmla="*/ 489790 h 2374809"/>
                              <a:gd name="connsiteX438" fmla="*/ 619979 w 5495992"/>
                              <a:gd name="connsiteY438" fmla="*/ 475217 h 2374809"/>
                              <a:gd name="connsiteX439" fmla="*/ 600496 w 5495992"/>
                              <a:gd name="connsiteY439" fmla="*/ 480799 h 2374809"/>
                              <a:gd name="connsiteX440" fmla="*/ 606625 w 5495992"/>
                              <a:gd name="connsiteY440" fmla="*/ 493533 h 2374809"/>
                              <a:gd name="connsiteX441" fmla="*/ 644982 w 5495992"/>
                              <a:gd name="connsiteY441" fmla="*/ 508307 h 2374809"/>
                              <a:gd name="connsiteX442" fmla="*/ 606016 w 5495992"/>
                              <a:gd name="connsiteY442" fmla="*/ 510145 h 2374809"/>
                              <a:gd name="connsiteX443" fmla="*/ 588400 w 5495992"/>
                              <a:gd name="connsiteY443" fmla="*/ 506134 h 2374809"/>
                              <a:gd name="connsiteX444" fmla="*/ 557836 w 5495992"/>
                              <a:gd name="connsiteY444" fmla="*/ 494636 h 2374809"/>
                              <a:gd name="connsiteX445" fmla="*/ 540626 w 5495992"/>
                              <a:gd name="connsiteY445" fmla="*/ 486782 h 2374809"/>
                              <a:gd name="connsiteX446" fmla="*/ 534375 w 5495992"/>
                              <a:gd name="connsiteY446" fmla="*/ 470404 h 2374809"/>
                              <a:gd name="connsiteX447" fmla="*/ 536770 w 5495992"/>
                              <a:gd name="connsiteY447" fmla="*/ 459441 h 2374809"/>
                              <a:gd name="connsiteX448" fmla="*/ 535755 w 5495992"/>
                              <a:gd name="connsiteY448" fmla="*/ 443432 h 2374809"/>
                              <a:gd name="connsiteX449" fmla="*/ 508926 w 5495992"/>
                              <a:gd name="connsiteY449" fmla="*/ 436012 h 2374809"/>
                              <a:gd name="connsiteX450" fmla="*/ 489605 w 5495992"/>
                              <a:gd name="connsiteY450" fmla="*/ 426619 h 2374809"/>
                              <a:gd name="connsiteX451" fmla="*/ 463709 w 5495992"/>
                              <a:gd name="connsiteY451" fmla="*/ 413618 h 2374809"/>
                              <a:gd name="connsiteX452" fmla="*/ 449136 w 5495992"/>
                              <a:gd name="connsiteY452" fmla="*/ 405763 h 2374809"/>
                              <a:gd name="connsiteX453" fmla="*/ 462856 w 5495992"/>
                              <a:gd name="connsiteY453" fmla="*/ 406432 h 2374809"/>
                              <a:gd name="connsiteX454" fmla="*/ 486723 w 5495992"/>
                              <a:gd name="connsiteY454" fmla="*/ 416659 h 2374809"/>
                              <a:gd name="connsiteX455" fmla="*/ 550449 w 5495992"/>
                              <a:gd name="connsiteY455" fmla="*/ 431733 h 2374809"/>
                              <a:gd name="connsiteX456" fmla="*/ 680336 w 5495992"/>
                              <a:gd name="connsiteY456" fmla="*/ 455832 h 2374809"/>
                              <a:gd name="connsiteX457" fmla="*/ 773246 w 5495992"/>
                              <a:gd name="connsiteY457" fmla="*/ 440657 h 2374809"/>
                              <a:gd name="connsiteX458" fmla="*/ 763788 w 5495992"/>
                              <a:gd name="connsiteY458" fmla="*/ 418364 h 2374809"/>
                              <a:gd name="connsiteX459" fmla="*/ 722793 w 5495992"/>
                              <a:gd name="connsiteY459" fmla="*/ 401652 h 2374809"/>
                              <a:gd name="connsiteX460" fmla="*/ 690930 w 5495992"/>
                              <a:gd name="connsiteY460" fmla="*/ 390723 h 2374809"/>
                              <a:gd name="connsiteX461" fmla="*/ 645023 w 5495992"/>
                              <a:gd name="connsiteY461" fmla="*/ 373677 h 2374809"/>
                              <a:gd name="connsiteX462" fmla="*/ 582393 w 5495992"/>
                              <a:gd name="connsiteY462" fmla="*/ 353455 h 2374809"/>
                              <a:gd name="connsiteX463" fmla="*/ 564574 w 5495992"/>
                              <a:gd name="connsiteY463" fmla="*/ 350915 h 2374809"/>
                              <a:gd name="connsiteX464" fmla="*/ 541641 w 5495992"/>
                              <a:gd name="connsiteY464" fmla="*/ 345935 h 2374809"/>
                              <a:gd name="connsiteX465" fmla="*/ 515622 w 5495992"/>
                              <a:gd name="connsiteY465" fmla="*/ 346603 h 2374809"/>
                              <a:gd name="connsiteX466" fmla="*/ 488468 w 5495992"/>
                              <a:gd name="connsiteY466" fmla="*/ 342593 h 2374809"/>
                              <a:gd name="connsiteX467" fmla="*/ 484409 w 5495992"/>
                              <a:gd name="connsiteY467" fmla="*/ 335273 h 2374809"/>
                              <a:gd name="connsiteX468" fmla="*/ 463505 w 5495992"/>
                              <a:gd name="connsiteY468" fmla="*/ 324477 h 2374809"/>
                              <a:gd name="connsiteX469" fmla="*/ 423565 w 5495992"/>
                              <a:gd name="connsiteY469" fmla="*/ 324678 h 2374809"/>
                              <a:gd name="connsiteX470" fmla="*/ 387318 w 5495992"/>
                              <a:gd name="connsiteY470" fmla="*/ 332332 h 2374809"/>
                              <a:gd name="connsiteX471" fmla="*/ 359433 w 5495992"/>
                              <a:gd name="connsiteY471" fmla="*/ 336510 h 2374809"/>
                              <a:gd name="connsiteX472" fmla="*/ 342021 w 5495992"/>
                              <a:gd name="connsiteY472" fmla="*/ 345300 h 2374809"/>
                              <a:gd name="connsiteX473" fmla="*/ 334186 w 5495992"/>
                              <a:gd name="connsiteY473" fmla="*/ 365354 h 2374809"/>
                              <a:gd name="connsiteX474" fmla="*/ 371651 w 5495992"/>
                              <a:gd name="connsiteY474" fmla="*/ 380629 h 2374809"/>
                              <a:gd name="connsiteX475" fmla="*/ 349935 w 5495992"/>
                              <a:gd name="connsiteY475" fmla="*/ 411679 h 2374809"/>
                              <a:gd name="connsiteX476" fmla="*/ 378632 w 5495992"/>
                              <a:gd name="connsiteY476" fmla="*/ 438919 h 2374809"/>
                              <a:gd name="connsiteX477" fmla="*/ 361747 w 5495992"/>
                              <a:gd name="connsiteY477" fmla="*/ 451587 h 2374809"/>
                              <a:gd name="connsiteX478" fmla="*/ 366496 w 5495992"/>
                              <a:gd name="connsiteY478" fmla="*/ 459609 h 2374809"/>
                              <a:gd name="connsiteX479" fmla="*/ 361381 w 5495992"/>
                              <a:gd name="connsiteY479" fmla="*/ 464254 h 2374809"/>
                              <a:gd name="connsiteX480" fmla="*/ 374208 w 5495992"/>
                              <a:gd name="connsiteY480" fmla="*/ 470638 h 2374809"/>
                              <a:gd name="connsiteX481" fmla="*/ 374208 w 5495992"/>
                              <a:gd name="connsiteY481" fmla="*/ 480030 h 2374809"/>
                              <a:gd name="connsiteX482" fmla="*/ 373396 w 5495992"/>
                              <a:gd name="connsiteY482" fmla="*/ 492397 h 2374809"/>
                              <a:gd name="connsiteX483" fmla="*/ 388252 w 5495992"/>
                              <a:gd name="connsiteY483" fmla="*/ 506402 h 2374809"/>
                              <a:gd name="connsiteX484" fmla="*/ 416421 w 5495992"/>
                              <a:gd name="connsiteY484" fmla="*/ 527325 h 2374809"/>
                              <a:gd name="connsiteX485" fmla="*/ 375588 w 5495992"/>
                              <a:gd name="connsiteY485" fmla="*/ 543335 h 2374809"/>
                              <a:gd name="connsiteX486" fmla="*/ 339829 w 5495992"/>
                              <a:gd name="connsiteY486" fmla="*/ 559010 h 2374809"/>
                              <a:gd name="connsiteX487" fmla="*/ 289619 w 5495992"/>
                              <a:gd name="connsiteY487" fmla="*/ 577326 h 2374809"/>
                              <a:gd name="connsiteX488" fmla="*/ 321157 w 5495992"/>
                              <a:gd name="connsiteY488" fmla="*/ 585682 h 2374809"/>
                              <a:gd name="connsiteX489" fmla="*/ 355537 w 5495992"/>
                              <a:gd name="connsiteY489" fmla="*/ 595008 h 2374809"/>
                              <a:gd name="connsiteX490" fmla="*/ 321035 w 5495992"/>
                              <a:gd name="connsiteY490" fmla="*/ 595342 h 2374809"/>
                              <a:gd name="connsiteX491" fmla="*/ 287386 w 5495992"/>
                              <a:gd name="connsiteY491" fmla="*/ 603464 h 2374809"/>
                              <a:gd name="connsiteX492" fmla="*/ 269933 w 5495992"/>
                              <a:gd name="connsiteY492" fmla="*/ 619908 h 2374809"/>
                              <a:gd name="connsiteX493" fmla="*/ 275656 w 5495992"/>
                              <a:gd name="connsiteY493" fmla="*/ 641700 h 2374809"/>
                              <a:gd name="connsiteX494" fmla="*/ 265346 w 5495992"/>
                              <a:gd name="connsiteY494" fmla="*/ 652630 h 2374809"/>
                              <a:gd name="connsiteX495" fmla="*/ 274479 w 5495992"/>
                              <a:gd name="connsiteY495" fmla="*/ 662924 h 2374809"/>
                              <a:gd name="connsiteX496" fmla="*/ 277239 w 5495992"/>
                              <a:gd name="connsiteY496" fmla="*/ 672951 h 2374809"/>
                              <a:gd name="connsiteX497" fmla="*/ 295058 w 5495992"/>
                              <a:gd name="connsiteY497" fmla="*/ 690666 h 2374809"/>
                              <a:gd name="connsiteX498" fmla="*/ 315353 w 5495992"/>
                              <a:gd name="connsiteY498" fmla="*/ 692571 h 2374809"/>
                              <a:gd name="connsiteX499" fmla="*/ 335079 w 5495992"/>
                              <a:gd name="connsiteY499" fmla="*/ 699790 h 2374809"/>
                              <a:gd name="connsiteX500" fmla="*/ 374654 w 5495992"/>
                              <a:gd name="connsiteY500" fmla="*/ 720379 h 2374809"/>
                              <a:gd name="connsiteX501" fmla="*/ 415244 w 5495992"/>
                              <a:gd name="connsiteY501" fmla="*/ 753435 h 2374809"/>
                              <a:gd name="connsiteX502" fmla="*/ 415691 w 5495992"/>
                              <a:gd name="connsiteY502" fmla="*/ 767574 h 2374809"/>
                              <a:gd name="connsiteX503" fmla="*/ 386547 w 5495992"/>
                              <a:gd name="connsiteY503" fmla="*/ 765000 h 2374809"/>
                              <a:gd name="connsiteX504" fmla="*/ 391743 w 5495992"/>
                              <a:gd name="connsiteY504" fmla="*/ 785455 h 2374809"/>
                              <a:gd name="connsiteX505" fmla="*/ 418897 w 5495992"/>
                              <a:gd name="connsiteY505" fmla="*/ 788196 h 2374809"/>
                              <a:gd name="connsiteX506" fmla="*/ 451734 w 5495992"/>
                              <a:gd name="connsiteY506" fmla="*/ 789466 h 2374809"/>
                              <a:gd name="connsiteX507" fmla="*/ 472029 w 5495992"/>
                              <a:gd name="connsiteY507" fmla="*/ 803604 h 2374809"/>
                              <a:gd name="connsiteX508" fmla="*/ 513715 w 5495992"/>
                              <a:gd name="connsiteY508" fmla="*/ 832850 h 2374809"/>
                              <a:gd name="connsiteX509" fmla="*/ 535715 w 5495992"/>
                              <a:gd name="connsiteY509" fmla="*/ 842609 h 2374809"/>
                              <a:gd name="connsiteX510" fmla="*/ 557877 w 5495992"/>
                              <a:gd name="connsiteY510" fmla="*/ 845952 h 2374809"/>
                              <a:gd name="connsiteX511" fmla="*/ 576142 w 5495992"/>
                              <a:gd name="connsiteY511" fmla="*/ 846821 h 2374809"/>
                              <a:gd name="connsiteX512" fmla="*/ 651639 w 5495992"/>
                              <a:gd name="connsiteY512" fmla="*/ 871320 h 2374809"/>
                              <a:gd name="connsiteX513" fmla="*/ 652370 w 5495992"/>
                              <a:gd name="connsiteY513" fmla="*/ 884088 h 2374809"/>
                              <a:gd name="connsiteX514" fmla="*/ 646159 w 5495992"/>
                              <a:gd name="connsiteY514" fmla="*/ 893280 h 2374809"/>
                              <a:gd name="connsiteX515" fmla="*/ 644576 w 5495992"/>
                              <a:gd name="connsiteY515" fmla="*/ 907785 h 2374809"/>
                              <a:gd name="connsiteX516" fmla="*/ 614621 w 5495992"/>
                              <a:gd name="connsiteY516" fmla="*/ 905112 h 2374809"/>
                              <a:gd name="connsiteX517" fmla="*/ 588847 w 5495992"/>
                              <a:gd name="connsiteY517" fmla="*/ 912632 h 2374809"/>
                              <a:gd name="connsiteX518" fmla="*/ 620304 w 5495992"/>
                              <a:gd name="connsiteY518" fmla="*/ 921088 h 2374809"/>
                              <a:gd name="connsiteX519" fmla="*/ 579308 w 5495992"/>
                              <a:gd name="connsiteY519" fmla="*/ 931416 h 2374809"/>
                              <a:gd name="connsiteX520" fmla="*/ 583367 w 5495992"/>
                              <a:gd name="connsiteY520" fmla="*/ 943716 h 2374809"/>
                              <a:gd name="connsiteX521" fmla="*/ 559338 w 5495992"/>
                              <a:gd name="connsiteY521" fmla="*/ 955314 h 2374809"/>
                              <a:gd name="connsiteX522" fmla="*/ 597533 w 5495992"/>
                              <a:gd name="connsiteY522" fmla="*/ 982821 h 2374809"/>
                              <a:gd name="connsiteX523" fmla="*/ 624281 w 5495992"/>
                              <a:gd name="connsiteY523" fmla="*/ 999533 h 2374809"/>
                              <a:gd name="connsiteX524" fmla="*/ 644576 w 5495992"/>
                              <a:gd name="connsiteY524" fmla="*/ 1002073 h 2374809"/>
                              <a:gd name="connsiteX525" fmla="*/ 690321 w 5495992"/>
                              <a:gd name="connsiteY525" fmla="*/ 1014306 h 2374809"/>
                              <a:gd name="connsiteX526" fmla="*/ 731195 w 5495992"/>
                              <a:gd name="connsiteY526" fmla="*/ 1019621 h 2374809"/>
                              <a:gd name="connsiteX527" fmla="*/ 772921 w 5495992"/>
                              <a:gd name="connsiteY527" fmla="*/ 1035564 h 2374809"/>
                              <a:gd name="connsiteX528" fmla="*/ 814769 w 5495992"/>
                              <a:gd name="connsiteY528" fmla="*/ 1042249 h 2374809"/>
                              <a:gd name="connsiteX529" fmla="*/ 818828 w 5495992"/>
                              <a:gd name="connsiteY529" fmla="*/ 1052075 h 2374809"/>
                              <a:gd name="connsiteX530" fmla="*/ 832629 w 5495992"/>
                              <a:gd name="connsiteY530" fmla="*/ 1057523 h 2374809"/>
                              <a:gd name="connsiteX531" fmla="*/ 868429 w 5495992"/>
                              <a:gd name="connsiteY531" fmla="*/ 1075204 h 2374809"/>
                              <a:gd name="connsiteX532" fmla="*/ 906908 w 5495992"/>
                              <a:gd name="connsiteY532" fmla="*/ 1072363 h 2374809"/>
                              <a:gd name="connsiteX533" fmla="*/ 876263 w 5495992"/>
                              <a:gd name="connsiteY533" fmla="*/ 1040277 h 2374809"/>
                              <a:gd name="connsiteX534" fmla="*/ 868145 w 5495992"/>
                              <a:gd name="connsiteY534" fmla="*/ 1013805 h 2374809"/>
                              <a:gd name="connsiteX535" fmla="*/ 949324 w 5495992"/>
                              <a:gd name="connsiteY535" fmla="*/ 980682 h 2374809"/>
                              <a:gd name="connsiteX536" fmla="*/ 933819 w 5495992"/>
                              <a:gd name="connsiteY536" fmla="*/ 967647 h 2374809"/>
                              <a:gd name="connsiteX537" fmla="*/ 917583 w 5495992"/>
                              <a:gd name="connsiteY537" fmla="*/ 943616 h 2374809"/>
                              <a:gd name="connsiteX538" fmla="*/ 884259 w 5495992"/>
                              <a:gd name="connsiteY538" fmla="*/ 936931 h 2374809"/>
                              <a:gd name="connsiteX539" fmla="*/ 871311 w 5495992"/>
                              <a:gd name="connsiteY539" fmla="*/ 922191 h 2374809"/>
                              <a:gd name="connsiteX540" fmla="*/ 878130 w 5495992"/>
                              <a:gd name="connsiteY540" fmla="*/ 911395 h 2374809"/>
                              <a:gd name="connsiteX541" fmla="*/ 880403 w 5495992"/>
                              <a:gd name="connsiteY541" fmla="*/ 900633 h 2374809"/>
                              <a:gd name="connsiteX542" fmla="*/ 893879 w 5495992"/>
                              <a:gd name="connsiteY542" fmla="*/ 894249 h 2374809"/>
                              <a:gd name="connsiteX543" fmla="*/ 903539 w 5495992"/>
                              <a:gd name="connsiteY543" fmla="*/ 886361 h 2374809"/>
                              <a:gd name="connsiteX544" fmla="*/ 935727 w 5495992"/>
                              <a:gd name="connsiteY544" fmla="*/ 898494 h 2374809"/>
                              <a:gd name="connsiteX545" fmla="*/ 950095 w 5495992"/>
                              <a:gd name="connsiteY545" fmla="*/ 890773 h 2374809"/>
                              <a:gd name="connsiteX546" fmla="*/ 972298 w 5495992"/>
                              <a:gd name="connsiteY546" fmla="*/ 878640 h 2374809"/>
                              <a:gd name="connsiteX547" fmla="*/ 1006110 w 5495992"/>
                              <a:gd name="connsiteY547" fmla="*/ 875298 h 2374809"/>
                              <a:gd name="connsiteX548" fmla="*/ 1045725 w 5495992"/>
                              <a:gd name="connsiteY548" fmla="*/ 875532 h 2374809"/>
                              <a:gd name="connsiteX549" fmla="*/ 1072230 w 5495992"/>
                              <a:gd name="connsiteY549" fmla="*/ 874730 h 2374809"/>
                              <a:gd name="connsiteX550" fmla="*/ 1097517 w 5495992"/>
                              <a:gd name="connsiteY550" fmla="*/ 884757 h 2374809"/>
                              <a:gd name="connsiteX551" fmla="*/ 1128569 w 5495992"/>
                              <a:gd name="connsiteY551" fmla="*/ 896355 h 2374809"/>
                              <a:gd name="connsiteX552" fmla="*/ 1149513 w 5495992"/>
                              <a:gd name="connsiteY552" fmla="*/ 912598 h 2374809"/>
                              <a:gd name="connsiteX553" fmla="*/ 1162827 w 5495992"/>
                              <a:gd name="connsiteY553" fmla="*/ 909958 h 2374809"/>
                              <a:gd name="connsiteX554" fmla="*/ 1197165 w 5495992"/>
                              <a:gd name="connsiteY554" fmla="*/ 918180 h 2374809"/>
                              <a:gd name="connsiteX555" fmla="*/ 1223143 w 5495992"/>
                              <a:gd name="connsiteY555" fmla="*/ 914136 h 2374809"/>
                              <a:gd name="connsiteX556" fmla="*/ 1246198 w 5495992"/>
                              <a:gd name="connsiteY556" fmla="*/ 921756 h 2374809"/>
                              <a:gd name="connsiteX557" fmla="*/ 1271038 w 5495992"/>
                              <a:gd name="connsiteY557" fmla="*/ 920520 h 2374809"/>
                              <a:gd name="connsiteX558" fmla="*/ 1291333 w 5495992"/>
                              <a:gd name="connsiteY558" fmla="*/ 932251 h 2374809"/>
                              <a:gd name="connsiteX559" fmla="*/ 1314916 w 5495992"/>
                              <a:gd name="connsiteY559" fmla="*/ 942479 h 2374809"/>
                              <a:gd name="connsiteX560" fmla="*/ 1328636 w 5495992"/>
                              <a:gd name="connsiteY560" fmla="*/ 936964 h 2374809"/>
                              <a:gd name="connsiteX561" fmla="*/ 1376897 w 5495992"/>
                              <a:gd name="connsiteY561" fmla="*/ 944284 h 2374809"/>
                              <a:gd name="connsiteX562" fmla="*/ 1340731 w 5495992"/>
                              <a:gd name="connsiteY562" fmla="*/ 918815 h 2374809"/>
                              <a:gd name="connsiteX563" fmla="*/ 1355343 w 5495992"/>
                              <a:gd name="connsiteY563" fmla="*/ 912131 h 2374809"/>
                              <a:gd name="connsiteX564" fmla="*/ 1364436 w 5495992"/>
                              <a:gd name="connsiteY564" fmla="*/ 901468 h 2374809"/>
                              <a:gd name="connsiteX565" fmla="*/ 1409937 w 5495992"/>
                              <a:gd name="connsiteY565" fmla="*/ 899931 h 2374809"/>
                              <a:gd name="connsiteX566" fmla="*/ 1385583 w 5495992"/>
                              <a:gd name="connsiteY566" fmla="*/ 889302 h 2374809"/>
                              <a:gd name="connsiteX567" fmla="*/ 1385299 w 5495992"/>
                              <a:gd name="connsiteY567" fmla="*/ 873025 h 2374809"/>
                              <a:gd name="connsiteX568" fmla="*/ 1424630 w 5495992"/>
                              <a:gd name="connsiteY568" fmla="*/ 879108 h 2374809"/>
                              <a:gd name="connsiteX569" fmla="*/ 1474190 w 5495992"/>
                              <a:gd name="connsiteY569" fmla="*/ 882116 h 2374809"/>
                              <a:gd name="connsiteX570" fmla="*/ 1522127 w 5495992"/>
                              <a:gd name="connsiteY570" fmla="*/ 887497 h 2374809"/>
                              <a:gd name="connsiteX571" fmla="*/ 1563447 w 5495992"/>
                              <a:gd name="connsiteY571" fmla="*/ 890539 h 2374809"/>
                              <a:gd name="connsiteX572" fmla="*/ 1631882 w 5495992"/>
                              <a:gd name="connsiteY572" fmla="*/ 895185 h 2374809"/>
                              <a:gd name="connsiteX573" fmla="*/ 1686678 w 5495992"/>
                              <a:gd name="connsiteY573" fmla="*/ 901201 h 2374809"/>
                              <a:gd name="connsiteX574" fmla="*/ 1722194 w 5495992"/>
                              <a:gd name="connsiteY574" fmla="*/ 913534 h 2374809"/>
                              <a:gd name="connsiteX575" fmla="*/ 1724061 w 5495992"/>
                              <a:gd name="connsiteY575" fmla="*/ 925132 h 2374809"/>
                              <a:gd name="connsiteX576" fmla="*/ 1718541 w 5495992"/>
                              <a:gd name="connsiteY576" fmla="*/ 935159 h 2374809"/>
                              <a:gd name="connsiteX577" fmla="*/ 1748943 w 5495992"/>
                              <a:gd name="connsiteY577" fmla="*/ 939037 h 2374809"/>
                              <a:gd name="connsiteX578" fmla="*/ 1768872 w 5495992"/>
                              <a:gd name="connsiteY578" fmla="*/ 949064 h 2374809"/>
                              <a:gd name="connsiteX579" fmla="*/ 1791156 w 5495992"/>
                              <a:gd name="connsiteY579" fmla="*/ 955514 h 2374809"/>
                              <a:gd name="connsiteX580" fmla="*/ 1785879 w 5495992"/>
                              <a:gd name="connsiteY580" fmla="*/ 962567 h 2374809"/>
                              <a:gd name="connsiteX581" fmla="*/ 1801384 w 5495992"/>
                              <a:gd name="connsiteY581" fmla="*/ 967814 h 2374809"/>
                              <a:gd name="connsiteX582" fmla="*/ 1816444 w 5495992"/>
                              <a:gd name="connsiteY582" fmla="*/ 970522 h 2374809"/>
                              <a:gd name="connsiteX583" fmla="*/ 1836373 w 5495992"/>
                              <a:gd name="connsiteY583" fmla="*/ 970054 h 2374809"/>
                              <a:gd name="connsiteX584" fmla="*/ 1881021 w 5495992"/>
                              <a:gd name="connsiteY584" fmla="*/ 968349 h 2374809"/>
                              <a:gd name="connsiteX585" fmla="*/ 1900383 w 5495992"/>
                              <a:gd name="connsiteY585" fmla="*/ 971691 h 2374809"/>
                              <a:gd name="connsiteX586" fmla="*/ 1896689 w 5495992"/>
                              <a:gd name="connsiteY586" fmla="*/ 976638 h 2374809"/>
                              <a:gd name="connsiteX587" fmla="*/ 1911708 w 5495992"/>
                              <a:gd name="connsiteY587" fmla="*/ 991645 h 2374809"/>
                              <a:gd name="connsiteX588" fmla="*/ 1936061 w 5495992"/>
                              <a:gd name="connsiteY588" fmla="*/ 1014641 h 2374809"/>
                              <a:gd name="connsiteX589" fmla="*/ 1968533 w 5495992"/>
                              <a:gd name="connsiteY589" fmla="*/ 1068118 h 2374809"/>
                              <a:gd name="connsiteX590" fmla="*/ 2005916 w 5495992"/>
                              <a:gd name="connsiteY590" fmla="*/ 1074536 h 2374809"/>
                              <a:gd name="connsiteX591" fmla="*/ 2035019 w 5495992"/>
                              <a:gd name="connsiteY591" fmla="*/ 1092518 h 2374809"/>
                              <a:gd name="connsiteX592" fmla="*/ 2079262 w 5495992"/>
                              <a:gd name="connsiteY592" fmla="*/ 1098768 h 2374809"/>
                              <a:gd name="connsiteX593" fmla="*/ 2100125 w 5495992"/>
                              <a:gd name="connsiteY593" fmla="*/ 1114243 h 2374809"/>
                              <a:gd name="connsiteX594" fmla="*/ 2120420 w 5495992"/>
                              <a:gd name="connsiteY594" fmla="*/ 1129852 h 2374809"/>
                              <a:gd name="connsiteX595" fmla="*/ 2134099 w 5495992"/>
                              <a:gd name="connsiteY595" fmla="*/ 1146564 h 2374809"/>
                              <a:gd name="connsiteX596" fmla="*/ 2171198 w 5495992"/>
                              <a:gd name="connsiteY596" fmla="*/ 1154552 h 2374809"/>
                              <a:gd name="connsiteX597" fmla="*/ 2287690 w 5495992"/>
                              <a:gd name="connsiteY597" fmla="*/ 1174606 h 2374809"/>
                              <a:gd name="connsiteX598" fmla="*/ 2352188 w 5495992"/>
                              <a:gd name="connsiteY598" fmla="*/ 1180121 h 2374809"/>
                              <a:gd name="connsiteX599" fmla="*/ 2382427 w 5495992"/>
                              <a:gd name="connsiteY599" fmla="*/ 1192822 h 2374809"/>
                              <a:gd name="connsiteX600" fmla="*/ 2398378 w 5495992"/>
                              <a:gd name="connsiteY600" fmla="*/ 1207194 h 2374809"/>
                              <a:gd name="connsiteX601" fmla="*/ 2454961 w 5495992"/>
                              <a:gd name="connsiteY601" fmla="*/ 1233231 h 2374809"/>
                              <a:gd name="connsiteX602" fmla="*/ 2484713 w 5495992"/>
                              <a:gd name="connsiteY602" fmla="*/ 1239448 h 2374809"/>
                              <a:gd name="connsiteX603" fmla="*/ 2503871 w 5495992"/>
                              <a:gd name="connsiteY603" fmla="*/ 1231526 h 2374809"/>
                              <a:gd name="connsiteX604" fmla="*/ 2530498 w 5495992"/>
                              <a:gd name="connsiteY604" fmla="*/ 1210570 h 2374809"/>
                              <a:gd name="connsiteX605" fmla="*/ 2560413 w 5495992"/>
                              <a:gd name="connsiteY605" fmla="*/ 1215316 h 2374809"/>
                              <a:gd name="connsiteX606" fmla="*/ 2598405 w 5495992"/>
                              <a:gd name="connsiteY606" fmla="*/ 1235370 h 2374809"/>
                              <a:gd name="connsiteX607" fmla="*/ 2629497 w 5495992"/>
                              <a:gd name="connsiteY607" fmla="*/ 1252082 h 2374809"/>
                              <a:gd name="connsiteX608" fmla="*/ 2632825 w 5495992"/>
                              <a:gd name="connsiteY608" fmla="*/ 1268794 h 2374809"/>
                              <a:gd name="connsiteX609" fmla="*/ 2680315 w 5495992"/>
                              <a:gd name="connsiteY609" fmla="*/ 1299744 h 2374809"/>
                              <a:gd name="connsiteX610" fmla="*/ 2795793 w 5495992"/>
                              <a:gd name="connsiteY610" fmla="*/ 1344832 h 2374809"/>
                              <a:gd name="connsiteX611" fmla="*/ 2810893 w 5495992"/>
                              <a:gd name="connsiteY611" fmla="*/ 1363215 h 2374809"/>
                              <a:gd name="connsiteX612" fmla="*/ 2836748 w 5495992"/>
                              <a:gd name="connsiteY612" fmla="*/ 1375615 h 2374809"/>
                              <a:gd name="connsiteX613" fmla="*/ 2888378 w 5495992"/>
                              <a:gd name="connsiteY613" fmla="*/ 1396004 h 2374809"/>
                              <a:gd name="connsiteX614" fmla="*/ 2949263 w 5495992"/>
                              <a:gd name="connsiteY614" fmla="*/ 1410008 h 2374809"/>
                              <a:gd name="connsiteX615" fmla="*/ 2980517 w 5495992"/>
                              <a:gd name="connsiteY615" fmla="*/ 1411044 h 2374809"/>
                              <a:gd name="connsiteX616" fmla="*/ 3019280 w 5495992"/>
                              <a:gd name="connsiteY616" fmla="*/ 1422876 h 2374809"/>
                              <a:gd name="connsiteX617" fmla="*/ 3042700 w 5495992"/>
                              <a:gd name="connsiteY617" fmla="*/ 1438318 h 2374809"/>
                              <a:gd name="connsiteX618" fmla="*/ 3073102 w 5495992"/>
                              <a:gd name="connsiteY618" fmla="*/ 1452323 h 2374809"/>
                              <a:gd name="connsiteX619" fmla="*/ 3130659 w 5495992"/>
                              <a:gd name="connsiteY619" fmla="*/ 1473580 h 2374809"/>
                              <a:gd name="connsiteX620" fmla="*/ 3156514 w 5495992"/>
                              <a:gd name="connsiteY620" fmla="*/ 1469970 h 2374809"/>
                              <a:gd name="connsiteX621" fmla="*/ 3178757 w 5495992"/>
                              <a:gd name="connsiteY621" fmla="*/ 1461882 h 2374809"/>
                              <a:gd name="connsiteX622" fmla="*/ 3222919 w 5495992"/>
                              <a:gd name="connsiteY622" fmla="*/ 1445170 h 2374809"/>
                              <a:gd name="connsiteX623" fmla="*/ 3212122 w 5495992"/>
                              <a:gd name="connsiteY623" fmla="*/ 1434174 h 2374809"/>
                              <a:gd name="connsiteX624" fmla="*/ 3248410 w 5495992"/>
                              <a:gd name="connsiteY624" fmla="*/ 1433839 h 2374809"/>
                              <a:gd name="connsiteX625" fmla="*/ 3310269 w 5495992"/>
                              <a:gd name="connsiteY625" fmla="*/ 1457704 h 2374809"/>
                              <a:gd name="connsiteX626" fmla="*/ 3377972 w 5495992"/>
                              <a:gd name="connsiteY626" fmla="*/ 1499116 h 2374809"/>
                              <a:gd name="connsiteX627" fmla="*/ 3386739 w 5495992"/>
                              <a:gd name="connsiteY627" fmla="*/ 1517398 h 2374809"/>
                              <a:gd name="connsiteX628" fmla="*/ 3393396 w 5495992"/>
                              <a:gd name="connsiteY628" fmla="*/ 1535915 h 2374809"/>
                              <a:gd name="connsiteX629" fmla="*/ 3403381 w 5495992"/>
                              <a:gd name="connsiteY629" fmla="*/ 1581605 h 2374809"/>
                              <a:gd name="connsiteX630" fmla="*/ 3401717 w 5495992"/>
                              <a:gd name="connsiteY630" fmla="*/ 1595977 h 2374809"/>
                              <a:gd name="connsiteX631" fmla="*/ 3433620 w 5495992"/>
                              <a:gd name="connsiteY631" fmla="*/ 1618271 h 2374809"/>
                              <a:gd name="connsiteX632" fmla="*/ 3458827 w 5495992"/>
                              <a:gd name="connsiteY632" fmla="*/ 1638325 h 2374809"/>
                              <a:gd name="connsiteX633" fmla="*/ 3473277 w 5495992"/>
                              <a:gd name="connsiteY633" fmla="*/ 1658780 h 2374809"/>
                              <a:gd name="connsiteX634" fmla="*/ 3478554 w 5495992"/>
                              <a:gd name="connsiteY634" fmla="*/ 1679570 h 2374809"/>
                              <a:gd name="connsiteX635" fmla="*/ 3519874 w 5495992"/>
                              <a:gd name="connsiteY635" fmla="*/ 1699189 h 2374809"/>
                              <a:gd name="connsiteX636" fmla="*/ 3552671 w 5495992"/>
                              <a:gd name="connsiteY636" fmla="*/ 1705874 h 2374809"/>
                              <a:gd name="connsiteX637" fmla="*/ 3578120 w 5495992"/>
                              <a:gd name="connsiteY637" fmla="*/ 1715166 h 2374809"/>
                              <a:gd name="connsiteX638" fmla="*/ 3575603 w 5495992"/>
                              <a:gd name="connsiteY638" fmla="*/ 1732780 h 2374809"/>
                              <a:gd name="connsiteX639" fmla="*/ 3565822 w 5495992"/>
                              <a:gd name="connsiteY639" fmla="*/ 1733682 h 2374809"/>
                              <a:gd name="connsiteX640" fmla="*/ 3548205 w 5495992"/>
                              <a:gd name="connsiteY640" fmla="*/ 1741002 h 2374809"/>
                              <a:gd name="connsiteX641" fmla="*/ 3520767 w 5495992"/>
                              <a:gd name="connsiteY641" fmla="*/ 1746584 h 2374809"/>
                              <a:gd name="connsiteX642" fmla="*/ 3496413 w 5495992"/>
                              <a:gd name="connsiteY642" fmla="*/ 1751430 h 2374809"/>
                              <a:gd name="connsiteX643" fmla="*/ 3470760 w 5495992"/>
                              <a:gd name="connsiteY643" fmla="*/ 1739364 h 2374809"/>
                              <a:gd name="connsiteX644" fmla="*/ 3439100 w 5495992"/>
                              <a:gd name="connsiteY644" fmla="*/ 1733214 h 2374809"/>
                              <a:gd name="connsiteX645" fmla="*/ 3417019 w 5495992"/>
                              <a:gd name="connsiteY645" fmla="*/ 1770716 h 2374809"/>
                              <a:gd name="connsiteX646" fmla="*/ 3460044 w 5495992"/>
                              <a:gd name="connsiteY646" fmla="*/ 1789566 h 2374809"/>
                              <a:gd name="connsiteX647" fmla="*/ 3495764 w 5495992"/>
                              <a:gd name="connsiteY647" fmla="*/ 1805877 h 2374809"/>
                              <a:gd name="connsiteX648" fmla="*/ 3570245 w 5495992"/>
                              <a:gd name="connsiteY648" fmla="*/ 1808351 h 2374809"/>
                              <a:gd name="connsiteX649" fmla="*/ 3681746 w 5495992"/>
                              <a:gd name="connsiteY649" fmla="*/ 1799092 h 2374809"/>
                              <a:gd name="connsiteX650" fmla="*/ 3762926 w 5495992"/>
                              <a:gd name="connsiteY650" fmla="*/ 1785155 h 2374809"/>
                              <a:gd name="connsiteX651" fmla="*/ 3809887 w 5495992"/>
                              <a:gd name="connsiteY651" fmla="*/ 1750027 h 2374809"/>
                              <a:gd name="connsiteX652" fmla="*/ 3828356 w 5495992"/>
                              <a:gd name="connsiteY652" fmla="*/ 1745247 h 2374809"/>
                              <a:gd name="connsiteX653" fmla="*/ 3841507 w 5495992"/>
                              <a:gd name="connsiteY653" fmla="*/ 1734986 h 2374809"/>
                              <a:gd name="connsiteX654" fmla="*/ 3847636 w 5495992"/>
                              <a:gd name="connsiteY654" fmla="*/ 1723421 h 2374809"/>
                              <a:gd name="connsiteX655" fmla="*/ 3848164 w 5495992"/>
                              <a:gd name="connsiteY655" fmla="*/ 1711155 h 2374809"/>
                              <a:gd name="connsiteX656" fmla="*/ 3835987 w 5495992"/>
                              <a:gd name="connsiteY656" fmla="*/ 1694777 h 2374809"/>
                              <a:gd name="connsiteX657" fmla="*/ 3819386 w 5495992"/>
                              <a:gd name="connsiteY657" fmla="*/ 1674489 h 2374809"/>
                              <a:gd name="connsiteX658" fmla="*/ 3798279 w 5495992"/>
                              <a:gd name="connsiteY658" fmla="*/ 1662590 h 2374809"/>
                              <a:gd name="connsiteX659" fmla="*/ 3784519 w 5495992"/>
                              <a:gd name="connsiteY659" fmla="*/ 1664328 h 2374809"/>
                              <a:gd name="connsiteX660" fmla="*/ 3747379 w 5495992"/>
                              <a:gd name="connsiteY660" fmla="*/ 1656407 h 2374809"/>
                              <a:gd name="connsiteX661" fmla="*/ 3755497 w 5495992"/>
                              <a:gd name="connsiteY661" fmla="*/ 1651627 h 2374809"/>
                              <a:gd name="connsiteX662" fmla="*/ 3764549 w 5495992"/>
                              <a:gd name="connsiteY662" fmla="*/ 1641901 h 2374809"/>
                              <a:gd name="connsiteX663" fmla="*/ 3730575 w 5495992"/>
                              <a:gd name="connsiteY663" fmla="*/ 1635684 h 2374809"/>
                              <a:gd name="connsiteX664" fmla="*/ 3740682 w 5495992"/>
                              <a:gd name="connsiteY664" fmla="*/ 1625122 h 2374809"/>
                              <a:gd name="connsiteX665" fmla="*/ 3716328 w 5495992"/>
                              <a:gd name="connsiteY665" fmla="*/ 1612622 h 2374809"/>
                              <a:gd name="connsiteX666" fmla="*/ 3725096 w 5495992"/>
                              <a:gd name="connsiteY666" fmla="*/ 1599253 h 2374809"/>
                              <a:gd name="connsiteX667" fmla="*/ 3747258 w 5495992"/>
                              <a:gd name="connsiteY667" fmla="*/ 1599620 h 2374809"/>
                              <a:gd name="connsiteX668" fmla="*/ 3782570 w 5495992"/>
                              <a:gd name="connsiteY668" fmla="*/ 1605369 h 2374809"/>
                              <a:gd name="connsiteX669" fmla="*/ 3833023 w 5495992"/>
                              <a:gd name="connsiteY669" fmla="*/ 1605369 h 2374809"/>
                              <a:gd name="connsiteX670" fmla="*/ 3908521 w 5495992"/>
                              <a:gd name="connsiteY670" fmla="*/ 1610917 h 2374809"/>
                              <a:gd name="connsiteX671" fmla="*/ 3955361 w 5495992"/>
                              <a:gd name="connsiteY671" fmla="*/ 1613625 h 2374809"/>
                              <a:gd name="connsiteX672" fmla="*/ 4015150 w 5495992"/>
                              <a:gd name="connsiteY672" fmla="*/ 1626092 h 2374809"/>
                              <a:gd name="connsiteX673" fmla="*/ 4074452 w 5495992"/>
                              <a:gd name="connsiteY673" fmla="*/ 1658546 h 2374809"/>
                              <a:gd name="connsiteX674" fmla="*/ 4093367 w 5495992"/>
                              <a:gd name="connsiteY674" fmla="*/ 1674289 h 2374809"/>
                              <a:gd name="connsiteX675" fmla="*/ 4118857 w 5495992"/>
                              <a:gd name="connsiteY675" fmla="*/ 1684650 h 2374809"/>
                              <a:gd name="connsiteX676" fmla="*/ 4146214 w 5495992"/>
                              <a:gd name="connsiteY676" fmla="*/ 1698019 h 2374809"/>
                              <a:gd name="connsiteX677" fmla="*/ 4171867 w 5495992"/>
                              <a:gd name="connsiteY677" fmla="*/ 1712793 h 2374809"/>
                              <a:gd name="connsiteX678" fmla="*/ 4198412 w 5495992"/>
                              <a:gd name="connsiteY678" fmla="*/ 1716402 h 2374809"/>
                              <a:gd name="connsiteX679" fmla="*/ 4224269 w 5495992"/>
                              <a:gd name="connsiteY679" fmla="*/ 1731744 h 2374809"/>
                              <a:gd name="connsiteX680" fmla="*/ 4238881 w 5495992"/>
                              <a:gd name="connsiteY680" fmla="*/ 1746116 h 2374809"/>
                              <a:gd name="connsiteX681" fmla="*/ 4257633 w 5495992"/>
                              <a:gd name="connsiteY681" fmla="*/ 1758650 h 2374809"/>
                              <a:gd name="connsiteX682" fmla="*/ 4260393 w 5495992"/>
                              <a:gd name="connsiteY682" fmla="*/ 1769479 h 2374809"/>
                              <a:gd name="connsiteX683" fmla="*/ 4240748 w 5495992"/>
                              <a:gd name="connsiteY683" fmla="*/ 1766137 h 2374809"/>
                              <a:gd name="connsiteX684" fmla="*/ 4271758 w 5495992"/>
                              <a:gd name="connsiteY684" fmla="*/ 1780743 h 2374809"/>
                              <a:gd name="connsiteX685" fmla="*/ 4310847 w 5495992"/>
                              <a:gd name="connsiteY685" fmla="*/ 1798056 h 2374809"/>
                              <a:gd name="connsiteX686" fmla="*/ 4331425 w 5495992"/>
                              <a:gd name="connsiteY686" fmla="*/ 1809019 h 2374809"/>
                              <a:gd name="connsiteX687" fmla="*/ 4361381 w 5495992"/>
                              <a:gd name="connsiteY687" fmla="*/ 1823024 h 2374809"/>
                              <a:gd name="connsiteX688" fmla="*/ 4343683 w 5495992"/>
                              <a:gd name="connsiteY688" fmla="*/ 1801298 h 2374809"/>
                              <a:gd name="connsiteX689" fmla="*/ 4395192 w 5495992"/>
                              <a:gd name="connsiteY689" fmla="*/ 1800730 h 2374809"/>
                              <a:gd name="connsiteX690" fmla="*/ 4443047 w 5495992"/>
                              <a:gd name="connsiteY690" fmla="*/ 1811426 h 2374809"/>
                              <a:gd name="connsiteX691" fmla="*/ 4473814 w 5495992"/>
                              <a:gd name="connsiteY691" fmla="*/ 1810590 h 2374809"/>
                              <a:gd name="connsiteX692" fmla="*/ 4526134 w 5495992"/>
                              <a:gd name="connsiteY692" fmla="*/ 1837329 h 2374809"/>
                              <a:gd name="connsiteX693" fmla="*/ 4549920 w 5495992"/>
                              <a:gd name="connsiteY693" fmla="*/ 1854876 h 2374809"/>
                              <a:gd name="connsiteX694" fmla="*/ 4538150 w 5495992"/>
                              <a:gd name="connsiteY694" fmla="*/ 1862463 h 2374809"/>
                              <a:gd name="connsiteX695" fmla="*/ 4545821 w 5495992"/>
                              <a:gd name="connsiteY695" fmla="*/ 1880880 h 2374809"/>
                              <a:gd name="connsiteX696" fmla="*/ 4532954 w 5495992"/>
                              <a:gd name="connsiteY696" fmla="*/ 1880880 h 2374809"/>
                              <a:gd name="connsiteX697" fmla="*/ 4555846 w 5495992"/>
                              <a:gd name="connsiteY697" fmla="*/ 1890907 h 2374809"/>
                              <a:gd name="connsiteX698" fmla="*/ 4630856 w 5495992"/>
                              <a:gd name="connsiteY698" fmla="*/ 1913167 h 2374809"/>
                              <a:gd name="connsiteX699" fmla="*/ 4660202 w 5495992"/>
                              <a:gd name="connsiteY699" fmla="*/ 1902705 h 2374809"/>
                              <a:gd name="connsiteX700" fmla="*/ 4711468 w 5495992"/>
                              <a:gd name="connsiteY700" fmla="*/ 1935494 h 2374809"/>
                              <a:gd name="connsiteX701" fmla="*/ 4679767 w 5495992"/>
                              <a:gd name="connsiteY701" fmla="*/ 1922125 h 2374809"/>
                              <a:gd name="connsiteX702" fmla="*/ 4657117 w 5495992"/>
                              <a:gd name="connsiteY702" fmla="*/ 1931483 h 2374809"/>
                              <a:gd name="connsiteX703" fmla="*/ 4655738 w 5495992"/>
                              <a:gd name="connsiteY703" fmla="*/ 1937031 h 2374809"/>
                              <a:gd name="connsiteX704" fmla="*/ 4644616 w 5495992"/>
                              <a:gd name="connsiteY704" fmla="*/ 1934993 h 2374809"/>
                              <a:gd name="connsiteX705" fmla="*/ 4634712 w 5495992"/>
                              <a:gd name="connsiteY705" fmla="*/ 1938335 h 2374809"/>
                              <a:gd name="connsiteX706" fmla="*/ 4612916 w 5495992"/>
                              <a:gd name="connsiteY706" fmla="*/ 1929110 h 2374809"/>
                              <a:gd name="connsiteX707" fmla="*/ 4582717 w 5495992"/>
                              <a:gd name="connsiteY707" fmla="*/ 1920219 h 2374809"/>
                              <a:gd name="connsiteX708" fmla="*/ 4548216 w 5495992"/>
                              <a:gd name="connsiteY708" fmla="*/ 1917913 h 2374809"/>
                              <a:gd name="connsiteX709" fmla="*/ 4517570 w 5495992"/>
                              <a:gd name="connsiteY709" fmla="*/ 1913234 h 2374809"/>
                              <a:gd name="connsiteX710" fmla="*/ 4466955 w 5495992"/>
                              <a:gd name="connsiteY710" fmla="*/ 1908588 h 2374809"/>
                              <a:gd name="connsiteX711" fmla="*/ 4411266 w 5495992"/>
                              <a:gd name="connsiteY711" fmla="*/ 1895486 h 2374809"/>
                              <a:gd name="connsiteX712" fmla="*/ 4382325 w 5495992"/>
                              <a:gd name="connsiteY712" fmla="*/ 1881548 h 2374809"/>
                              <a:gd name="connsiteX713" fmla="*/ 4377454 w 5495992"/>
                              <a:gd name="connsiteY713" fmla="*/ 1887999 h 2374809"/>
                              <a:gd name="connsiteX714" fmla="*/ 4352533 w 5495992"/>
                              <a:gd name="connsiteY714" fmla="*/ 1892779 h 2374809"/>
                              <a:gd name="connsiteX715" fmla="*/ 4278375 w 5495992"/>
                              <a:gd name="connsiteY715" fmla="*/ 1961029 h 2374809"/>
                              <a:gd name="connsiteX716" fmla="*/ 4276061 w 5495992"/>
                              <a:gd name="connsiteY716" fmla="*/ 1976471 h 2374809"/>
                              <a:gd name="connsiteX717" fmla="*/ 4264940 w 5495992"/>
                              <a:gd name="connsiteY717" fmla="*/ 1995857 h 2374809"/>
                              <a:gd name="connsiteX718" fmla="*/ 4265670 w 5495992"/>
                              <a:gd name="connsiteY718" fmla="*/ 2013973 h 2374809"/>
                              <a:gd name="connsiteX719" fmla="*/ 4304230 w 5495992"/>
                              <a:gd name="connsiteY719" fmla="*/ 2017850 h 2374809"/>
                              <a:gd name="connsiteX720" fmla="*/ 4333253 w 5495992"/>
                              <a:gd name="connsiteY720" fmla="*/ 2016914 h 2374809"/>
                              <a:gd name="connsiteX721" fmla="*/ 4352694 w 5495992"/>
                              <a:gd name="connsiteY721" fmla="*/ 2009561 h 2374809"/>
                              <a:gd name="connsiteX722" fmla="*/ 4385775 w 5495992"/>
                              <a:gd name="connsiteY722" fmla="*/ 2021392 h 2374809"/>
                              <a:gd name="connsiteX723" fmla="*/ 4401037 w 5495992"/>
                              <a:gd name="connsiteY723" fmla="*/ 2009561 h 2374809"/>
                              <a:gd name="connsiteX724" fmla="*/ 4437568 w 5495992"/>
                              <a:gd name="connsiteY724" fmla="*/ 2015243 h 2374809"/>
                              <a:gd name="connsiteX725" fmla="*/ 4473611 w 5495992"/>
                              <a:gd name="connsiteY725" fmla="*/ 2033325 h 2374809"/>
                              <a:gd name="connsiteX726" fmla="*/ 4481080 w 5495992"/>
                              <a:gd name="connsiteY726" fmla="*/ 2016613 h 2374809"/>
                              <a:gd name="connsiteX727" fmla="*/ 4507585 w 5495992"/>
                              <a:gd name="connsiteY727" fmla="*/ 2010831 h 2374809"/>
                              <a:gd name="connsiteX728" fmla="*/ 4538270 w 5495992"/>
                              <a:gd name="connsiteY728" fmla="*/ 2025704 h 2374809"/>
                              <a:gd name="connsiteX729" fmla="*/ 4533400 w 5495992"/>
                              <a:gd name="connsiteY729" fmla="*/ 2008290 h 2374809"/>
                              <a:gd name="connsiteX730" fmla="*/ 4541518 w 5495992"/>
                              <a:gd name="connsiteY730" fmla="*/ 1996559 h 2374809"/>
                              <a:gd name="connsiteX731" fmla="*/ 4562787 w 5495992"/>
                              <a:gd name="connsiteY731" fmla="*/ 1992314 h 2374809"/>
                              <a:gd name="connsiteX732" fmla="*/ 4536079 w 5495992"/>
                              <a:gd name="connsiteY732" fmla="*/ 1972260 h 2374809"/>
                              <a:gd name="connsiteX733" fmla="*/ 4565385 w 5495992"/>
                              <a:gd name="connsiteY733" fmla="*/ 1963804 h 2374809"/>
                              <a:gd name="connsiteX734" fmla="*/ 4632521 w 5495992"/>
                              <a:gd name="connsiteY734" fmla="*/ 1966043 h 2374809"/>
                              <a:gd name="connsiteX735" fmla="*/ 4651029 w 5495992"/>
                              <a:gd name="connsiteY735" fmla="*/ 1983423 h 2374809"/>
                              <a:gd name="connsiteX736" fmla="*/ 4680254 w 5495992"/>
                              <a:gd name="connsiteY736" fmla="*/ 1987735 h 2374809"/>
                              <a:gd name="connsiteX737" fmla="*/ 4701239 w 5495992"/>
                              <a:gd name="connsiteY737" fmla="*/ 2012970 h 2374809"/>
                              <a:gd name="connsiteX738" fmla="*/ 4781688 w 5495992"/>
                              <a:gd name="connsiteY738" fmla="*/ 2048232 h 2374809"/>
                              <a:gd name="connsiteX739" fmla="*/ 4803079 w 5495992"/>
                              <a:gd name="connsiteY739" fmla="*/ 2071628 h 2374809"/>
                              <a:gd name="connsiteX740" fmla="*/ 4820572 w 5495992"/>
                              <a:gd name="connsiteY740" fmla="*/ 2083527 h 2374809"/>
                              <a:gd name="connsiteX741" fmla="*/ 4861528 w 5495992"/>
                              <a:gd name="connsiteY741" fmla="*/ 2095961 h 2374809"/>
                              <a:gd name="connsiteX742" fmla="*/ 4897003 w 5495992"/>
                              <a:gd name="connsiteY742" fmla="*/ 2106924 h 2374809"/>
                              <a:gd name="connsiteX743" fmla="*/ 4970512 w 5495992"/>
                              <a:gd name="connsiteY743" fmla="*/ 2131690 h 2374809"/>
                              <a:gd name="connsiteX744" fmla="*/ 5050148 w 5495992"/>
                              <a:gd name="connsiteY744" fmla="*/ 2165114 h 2374809"/>
                              <a:gd name="connsiteX745" fmla="*/ 5063989 w 5495992"/>
                              <a:gd name="connsiteY745" fmla="*/ 2173771 h 2374809"/>
                              <a:gd name="connsiteX746" fmla="*/ 5098937 w 5495992"/>
                              <a:gd name="connsiteY746" fmla="*/ 2205556 h 2374809"/>
                              <a:gd name="connsiteX747" fmla="*/ 5123088 w 5495992"/>
                              <a:gd name="connsiteY747" fmla="*/ 2187642 h 2374809"/>
                              <a:gd name="connsiteX748" fmla="*/ 5113630 w 5495992"/>
                              <a:gd name="connsiteY748" fmla="*/ 2150441 h 2374809"/>
                              <a:gd name="connsiteX749" fmla="*/ 5109571 w 5495992"/>
                              <a:gd name="connsiteY749" fmla="*/ 2130654 h 2374809"/>
                              <a:gd name="connsiteX750" fmla="*/ 5082254 w 5495992"/>
                              <a:gd name="connsiteY750" fmla="*/ 2109698 h 2374809"/>
                              <a:gd name="connsiteX751" fmla="*/ 5107218 w 5495992"/>
                              <a:gd name="connsiteY751" fmla="*/ 2116850 h 2374809"/>
                              <a:gd name="connsiteX752" fmla="*/ 5129014 w 5495992"/>
                              <a:gd name="connsiteY752" fmla="*/ 2146932 h 2374809"/>
                              <a:gd name="connsiteX753" fmla="*/ 5199641 w 5495992"/>
                              <a:gd name="connsiteY753" fmla="*/ 2180121 h 2374809"/>
                              <a:gd name="connsiteX754" fmla="*/ 5222006 w 5495992"/>
                              <a:gd name="connsiteY754" fmla="*/ 2177949 h 2374809"/>
                              <a:gd name="connsiteX755" fmla="*/ 5216119 w 5495992"/>
                              <a:gd name="connsiteY755" fmla="*/ 2163844 h 2374809"/>
                              <a:gd name="connsiteX756" fmla="*/ 5231422 w 5495992"/>
                              <a:gd name="connsiteY756" fmla="*/ 2165950 h 2374809"/>
                              <a:gd name="connsiteX757" fmla="*/ 5260566 w 5495992"/>
                              <a:gd name="connsiteY757" fmla="*/ 2179954 h 2374809"/>
                              <a:gd name="connsiteX758" fmla="*/ 5242463 w 5495992"/>
                              <a:gd name="connsiteY758" fmla="*/ 2186639 h 2374809"/>
                              <a:gd name="connsiteX759" fmla="*/ 5260809 w 5495992"/>
                              <a:gd name="connsiteY759" fmla="*/ 2212241 h 2374809"/>
                              <a:gd name="connsiteX760" fmla="*/ 5308421 w 5495992"/>
                              <a:gd name="connsiteY760" fmla="*/ 2262143 h 2374809"/>
                              <a:gd name="connsiteX761" fmla="*/ 5328473 w 5495992"/>
                              <a:gd name="connsiteY761" fmla="*/ 2297538 h 2374809"/>
                              <a:gd name="connsiteX762" fmla="*/ 5338254 w 5495992"/>
                              <a:gd name="connsiteY762" fmla="*/ 2309671 h 2374809"/>
                              <a:gd name="connsiteX763" fmla="*/ 5353313 w 5495992"/>
                              <a:gd name="connsiteY763" fmla="*/ 2328355 h 2374809"/>
                              <a:gd name="connsiteX764" fmla="*/ 5380468 w 5495992"/>
                              <a:gd name="connsiteY764" fmla="*/ 2348242 h 2374809"/>
                              <a:gd name="connsiteX765" fmla="*/ 5376409 w 5495992"/>
                              <a:gd name="connsiteY765" fmla="*/ 2332065 h 2374809"/>
                              <a:gd name="connsiteX766" fmla="*/ 5392645 w 5495992"/>
                              <a:gd name="connsiteY766" fmla="*/ 2343730 h 2374809"/>
                              <a:gd name="connsiteX767" fmla="*/ 5406283 w 5495992"/>
                              <a:gd name="connsiteY767" fmla="*/ 2335307 h 2374809"/>
                              <a:gd name="connsiteX768" fmla="*/ 5413670 w 5495992"/>
                              <a:gd name="connsiteY768" fmla="*/ 2324210 h 2374809"/>
                              <a:gd name="connsiteX769" fmla="*/ 5448699 w 5495992"/>
                              <a:gd name="connsiteY769" fmla="*/ 2358703 h 2374809"/>
                              <a:gd name="connsiteX770" fmla="*/ 5440865 w 5495992"/>
                              <a:gd name="connsiteY770" fmla="*/ 2345869 h 2374809"/>
                              <a:gd name="connsiteX771" fmla="*/ 5463717 w 5495992"/>
                              <a:gd name="connsiteY771" fmla="*/ 2364920 h 2374809"/>
                              <a:gd name="connsiteX772" fmla="*/ 5480481 w 5495992"/>
                              <a:gd name="connsiteY772" fmla="*/ 2366224 h 2374809"/>
                              <a:gd name="connsiteX773" fmla="*/ 5492658 w 5495992"/>
                              <a:gd name="connsiteY773" fmla="*/ 2368864 h 2374809"/>
                              <a:gd name="connsiteX774" fmla="*/ 2856475 w 5495992"/>
                              <a:gd name="connsiteY774" fmla="*/ 1286441 h 2374809"/>
                              <a:gd name="connsiteX775" fmla="*/ 2777162 w 5495992"/>
                              <a:gd name="connsiteY775" fmla="*/ 1279757 h 2374809"/>
                              <a:gd name="connsiteX776" fmla="*/ 2761576 w 5495992"/>
                              <a:gd name="connsiteY776" fmla="*/ 1285305 h 2374809"/>
                              <a:gd name="connsiteX777" fmla="*/ 2727643 w 5495992"/>
                              <a:gd name="connsiteY777" fmla="*/ 1282230 h 2374809"/>
                              <a:gd name="connsiteX778" fmla="*/ 2697931 w 5495992"/>
                              <a:gd name="connsiteY778" fmla="*/ 1269061 h 2374809"/>
                              <a:gd name="connsiteX779" fmla="*/ 2764052 w 5495992"/>
                              <a:gd name="connsiteY779" fmla="*/ 1269696 h 2374809"/>
                              <a:gd name="connsiteX780" fmla="*/ 2843324 w 5495992"/>
                              <a:gd name="connsiteY780" fmla="*/ 1264883 h 2374809"/>
                              <a:gd name="connsiteX781" fmla="*/ 2914964 w 5495992"/>
                              <a:gd name="connsiteY781" fmla="*/ 1242790 h 2374809"/>
                              <a:gd name="connsiteX782" fmla="*/ 2907253 w 5495992"/>
                              <a:gd name="connsiteY782" fmla="*/ 1263646 h 2374809"/>
                              <a:gd name="connsiteX783" fmla="*/ 2856475 w 5495992"/>
                              <a:gd name="connsiteY783" fmla="*/ 1286575 h 2374809"/>
                              <a:gd name="connsiteX784" fmla="*/ 3272236 w 5495992"/>
                              <a:gd name="connsiteY784" fmla="*/ 790669 h 2374809"/>
                              <a:gd name="connsiteX785" fmla="*/ 3250521 w 5495992"/>
                              <a:gd name="connsiteY785" fmla="*/ 792875 h 2374809"/>
                              <a:gd name="connsiteX786" fmla="*/ 3296224 w 5495992"/>
                              <a:gd name="connsiteY786" fmla="*/ 809587 h 2374809"/>
                              <a:gd name="connsiteX787" fmla="*/ 3272236 w 5495992"/>
                              <a:gd name="connsiteY787" fmla="*/ 790536 h 2374809"/>
                              <a:gd name="connsiteX788" fmla="*/ 1454951 w 5495992"/>
                              <a:gd name="connsiteY788" fmla="*/ 46493 h 2374809"/>
                              <a:gd name="connsiteX789" fmla="*/ 1482227 w 5495992"/>
                              <a:gd name="connsiteY789" fmla="*/ 45189 h 2374809"/>
                              <a:gd name="connsiteX790" fmla="*/ 1518393 w 5495992"/>
                              <a:gd name="connsiteY790" fmla="*/ 50404 h 2374809"/>
                              <a:gd name="connsiteX791" fmla="*/ 1519813 w 5495992"/>
                              <a:gd name="connsiteY791" fmla="*/ 44321 h 2374809"/>
                              <a:gd name="connsiteX792" fmla="*/ 1484419 w 5495992"/>
                              <a:gd name="connsiteY792" fmla="*/ 37168 h 2374809"/>
                              <a:gd name="connsiteX793" fmla="*/ 1460715 w 5495992"/>
                              <a:gd name="connsiteY793" fmla="*/ 35630 h 2374809"/>
                              <a:gd name="connsiteX794" fmla="*/ 1455600 w 5495992"/>
                              <a:gd name="connsiteY794" fmla="*/ 38271 h 2374809"/>
                              <a:gd name="connsiteX795" fmla="*/ 1408110 w 5495992"/>
                              <a:gd name="connsiteY795" fmla="*/ 32756 h 2374809"/>
                              <a:gd name="connsiteX796" fmla="*/ 1454951 w 5495992"/>
                              <a:gd name="connsiteY796" fmla="*/ 46493 h 2374809"/>
                              <a:gd name="connsiteX797" fmla="*/ 1311507 w 5495992"/>
                              <a:gd name="connsiteY797" fmla="*/ 58325 h 2374809"/>
                              <a:gd name="connsiteX798" fmla="*/ 1265072 w 5495992"/>
                              <a:gd name="connsiteY798" fmla="*/ 53980 h 2374809"/>
                              <a:gd name="connsiteX799" fmla="*/ 1311547 w 5495992"/>
                              <a:gd name="connsiteY799" fmla="*/ 58325 h 2374809"/>
                              <a:gd name="connsiteX800" fmla="*/ 1453896 w 5495992"/>
                              <a:gd name="connsiteY800" fmla="*/ 74101 h 2374809"/>
                              <a:gd name="connsiteX801" fmla="*/ 1401373 w 5495992"/>
                              <a:gd name="connsiteY801" fmla="*/ 80451 h 2374809"/>
                              <a:gd name="connsiteX802" fmla="*/ 1479589 w 5495992"/>
                              <a:gd name="connsiteY802" fmla="*/ 91448 h 2374809"/>
                              <a:gd name="connsiteX803" fmla="*/ 1512669 w 5495992"/>
                              <a:gd name="connsiteY803" fmla="*/ 84329 h 2374809"/>
                              <a:gd name="connsiteX804" fmla="*/ 1453896 w 5495992"/>
                              <a:gd name="connsiteY804" fmla="*/ 74101 h 2374809"/>
                              <a:gd name="connsiteX805" fmla="*/ 1453936 w 5495992"/>
                              <a:gd name="connsiteY805" fmla="*/ 74101 h 2374809"/>
                              <a:gd name="connsiteX806" fmla="*/ 1642679 w 5495992"/>
                              <a:gd name="connsiteY806" fmla="*/ 97130 h 2374809"/>
                              <a:gd name="connsiteX807" fmla="*/ 1604118 w 5495992"/>
                              <a:gd name="connsiteY807" fmla="*/ 77076 h 2374809"/>
                              <a:gd name="connsiteX808" fmla="*/ 1571646 w 5495992"/>
                              <a:gd name="connsiteY808" fmla="*/ 72697 h 2374809"/>
                              <a:gd name="connsiteX809" fmla="*/ 1556994 w 5495992"/>
                              <a:gd name="connsiteY809" fmla="*/ 77744 h 2374809"/>
                              <a:gd name="connsiteX810" fmla="*/ 1534669 w 5495992"/>
                              <a:gd name="connsiteY810" fmla="*/ 82657 h 2374809"/>
                              <a:gd name="connsiteX811" fmla="*/ 1567669 w 5495992"/>
                              <a:gd name="connsiteY811" fmla="*/ 93687 h 2374809"/>
                              <a:gd name="connsiteX812" fmla="*/ 1642841 w 5495992"/>
                              <a:gd name="connsiteY812" fmla="*/ 97030 h 2374809"/>
                              <a:gd name="connsiteX813" fmla="*/ 1471187 w 5495992"/>
                              <a:gd name="connsiteY813" fmla="*/ 58960 h 2374809"/>
                              <a:gd name="connsiteX814" fmla="*/ 1444641 w 5495992"/>
                              <a:gd name="connsiteY814" fmla="*/ 48933 h 2374809"/>
                              <a:gd name="connsiteX815" fmla="*/ 1384487 w 5495992"/>
                              <a:gd name="connsiteY815" fmla="*/ 33525 h 2374809"/>
                              <a:gd name="connsiteX816" fmla="*/ 1382052 w 5495992"/>
                              <a:gd name="connsiteY816" fmla="*/ 41045 h 2374809"/>
                              <a:gd name="connsiteX817" fmla="*/ 1348078 w 5495992"/>
                              <a:gd name="connsiteY817" fmla="*/ 41246 h 2374809"/>
                              <a:gd name="connsiteX818" fmla="*/ 1396014 w 5495992"/>
                              <a:gd name="connsiteY818" fmla="*/ 57690 h 2374809"/>
                              <a:gd name="connsiteX819" fmla="*/ 1471187 w 5495992"/>
                              <a:gd name="connsiteY819" fmla="*/ 58960 h 2374809"/>
                              <a:gd name="connsiteX820" fmla="*/ 1246888 w 5495992"/>
                              <a:gd name="connsiteY820" fmla="*/ 308501 h 2374809"/>
                              <a:gd name="connsiteX821" fmla="*/ 1212549 w 5495992"/>
                              <a:gd name="connsiteY821" fmla="*/ 313180 h 2374809"/>
                              <a:gd name="connsiteX822" fmla="*/ 1228785 w 5495992"/>
                              <a:gd name="connsiteY822" fmla="*/ 326282 h 2374809"/>
                              <a:gd name="connsiteX823" fmla="*/ 1207840 w 5495992"/>
                              <a:gd name="connsiteY823" fmla="*/ 330460 h 2374809"/>
                              <a:gd name="connsiteX824" fmla="*/ 1186937 w 5495992"/>
                              <a:gd name="connsiteY824" fmla="*/ 335006 h 2374809"/>
                              <a:gd name="connsiteX825" fmla="*/ 1157753 w 5495992"/>
                              <a:gd name="connsiteY825" fmla="*/ 341155 h 2374809"/>
                              <a:gd name="connsiteX826" fmla="*/ 1186166 w 5495992"/>
                              <a:gd name="connsiteY826" fmla="*/ 351684 h 2374809"/>
                              <a:gd name="connsiteX827" fmla="*/ 1193391 w 5495992"/>
                              <a:gd name="connsiteY827" fmla="*/ 361210 h 2374809"/>
                              <a:gd name="connsiteX828" fmla="*/ 1212711 w 5495992"/>
                              <a:gd name="connsiteY828" fmla="*/ 369198 h 2374809"/>
                              <a:gd name="connsiteX829" fmla="*/ 1220017 w 5495992"/>
                              <a:gd name="connsiteY829" fmla="*/ 361276 h 2374809"/>
                              <a:gd name="connsiteX830" fmla="*/ 1240312 w 5495992"/>
                              <a:gd name="connsiteY830" fmla="*/ 371972 h 2374809"/>
                              <a:gd name="connsiteX831" fmla="*/ 1234427 w 5495992"/>
                              <a:gd name="connsiteY831" fmla="*/ 380863 h 2374809"/>
                              <a:gd name="connsiteX832" fmla="*/ 1306595 w 5495992"/>
                              <a:gd name="connsiteY832" fmla="*/ 400917 h 2374809"/>
                              <a:gd name="connsiteX833" fmla="*/ 1371011 w 5495992"/>
                              <a:gd name="connsiteY833" fmla="*/ 409607 h 2374809"/>
                              <a:gd name="connsiteX834" fmla="*/ 1348240 w 5495992"/>
                              <a:gd name="connsiteY834" fmla="*/ 394132 h 2374809"/>
                              <a:gd name="connsiteX835" fmla="*/ 1311426 w 5495992"/>
                              <a:gd name="connsiteY835" fmla="*/ 364619 h 2374809"/>
                              <a:gd name="connsiteX836" fmla="*/ 1341583 w 5495992"/>
                              <a:gd name="connsiteY836" fmla="*/ 334337 h 2374809"/>
                              <a:gd name="connsiteX837" fmla="*/ 1374542 w 5495992"/>
                              <a:gd name="connsiteY837" fmla="*/ 322238 h 2374809"/>
                              <a:gd name="connsiteX838" fmla="*/ 1381889 w 5495992"/>
                              <a:gd name="connsiteY838" fmla="*/ 316723 h 2374809"/>
                              <a:gd name="connsiteX839" fmla="*/ 1402509 w 5495992"/>
                              <a:gd name="connsiteY839" fmla="*/ 315586 h 2374809"/>
                              <a:gd name="connsiteX840" fmla="*/ 1421789 w 5495992"/>
                              <a:gd name="connsiteY840" fmla="*/ 308467 h 2374809"/>
                              <a:gd name="connsiteX841" fmla="*/ 1441028 w 5495992"/>
                              <a:gd name="connsiteY841" fmla="*/ 297571 h 2374809"/>
                              <a:gd name="connsiteX842" fmla="*/ 1462744 w 5495992"/>
                              <a:gd name="connsiteY842" fmla="*/ 296836 h 2374809"/>
                              <a:gd name="connsiteX843" fmla="*/ 1481334 w 5495992"/>
                              <a:gd name="connsiteY843" fmla="*/ 295064 h 2374809"/>
                              <a:gd name="connsiteX844" fmla="*/ 1508976 w 5495992"/>
                              <a:gd name="connsiteY844" fmla="*/ 296568 h 2374809"/>
                              <a:gd name="connsiteX845" fmla="*/ 1562392 w 5495992"/>
                              <a:gd name="connsiteY845" fmla="*/ 290118 h 2374809"/>
                              <a:gd name="connsiteX846" fmla="*/ 1669265 w 5495992"/>
                              <a:gd name="connsiteY846" fmla="*/ 291989 h 2374809"/>
                              <a:gd name="connsiteX847" fmla="*/ 1838727 w 5495992"/>
                              <a:gd name="connsiteY847" fmla="*/ 287811 h 2374809"/>
                              <a:gd name="connsiteX848" fmla="*/ 1750363 w 5495992"/>
                              <a:gd name="connsiteY848" fmla="*/ 271801 h 2374809"/>
                              <a:gd name="connsiteX849" fmla="*/ 1714116 w 5495992"/>
                              <a:gd name="connsiteY849" fmla="*/ 273773 h 2374809"/>
                              <a:gd name="connsiteX850" fmla="*/ 1655464 w 5495992"/>
                              <a:gd name="connsiteY850" fmla="*/ 268492 h 2374809"/>
                              <a:gd name="connsiteX851" fmla="*/ 1603834 w 5495992"/>
                              <a:gd name="connsiteY851" fmla="*/ 262911 h 2374809"/>
                              <a:gd name="connsiteX852" fmla="*/ 1554355 w 5495992"/>
                              <a:gd name="connsiteY852" fmla="*/ 254455 h 2374809"/>
                              <a:gd name="connsiteX853" fmla="*/ 1452881 w 5495992"/>
                              <a:gd name="connsiteY853" fmla="*/ 251112 h 2374809"/>
                              <a:gd name="connsiteX854" fmla="*/ 1427309 w 5495992"/>
                              <a:gd name="connsiteY854" fmla="*/ 255190 h 2374809"/>
                              <a:gd name="connsiteX855" fmla="*/ 1397394 w 5495992"/>
                              <a:gd name="connsiteY855" fmla="*/ 261373 h 2374809"/>
                              <a:gd name="connsiteX856" fmla="*/ 1361878 w 5495992"/>
                              <a:gd name="connsiteY856" fmla="*/ 259301 h 2374809"/>
                              <a:gd name="connsiteX857" fmla="*/ 1360417 w 5495992"/>
                              <a:gd name="connsiteY857" fmla="*/ 272336 h 2374809"/>
                              <a:gd name="connsiteX858" fmla="*/ 1331355 w 5495992"/>
                              <a:gd name="connsiteY858" fmla="*/ 286174 h 2374809"/>
                              <a:gd name="connsiteX859" fmla="*/ 1286707 w 5495992"/>
                              <a:gd name="connsiteY859" fmla="*/ 287912 h 2374809"/>
                              <a:gd name="connsiteX860" fmla="*/ 1298275 w 5495992"/>
                              <a:gd name="connsiteY860" fmla="*/ 299510 h 2374809"/>
                              <a:gd name="connsiteX861" fmla="*/ 1279076 w 5495992"/>
                              <a:gd name="connsiteY861" fmla="*/ 307899 h 2374809"/>
                              <a:gd name="connsiteX862" fmla="*/ 1246604 w 5495992"/>
                              <a:gd name="connsiteY862" fmla="*/ 308567 h 2374809"/>
                              <a:gd name="connsiteX863" fmla="*/ 1246969 w 5495992"/>
                              <a:gd name="connsiteY863" fmla="*/ 308501 h 237480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  <a:cxn ang="0">
                                <a:pos x="connsiteX24" y="connsiteY24"/>
                              </a:cxn>
                              <a:cxn ang="0">
                                <a:pos x="connsiteX25" y="connsiteY25"/>
                              </a:cxn>
                              <a:cxn ang="0">
                                <a:pos x="connsiteX26" y="connsiteY26"/>
                              </a:cxn>
                              <a:cxn ang="0">
                                <a:pos x="connsiteX27" y="connsiteY27"/>
                              </a:cxn>
                              <a:cxn ang="0">
                                <a:pos x="connsiteX28" y="connsiteY28"/>
                              </a:cxn>
                              <a:cxn ang="0">
                                <a:pos x="connsiteX29" y="connsiteY29"/>
                              </a:cxn>
                              <a:cxn ang="0">
                                <a:pos x="connsiteX30" y="connsiteY30"/>
                              </a:cxn>
                              <a:cxn ang="0">
                                <a:pos x="connsiteX31" y="connsiteY31"/>
                              </a:cxn>
                              <a:cxn ang="0">
                                <a:pos x="connsiteX32" y="connsiteY32"/>
                              </a:cxn>
                              <a:cxn ang="0">
                                <a:pos x="connsiteX33" y="connsiteY33"/>
                              </a:cxn>
                              <a:cxn ang="0">
                                <a:pos x="connsiteX34" y="connsiteY34"/>
                              </a:cxn>
                              <a:cxn ang="0">
                                <a:pos x="connsiteX35" y="connsiteY35"/>
                              </a:cxn>
                              <a:cxn ang="0">
                                <a:pos x="connsiteX36" y="connsiteY36"/>
                              </a:cxn>
                              <a:cxn ang="0">
                                <a:pos x="connsiteX37" y="connsiteY37"/>
                              </a:cxn>
                              <a:cxn ang="0">
                                <a:pos x="connsiteX38" y="connsiteY38"/>
                              </a:cxn>
                              <a:cxn ang="0">
                                <a:pos x="connsiteX39" y="connsiteY39"/>
                              </a:cxn>
                              <a:cxn ang="0">
                                <a:pos x="connsiteX40" y="connsiteY40"/>
                              </a:cxn>
                              <a:cxn ang="0">
                                <a:pos x="connsiteX41" y="connsiteY41"/>
                              </a:cxn>
                              <a:cxn ang="0">
                                <a:pos x="connsiteX42" y="connsiteY42"/>
                              </a:cxn>
                              <a:cxn ang="0">
                                <a:pos x="connsiteX43" y="connsiteY43"/>
                              </a:cxn>
                              <a:cxn ang="0">
                                <a:pos x="connsiteX44" y="connsiteY44"/>
                              </a:cxn>
                              <a:cxn ang="0">
                                <a:pos x="connsiteX45" y="connsiteY45"/>
                              </a:cxn>
                              <a:cxn ang="0">
                                <a:pos x="connsiteX46" y="connsiteY46"/>
                              </a:cxn>
                              <a:cxn ang="0">
                                <a:pos x="connsiteX47" y="connsiteY47"/>
                              </a:cxn>
                              <a:cxn ang="0">
                                <a:pos x="connsiteX48" y="connsiteY48"/>
                              </a:cxn>
                              <a:cxn ang="0">
                                <a:pos x="connsiteX49" y="connsiteY49"/>
                              </a:cxn>
                              <a:cxn ang="0">
                                <a:pos x="connsiteX50" y="connsiteY50"/>
                              </a:cxn>
                              <a:cxn ang="0">
                                <a:pos x="connsiteX51" y="connsiteY51"/>
                              </a:cxn>
                              <a:cxn ang="0">
                                <a:pos x="connsiteX52" y="connsiteY52"/>
                              </a:cxn>
                              <a:cxn ang="0">
                                <a:pos x="connsiteX53" y="connsiteY53"/>
                              </a:cxn>
                              <a:cxn ang="0">
                                <a:pos x="connsiteX54" y="connsiteY54"/>
                              </a:cxn>
                              <a:cxn ang="0">
                                <a:pos x="connsiteX55" y="connsiteY55"/>
                              </a:cxn>
                              <a:cxn ang="0">
                                <a:pos x="connsiteX56" y="connsiteY56"/>
                              </a:cxn>
                              <a:cxn ang="0">
                                <a:pos x="connsiteX57" y="connsiteY57"/>
                              </a:cxn>
                              <a:cxn ang="0">
                                <a:pos x="connsiteX58" y="connsiteY58"/>
                              </a:cxn>
                              <a:cxn ang="0">
                                <a:pos x="connsiteX59" y="connsiteY59"/>
                              </a:cxn>
                              <a:cxn ang="0">
                                <a:pos x="connsiteX60" y="connsiteY60"/>
                              </a:cxn>
                              <a:cxn ang="0">
                                <a:pos x="connsiteX61" y="connsiteY61"/>
                              </a:cxn>
                              <a:cxn ang="0">
                                <a:pos x="connsiteX62" y="connsiteY62"/>
                              </a:cxn>
                              <a:cxn ang="0">
                                <a:pos x="connsiteX63" y="connsiteY63"/>
                              </a:cxn>
                              <a:cxn ang="0">
                                <a:pos x="connsiteX64" y="connsiteY64"/>
                              </a:cxn>
                              <a:cxn ang="0">
                                <a:pos x="connsiteX65" y="connsiteY65"/>
                              </a:cxn>
                              <a:cxn ang="0">
                                <a:pos x="connsiteX66" y="connsiteY66"/>
                              </a:cxn>
                              <a:cxn ang="0">
                                <a:pos x="connsiteX67" y="connsiteY67"/>
                              </a:cxn>
                              <a:cxn ang="0">
                                <a:pos x="connsiteX68" y="connsiteY68"/>
                              </a:cxn>
                              <a:cxn ang="0">
                                <a:pos x="connsiteX69" y="connsiteY69"/>
                              </a:cxn>
                              <a:cxn ang="0">
                                <a:pos x="connsiteX70" y="connsiteY70"/>
                              </a:cxn>
                              <a:cxn ang="0">
                                <a:pos x="connsiteX71" y="connsiteY71"/>
                              </a:cxn>
                              <a:cxn ang="0">
                                <a:pos x="connsiteX72" y="connsiteY72"/>
                              </a:cxn>
                              <a:cxn ang="0">
                                <a:pos x="connsiteX73" y="connsiteY73"/>
                              </a:cxn>
                              <a:cxn ang="0">
                                <a:pos x="connsiteX74" y="connsiteY74"/>
                              </a:cxn>
                              <a:cxn ang="0">
                                <a:pos x="connsiteX75" y="connsiteY75"/>
                              </a:cxn>
                              <a:cxn ang="0">
                                <a:pos x="connsiteX76" y="connsiteY76"/>
                              </a:cxn>
                              <a:cxn ang="0">
                                <a:pos x="connsiteX77" y="connsiteY77"/>
                              </a:cxn>
                              <a:cxn ang="0">
                                <a:pos x="connsiteX78" y="connsiteY78"/>
                              </a:cxn>
                              <a:cxn ang="0">
                                <a:pos x="connsiteX79" y="connsiteY79"/>
                              </a:cxn>
                              <a:cxn ang="0">
                                <a:pos x="connsiteX80" y="connsiteY80"/>
                              </a:cxn>
                              <a:cxn ang="0">
                                <a:pos x="connsiteX81" y="connsiteY81"/>
                              </a:cxn>
                              <a:cxn ang="0">
                                <a:pos x="connsiteX82" y="connsiteY82"/>
                              </a:cxn>
                              <a:cxn ang="0">
                                <a:pos x="connsiteX83" y="connsiteY83"/>
                              </a:cxn>
                              <a:cxn ang="0">
                                <a:pos x="connsiteX84" y="connsiteY84"/>
                              </a:cxn>
                              <a:cxn ang="0">
                                <a:pos x="connsiteX85" y="connsiteY85"/>
                              </a:cxn>
                              <a:cxn ang="0">
                                <a:pos x="connsiteX86" y="connsiteY86"/>
                              </a:cxn>
                              <a:cxn ang="0">
                                <a:pos x="connsiteX87" y="connsiteY87"/>
                              </a:cxn>
                              <a:cxn ang="0">
                                <a:pos x="connsiteX88" y="connsiteY88"/>
                              </a:cxn>
                              <a:cxn ang="0">
                                <a:pos x="connsiteX89" y="connsiteY89"/>
                              </a:cxn>
                              <a:cxn ang="0">
                                <a:pos x="connsiteX90" y="connsiteY90"/>
                              </a:cxn>
                              <a:cxn ang="0">
                                <a:pos x="connsiteX91" y="connsiteY91"/>
                              </a:cxn>
                              <a:cxn ang="0">
                                <a:pos x="connsiteX92" y="connsiteY92"/>
                              </a:cxn>
                              <a:cxn ang="0">
                                <a:pos x="connsiteX93" y="connsiteY93"/>
                              </a:cxn>
                              <a:cxn ang="0">
                                <a:pos x="connsiteX94" y="connsiteY94"/>
                              </a:cxn>
                              <a:cxn ang="0">
                                <a:pos x="connsiteX95" y="connsiteY95"/>
                              </a:cxn>
                              <a:cxn ang="0">
                                <a:pos x="connsiteX96" y="connsiteY96"/>
                              </a:cxn>
                              <a:cxn ang="0">
                                <a:pos x="connsiteX97" y="connsiteY97"/>
                              </a:cxn>
                              <a:cxn ang="0">
                                <a:pos x="connsiteX98" y="connsiteY98"/>
                              </a:cxn>
                              <a:cxn ang="0">
                                <a:pos x="connsiteX99" y="connsiteY99"/>
                              </a:cxn>
                              <a:cxn ang="0">
                                <a:pos x="connsiteX100" y="connsiteY100"/>
                              </a:cxn>
                              <a:cxn ang="0">
                                <a:pos x="connsiteX101" y="connsiteY101"/>
                              </a:cxn>
                              <a:cxn ang="0">
                                <a:pos x="connsiteX102" y="connsiteY102"/>
                              </a:cxn>
                              <a:cxn ang="0">
                                <a:pos x="connsiteX103" y="connsiteY103"/>
                              </a:cxn>
                              <a:cxn ang="0">
                                <a:pos x="connsiteX104" y="connsiteY104"/>
                              </a:cxn>
                              <a:cxn ang="0">
                                <a:pos x="connsiteX105" y="connsiteY105"/>
                              </a:cxn>
                              <a:cxn ang="0">
                                <a:pos x="connsiteX106" y="connsiteY106"/>
                              </a:cxn>
                              <a:cxn ang="0">
                                <a:pos x="connsiteX107" y="connsiteY107"/>
                              </a:cxn>
                              <a:cxn ang="0">
                                <a:pos x="connsiteX108" y="connsiteY108"/>
                              </a:cxn>
                              <a:cxn ang="0">
                                <a:pos x="connsiteX109" y="connsiteY109"/>
                              </a:cxn>
                              <a:cxn ang="0">
                                <a:pos x="connsiteX110" y="connsiteY110"/>
                              </a:cxn>
                              <a:cxn ang="0">
                                <a:pos x="connsiteX111" y="connsiteY111"/>
                              </a:cxn>
                              <a:cxn ang="0">
                                <a:pos x="connsiteX112" y="connsiteY112"/>
                              </a:cxn>
                              <a:cxn ang="0">
                                <a:pos x="connsiteX113" y="connsiteY113"/>
                              </a:cxn>
                              <a:cxn ang="0">
                                <a:pos x="connsiteX114" y="connsiteY114"/>
                              </a:cxn>
                              <a:cxn ang="0">
                                <a:pos x="connsiteX115" y="connsiteY115"/>
                              </a:cxn>
                              <a:cxn ang="0">
                                <a:pos x="connsiteX116" y="connsiteY116"/>
                              </a:cxn>
                              <a:cxn ang="0">
                                <a:pos x="connsiteX117" y="connsiteY117"/>
                              </a:cxn>
                              <a:cxn ang="0">
                                <a:pos x="connsiteX118" y="connsiteY118"/>
                              </a:cxn>
                              <a:cxn ang="0">
                                <a:pos x="connsiteX119" y="connsiteY119"/>
                              </a:cxn>
                              <a:cxn ang="0">
                                <a:pos x="connsiteX120" y="connsiteY120"/>
                              </a:cxn>
                              <a:cxn ang="0">
                                <a:pos x="connsiteX121" y="connsiteY121"/>
                              </a:cxn>
                              <a:cxn ang="0">
                                <a:pos x="connsiteX122" y="connsiteY122"/>
                              </a:cxn>
                              <a:cxn ang="0">
                                <a:pos x="connsiteX123" y="connsiteY123"/>
                              </a:cxn>
                              <a:cxn ang="0">
                                <a:pos x="connsiteX124" y="connsiteY124"/>
                              </a:cxn>
                              <a:cxn ang="0">
                                <a:pos x="connsiteX125" y="connsiteY125"/>
                              </a:cxn>
                              <a:cxn ang="0">
                                <a:pos x="connsiteX126" y="connsiteY126"/>
                              </a:cxn>
                              <a:cxn ang="0">
                                <a:pos x="connsiteX127" y="connsiteY127"/>
                              </a:cxn>
                              <a:cxn ang="0">
                                <a:pos x="connsiteX128" y="connsiteY128"/>
                              </a:cxn>
                              <a:cxn ang="0">
                                <a:pos x="connsiteX129" y="connsiteY129"/>
                              </a:cxn>
                              <a:cxn ang="0">
                                <a:pos x="connsiteX130" y="connsiteY130"/>
                              </a:cxn>
                              <a:cxn ang="0">
                                <a:pos x="connsiteX131" y="connsiteY131"/>
                              </a:cxn>
                              <a:cxn ang="0">
                                <a:pos x="connsiteX132" y="connsiteY132"/>
                              </a:cxn>
                              <a:cxn ang="0">
                                <a:pos x="connsiteX133" y="connsiteY133"/>
                              </a:cxn>
                              <a:cxn ang="0">
                                <a:pos x="connsiteX134" y="connsiteY134"/>
                              </a:cxn>
                              <a:cxn ang="0">
                                <a:pos x="connsiteX135" y="connsiteY135"/>
                              </a:cxn>
                              <a:cxn ang="0">
                                <a:pos x="connsiteX136" y="connsiteY136"/>
                              </a:cxn>
                              <a:cxn ang="0">
                                <a:pos x="connsiteX137" y="connsiteY137"/>
                              </a:cxn>
                              <a:cxn ang="0">
                                <a:pos x="connsiteX138" y="connsiteY138"/>
                              </a:cxn>
                              <a:cxn ang="0">
                                <a:pos x="connsiteX139" y="connsiteY139"/>
                              </a:cxn>
                              <a:cxn ang="0">
                                <a:pos x="connsiteX140" y="connsiteY140"/>
                              </a:cxn>
                              <a:cxn ang="0">
                                <a:pos x="connsiteX141" y="connsiteY141"/>
                              </a:cxn>
                              <a:cxn ang="0">
                                <a:pos x="connsiteX142" y="connsiteY142"/>
                              </a:cxn>
                              <a:cxn ang="0">
                                <a:pos x="connsiteX143" y="connsiteY143"/>
                              </a:cxn>
                              <a:cxn ang="0">
                                <a:pos x="connsiteX144" y="connsiteY144"/>
                              </a:cxn>
                              <a:cxn ang="0">
                                <a:pos x="connsiteX145" y="connsiteY145"/>
                              </a:cxn>
                              <a:cxn ang="0">
                                <a:pos x="connsiteX146" y="connsiteY146"/>
                              </a:cxn>
                              <a:cxn ang="0">
                                <a:pos x="connsiteX147" y="connsiteY147"/>
                              </a:cxn>
                              <a:cxn ang="0">
                                <a:pos x="connsiteX148" y="connsiteY148"/>
                              </a:cxn>
                              <a:cxn ang="0">
                                <a:pos x="connsiteX149" y="connsiteY149"/>
                              </a:cxn>
                              <a:cxn ang="0">
                                <a:pos x="connsiteX150" y="connsiteY150"/>
                              </a:cxn>
                              <a:cxn ang="0">
                                <a:pos x="connsiteX151" y="connsiteY151"/>
                              </a:cxn>
                              <a:cxn ang="0">
                                <a:pos x="connsiteX152" y="connsiteY152"/>
                              </a:cxn>
                              <a:cxn ang="0">
                                <a:pos x="connsiteX153" y="connsiteY153"/>
                              </a:cxn>
                              <a:cxn ang="0">
                                <a:pos x="connsiteX154" y="connsiteY154"/>
                              </a:cxn>
                              <a:cxn ang="0">
                                <a:pos x="connsiteX155" y="connsiteY155"/>
                              </a:cxn>
                              <a:cxn ang="0">
                                <a:pos x="connsiteX156" y="connsiteY156"/>
                              </a:cxn>
                              <a:cxn ang="0">
                                <a:pos x="connsiteX157" y="connsiteY157"/>
                              </a:cxn>
                              <a:cxn ang="0">
                                <a:pos x="connsiteX158" y="connsiteY158"/>
                              </a:cxn>
                              <a:cxn ang="0">
                                <a:pos x="connsiteX159" y="connsiteY159"/>
                              </a:cxn>
                              <a:cxn ang="0">
                                <a:pos x="connsiteX160" y="connsiteY160"/>
                              </a:cxn>
                              <a:cxn ang="0">
                                <a:pos x="connsiteX161" y="connsiteY161"/>
                              </a:cxn>
                              <a:cxn ang="0">
                                <a:pos x="connsiteX162" y="connsiteY162"/>
                              </a:cxn>
                              <a:cxn ang="0">
                                <a:pos x="connsiteX163" y="connsiteY163"/>
                              </a:cxn>
                              <a:cxn ang="0">
                                <a:pos x="connsiteX164" y="connsiteY164"/>
                              </a:cxn>
                              <a:cxn ang="0">
                                <a:pos x="connsiteX165" y="connsiteY165"/>
                              </a:cxn>
                              <a:cxn ang="0">
                                <a:pos x="connsiteX166" y="connsiteY166"/>
                              </a:cxn>
                              <a:cxn ang="0">
                                <a:pos x="connsiteX167" y="connsiteY167"/>
                              </a:cxn>
                              <a:cxn ang="0">
                                <a:pos x="connsiteX168" y="connsiteY168"/>
                              </a:cxn>
                              <a:cxn ang="0">
                                <a:pos x="connsiteX169" y="connsiteY169"/>
                              </a:cxn>
                              <a:cxn ang="0">
                                <a:pos x="connsiteX170" y="connsiteY170"/>
                              </a:cxn>
                              <a:cxn ang="0">
                                <a:pos x="connsiteX171" y="connsiteY171"/>
                              </a:cxn>
                              <a:cxn ang="0">
                                <a:pos x="connsiteX172" y="connsiteY172"/>
                              </a:cxn>
                              <a:cxn ang="0">
                                <a:pos x="connsiteX173" y="connsiteY173"/>
                              </a:cxn>
                              <a:cxn ang="0">
                                <a:pos x="connsiteX174" y="connsiteY174"/>
                              </a:cxn>
                              <a:cxn ang="0">
                                <a:pos x="connsiteX175" y="connsiteY175"/>
                              </a:cxn>
                              <a:cxn ang="0">
                                <a:pos x="connsiteX176" y="connsiteY176"/>
                              </a:cxn>
                              <a:cxn ang="0">
                                <a:pos x="connsiteX177" y="connsiteY177"/>
                              </a:cxn>
                              <a:cxn ang="0">
                                <a:pos x="connsiteX178" y="connsiteY178"/>
                              </a:cxn>
                              <a:cxn ang="0">
                                <a:pos x="connsiteX179" y="connsiteY179"/>
                              </a:cxn>
                              <a:cxn ang="0">
                                <a:pos x="connsiteX180" y="connsiteY180"/>
                              </a:cxn>
                              <a:cxn ang="0">
                                <a:pos x="connsiteX181" y="connsiteY181"/>
                              </a:cxn>
                              <a:cxn ang="0">
                                <a:pos x="connsiteX182" y="connsiteY182"/>
                              </a:cxn>
                              <a:cxn ang="0">
                                <a:pos x="connsiteX183" y="connsiteY183"/>
                              </a:cxn>
                              <a:cxn ang="0">
                                <a:pos x="connsiteX184" y="connsiteY184"/>
                              </a:cxn>
                              <a:cxn ang="0">
                                <a:pos x="connsiteX185" y="connsiteY185"/>
                              </a:cxn>
                              <a:cxn ang="0">
                                <a:pos x="connsiteX186" y="connsiteY186"/>
                              </a:cxn>
                              <a:cxn ang="0">
                                <a:pos x="connsiteX187" y="connsiteY187"/>
                              </a:cxn>
                              <a:cxn ang="0">
                                <a:pos x="connsiteX188" y="connsiteY188"/>
                              </a:cxn>
                              <a:cxn ang="0">
                                <a:pos x="connsiteX189" y="connsiteY189"/>
                              </a:cxn>
                              <a:cxn ang="0">
                                <a:pos x="connsiteX190" y="connsiteY190"/>
                              </a:cxn>
                              <a:cxn ang="0">
                                <a:pos x="connsiteX191" y="connsiteY191"/>
                              </a:cxn>
                              <a:cxn ang="0">
                                <a:pos x="connsiteX192" y="connsiteY192"/>
                              </a:cxn>
                              <a:cxn ang="0">
                                <a:pos x="connsiteX193" y="connsiteY193"/>
                              </a:cxn>
                              <a:cxn ang="0">
                                <a:pos x="connsiteX194" y="connsiteY194"/>
                              </a:cxn>
                              <a:cxn ang="0">
                                <a:pos x="connsiteX195" y="connsiteY195"/>
                              </a:cxn>
                              <a:cxn ang="0">
                                <a:pos x="connsiteX196" y="connsiteY196"/>
                              </a:cxn>
                              <a:cxn ang="0">
                                <a:pos x="connsiteX197" y="connsiteY197"/>
                              </a:cxn>
                              <a:cxn ang="0">
                                <a:pos x="connsiteX198" y="connsiteY198"/>
                              </a:cxn>
                              <a:cxn ang="0">
                                <a:pos x="connsiteX199" y="connsiteY199"/>
                              </a:cxn>
                              <a:cxn ang="0">
                                <a:pos x="connsiteX200" y="connsiteY200"/>
                              </a:cxn>
                              <a:cxn ang="0">
                                <a:pos x="connsiteX201" y="connsiteY201"/>
                              </a:cxn>
                              <a:cxn ang="0">
                                <a:pos x="connsiteX202" y="connsiteY202"/>
                              </a:cxn>
                              <a:cxn ang="0">
                                <a:pos x="connsiteX203" y="connsiteY203"/>
                              </a:cxn>
                              <a:cxn ang="0">
                                <a:pos x="connsiteX204" y="connsiteY204"/>
                              </a:cxn>
                              <a:cxn ang="0">
                                <a:pos x="connsiteX205" y="connsiteY205"/>
                              </a:cxn>
                              <a:cxn ang="0">
                                <a:pos x="connsiteX206" y="connsiteY206"/>
                              </a:cxn>
                              <a:cxn ang="0">
                                <a:pos x="connsiteX207" y="connsiteY207"/>
                              </a:cxn>
                              <a:cxn ang="0">
                                <a:pos x="connsiteX208" y="connsiteY208"/>
                              </a:cxn>
                              <a:cxn ang="0">
                                <a:pos x="connsiteX209" y="connsiteY209"/>
                              </a:cxn>
                              <a:cxn ang="0">
                                <a:pos x="connsiteX210" y="connsiteY210"/>
                              </a:cxn>
                              <a:cxn ang="0">
                                <a:pos x="connsiteX211" y="connsiteY211"/>
                              </a:cxn>
                              <a:cxn ang="0">
                                <a:pos x="connsiteX212" y="connsiteY212"/>
                              </a:cxn>
                              <a:cxn ang="0">
                                <a:pos x="connsiteX213" y="connsiteY213"/>
                              </a:cxn>
                              <a:cxn ang="0">
                                <a:pos x="connsiteX214" y="connsiteY214"/>
                              </a:cxn>
                              <a:cxn ang="0">
                                <a:pos x="connsiteX215" y="connsiteY215"/>
                              </a:cxn>
                              <a:cxn ang="0">
                                <a:pos x="connsiteX216" y="connsiteY216"/>
                              </a:cxn>
                              <a:cxn ang="0">
                                <a:pos x="connsiteX217" y="connsiteY217"/>
                              </a:cxn>
                              <a:cxn ang="0">
                                <a:pos x="connsiteX218" y="connsiteY218"/>
                              </a:cxn>
                              <a:cxn ang="0">
                                <a:pos x="connsiteX219" y="connsiteY219"/>
                              </a:cxn>
                              <a:cxn ang="0">
                                <a:pos x="connsiteX220" y="connsiteY220"/>
                              </a:cxn>
                              <a:cxn ang="0">
                                <a:pos x="connsiteX221" y="connsiteY221"/>
                              </a:cxn>
                              <a:cxn ang="0">
                                <a:pos x="connsiteX222" y="connsiteY222"/>
                              </a:cxn>
                              <a:cxn ang="0">
                                <a:pos x="connsiteX223" y="connsiteY223"/>
                              </a:cxn>
                              <a:cxn ang="0">
                                <a:pos x="connsiteX224" y="connsiteY224"/>
                              </a:cxn>
                              <a:cxn ang="0">
                                <a:pos x="connsiteX225" y="connsiteY225"/>
                              </a:cxn>
                              <a:cxn ang="0">
                                <a:pos x="connsiteX226" y="connsiteY226"/>
                              </a:cxn>
                              <a:cxn ang="0">
                                <a:pos x="connsiteX227" y="connsiteY227"/>
                              </a:cxn>
                              <a:cxn ang="0">
                                <a:pos x="connsiteX228" y="connsiteY228"/>
                              </a:cxn>
                              <a:cxn ang="0">
                                <a:pos x="connsiteX229" y="connsiteY229"/>
                              </a:cxn>
                              <a:cxn ang="0">
                                <a:pos x="connsiteX230" y="connsiteY230"/>
                              </a:cxn>
                              <a:cxn ang="0">
                                <a:pos x="connsiteX231" y="connsiteY231"/>
                              </a:cxn>
                              <a:cxn ang="0">
                                <a:pos x="connsiteX232" y="connsiteY232"/>
                              </a:cxn>
                              <a:cxn ang="0">
                                <a:pos x="connsiteX233" y="connsiteY233"/>
                              </a:cxn>
                              <a:cxn ang="0">
                                <a:pos x="connsiteX234" y="connsiteY234"/>
                              </a:cxn>
                              <a:cxn ang="0">
                                <a:pos x="connsiteX235" y="connsiteY235"/>
                              </a:cxn>
                              <a:cxn ang="0">
                                <a:pos x="connsiteX236" y="connsiteY236"/>
                              </a:cxn>
                              <a:cxn ang="0">
                                <a:pos x="connsiteX237" y="connsiteY237"/>
                              </a:cxn>
                              <a:cxn ang="0">
                                <a:pos x="connsiteX238" y="connsiteY238"/>
                              </a:cxn>
                              <a:cxn ang="0">
                                <a:pos x="connsiteX239" y="connsiteY239"/>
                              </a:cxn>
                              <a:cxn ang="0">
                                <a:pos x="connsiteX240" y="connsiteY240"/>
                              </a:cxn>
                              <a:cxn ang="0">
                                <a:pos x="connsiteX241" y="connsiteY241"/>
                              </a:cxn>
                              <a:cxn ang="0">
                                <a:pos x="connsiteX242" y="connsiteY242"/>
                              </a:cxn>
                              <a:cxn ang="0">
                                <a:pos x="connsiteX243" y="connsiteY243"/>
                              </a:cxn>
                              <a:cxn ang="0">
                                <a:pos x="connsiteX244" y="connsiteY244"/>
                              </a:cxn>
                              <a:cxn ang="0">
                                <a:pos x="connsiteX245" y="connsiteY245"/>
                              </a:cxn>
                              <a:cxn ang="0">
                                <a:pos x="connsiteX246" y="connsiteY246"/>
                              </a:cxn>
                              <a:cxn ang="0">
                                <a:pos x="connsiteX247" y="connsiteY247"/>
                              </a:cxn>
                              <a:cxn ang="0">
                                <a:pos x="connsiteX248" y="connsiteY248"/>
                              </a:cxn>
                              <a:cxn ang="0">
                                <a:pos x="connsiteX249" y="connsiteY249"/>
                              </a:cxn>
                              <a:cxn ang="0">
                                <a:pos x="connsiteX250" y="connsiteY250"/>
                              </a:cxn>
                              <a:cxn ang="0">
                                <a:pos x="connsiteX251" y="connsiteY251"/>
                              </a:cxn>
                              <a:cxn ang="0">
                                <a:pos x="connsiteX252" y="connsiteY252"/>
                              </a:cxn>
                              <a:cxn ang="0">
                                <a:pos x="connsiteX253" y="connsiteY253"/>
                              </a:cxn>
                              <a:cxn ang="0">
                                <a:pos x="connsiteX254" y="connsiteY254"/>
                              </a:cxn>
                              <a:cxn ang="0">
                                <a:pos x="connsiteX255" y="connsiteY255"/>
                              </a:cxn>
                              <a:cxn ang="0">
                                <a:pos x="connsiteX256" y="connsiteY256"/>
                              </a:cxn>
                              <a:cxn ang="0">
                                <a:pos x="connsiteX257" y="connsiteY257"/>
                              </a:cxn>
                              <a:cxn ang="0">
                                <a:pos x="connsiteX258" y="connsiteY258"/>
                              </a:cxn>
                              <a:cxn ang="0">
                                <a:pos x="connsiteX259" y="connsiteY259"/>
                              </a:cxn>
                              <a:cxn ang="0">
                                <a:pos x="connsiteX260" y="connsiteY260"/>
                              </a:cxn>
                              <a:cxn ang="0">
                                <a:pos x="connsiteX261" y="connsiteY261"/>
                              </a:cxn>
                              <a:cxn ang="0">
                                <a:pos x="connsiteX262" y="connsiteY262"/>
                              </a:cxn>
                              <a:cxn ang="0">
                                <a:pos x="connsiteX263" y="connsiteY263"/>
                              </a:cxn>
                              <a:cxn ang="0">
                                <a:pos x="connsiteX264" y="connsiteY264"/>
                              </a:cxn>
                              <a:cxn ang="0">
                                <a:pos x="connsiteX265" y="connsiteY265"/>
                              </a:cxn>
                              <a:cxn ang="0">
                                <a:pos x="connsiteX266" y="connsiteY266"/>
                              </a:cxn>
                              <a:cxn ang="0">
                                <a:pos x="connsiteX267" y="connsiteY267"/>
                              </a:cxn>
                              <a:cxn ang="0">
                                <a:pos x="connsiteX268" y="connsiteY268"/>
                              </a:cxn>
                              <a:cxn ang="0">
                                <a:pos x="connsiteX269" y="connsiteY269"/>
                              </a:cxn>
                              <a:cxn ang="0">
                                <a:pos x="connsiteX270" y="connsiteY270"/>
                              </a:cxn>
                              <a:cxn ang="0">
                                <a:pos x="connsiteX271" y="connsiteY271"/>
                              </a:cxn>
                              <a:cxn ang="0">
                                <a:pos x="connsiteX272" y="connsiteY272"/>
                              </a:cxn>
                              <a:cxn ang="0">
                                <a:pos x="connsiteX273" y="connsiteY273"/>
                              </a:cxn>
                              <a:cxn ang="0">
                                <a:pos x="connsiteX274" y="connsiteY274"/>
                              </a:cxn>
                              <a:cxn ang="0">
                                <a:pos x="connsiteX275" y="connsiteY275"/>
                              </a:cxn>
                              <a:cxn ang="0">
                                <a:pos x="connsiteX276" y="connsiteY276"/>
                              </a:cxn>
                              <a:cxn ang="0">
                                <a:pos x="connsiteX277" y="connsiteY277"/>
                              </a:cxn>
                              <a:cxn ang="0">
                                <a:pos x="connsiteX278" y="connsiteY278"/>
                              </a:cxn>
                              <a:cxn ang="0">
                                <a:pos x="connsiteX279" y="connsiteY279"/>
                              </a:cxn>
                              <a:cxn ang="0">
                                <a:pos x="connsiteX280" y="connsiteY280"/>
                              </a:cxn>
                              <a:cxn ang="0">
                                <a:pos x="connsiteX281" y="connsiteY281"/>
                              </a:cxn>
                              <a:cxn ang="0">
                                <a:pos x="connsiteX282" y="connsiteY282"/>
                              </a:cxn>
                              <a:cxn ang="0">
                                <a:pos x="connsiteX283" y="connsiteY283"/>
                              </a:cxn>
                              <a:cxn ang="0">
                                <a:pos x="connsiteX284" y="connsiteY284"/>
                              </a:cxn>
                              <a:cxn ang="0">
                                <a:pos x="connsiteX285" y="connsiteY285"/>
                              </a:cxn>
                              <a:cxn ang="0">
                                <a:pos x="connsiteX286" y="connsiteY286"/>
                              </a:cxn>
                              <a:cxn ang="0">
                                <a:pos x="connsiteX287" y="connsiteY287"/>
                              </a:cxn>
                              <a:cxn ang="0">
                                <a:pos x="connsiteX288" y="connsiteY288"/>
                              </a:cxn>
                              <a:cxn ang="0">
                                <a:pos x="connsiteX289" y="connsiteY289"/>
                              </a:cxn>
                              <a:cxn ang="0">
                                <a:pos x="connsiteX290" y="connsiteY290"/>
                              </a:cxn>
                              <a:cxn ang="0">
                                <a:pos x="connsiteX291" y="connsiteY291"/>
                              </a:cxn>
                              <a:cxn ang="0">
                                <a:pos x="connsiteX292" y="connsiteY292"/>
                              </a:cxn>
                              <a:cxn ang="0">
                                <a:pos x="connsiteX293" y="connsiteY293"/>
                              </a:cxn>
                              <a:cxn ang="0">
                                <a:pos x="connsiteX294" y="connsiteY294"/>
                              </a:cxn>
                              <a:cxn ang="0">
                                <a:pos x="connsiteX295" y="connsiteY295"/>
                              </a:cxn>
                              <a:cxn ang="0">
                                <a:pos x="connsiteX296" y="connsiteY296"/>
                              </a:cxn>
                              <a:cxn ang="0">
                                <a:pos x="connsiteX297" y="connsiteY297"/>
                              </a:cxn>
                              <a:cxn ang="0">
                                <a:pos x="connsiteX298" y="connsiteY298"/>
                              </a:cxn>
                              <a:cxn ang="0">
                                <a:pos x="connsiteX299" y="connsiteY299"/>
                              </a:cxn>
                              <a:cxn ang="0">
                                <a:pos x="connsiteX300" y="connsiteY300"/>
                              </a:cxn>
                              <a:cxn ang="0">
                                <a:pos x="connsiteX301" y="connsiteY301"/>
                              </a:cxn>
                              <a:cxn ang="0">
                                <a:pos x="connsiteX302" y="connsiteY302"/>
                              </a:cxn>
                              <a:cxn ang="0">
                                <a:pos x="connsiteX303" y="connsiteY303"/>
                              </a:cxn>
                              <a:cxn ang="0">
                                <a:pos x="connsiteX304" y="connsiteY304"/>
                              </a:cxn>
                              <a:cxn ang="0">
                                <a:pos x="connsiteX305" y="connsiteY305"/>
                              </a:cxn>
                              <a:cxn ang="0">
                                <a:pos x="connsiteX306" y="connsiteY306"/>
                              </a:cxn>
                              <a:cxn ang="0">
                                <a:pos x="connsiteX307" y="connsiteY307"/>
                              </a:cxn>
                              <a:cxn ang="0">
                                <a:pos x="connsiteX308" y="connsiteY308"/>
                              </a:cxn>
                              <a:cxn ang="0">
                                <a:pos x="connsiteX309" y="connsiteY309"/>
                              </a:cxn>
                              <a:cxn ang="0">
                                <a:pos x="connsiteX310" y="connsiteY310"/>
                              </a:cxn>
                              <a:cxn ang="0">
                                <a:pos x="connsiteX311" y="connsiteY311"/>
                              </a:cxn>
                              <a:cxn ang="0">
                                <a:pos x="connsiteX312" y="connsiteY312"/>
                              </a:cxn>
                              <a:cxn ang="0">
                                <a:pos x="connsiteX313" y="connsiteY313"/>
                              </a:cxn>
                              <a:cxn ang="0">
                                <a:pos x="connsiteX314" y="connsiteY314"/>
                              </a:cxn>
                              <a:cxn ang="0">
                                <a:pos x="connsiteX315" y="connsiteY315"/>
                              </a:cxn>
                              <a:cxn ang="0">
                                <a:pos x="connsiteX316" y="connsiteY316"/>
                              </a:cxn>
                              <a:cxn ang="0">
                                <a:pos x="connsiteX317" y="connsiteY317"/>
                              </a:cxn>
                              <a:cxn ang="0">
                                <a:pos x="connsiteX318" y="connsiteY318"/>
                              </a:cxn>
                              <a:cxn ang="0">
                                <a:pos x="connsiteX319" y="connsiteY319"/>
                              </a:cxn>
                              <a:cxn ang="0">
                                <a:pos x="connsiteX320" y="connsiteY320"/>
                              </a:cxn>
                              <a:cxn ang="0">
                                <a:pos x="connsiteX321" y="connsiteY321"/>
                              </a:cxn>
                              <a:cxn ang="0">
                                <a:pos x="connsiteX322" y="connsiteY322"/>
                              </a:cxn>
                              <a:cxn ang="0">
                                <a:pos x="connsiteX323" y="connsiteY323"/>
                              </a:cxn>
                              <a:cxn ang="0">
                                <a:pos x="connsiteX324" y="connsiteY324"/>
                              </a:cxn>
                              <a:cxn ang="0">
                                <a:pos x="connsiteX325" y="connsiteY325"/>
                              </a:cxn>
                              <a:cxn ang="0">
                                <a:pos x="connsiteX326" y="connsiteY326"/>
                              </a:cxn>
                              <a:cxn ang="0">
                                <a:pos x="connsiteX327" y="connsiteY327"/>
                              </a:cxn>
                              <a:cxn ang="0">
                                <a:pos x="connsiteX328" y="connsiteY328"/>
                              </a:cxn>
                              <a:cxn ang="0">
                                <a:pos x="connsiteX329" y="connsiteY329"/>
                              </a:cxn>
                              <a:cxn ang="0">
                                <a:pos x="connsiteX330" y="connsiteY330"/>
                              </a:cxn>
                              <a:cxn ang="0">
                                <a:pos x="connsiteX331" y="connsiteY331"/>
                              </a:cxn>
                              <a:cxn ang="0">
                                <a:pos x="connsiteX332" y="connsiteY332"/>
                              </a:cxn>
                              <a:cxn ang="0">
                                <a:pos x="connsiteX333" y="connsiteY333"/>
                              </a:cxn>
                              <a:cxn ang="0">
                                <a:pos x="connsiteX334" y="connsiteY334"/>
                              </a:cxn>
                              <a:cxn ang="0">
                                <a:pos x="connsiteX335" y="connsiteY335"/>
                              </a:cxn>
                              <a:cxn ang="0">
                                <a:pos x="connsiteX336" y="connsiteY336"/>
                              </a:cxn>
                              <a:cxn ang="0">
                                <a:pos x="connsiteX337" y="connsiteY337"/>
                              </a:cxn>
                              <a:cxn ang="0">
                                <a:pos x="connsiteX338" y="connsiteY338"/>
                              </a:cxn>
                              <a:cxn ang="0">
                                <a:pos x="connsiteX339" y="connsiteY339"/>
                              </a:cxn>
                              <a:cxn ang="0">
                                <a:pos x="connsiteX340" y="connsiteY340"/>
                              </a:cxn>
                              <a:cxn ang="0">
                                <a:pos x="connsiteX341" y="connsiteY341"/>
                              </a:cxn>
                              <a:cxn ang="0">
                                <a:pos x="connsiteX342" y="connsiteY342"/>
                              </a:cxn>
                              <a:cxn ang="0">
                                <a:pos x="connsiteX343" y="connsiteY343"/>
                              </a:cxn>
                              <a:cxn ang="0">
                                <a:pos x="connsiteX344" y="connsiteY344"/>
                              </a:cxn>
                              <a:cxn ang="0">
                                <a:pos x="connsiteX345" y="connsiteY345"/>
                              </a:cxn>
                              <a:cxn ang="0">
                                <a:pos x="connsiteX346" y="connsiteY346"/>
                              </a:cxn>
                              <a:cxn ang="0">
                                <a:pos x="connsiteX347" y="connsiteY347"/>
                              </a:cxn>
                              <a:cxn ang="0">
                                <a:pos x="connsiteX348" y="connsiteY348"/>
                              </a:cxn>
                              <a:cxn ang="0">
                                <a:pos x="connsiteX349" y="connsiteY349"/>
                              </a:cxn>
                              <a:cxn ang="0">
                                <a:pos x="connsiteX350" y="connsiteY350"/>
                              </a:cxn>
                              <a:cxn ang="0">
                                <a:pos x="connsiteX351" y="connsiteY351"/>
                              </a:cxn>
                              <a:cxn ang="0">
                                <a:pos x="connsiteX352" y="connsiteY352"/>
                              </a:cxn>
                              <a:cxn ang="0">
                                <a:pos x="connsiteX353" y="connsiteY353"/>
                              </a:cxn>
                              <a:cxn ang="0">
                                <a:pos x="connsiteX354" y="connsiteY354"/>
                              </a:cxn>
                              <a:cxn ang="0">
                                <a:pos x="connsiteX355" y="connsiteY355"/>
                              </a:cxn>
                              <a:cxn ang="0">
                                <a:pos x="connsiteX356" y="connsiteY356"/>
                              </a:cxn>
                              <a:cxn ang="0">
                                <a:pos x="connsiteX357" y="connsiteY357"/>
                              </a:cxn>
                              <a:cxn ang="0">
                                <a:pos x="connsiteX358" y="connsiteY358"/>
                              </a:cxn>
                              <a:cxn ang="0">
                                <a:pos x="connsiteX359" y="connsiteY359"/>
                              </a:cxn>
                              <a:cxn ang="0">
                                <a:pos x="connsiteX360" y="connsiteY360"/>
                              </a:cxn>
                              <a:cxn ang="0">
                                <a:pos x="connsiteX361" y="connsiteY361"/>
                              </a:cxn>
                              <a:cxn ang="0">
                                <a:pos x="connsiteX362" y="connsiteY362"/>
                              </a:cxn>
                              <a:cxn ang="0">
                                <a:pos x="connsiteX363" y="connsiteY363"/>
                              </a:cxn>
                              <a:cxn ang="0">
                                <a:pos x="connsiteX364" y="connsiteY364"/>
                              </a:cxn>
                              <a:cxn ang="0">
                                <a:pos x="connsiteX365" y="connsiteY365"/>
                              </a:cxn>
                              <a:cxn ang="0">
                                <a:pos x="connsiteX366" y="connsiteY366"/>
                              </a:cxn>
                              <a:cxn ang="0">
                                <a:pos x="connsiteX367" y="connsiteY367"/>
                              </a:cxn>
                              <a:cxn ang="0">
                                <a:pos x="connsiteX368" y="connsiteY368"/>
                              </a:cxn>
                              <a:cxn ang="0">
                                <a:pos x="connsiteX369" y="connsiteY369"/>
                              </a:cxn>
                              <a:cxn ang="0">
                                <a:pos x="connsiteX370" y="connsiteY370"/>
                              </a:cxn>
                              <a:cxn ang="0">
                                <a:pos x="connsiteX371" y="connsiteY371"/>
                              </a:cxn>
                              <a:cxn ang="0">
                                <a:pos x="connsiteX372" y="connsiteY372"/>
                              </a:cxn>
                              <a:cxn ang="0">
                                <a:pos x="connsiteX373" y="connsiteY373"/>
                              </a:cxn>
                              <a:cxn ang="0">
                                <a:pos x="connsiteX374" y="connsiteY374"/>
                              </a:cxn>
                              <a:cxn ang="0">
                                <a:pos x="connsiteX375" y="connsiteY375"/>
                              </a:cxn>
                              <a:cxn ang="0">
                                <a:pos x="connsiteX376" y="connsiteY376"/>
                              </a:cxn>
                              <a:cxn ang="0">
                                <a:pos x="connsiteX377" y="connsiteY377"/>
                              </a:cxn>
                              <a:cxn ang="0">
                                <a:pos x="connsiteX378" y="connsiteY378"/>
                              </a:cxn>
                              <a:cxn ang="0">
                                <a:pos x="connsiteX379" y="connsiteY379"/>
                              </a:cxn>
                              <a:cxn ang="0">
                                <a:pos x="connsiteX380" y="connsiteY380"/>
                              </a:cxn>
                              <a:cxn ang="0">
                                <a:pos x="connsiteX381" y="connsiteY381"/>
                              </a:cxn>
                              <a:cxn ang="0">
                                <a:pos x="connsiteX382" y="connsiteY382"/>
                              </a:cxn>
                              <a:cxn ang="0">
                                <a:pos x="connsiteX383" y="connsiteY383"/>
                              </a:cxn>
                              <a:cxn ang="0">
                                <a:pos x="connsiteX384" y="connsiteY384"/>
                              </a:cxn>
                              <a:cxn ang="0">
                                <a:pos x="connsiteX385" y="connsiteY385"/>
                              </a:cxn>
                              <a:cxn ang="0">
                                <a:pos x="connsiteX386" y="connsiteY386"/>
                              </a:cxn>
                              <a:cxn ang="0">
                                <a:pos x="connsiteX387" y="connsiteY387"/>
                              </a:cxn>
                              <a:cxn ang="0">
                                <a:pos x="connsiteX388" y="connsiteY388"/>
                              </a:cxn>
                              <a:cxn ang="0">
                                <a:pos x="connsiteX389" y="connsiteY389"/>
                              </a:cxn>
                              <a:cxn ang="0">
                                <a:pos x="connsiteX390" y="connsiteY390"/>
                              </a:cxn>
                              <a:cxn ang="0">
                                <a:pos x="connsiteX391" y="connsiteY391"/>
                              </a:cxn>
                              <a:cxn ang="0">
                                <a:pos x="connsiteX392" y="connsiteY392"/>
                              </a:cxn>
                              <a:cxn ang="0">
                                <a:pos x="connsiteX393" y="connsiteY393"/>
                              </a:cxn>
                              <a:cxn ang="0">
                                <a:pos x="connsiteX394" y="connsiteY394"/>
                              </a:cxn>
                              <a:cxn ang="0">
                                <a:pos x="connsiteX395" y="connsiteY395"/>
                              </a:cxn>
                              <a:cxn ang="0">
                                <a:pos x="connsiteX396" y="connsiteY396"/>
                              </a:cxn>
                              <a:cxn ang="0">
                                <a:pos x="connsiteX397" y="connsiteY397"/>
                              </a:cxn>
                              <a:cxn ang="0">
                                <a:pos x="connsiteX398" y="connsiteY398"/>
                              </a:cxn>
                              <a:cxn ang="0">
                                <a:pos x="connsiteX399" y="connsiteY399"/>
                              </a:cxn>
                              <a:cxn ang="0">
                                <a:pos x="connsiteX400" y="connsiteY400"/>
                              </a:cxn>
                              <a:cxn ang="0">
                                <a:pos x="connsiteX401" y="connsiteY401"/>
                              </a:cxn>
                              <a:cxn ang="0">
                                <a:pos x="connsiteX402" y="connsiteY402"/>
                              </a:cxn>
                              <a:cxn ang="0">
                                <a:pos x="connsiteX403" y="connsiteY403"/>
                              </a:cxn>
                              <a:cxn ang="0">
                                <a:pos x="connsiteX404" y="connsiteY404"/>
                              </a:cxn>
                              <a:cxn ang="0">
                                <a:pos x="connsiteX405" y="connsiteY405"/>
                              </a:cxn>
                              <a:cxn ang="0">
                                <a:pos x="connsiteX406" y="connsiteY406"/>
                              </a:cxn>
                              <a:cxn ang="0">
                                <a:pos x="connsiteX407" y="connsiteY407"/>
                              </a:cxn>
                              <a:cxn ang="0">
                                <a:pos x="connsiteX408" y="connsiteY408"/>
                              </a:cxn>
                              <a:cxn ang="0">
                                <a:pos x="connsiteX409" y="connsiteY409"/>
                              </a:cxn>
                              <a:cxn ang="0">
                                <a:pos x="connsiteX410" y="connsiteY410"/>
                              </a:cxn>
                              <a:cxn ang="0">
                                <a:pos x="connsiteX411" y="connsiteY411"/>
                              </a:cxn>
                              <a:cxn ang="0">
                                <a:pos x="connsiteX412" y="connsiteY412"/>
                              </a:cxn>
                              <a:cxn ang="0">
                                <a:pos x="connsiteX413" y="connsiteY413"/>
                              </a:cxn>
                              <a:cxn ang="0">
                                <a:pos x="connsiteX414" y="connsiteY414"/>
                              </a:cxn>
                              <a:cxn ang="0">
                                <a:pos x="connsiteX415" y="connsiteY415"/>
                              </a:cxn>
                              <a:cxn ang="0">
                                <a:pos x="connsiteX416" y="connsiteY416"/>
                              </a:cxn>
                              <a:cxn ang="0">
                                <a:pos x="connsiteX417" y="connsiteY417"/>
                              </a:cxn>
                              <a:cxn ang="0">
                                <a:pos x="connsiteX418" y="connsiteY418"/>
                              </a:cxn>
                              <a:cxn ang="0">
                                <a:pos x="connsiteX419" y="connsiteY419"/>
                              </a:cxn>
                              <a:cxn ang="0">
                                <a:pos x="connsiteX420" y="connsiteY420"/>
                              </a:cxn>
                              <a:cxn ang="0">
                                <a:pos x="connsiteX421" y="connsiteY421"/>
                              </a:cxn>
                              <a:cxn ang="0">
                                <a:pos x="connsiteX422" y="connsiteY422"/>
                              </a:cxn>
                              <a:cxn ang="0">
                                <a:pos x="connsiteX423" y="connsiteY423"/>
                              </a:cxn>
                              <a:cxn ang="0">
                                <a:pos x="connsiteX424" y="connsiteY424"/>
                              </a:cxn>
                              <a:cxn ang="0">
                                <a:pos x="connsiteX425" y="connsiteY425"/>
                              </a:cxn>
                              <a:cxn ang="0">
                                <a:pos x="connsiteX426" y="connsiteY426"/>
                              </a:cxn>
                              <a:cxn ang="0">
                                <a:pos x="connsiteX427" y="connsiteY427"/>
                              </a:cxn>
                              <a:cxn ang="0">
                                <a:pos x="connsiteX428" y="connsiteY428"/>
                              </a:cxn>
                              <a:cxn ang="0">
                                <a:pos x="connsiteX429" y="connsiteY429"/>
                              </a:cxn>
                              <a:cxn ang="0">
                                <a:pos x="connsiteX430" y="connsiteY430"/>
                              </a:cxn>
                              <a:cxn ang="0">
                                <a:pos x="connsiteX431" y="connsiteY431"/>
                              </a:cxn>
                              <a:cxn ang="0">
                                <a:pos x="connsiteX432" y="connsiteY432"/>
                              </a:cxn>
                              <a:cxn ang="0">
                                <a:pos x="connsiteX433" y="connsiteY433"/>
                              </a:cxn>
                              <a:cxn ang="0">
                                <a:pos x="connsiteX434" y="connsiteY434"/>
                              </a:cxn>
                              <a:cxn ang="0">
                                <a:pos x="connsiteX435" y="connsiteY435"/>
                              </a:cxn>
                              <a:cxn ang="0">
                                <a:pos x="connsiteX436" y="connsiteY436"/>
                              </a:cxn>
                              <a:cxn ang="0">
                                <a:pos x="connsiteX437" y="connsiteY437"/>
                              </a:cxn>
                              <a:cxn ang="0">
                                <a:pos x="connsiteX438" y="connsiteY438"/>
                              </a:cxn>
                              <a:cxn ang="0">
                                <a:pos x="connsiteX439" y="connsiteY439"/>
                              </a:cxn>
                              <a:cxn ang="0">
                                <a:pos x="connsiteX440" y="connsiteY440"/>
                              </a:cxn>
                              <a:cxn ang="0">
                                <a:pos x="connsiteX441" y="connsiteY441"/>
                              </a:cxn>
                              <a:cxn ang="0">
                                <a:pos x="connsiteX442" y="connsiteY442"/>
                              </a:cxn>
                              <a:cxn ang="0">
                                <a:pos x="connsiteX443" y="connsiteY443"/>
                              </a:cxn>
                              <a:cxn ang="0">
                                <a:pos x="connsiteX444" y="connsiteY444"/>
                              </a:cxn>
                              <a:cxn ang="0">
                                <a:pos x="connsiteX445" y="connsiteY445"/>
                              </a:cxn>
                              <a:cxn ang="0">
                                <a:pos x="connsiteX446" y="connsiteY446"/>
                              </a:cxn>
                              <a:cxn ang="0">
                                <a:pos x="connsiteX447" y="connsiteY447"/>
                              </a:cxn>
                              <a:cxn ang="0">
                                <a:pos x="connsiteX448" y="connsiteY448"/>
                              </a:cxn>
                              <a:cxn ang="0">
                                <a:pos x="connsiteX449" y="connsiteY449"/>
                              </a:cxn>
                              <a:cxn ang="0">
                                <a:pos x="connsiteX450" y="connsiteY450"/>
                              </a:cxn>
                              <a:cxn ang="0">
                                <a:pos x="connsiteX451" y="connsiteY451"/>
                              </a:cxn>
                              <a:cxn ang="0">
                                <a:pos x="connsiteX452" y="connsiteY452"/>
                              </a:cxn>
                              <a:cxn ang="0">
                                <a:pos x="connsiteX453" y="connsiteY453"/>
                              </a:cxn>
                              <a:cxn ang="0">
                                <a:pos x="connsiteX454" y="connsiteY454"/>
                              </a:cxn>
                              <a:cxn ang="0">
                                <a:pos x="connsiteX455" y="connsiteY455"/>
                              </a:cxn>
                              <a:cxn ang="0">
                                <a:pos x="connsiteX456" y="connsiteY456"/>
                              </a:cxn>
                              <a:cxn ang="0">
                                <a:pos x="connsiteX457" y="connsiteY457"/>
                              </a:cxn>
                              <a:cxn ang="0">
                                <a:pos x="connsiteX458" y="connsiteY458"/>
                              </a:cxn>
                              <a:cxn ang="0">
                                <a:pos x="connsiteX459" y="connsiteY459"/>
                              </a:cxn>
                              <a:cxn ang="0">
                                <a:pos x="connsiteX460" y="connsiteY460"/>
                              </a:cxn>
                              <a:cxn ang="0">
                                <a:pos x="connsiteX461" y="connsiteY461"/>
                              </a:cxn>
                              <a:cxn ang="0">
                                <a:pos x="connsiteX462" y="connsiteY462"/>
                              </a:cxn>
                              <a:cxn ang="0">
                                <a:pos x="connsiteX463" y="connsiteY463"/>
                              </a:cxn>
                              <a:cxn ang="0">
                                <a:pos x="connsiteX464" y="connsiteY464"/>
                              </a:cxn>
                              <a:cxn ang="0">
                                <a:pos x="connsiteX465" y="connsiteY465"/>
                              </a:cxn>
                              <a:cxn ang="0">
                                <a:pos x="connsiteX466" y="connsiteY466"/>
                              </a:cxn>
                              <a:cxn ang="0">
                                <a:pos x="connsiteX467" y="connsiteY467"/>
                              </a:cxn>
                              <a:cxn ang="0">
                                <a:pos x="connsiteX468" y="connsiteY468"/>
                              </a:cxn>
                              <a:cxn ang="0">
                                <a:pos x="connsiteX469" y="connsiteY469"/>
                              </a:cxn>
                              <a:cxn ang="0">
                                <a:pos x="connsiteX470" y="connsiteY470"/>
                              </a:cxn>
                              <a:cxn ang="0">
                                <a:pos x="connsiteX471" y="connsiteY471"/>
                              </a:cxn>
                              <a:cxn ang="0">
                                <a:pos x="connsiteX472" y="connsiteY472"/>
                              </a:cxn>
                              <a:cxn ang="0">
                                <a:pos x="connsiteX473" y="connsiteY473"/>
                              </a:cxn>
                              <a:cxn ang="0">
                                <a:pos x="connsiteX474" y="connsiteY474"/>
                              </a:cxn>
                              <a:cxn ang="0">
                                <a:pos x="connsiteX475" y="connsiteY475"/>
                              </a:cxn>
                              <a:cxn ang="0">
                                <a:pos x="connsiteX476" y="connsiteY476"/>
                              </a:cxn>
                              <a:cxn ang="0">
                                <a:pos x="connsiteX477" y="connsiteY477"/>
                              </a:cxn>
                              <a:cxn ang="0">
                                <a:pos x="connsiteX478" y="connsiteY478"/>
                              </a:cxn>
                              <a:cxn ang="0">
                                <a:pos x="connsiteX479" y="connsiteY479"/>
                              </a:cxn>
                              <a:cxn ang="0">
                                <a:pos x="connsiteX480" y="connsiteY480"/>
                              </a:cxn>
                              <a:cxn ang="0">
                                <a:pos x="connsiteX481" y="connsiteY481"/>
                              </a:cxn>
                              <a:cxn ang="0">
                                <a:pos x="connsiteX482" y="connsiteY482"/>
                              </a:cxn>
                              <a:cxn ang="0">
                                <a:pos x="connsiteX483" y="connsiteY483"/>
                              </a:cxn>
                              <a:cxn ang="0">
                                <a:pos x="connsiteX484" y="connsiteY484"/>
                              </a:cxn>
                              <a:cxn ang="0">
                                <a:pos x="connsiteX485" y="connsiteY485"/>
                              </a:cxn>
                              <a:cxn ang="0">
                                <a:pos x="connsiteX486" y="connsiteY486"/>
                              </a:cxn>
                              <a:cxn ang="0">
                                <a:pos x="connsiteX487" y="connsiteY487"/>
                              </a:cxn>
                              <a:cxn ang="0">
                                <a:pos x="connsiteX488" y="connsiteY488"/>
                              </a:cxn>
                              <a:cxn ang="0">
                                <a:pos x="connsiteX489" y="connsiteY489"/>
                              </a:cxn>
                              <a:cxn ang="0">
                                <a:pos x="connsiteX490" y="connsiteY490"/>
                              </a:cxn>
                              <a:cxn ang="0">
                                <a:pos x="connsiteX491" y="connsiteY491"/>
                              </a:cxn>
                              <a:cxn ang="0">
                                <a:pos x="connsiteX492" y="connsiteY492"/>
                              </a:cxn>
                              <a:cxn ang="0">
                                <a:pos x="connsiteX493" y="connsiteY493"/>
                              </a:cxn>
                              <a:cxn ang="0">
                                <a:pos x="connsiteX494" y="connsiteY494"/>
                              </a:cxn>
                              <a:cxn ang="0">
                                <a:pos x="connsiteX495" y="connsiteY495"/>
                              </a:cxn>
                              <a:cxn ang="0">
                                <a:pos x="connsiteX496" y="connsiteY496"/>
                              </a:cxn>
                              <a:cxn ang="0">
                                <a:pos x="connsiteX497" y="connsiteY497"/>
                              </a:cxn>
                              <a:cxn ang="0">
                                <a:pos x="connsiteX498" y="connsiteY498"/>
                              </a:cxn>
                              <a:cxn ang="0">
                                <a:pos x="connsiteX499" y="connsiteY499"/>
                              </a:cxn>
                              <a:cxn ang="0">
                                <a:pos x="connsiteX500" y="connsiteY500"/>
                              </a:cxn>
                              <a:cxn ang="0">
                                <a:pos x="connsiteX501" y="connsiteY501"/>
                              </a:cxn>
                              <a:cxn ang="0">
                                <a:pos x="connsiteX502" y="connsiteY502"/>
                              </a:cxn>
                              <a:cxn ang="0">
                                <a:pos x="connsiteX503" y="connsiteY503"/>
                              </a:cxn>
                              <a:cxn ang="0">
                                <a:pos x="connsiteX504" y="connsiteY504"/>
                              </a:cxn>
                              <a:cxn ang="0">
                                <a:pos x="connsiteX505" y="connsiteY505"/>
                              </a:cxn>
                              <a:cxn ang="0">
                                <a:pos x="connsiteX506" y="connsiteY506"/>
                              </a:cxn>
                              <a:cxn ang="0">
                                <a:pos x="connsiteX507" y="connsiteY507"/>
                              </a:cxn>
                              <a:cxn ang="0">
                                <a:pos x="connsiteX508" y="connsiteY508"/>
                              </a:cxn>
                              <a:cxn ang="0">
                                <a:pos x="connsiteX509" y="connsiteY509"/>
                              </a:cxn>
                              <a:cxn ang="0">
                                <a:pos x="connsiteX510" y="connsiteY510"/>
                              </a:cxn>
                              <a:cxn ang="0">
                                <a:pos x="connsiteX511" y="connsiteY511"/>
                              </a:cxn>
                              <a:cxn ang="0">
                                <a:pos x="connsiteX512" y="connsiteY512"/>
                              </a:cxn>
                              <a:cxn ang="0">
                                <a:pos x="connsiteX513" y="connsiteY513"/>
                              </a:cxn>
                              <a:cxn ang="0">
                                <a:pos x="connsiteX514" y="connsiteY514"/>
                              </a:cxn>
                              <a:cxn ang="0">
                                <a:pos x="connsiteX515" y="connsiteY515"/>
                              </a:cxn>
                              <a:cxn ang="0">
                                <a:pos x="connsiteX516" y="connsiteY516"/>
                              </a:cxn>
                              <a:cxn ang="0">
                                <a:pos x="connsiteX517" y="connsiteY517"/>
                              </a:cxn>
                              <a:cxn ang="0">
                                <a:pos x="connsiteX518" y="connsiteY518"/>
                              </a:cxn>
                              <a:cxn ang="0">
                                <a:pos x="connsiteX519" y="connsiteY519"/>
                              </a:cxn>
                              <a:cxn ang="0">
                                <a:pos x="connsiteX520" y="connsiteY520"/>
                              </a:cxn>
                              <a:cxn ang="0">
                                <a:pos x="connsiteX521" y="connsiteY521"/>
                              </a:cxn>
                              <a:cxn ang="0">
                                <a:pos x="connsiteX522" y="connsiteY522"/>
                              </a:cxn>
                              <a:cxn ang="0">
                                <a:pos x="connsiteX523" y="connsiteY523"/>
                              </a:cxn>
                              <a:cxn ang="0">
                                <a:pos x="connsiteX524" y="connsiteY524"/>
                              </a:cxn>
                              <a:cxn ang="0">
                                <a:pos x="connsiteX525" y="connsiteY525"/>
                              </a:cxn>
                              <a:cxn ang="0">
                                <a:pos x="connsiteX526" y="connsiteY526"/>
                              </a:cxn>
                              <a:cxn ang="0">
                                <a:pos x="connsiteX527" y="connsiteY527"/>
                              </a:cxn>
                              <a:cxn ang="0">
                                <a:pos x="connsiteX528" y="connsiteY528"/>
                              </a:cxn>
                              <a:cxn ang="0">
                                <a:pos x="connsiteX529" y="connsiteY529"/>
                              </a:cxn>
                              <a:cxn ang="0">
                                <a:pos x="connsiteX530" y="connsiteY530"/>
                              </a:cxn>
                              <a:cxn ang="0">
                                <a:pos x="connsiteX531" y="connsiteY531"/>
                              </a:cxn>
                              <a:cxn ang="0">
                                <a:pos x="connsiteX532" y="connsiteY532"/>
                              </a:cxn>
                              <a:cxn ang="0">
                                <a:pos x="connsiteX533" y="connsiteY533"/>
                              </a:cxn>
                              <a:cxn ang="0">
                                <a:pos x="connsiteX534" y="connsiteY534"/>
                              </a:cxn>
                              <a:cxn ang="0">
                                <a:pos x="connsiteX535" y="connsiteY535"/>
                              </a:cxn>
                              <a:cxn ang="0">
                                <a:pos x="connsiteX536" y="connsiteY536"/>
                              </a:cxn>
                              <a:cxn ang="0">
                                <a:pos x="connsiteX537" y="connsiteY537"/>
                              </a:cxn>
                              <a:cxn ang="0">
                                <a:pos x="connsiteX538" y="connsiteY538"/>
                              </a:cxn>
                              <a:cxn ang="0">
                                <a:pos x="connsiteX539" y="connsiteY539"/>
                              </a:cxn>
                              <a:cxn ang="0">
                                <a:pos x="connsiteX540" y="connsiteY540"/>
                              </a:cxn>
                              <a:cxn ang="0">
                                <a:pos x="connsiteX541" y="connsiteY541"/>
                              </a:cxn>
                              <a:cxn ang="0">
                                <a:pos x="connsiteX542" y="connsiteY542"/>
                              </a:cxn>
                              <a:cxn ang="0">
                                <a:pos x="connsiteX543" y="connsiteY543"/>
                              </a:cxn>
                              <a:cxn ang="0">
                                <a:pos x="connsiteX544" y="connsiteY544"/>
                              </a:cxn>
                              <a:cxn ang="0">
                                <a:pos x="connsiteX545" y="connsiteY545"/>
                              </a:cxn>
                              <a:cxn ang="0">
                                <a:pos x="connsiteX546" y="connsiteY546"/>
                              </a:cxn>
                              <a:cxn ang="0">
                                <a:pos x="connsiteX547" y="connsiteY547"/>
                              </a:cxn>
                              <a:cxn ang="0">
                                <a:pos x="connsiteX548" y="connsiteY548"/>
                              </a:cxn>
                              <a:cxn ang="0">
                                <a:pos x="connsiteX549" y="connsiteY549"/>
                              </a:cxn>
                              <a:cxn ang="0">
                                <a:pos x="connsiteX550" y="connsiteY550"/>
                              </a:cxn>
                              <a:cxn ang="0">
                                <a:pos x="connsiteX551" y="connsiteY551"/>
                              </a:cxn>
                              <a:cxn ang="0">
                                <a:pos x="connsiteX552" y="connsiteY552"/>
                              </a:cxn>
                              <a:cxn ang="0">
                                <a:pos x="connsiteX553" y="connsiteY553"/>
                              </a:cxn>
                              <a:cxn ang="0">
                                <a:pos x="connsiteX554" y="connsiteY554"/>
                              </a:cxn>
                              <a:cxn ang="0">
                                <a:pos x="connsiteX555" y="connsiteY555"/>
                              </a:cxn>
                              <a:cxn ang="0">
                                <a:pos x="connsiteX556" y="connsiteY556"/>
                              </a:cxn>
                              <a:cxn ang="0">
                                <a:pos x="connsiteX557" y="connsiteY557"/>
                              </a:cxn>
                              <a:cxn ang="0">
                                <a:pos x="connsiteX558" y="connsiteY558"/>
                              </a:cxn>
                              <a:cxn ang="0">
                                <a:pos x="connsiteX559" y="connsiteY559"/>
                              </a:cxn>
                              <a:cxn ang="0">
                                <a:pos x="connsiteX560" y="connsiteY560"/>
                              </a:cxn>
                              <a:cxn ang="0">
                                <a:pos x="connsiteX561" y="connsiteY561"/>
                              </a:cxn>
                              <a:cxn ang="0">
                                <a:pos x="connsiteX562" y="connsiteY562"/>
                              </a:cxn>
                              <a:cxn ang="0">
                                <a:pos x="connsiteX563" y="connsiteY563"/>
                              </a:cxn>
                              <a:cxn ang="0">
                                <a:pos x="connsiteX564" y="connsiteY564"/>
                              </a:cxn>
                              <a:cxn ang="0">
                                <a:pos x="connsiteX565" y="connsiteY565"/>
                              </a:cxn>
                              <a:cxn ang="0">
                                <a:pos x="connsiteX566" y="connsiteY566"/>
                              </a:cxn>
                              <a:cxn ang="0">
                                <a:pos x="connsiteX567" y="connsiteY567"/>
                              </a:cxn>
                              <a:cxn ang="0">
                                <a:pos x="connsiteX568" y="connsiteY568"/>
                              </a:cxn>
                              <a:cxn ang="0">
                                <a:pos x="connsiteX569" y="connsiteY569"/>
                              </a:cxn>
                              <a:cxn ang="0">
                                <a:pos x="connsiteX570" y="connsiteY570"/>
                              </a:cxn>
                              <a:cxn ang="0">
                                <a:pos x="connsiteX571" y="connsiteY571"/>
                              </a:cxn>
                              <a:cxn ang="0">
                                <a:pos x="connsiteX572" y="connsiteY572"/>
                              </a:cxn>
                              <a:cxn ang="0">
                                <a:pos x="connsiteX573" y="connsiteY573"/>
                              </a:cxn>
                              <a:cxn ang="0">
                                <a:pos x="connsiteX574" y="connsiteY574"/>
                              </a:cxn>
                              <a:cxn ang="0">
                                <a:pos x="connsiteX575" y="connsiteY575"/>
                              </a:cxn>
                              <a:cxn ang="0">
                                <a:pos x="connsiteX576" y="connsiteY576"/>
                              </a:cxn>
                              <a:cxn ang="0">
                                <a:pos x="connsiteX577" y="connsiteY577"/>
                              </a:cxn>
                              <a:cxn ang="0">
                                <a:pos x="connsiteX578" y="connsiteY578"/>
                              </a:cxn>
                              <a:cxn ang="0">
                                <a:pos x="connsiteX579" y="connsiteY579"/>
                              </a:cxn>
                              <a:cxn ang="0">
                                <a:pos x="connsiteX580" y="connsiteY580"/>
                              </a:cxn>
                              <a:cxn ang="0">
                                <a:pos x="connsiteX581" y="connsiteY581"/>
                              </a:cxn>
                              <a:cxn ang="0">
                                <a:pos x="connsiteX582" y="connsiteY582"/>
                              </a:cxn>
                              <a:cxn ang="0">
                                <a:pos x="connsiteX583" y="connsiteY583"/>
                              </a:cxn>
                              <a:cxn ang="0">
                                <a:pos x="connsiteX584" y="connsiteY584"/>
                              </a:cxn>
                              <a:cxn ang="0">
                                <a:pos x="connsiteX585" y="connsiteY585"/>
                              </a:cxn>
                              <a:cxn ang="0">
                                <a:pos x="connsiteX586" y="connsiteY586"/>
                              </a:cxn>
                              <a:cxn ang="0">
                                <a:pos x="connsiteX587" y="connsiteY587"/>
                              </a:cxn>
                              <a:cxn ang="0">
                                <a:pos x="connsiteX588" y="connsiteY588"/>
                              </a:cxn>
                              <a:cxn ang="0">
                                <a:pos x="connsiteX589" y="connsiteY589"/>
                              </a:cxn>
                              <a:cxn ang="0">
                                <a:pos x="connsiteX590" y="connsiteY590"/>
                              </a:cxn>
                              <a:cxn ang="0">
                                <a:pos x="connsiteX591" y="connsiteY591"/>
                              </a:cxn>
                              <a:cxn ang="0">
                                <a:pos x="connsiteX592" y="connsiteY592"/>
                              </a:cxn>
                              <a:cxn ang="0">
                                <a:pos x="connsiteX593" y="connsiteY593"/>
                              </a:cxn>
                              <a:cxn ang="0">
                                <a:pos x="connsiteX594" y="connsiteY594"/>
                              </a:cxn>
                              <a:cxn ang="0">
                                <a:pos x="connsiteX595" y="connsiteY595"/>
                              </a:cxn>
                              <a:cxn ang="0">
                                <a:pos x="connsiteX596" y="connsiteY596"/>
                              </a:cxn>
                              <a:cxn ang="0">
                                <a:pos x="connsiteX597" y="connsiteY597"/>
                              </a:cxn>
                              <a:cxn ang="0">
                                <a:pos x="connsiteX598" y="connsiteY598"/>
                              </a:cxn>
                              <a:cxn ang="0">
                                <a:pos x="connsiteX599" y="connsiteY599"/>
                              </a:cxn>
                              <a:cxn ang="0">
                                <a:pos x="connsiteX600" y="connsiteY600"/>
                              </a:cxn>
                              <a:cxn ang="0">
                                <a:pos x="connsiteX601" y="connsiteY601"/>
                              </a:cxn>
                              <a:cxn ang="0">
                                <a:pos x="connsiteX602" y="connsiteY602"/>
                              </a:cxn>
                              <a:cxn ang="0">
                                <a:pos x="connsiteX603" y="connsiteY603"/>
                              </a:cxn>
                              <a:cxn ang="0">
                                <a:pos x="connsiteX604" y="connsiteY604"/>
                              </a:cxn>
                              <a:cxn ang="0">
                                <a:pos x="connsiteX605" y="connsiteY605"/>
                              </a:cxn>
                              <a:cxn ang="0">
                                <a:pos x="connsiteX606" y="connsiteY606"/>
                              </a:cxn>
                              <a:cxn ang="0">
                                <a:pos x="connsiteX607" y="connsiteY607"/>
                              </a:cxn>
                              <a:cxn ang="0">
                                <a:pos x="connsiteX608" y="connsiteY608"/>
                              </a:cxn>
                              <a:cxn ang="0">
                                <a:pos x="connsiteX609" y="connsiteY609"/>
                              </a:cxn>
                              <a:cxn ang="0">
                                <a:pos x="connsiteX610" y="connsiteY610"/>
                              </a:cxn>
                              <a:cxn ang="0">
                                <a:pos x="connsiteX611" y="connsiteY611"/>
                              </a:cxn>
                              <a:cxn ang="0">
                                <a:pos x="connsiteX612" y="connsiteY612"/>
                              </a:cxn>
                              <a:cxn ang="0">
                                <a:pos x="connsiteX613" y="connsiteY613"/>
                              </a:cxn>
                              <a:cxn ang="0">
                                <a:pos x="connsiteX614" y="connsiteY614"/>
                              </a:cxn>
                              <a:cxn ang="0">
                                <a:pos x="connsiteX615" y="connsiteY615"/>
                              </a:cxn>
                              <a:cxn ang="0">
                                <a:pos x="connsiteX616" y="connsiteY616"/>
                              </a:cxn>
                              <a:cxn ang="0">
                                <a:pos x="connsiteX617" y="connsiteY617"/>
                              </a:cxn>
                              <a:cxn ang="0">
                                <a:pos x="connsiteX618" y="connsiteY618"/>
                              </a:cxn>
                              <a:cxn ang="0">
                                <a:pos x="connsiteX619" y="connsiteY619"/>
                              </a:cxn>
                              <a:cxn ang="0">
                                <a:pos x="connsiteX620" y="connsiteY620"/>
                              </a:cxn>
                              <a:cxn ang="0">
                                <a:pos x="connsiteX621" y="connsiteY621"/>
                              </a:cxn>
                              <a:cxn ang="0">
                                <a:pos x="connsiteX622" y="connsiteY622"/>
                              </a:cxn>
                              <a:cxn ang="0">
                                <a:pos x="connsiteX623" y="connsiteY623"/>
                              </a:cxn>
                              <a:cxn ang="0">
                                <a:pos x="connsiteX624" y="connsiteY624"/>
                              </a:cxn>
                              <a:cxn ang="0">
                                <a:pos x="connsiteX625" y="connsiteY625"/>
                              </a:cxn>
                              <a:cxn ang="0">
                                <a:pos x="connsiteX626" y="connsiteY626"/>
                              </a:cxn>
                              <a:cxn ang="0">
                                <a:pos x="connsiteX627" y="connsiteY627"/>
                              </a:cxn>
                              <a:cxn ang="0">
                                <a:pos x="connsiteX628" y="connsiteY628"/>
                              </a:cxn>
                              <a:cxn ang="0">
                                <a:pos x="connsiteX629" y="connsiteY629"/>
                              </a:cxn>
                              <a:cxn ang="0">
                                <a:pos x="connsiteX630" y="connsiteY630"/>
                              </a:cxn>
                              <a:cxn ang="0">
                                <a:pos x="connsiteX631" y="connsiteY631"/>
                              </a:cxn>
                              <a:cxn ang="0">
                                <a:pos x="connsiteX632" y="connsiteY632"/>
                              </a:cxn>
                              <a:cxn ang="0">
                                <a:pos x="connsiteX633" y="connsiteY633"/>
                              </a:cxn>
                              <a:cxn ang="0">
                                <a:pos x="connsiteX634" y="connsiteY634"/>
                              </a:cxn>
                              <a:cxn ang="0">
                                <a:pos x="connsiteX635" y="connsiteY635"/>
                              </a:cxn>
                              <a:cxn ang="0">
                                <a:pos x="connsiteX636" y="connsiteY636"/>
                              </a:cxn>
                              <a:cxn ang="0">
                                <a:pos x="connsiteX637" y="connsiteY637"/>
                              </a:cxn>
                              <a:cxn ang="0">
                                <a:pos x="connsiteX638" y="connsiteY638"/>
                              </a:cxn>
                              <a:cxn ang="0">
                                <a:pos x="connsiteX639" y="connsiteY639"/>
                              </a:cxn>
                              <a:cxn ang="0">
                                <a:pos x="connsiteX640" y="connsiteY640"/>
                              </a:cxn>
                              <a:cxn ang="0">
                                <a:pos x="connsiteX641" y="connsiteY641"/>
                              </a:cxn>
                              <a:cxn ang="0">
                                <a:pos x="connsiteX642" y="connsiteY642"/>
                              </a:cxn>
                              <a:cxn ang="0">
                                <a:pos x="connsiteX643" y="connsiteY643"/>
                              </a:cxn>
                              <a:cxn ang="0">
                                <a:pos x="connsiteX644" y="connsiteY644"/>
                              </a:cxn>
                              <a:cxn ang="0">
                                <a:pos x="connsiteX645" y="connsiteY645"/>
                              </a:cxn>
                              <a:cxn ang="0">
                                <a:pos x="connsiteX646" y="connsiteY646"/>
                              </a:cxn>
                              <a:cxn ang="0">
                                <a:pos x="connsiteX647" y="connsiteY647"/>
                              </a:cxn>
                              <a:cxn ang="0">
                                <a:pos x="connsiteX648" y="connsiteY648"/>
                              </a:cxn>
                              <a:cxn ang="0">
                                <a:pos x="connsiteX649" y="connsiteY649"/>
                              </a:cxn>
                              <a:cxn ang="0">
                                <a:pos x="connsiteX650" y="connsiteY650"/>
                              </a:cxn>
                              <a:cxn ang="0">
                                <a:pos x="connsiteX651" y="connsiteY651"/>
                              </a:cxn>
                              <a:cxn ang="0">
                                <a:pos x="connsiteX652" y="connsiteY652"/>
                              </a:cxn>
                              <a:cxn ang="0">
                                <a:pos x="connsiteX653" y="connsiteY653"/>
                              </a:cxn>
                              <a:cxn ang="0">
                                <a:pos x="connsiteX654" y="connsiteY654"/>
                              </a:cxn>
                              <a:cxn ang="0">
                                <a:pos x="connsiteX655" y="connsiteY655"/>
                              </a:cxn>
                              <a:cxn ang="0">
                                <a:pos x="connsiteX656" y="connsiteY656"/>
                              </a:cxn>
                              <a:cxn ang="0">
                                <a:pos x="connsiteX657" y="connsiteY657"/>
                              </a:cxn>
                              <a:cxn ang="0">
                                <a:pos x="connsiteX658" y="connsiteY658"/>
                              </a:cxn>
                              <a:cxn ang="0">
                                <a:pos x="connsiteX659" y="connsiteY659"/>
                              </a:cxn>
                              <a:cxn ang="0">
                                <a:pos x="connsiteX660" y="connsiteY660"/>
                              </a:cxn>
                              <a:cxn ang="0">
                                <a:pos x="connsiteX661" y="connsiteY661"/>
                              </a:cxn>
                              <a:cxn ang="0">
                                <a:pos x="connsiteX662" y="connsiteY662"/>
                              </a:cxn>
                              <a:cxn ang="0">
                                <a:pos x="connsiteX663" y="connsiteY663"/>
                              </a:cxn>
                              <a:cxn ang="0">
                                <a:pos x="connsiteX664" y="connsiteY664"/>
                              </a:cxn>
                              <a:cxn ang="0">
                                <a:pos x="connsiteX665" y="connsiteY665"/>
                              </a:cxn>
                              <a:cxn ang="0">
                                <a:pos x="connsiteX666" y="connsiteY666"/>
                              </a:cxn>
                              <a:cxn ang="0">
                                <a:pos x="connsiteX667" y="connsiteY667"/>
                              </a:cxn>
                              <a:cxn ang="0">
                                <a:pos x="connsiteX668" y="connsiteY668"/>
                              </a:cxn>
                              <a:cxn ang="0">
                                <a:pos x="connsiteX669" y="connsiteY669"/>
                              </a:cxn>
                              <a:cxn ang="0">
                                <a:pos x="connsiteX670" y="connsiteY670"/>
                              </a:cxn>
                              <a:cxn ang="0">
                                <a:pos x="connsiteX671" y="connsiteY671"/>
                              </a:cxn>
                              <a:cxn ang="0">
                                <a:pos x="connsiteX672" y="connsiteY672"/>
                              </a:cxn>
                              <a:cxn ang="0">
                                <a:pos x="connsiteX673" y="connsiteY673"/>
                              </a:cxn>
                              <a:cxn ang="0">
                                <a:pos x="connsiteX674" y="connsiteY674"/>
                              </a:cxn>
                              <a:cxn ang="0">
                                <a:pos x="connsiteX675" y="connsiteY675"/>
                              </a:cxn>
                              <a:cxn ang="0">
                                <a:pos x="connsiteX676" y="connsiteY676"/>
                              </a:cxn>
                              <a:cxn ang="0">
                                <a:pos x="connsiteX677" y="connsiteY677"/>
                              </a:cxn>
                              <a:cxn ang="0">
                                <a:pos x="connsiteX678" y="connsiteY678"/>
                              </a:cxn>
                              <a:cxn ang="0">
                                <a:pos x="connsiteX679" y="connsiteY679"/>
                              </a:cxn>
                              <a:cxn ang="0">
                                <a:pos x="connsiteX680" y="connsiteY680"/>
                              </a:cxn>
                              <a:cxn ang="0">
                                <a:pos x="connsiteX681" y="connsiteY681"/>
                              </a:cxn>
                              <a:cxn ang="0">
                                <a:pos x="connsiteX682" y="connsiteY682"/>
                              </a:cxn>
                              <a:cxn ang="0">
                                <a:pos x="connsiteX683" y="connsiteY683"/>
                              </a:cxn>
                              <a:cxn ang="0">
                                <a:pos x="connsiteX684" y="connsiteY684"/>
                              </a:cxn>
                              <a:cxn ang="0">
                                <a:pos x="connsiteX685" y="connsiteY685"/>
                              </a:cxn>
                              <a:cxn ang="0">
                                <a:pos x="connsiteX686" y="connsiteY686"/>
                              </a:cxn>
                              <a:cxn ang="0">
                                <a:pos x="connsiteX687" y="connsiteY687"/>
                              </a:cxn>
                              <a:cxn ang="0">
                                <a:pos x="connsiteX688" y="connsiteY688"/>
                              </a:cxn>
                              <a:cxn ang="0">
                                <a:pos x="connsiteX689" y="connsiteY689"/>
                              </a:cxn>
                              <a:cxn ang="0">
                                <a:pos x="connsiteX690" y="connsiteY690"/>
                              </a:cxn>
                              <a:cxn ang="0">
                                <a:pos x="connsiteX691" y="connsiteY691"/>
                              </a:cxn>
                              <a:cxn ang="0">
                                <a:pos x="connsiteX692" y="connsiteY692"/>
                              </a:cxn>
                              <a:cxn ang="0">
                                <a:pos x="connsiteX693" y="connsiteY693"/>
                              </a:cxn>
                              <a:cxn ang="0">
                                <a:pos x="connsiteX694" y="connsiteY694"/>
                              </a:cxn>
                              <a:cxn ang="0">
                                <a:pos x="connsiteX695" y="connsiteY695"/>
                              </a:cxn>
                              <a:cxn ang="0">
                                <a:pos x="connsiteX696" y="connsiteY696"/>
                              </a:cxn>
                              <a:cxn ang="0">
                                <a:pos x="connsiteX697" y="connsiteY697"/>
                              </a:cxn>
                              <a:cxn ang="0">
                                <a:pos x="connsiteX698" y="connsiteY698"/>
                              </a:cxn>
                              <a:cxn ang="0">
                                <a:pos x="connsiteX699" y="connsiteY699"/>
                              </a:cxn>
                              <a:cxn ang="0">
                                <a:pos x="connsiteX700" y="connsiteY700"/>
                              </a:cxn>
                              <a:cxn ang="0">
                                <a:pos x="connsiteX701" y="connsiteY701"/>
                              </a:cxn>
                              <a:cxn ang="0">
                                <a:pos x="connsiteX702" y="connsiteY702"/>
                              </a:cxn>
                              <a:cxn ang="0">
                                <a:pos x="connsiteX703" y="connsiteY703"/>
                              </a:cxn>
                              <a:cxn ang="0">
                                <a:pos x="connsiteX704" y="connsiteY704"/>
                              </a:cxn>
                              <a:cxn ang="0">
                                <a:pos x="connsiteX705" y="connsiteY705"/>
                              </a:cxn>
                              <a:cxn ang="0">
                                <a:pos x="connsiteX706" y="connsiteY706"/>
                              </a:cxn>
                              <a:cxn ang="0">
                                <a:pos x="connsiteX707" y="connsiteY707"/>
                              </a:cxn>
                              <a:cxn ang="0">
                                <a:pos x="connsiteX708" y="connsiteY708"/>
                              </a:cxn>
                              <a:cxn ang="0">
                                <a:pos x="connsiteX709" y="connsiteY709"/>
                              </a:cxn>
                              <a:cxn ang="0">
                                <a:pos x="connsiteX710" y="connsiteY710"/>
                              </a:cxn>
                              <a:cxn ang="0">
                                <a:pos x="connsiteX711" y="connsiteY711"/>
                              </a:cxn>
                              <a:cxn ang="0">
                                <a:pos x="connsiteX712" y="connsiteY712"/>
                              </a:cxn>
                              <a:cxn ang="0">
                                <a:pos x="connsiteX713" y="connsiteY713"/>
                              </a:cxn>
                              <a:cxn ang="0">
                                <a:pos x="connsiteX714" y="connsiteY714"/>
                              </a:cxn>
                              <a:cxn ang="0">
                                <a:pos x="connsiteX715" y="connsiteY715"/>
                              </a:cxn>
                              <a:cxn ang="0">
                                <a:pos x="connsiteX716" y="connsiteY716"/>
                              </a:cxn>
                              <a:cxn ang="0">
                                <a:pos x="connsiteX717" y="connsiteY717"/>
                              </a:cxn>
                              <a:cxn ang="0">
                                <a:pos x="connsiteX718" y="connsiteY718"/>
                              </a:cxn>
                              <a:cxn ang="0">
                                <a:pos x="connsiteX719" y="connsiteY719"/>
                              </a:cxn>
                              <a:cxn ang="0">
                                <a:pos x="connsiteX720" y="connsiteY720"/>
                              </a:cxn>
                              <a:cxn ang="0">
                                <a:pos x="connsiteX721" y="connsiteY721"/>
                              </a:cxn>
                              <a:cxn ang="0">
                                <a:pos x="connsiteX722" y="connsiteY722"/>
                              </a:cxn>
                              <a:cxn ang="0">
                                <a:pos x="connsiteX723" y="connsiteY723"/>
                              </a:cxn>
                              <a:cxn ang="0">
                                <a:pos x="connsiteX724" y="connsiteY724"/>
                              </a:cxn>
                              <a:cxn ang="0">
                                <a:pos x="connsiteX725" y="connsiteY725"/>
                              </a:cxn>
                              <a:cxn ang="0">
                                <a:pos x="connsiteX726" y="connsiteY726"/>
                              </a:cxn>
                              <a:cxn ang="0">
                                <a:pos x="connsiteX727" y="connsiteY727"/>
                              </a:cxn>
                              <a:cxn ang="0">
                                <a:pos x="connsiteX728" y="connsiteY728"/>
                              </a:cxn>
                              <a:cxn ang="0">
                                <a:pos x="connsiteX729" y="connsiteY729"/>
                              </a:cxn>
                              <a:cxn ang="0">
                                <a:pos x="connsiteX730" y="connsiteY730"/>
                              </a:cxn>
                              <a:cxn ang="0">
                                <a:pos x="connsiteX731" y="connsiteY731"/>
                              </a:cxn>
                              <a:cxn ang="0">
                                <a:pos x="connsiteX732" y="connsiteY732"/>
                              </a:cxn>
                              <a:cxn ang="0">
                                <a:pos x="connsiteX733" y="connsiteY733"/>
                              </a:cxn>
                              <a:cxn ang="0">
                                <a:pos x="connsiteX734" y="connsiteY734"/>
                              </a:cxn>
                              <a:cxn ang="0">
                                <a:pos x="connsiteX735" y="connsiteY735"/>
                              </a:cxn>
                              <a:cxn ang="0">
                                <a:pos x="connsiteX736" y="connsiteY736"/>
                              </a:cxn>
                              <a:cxn ang="0">
                                <a:pos x="connsiteX737" y="connsiteY737"/>
                              </a:cxn>
                              <a:cxn ang="0">
                                <a:pos x="connsiteX738" y="connsiteY738"/>
                              </a:cxn>
                              <a:cxn ang="0">
                                <a:pos x="connsiteX739" y="connsiteY739"/>
                              </a:cxn>
                              <a:cxn ang="0">
                                <a:pos x="connsiteX740" y="connsiteY740"/>
                              </a:cxn>
                              <a:cxn ang="0">
                                <a:pos x="connsiteX741" y="connsiteY741"/>
                              </a:cxn>
                              <a:cxn ang="0">
                                <a:pos x="connsiteX742" y="connsiteY742"/>
                              </a:cxn>
                              <a:cxn ang="0">
                                <a:pos x="connsiteX743" y="connsiteY743"/>
                              </a:cxn>
                              <a:cxn ang="0">
                                <a:pos x="connsiteX744" y="connsiteY744"/>
                              </a:cxn>
                              <a:cxn ang="0">
                                <a:pos x="connsiteX745" y="connsiteY745"/>
                              </a:cxn>
                              <a:cxn ang="0">
                                <a:pos x="connsiteX746" y="connsiteY746"/>
                              </a:cxn>
                              <a:cxn ang="0">
                                <a:pos x="connsiteX747" y="connsiteY747"/>
                              </a:cxn>
                              <a:cxn ang="0">
                                <a:pos x="connsiteX748" y="connsiteY748"/>
                              </a:cxn>
                              <a:cxn ang="0">
                                <a:pos x="connsiteX749" y="connsiteY749"/>
                              </a:cxn>
                              <a:cxn ang="0">
                                <a:pos x="connsiteX750" y="connsiteY750"/>
                              </a:cxn>
                              <a:cxn ang="0">
                                <a:pos x="connsiteX751" y="connsiteY751"/>
                              </a:cxn>
                              <a:cxn ang="0">
                                <a:pos x="connsiteX752" y="connsiteY752"/>
                              </a:cxn>
                              <a:cxn ang="0">
                                <a:pos x="connsiteX753" y="connsiteY753"/>
                              </a:cxn>
                              <a:cxn ang="0">
                                <a:pos x="connsiteX754" y="connsiteY754"/>
                              </a:cxn>
                              <a:cxn ang="0">
                                <a:pos x="connsiteX755" y="connsiteY755"/>
                              </a:cxn>
                              <a:cxn ang="0">
                                <a:pos x="connsiteX756" y="connsiteY756"/>
                              </a:cxn>
                              <a:cxn ang="0">
                                <a:pos x="connsiteX757" y="connsiteY757"/>
                              </a:cxn>
                              <a:cxn ang="0">
                                <a:pos x="connsiteX758" y="connsiteY758"/>
                              </a:cxn>
                              <a:cxn ang="0">
                                <a:pos x="connsiteX759" y="connsiteY759"/>
                              </a:cxn>
                              <a:cxn ang="0">
                                <a:pos x="connsiteX760" y="connsiteY760"/>
                              </a:cxn>
                              <a:cxn ang="0">
                                <a:pos x="connsiteX761" y="connsiteY761"/>
                              </a:cxn>
                              <a:cxn ang="0">
                                <a:pos x="connsiteX762" y="connsiteY762"/>
                              </a:cxn>
                              <a:cxn ang="0">
                                <a:pos x="connsiteX763" y="connsiteY763"/>
                              </a:cxn>
                              <a:cxn ang="0">
                                <a:pos x="connsiteX764" y="connsiteY764"/>
                              </a:cxn>
                              <a:cxn ang="0">
                                <a:pos x="connsiteX765" y="connsiteY765"/>
                              </a:cxn>
                              <a:cxn ang="0">
                                <a:pos x="connsiteX766" y="connsiteY766"/>
                              </a:cxn>
                              <a:cxn ang="0">
                                <a:pos x="connsiteX767" y="connsiteY767"/>
                              </a:cxn>
                              <a:cxn ang="0">
                                <a:pos x="connsiteX768" y="connsiteY768"/>
                              </a:cxn>
                              <a:cxn ang="0">
                                <a:pos x="connsiteX769" y="connsiteY769"/>
                              </a:cxn>
                              <a:cxn ang="0">
                                <a:pos x="connsiteX770" y="connsiteY770"/>
                              </a:cxn>
                              <a:cxn ang="0">
                                <a:pos x="connsiteX771" y="connsiteY771"/>
                              </a:cxn>
                              <a:cxn ang="0">
                                <a:pos x="connsiteX772" y="connsiteY772"/>
                              </a:cxn>
                              <a:cxn ang="0">
                                <a:pos x="connsiteX773" y="connsiteY773"/>
                              </a:cxn>
                              <a:cxn ang="0">
                                <a:pos x="connsiteX774" y="connsiteY774"/>
                              </a:cxn>
                              <a:cxn ang="0">
                                <a:pos x="connsiteX775" y="connsiteY775"/>
                              </a:cxn>
                              <a:cxn ang="0">
                                <a:pos x="connsiteX776" y="connsiteY776"/>
                              </a:cxn>
                              <a:cxn ang="0">
                                <a:pos x="connsiteX777" y="connsiteY777"/>
                              </a:cxn>
                              <a:cxn ang="0">
                                <a:pos x="connsiteX778" y="connsiteY778"/>
                              </a:cxn>
                              <a:cxn ang="0">
                                <a:pos x="connsiteX779" y="connsiteY779"/>
                              </a:cxn>
                              <a:cxn ang="0">
                                <a:pos x="connsiteX780" y="connsiteY780"/>
                              </a:cxn>
                              <a:cxn ang="0">
                                <a:pos x="connsiteX781" y="connsiteY781"/>
                              </a:cxn>
                              <a:cxn ang="0">
                                <a:pos x="connsiteX782" y="connsiteY782"/>
                              </a:cxn>
                              <a:cxn ang="0">
                                <a:pos x="connsiteX783" y="connsiteY783"/>
                              </a:cxn>
                              <a:cxn ang="0">
                                <a:pos x="connsiteX784" y="connsiteY784"/>
                              </a:cxn>
                              <a:cxn ang="0">
                                <a:pos x="connsiteX785" y="connsiteY785"/>
                              </a:cxn>
                              <a:cxn ang="0">
                                <a:pos x="connsiteX786" y="connsiteY786"/>
                              </a:cxn>
                              <a:cxn ang="0">
                                <a:pos x="connsiteX787" y="connsiteY787"/>
                              </a:cxn>
                              <a:cxn ang="0">
                                <a:pos x="connsiteX788" y="connsiteY788"/>
                              </a:cxn>
                              <a:cxn ang="0">
                                <a:pos x="connsiteX789" y="connsiteY789"/>
                              </a:cxn>
                              <a:cxn ang="0">
                                <a:pos x="connsiteX790" y="connsiteY790"/>
                              </a:cxn>
                              <a:cxn ang="0">
                                <a:pos x="connsiteX791" y="connsiteY791"/>
                              </a:cxn>
                              <a:cxn ang="0">
                                <a:pos x="connsiteX792" y="connsiteY792"/>
                              </a:cxn>
                              <a:cxn ang="0">
                                <a:pos x="connsiteX793" y="connsiteY793"/>
                              </a:cxn>
                              <a:cxn ang="0">
                                <a:pos x="connsiteX794" y="connsiteY794"/>
                              </a:cxn>
                              <a:cxn ang="0">
                                <a:pos x="connsiteX795" y="connsiteY795"/>
                              </a:cxn>
                              <a:cxn ang="0">
                                <a:pos x="connsiteX796" y="connsiteY796"/>
                              </a:cxn>
                              <a:cxn ang="0">
                                <a:pos x="connsiteX797" y="connsiteY797"/>
                              </a:cxn>
                              <a:cxn ang="0">
                                <a:pos x="connsiteX798" y="connsiteY798"/>
                              </a:cxn>
                              <a:cxn ang="0">
                                <a:pos x="connsiteX799" y="connsiteY799"/>
                              </a:cxn>
                              <a:cxn ang="0">
                                <a:pos x="connsiteX800" y="connsiteY800"/>
                              </a:cxn>
                              <a:cxn ang="0">
                                <a:pos x="connsiteX801" y="connsiteY801"/>
                              </a:cxn>
                              <a:cxn ang="0">
                                <a:pos x="connsiteX802" y="connsiteY802"/>
                              </a:cxn>
                              <a:cxn ang="0">
                                <a:pos x="connsiteX803" y="connsiteY803"/>
                              </a:cxn>
                              <a:cxn ang="0">
                                <a:pos x="connsiteX804" y="connsiteY804"/>
                              </a:cxn>
                              <a:cxn ang="0">
                                <a:pos x="connsiteX805" y="connsiteY805"/>
                              </a:cxn>
                              <a:cxn ang="0">
                                <a:pos x="connsiteX806" y="connsiteY806"/>
                              </a:cxn>
                              <a:cxn ang="0">
                                <a:pos x="connsiteX807" y="connsiteY807"/>
                              </a:cxn>
                              <a:cxn ang="0">
                                <a:pos x="connsiteX808" y="connsiteY808"/>
                              </a:cxn>
                              <a:cxn ang="0">
                                <a:pos x="connsiteX809" y="connsiteY809"/>
                              </a:cxn>
                              <a:cxn ang="0">
                                <a:pos x="connsiteX810" y="connsiteY810"/>
                              </a:cxn>
                              <a:cxn ang="0">
                                <a:pos x="connsiteX811" y="connsiteY811"/>
                              </a:cxn>
                              <a:cxn ang="0">
                                <a:pos x="connsiteX812" y="connsiteY812"/>
                              </a:cxn>
                              <a:cxn ang="0">
                                <a:pos x="connsiteX813" y="connsiteY813"/>
                              </a:cxn>
                              <a:cxn ang="0">
                                <a:pos x="connsiteX814" y="connsiteY814"/>
                              </a:cxn>
                              <a:cxn ang="0">
                                <a:pos x="connsiteX815" y="connsiteY815"/>
                              </a:cxn>
                              <a:cxn ang="0">
                                <a:pos x="connsiteX816" y="connsiteY816"/>
                              </a:cxn>
                              <a:cxn ang="0">
                                <a:pos x="connsiteX817" y="connsiteY817"/>
                              </a:cxn>
                              <a:cxn ang="0">
                                <a:pos x="connsiteX818" y="connsiteY818"/>
                              </a:cxn>
                              <a:cxn ang="0">
                                <a:pos x="connsiteX819" y="connsiteY819"/>
                              </a:cxn>
                              <a:cxn ang="0">
                                <a:pos x="connsiteX820" y="connsiteY820"/>
                              </a:cxn>
                              <a:cxn ang="0">
                                <a:pos x="connsiteX821" y="connsiteY821"/>
                              </a:cxn>
                              <a:cxn ang="0">
                                <a:pos x="connsiteX822" y="connsiteY822"/>
                              </a:cxn>
                              <a:cxn ang="0">
                                <a:pos x="connsiteX823" y="connsiteY823"/>
                              </a:cxn>
                              <a:cxn ang="0">
                                <a:pos x="connsiteX824" y="connsiteY824"/>
                              </a:cxn>
                              <a:cxn ang="0">
                                <a:pos x="connsiteX825" y="connsiteY825"/>
                              </a:cxn>
                              <a:cxn ang="0">
                                <a:pos x="connsiteX826" y="connsiteY826"/>
                              </a:cxn>
                              <a:cxn ang="0">
                                <a:pos x="connsiteX827" y="connsiteY827"/>
                              </a:cxn>
                              <a:cxn ang="0">
                                <a:pos x="connsiteX828" y="connsiteY828"/>
                              </a:cxn>
                              <a:cxn ang="0">
                                <a:pos x="connsiteX829" y="connsiteY829"/>
                              </a:cxn>
                              <a:cxn ang="0">
                                <a:pos x="connsiteX830" y="connsiteY830"/>
                              </a:cxn>
                              <a:cxn ang="0">
                                <a:pos x="connsiteX831" y="connsiteY831"/>
                              </a:cxn>
                              <a:cxn ang="0">
                                <a:pos x="connsiteX832" y="connsiteY832"/>
                              </a:cxn>
                              <a:cxn ang="0">
                                <a:pos x="connsiteX833" y="connsiteY833"/>
                              </a:cxn>
                              <a:cxn ang="0">
                                <a:pos x="connsiteX834" y="connsiteY834"/>
                              </a:cxn>
                              <a:cxn ang="0">
                                <a:pos x="connsiteX835" y="connsiteY835"/>
                              </a:cxn>
                              <a:cxn ang="0">
                                <a:pos x="connsiteX836" y="connsiteY836"/>
                              </a:cxn>
                              <a:cxn ang="0">
                                <a:pos x="connsiteX837" y="connsiteY837"/>
                              </a:cxn>
                              <a:cxn ang="0">
                                <a:pos x="connsiteX838" y="connsiteY838"/>
                              </a:cxn>
                              <a:cxn ang="0">
                                <a:pos x="connsiteX839" y="connsiteY839"/>
                              </a:cxn>
                              <a:cxn ang="0">
                                <a:pos x="connsiteX840" y="connsiteY840"/>
                              </a:cxn>
                              <a:cxn ang="0">
                                <a:pos x="connsiteX841" y="connsiteY841"/>
                              </a:cxn>
                              <a:cxn ang="0">
                                <a:pos x="connsiteX842" y="connsiteY842"/>
                              </a:cxn>
                              <a:cxn ang="0">
                                <a:pos x="connsiteX843" y="connsiteY843"/>
                              </a:cxn>
                              <a:cxn ang="0">
                                <a:pos x="connsiteX844" y="connsiteY844"/>
                              </a:cxn>
                              <a:cxn ang="0">
                                <a:pos x="connsiteX845" y="connsiteY845"/>
                              </a:cxn>
                              <a:cxn ang="0">
                                <a:pos x="connsiteX846" y="connsiteY846"/>
                              </a:cxn>
                              <a:cxn ang="0">
                                <a:pos x="connsiteX847" y="connsiteY847"/>
                              </a:cxn>
                              <a:cxn ang="0">
                                <a:pos x="connsiteX848" y="connsiteY848"/>
                              </a:cxn>
                              <a:cxn ang="0">
                                <a:pos x="connsiteX849" y="connsiteY849"/>
                              </a:cxn>
                              <a:cxn ang="0">
                                <a:pos x="connsiteX850" y="connsiteY850"/>
                              </a:cxn>
                              <a:cxn ang="0">
                                <a:pos x="connsiteX851" y="connsiteY851"/>
                              </a:cxn>
                              <a:cxn ang="0">
                                <a:pos x="connsiteX852" y="connsiteY852"/>
                              </a:cxn>
                              <a:cxn ang="0">
                                <a:pos x="connsiteX853" y="connsiteY853"/>
                              </a:cxn>
                              <a:cxn ang="0">
                                <a:pos x="connsiteX854" y="connsiteY854"/>
                              </a:cxn>
                              <a:cxn ang="0">
                                <a:pos x="connsiteX855" y="connsiteY855"/>
                              </a:cxn>
                              <a:cxn ang="0">
                                <a:pos x="connsiteX856" y="connsiteY856"/>
                              </a:cxn>
                              <a:cxn ang="0">
                                <a:pos x="connsiteX857" y="connsiteY857"/>
                              </a:cxn>
                              <a:cxn ang="0">
                                <a:pos x="connsiteX858" y="connsiteY858"/>
                              </a:cxn>
                              <a:cxn ang="0">
                                <a:pos x="connsiteX859" y="connsiteY859"/>
                              </a:cxn>
                              <a:cxn ang="0">
                                <a:pos x="connsiteX860" y="connsiteY860"/>
                              </a:cxn>
                              <a:cxn ang="0">
                                <a:pos x="connsiteX861" y="connsiteY861"/>
                              </a:cxn>
                              <a:cxn ang="0">
                                <a:pos x="connsiteX862" y="connsiteY862"/>
                              </a:cxn>
                              <a:cxn ang="0">
                                <a:pos x="connsiteX863" y="connsiteY863"/>
                              </a:cxn>
                            </a:cxnLst>
                            <a:rect l="l" t="t" r="r" b="b"/>
                            <a:pathLst>
                              <a:path w="5495992" h="2374809">
                                <a:moveTo>
                                  <a:pt x="86305" y="704436"/>
                                </a:moveTo>
                                <a:cubicBezTo>
                                  <a:pt x="80825" y="704841"/>
                                  <a:pt x="75345" y="703975"/>
                                  <a:pt x="70434" y="701930"/>
                                </a:cubicBezTo>
                                <a:cubicBezTo>
                                  <a:pt x="61220" y="698587"/>
                                  <a:pt x="58014" y="698086"/>
                                  <a:pt x="46080" y="698253"/>
                                </a:cubicBezTo>
                                <a:cubicBezTo>
                                  <a:pt x="58257" y="702531"/>
                                  <a:pt x="46608" y="703968"/>
                                  <a:pt x="40722" y="706342"/>
                                </a:cubicBezTo>
                                <a:cubicBezTo>
                                  <a:pt x="34837" y="708715"/>
                                  <a:pt x="46892" y="714798"/>
                                  <a:pt x="32199" y="713327"/>
                                </a:cubicBezTo>
                                <a:cubicBezTo>
                                  <a:pt x="21889" y="712324"/>
                                  <a:pt x="26110" y="706475"/>
                                  <a:pt x="14826" y="706308"/>
                                </a:cubicBezTo>
                                <a:cubicBezTo>
                                  <a:pt x="1269" y="706108"/>
                                  <a:pt x="-7498" y="712057"/>
                                  <a:pt x="8697" y="715567"/>
                                </a:cubicBezTo>
                                <a:cubicBezTo>
                                  <a:pt x="30047" y="720179"/>
                                  <a:pt x="55375" y="720948"/>
                                  <a:pt x="78025" y="721883"/>
                                </a:cubicBezTo>
                                <a:cubicBezTo>
                                  <a:pt x="93692" y="722518"/>
                                  <a:pt x="100917" y="724424"/>
                                  <a:pt x="103068" y="716536"/>
                                </a:cubicBezTo>
                                <a:cubicBezTo>
                                  <a:pt x="104164" y="712425"/>
                                  <a:pt x="101201" y="701228"/>
                                  <a:pt x="86224" y="704436"/>
                                </a:cubicBezTo>
                                <a:close/>
                                <a:moveTo>
                                  <a:pt x="1722803" y="109497"/>
                                </a:moveTo>
                                <a:cubicBezTo>
                                  <a:pt x="1731976" y="110767"/>
                                  <a:pt x="1773256" y="113307"/>
                                  <a:pt x="1754504" y="102478"/>
                                </a:cubicBezTo>
                                <a:cubicBezTo>
                                  <a:pt x="1735751" y="91648"/>
                                  <a:pt x="1724386" y="101274"/>
                                  <a:pt x="1707866" y="97330"/>
                                </a:cubicBezTo>
                                <a:cubicBezTo>
                                  <a:pt x="1700032" y="95425"/>
                                  <a:pt x="1663704" y="90111"/>
                                  <a:pt x="1661512" y="95058"/>
                                </a:cubicBezTo>
                                <a:cubicBezTo>
                                  <a:pt x="1658265" y="102310"/>
                                  <a:pt x="1715172" y="108427"/>
                                  <a:pt x="1722803" y="109497"/>
                                </a:cubicBezTo>
                                <a:cubicBezTo>
                                  <a:pt x="1764570" y="115513"/>
                                  <a:pt x="1701858" y="106555"/>
                                  <a:pt x="1722843" y="109563"/>
                                </a:cubicBezTo>
                                <a:close/>
                                <a:moveTo>
                                  <a:pt x="1846642" y="423177"/>
                                </a:moveTo>
                                <a:cubicBezTo>
                                  <a:pt x="1857317" y="426218"/>
                                  <a:pt x="1923763" y="434675"/>
                                  <a:pt x="1895350" y="422141"/>
                                </a:cubicBezTo>
                                <a:cubicBezTo>
                                  <a:pt x="1883173" y="416793"/>
                                  <a:pt x="1860645" y="409574"/>
                                  <a:pt x="1847981" y="412882"/>
                                </a:cubicBezTo>
                                <a:cubicBezTo>
                                  <a:pt x="1842664" y="414253"/>
                                  <a:pt x="1836373" y="420236"/>
                                  <a:pt x="1846520" y="423177"/>
                                </a:cubicBezTo>
                                <a:close/>
                                <a:moveTo>
                                  <a:pt x="2713233" y="374412"/>
                                </a:moveTo>
                                <a:cubicBezTo>
                                  <a:pt x="2732514" y="384673"/>
                                  <a:pt x="2716237" y="382266"/>
                                  <a:pt x="2702071" y="378055"/>
                                </a:cubicBezTo>
                                <a:cubicBezTo>
                                  <a:pt x="2698743" y="377052"/>
                                  <a:pt x="2658072" y="368028"/>
                                  <a:pt x="2674348" y="376317"/>
                                </a:cubicBezTo>
                                <a:cubicBezTo>
                                  <a:pt x="2685917" y="382266"/>
                                  <a:pt x="2687621" y="389118"/>
                                  <a:pt x="2701746" y="395101"/>
                                </a:cubicBezTo>
                                <a:cubicBezTo>
                                  <a:pt x="2714816" y="400649"/>
                                  <a:pt x="2748100" y="406097"/>
                                  <a:pt x="2748790" y="396338"/>
                                </a:cubicBezTo>
                                <a:cubicBezTo>
                                  <a:pt x="2749237" y="389820"/>
                                  <a:pt x="2810122" y="404192"/>
                                  <a:pt x="2818279" y="405964"/>
                                </a:cubicBezTo>
                                <a:cubicBezTo>
                                  <a:pt x="2829645" y="408370"/>
                                  <a:pt x="2841091" y="411011"/>
                                  <a:pt x="2852457" y="413183"/>
                                </a:cubicBezTo>
                                <a:cubicBezTo>
                                  <a:pt x="2867190" y="415991"/>
                                  <a:pt x="2857774" y="407134"/>
                                  <a:pt x="2858423" y="403156"/>
                                </a:cubicBezTo>
                                <a:cubicBezTo>
                                  <a:pt x="2859316" y="397842"/>
                                  <a:pt x="2879367" y="408370"/>
                                  <a:pt x="2882047" y="404727"/>
                                </a:cubicBezTo>
                                <a:cubicBezTo>
                                  <a:pt x="2885213" y="400415"/>
                                  <a:pt x="2849169" y="388015"/>
                                  <a:pt x="2844176" y="384071"/>
                                </a:cubicBezTo>
                                <a:cubicBezTo>
                                  <a:pt x="2829563" y="372039"/>
                                  <a:pt x="2851401" y="363716"/>
                                  <a:pt x="2816494" y="362480"/>
                                </a:cubicBezTo>
                                <a:cubicBezTo>
                                  <a:pt x="2807442" y="362045"/>
                                  <a:pt x="2719971" y="346637"/>
                                  <a:pt x="2737628" y="356965"/>
                                </a:cubicBezTo>
                                <a:cubicBezTo>
                                  <a:pt x="2753174" y="366023"/>
                                  <a:pt x="2727846" y="366758"/>
                                  <a:pt x="2716967" y="363148"/>
                                </a:cubicBezTo>
                                <a:cubicBezTo>
                                  <a:pt x="2696673" y="356463"/>
                                  <a:pt x="2702153" y="368496"/>
                                  <a:pt x="2713233" y="374378"/>
                                </a:cubicBezTo>
                                <a:close/>
                                <a:moveTo>
                                  <a:pt x="2763078" y="404493"/>
                                </a:moveTo>
                                <a:cubicBezTo>
                                  <a:pt x="2761130" y="408805"/>
                                  <a:pt x="2743473" y="407000"/>
                                  <a:pt x="2736451" y="407835"/>
                                </a:cubicBezTo>
                                <a:cubicBezTo>
                                  <a:pt x="2719849" y="409607"/>
                                  <a:pt x="2750901" y="420035"/>
                                  <a:pt x="2757314" y="422709"/>
                                </a:cubicBezTo>
                                <a:cubicBezTo>
                                  <a:pt x="2766812" y="426619"/>
                                  <a:pt x="2767786" y="434875"/>
                                  <a:pt x="2775377" y="439722"/>
                                </a:cubicBezTo>
                                <a:cubicBezTo>
                                  <a:pt x="2782966" y="444568"/>
                                  <a:pt x="2799731" y="448011"/>
                                  <a:pt x="2809147" y="452255"/>
                                </a:cubicBezTo>
                                <a:cubicBezTo>
                                  <a:pt x="2834718" y="463586"/>
                                  <a:pt x="2867881" y="484710"/>
                                  <a:pt x="2897917" y="488553"/>
                                </a:cubicBezTo>
                                <a:cubicBezTo>
                                  <a:pt x="2905547" y="489556"/>
                                  <a:pt x="2917156" y="488754"/>
                                  <a:pt x="2915208" y="483573"/>
                                </a:cubicBezTo>
                                <a:cubicBezTo>
                                  <a:pt x="2914397" y="481434"/>
                                  <a:pt x="2910946" y="481167"/>
                                  <a:pt x="2909201" y="479362"/>
                                </a:cubicBezTo>
                                <a:cubicBezTo>
                                  <a:pt x="2905913" y="476020"/>
                                  <a:pt x="2917319" y="473245"/>
                                  <a:pt x="2920079" y="472376"/>
                                </a:cubicBezTo>
                                <a:cubicBezTo>
                                  <a:pt x="2939887" y="466293"/>
                                  <a:pt x="2948776" y="461480"/>
                                  <a:pt x="2917360" y="447008"/>
                                </a:cubicBezTo>
                                <a:cubicBezTo>
                                  <a:pt x="2910662" y="443933"/>
                                  <a:pt x="2899581" y="439187"/>
                                  <a:pt x="2892153" y="439521"/>
                                </a:cubicBezTo>
                                <a:cubicBezTo>
                                  <a:pt x="2882614" y="439956"/>
                                  <a:pt x="2884725" y="447175"/>
                                  <a:pt x="2873807" y="435878"/>
                                </a:cubicBezTo>
                                <a:cubicBezTo>
                                  <a:pt x="2860046" y="421706"/>
                                  <a:pt x="2856353" y="419768"/>
                                  <a:pt x="2827412" y="413217"/>
                                </a:cubicBezTo>
                                <a:cubicBezTo>
                                  <a:pt x="2818767" y="411044"/>
                                  <a:pt x="2766000" y="398577"/>
                                  <a:pt x="2763240" y="404460"/>
                                </a:cubicBezTo>
                                <a:close/>
                                <a:moveTo>
                                  <a:pt x="2146113" y="499784"/>
                                </a:moveTo>
                                <a:cubicBezTo>
                                  <a:pt x="2161213" y="507705"/>
                                  <a:pt x="2174079" y="509343"/>
                                  <a:pt x="2174851" y="501087"/>
                                </a:cubicBezTo>
                                <a:cubicBezTo>
                                  <a:pt x="2175622" y="492832"/>
                                  <a:pt x="2134423" y="493467"/>
                                  <a:pt x="2146439" y="499884"/>
                                </a:cubicBezTo>
                                <a:close/>
                                <a:moveTo>
                                  <a:pt x="2700367" y="332666"/>
                                </a:moveTo>
                                <a:cubicBezTo>
                                  <a:pt x="2707713" y="326716"/>
                                  <a:pt x="2635869" y="309269"/>
                                  <a:pt x="2651375" y="321569"/>
                                </a:cubicBezTo>
                                <a:cubicBezTo>
                                  <a:pt x="2657098" y="325714"/>
                                  <a:pt x="2693345" y="338448"/>
                                  <a:pt x="2700691" y="332766"/>
                                </a:cubicBezTo>
                                <a:close/>
                                <a:moveTo>
                                  <a:pt x="5296001" y="2021426"/>
                                </a:moveTo>
                                <a:cubicBezTo>
                                  <a:pt x="5304646" y="2032422"/>
                                  <a:pt x="5316782" y="2034795"/>
                                  <a:pt x="5328473" y="2042550"/>
                                </a:cubicBezTo>
                                <a:cubicBezTo>
                                  <a:pt x="5339025" y="2049602"/>
                                  <a:pt x="5343816" y="2059261"/>
                                  <a:pt x="5355789" y="2067216"/>
                                </a:cubicBezTo>
                                <a:cubicBezTo>
                                  <a:pt x="5362486" y="2071495"/>
                                  <a:pt x="5407745" y="2101041"/>
                                  <a:pt x="5408961" y="2093354"/>
                                </a:cubicBezTo>
                                <a:cubicBezTo>
                                  <a:pt x="5411316" y="2078915"/>
                                  <a:pt x="5369671" y="2048599"/>
                                  <a:pt x="5352380" y="2038272"/>
                                </a:cubicBezTo>
                                <a:cubicBezTo>
                                  <a:pt x="5346819" y="2034929"/>
                                  <a:pt x="5281388" y="2002709"/>
                                  <a:pt x="5296123" y="2021560"/>
                                </a:cubicBezTo>
                                <a:close/>
                                <a:moveTo>
                                  <a:pt x="2893858" y="521476"/>
                                </a:moveTo>
                                <a:cubicBezTo>
                                  <a:pt x="2903234" y="527692"/>
                                  <a:pt x="2922515" y="530901"/>
                                  <a:pt x="2934001" y="533508"/>
                                </a:cubicBezTo>
                                <a:cubicBezTo>
                                  <a:pt x="2953687" y="537830"/>
                                  <a:pt x="2973130" y="542960"/>
                                  <a:pt x="2992207" y="548883"/>
                                </a:cubicBezTo>
                                <a:cubicBezTo>
                                  <a:pt x="3021634" y="557800"/>
                                  <a:pt x="3051995" y="564515"/>
                                  <a:pt x="3082925" y="568937"/>
                                </a:cubicBezTo>
                                <a:cubicBezTo>
                                  <a:pt x="3103220" y="572012"/>
                                  <a:pt x="3134393" y="574318"/>
                                  <a:pt x="3104357" y="557573"/>
                                </a:cubicBezTo>
                                <a:cubicBezTo>
                                  <a:pt x="3092180" y="550888"/>
                                  <a:pt x="3080286" y="539424"/>
                                  <a:pt x="3067623" y="534177"/>
                                </a:cubicBezTo>
                                <a:cubicBezTo>
                                  <a:pt x="3048707" y="526289"/>
                                  <a:pt x="3037018" y="528862"/>
                                  <a:pt x="3021878" y="529497"/>
                                </a:cubicBezTo>
                                <a:cubicBezTo>
                                  <a:pt x="3010838" y="529932"/>
                                  <a:pt x="3031295" y="522010"/>
                                  <a:pt x="3034055" y="521743"/>
                                </a:cubicBezTo>
                                <a:cubicBezTo>
                                  <a:pt x="3046759" y="520573"/>
                                  <a:pt x="3042619" y="512685"/>
                                  <a:pt x="3030930" y="506803"/>
                                </a:cubicBezTo>
                                <a:cubicBezTo>
                                  <a:pt x="3019239" y="500920"/>
                                  <a:pt x="3021634" y="506535"/>
                                  <a:pt x="3013030" y="505366"/>
                                </a:cubicBezTo>
                                <a:cubicBezTo>
                                  <a:pt x="3003694" y="504129"/>
                                  <a:pt x="2987863" y="496040"/>
                                  <a:pt x="2979786" y="497244"/>
                                </a:cubicBezTo>
                                <a:cubicBezTo>
                                  <a:pt x="2975200" y="497945"/>
                                  <a:pt x="2960304" y="503928"/>
                                  <a:pt x="2959491" y="506736"/>
                                </a:cubicBezTo>
                                <a:cubicBezTo>
                                  <a:pt x="2958558" y="510078"/>
                                  <a:pt x="2941024" y="502458"/>
                                  <a:pt x="2935625" y="503159"/>
                                </a:cubicBezTo>
                                <a:cubicBezTo>
                                  <a:pt x="2924463" y="504563"/>
                                  <a:pt x="2922230" y="513187"/>
                                  <a:pt x="2908998" y="514724"/>
                                </a:cubicBezTo>
                                <a:cubicBezTo>
                                  <a:pt x="2904005" y="515359"/>
                                  <a:pt x="2884644" y="515627"/>
                                  <a:pt x="2893695" y="521643"/>
                                </a:cubicBezTo>
                                <a:close/>
                                <a:moveTo>
                                  <a:pt x="4121901" y="1134598"/>
                                </a:moveTo>
                                <a:cubicBezTo>
                                  <a:pt x="4138381" y="1148870"/>
                                  <a:pt x="4136716" y="1158897"/>
                                  <a:pt x="4162815" y="1168255"/>
                                </a:cubicBezTo>
                                <a:cubicBezTo>
                                  <a:pt x="4178524" y="1173871"/>
                                  <a:pt x="4192568" y="1175174"/>
                                  <a:pt x="4201457" y="1186271"/>
                                </a:cubicBezTo>
                                <a:cubicBezTo>
                                  <a:pt x="4209251" y="1196064"/>
                                  <a:pt x="4238759" y="1200576"/>
                                  <a:pt x="4252803" y="1208163"/>
                                </a:cubicBezTo>
                                <a:cubicBezTo>
                                  <a:pt x="4264655" y="1214547"/>
                                  <a:pt x="4290511" y="1232830"/>
                                  <a:pt x="4288604" y="1218658"/>
                                </a:cubicBezTo>
                                <a:cubicBezTo>
                                  <a:pt x="4288035" y="1214380"/>
                                  <a:pt x="4281540" y="1195262"/>
                                  <a:pt x="4298953" y="1206258"/>
                                </a:cubicBezTo>
                                <a:cubicBezTo>
                                  <a:pt x="4313119" y="1215182"/>
                                  <a:pt x="4295626" y="1215048"/>
                                  <a:pt x="4300131" y="1223338"/>
                                </a:cubicBezTo>
                                <a:cubicBezTo>
                                  <a:pt x="4306219" y="1234568"/>
                                  <a:pt x="4329477" y="1251547"/>
                                  <a:pt x="4347337" y="1255458"/>
                                </a:cubicBezTo>
                                <a:cubicBezTo>
                                  <a:pt x="4358864" y="1257998"/>
                                  <a:pt x="4353182" y="1246133"/>
                                  <a:pt x="4366048" y="1249876"/>
                                </a:cubicBezTo>
                                <a:cubicBezTo>
                                  <a:pt x="4391905" y="1257396"/>
                                  <a:pt x="4371772" y="1236206"/>
                                  <a:pt x="4361015" y="1227449"/>
                                </a:cubicBezTo>
                                <a:cubicBezTo>
                                  <a:pt x="4344008" y="1213611"/>
                                  <a:pt x="4319086" y="1204721"/>
                                  <a:pt x="4302770" y="1190683"/>
                                </a:cubicBezTo>
                                <a:cubicBezTo>
                                  <a:pt x="4292500" y="1181892"/>
                                  <a:pt x="4268917" y="1165348"/>
                                  <a:pt x="4256619" y="1170094"/>
                                </a:cubicBezTo>
                                <a:cubicBezTo>
                                  <a:pt x="4247323" y="1173670"/>
                                  <a:pt x="4245456" y="1173436"/>
                                  <a:pt x="4234984" y="1162172"/>
                                </a:cubicBezTo>
                                <a:cubicBezTo>
                                  <a:pt x="4216516" y="1142686"/>
                                  <a:pt x="4206896" y="1123568"/>
                                  <a:pt x="4171948" y="1118722"/>
                                </a:cubicBezTo>
                                <a:cubicBezTo>
                                  <a:pt x="4156443" y="1116549"/>
                                  <a:pt x="4098318" y="1114009"/>
                                  <a:pt x="4121901" y="1134398"/>
                                </a:cubicBezTo>
                                <a:close/>
                                <a:moveTo>
                                  <a:pt x="4277806" y="1290084"/>
                                </a:moveTo>
                                <a:cubicBezTo>
                                  <a:pt x="4299238" y="1298541"/>
                                  <a:pt x="4267294" y="1263346"/>
                                  <a:pt x="4263235" y="1260003"/>
                                </a:cubicBezTo>
                                <a:cubicBezTo>
                                  <a:pt x="4245538" y="1245029"/>
                                  <a:pt x="4213188" y="1231025"/>
                                  <a:pt x="4192405" y="1232997"/>
                                </a:cubicBezTo>
                                <a:cubicBezTo>
                                  <a:pt x="4177265" y="1234367"/>
                                  <a:pt x="4265062" y="1284770"/>
                                  <a:pt x="4277644" y="1289817"/>
                                </a:cubicBezTo>
                                <a:close/>
                                <a:moveTo>
                                  <a:pt x="4224391" y="1222937"/>
                                </a:moveTo>
                                <a:cubicBezTo>
                                  <a:pt x="4229261" y="1216452"/>
                                  <a:pt x="4171217" y="1199039"/>
                                  <a:pt x="4190052" y="1212909"/>
                                </a:cubicBezTo>
                                <a:cubicBezTo>
                                  <a:pt x="4200037" y="1220563"/>
                                  <a:pt x="4219520" y="1229354"/>
                                  <a:pt x="4224391" y="1222937"/>
                                </a:cubicBezTo>
                                <a:close/>
                                <a:moveTo>
                                  <a:pt x="4408505" y="1282263"/>
                                </a:moveTo>
                                <a:cubicBezTo>
                                  <a:pt x="4420439" y="1289416"/>
                                  <a:pt x="4427988" y="1298407"/>
                                  <a:pt x="4436594" y="1306663"/>
                                </a:cubicBezTo>
                                <a:cubicBezTo>
                                  <a:pt x="4453885" y="1322422"/>
                                  <a:pt x="4473733" y="1336122"/>
                                  <a:pt x="4495612" y="1347372"/>
                                </a:cubicBezTo>
                                <a:cubicBezTo>
                                  <a:pt x="4515500" y="1358168"/>
                                  <a:pt x="4584625" y="1388851"/>
                                  <a:pt x="4540706" y="1353222"/>
                                </a:cubicBezTo>
                                <a:cubicBezTo>
                                  <a:pt x="4528123" y="1343195"/>
                                  <a:pt x="4518990" y="1340487"/>
                                  <a:pt x="4505231" y="1333435"/>
                                </a:cubicBezTo>
                                <a:cubicBezTo>
                                  <a:pt x="4497843" y="1329625"/>
                                  <a:pt x="4494028" y="1323408"/>
                                  <a:pt x="4488670" y="1318728"/>
                                </a:cubicBezTo>
                                <a:cubicBezTo>
                                  <a:pt x="4481485" y="1312579"/>
                                  <a:pt x="4471419" y="1310038"/>
                                  <a:pt x="4462733" y="1305560"/>
                                </a:cubicBezTo>
                                <a:cubicBezTo>
                                  <a:pt x="4454047" y="1301081"/>
                                  <a:pt x="4444509" y="1294998"/>
                                  <a:pt x="4439962" y="1288614"/>
                                </a:cubicBezTo>
                                <a:cubicBezTo>
                                  <a:pt x="4436918" y="1284369"/>
                                  <a:pt x="4437851" y="1280793"/>
                                  <a:pt x="4429450" y="1278587"/>
                                </a:cubicBezTo>
                                <a:cubicBezTo>
                                  <a:pt x="4425391" y="1277517"/>
                                  <a:pt x="4398480" y="1276381"/>
                                  <a:pt x="4408505" y="1282330"/>
                                </a:cubicBezTo>
                                <a:cubicBezTo>
                                  <a:pt x="4430180" y="1295365"/>
                                  <a:pt x="4397709" y="1275779"/>
                                  <a:pt x="4408505" y="1282263"/>
                                </a:cubicBezTo>
                                <a:close/>
                                <a:moveTo>
                                  <a:pt x="1056440" y="10797"/>
                                </a:moveTo>
                                <a:cubicBezTo>
                                  <a:pt x="1069511" y="7287"/>
                                  <a:pt x="1085097" y="8791"/>
                                  <a:pt x="1100359" y="11699"/>
                                </a:cubicBezTo>
                                <a:cubicBezTo>
                                  <a:pt x="1102510" y="12100"/>
                                  <a:pt x="1123535" y="16746"/>
                                  <a:pt x="1120329" y="12200"/>
                                </a:cubicBezTo>
                                <a:cubicBezTo>
                                  <a:pt x="1115174" y="4780"/>
                                  <a:pt x="1071134" y="2173"/>
                                  <a:pt x="1060053" y="2574"/>
                                </a:cubicBezTo>
                                <a:cubicBezTo>
                                  <a:pt x="1042153" y="2942"/>
                                  <a:pt x="1013659" y="-2071"/>
                                  <a:pt x="998113" y="302"/>
                                </a:cubicBezTo>
                                <a:cubicBezTo>
                                  <a:pt x="989995" y="1505"/>
                                  <a:pt x="1004283" y="6986"/>
                                  <a:pt x="1006962" y="7889"/>
                                </a:cubicBezTo>
                                <a:cubicBezTo>
                                  <a:pt x="1022589" y="13437"/>
                                  <a:pt x="1040042" y="14463"/>
                                  <a:pt x="1056440" y="10797"/>
                                </a:cubicBezTo>
                                <a:close/>
                                <a:moveTo>
                                  <a:pt x="3890662" y="1777668"/>
                                </a:moveTo>
                                <a:cubicBezTo>
                                  <a:pt x="3890662" y="1765368"/>
                                  <a:pt x="3922808" y="1760221"/>
                                  <a:pt x="3910956" y="1745247"/>
                                </a:cubicBezTo>
                                <a:cubicBezTo>
                                  <a:pt x="3906125" y="1739341"/>
                                  <a:pt x="3904990" y="1731901"/>
                                  <a:pt x="3907872" y="1725193"/>
                                </a:cubicBezTo>
                                <a:cubicBezTo>
                                  <a:pt x="3908643" y="1722786"/>
                                  <a:pt x="3909454" y="1716436"/>
                                  <a:pt x="3901580" y="1718241"/>
                                </a:cubicBezTo>
                                <a:cubicBezTo>
                                  <a:pt x="3895166" y="1719711"/>
                                  <a:pt x="3894639" y="1725527"/>
                                  <a:pt x="3888388" y="1727165"/>
                                </a:cubicBezTo>
                                <a:cubicBezTo>
                                  <a:pt x="3882137" y="1728802"/>
                                  <a:pt x="3873167" y="1721215"/>
                                  <a:pt x="3870326" y="1726463"/>
                                </a:cubicBezTo>
                                <a:cubicBezTo>
                                  <a:pt x="3863426" y="1739297"/>
                                  <a:pt x="3850031" y="1747252"/>
                                  <a:pt x="3849259" y="1762995"/>
                                </a:cubicBezTo>
                                <a:cubicBezTo>
                                  <a:pt x="3847799" y="1786057"/>
                                  <a:pt x="3826083" y="1798156"/>
                                  <a:pt x="3810943" y="1815069"/>
                                </a:cubicBezTo>
                                <a:cubicBezTo>
                                  <a:pt x="3805747" y="1820851"/>
                                  <a:pt x="3805706" y="1828438"/>
                                  <a:pt x="3800592" y="1834053"/>
                                </a:cubicBezTo>
                                <a:cubicBezTo>
                                  <a:pt x="3792474" y="1843078"/>
                                  <a:pt x="3780297" y="1849662"/>
                                  <a:pt x="3771449" y="1858452"/>
                                </a:cubicBezTo>
                                <a:cubicBezTo>
                                  <a:pt x="3765442" y="1864502"/>
                                  <a:pt x="3770150" y="1869549"/>
                                  <a:pt x="3779567" y="1864803"/>
                                </a:cubicBezTo>
                                <a:cubicBezTo>
                                  <a:pt x="3794585" y="1857350"/>
                                  <a:pt x="3803921" y="1872891"/>
                                  <a:pt x="3806681" y="1882217"/>
                                </a:cubicBezTo>
                                <a:cubicBezTo>
                                  <a:pt x="3810740" y="1896321"/>
                                  <a:pt x="3821821" y="1883453"/>
                                  <a:pt x="3818655" y="1876134"/>
                                </a:cubicBezTo>
                                <a:cubicBezTo>
                                  <a:pt x="3816504" y="1871154"/>
                                  <a:pt x="3809563" y="1869449"/>
                                  <a:pt x="3808386" y="1863132"/>
                                </a:cubicBezTo>
                                <a:cubicBezTo>
                                  <a:pt x="3807087" y="1856447"/>
                                  <a:pt x="3806235" y="1846921"/>
                                  <a:pt x="3810131" y="1841874"/>
                                </a:cubicBezTo>
                                <a:cubicBezTo>
                                  <a:pt x="3814839" y="1835724"/>
                                  <a:pt x="3837407" y="1818879"/>
                                  <a:pt x="3852303" y="1826232"/>
                                </a:cubicBezTo>
                                <a:cubicBezTo>
                                  <a:pt x="3861234" y="1830577"/>
                                  <a:pt x="3885141" y="1862998"/>
                                  <a:pt x="3881610" y="1844749"/>
                                </a:cubicBezTo>
                                <a:cubicBezTo>
                                  <a:pt x="3876982" y="1820985"/>
                                  <a:pt x="3890418" y="1800229"/>
                                  <a:pt x="3890621" y="1777601"/>
                                </a:cubicBezTo>
                                <a:cubicBezTo>
                                  <a:pt x="3890783" y="1760421"/>
                                  <a:pt x="3890336" y="1794948"/>
                                  <a:pt x="3890662" y="1777668"/>
                                </a:cubicBezTo>
                                <a:close/>
                                <a:moveTo>
                                  <a:pt x="1160594" y="19788"/>
                                </a:moveTo>
                                <a:cubicBezTo>
                                  <a:pt x="1170052" y="24433"/>
                                  <a:pt x="1140299" y="21559"/>
                                  <a:pt x="1137092" y="21358"/>
                                </a:cubicBezTo>
                                <a:cubicBezTo>
                                  <a:pt x="1119842" y="20189"/>
                                  <a:pt x="1109573" y="23163"/>
                                  <a:pt x="1093865" y="22963"/>
                                </a:cubicBezTo>
                                <a:cubicBezTo>
                                  <a:pt x="1042031" y="22328"/>
                                  <a:pt x="1106042" y="38973"/>
                                  <a:pt x="1128772" y="36901"/>
                                </a:cubicBezTo>
                                <a:cubicBezTo>
                                  <a:pt x="1134129" y="36399"/>
                                  <a:pt x="1132181" y="33558"/>
                                  <a:pt x="1138797" y="33825"/>
                                </a:cubicBezTo>
                                <a:cubicBezTo>
                                  <a:pt x="1145413" y="34093"/>
                                  <a:pt x="1154668" y="36566"/>
                                  <a:pt x="1161000" y="35630"/>
                                </a:cubicBezTo>
                                <a:cubicBezTo>
                                  <a:pt x="1165059" y="34995"/>
                                  <a:pt x="1166236" y="31386"/>
                                  <a:pt x="1170539" y="30316"/>
                                </a:cubicBezTo>
                                <a:cubicBezTo>
                                  <a:pt x="1181254" y="27676"/>
                                  <a:pt x="1196516" y="28712"/>
                                  <a:pt x="1209261" y="30082"/>
                                </a:cubicBezTo>
                                <a:cubicBezTo>
                                  <a:pt x="1245792" y="34059"/>
                                  <a:pt x="1230327" y="22094"/>
                                  <a:pt x="1205202" y="15877"/>
                                </a:cubicBezTo>
                                <a:cubicBezTo>
                                  <a:pt x="1197652" y="13972"/>
                                  <a:pt x="1141801" y="10663"/>
                                  <a:pt x="1160553" y="19788"/>
                                </a:cubicBezTo>
                                <a:close/>
                                <a:moveTo>
                                  <a:pt x="1035131" y="415824"/>
                                </a:moveTo>
                                <a:cubicBezTo>
                                  <a:pt x="1049013" y="424581"/>
                                  <a:pt x="1066020" y="424347"/>
                                  <a:pt x="1082134" y="421138"/>
                                </a:cubicBezTo>
                                <a:cubicBezTo>
                                  <a:pt x="1088669" y="419834"/>
                                  <a:pt x="1110953" y="419133"/>
                                  <a:pt x="1103159" y="414453"/>
                                </a:cubicBezTo>
                                <a:cubicBezTo>
                                  <a:pt x="1090982" y="407033"/>
                                  <a:pt x="1069186" y="400014"/>
                                  <a:pt x="1051205" y="400750"/>
                                </a:cubicBezTo>
                                <a:cubicBezTo>
                                  <a:pt x="1035740" y="401385"/>
                                  <a:pt x="1021858" y="407434"/>
                                  <a:pt x="1034969" y="415824"/>
                                </a:cubicBezTo>
                                <a:cubicBezTo>
                                  <a:pt x="1060703" y="431967"/>
                                  <a:pt x="1015811" y="403657"/>
                                  <a:pt x="1035131" y="415824"/>
                                </a:cubicBezTo>
                                <a:close/>
                                <a:moveTo>
                                  <a:pt x="5491440" y="2368263"/>
                                </a:moveTo>
                                <a:cubicBezTo>
                                  <a:pt x="5477396" y="2351551"/>
                                  <a:pt x="5473946" y="2336143"/>
                                  <a:pt x="5465707" y="2320066"/>
                                </a:cubicBezTo>
                                <a:cubicBezTo>
                                  <a:pt x="5460713" y="2311877"/>
                                  <a:pt x="5454220" y="2304390"/>
                                  <a:pt x="5446466" y="2297839"/>
                                </a:cubicBezTo>
                                <a:cubicBezTo>
                                  <a:pt x="5441433" y="2293260"/>
                                  <a:pt x="5431084" y="2289115"/>
                                  <a:pt x="5428729" y="2285640"/>
                                </a:cubicBezTo>
                                <a:cubicBezTo>
                                  <a:pt x="5424264" y="2278955"/>
                                  <a:pt x="5426293" y="2276047"/>
                                  <a:pt x="5419515" y="2269462"/>
                                </a:cubicBezTo>
                                <a:cubicBezTo>
                                  <a:pt x="5412209" y="2262076"/>
                                  <a:pt x="5403726" y="2255558"/>
                                  <a:pt x="5394309" y="2250010"/>
                                </a:cubicBezTo>
                                <a:cubicBezTo>
                                  <a:pt x="5382944" y="2243894"/>
                                  <a:pt x="5395364" y="2261474"/>
                                  <a:pt x="5395973" y="2264215"/>
                                </a:cubicBezTo>
                                <a:cubicBezTo>
                                  <a:pt x="5396379" y="2266120"/>
                                  <a:pt x="5383106" y="2270331"/>
                                  <a:pt x="5381604" y="2269864"/>
                                </a:cubicBezTo>
                                <a:cubicBezTo>
                                  <a:pt x="5376855" y="2268359"/>
                                  <a:pt x="5368615" y="2251447"/>
                                  <a:pt x="5368981" y="2249007"/>
                                </a:cubicBezTo>
                                <a:cubicBezTo>
                                  <a:pt x="5370118" y="2242322"/>
                                  <a:pt x="5384324" y="2242757"/>
                                  <a:pt x="5384446" y="2236273"/>
                                </a:cubicBezTo>
                                <a:cubicBezTo>
                                  <a:pt x="5383391" y="2230491"/>
                                  <a:pt x="5381604" y="2224808"/>
                                  <a:pt x="5379169" y="2219327"/>
                                </a:cubicBezTo>
                                <a:cubicBezTo>
                                  <a:pt x="5374785" y="2208866"/>
                                  <a:pt x="5365125" y="2196900"/>
                                  <a:pt x="5356967" y="2186338"/>
                                </a:cubicBezTo>
                                <a:cubicBezTo>
                                  <a:pt x="5340731" y="2165114"/>
                                  <a:pt x="5323358" y="2145695"/>
                                  <a:pt x="5310451" y="2124772"/>
                                </a:cubicBezTo>
                                <a:cubicBezTo>
                                  <a:pt x="5304322" y="2114745"/>
                                  <a:pt x="5291820" y="2104985"/>
                                  <a:pt x="5283864" y="2095292"/>
                                </a:cubicBezTo>
                                <a:cubicBezTo>
                                  <a:pt x="5275909" y="2085599"/>
                                  <a:pt x="5272255" y="2075840"/>
                                  <a:pt x="5264666" y="2066080"/>
                                </a:cubicBezTo>
                                <a:cubicBezTo>
                                  <a:pt x="5248105" y="2044722"/>
                                  <a:pt x="5228378" y="2027108"/>
                                  <a:pt x="5207637" y="2007288"/>
                                </a:cubicBezTo>
                                <a:cubicBezTo>
                                  <a:pt x="5201670" y="2001539"/>
                                  <a:pt x="5201426" y="1993918"/>
                                  <a:pt x="5193674" y="1989373"/>
                                </a:cubicBezTo>
                                <a:cubicBezTo>
                                  <a:pt x="5181294" y="1981475"/>
                                  <a:pt x="5169441" y="1973029"/>
                                  <a:pt x="5158158" y="1964071"/>
                                </a:cubicBezTo>
                                <a:cubicBezTo>
                                  <a:pt x="5147848" y="1956384"/>
                                  <a:pt x="5137335" y="1948629"/>
                                  <a:pt x="5127635" y="1940675"/>
                                </a:cubicBezTo>
                                <a:cubicBezTo>
                                  <a:pt x="5117933" y="1932720"/>
                                  <a:pt x="5106284" y="1931517"/>
                                  <a:pt x="5097394" y="1922158"/>
                                </a:cubicBezTo>
                                <a:cubicBezTo>
                                  <a:pt x="5082742" y="1906783"/>
                                  <a:pt x="5064720" y="1886161"/>
                                  <a:pt x="5044628" y="1873493"/>
                                </a:cubicBezTo>
                                <a:cubicBezTo>
                                  <a:pt x="5033426" y="1866441"/>
                                  <a:pt x="5031680" y="1877972"/>
                                  <a:pt x="5021979" y="1873226"/>
                                </a:cubicBezTo>
                                <a:cubicBezTo>
                                  <a:pt x="5011588" y="1868179"/>
                                  <a:pt x="5024617" y="1891609"/>
                                  <a:pt x="5025551" y="1893280"/>
                                </a:cubicBezTo>
                                <a:cubicBezTo>
                                  <a:pt x="5040731" y="1921757"/>
                                  <a:pt x="4977898" y="1891575"/>
                                  <a:pt x="4972460" y="1867443"/>
                                </a:cubicBezTo>
                                <a:cubicBezTo>
                                  <a:pt x="4970673" y="1859489"/>
                                  <a:pt x="4956224" y="1851868"/>
                                  <a:pt x="4952977" y="1843846"/>
                                </a:cubicBezTo>
                                <a:cubicBezTo>
                                  <a:pt x="4948430" y="1832950"/>
                                  <a:pt x="4962718" y="1833819"/>
                                  <a:pt x="4969659" y="1845718"/>
                                </a:cubicBezTo>
                                <a:cubicBezTo>
                                  <a:pt x="4974286" y="1853606"/>
                                  <a:pt x="4996611" y="1863700"/>
                                  <a:pt x="4995718" y="1854442"/>
                                </a:cubicBezTo>
                                <a:cubicBezTo>
                                  <a:pt x="4994905" y="1846186"/>
                                  <a:pt x="4975423" y="1831379"/>
                                  <a:pt x="4964950" y="1825029"/>
                                </a:cubicBezTo>
                                <a:cubicBezTo>
                                  <a:pt x="4951962" y="1817007"/>
                                  <a:pt x="4937552" y="1818846"/>
                                  <a:pt x="4925619" y="1816439"/>
                                </a:cubicBezTo>
                                <a:cubicBezTo>
                                  <a:pt x="4914579" y="1814200"/>
                                  <a:pt x="4905324" y="1808150"/>
                                  <a:pt x="4895258" y="1801298"/>
                                </a:cubicBezTo>
                                <a:cubicBezTo>
                                  <a:pt x="4876141" y="1788096"/>
                                  <a:pt x="4862786" y="1773958"/>
                                  <a:pt x="4845982" y="1760455"/>
                                </a:cubicBezTo>
                                <a:cubicBezTo>
                                  <a:pt x="4829178" y="1746951"/>
                                  <a:pt x="4807299" y="1735253"/>
                                  <a:pt x="4788385" y="1724591"/>
                                </a:cubicBezTo>
                                <a:cubicBezTo>
                                  <a:pt x="4764031" y="1710887"/>
                                  <a:pt x="4754858" y="1705005"/>
                                  <a:pt x="4743249" y="1716135"/>
                                </a:cubicBezTo>
                                <a:cubicBezTo>
                                  <a:pt x="4742600" y="1717315"/>
                                  <a:pt x="4741017" y="1717937"/>
                                  <a:pt x="4739474" y="1717606"/>
                                </a:cubicBezTo>
                                <a:cubicBezTo>
                                  <a:pt x="4734929" y="1716001"/>
                                  <a:pt x="4740855" y="1704236"/>
                                  <a:pt x="4741422" y="1703133"/>
                                </a:cubicBezTo>
                                <a:cubicBezTo>
                                  <a:pt x="4744304" y="1697418"/>
                                  <a:pt x="4742681" y="1694276"/>
                                  <a:pt x="4731641" y="1686421"/>
                                </a:cubicBezTo>
                                <a:cubicBezTo>
                                  <a:pt x="4729042" y="1684550"/>
                                  <a:pt x="4699534" y="1667570"/>
                                  <a:pt x="4710858" y="1668874"/>
                                </a:cubicBezTo>
                                <a:cubicBezTo>
                                  <a:pt x="4716826" y="1669542"/>
                                  <a:pt x="4713862" y="1664328"/>
                                  <a:pt x="4717353" y="1663092"/>
                                </a:cubicBezTo>
                                <a:cubicBezTo>
                                  <a:pt x="4722386" y="1661354"/>
                                  <a:pt x="4729774" y="1666200"/>
                                  <a:pt x="4728312" y="1659549"/>
                                </a:cubicBezTo>
                                <a:cubicBezTo>
                                  <a:pt x="4719504" y="1619641"/>
                                  <a:pt x="4636823" y="1572648"/>
                                  <a:pt x="4586004" y="1549251"/>
                                </a:cubicBezTo>
                                <a:cubicBezTo>
                                  <a:pt x="4557591" y="1536182"/>
                                  <a:pt x="4532507" y="1521509"/>
                                  <a:pt x="4505353" y="1506369"/>
                                </a:cubicBezTo>
                                <a:cubicBezTo>
                                  <a:pt x="4489603" y="1497645"/>
                                  <a:pt x="4504784" y="1501455"/>
                                  <a:pt x="4502958" y="1494871"/>
                                </a:cubicBezTo>
                                <a:cubicBezTo>
                                  <a:pt x="4500969" y="1487718"/>
                                  <a:pt x="4485302" y="1475485"/>
                                  <a:pt x="4475559" y="1470071"/>
                                </a:cubicBezTo>
                                <a:cubicBezTo>
                                  <a:pt x="4471785" y="1467998"/>
                                  <a:pt x="4465534" y="1468065"/>
                                  <a:pt x="4462774" y="1466294"/>
                                </a:cubicBezTo>
                                <a:cubicBezTo>
                                  <a:pt x="4456401" y="1462249"/>
                                  <a:pt x="4460623" y="1460679"/>
                                  <a:pt x="4458390" y="1457169"/>
                                </a:cubicBezTo>
                                <a:cubicBezTo>
                                  <a:pt x="4453601" y="1449615"/>
                                  <a:pt x="4439760" y="1439555"/>
                                  <a:pt x="4429977" y="1433772"/>
                                </a:cubicBezTo>
                                <a:cubicBezTo>
                                  <a:pt x="4421859" y="1429127"/>
                                  <a:pt x="4408911" y="1415590"/>
                                  <a:pt x="4425594" y="1424848"/>
                                </a:cubicBezTo>
                                <a:cubicBezTo>
                                  <a:pt x="4430627" y="1427656"/>
                                  <a:pt x="4454007" y="1442931"/>
                                  <a:pt x="4455630" y="1436847"/>
                                </a:cubicBezTo>
                                <a:cubicBezTo>
                                  <a:pt x="4458146" y="1427355"/>
                                  <a:pt x="4424822" y="1407936"/>
                                  <a:pt x="4412930" y="1400382"/>
                                </a:cubicBezTo>
                                <a:cubicBezTo>
                                  <a:pt x="4403431" y="1394266"/>
                                  <a:pt x="4369540" y="1370301"/>
                                  <a:pt x="4358134" y="1370100"/>
                                </a:cubicBezTo>
                                <a:cubicBezTo>
                                  <a:pt x="4347946" y="1370100"/>
                                  <a:pt x="4344130" y="1375615"/>
                                  <a:pt x="4331791" y="1374646"/>
                                </a:cubicBezTo>
                                <a:cubicBezTo>
                                  <a:pt x="4322130" y="1373877"/>
                                  <a:pt x="4298223" y="1366725"/>
                                  <a:pt x="4298426" y="1357299"/>
                                </a:cubicBezTo>
                                <a:cubicBezTo>
                                  <a:pt x="4298426" y="1349645"/>
                                  <a:pt x="4355779" y="1374412"/>
                                  <a:pt x="4313200" y="1348944"/>
                                </a:cubicBezTo>
                                <a:cubicBezTo>
                                  <a:pt x="4309792" y="1346905"/>
                                  <a:pt x="4286534" y="1330995"/>
                                  <a:pt x="4304027" y="1335908"/>
                                </a:cubicBezTo>
                                <a:cubicBezTo>
                                  <a:pt x="4317544" y="1339685"/>
                                  <a:pt x="4330086" y="1352419"/>
                                  <a:pt x="4343116" y="1358569"/>
                                </a:cubicBezTo>
                                <a:cubicBezTo>
                                  <a:pt x="4358905" y="1366090"/>
                                  <a:pt x="4343116" y="1352854"/>
                                  <a:pt x="4338813" y="1350080"/>
                                </a:cubicBezTo>
                                <a:cubicBezTo>
                                  <a:pt x="4324281" y="1340420"/>
                                  <a:pt x="4309832" y="1330794"/>
                                  <a:pt x="4295260" y="1321202"/>
                                </a:cubicBezTo>
                                <a:cubicBezTo>
                                  <a:pt x="4269161" y="1303955"/>
                                  <a:pt x="4233969" y="1288614"/>
                                  <a:pt x="4211158" y="1270398"/>
                                </a:cubicBezTo>
                                <a:cubicBezTo>
                                  <a:pt x="4206571" y="1266688"/>
                                  <a:pt x="4182420" y="1248205"/>
                                  <a:pt x="4182745" y="1258232"/>
                                </a:cubicBezTo>
                                <a:cubicBezTo>
                                  <a:pt x="4183070" y="1269061"/>
                                  <a:pt x="4168417" y="1262243"/>
                                  <a:pt x="4152708" y="1252650"/>
                                </a:cubicBezTo>
                                <a:cubicBezTo>
                                  <a:pt x="4144590" y="1247770"/>
                                  <a:pt x="4120034" y="1237476"/>
                                  <a:pt x="4116543" y="1243793"/>
                                </a:cubicBezTo>
                                <a:cubicBezTo>
                                  <a:pt x="4111754" y="1252349"/>
                                  <a:pt x="4144956" y="1258833"/>
                                  <a:pt x="4142805" y="1261407"/>
                                </a:cubicBezTo>
                                <a:cubicBezTo>
                                  <a:pt x="4140653" y="1263981"/>
                                  <a:pt x="4125189" y="1257329"/>
                                  <a:pt x="4126001" y="1261207"/>
                                </a:cubicBezTo>
                                <a:cubicBezTo>
                                  <a:pt x="4126650" y="1264549"/>
                                  <a:pt x="4141587" y="1280024"/>
                                  <a:pt x="4128152" y="1278854"/>
                                </a:cubicBezTo>
                                <a:cubicBezTo>
                                  <a:pt x="4114717" y="1277684"/>
                                  <a:pt x="4108994" y="1267523"/>
                                  <a:pt x="4101200" y="1261507"/>
                                </a:cubicBezTo>
                                <a:cubicBezTo>
                                  <a:pt x="4095355" y="1256962"/>
                                  <a:pt x="4057932" y="1243525"/>
                                  <a:pt x="4058337" y="1244160"/>
                                </a:cubicBezTo>
                                <a:cubicBezTo>
                                  <a:pt x="4061098" y="1248038"/>
                                  <a:pt x="4075101" y="1252984"/>
                                  <a:pt x="4074168" y="1257296"/>
                                </a:cubicBezTo>
                                <a:cubicBezTo>
                                  <a:pt x="4073234" y="1261608"/>
                                  <a:pt x="4052208" y="1250611"/>
                                  <a:pt x="4049408" y="1247269"/>
                                </a:cubicBezTo>
                                <a:cubicBezTo>
                                  <a:pt x="4045917" y="1243191"/>
                                  <a:pt x="4047825" y="1237643"/>
                                  <a:pt x="4039544" y="1234568"/>
                                </a:cubicBezTo>
                                <a:cubicBezTo>
                                  <a:pt x="4027368" y="1230122"/>
                                  <a:pt x="4016246" y="1220597"/>
                                  <a:pt x="4006342" y="1214180"/>
                                </a:cubicBezTo>
                                <a:cubicBezTo>
                                  <a:pt x="3986047" y="1200810"/>
                                  <a:pt x="3966077" y="1202214"/>
                                  <a:pt x="3944930" y="1190783"/>
                                </a:cubicBezTo>
                                <a:cubicBezTo>
                                  <a:pt x="3932712" y="1184399"/>
                                  <a:pt x="3921956" y="1176287"/>
                                  <a:pt x="3913148" y="1166818"/>
                                </a:cubicBezTo>
                                <a:cubicBezTo>
                                  <a:pt x="3906654" y="1159198"/>
                                  <a:pt x="3907668" y="1152680"/>
                                  <a:pt x="3892854" y="1153917"/>
                                </a:cubicBezTo>
                                <a:cubicBezTo>
                                  <a:pt x="3884370" y="1154652"/>
                                  <a:pt x="3879945" y="1158696"/>
                                  <a:pt x="3873330" y="1160902"/>
                                </a:cubicBezTo>
                                <a:cubicBezTo>
                                  <a:pt x="3867444" y="1162841"/>
                                  <a:pt x="3857905" y="1159766"/>
                                  <a:pt x="3851005" y="1161404"/>
                                </a:cubicBezTo>
                                <a:cubicBezTo>
                                  <a:pt x="3835418" y="1165147"/>
                                  <a:pt x="3826408" y="1158329"/>
                                  <a:pt x="3812648" y="1147032"/>
                                </a:cubicBezTo>
                                <a:cubicBezTo>
                                  <a:pt x="3800024" y="1136670"/>
                                  <a:pt x="3787198" y="1121028"/>
                                  <a:pt x="3784235" y="1110533"/>
                                </a:cubicBezTo>
                                <a:cubicBezTo>
                                  <a:pt x="3783382" y="1107425"/>
                                  <a:pt x="3765482" y="1078112"/>
                                  <a:pt x="3763940" y="1078413"/>
                                </a:cubicBezTo>
                                <a:cubicBezTo>
                                  <a:pt x="3772382" y="1076708"/>
                                  <a:pt x="3788294" y="1101442"/>
                                  <a:pt x="3803880" y="1097932"/>
                                </a:cubicBezTo>
                                <a:cubicBezTo>
                                  <a:pt x="3820116" y="1094256"/>
                                  <a:pt x="3788578" y="1080719"/>
                                  <a:pt x="3795762" y="1078146"/>
                                </a:cubicBezTo>
                                <a:cubicBezTo>
                                  <a:pt x="3804449" y="1075104"/>
                                  <a:pt x="3805464" y="1078814"/>
                                  <a:pt x="3801486" y="1068553"/>
                                </a:cubicBezTo>
                                <a:cubicBezTo>
                                  <a:pt x="3799253" y="1062871"/>
                                  <a:pt x="3803150" y="1066614"/>
                                  <a:pt x="3807858" y="1065545"/>
                                </a:cubicBezTo>
                                <a:cubicBezTo>
                                  <a:pt x="3814678" y="1063941"/>
                                  <a:pt x="3796006" y="1054081"/>
                                  <a:pt x="3793530" y="1052175"/>
                                </a:cubicBezTo>
                                <a:cubicBezTo>
                                  <a:pt x="3782814" y="1044154"/>
                                  <a:pt x="3785777" y="1039441"/>
                                  <a:pt x="3772545" y="1032556"/>
                                </a:cubicBezTo>
                                <a:cubicBezTo>
                                  <a:pt x="3769501" y="1030951"/>
                                  <a:pt x="3740073" y="1016446"/>
                                  <a:pt x="3739667" y="1020523"/>
                                </a:cubicBezTo>
                                <a:cubicBezTo>
                                  <a:pt x="3738936" y="1028879"/>
                                  <a:pt x="3724081" y="1010496"/>
                                  <a:pt x="3725258" y="1011165"/>
                                </a:cubicBezTo>
                                <a:cubicBezTo>
                                  <a:pt x="3707195" y="1000001"/>
                                  <a:pt x="3684668" y="991979"/>
                                  <a:pt x="3676551" y="977741"/>
                                </a:cubicBezTo>
                                <a:cubicBezTo>
                                  <a:pt x="3671599" y="969151"/>
                                  <a:pt x="3667418" y="970254"/>
                                  <a:pt x="3660315" y="973195"/>
                                </a:cubicBezTo>
                                <a:cubicBezTo>
                                  <a:pt x="3653211" y="976137"/>
                                  <a:pt x="3625123" y="956784"/>
                                  <a:pt x="3629222" y="972460"/>
                                </a:cubicBezTo>
                                <a:cubicBezTo>
                                  <a:pt x="3630278" y="976538"/>
                                  <a:pt x="3623499" y="989807"/>
                                  <a:pt x="3612459" y="983189"/>
                                </a:cubicBezTo>
                                <a:cubicBezTo>
                                  <a:pt x="3596223" y="973396"/>
                                  <a:pt x="3593260" y="974766"/>
                                  <a:pt x="3576172" y="968516"/>
                                </a:cubicBezTo>
                                <a:cubicBezTo>
                                  <a:pt x="3559936" y="962567"/>
                                  <a:pt x="3542198" y="951804"/>
                                  <a:pt x="3526368" y="944652"/>
                                </a:cubicBezTo>
                                <a:cubicBezTo>
                                  <a:pt x="3511229" y="937633"/>
                                  <a:pt x="3520848" y="933355"/>
                                  <a:pt x="3503516" y="932118"/>
                                </a:cubicBezTo>
                                <a:cubicBezTo>
                                  <a:pt x="3493409" y="931382"/>
                                  <a:pt x="3476362" y="922091"/>
                                  <a:pt x="3468406" y="917144"/>
                                </a:cubicBezTo>
                                <a:cubicBezTo>
                                  <a:pt x="3444823" y="902471"/>
                                  <a:pt x="3478757" y="910861"/>
                                  <a:pt x="3480583" y="908186"/>
                                </a:cubicBezTo>
                                <a:cubicBezTo>
                                  <a:pt x="3482409" y="905513"/>
                                  <a:pt x="3430739" y="884389"/>
                                  <a:pt x="3424813" y="881047"/>
                                </a:cubicBezTo>
                                <a:cubicBezTo>
                                  <a:pt x="3403097" y="868446"/>
                                  <a:pt x="3381990" y="861393"/>
                                  <a:pt x="3357230" y="853171"/>
                                </a:cubicBezTo>
                                <a:cubicBezTo>
                                  <a:pt x="3341441" y="847924"/>
                                  <a:pt x="3320699" y="839367"/>
                                  <a:pt x="3304464" y="836961"/>
                                </a:cubicBezTo>
                                <a:cubicBezTo>
                                  <a:pt x="3297279" y="835891"/>
                                  <a:pt x="3303733" y="843144"/>
                                  <a:pt x="3299959" y="844214"/>
                                </a:cubicBezTo>
                                <a:cubicBezTo>
                                  <a:pt x="3289933" y="846955"/>
                                  <a:pt x="3292327" y="835423"/>
                                  <a:pt x="3293220" y="834187"/>
                                </a:cubicBezTo>
                                <a:cubicBezTo>
                                  <a:pt x="3294560" y="832482"/>
                                  <a:pt x="3299106" y="812495"/>
                                  <a:pt x="3283723" y="816506"/>
                                </a:cubicBezTo>
                                <a:cubicBezTo>
                                  <a:pt x="3275605" y="818645"/>
                                  <a:pt x="3256771" y="817308"/>
                                  <a:pt x="3246623" y="807147"/>
                                </a:cubicBezTo>
                                <a:cubicBezTo>
                                  <a:pt x="3234446" y="794948"/>
                                  <a:pt x="3213177" y="779840"/>
                                  <a:pt x="3190123" y="776865"/>
                                </a:cubicBezTo>
                                <a:cubicBezTo>
                                  <a:pt x="3183628" y="776030"/>
                                  <a:pt x="3172345" y="775161"/>
                                  <a:pt x="3169462" y="778102"/>
                                </a:cubicBezTo>
                                <a:cubicBezTo>
                                  <a:pt x="3165403" y="782447"/>
                                  <a:pt x="3189270" y="786792"/>
                                  <a:pt x="3188540" y="789700"/>
                                </a:cubicBezTo>
                                <a:cubicBezTo>
                                  <a:pt x="3187687" y="793042"/>
                                  <a:pt x="3157407" y="782347"/>
                                  <a:pt x="3152943" y="781177"/>
                                </a:cubicBezTo>
                                <a:cubicBezTo>
                                  <a:pt x="3142673" y="778436"/>
                                  <a:pt x="3132120" y="780007"/>
                                  <a:pt x="3120471" y="777634"/>
                                </a:cubicBezTo>
                                <a:cubicBezTo>
                                  <a:pt x="3100744" y="773590"/>
                                  <a:pt x="3081951" y="767607"/>
                                  <a:pt x="3062346" y="762527"/>
                                </a:cubicBezTo>
                                <a:cubicBezTo>
                                  <a:pt x="3057313" y="761190"/>
                                  <a:pt x="3021228" y="757413"/>
                                  <a:pt x="3021472" y="757613"/>
                                </a:cubicBezTo>
                                <a:cubicBezTo>
                                  <a:pt x="3013923" y="751163"/>
                                  <a:pt x="3054553" y="750594"/>
                                  <a:pt x="3059505" y="751630"/>
                                </a:cubicBezTo>
                                <a:cubicBezTo>
                                  <a:pt x="3067379" y="753195"/>
                                  <a:pt x="3075497" y="753803"/>
                                  <a:pt x="3083574" y="753435"/>
                                </a:cubicBezTo>
                                <a:cubicBezTo>
                                  <a:pt x="3094006" y="753435"/>
                                  <a:pt x="3107928" y="758783"/>
                                  <a:pt x="3118523" y="761758"/>
                                </a:cubicBezTo>
                                <a:cubicBezTo>
                                  <a:pt x="3133825" y="765936"/>
                                  <a:pt x="3155946" y="764432"/>
                                  <a:pt x="3171289" y="766103"/>
                                </a:cubicBezTo>
                                <a:cubicBezTo>
                                  <a:pt x="3189514" y="768075"/>
                                  <a:pt x="3201082" y="765334"/>
                                  <a:pt x="3220971" y="768910"/>
                                </a:cubicBezTo>
                                <a:cubicBezTo>
                                  <a:pt x="3234324" y="771317"/>
                                  <a:pt x="3256203" y="779573"/>
                                  <a:pt x="3265620" y="776130"/>
                                </a:cubicBezTo>
                                <a:cubicBezTo>
                                  <a:pt x="3276213" y="772219"/>
                                  <a:pt x="3298092" y="779138"/>
                                  <a:pt x="3313718" y="781611"/>
                                </a:cubicBezTo>
                                <a:cubicBezTo>
                                  <a:pt x="3323176" y="783115"/>
                                  <a:pt x="3331821" y="783918"/>
                                  <a:pt x="3337626" y="781043"/>
                                </a:cubicBezTo>
                                <a:cubicBezTo>
                                  <a:pt x="3346393" y="776631"/>
                                  <a:pt x="3328168" y="773322"/>
                                  <a:pt x="3328209" y="768075"/>
                                </a:cubicBezTo>
                                <a:cubicBezTo>
                                  <a:pt x="3328209" y="764732"/>
                                  <a:pt x="3347245" y="773623"/>
                                  <a:pt x="3351589" y="771818"/>
                                </a:cubicBezTo>
                                <a:cubicBezTo>
                                  <a:pt x="3360193" y="768209"/>
                                  <a:pt x="3340954" y="762627"/>
                                  <a:pt x="3339412" y="760454"/>
                                </a:cubicBezTo>
                                <a:cubicBezTo>
                                  <a:pt x="3336935" y="757112"/>
                                  <a:pt x="3352157" y="756477"/>
                                  <a:pt x="3339980" y="749892"/>
                                </a:cubicBezTo>
                                <a:cubicBezTo>
                                  <a:pt x="3336368" y="747954"/>
                                  <a:pt x="3320375" y="745547"/>
                                  <a:pt x="3322486" y="742539"/>
                                </a:cubicBezTo>
                                <a:cubicBezTo>
                                  <a:pt x="3324597" y="739531"/>
                                  <a:pt x="3329913" y="729170"/>
                                  <a:pt x="3319442" y="725360"/>
                                </a:cubicBezTo>
                                <a:cubicBezTo>
                                  <a:pt x="3305276" y="720179"/>
                                  <a:pt x="3301582" y="722652"/>
                                  <a:pt x="3288837" y="713661"/>
                                </a:cubicBezTo>
                                <a:cubicBezTo>
                                  <a:pt x="3273657" y="702932"/>
                                  <a:pt x="3254051" y="698353"/>
                                  <a:pt x="3239642" y="690465"/>
                                </a:cubicBezTo>
                                <a:cubicBezTo>
                                  <a:pt x="3222919" y="681341"/>
                                  <a:pt x="3201285" y="678901"/>
                                  <a:pt x="3183060" y="669375"/>
                                </a:cubicBezTo>
                                <a:cubicBezTo>
                                  <a:pt x="3168245" y="661688"/>
                                  <a:pt x="3165403" y="667604"/>
                                  <a:pt x="3155702" y="667871"/>
                                </a:cubicBezTo>
                                <a:cubicBezTo>
                                  <a:pt x="3146002" y="668138"/>
                                  <a:pt x="3130131" y="660651"/>
                                  <a:pt x="3121445" y="657075"/>
                                </a:cubicBezTo>
                                <a:cubicBezTo>
                                  <a:pt x="3100906" y="648652"/>
                                  <a:pt x="3137031" y="650391"/>
                                  <a:pt x="3144825" y="648519"/>
                                </a:cubicBezTo>
                                <a:cubicBezTo>
                                  <a:pt x="3148884" y="647549"/>
                                  <a:pt x="3104478" y="632275"/>
                                  <a:pt x="3099080" y="630236"/>
                                </a:cubicBezTo>
                                <a:cubicBezTo>
                                  <a:pt x="3092260" y="627629"/>
                                  <a:pt x="3090191" y="624988"/>
                                  <a:pt x="3084142" y="622047"/>
                                </a:cubicBezTo>
                                <a:cubicBezTo>
                                  <a:pt x="3075213" y="617702"/>
                                  <a:pt x="3052807" y="612254"/>
                                  <a:pt x="3046516" y="607508"/>
                                </a:cubicBezTo>
                                <a:cubicBezTo>
                                  <a:pt x="3051590" y="611318"/>
                                  <a:pt x="3097010" y="617301"/>
                                  <a:pt x="3104235" y="617836"/>
                                </a:cubicBezTo>
                                <a:cubicBezTo>
                                  <a:pt x="3123109" y="619206"/>
                                  <a:pt x="3070220" y="594807"/>
                                  <a:pt x="3068638" y="594038"/>
                                </a:cubicBezTo>
                                <a:cubicBezTo>
                                  <a:pt x="3046273" y="582306"/>
                                  <a:pt x="3031822" y="578964"/>
                                  <a:pt x="3006698" y="573483"/>
                                </a:cubicBezTo>
                                <a:cubicBezTo>
                                  <a:pt x="2981573" y="568001"/>
                                  <a:pt x="2975281" y="570542"/>
                                  <a:pt x="2954986" y="571277"/>
                                </a:cubicBezTo>
                                <a:cubicBezTo>
                                  <a:pt x="2947599" y="571544"/>
                                  <a:pt x="2915168" y="568503"/>
                                  <a:pt x="2917846" y="575589"/>
                                </a:cubicBezTo>
                                <a:cubicBezTo>
                                  <a:pt x="2920119" y="577387"/>
                                  <a:pt x="2922555" y="579061"/>
                                  <a:pt x="2925112" y="580602"/>
                                </a:cubicBezTo>
                                <a:cubicBezTo>
                                  <a:pt x="2924827" y="582510"/>
                                  <a:pt x="2924219" y="584372"/>
                                  <a:pt x="2923245" y="586117"/>
                                </a:cubicBezTo>
                                <a:cubicBezTo>
                                  <a:pt x="2923245" y="591164"/>
                                  <a:pt x="2906238" y="584145"/>
                                  <a:pt x="2902463" y="582540"/>
                                </a:cubicBezTo>
                                <a:cubicBezTo>
                                  <a:pt x="2887932" y="576478"/>
                                  <a:pt x="2872630" y="571835"/>
                                  <a:pt x="2856800" y="568703"/>
                                </a:cubicBezTo>
                                <a:cubicBezTo>
                                  <a:pt x="2831471" y="563990"/>
                                  <a:pt x="2869545" y="582306"/>
                                  <a:pt x="2866866" y="583978"/>
                                </a:cubicBezTo>
                                <a:cubicBezTo>
                                  <a:pt x="2864187" y="585649"/>
                                  <a:pt x="2825870" y="565628"/>
                                  <a:pt x="2814870" y="565795"/>
                                </a:cubicBezTo>
                                <a:cubicBezTo>
                                  <a:pt x="2805250" y="565795"/>
                                  <a:pt x="2803424" y="568803"/>
                                  <a:pt x="2791328" y="563890"/>
                                </a:cubicBezTo>
                                <a:cubicBezTo>
                                  <a:pt x="2787269" y="562286"/>
                                  <a:pt x="2761982" y="555401"/>
                                  <a:pt x="2762509" y="554130"/>
                                </a:cubicBezTo>
                                <a:cubicBezTo>
                                  <a:pt x="2763646" y="551189"/>
                                  <a:pt x="2791613" y="552560"/>
                                  <a:pt x="2769572" y="545674"/>
                                </a:cubicBezTo>
                                <a:cubicBezTo>
                                  <a:pt x="2749764" y="539524"/>
                                  <a:pt x="2744082" y="547178"/>
                                  <a:pt x="2728089" y="537653"/>
                                </a:cubicBezTo>
                                <a:cubicBezTo>
                                  <a:pt x="2720702" y="533241"/>
                                  <a:pt x="2714086" y="534310"/>
                                  <a:pt x="2705805" y="533675"/>
                                </a:cubicBezTo>
                                <a:cubicBezTo>
                                  <a:pt x="2692411" y="532706"/>
                                  <a:pt x="2685510" y="530132"/>
                                  <a:pt x="2672562" y="525720"/>
                                </a:cubicBezTo>
                                <a:cubicBezTo>
                                  <a:pt x="2642445" y="515426"/>
                                  <a:pt x="2679584" y="537285"/>
                                  <a:pt x="2679584" y="537084"/>
                                </a:cubicBezTo>
                                <a:cubicBezTo>
                                  <a:pt x="2679584" y="536884"/>
                                  <a:pt x="2580870" y="515426"/>
                                  <a:pt x="2575106" y="513989"/>
                                </a:cubicBezTo>
                                <a:cubicBezTo>
                                  <a:pt x="2563539" y="510646"/>
                                  <a:pt x="2560048" y="511816"/>
                                  <a:pt x="2550996" y="512652"/>
                                </a:cubicBezTo>
                                <a:cubicBezTo>
                                  <a:pt x="2540280" y="513655"/>
                                  <a:pt x="2526033" y="508340"/>
                                  <a:pt x="2514466" y="507538"/>
                                </a:cubicBezTo>
                                <a:cubicBezTo>
                                  <a:pt x="2503547" y="506836"/>
                                  <a:pt x="2498716" y="511515"/>
                                  <a:pt x="2486053" y="507538"/>
                                </a:cubicBezTo>
                                <a:cubicBezTo>
                                  <a:pt x="2483414" y="506736"/>
                                  <a:pt x="2460969" y="493099"/>
                                  <a:pt x="2459344" y="499316"/>
                                </a:cubicBezTo>
                                <a:cubicBezTo>
                                  <a:pt x="2458980" y="500753"/>
                                  <a:pt x="2472292" y="505399"/>
                                  <a:pt x="2459588" y="504329"/>
                                </a:cubicBezTo>
                                <a:cubicBezTo>
                                  <a:pt x="2455895" y="503995"/>
                                  <a:pt x="2438238" y="498580"/>
                                  <a:pt x="2437832" y="502591"/>
                                </a:cubicBezTo>
                                <a:cubicBezTo>
                                  <a:pt x="2437832" y="504129"/>
                                  <a:pt x="2459629" y="509276"/>
                                  <a:pt x="2447411" y="511983"/>
                                </a:cubicBezTo>
                                <a:cubicBezTo>
                                  <a:pt x="2442622" y="513120"/>
                                  <a:pt x="2431175" y="506903"/>
                                  <a:pt x="2427116" y="505299"/>
                                </a:cubicBezTo>
                                <a:cubicBezTo>
                                  <a:pt x="2420216" y="502591"/>
                                  <a:pt x="2411529" y="502658"/>
                                  <a:pt x="2420662" y="507839"/>
                                </a:cubicBezTo>
                                <a:cubicBezTo>
                                  <a:pt x="2428456" y="512284"/>
                                  <a:pt x="2442703" y="513788"/>
                                  <a:pt x="2447005" y="519571"/>
                                </a:cubicBezTo>
                                <a:cubicBezTo>
                                  <a:pt x="2455895" y="531536"/>
                                  <a:pt x="2413884" y="510814"/>
                                  <a:pt x="2420013" y="518601"/>
                                </a:cubicBezTo>
                                <a:cubicBezTo>
                                  <a:pt x="2423706" y="523214"/>
                                  <a:pt x="2457274" y="534043"/>
                                  <a:pt x="2439780" y="538655"/>
                                </a:cubicBezTo>
                                <a:cubicBezTo>
                                  <a:pt x="2423544" y="542900"/>
                                  <a:pt x="2434869" y="540026"/>
                                  <a:pt x="2416603" y="533776"/>
                                </a:cubicBezTo>
                                <a:cubicBezTo>
                                  <a:pt x="2410718" y="531804"/>
                                  <a:pt x="2399678" y="528361"/>
                                  <a:pt x="2394157" y="529598"/>
                                </a:cubicBezTo>
                                <a:cubicBezTo>
                                  <a:pt x="2383279" y="532104"/>
                                  <a:pt x="2383767" y="530199"/>
                                  <a:pt x="2373376" y="525954"/>
                                </a:cubicBezTo>
                                <a:cubicBezTo>
                                  <a:pt x="2356611" y="519069"/>
                                  <a:pt x="2329823" y="516429"/>
                                  <a:pt x="2311395" y="511983"/>
                                </a:cubicBezTo>
                                <a:cubicBezTo>
                                  <a:pt x="2288503" y="506502"/>
                                  <a:pt x="2265244" y="500720"/>
                                  <a:pt x="2242108" y="496742"/>
                                </a:cubicBezTo>
                                <a:cubicBezTo>
                                  <a:pt x="2226278" y="494001"/>
                                  <a:pt x="2202492" y="497377"/>
                                  <a:pt x="2215360" y="508608"/>
                                </a:cubicBezTo>
                                <a:cubicBezTo>
                                  <a:pt x="2228227" y="519838"/>
                                  <a:pt x="2202452" y="517899"/>
                                  <a:pt x="2223478" y="530099"/>
                                </a:cubicBezTo>
                                <a:cubicBezTo>
                                  <a:pt x="2236953" y="537954"/>
                                  <a:pt x="2261754" y="544304"/>
                                  <a:pt x="2270197" y="553495"/>
                                </a:cubicBezTo>
                                <a:cubicBezTo>
                                  <a:pt x="2281115" y="565428"/>
                                  <a:pt x="2263134" y="568202"/>
                                  <a:pt x="2245599" y="560481"/>
                                </a:cubicBezTo>
                                <a:cubicBezTo>
                                  <a:pt x="2226278" y="552025"/>
                                  <a:pt x="2214588" y="540427"/>
                                  <a:pt x="2195836" y="531837"/>
                                </a:cubicBezTo>
                                <a:cubicBezTo>
                                  <a:pt x="2178423" y="523892"/>
                                  <a:pt x="2160076" y="517472"/>
                                  <a:pt x="2141040" y="512685"/>
                                </a:cubicBezTo>
                                <a:cubicBezTo>
                                  <a:pt x="2124519" y="508574"/>
                                  <a:pt x="2125129" y="500352"/>
                                  <a:pt x="2105564" y="498079"/>
                                </a:cubicBezTo>
                                <a:cubicBezTo>
                                  <a:pt x="2099476" y="497377"/>
                                  <a:pt x="2087258" y="496709"/>
                                  <a:pt x="2084539" y="499683"/>
                                </a:cubicBezTo>
                                <a:cubicBezTo>
                                  <a:pt x="2081819" y="502658"/>
                                  <a:pt x="2105768" y="504597"/>
                                  <a:pt x="2105077" y="507237"/>
                                </a:cubicBezTo>
                                <a:cubicBezTo>
                                  <a:pt x="2103169" y="507815"/>
                                  <a:pt x="2101302" y="508531"/>
                                  <a:pt x="2099517" y="509376"/>
                                </a:cubicBezTo>
                                <a:cubicBezTo>
                                  <a:pt x="2100003" y="511114"/>
                                  <a:pt x="2117701" y="517431"/>
                                  <a:pt x="2119202" y="518167"/>
                                </a:cubicBezTo>
                                <a:cubicBezTo>
                                  <a:pt x="2130121" y="523448"/>
                                  <a:pt x="2113764" y="521843"/>
                                  <a:pt x="2108934" y="520807"/>
                                </a:cubicBezTo>
                                <a:cubicBezTo>
                                  <a:pt x="2094443" y="517766"/>
                                  <a:pt x="2086040" y="509410"/>
                                  <a:pt x="2071550" y="507137"/>
                                </a:cubicBezTo>
                                <a:cubicBezTo>
                                  <a:pt x="2062945" y="505767"/>
                                  <a:pt x="2046912" y="505834"/>
                                  <a:pt x="2050362" y="512017"/>
                                </a:cubicBezTo>
                                <a:cubicBezTo>
                                  <a:pt x="2059535" y="528528"/>
                                  <a:pt x="2094118" y="531804"/>
                                  <a:pt x="2109623" y="544471"/>
                                </a:cubicBezTo>
                                <a:cubicBezTo>
                                  <a:pt x="2113114" y="547312"/>
                                  <a:pt x="2122409" y="552693"/>
                                  <a:pt x="2124438" y="555167"/>
                                </a:cubicBezTo>
                                <a:cubicBezTo>
                                  <a:pt x="2128944" y="560648"/>
                                  <a:pt x="2104143" y="552493"/>
                                  <a:pt x="2101830" y="551356"/>
                                </a:cubicBezTo>
                                <a:cubicBezTo>
                                  <a:pt x="2077477" y="538555"/>
                                  <a:pt x="2067816" y="532907"/>
                                  <a:pt x="2037414" y="526289"/>
                                </a:cubicBezTo>
                                <a:cubicBezTo>
                                  <a:pt x="2030473" y="524751"/>
                                  <a:pt x="2014481" y="521810"/>
                                  <a:pt x="2016307" y="516529"/>
                                </a:cubicBezTo>
                                <a:cubicBezTo>
                                  <a:pt x="2017728" y="514868"/>
                                  <a:pt x="2019270" y="513273"/>
                                  <a:pt x="2020934" y="511749"/>
                                </a:cubicBezTo>
                                <a:cubicBezTo>
                                  <a:pt x="2022193" y="508808"/>
                                  <a:pt x="2015861" y="506435"/>
                                  <a:pt x="2018337" y="503159"/>
                                </a:cubicBezTo>
                                <a:cubicBezTo>
                                  <a:pt x="2024507" y="494971"/>
                                  <a:pt x="2059495" y="484208"/>
                                  <a:pt x="2025400" y="470672"/>
                                </a:cubicBezTo>
                                <a:cubicBezTo>
                                  <a:pt x="2012370" y="465525"/>
                                  <a:pt x="2009691" y="487150"/>
                                  <a:pt x="1999179" y="490291"/>
                                </a:cubicBezTo>
                                <a:cubicBezTo>
                                  <a:pt x="1985094" y="494469"/>
                                  <a:pt x="1964880" y="487785"/>
                                  <a:pt x="1951810" y="492598"/>
                                </a:cubicBezTo>
                                <a:cubicBezTo>
                                  <a:pt x="1948928" y="493667"/>
                                  <a:pt x="1931515" y="494336"/>
                                  <a:pt x="1936670" y="498046"/>
                                </a:cubicBezTo>
                                <a:cubicBezTo>
                                  <a:pt x="1942231" y="502277"/>
                                  <a:pt x="1947426" y="506823"/>
                                  <a:pt x="1952216" y="511649"/>
                                </a:cubicBezTo>
                                <a:cubicBezTo>
                                  <a:pt x="1963134" y="521977"/>
                                  <a:pt x="1974337" y="529664"/>
                                  <a:pt x="1960334" y="536550"/>
                                </a:cubicBezTo>
                                <a:cubicBezTo>
                                  <a:pt x="1944098" y="544705"/>
                                  <a:pt x="1935047" y="553261"/>
                                  <a:pt x="1933788" y="566631"/>
                                </a:cubicBezTo>
                                <a:cubicBezTo>
                                  <a:pt x="1932692" y="578262"/>
                                  <a:pt x="1990614" y="581270"/>
                                  <a:pt x="2002142" y="582942"/>
                                </a:cubicBezTo>
                                <a:cubicBezTo>
                                  <a:pt x="2024993" y="586284"/>
                                  <a:pt x="2046790" y="600355"/>
                                  <a:pt x="2064324" y="609246"/>
                                </a:cubicBezTo>
                                <a:cubicBezTo>
                                  <a:pt x="2071022" y="612588"/>
                                  <a:pt x="2074878" y="623451"/>
                                  <a:pt x="2073052" y="626994"/>
                                </a:cubicBezTo>
                                <a:cubicBezTo>
                                  <a:pt x="2071509" y="630002"/>
                                  <a:pt x="2058724" y="628698"/>
                                  <a:pt x="2054827" y="630838"/>
                                </a:cubicBezTo>
                                <a:cubicBezTo>
                                  <a:pt x="2039281" y="639327"/>
                                  <a:pt x="2085391" y="648485"/>
                                  <a:pt x="2087299" y="655337"/>
                                </a:cubicBezTo>
                                <a:cubicBezTo>
                                  <a:pt x="2087948" y="657510"/>
                                  <a:pt x="2061687" y="649120"/>
                                  <a:pt x="2059982" y="648652"/>
                                </a:cubicBezTo>
                                <a:cubicBezTo>
                                  <a:pt x="2046140" y="643839"/>
                                  <a:pt x="2042610" y="639996"/>
                                  <a:pt x="2039078" y="632442"/>
                                </a:cubicBezTo>
                                <a:cubicBezTo>
                                  <a:pt x="2035547" y="624888"/>
                                  <a:pt x="2054056" y="625055"/>
                                  <a:pt x="2050402" y="617936"/>
                                </a:cubicBezTo>
                                <a:cubicBezTo>
                                  <a:pt x="2047927" y="613090"/>
                                  <a:pt x="2031934" y="599319"/>
                                  <a:pt x="2024060" y="596010"/>
                                </a:cubicBezTo>
                                <a:cubicBezTo>
                                  <a:pt x="2009691" y="589894"/>
                                  <a:pt x="1959644" y="583811"/>
                                  <a:pt x="1956518" y="593203"/>
                                </a:cubicBezTo>
                                <a:cubicBezTo>
                                  <a:pt x="1954367" y="599620"/>
                                  <a:pt x="1965205" y="609714"/>
                                  <a:pt x="1961592" y="615195"/>
                                </a:cubicBezTo>
                                <a:cubicBezTo>
                                  <a:pt x="1957980" y="620677"/>
                                  <a:pt x="1939674" y="620911"/>
                                  <a:pt x="1930988" y="623518"/>
                                </a:cubicBezTo>
                                <a:cubicBezTo>
                                  <a:pt x="1920718" y="626660"/>
                                  <a:pt x="1922870" y="630637"/>
                                  <a:pt x="1906634" y="631038"/>
                                </a:cubicBezTo>
                                <a:cubicBezTo>
                                  <a:pt x="1894051" y="631339"/>
                                  <a:pt x="1871483" y="629634"/>
                                  <a:pt x="1863771" y="634782"/>
                                </a:cubicBezTo>
                                <a:cubicBezTo>
                                  <a:pt x="1856059" y="639929"/>
                                  <a:pt x="1852325" y="640798"/>
                                  <a:pt x="1836535" y="633445"/>
                                </a:cubicBezTo>
                                <a:cubicBezTo>
                                  <a:pt x="1819244" y="625423"/>
                                  <a:pt x="1800410" y="628565"/>
                                  <a:pt x="1783769" y="621345"/>
                                </a:cubicBezTo>
                                <a:cubicBezTo>
                                  <a:pt x="1779263" y="619373"/>
                                  <a:pt x="1776462" y="616064"/>
                                  <a:pt x="1771267" y="614661"/>
                                </a:cubicBezTo>
                                <a:cubicBezTo>
                                  <a:pt x="1764123" y="612655"/>
                                  <a:pt x="1756817" y="614360"/>
                                  <a:pt x="1751216" y="609814"/>
                                </a:cubicBezTo>
                                <a:cubicBezTo>
                                  <a:pt x="1739444" y="600255"/>
                                  <a:pt x="1768020" y="600790"/>
                                  <a:pt x="1768101" y="609279"/>
                                </a:cubicBezTo>
                                <a:cubicBezTo>
                                  <a:pt x="1768101" y="614594"/>
                                  <a:pt x="1791034" y="610015"/>
                                  <a:pt x="1797001" y="615964"/>
                                </a:cubicBezTo>
                                <a:cubicBezTo>
                                  <a:pt x="1805849" y="624821"/>
                                  <a:pt x="1815753" y="618638"/>
                                  <a:pt x="1825414" y="621178"/>
                                </a:cubicBezTo>
                                <a:cubicBezTo>
                                  <a:pt x="1840513" y="625189"/>
                                  <a:pt x="1830690" y="616064"/>
                                  <a:pt x="1845709" y="616165"/>
                                </a:cubicBezTo>
                                <a:cubicBezTo>
                                  <a:pt x="1854557" y="615901"/>
                                  <a:pt x="1863041" y="613220"/>
                                  <a:pt x="1869819" y="608544"/>
                                </a:cubicBezTo>
                                <a:cubicBezTo>
                                  <a:pt x="1872133" y="606706"/>
                                  <a:pt x="1889099" y="603564"/>
                                  <a:pt x="1894741" y="604834"/>
                                </a:cubicBezTo>
                                <a:cubicBezTo>
                                  <a:pt x="1906593" y="607475"/>
                                  <a:pt x="1903346" y="592434"/>
                                  <a:pt x="1910977" y="590195"/>
                                </a:cubicBezTo>
                                <a:cubicBezTo>
                                  <a:pt x="1922748" y="586852"/>
                                  <a:pt x="1924655" y="587387"/>
                                  <a:pt x="1912073" y="578864"/>
                                </a:cubicBezTo>
                                <a:cubicBezTo>
                                  <a:pt x="1901682" y="571812"/>
                                  <a:pt x="1896852" y="567634"/>
                                  <a:pt x="1898313" y="560381"/>
                                </a:cubicBezTo>
                                <a:cubicBezTo>
                                  <a:pt x="1899774" y="553128"/>
                                  <a:pt x="1903955" y="546477"/>
                                  <a:pt x="1905335" y="539257"/>
                                </a:cubicBezTo>
                                <a:cubicBezTo>
                                  <a:pt x="1907283" y="529230"/>
                                  <a:pt x="1913778" y="524216"/>
                                  <a:pt x="1920637" y="515493"/>
                                </a:cubicBezTo>
                                <a:cubicBezTo>
                                  <a:pt x="1933260" y="499316"/>
                                  <a:pt x="1868804" y="487350"/>
                                  <a:pt x="1913899" y="480532"/>
                                </a:cubicBezTo>
                                <a:cubicBezTo>
                                  <a:pt x="1930541" y="478058"/>
                                  <a:pt x="1949131" y="458472"/>
                                  <a:pt x="1928309" y="449414"/>
                                </a:cubicBezTo>
                                <a:cubicBezTo>
                                  <a:pt x="1905660" y="439588"/>
                                  <a:pt x="1877084" y="435443"/>
                                  <a:pt x="1851878" y="429360"/>
                                </a:cubicBezTo>
                                <a:cubicBezTo>
                                  <a:pt x="1842177" y="426987"/>
                                  <a:pt x="1825738" y="420737"/>
                                  <a:pt x="1817458" y="423645"/>
                                </a:cubicBezTo>
                                <a:cubicBezTo>
                                  <a:pt x="1806255" y="428070"/>
                                  <a:pt x="1795783" y="433689"/>
                                  <a:pt x="1786366" y="440357"/>
                                </a:cubicBezTo>
                                <a:cubicBezTo>
                                  <a:pt x="1776990" y="446440"/>
                                  <a:pt x="1772728" y="453024"/>
                                  <a:pt x="1755680" y="454628"/>
                                </a:cubicBezTo>
                                <a:cubicBezTo>
                                  <a:pt x="1743909" y="455731"/>
                                  <a:pt x="1728688" y="453559"/>
                                  <a:pt x="1717932" y="455665"/>
                                </a:cubicBezTo>
                                <a:cubicBezTo>
                                  <a:pt x="1705755" y="458105"/>
                                  <a:pt x="1698327" y="467864"/>
                                  <a:pt x="1719312" y="471039"/>
                                </a:cubicBezTo>
                                <a:cubicBezTo>
                                  <a:pt x="1733802" y="473245"/>
                                  <a:pt x="1724995" y="483707"/>
                                  <a:pt x="1717486" y="485044"/>
                                </a:cubicBezTo>
                                <a:cubicBezTo>
                                  <a:pt x="1714482" y="485612"/>
                                  <a:pt x="1718257" y="489757"/>
                                  <a:pt x="1717242" y="491027"/>
                                </a:cubicBezTo>
                                <a:cubicBezTo>
                                  <a:pt x="1715172" y="493634"/>
                                  <a:pt x="1704213" y="493801"/>
                                  <a:pt x="1700316" y="495806"/>
                                </a:cubicBezTo>
                                <a:cubicBezTo>
                                  <a:pt x="1689722" y="501254"/>
                                  <a:pt x="1709043" y="506569"/>
                                  <a:pt x="1718662" y="509945"/>
                                </a:cubicBezTo>
                                <a:cubicBezTo>
                                  <a:pt x="1736035" y="515994"/>
                                  <a:pt x="1740784" y="519103"/>
                                  <a:pt x="1744437" y="528796"/>
                                </a:cubicBezTo>
                                <a:cubicBezTo>
                                  <a:pt x="1747238" y="536182"/>
                                  <a:pt x="1772119" y="541262"/>
                                  <a:pt x="1765016" y="546677"/>
                                </a:cubicBezTo>
                                <a:cubicBezTo>
                                  <a:pt x="1748253" y="559445"/>
                                  <a:pt x="1735751" y="554197"/>
                                  <a:pt x="1717648" y="540828"/>
                                </a:cubicBezTo>
                                <a:cubicBezTo>
                                  <a:pt x="1697881" y="526222"/>
                                  <a:pt x="1671051" y="515627"/>
                                  <a:pt x="1643693" y="504764"/>
                                </a:cubicBezTo>
                                <a:cubicBezTo>
                                  <a:pt x="1617878" y="494503"/>
                                  <a:pt x="1593403" y="480264"/>
                                  <a:pt x="1564137" y="473546"/>
                                </a:cubicBezTo>
                                <a:cubicBezTo>
                                  <a:pt x="1545588" y="469201"/>
                                  <a:pt x="1483323" y="461547"/>
                                  <a:pt x="1473379" y="451086"/>
                                </a:cubicBezTo>
                                <a:cubicBezTo>
                                  <a:pt x="1467574" y="444802"/>
                                  <a:pt x="1410667" y="416659"/>
                                  <a:pt x="1410749" y="433171"/>
                                </a:cubicBezTo>
                                <a:cubicBezTo>
                                  <a:pt x="1410749" y="448311"/>
                                  <a:pt x="1467574" y="450450"/>
                                  <a:pt x="1469685" y="461480"/>
                                </a:cubicBezTo>
                                <a:cubicBezTo>
                                  <a:pt x="1470497" y="465658"/>
                                  <a:pt x="1468548" y="468366"/>
                                  <a:pt x="1472323" y="472778"/>
                                </a:cubicBezTo>
                                <a:cubicBezTo>
                                  <a:pt x="1475327" y="476354"/>
                                  <a:pt x="1482836" y="480197"/>
                                  <a:pt x="1484297" y="483841"/>
                                </a:cubicBezTo>
                                <a:cubicBezTo>
                                  <a:pt x="1487950" y="492932"/>
                                  <a:pt x="1460634" y="486581"/>
                                  <a:pt x="1452272" y="486047"/>
                                </a:cubicBezTo>
                                <a:cubicBezTo>
                                  <a:pt x="1435427" y="484910"/>
                                  <a:pt x="1451379" y="495305"/>
                                  <a:pt x="1438350" y="493734"/>
                                </a:cubicBezTo>
                                <a:cubicBezTo>
                                  <a:pt x="1420287" y="491562"/>
                                  <a:pt x="1412494" y="484242"/>
                                  <a:pt x="1427066" y="480365"/>
                                </a:cubicBezTo>
                                <a:cubicBezTo>
                                  <a:pt x="1434291" y="478393"/>
                                  <a:pt x="1409409" y="468967"/>
                                  <a:pt x="1404904" y="468499"/>
                                </a:cubicBezTo>
                                <a:cubicBezTo>
                                  <a:pt x="1393335" y="467296"/>
                                  <a:pt x="1380793" y="469669"/>
                                  <a:pt x="1370605" y="470906"/>
                                </a:cubicBezTo>
                                <a:cubicBezTo>
                                  <a:pt x="1360417" y="472142"/>
                                  <a:pt x="1351447" y="473981"/>
                                  <a:pt x="1339514" y="471441"/>
                                </a:cubicBezTo>
                                <a:cubicBezTo>
                                  <a:pt x="1319787" y="467296"/>
                                  <a:pt x="1296448" y="460778"/>
                                  <a:pt x="1277493" y="464488"/>
                                </a:cubicBezTo>
                                <a:cubicBezTo>
                                  <a:pt x="1272460" y="465491"/>
                                  <a:pt x="1264057" y="471674"/>
                                  <a:pt x="1257198" y="469870"/>
                                </a:cubicBezTo>
                                <a:cubicBezTo>
                                  <a:pt x="1243965" y="466360"/>
                                  <a:pt x="1229150" y="466527"/>
                                  <a:pt x="1215837" y="462784"/>
                                </a:cubicBezTo>
                                <a:cubicBezTo>
                                  <a:pt x="1192092" y="456333"/>
                                  <a:pt x="1220221" y="458372"/>
                                  <a:pt x="1227202" y="458706"/>
                                </a:cubicBezTo>
                                <a:cubicBezTo>
                                  <a:pt x="1234183" y="459040"/>
                                  <a:pt x="1232641" y="456467"/>
                                  <a:pt x="1229800" y="454161"/>
                                </a:cubicBezTo>
                                <a:cubicBezTo>
                                  <a:pt x="1225132" y="450350"/>
                                  <a:pt x="1235198" y="447476"/>
                                  <a:pt x="1238527" y="445537"/>
                                </a:cubicBezTo>
                                <a:cubicBezTo>
                                  <a:pt x="1244655" y="441894"/>
                                  <a:pt x="1197937" y="441827"/>
                                  <a:pt x="1191117" y="443498"/>
                                </a:cubicBezTo>
                                <a:cubicBezTo>
                                  <a:pt x="1181620" y="445771"/>
                                  <a:pt x="1186734" y="457703"/>
                                  <a:pt x="1172365" y="447509"/>
                                </a:cubicBezTo>
                                <a:cubicBezTo>
                                  <a:pt x="1165384" y="442529"/>
                                  <a:pt x="1148254" y="443030"/>
                                  <a:pt x="1139000" y="442730"/>
                                </a:cubicBezTo>
                                <a:cubicBezTo>
                                  <a:pt x="1125322" y="442128"/>
                                  <a:pt x="1111643" y="442319"/>
                                  <a:pt x="1098005" y="443298"/>
                                </a:cubicBezTo>
                                <a:cubicBezTo>
                                  <a:pt x="1086477" y="444234"/>
                                  <a:pt x="1078237" y="447710"/>
                                  <a:pt x="1066304" y="448378"/>
                                </a:cubicBezTo>
                                <a:cubicBezTo>
                                  <a:pt x="1057415" y="448846"/>
                                  <a:pt x="1051164" y="452088"/>
                                  <a:pt x="1043696" y="452255"/>
                                </a:cubicBezTo>
                                <a:cubicBezTo>
                                  <a:pt x="1031519" y="452523"/>
                                  <a:pt x="1007773" y="447910"/>
                                  <a:pt x="1003755" y="455330"/>
                                </a:cubicBezTo>
                                <a:cubicBezTo>
                                  <a:pt x="1001360" y="459709"/>
                                  <a:pt x="1005419" y="468967"/>
                                  <a:pt x="993405" y="469602"/>
                                </a:cubicBezTo>
                                <a:cubicBezTo>
                                  <a:pt x="981390" y="470237"/>
                                  <a:pt x="967387" y="468031"/>
                                  <a:pt x="955250" y="466460"/>
                                </a:cubicBezTo>
                                <a:cubicBezTo>
                                  <a:pt x="943114" y="464890"/>
                                  <a:pt x="933860" y="464622"/>
                                  <a:pt x="927284" y="458238"/>
                                </a:cubicBezTo>
                                <a:cubicBezTo>
                                  <a:pt x="922170" y="453258"/>
                                  <a:pt x="906543" y="446607"/>
                                  <a:pt x="910074" y="441961"/>
                                </a:cubicBezTo>
                                <a:cubicBezTo>
                                  <a:pt x="915959" y="434207"/>
                                  <a:pt x="926310" y="438418"/>
                                  <a:pt x="939948" y="436012"/>
                                </a:cubicBezTo>
                                <a:cubicBezTo>
                                  <a:pt x="945022" y="435109"/>
                                  <a:pt x="973110" y="440891"/>
                                  <a:pt x="971892" y="437716"/>
                                </a:cubicBezTo>
                                <a:cubicBezTo>
                                  <a:pt x="969579" y="431466"/>
                                  <a:pt x="953302" y="426954"/>
                                  <a:pt x="952896" y="420269"/>
                                </a:cubicBezTo>
                                <a:cubicBezTo>
                                  <a:pt x="952409" y="412983"/>
                                  <a:pt x="926107" y="409674"/>
                                  <a:pt x="915757" y="409072"/>
                                </a:cubicBezTo>
                                <a:cubicBezTo>
                                  <a:pt x="897775" y="408003"/>
                                  <a:pt x="882513" y="407434"/>
                                  <a:pt x="866156" y="401585"/>
                                </a:cubicBezTo>
                                <a:cubicBezTo>
                                  <a:pt x="854385" y="397407"/>
                                  <a:pt x="862340" y="406599"/>
                                  <a:pt x="871270" y="408771"/>
                                </a:cubicBezTo>
                                <a:cubicBezTo>
                                  <a:pt x="901753" y="416225"/>
                                  <a:pt x="855318" y="443298"/>
                                  <a:pt x="860676" y="444601"/>
                                </a:cubicBezTo>
                                <a:cubicBezTo>
                                  <a:pt x="874477" y="447944"/>
                                  <a:pt x="884705" y="446273"/>
                                  <a:pt x="884584" y="455832"/>
                                </a:cubicBezTo>
                                <a:cubicBezTo>
                                  <a:pt x="884584" y="463653"/>
                                  <a:pt x="879145" y="466126"/>
                                  <a:pt x="872163" y="471975"/>
                                </a:cubicBezTo>
                                <a:cubicBezTo>
                                  <a:pt x="863558" y="479195"/>
                                  <a:pt x="863518" y="469301"/>
                                  <a:pt x="855927" y="472410"/>
                                </a:cubicBezTo>
                                <a:cubicBezTo>
                                  <a:pt x="850082" y="474783"/>
                                  <a:pt x="846795" y="467095"/>
                                  <a:pt x="846510" y="466260"/>
                                </a:cubicBezTo>
                                <a:cubicBezTo>
                                  <a:pt x="845293" y="462650"/>
                                  <a:pt x="830640" y="461848"/>
                                  <a:pt x="825850" y="461280"/>
                                </a:cubicBezTo>
                                <a:cubicBezTo>
                                  <a:pt x="810142" y="459408"/>
                                  <a:pt x="800197" y="455564"/>
                                  <a:pt x="789076" y="461982"/>
                                </a:cubicBezTo>
                                <a:cubicBezTo>
                                  <a:pt x="779902" y="467229"/>
                                  <a:pt x="763829" y="463853"/>
                                  <a:pt x="751855" y="465525"/>
                                </a:cubicBezTo>
                                <a:cubicBezTo>
                                  <a:pt x="739719" y="467259"/>
                                  <a:pt x="728029" y="470528"/>
                                  <a:pt x="717110" y="475217"/>
                                </a:cubicBezTo>
                                <a:cubicBezTo>
                                  <a:pt x="704162" y="481902"/>
                                  <a:pt x="730180" y="491662"/>
                                  <a:pt x="733914" y="498814"/>
                                </a:cubicBezTo>
                                <a:cubicBezTo>
                                  <a:pt x="740774" y="511816"/>
                                  <a:pt x="697384" y="498814"/>
                                  <a:pt x="689266" y="495873"/>
                                </a:cubicBezTo>
                                <a:cubicBezTo>
                                  <a:pt x="678225" y="491695"/>
                                  <a:pt x="664912" y="492898"/>
                                  <a:pt x="654440" y="489790"/>
                                </a:cubicBezTo>
                                <a:cubicBezTo>
                                  <a:pt x="642263" y="486247"/>
                                  <a:pt x="633860" y="476788"/>
                                  <a:pt x="619979" y="475217"/>
                                </a:cubicBezTo>
                                <a:cubicBezTo>
                                  <a:pt x="612795" y="474609"/>
                                  <a:pt x="605651" y="476655"/>
                                  <a:pt x="600496" y="480799"/>
                                </a:cubicBezTo>
                                <a:cubicBezTo>
                                  <a:pt x="593068" y="485946"/>
                                  <a:pt x="602566" y="488019"/>
                                  <a:pt x="606625" y="493533"/>
                                </a:cubicBezTo>
                                <a:cubicBezTo>
                                  <a:pt x="613160" y="502424"/>
                                  <a:pt x="648960" y="498982"/>
                                  <a:pt x="644982" y="508307"/>
                                </a:cubicBezTo>
                                <a:cubicBezTo>
                                  <a:pt x="639665" y="520673"/>
                                  <a:pt x="620628" y="512017"/>
                                  <a:pt x="606016" y="510145"/>
                                </a:cubicBezTo>
                                <a:cubicBezTo>
                                  <a:pt x="602322" y="509644"/>
                                  <a:pt x="588400" y="509309"/>
                                  <a:pt x="588400" y="506134"/>
                                </a:cubicBezTo>
                                <a:cubicBezTo>
                                  <a:pt x="588400" y="499617"/>
                                  <a:pt x="568349" y="494703"/>
                                  <a:pt x="557836" y="494636"/>
                                </a:cubicBezTo>
                                <a:cubicBezTo>
                                  <a:pt x="547323" y="494570"/>
                                  <a:pt x="540910" y="491896"/>
                                  <a:pt x="540626" y="486782"/>
                                </a:cubicBezTo>
                                <a:cubicBezTo>
                                  <a:pt x="540342" y="481668"/>
                                  <a:pt x="533158" y="474415"/>
                                  <a:pt x="534375" y="470404"/>
                                </a:cubicBezTo>
                                <a:cubicBezTo>
                                  <a:pt x="535593" y="466394"/>
                                  <a:pt x="527962" y="461581"/>
                                  <a:pt x="536770" y="459441"/>
                                </a:cubicBezTo>
                                <a:cubicBezTo>
                                  <a:pt x="545578" y="457302"/>
                                  <a:pt x="541803" y="446941"/>
                                  <a:pt x="535755" y="443432"/>
                                </a:cubicBezTo>
                                <a:cubicBezTo>
                                  <a:pt x="527637" y="438652"/>
                                  <a:pt x="518018" y="439187"/>
                                  <a:pt x="508926" y="436012"/>
                                </a:cubicBezTo>
                                <a:cubicBezTo>
                                  <a:pt x="501375" y="433338"/>
                                  <a:pt x="498169" y="429327"/>
                                  <a:pt x="489605" y="426619"/>
                                </a:cubicBezTo>
                                <a:cubicBezTo>
                                  <a:pt x="479985" y="423768"/>
                                  <a:pt x="471177" y="419343"/>
                                  <a:pt x="463709" y="413618"/>
                                </a:cubicBezTo>
                                <a:cubicBezTo>
                                  <a:pt x="459650" y="410041"/>
                                  <a:pt x="452912" y="408704"/>
                                  <a:pt x="449136" y="405763"/>
                                </a:cubicBezTo>
                                <a:cubicBezTo>
                                  <a:pt x="446255" y="403524"/>
                                  <a:pt x="464926" y="406900"/>
                                  <a:pt x="462856" y="406432"/>
                                </a:cubicBezTo>
                                <a:cubicBezTo>
                                  <a:pt x="472719" y="408838"/>
                                  <a:pt x="478443" y="413283"/>
                                  <a:pt x="486723" y="416659"/>
                                </a:cubicBezTo>
                                <a:cubicBezTo>
                                  <a:pt x="505759" y="424414"/>
                                  <a:pt x="529829" y="425650"/>
                                  <a:pt x="550449" y="431733"/>
                                </a:cubicBezTo>
                                <a:cubicBezTo>
                                  <a:pt x="585193" y="441928"/>
                                  <a:pt x="641491" y="454094"/>
                                  <a:pt x="680336" y="455832"/>
                                </a:cubicBezTo>
                                <a:cubicBezTo>
                                  <a:pt x="703878" y="456801"/>
                                  <a:pt x="762571" y="452255"/>
                                  <a:pt x="773246" y="440657"/>
                                </a:cubicBezTo>
                                <a:cubicBezTo>
                                  <a:pt x="777305" y="436312"/>
                                  <a:pt x="773246" y="421773"/>
                                  <a:pt x="763788" y="418364"/>
                                </a:cubicBezTo>
                                <a:cubicBezTo>
                                  <a:pt x="749136" y="413083"/>
                                  <a:pt x="741789" y="403390"/>
                                  <a:pt x="722793" y="401652"/>
                                </a:cubicBezTo>
                                <a:cubicBezTo>
                                  <a:pt x="709033" y="400315"/>
                                  <a:pt x="705136" y="392494"/>
                                  <a:pt x="690930" y="390723"/>
                                </a:cubicBezTo>
                                <a:cubicBezTo>
                                  <a:pt x="674004" y="388584"/>
                                  <a:pt x="657768" y="379158"/>
                                  <a:pt x="645023" y="373677"/>
                                </a:cubicBezTo>
                                <a:cubicBezTo>
                                  <a:pt x="625093" y="365117"/>
                                  <a:pt x="604068" y="358338"/>
                                  <a:pt x="582393" y="353455"/>
                                </a:cubicBezTo>
                                <a:cubicBezTo>
                                  <a:pt x="577847" y="352419"/>
                                  <a:pt x="569607" y="350113"/>
                                  <a:pt x="564574" y="350915"/>
                                </a:cubicBezTo>
                                <a:cubicBezTo>
                                  <a:pt x="550368" y="352887"/>
                                  <a:pt x="552397" y="349277"/>
                                  <a:pt x="541641" y="345935"/>
                                </a:cubicBezTo>
                                <a:cubicBezTo>
                                  <a:pt x="530884" y="342593"/>
                                  <a:pt x="525161" y="347172"/>
                                  <a:pt x="515622" y="346603"/>
                                </a:cubicBezTo>
                                <a:cubicBezTo>
                                  <a:pt x="506084" y="346035"/>
                                  <a:pt x="499062" y="342225"/>
                                  <a:pt x="488468" y="342593"/>
                                </a:cubicBezTo>
                                <a:cubicBezTo>
                                  <a:pt x="469756" y="343294"/>
                                  <a:pt x="459731" y="334437"/>
                                  <a:pt x="484409" y="335273"/>
                                </a:cubicBezTo>
                                <a:cubicBezTo>
                                  <a:pt x="513309" y="336276"/>
                                  <a:pt x="471096" y="325814"/>
                                  <a:pt x="463505" y="324477"/>
                                </a:cubicBezTo>
                                <a:cubicBezTo>
                                  <a:pt x="443210" y="320834"/>
                                  <a:pt x="448000" y="333969"/>
                                  <a:pt x="423565" y="324678"/>
                                </a:cubicBezTo>
                                <a:cubicBezTo>
                                  <a:pt x="419506" y="332632"/>
                                  <a:pt x="399698" y="328889"/>
                                  <a:pt x="387318" y="332332"/>
                                </a:cubicBezTo>
                                <a:cubicBezTo>
                                  <a:pt x="378348" y="334805"/>
                                  <a:pt x="367876" y="333468"/>
                                  <a:pt x="359433" y="336510"/>
                                </a:cubicBezTo>
                                <a:cubicBezTo>
                                  <a:pt x="352695" y="338916"/>
                                  <a:pt x="351315" y="344932"/>
                                  <a:pt x="342021" y="345300"/>
                                </a:cubicBezTo>
                                <a:cubicBezTo>
                                  <a:pt x="325785" y="345902"/>
                                  <a:pt x="329519" y="360307"/>
                                  <a:pt x="334186" y="365354"/>
                                </a:cubicBezTo>
                                <a:cubicBezTo>
                                  <a:pt x="338854" y="370401"/>
                                  <a:pt x="362599" y="375381"/>
                                  <a:pt x="371651" y="380629"/>
                                </a:cubicBezTo>
                                <a:cubicBezTo>
                                  <a:pt x="396776" y="395235"/>
                                  <a:pt x="331061" y="395770"/>
                                  <a:pt x="349935" y="411679"/>
                                </a:cubicBezTo>
                                <a:cubicBezTo>
                                  <a:pt x="359880" y="420135"/>
                                  <a:pt x="373315" y="429594"/>
                                  <a:pt x="378632" y="438919"/>
                                </a:cubicBezTo>
                                <a:cubicBezTo>
                                  <a:pt x="382326" y="445437"/>
                                  <a:pt x="354278" y="441025"/>
                                  <a:pt x="361747" y="451587"/>
                                </a:cubicBezTo>
                                <a:cubicBezTo>
                                  <a:pt x="362721" y="452991"/>
                                  <a:pt x="369865" y="458105"/>
                                  <a:pt x="366496" y="459609"/>
                                </a:cubicBezTo>
                                <a:cubicBezTo>
                                  <a:pt x="363127" y="461113"/>
                                  <a:pt x="353345" y="461280"/>
                                  <a:pt x="361381" y="464254"/>
                                </a:cubicBezTo>
                                <a:cubicBezTo>
                                  <a:pt x="364710" y="465525"/>
                                  <a:pt x="379078" y="467764"/>
                                  <a:pt x="374208" y="470638"/>
                                </a:cubicBezTo>
                                <a:cubicBezTo>
                                  <a:pt x="369337" y="473513"/>
                                  <a:pt x="365481" y="476387"/>
                                  <a:pt x="374208" y="480030"/>
                                </a:cubicBezTo>
                                <a:cubicBezTo>
                                  <a:pt x="388009" y="485846"/>
                                  <a:pt x="391093" y="489623"/>
                                  <a:pt x="373396" y="492397"/>
                                </a:cubicBezTo>
                                <a:cubicBezTo>
                                  <a:pt x="352736" y="495740"/>
                                  <a:pt x="379444" y="503026"/>
                                  <a:pt x="388252" y="506402"/>
                                </a:cubicBezTo>
                                <a:cubicBezTo>
                                  <a:pt x="399130" y="510580"/>
                                  <a:pt x="421171" y="519771"/>
                                  <a:pt x="416421" y="527325"/>
                                </a:cubicBezTo>
                                <a:cubicBezTo>
                                  <a:pt x="411144" y="535814"/>
                                  <a:pt x="389145" y="538889"/>
                                  <a:pt x="375588" y="543335"/>
                                </a:cubicBezTo>
                                <a:cubicBezTo>
                                  <a:pt x="362031" y="547780"/>
                                  <a:pt x="355293" y="555066"/>
                                  <a:pt x="339829" y="559010"/>
                                </a:cubicBezTo>
                                <a:cubicBezTo>
                                  <a:pt x="319777" y="564191"/>
                                  <a:pt x="303663" y="568235"/>
                                  <a:pt x="289619" y="577326"/>
                                </a:cubicBezTo>
                                <a:cubicBezTo>
                                  <a:pt x="311213" y="575889"/>
                                  <a:pt x="308818" y="576090"/>
                                  <a:pt x="321157" y="585682"/>
                                </a:cubicBezTo>
                                <a:cubicBezTo>
                                  <a:pt x="325216" y="588724"/>
                                  <a:pt x="357688" y="592367"/>
                                  <a:pt x="355537" y="595008"/>
                                </a:cubicBezTo>
                                <a:cubicBezTo>
                                  <a:pt x="353872" y="596779"/>
                                  <a:pt x="327367" y="594038"/>
                                  <a:pt x="321035" y="595342"/>
                                </a:cubicBezTo>
                                <a:cubicBezTo>
                                  <a:pt x="309549" y="597227"/>
                                  <a:pt x="298305" y="599948"/>
                                  <a:pt x="287386" y="603464"/>
                                </a:cubicBezTo>
                                <a:cubicBezTo>
                                  <a:pt x="294611" y="609547"/>
                                  <a:pt x="276955" y="616064"/>
                                  <a:pt x="269933" y="619908"/>
                                </a:cubicBezTo>
                                <a:cubicBezTo>
                                  <a:pt x="261531" y="624487"/>
                                  <a:pt x="269933" y="636887"/>
                                  <a:pt x="275656" y="641700"/>
                                </a:cubicBezTo>
                                <a:cubicBezTo>
                                  <a:pt x="281379" y="646513"/>
                                  <a:pt x="258649" y="645043"/>
                                  <a:pt x="265346" y="652630"/>
                                </a:cubicBezTo>
                                <a:cubicBezTo>
                                  <a:pt x="268634" y="656306"/>
                                  <a:pt x="275291" y="658579"/>
                                  <a:pt x="274479" y="662924"/>
                                </a:cubicBezTo>
                                <a:cubicBezTo>
                                  <a:pt x="273667" y="667269"/>
                                  <a:pt x="271313" y="668372"/>
                                  <a:pt x="277239" y="672951"/>
                                </a:cubicBezTo>
                                <a:cubicBezTo>
                                  <a:pt x="284301" y="678232"/>
                                  <a:pt x="284992" y="686989"/>
                                  <a:pt x="295058" y="690666"/>
                                </a:cubicBezTo>
                                <a:cubicBezTo>
                                  <a:pt x="302039" y="693239"/>
                                  <a:pt x="308046" y="691301"/>
                                  <a:pt x="315353" y="692571"/>
                                </a:cubicBezTo>
                                <a:cubicBezTo>
                                  <a:pt x="324526" y="694209"/>
                                  <a:pt x="323998" y="700927"/>
                                  <a:pt x="335079" y="699790"/>
                                </a:cubicBezTo>
                                <a:cubicBezTo>
                                  <a:pt x="364710" y="696749"/>
                                  <a:pt x="379444" y="706141"/>
                                  <a:pt x="374654" y="720379"/>
                                </a:cubicBezTo>
                                <a:cubicBezTo>
                                  <a:pt x="370961" y="731543"/>
                                  <a:pt x="398359" y="746684"/>
                                  <a:pt x="415244" y="753435"/>
                                </a:cubicBezTo>
                                <a:cubicBezTo>
                                  <a:pt x="428598" y="758716"/>
                                  <a:pt x="431480" y="764498"/>
                                  <a:pt x="415691" y="767574"/>
                                </a:cubicBezTo>
                                <a:cubicBezTo>
                                  <a:pt x="407573" y="769144"/>
                                  <a:pt x="390728" y="762894"/>
                                  <a:pt x="386547" y="765000"/>
                                </a:cubicBezTo>
                                <a:cubicBezTo>
                                  <a:pt x="380134" y="768342"/>
                                  <a:pt x="389754" y="781712"/>
                                  <a:pt x="391743" y="785455"/>
                                </a:cubicBezTo>
                                <a:cubicBezTo>
                                  <a:pt x="396248" y="794112"/>
                                  <a:pt x="408547" y="790402"/>
                                  <a:pt x="418897" y="788196"/>
                                </a:cubicBezTo>
                                <a:cubicBezTo>
                                  <a:pt x="424864" y="786926"/>
                                  <a:pt x="444428" y="788965"/>
                                  <a:pt x="451734" y="789466"/>
                                </a:cubicBezTo>
                                <a:cubicBezTo>
                                  <a:pt x="467240" y="790502"/>
                                  <a:pt x="473166" y="795750"/>
                                  <a:pt x="472029" y="803604"/>
                                </a:cubicBezTo>
                                <a:cubicBezTo>
                                  <a:pt x="469553" y="823291"/>
                                  <a:pt x="507464" y="815302"/>
                                  <a:pt x="513715" y="832850"/>
                                </a:cubicBezTo>
                                <a:cubicBezTo>
                                  <a:pt x="517327" y="842877"/>
                                  <a:pt x="523051" y="836426"/>
                                  <a:pt x="535715" y="842609"/>
                                </a:cubicBezTo>
                                <a:cubicBezTo>
                                  <a:pt x="542980" y="846152"/>
                                  <a:pt x="548622" y="847957"/>
                                  <a:pt x="557877" y="845952"/>
                                </a:cubicBezTo>
                                <a:cubicBezTo>
                                  <a:pt x="561936" y="845049"/>
                                  <a:pt x="573016" y="843278"/>
                                  <a:pt x="576142" y="846821"/>
                                </a:cubicBezTo>
                                <a:cubicBezTo>
                                  <a:pt x="589618" y="862095"/>
                                  <a:pt x="625905" y="863232"/>
                                  <a:pt x="651639" y="871320"/>
                                </a:cubicBezTo>
                                <a:cubicBezTo>
                                  <a:pt x="673030" y="878005"/>
                                  <a:pt x="644617" y="879977"/>
                                  <a:pt x="652370" y="884088"/>
                                </a:cubicBezTo>
                                <a:cubicBezTo>
                                  <a:pt x="667104" y="891976"/>
                                  <a:pt x="640680" y="887598"/>
                                  <a:pt x="646159" y="893280"/>
                                </a:cubicBezTo>
                                <a:cubicBezTo>
                                  <a:pt x="653993" y="901402"/>
                                  <a:pt x="645713" y="899964"/>
                                  <a:pt x="644576" y="907785"/>
                                </a:cubicBezTo>
                                <a:cubicBezTo>
                                  <a:pt x="644333" y="909590"/>
                                  <a:pt x="618437" y="904443"/>
                                  <a:pt x="614621" y="905112"/>
                                </a:cubicBezTo>
                                <a:cubicBezTo>
                                  <a:pt x="610806" y="905780"/>
                                  <a:pt x="590024" y="910326"/>
                                  <a:pt x="588847" y="912632"/>
                                </a:cubicBezTo>
                                <a:cubicBezTo>
                                  <a:pt x="583367" y="923394"/>
                                  <a:pt x="608005" y="918247"/>
                                  <a:pt x="620304" y="921088"/>
                                </a:cubicBezTo>
                                <a:cubicBezTo>
                                  <a:pt x="631669" y="923695"/>
                                  <a:pt x="579267" y="931115"/>
                                  <a:pt x="579308" y="931416"/>
                                </a:cubicBezTo>
                                <a:cubicBezTo>
                                  <a:pt x="580404" y="937298"/>
                                  <a:pt x="602525" y="940808"/>
                                  <a:pt x="583367" y="943716"/>
                                </a:cubicBezTo>
                                <a:cubicBezTo>
                                  <a:pt x="568714" y="945922"/>
                                  <a:pt x="575249" y="955715"/>
                                  <a:pt x="559338" y="955314"/>
                                </a:cubicBezTo>
                                <a:cubicBezTo>
                                  <a:pt x="514121" y="954278"/>
                                  <a:pt x="587061" y="977173"/>
                                  <a:pt x="597533" y="982821"/>
                                </a:cubicBezTo>
                                <a:cubicBezTo>
                                  <a:pt x="606949" y="987805"/>
                                  <a:pt x="615920" y="993393"/>
                                  <a:pt x="624281" y="999533"/>
                                </a:cubicBezTo>
                                <a:cubicBezTo>
                                  <a:pt x="632399" y="1005583"/>
                                  <a:pt x="633860" y="1001839"/>
                                  <a:pt x="644576" y="1002073"/>
                                </a:cubicBezTo>
                                <a:cubicBezTo>
                                  <a:pt x="663085" y="1002541"/>
                                  <a:pt x="674044" y="1011566"/>
                                  <a:pt x="690321" y="1014306"/>
                                </a:cubicBezTo>
                                <a:cubicBezTo>
                                  <a:pt x="698439" y="1015643"/>
                                  <a:pt x="726487" y="1015276"/>
                                  <a:pt x="731195" y="1019621"/>
                                </a:cubicBezTo>
                                <a:cubicBezTo>
                                  <a:pt x="737608" y="1025537"/>
                                  <a:pt x="761475" y="1036032"/>
                                  <a:pt x="772921" y="1035564"/>
                                </a:cubicBezTo>
                                <a:cubicBezTo>
                                  <a:pt x="782298" y="1035196"/>
                                  <a:pt x="808803" y="1036199"/>
                                  <a:pt x="814769" y="1042249"/>
                                </a:cubicBezTo>
                                <a:cubicBezTo>
                                  <a:pt x="817814" y="1045390"/>
                                  <a:pt x="816068" y="1048933"/>
                                  <a:pt x="818828" y="1052075"/>
                                </a:cubicBezTo>
                                <a:cubicBezTo>
                                  <a:pt x="823293" y="1054134"/>
                                  <a:pt x="827880" y="1055952"/>
                                  <a:pt x="832629" y="1057523"/>
                                </a:cubicBezTo>
                                <a:cubicBezTo>
                                  <a:pt x="844806" y="1063473"/>
                                  <a:pt x="856414" y="1069255"/>
                                  <a:pt x="868429" y="1075204"/>
                                </a:cubicBezTo>
                                <a:cubicBezTo>
                                  <a:pt x="877278" y="1079583"/>
                                  <a:pt x="902037" y="1077744"/>
                                  <a:pt x="906908" y="1072363"/>
                                </a:cubicBezTo>
                                <a:cubicBezTo>
                                  <a:pt x="896273" y="1062837"/>
                                  <a:pt x="879835" y="1051106"/>
                                  <a:pt x="876263" y="1040277"/>
                                </a:cubicBezTo>
                                <a:cubicBezTo>
                                  <a:pt x="872691" y="1029447"/>
                                  <a:pt x="886045" y="1025136"/>
                                  <a:pt x="868145" y="1013805"/>
                                </a:cubicBezTo>
                                <a:cubicBezTo>
                                  <a:pt x="836322" y="993751"/>
                                  <a:pt x="931221" y="984158"/>
                                  <a:pt x="949324" y="980682"/>
                                </a:cubicBezTo>
                                <a:cubicBezTo>
                                  <a:pt x="945265" y="978409"/>
                                  <a:pt x="916853" y="967915"/>
                                  <a:pt x="933819" y="967647"/>
                                </a:cubicBezTo>
                                <a:cubicBezTo>
                                  <a:pt x="948999" y="967380"/>
                                  <a:pt x="923347" y="947326"/>
                                  <a:pt x="917583" y="943616"/>
                                </a:cubicBezTo>
                                <a:cubicBezTo>
                                  <a:pt x="910804" y="939103"/>
                                  <a:pt x="884827" y="942345"/>
                                  <a:pt x="884259" y="936931"/>
                                </a:cubicBezTo>
                                <a:cubicBezTo>
                                  <a:pt x="883122" y="926904"/>
                                  <a:pt x="888561" y="928408"/>
                                  <a:pt x="871311" y="922191"/>
                                </a:cubicBezTo>
                                <a:cubicBezTo>
                                  <a:pt x="864451" y="919718"/>
                                  <a:pt x="872772" y="912164"/>
                                  <a:pt x="878130" y="911395"/>
                                </a:cubicBezTo>
                                <a:cubicBezTo>
                                  <a:pt x="900657" y="908454"/>
                                  <a:pt x="881580" y="906950"/>
                                  <a:pt x="880403" y="900633"/>
                                </a:cubicBezTo>
                                <a:cubicBezTo>
                                  <a:pt x="879713" y="896956"/>
                                  <a:pt x="889170" y="895285"/>
                                  <a:pt x="893879" y="894249"/>
                                </a:cubicBezTo>
                                <a:cubicBezTo>
                                  <a:pt x="901672" y="892511"/>
                                  <a:pt x="899561" y="889670"/>
                                  <a:pt x="903539" y="886361"/>
                                </a:cubicBezTo>
                                <a:cubicBezTo>
                                  <a:pt x="915716" y="876334"/>
                                  <a:pt x="929395" y="894416"/>
                                  <a:pt x="935727" y="898494"/>
                                </a:cubicBezTo>
                                <a:cubicBezTo>
                                  <a:pt x="949324" y="907251"/>
                                  <a:pt x="951232" y="895151"/>
                                  <a:pt x="950095" y="890773"/>
                                </a:cubicBezTo>
                                <a:cubicBezTo>
                                  <a:pt x="947457" y="881013"/>
                                  <a:pt x="964870" y="884890"/>
                                  <a:pt x="972298" y="878640"/>
                                </a:cubicBezTo>
                                <a:cubicBezTo>
                                  <a:pt x="976073" y="875465"/>
                                  <a:pt x="998600" y="876267"/>
                                  <a:pt x="1006110" y="875298"/>
                                </a:cubicBezTo>
                                <a:cubicBezTo>
                                  <a:pt x="1018286" y="873426"/>
                                  <a:pt x="1033670" y="869749"/>
                                  <a:pt x="1045725" y="875532"/>
                                </a:cubicBezTo>
                                <a:cubicBezTo>
                                  <a:pt x="1057780" y="881314"/>
                                  <a:pt x="1059566" y="872189"/>
                                  <a:pt x="1072230" y="874730"/>
                                </a:cubicBezTo>
                                <a:cubicBezTo>
                                  <a:pt x="1081769" y="876668"/>
                                  <a:pt x="1086964" y="882116"/>
                                  <a:pt x="1097517" y="884757"/>
                                </a:cubicBezTo>
                                <a:cubicBezTo>
                                  <a:pt x="1108558" y="887183"/>
                                  <a:pt x="1119071" y="891104"/>
                                  <a:pt x="1128569" y="896355"/>
                                </a:cubicBezTo>
                                <a:cubicBezTo>
                                  <a:pt x="1131166" y="897758"/>
                                  <a:pt x="1149675" y="912565"/>
                                  <a:pt x="1149513" y="912598"/>
                                </a:cubicBezTo>
                                <a:cubicBezTo>
                                  <a:pt x="1156616" y="911462"/>
                                  <a:pt x="1149838" y="904343"/>
                                  <a:pt x="1162827" y="909958"/>
                                </a:cubicBezTo>
                                <a:cubicBezTo>
                                  <a:pt x="1172852" y="914270"/>
                                  <a:pt x="1184379" y="920654"/>
                                  <a:pt x="1197165" y="918180"/>
                                </a:cubicBezTo>
                                <a:cubicBezTo>
                                  <a:pt x="1206785" y="916375"/>
                                  <a:pt x="1210438" y="913133"/>
                                  <a:pt x="1223143" y="914136"/>
                                </a:cubicBezTo>
                                <a:cubicBezTo>
                                  <a:pt x="1232600" y="914871"/>
                                  <a:pt x="1238201" y="922258"/>
                                  <a:pt x="1246198" y="921756"/>
                                </a:cubicBezTo>
                                <a:cubicBezTo>
                                  <a:pt x="1255737" y="921155"/>
                                  <a:pt x="1259876" y="918414"/>
                                  <a:pt x="1271038" y="920520"/>
                                </a:cubicBezTo>
                                <a:cubicBezTo>
                                  <a:pt x="1283946" y="923060"/>
                                  <a:pt x="1281470" y="928542"/>
                                  <a:pt x="1291333" y="932251"/>
                                </a:cubicBezTo>
                                <a:cubicBezTo>
                                  <a:pt x="1302617" y="936463"/>
                                  <a:pt x="1305946" y="936897"/>
                                  <a:pt x="1314916" y="942479"/>
                                </a:cubicBezTo>
                                <a:cubicBezTo>
                                  <a:pt x="1320842" y="946156"/>
                                  <a:pt x="1325591" y="937733"/>
                                  <a:pt x="1328636" y="936964"/>
                                </a:cubicBezTo>
                                <a:cubicBezTo>
                                  <a:pt x="1334927" y="935393"/>
                                  <a:pt x="1373041" y="958890"/>
                                  <a:pt x="1376897" y="944284"/>
                                </a:cubicBezTo>
                                <a:cubicBezTo>
                                  <a:pt x="1381484" y="926971"/>
                                  <a:pt x="1353639" y="931483"/>
                                  <a:pt x="1340731" y="918815"/>
                                </a:cubicBezTo>
                                <a:cubicBezTo>
                                  <a:pt x="1333385" y="911596"/>
                                  <a:pt x="1347551" y="912999"/>
                                  <a:pt x="1355343" y="912131"/>
                                </a:cubicBezTo>
                                <a:cubicBezTo>
                                  <a:pt x="1368251" y="910627"/>
                                  <a:pt x="1363461" y="907251"/>
                                  <a:pt x="1364436" y="901468"/>
                                </a:cubicBezTo>
                                <a:cubicBezTo>
                                  <a:pt x="1365775" y="892110"/>
                                  <a:pt x="1410667" y="901970"/>
                                  <a:pt x="1409937" y="899931"/>
                                </a:cubicBezTo>
                                <a:cubicBezTo>
                                  <a:pt x="1408760" y="896589"/>
                                  <a:pt x="1390048" y="892010"/>
                                  <a:pt x="1385583" y="889302"/>
                                </a:cubicBezTo>
                                <a:cubicBezTo>
                                  <a:pt x="1380225" y="886194"/>
                                  <a:pt x="1377465" y="874228"/>
                                  <a:pt x="1385299" y="873025"/>
                                </a:cubicBezTo>
                                <a:cubicBezTo>
                                  <a:pt x="1392321" y="871989"/>
                                  <a:pt x="1416431" y="877270"/>
                                  <a:pt x="1424630" y="879108"/>
                                </a:cubicBezTo>
                                <a:cubicBezTo>
                                  <a:pt x="1443748" y="883319"/>
                                  <a:pt x="1455682" y="880512"/>
                                  <a:pt x="1474190" y="882116"/>
                                </a:cubicBezTo>
                                <a:cubicBezTo>
                                  <a:pt x="1490426" y="883520"/>
                                  <a:pt x="1506297" y="887899"/>
                                  <a:pt x="1522127" y="887497"/>
                                </a:cubicBezTo>
                                <a:cubicBezTo>
                                  <a:pt x="1535968" y="887594"/>
                                  <a:pt x="1549809" y="888610"/>
                                  <a:pt x="1563447" y="890539"/>
                                </a:cubicBezTo>
                                <a:cubicBezTo>
                                  <a:pt x="1584514" y="892778"/>
                                  <a:pt x="1612155" y="896221"/>
                                  <a:pt x="1631882" y="895185"/>
                                </a:cubicBezTo>
                                <a:cubicBezTo>
                                  <a:pt x="1652988" y="894048"/>
                                  <a:pt x="1663826" y="892611"/>
                                  <a:pt x="1686678" y="901201"/>
                                </a:cubicBezTo>
                                <a:cubicBezTo>
                                  <a:pt x="1698084" y="905479"/>
                                  <a:pt x="1716552" y="904543"/>
                                  <a:pt x="1722194" y="913534"/>
                                </a:cubicBezTo>
                                <a:cubicBezTo>
                                  <a:pt x="1724345" y="916877"/>
                                  <a:pt x="1722600" y="921489"/>
                                  <a:pt x="1724061" y="925132"/>
                                </a:cubicBezTo>
                                <a:cubicBezTo>
                                  <a:pt x="1725766" y="929377"/>
                                  <a:pt x="1715294" y="931817"/>
                                  <a:pt x="1718541" y="935159"/>
                                </a:cubicBezTo>
                                <a:cubicBezTo>
                                  <a:pt x="1723330" y="939939"/>
                                  <a:pt x="1743179" y="940708"/>
                                  <a:pt x="1748943" y="939037"/>
                                </a:cubicBezTo>
                                <a:cubicBezTo>
                                  <a:pt x="1756574" y="936764"/>
                                  <a:pt x="1767046" y="954411"/>
                                  <a:pt x="1768872" y="949064"/>
                                </a:cubicBezTo>
                                <a:cubicBezTo>
                                  <a:pt x="1770171" y="945053"/>
                                  <a:pt x="1786610" y="955013"/>
                                  <a:pt x="1791156" y="955514"/>
                                </a:cubicBezTo>
                                <a:cubicBezTo>
                                  <a:pt x="1811207" y="957620"/>
                                  <a:pt x="1791156" y="960662"/>
                                  <a:pt x="1785879" y="962567"/>
                                </a:cubicBezTo>
                                <a:cubicBezTo>
                                  <a:pt x="1774677" y="966745"/>
                                  <a:pt x="1797325" y="968182"/>
                                  <a:pt x="1801384" y="967814"/>
                                </a:cubicBezTo>
                                <a:cubicBezTo>
                                  <a:pt x="1807351" y="967280"/>
                                  <a:pt x="1810558" y="969719"/>
                                  <a:pt x="1816444" y="970522"/>
                                </a:cubicBezTo>
                                <a:cubicBezTo>
                                  <a:pt x="1823100" y="971110"/>
                                  <a:pt x="1829797" y="970953"/>
                                  <a:pt x="1836373" y="970054"/>
                                </a:cubicBezTo>
                                <a:cubicBezTo>
                                  <a:pt x="1850620" y="968917"/>
                                  <a:pt x="1866166" y="969151"/>
                                  <a:pt x="1881021" y="968349"/>
                                </a:cubicBezTo>
                                <a:cubicBezTo>
                                  <a:pt x="1887678" y="968279"/>
                                  <a:pt x="1894294" y="969418"/>
                                  <a:pt x="1900383" y="971691"/>
                                </a:cubicBezTo>
                                <a:cubicBezTo>
                                  <a:pt x="1907649" y="974399"/>
                                  <a:pt x="1898962" y="975268"/>
                                  <a:pt x="1896689" y="976638"/>
                                </a:cubicBezTo>
                                <a:cubicBezTo>
                                  <a:pt x="1888571" y="981518"/>
                                  <a:pt x="1905051" y="987668"/>
                                  <a:pt x="1911708" y="991645"/>
                                </a:cubicBezTo>
                                <a:cubicBezTo>
                                  <a:pt x="1921489" y="998002"/>
                                  <a:pt x="1929729" y="1005800"/>
                                  <a:pt x="1936061" y="1014641"/>
                                </a:cubicBezTo>
                                <a:cubicBezTo>
                                  <a:pt x="1950268" y="1032556"/>
                                  <a:pt x="1958954" y="1050036"/>
                                  <a:pt x="1968533" y="1068118"/>
                                </a:cubicBezTo>
                                <a:cubicBezTo>
                                  <a:pt x="1979614" y="1088908"/>
                                  <a:pt x="1990817" y="1061166"/>
                                  <a:pt x="2005916" y="1074536"/>
                                </a:cubicBezTo>
                                <a:cubicBezTo>
                                  <a:pt x="2013750" y="1082357"/>
                                  <a:pt x="2023695" y="1088520"/>
                                  <a:pt x="2035019" y="1092518"/>
                                </a:cubicBezTo>
                                <a:cubicBezTo>
                                  <a:pt x="2050971" y="1098868"/>
                                  <a:pt x="2063432" y="1094924"/>
                                  <a:pt x="2079262" y="1098768"/>
                                </a:cubicBezTo>
                                <a:cubicBezTo>
                                  <a:pt x="2088598" y="1101228"/>
                                  <a:pt x="2096188" y="1106863"/>
                                  <a:pt x="2100125" y="1114243"/>
                                </a:cubicBezTo>
                                <a:cubicBezTo>
                                  <a:pt x="2103332" y="1123334"/>
                                  <a:pt x="2114656" y="1123468"/>
                                  <a:pt x="2120420" y="1129852"/>
                                </a:cubicBezTo>
                                <a:cubicBezTo>
                                  <a:pt x="2125615" y="1135601"/>
                                  <a:pt x="2117823" y="1142285"/>
                                  <a:pt x="2134099" y="1146564"/>
                                </a:cubicBezTo>
                                <a:cubicBezTo>
                                  <a:pt x="2140430" y="1148235"/>
                                  <a:pt x="2171645" y="1150875"/>
                                  <a:pt x="2171198" y="1154552"/>
                                </a:cubicBezTo>
                                <a:cubicBezTo>
                                  <a:pt x="2168153" y="1180455"/>
                                  <a:pt x="2268613" y="1174606"/>
                                  <a:pt x="2287690" y="1174606"/>
                                </a:cubicBezTo>
                                <a:cubicBezTo>
                                  <a:pt x="2305347" y="1174405"/>
                                  <a:pt x="2334044" y="1171565"/>
                                  <a:pt x="2352188" y="1180121"/>
                                </a:cubicBezTo>
                                <a:cubicBezTo>
                                  <a:pt x="2361807" y="1184700"/>
                                  <a:pt x="2372280" y="1188811"/>
                                  <a:pt x="2382427" y="1192822"/>
                                </a:cubicBezTo>
                                <a:cubicBezTo>
                                  <a:pt x="2397567" y="1198805"/>
                                  <a:pt x="2393955" y="1197969"/>
                                  <a:pt x="2398378" y="1207194"/>
                                </a:cubicBezTo>
                                <a:cubicBezTo>
                                  <a:pt x="2405279" y="1221600"/>
                                  <a:pt x="2440795" y="1222803"/>
                                  <a:pt x="2454961" y="1233231"/>
                                </a:cubicBezTo>
                                <a:cubicBezTo>
                                  <a:pt x="2466285" y="1241554"/>
                                  <a:pt x="2471197" y="1237743"/>
                                  <a:pt x="2484713" y="1239448"/>
                                </a:cubicBezTo>
                                <a:cubicBezTo>
                                  <a:pt x="2492385" y="1240417"/>
                                  <a:pt x="2514059" y="1240651"/>
                                  <a:pt x="2503871" y="1231526"/>
                                </a:cubicBezTo>
                                <a:cubicBezTo>
                                  <a:pt x="2485687" y="1215282"/>
                                  <a:pt x="2509432" y="1208798"/>
                                  <a:pt x="2530498" y="1210570"/>
                                </a:cubicBezTo>
                                <a:cubicBezTo>
                                  <a:pt x="2546734" y="1211907"/>
                                  <a:pt x="2542675" y="1205222"/>
                                  <a:pt x="2560413" y="1215316"/>
                                </a:cubicBezTo>
                                <a:cubicBezTo>
                                  <a:pt x="2572590" y="1222201"/>
                                  <a:pt x="2587040" y="1228117"/>
                                  <a:pt x="2598405" y="1235370"/>
                                </a:cubicBezTo>
                                <a:cubicBezTo>
                                  <a:pt x="2608390" y="1241426"/>
                                  <a:pt x="2618740" y="1247005"/>
                                  <a:pt x="2629497" y="1252082"/>
                                </a:cubicBezTo>
                                <a:cubicBezTo>
                                  <a:pt x="2642486" y="1258466"/>
                                  <a:pt x="2633556" y="1262610"/>
                                  <a:pt x="2632825" y="1268794"/>
                                </a:cubicBezTo>
                                <a:cubicBezTo>
                                  <a:pt x="2631891" y="1277350"/>
                                  <a:pt x="2666068" y="1298875"/>
                                  <a:pt x="2680315" y="1299744"/>
                                </a:cubicBezTo>
                                <a:cubicBezTo>
                                  <a:pt x="2724680" y="1301983"/>
                                  <a:pt x="2762144" y="1323943"/>
                                  <a:pt x="2795793" y="1344832"/>
                                </a:cubicBezTo>
                                <a:cubicBezTo>
                                  <a:pt x="2802043" y="1350224"/>
                                  <a:pt x="2807158" y="1356437"/>
                                  <a:pt x="2810893" y="1363215"/>
                                </a:cubicBezTo>
                                <a:cubicBezTo>
                                  <a:pt x="2812435" y="1367928"/>
                                  <a:pt x="2830863" y="1373242"/>
                                  <a:pt x="2836748" y="1375615"/>
                                </a:cubicBezTo>
                                <a:cubicBezTo>
                                  <a:pt x="2844339" y="1378590"/>
                                  <a:pt x="2882493" y="1400650"/>
                                  <a:pt x="2888378" y="1396004"/>
                                </a:cubicBezTo>
                                <a:cubicBezTo>
                                  <a:pt x="2890570" y="1394166"/>
                                  <a:pt x="2942038" y="1408170"/>
                                  <a:pt x="2949263" y="1410008"/>
                                </a:cubicBezTo>
                                <a:cubicBezTo>
                                  <a:pt x="2957827" y="1412147"/>
                                  <a:pt x="2971019" y="1410008"/>
                                  <a:pt x="2980517" y="1411044"/>
                                </a:cubicBezTo>
                                <a:cubicBezTo>
                                  <a:pt x="2994480" y="1412167"/>
                                  <a:pt x="3007834" y="1416245"/>
                                  <a:pt x="3019280" y="1422876"/>
                                </a:cubicBezTo>
                                <a:cubicBezTo>
                                  <a:pt x="3028819" y="1428425"/>
                                  <a:pt x="3028738" y="1433605"/>
                                  <a:pt x="3042700" y="1438318"/>
                                </a:cubicBezTo>
                                <a:cubicBezTo>
                                  <a:pt x="3053822" y="1442095"/>
                                  <a:pt x="3065350" y="1444769"/>
                                  <a:pt x="3073102" y="1452323"/>
                                </a:cubicBezTo>
                                <a:cubicBezTo>
                                  <a:pt x="3091896" y="1470672"/>
                                  <a:pt x="3102895" y="1469268"/>
                                  <a:pt x="3130659" y="1473580"/>
                                </a:cubicBezTo>
                                <a:cubicBezTo>
                                  <a:pt x="3147666" y="1476220"/>
                                  <a:pt x="3146448" y="1474215"/>
                                  <a:pt x="3156514" y="1469970"/>
                                </a:cubicBezTo>
                                <a:cubicBezTo>
                                  <a:pt x="3163617" y="1466995"/>
                                  <a:pt x="3171735" y="1464923"/>
                                  <a:pt x="3178757" y="1461882"/>
                                </a:cubicBezTo>
                                <a:cubicBezTo>
                                  <a:pt x="3194993" y="1454829"/>
                                  <a:pt x="3225071" y="1461882"/>
                                  <a:pt x="3222919" y="1445170"/>
                                </a:cubicBezTo>
                                <a:cubicBezTo>
                                  <a:pt x="3222391" y="1441025"/>
                                  <a:pt x="3210011" y="1436680"/>
                                  <a:pt x="3212122" y="1434174"/>
                                </a:cubicBezTo>
                                <a:cubicBezTo>
                                  <a:pt x="3217277" y="1427923"/>
                                  <a:pt x="3236111" y="1429695"/>
                                  <a:pt x="3248410" y="1433839"/>
                                </a:cubicBezTo>
                                <a:cubicBezTo>
                                  <a:pt x="3266269" y="1439822"/>
                                  <a:pt x="3295615" y="1448512"/>
                                  <a:pt x="3310269" y="1457704"/>
                                </a:cubicBezTo>
                                <a:cubicBezTo>
                                  <a:pt x="3331862" y="1471073"/>
                                  <a:pt x="3362670" y="1482404"/>
                                  <a:pt x="3377972" y="1499116"/>
                                </a:cubicBezTo>
                                <a:cubicBezTo>
                                  <a:pt x="3385806" y="1507672"/>
                                  <a:pt x="3389621" y="1510279"/>
                                  <a:pt x="3386739" y="1517398"/>
                                </a:cubicBezTo>
                                <a:cubicBezTo>
                                  <a:pt x="3385075" y="1521509"/>
                                  <a:pt x="3394857" y="1530333"/>
                                  <a:pt x="3393396" y="1535915"/>
                                </a:cubicBezTo>
                                <a:cubicBezTo>
                                  <a:pt x="3390433" y="1548783"/>
                                  <a:pt x="3401514" y="1567300"/>
                                  <a:pt x="3403381" y="1581605"/>
                                </a:cubicBezTo>
                                <a:cubicBezTo>
                                  <a:pt x="3404071" y="1586752"/>
                                  <a:pt x="3393761" y="1589760"/>
                                  <a:pt x="3401717" y="1595977"/>
                                </a:cubicBezTo>
                                <a:cubicBezTo>
                                  <a:pt x="3404477" y="1598150"/>
                                  <a:pt x="3431064" y="1617803"/>
                                  <a:pt x="3433620" y="1618271"/>
                                </a:cubicBezTo>
                                <a:cubicBezTo>
                                  <a:pt x="3442713" y="1619808"/>
                                  <a:pt x="3455620" y="1633679"/>
                                  <a:pt x="3458827" y="1638325"/>
                                </a:cubicBezTo>
                                <a:cubicBezTo>
                                  <a:pt x="3466701" y="1649822"/>
                                  <a:pt x="3474535" y="1647717"/>
                                  <a:pt x="3473277" y="1658780"/>
                                </a:cubicBezTo>
                                <a:cubicBezTo>
                                  <a:pt x="3472546" y="1665164"/>
                                  <a:pt x="3469218" y="1672584"/>
                                  <a:pt x="3478554" y="1679570"/>
                                </a:cubicBezTo>
                                <a:cubicBezTo>
                                  <a:pt x="3485941" y="1685018"/>
                                  <a:pt x="3510173" y="1698387"/>
                                  <a:pt x="3519874" y="1699189"/>
                                </a:cubicBezTo>
                                <a:cubicBezTo>
                                  <a:pt x="3531239" y="1699640"/>
                                  <a:pt x="3542361" y="1701910"/>
                                  <a:pt x="3552671" y="1705874"/>
                                </a:cubicBezTo>
                                <a:cubicBezTo>
                                  <a:pt x="3560788" y="1708581"/>
                                  <a:pt x="3572194" y="1708347"/>
                                  <a:pt x="3578120" y="1715166"/>
                                </a:cubicBezTo>
                                <a:cubicBezTo>
                                  <a:pt x="3581246" y="1718742"/>
                                  <a:pt x="3576984" y="1729504"/>
                                  <a:pt x="3575603" y="1732780"/>
                                </a:cubicBezTo>
                                <a:cubicBezTo>
                                  <a:pt x="3574710" y="1734952"/>
                                  <a:pt x="3568663" y="1733348"/>
                                  <a:pt x="3565822" y="1733682"/>
                                </a:cubicBezTo>
                                <a:cubicBezTo>
                                  <a:pt x="3559286" y="1734795"/>
                                  <a:pt x="3553198" y="1737322"/>
                                  <a:pt x="3548205" y="1741002"/>
                                </a:cubicBezTo>
                                <a:cubicBezTo>
                                  <a:pt x="3539723" y="1746250"/>
                                  <a:pt x="3531969" y="1744545"/>
                                  <a:pt x="3520767" y="1746584"/>
                                </a:cubicBezTo>
                                <a:cubicBezTo>
                                  <a:pt x="3516708" y="1747352"/>
                                  <a:pt x="3497793" y="1749258"/>
                                  <a:pt x="3496413" y="1751430"/>
                                </a:cubicBezTo>
                                <a:cubicBezTo>
                                  <a:pt x="3492638" y="1756878"/>
                                  <a:pt x="3473724" y="1742573"/>
                                  <a:pt x="3470760" y="1739364"/>
                                </a:cubicBezTo>
                                <a:cubicBezTo>
                                  <a:pt x="3466701" y="1735086"/>
                                  <a:pt x="3444012" y="1732680"/>
                                  <a:pt x="3439100" y="1733214"/>
                                </a:cubicBezTo>
                                <a:cubicBezTo>
                                  <a:pt x="3425421" y="1734718"/>
                                  <a:pt x="3420591" y="1762961"/>
                                  <a:pt x="3417019" y="1770716"/>
                                </a:cubicBezTo>
                                <a:cubicBezTo>
                                  <a:pt x="3439587" y="1772353"/>
                                  <a:pt x="3447908" y="1774058"/>
                                  <a:pt x="3460044" y="1789566"/>
                                </a:cubicBezTo>
                                <a:cubicBezTo>
                                  <a:pt x="3469299" y="1801332"/>
                                  <a:pt x="3479609" y="1803304"/>
                                  <a:pt x="3495764" y="1805877"/>
                                </a:cubicBezTo>
                                <a:cubicBezTo>
                                  <a:pt x="3525516" y="1810657"/>
                                  <a:pt x="3544836" y="1809721"/>
                                  <a:pt x="3570245" y="1808351"/>
                                </a:cubicBezTo>
                                <a:cubicBezTo>
                                  <a:pt x="3607223" y="1806379"/>
                                  <a:pt x="3652156" y="1809855"/>
                                  <a:pt x="3681746" y="1799092"/>
                                </a:cubicBezTo>
                                <a:cubicBezTo>
                                  <a:pt x="3705085" y="1790469"/>
                                  <a:pt x="3742225" y="1796953"/>
                                  <a:pt x="3762926" y="1785155"/>
                                </a:cubicBezTo>
                                <a:cubicBezTo>
                                  <a:pt x="3778147" y="1776531"/>
                                  <a:pt x="3786589" y="1752165"/>
                                  <a:pt x="3809887" y="1750027"/>
                                </a:cubicBezTo>
                                <a:cubicBezTo>
                                  <a:pt x="3817437" y="1749358"/>
                                  <a:pt x="3819142" y="1744612"/>
                                  <a:pt x="3828356" y="1745247"/>
                                </a:cubicBezTo>
                                <a:cubicBezTo>
                                  <a:pt x="3841222" y="1746149"/>
                                  <a:pt x="3838138" y="1740334"/>
                                  <a:pt x="3841507" y="1734986"/>
                                </a:cubicBezTo>
                                <a:cubicBezTo>
                                  <a:pt x="3842806" y="1732947"/>
                                  <a:pt x="3845161" y="1724424"/>
                                  <a:pt x="3847636" y="1723421"/>
                                </a:cubicBezTo>
                                <a:cubicBezTo>
                                  <a:pt x="3854780" y="1720513"/>
                                  <a:pt x="3860300" y="1722118"/>
                                  <a:pt x="3848164" y="1711155"/>
                                </a:cubicBezTo>
                                <a:cubicBezTo>
                                  <a:pt x="3842806" y="1706308"/>
                                  <a:pt x="3833592" y="1699557"/>
                                  <a:pt x="3835987" y="1694777"/>
                                </a:cubicBezTo>
                                <a:cubicBezTo>
                                  <a:pt x="3838381" y="1689998"/>
                                  <a:pt x="3828843" y="1678701"/>
                                  <a:pt x="3819386" y="1674489"/>
                                </a:cubicBezTo>
                                <a:cubicBezTo>
                                  <a:pt x="3811795" y="1671147"/>
                                  <a:pt x="3805586" y="1666200"/>
                                  <a:pt x="3798279" y="1662590"/>
                                </a:cubicBezTo>
                                <a:cubicBezTo>
                                  <a:pt x="3790973" y="1658981"/>
                                  <a:pt x="3794220" y="1671047"/>
                                  <a:pt x="3784519" y="1664328"/>
                                </a:cubicBezTo>
                                <a:cubicBezTo>
                                  <a:pt x="3787239" y="1666234"/>
                                  <a:pt x="3740844" y="1659816"/>
                                  <a:pt x="3747379" y="1656407"/>
                                </a:cubicBezTo>
                                <a:cubicBezTo>
                                  <a:pt x="3751438" y="1654335"/>
                                  <a:pt x="3758257" y="1657477"/>
                                  <a:pt x="3755497" y="1651627"/>
                                </a:cubicBezTo>
                                <a:cubicBezTo>
                                  <a:pt x="3753834" y="1648285"/>
                                  <a:pt x="3763819" y="1641400"/>
                                  <a:pt x="3764549" y="1641901"/>
                                </a:cubicBezTo>
                                <a:cubicBezTo>
                                  <a:pt x="3757243" y="1637055"/>
                                  <a:pt x="3725826" y="1647951"/>
                                  <a:pt x="3730575" y="1635684"/>
                                </a:cubicBezTo>
                                <a:cubicBezTo>
                                  <a:pt x="3732280" y="1631279"/>
                                  <a:pt x="3735892" y="1627529"/>
                                  <a:pt x="3740682" y="1625122"/>
                                </a:cubicBezTo>
                                <a:cubicBezTo>
                                  <a:pt x="3744417" y="1623351"/>
                                  <a:pt x="3718318" y="1613525"/>
                                  <a:pt x="3716328" y="1612622"/>
                                </a:cubicBezTo>
                                <a:cubicBezTo>
                                  <a:pt x="3681259" y="1596712"/>
                                  <a:pt x="3707236" y="1598116"/>
                                  <a:pt x="3725096" y="1599253"/>
                                </a:cubicBezTo>
                                <a:cubicBezTo>
                                  <a:pt x="3733700" y="1599721"/>
                                  <a:pt x="3737881" y="1597815"/>
                                  <a:pt x="3747258" y="1599620"/>
                                </a:cubicBezTo>
                                <a:cubicBezTo>
                                  <a:pt x="3759150" y="1601926"/>
                                  <a:pt x="3770800" y="1603464"/>
                                  <a:pt x="3782570" y="1605369"/>
                                </a:cubicBezTo>
                                <a:cubicBezTo>
                                  <a:pt x="3803312" y="1608712"/>
                                  <a:pt x="3812689" y="1602027"/>
                                  <a:pt x="3833023" y="1605369"/>
                                </a:cubicBezTo>
                                <a:cubicBezTo>
                                  <a:pt x="3857865" y="1609046"/>
                                  <a:pt x="3887699" y="1614260"/>
                                  <a:pt x="3908521" y="1610917"/>
                                </a:cubicBezTo>
                                <a:cubicBezTo>
                                  <a:pt x="3918182" y="1609347"/>
                                  <a:pt x="3951059" y="1618104"/>
                                  <a:pt x="3955361" y="1613625"/>
                                </a:cubicBezTo>
                                <a:cubicBezTo>
                                  <a:pt x="3961125" y="1607508"/>
                                  <a:pt x="4004435" y="1622248"/>
                                  <a:pt x="4015150" y="1626092"/>
                                </a:cubicBezTo>
                                <a:cubicBezTo>
                                  <a:pt x="4036866" y="1634250"/>
                                  <a:pt x="4056917" y="1645207"/>
                                  <a:pt x="4074452" y="1658546"/>
                                </a:cubicBezTo>
                                <a:cubicBezTo>
                                  <a:pt x="4080012" y="1662724"/>
                                  <a:pt x="4086304" y="1672584"/>
                                  <a:pt x="4093367" y="1674289"/>
                                </a:cubicBezTo>
                                <a:cubicBezTo>
                                  <a:pt x="4104975" y="1677096"/>
                                  <a:pt x="4107492" y="1677363"/>
                                  <a:pt x="4118857" y="1684650"/>
                                </a:cubicBezTo>
                                <a:cubicBezTo>
                                  <a:pt x="4127056" y="1690272"/>
                                  <a:pt x="4136311" y="1694784"/>
                                  <a:pt x="4146214" y="1698019"/>
                                </a:cubicBezTo>
                                <a:cubicBezTo>
                                  <a:pt x="4156443" y="1701362"/>
                                  <a:pt x="4161761" y="1709517"/>
                                  <a:pt x="4171867" y="1712793"/>
                                </a:cubicBezTo>
                                <a:cubicBezTo>
                                  <a:pt x="4181974" y="1716068"/>
                                  <a:pt x="4186967" y="1711690"/>
                                  <a:pt x="4198412" y="1716402"/>
                                </a:cubicBezTo>
                                <a:cubicBezTo>
                                  <a:pt x="4207992" y="1720316"/>
                                  <a:pt x="4216719" y="1725500"/>
                                  <a:pt x="4224269" y="1731744"/>
                                </a:cubicBezTo>
                                <a:cubicBezTo>
                                  <a:pt x="4229749" y="1736523"/>
                                  <a:pt x="4230642" y="1742272"/>
                                  <a:pt x="4238881" y="1746116"/>
                                </a:cubicBezTo>
                                <a:cubicBezTo>
                                  <a:pt x="4251058" y="1751898"/>
                                  <a:pt x="4253412" y="1748823"/>
                                  <a:pt x="4257633" y="1758650"/>
                                </a:cubicBezTo>
                                <a:cubicBezTo>
                                  <a:pt x="4259095" y="1761992"/>
                                  <a:pt x="4274275" y="1773791"/>
                                  <a:pt x="4260393" y="1769479"/>
                                </a:cubicBezTo>
                                <a:cubicBezTo>
                                  <a:pt x="4257390" y="1768510"/>
                                  <a:pt x="4229424" y="1753603"/>
                                  <a:pt x="4240748" y="1766137"/>
                                </a:cubicBezTo>
                                <a:cubicBezTo>
                                  <a:pt x="4248866" y="1774860"/>
                                  <a:pt x="4262099" y="1774392"/>
                                  <a:pt x="4271758" y="1780743"/>
                                </a:cubicBezTo>
                                <a:cubicBezTo>
                                  <a:pt x="4285519" y="1789767"/>
                                  <a:pt x="4297452" y="1791071"/>
                                  <a:pt x="4310847" y="1798056"/>
                                </a:cubicBezTo>
                                <a:cubicBezTo>
                                  <a:pt x="4321481" y="1803671"/>
                                  <a:pt x="4318599" y="1805075"/>
                                  <a:pt x="4331425" y="1809019"/>
                                </a:cubicBezTo>
                                <a:cubicBezTo>
                                  <a:pt x="4338042" y="1811025"/>
                                  <a:pt x="4356753" y="1822923"/>
                                  <a:pt x="4361381" y="1823024"/>
                                </a:cubicBezTo>
                                <a:cubicBezTo>
                                  <a:pt x="4368444" y="1823024"/>
                                  <a:pt x="4338691" y="1804975"/>
                                  <a:pt x="4343683" y="1801298"/>
                                </a:cubicBezTo>
                                <a:cubicBezTo>
                                  <a:pt x="4353587" y="1793945"/>
                                  <a:pt x="4377211" y="1797221"/>
                                  <a:pt x="4395192" y="1800730"/>
                                </a:cubicBezTo>
                                <a:cubicBezTo>
                                  <a:pt x="4402174" y="1802034"/>
                                  <a:pt x="4441464" y="1813230"/>
                                  <a:pt x="4443047" y="1811426"/>
                                </a:cubicBezTo>
                                <a:cubicBezTo>
                                  <a:pt x="4447878" y="1805978"/>
                                  <a:pt x="4460988" y="1802535"/>
                                  <a:pt x="4473814" y="1810590"/>
                                </a:cubicBezTo>
                                <a:cubicBezTo>
                                  <a:pt x="4492324" y="1822221"/>
                                  <a:pt x="4507220" y="1828037"/>
                                  <a:pt x="4526134" y="1837329"/>
                                </a:cubicBezTo>
                                <a:cubicBezTo>
                                  <a:pt x="4541680" y="1845083"/>
                                  <a:pt x="4525729" y="1849595"/>
                                  <a:pt x="4549920" y="1854876"/>
                                </a:cubicBezTo>
                                <a:cubicBezTo>
                                  <a:pt x="4575208" y="1860491"/>
                                  <a:pt x="4540869" y="1862163"/>
                                  <a:pt x="4538150" y="1862463"/>
                                </a:cubicBezTo>
                                <a:cubicBezTo>
                                  <a:pt x="4516637" y="1864836"/>
                                  <a:pt x="4550976" y="1877571"/>
                                  <a:pt x="4545821" y="1880880"/>
                                </a:cubicBezTo>
                                <a:cubicBezTo>
                                  <a:pt x="4544319" y="1881816"/>
                                  <a:pt x="4529057" y="1876735"/>
                                  <a:pt x="4532954" y="1880880"/>
                                </a:cubicBezTo>
                                <a:cubicBezTo>
                                  <a:pt x="4537784" y="1886127"/>
                                  <a:pt x="4549676" y="1889369"/>
                                  <a:pt x="4555846" y="1890907"/>
                                </a:cubicBezTo>
                                <a:cubicBezTo>
                                  <a:pt x="4580688" y="1897090"/>
                                  <a:pt x="4605853" y="1895252"/>
                                  <a:pt x="4630856" y="1913167"/>
                                </a:cubicBezTo>
                                <a:cubicBezTo>
                                  <a:pt x="4643480" y="1922292"/>
                                  <a:pt x="4646077" y="1899798"/>
                                  <a:pt x="4660202" y="1902705"/>
                                </a:cubicBezTo>
                                <a:cubicBezTo>
                                  <a:pt x="4667184" y="1904076"/>
                                  <a:pt x="4720763" y="1928843"/>
                                  <a:pt x="4711468" y="1935494"/>
                                </a:cubicBezTo>
                                <a:cubicBezTo>
                                  <a:pt x="4712604" y="1934658"/>
                                  <a:pt x="4686262" y="1921256"/>
                                  <a:pt x="4679767" y="1922125"/>
                                </a:cubicBezTo>
                                <a:cubicBezTo>
                                  <a:pt x="4671040" y="1923194"/>
                                  <a:pt x="4664952" y="1929110"/>
                                  <a:pt x="4657117" y="1931483"/>
                                </a:cubicBezTo>
                                <a:cubicBezTo>
                                  <a:pt x="4653830" y="1932452"/>
                                  <a:pt x="4657889" y="1935895"/>
                                  <a:pt x="4655738" y="1937031"/>
                                </a:cubicBezTo>
                                <a:cubicBezTo>
                                  <a:pt x="4653587" y="1938168"/>
                                  <a:pt x="4647620" y="1935327"/>
                                  <a:pt x="4644616" y="1934993"/>
                                </a:cubicBezTo>
                                <a:cubicBezTo>
                                  <a:pt x="4639461" y="1934424"/>
                                  <a:pt x="4640070" y="1938937"/>
                                  <a:pt x="4634712" y="1938335"/>
                                </a:cubicBezTo>
                                <a:cubicBezTo>
                                  <a:pt x="4628502" y="1937767"/>
                                  <a:pt x="4619045" y="1932051"/>
                                  <a:pt x="4612916" y="1929110"/>
                                </a:cubicBezTo>
                                <a:cubicBezTo>
                                  <a:pt x="4605487" y="1925534"/>
                                  <a:pt x="4587506" y="1916209"/>
                                  <a:pt x="4582717" y="1920219"/>
                                </a:cubicBezTo>
                                <a:cubicBezTo>
                                  <a:pt x="4576831" y="1925032"/>
                                  <a:pt x="4557511" y="1916509"/>
                                  <a:pt x="4548216" y="1917913"/>
                                </a:cubicBezTo>
                                <a:cubicBezTo>
                                  <a:pt x="4540098" y="1919150"/>
                                  <a:pt x="4527474" y="1915406"/>
                                  <a:pt x="4517570" y="1913234"/>
                                </a:cubicBezTo>
                                <a:cubicBezTo>
                                  <a:pt x="4498615" y="1909156"/>
                                  <a:pt x="4484084" y="1909223"/>
                                  <a:pt x="4466955" y="1908588"/>
                                </a:cubicBezTo>
                                <a:cubicBezTo>
                                  <a:pt x="4449826" y="1907953"/>
                                  <a:pt x="4428678" y="1899864"/>
                                  <a:pt x="4411266" y="1895486"/>
                                </a:cubicBezTo>
                                <a:cubicBezTo>
                                  <a:pt x="4405177" y="1893982"/>
                                  <a:pt x="4386099" y="1880479"/>
                                  <a:pt x="4382325" y="1881548"/>
                                </a:cubicBezTo>
                                <a:cubicBezTo>
                                  <a:pt x="4379484" y="1882317"/>
                                  <a:pt x="4378916" y="1886361"/>
                                  <a:pt x="4377454" y="1887999"/>
                                </a:cubicBezTo>
                                <a:cubicBezTo>
                                  <a:pt x="4372503" y="1893514"/>
                                  <a:pt x="4362760" y="1892678"/>
                                  <a:pt x="4352533" y="1892779"/>
                                </a:cubicBezTo>
                                <a:cubicBezTo>
                                  <a:pt x="4302323" y="1893447"/>
                                  <a:pt x="4287589" y="1931316"/>
                                  <a:pt x="4278375" y="1961029"/>
                                </a:cubicBezTo>
                                <a:cubicBezTo>
                                  <a:pt x="4276913" y="1965943"/>
                                  <a:pt x="4278050" y="1971825"/>
                                  <a:pt x="4276061" y="1976471"/>
                                </a:cubicBezTo>
                                <a:cubicBezTo>
                                  <a:pt x="4273220" y="1983156"/>
                                  <a:pt x="4265792" y="1988270"/>
                                  <a:pt x="4264940" y="1995857"/>
                                </a:cubicBezTo>
                                <a:cubicBezTo>
                                  <a:pt x="4264696" y="1997996"/>
                                  <a:pt x="4262991" y="2012869"/>
                                  <a:pt x="4265670" y="2013973"/>
                                </a:cubicBezTo>
                                <a:cubicBezTo>
                                  <a:pt x="4277401" y="2018852"/>
                                  <a:pt x="4293190" y="2016312"/>
                                  <a:pt x="4304230" y="2017850"/>
                                </a:cubicBezTo>
                                <a:cubicBezTo>
                                  <a:pt x="4312348" y="2018953"/>
                                  <a:pt x="4328584" y="2019822"/>
                                  <a:pt x="4333253" y="2016914"/>
                                </a:cubicBezTo>
                                <a:cubicBezTo>
                                  <a:pt x="4339381" y="2013237"/>
                                  <a:pt x="4340071" y="2005851"/>
                                  <a:pt x="4352694" y="2009561"/>
                                </a:cubicBezTo>
                                <a:cubicBezTo>
                                  <a:pt x="4365318" y="2013271"/>
                                  <a:pt x="4373395" y="2014106"/>
                                  <a:pt x="4385775" y="2021392"/>
                                </a:cubicBezTo>
                                <a:cubicBezTo>
                                  <a:pt x="4402782" y="2031420"/>
                                  <a:pt x="4394177" y="2011633"/>
                                  <a:pt x="4401037" y="2009561"/>
                                </a:cubicBezTo>
                                <a:cubicBezTo>
                                  <a:pt x="4409398" y="2007087"/>
                                  <a:pt x="4426609" y="2012903"/>
                                  <a:pt x="4437568" y="2015243"/>
                                </a:cubicBezTo>
                                <a:cubicBezTo>
                                  <a:pt x="4451124" y="2018084"/>
                                  <a:pt x="4459202" y="2031520"/>
                                  <a:pt x="4473611" y="2033325"/>
                                </a:cubicBezTo>
                                <a:cubicBezTo>
                                  <a:pt x="4488021" y="2035130"/>
                                  <a:pt x="4483677" y="2024534"/>
                                  <a:pt x="4481080" y="2016613"/>
                                </a:cubicBezTo>
                                <a:cubicBezTo>
                                  <a:pt x="4478807" y="2009928"/>
                                  <a:pt x="4501375" y="2010263"/>
                                  <a:pt x="4507585" y="2010831"/>
                                </a:cubicBezTo>
                                <a:cubicBezTo>
                                  <a:pt x="4520940" y="2011967"/>
                                  <a:pt x="4526013" y="2023966"/>
                                  <a:pt x="4538270" y="2025704"/>
                                </a:cubicBezTo>
                                <a:cubicBezTo>
                                  <a:pt x="4549068" y="2027242"/>
                                  <a:pt x="4541396" y="2012535"/>
                                  <a:pt x="4533400" y="2008290"/>
                                </a:cubicBezTo>
                                <a:cubicBezTo>
                                  <a:pt x="4524795" y="2003711"/>
                                  <a:pt x="4539246" y="1997060"/>
                                  <a:pt x="4541518" y="1996559"/>
                                </a:cubicBezTo>
                                <a:cubicBezTo>
                                  <a:pt x="4547201" y="1995422"/>
                                  <a:pt x="4573990" y="2002876"/>
                                  <a:pt x="4562787" y="1992314"/>
                                </a:cubicBezTo>
                                <a:cubicBezTo>
                                  <a:pt x="4555765" y="1985629"/>
                                  <a:pt x="4537540" y="1979245"/>
                                  <a:pt x="4536079" y="1972260"/>
                                </a:cubicBezTo>
                                <a:cubicBezTo>
                                  <a:pt x="4533725" y="1960996"/>
                                  <a:pt x="4551990" y="1960929"/>
                                  <a:pt x="4565385" y="1963804"/>
                                </a:cubicBezTo>
                                <a:cubicBezTo>
                                  <a:pt x="4584178" y="1967815"/>
                                  <a:pt x="4613483" y="1953008"/>
                                  <a:pt x="4632521" y="1966043"/>
                                </a:cubicBezTo>
                                <a:cubicBezTo>
                                  <a:pt x="4641532" y="1972226"/>
                                  <a:pt x="4649203" y="1976638"/>
                                  <a:pt x="4651029" y="1983423"/>
                                </a:cubicBezTo>
                                <a:cubicBezTo>
                                  <a:pt x="4652369" y="1988403"/>
                                  <a:pt x="4677088" y="1987468"/>
                                  <a:pt x="4680254" y="1987735"/>
                                </a:cubicBezTo>
                                <a:cubicBezTo>
                                  <a:pt x="4721899" y="1991077"/>
                                  <a:pt x="4676601" y="2008926"/>
                                  <a:pt x="4701239" y="2012970"/>
                                </a:cubicBezTo>
                                <a:cubicBezTo>
                                  <a:pt x="4730707" y="2017850"/>
                                  <a:pt x="4754817" y="2028278"/>
                                  <a:pt x="4781688" y="2048232"/>
                                </a:cubicBezTo>
                                <a:cubicBezTo>
                                  <a:pt x="4791632" y="2055618"/>
                                  <a:pt x="4800115" y="2062938"/>
                                  <a:pt x="4803079" y="2071628"/>
                                </a:cubicBezTo>
                                <a:cubicBezTo>
                                  <a:pt x="4806042" y="2080318"/>
                                  <a:pt x="4810262" y="2089276"/>
                                  <a:pt x="4820572" y="2083527"/>
                                </a:cubicBezTo>
                                <a:cubicBezTo>
                                  <a:pt x="4826093" y="2080452"/>
                                  <a:pt x="4852639" y="2093253"/>
                                  <a:pt x="4861528" y="2095961"/>
                                </a:cubicBezTo>
                                <a:cubicBezTo>
                                  <a:pt x="4872041" y="2099303"/>
                                  <a:pt x="4887059" y="2105252"/>
                                  <a:pt x="4897003" y="2106924"/>
                                </a:cubicBezTo>
                                <a:cubicBezTo>
                                  <a:pt x="4923102" y="2111486"/>
                                  <a:pt x="4948025" y="2119858"/>
                                  <a:pt x="4970512" y="2131690"/>
                                </a:cubicBezTo>
                                <a:cubicBezTo>
                                  <a:pt x="4990197" y="2141717"/>
                                  <a:pt x="5031599" y="2166351"/>
                                  <a:pt x="5050148" y="2165114"/>
                                </a:cubicBezTo>
                                <a:cubicBezTo>
                                  <a:pt x="5059849" y="2164512"/>
                                  <a:pt x="5058794" y="2166016"/>
                                  <a:pt x="5063989" y="2173771"/>
                                </a:cubicBezTo>
                                <a:cubicBezTo>
                                  <a:pt x="5069185" y="2181525"/>
                                  <a:pt x="5089886" y="2198270"/>
                                  <a:pt x="5098937" y="2205556"/>
                                </a:cubicBezTo>
                                <a:cubicBezTo>
                                  <a:pt x="5127716" y="2228719"/>
                                  <a:pt x="5127959" y="2199707"/>
                                  <a:pt x="5123088" y="2187642"/>
                                </a:cubicBezTo>
                                <a:cubicBezTo>
                                  <a:pt x="5117040" y="2172768"/>
                                  <a:pt x="5137173" y="2167587"/>
                                  <a:pt x="5113630" y="2150441"/>
                                </a:cubicBezTo>
                                <a:cubicBezTo>
                                  <a:pt x="5100074" y="2140414"/>
                                  <a:pt x="5110018" y="2137072"/>
                                  <a:pt x="5109571" y="2130654"/>
                                </a:cubicBezTo>
                                <a:cubicBezTo>
                                  <a:pt x="5109329" y="2126944"/>
                                  <a:pt x="5086395" y="2117753"/>
                                  <a:pt x="5082254" y="2109698"/>
                                </a:cubicBezTo>
                                <a:cubicBezTo>
                                  <a:pt x="5075517" y="2096529"/>
                                  <a:pt x="5101900" y="2112372"/>
                                  <a:pt x="5107218" y="2116850"/>
                                </a:cubicBezTo>
                                <a:cubicBezTo>
                                  <a:pt x="5120613" y="2128081"/>
                                  <a:pt x="5115336" y="2136503"/>
                                  <a:pt x="5129014" y="2146932"/>
                                </a:cubicBezTo>
                                <a:cubicBezTo>
                                  <a:pt x="5143302" y="2157794"/>
                                  <a:pt x="5185069" y="2180355"/>
                                  <a:pt x="5199641" y="2180121"/>
                                </a:cubicBezTo>
                                <a:cubicBezTo>
                                  <a:pt x="5204024" y="2180121"/>
                                  <a:pt x="5221843" y="2180121"/>
                                  <a:pt x="5222006" y="2177949"/>
                                </a:cubicBezTo>
                                <a:cubicBezTo>
                                  <a:pt x="5222370" y="2173503"/>
                                  <a:pt x="5216080" y="2168122"/>
                                  <a:pt x="5216119" y="2163844"/>
                                </a:cubicBezTo>
                                <a:cubicBezTo>
                                  <a:pt x="5216119" y="2156290"/>
                                  <a:pt x="5225780" y="2164613"/>
                                  <a:pt x="5231422" y="2165950"/>
                                </a:cubicBezTo>
                                <a:cubicBezTo>
                                  <a:pt x="5238606" y="2167654"/>
                                  <a:pt x="5253503" y="2171799"/>
                                  <a:pt x="5260566" y="2179954"/>
                                </a:cubicBezTo>
                                <a:cubicBezTo>
                                  <a:pt x="5261012" y="2180489"/>
                                  <a:pt x="5241408" y="2181592"/>
                                  <a:pt x="5242463" y="2186639"/>
                                </a:cubicBezTo>
                                <a:cubicBezTo>
                                  <a:pt x="5244614" y="2196432"/>
                                  <a:pt x="5247456" y="2203150"/>
                                  <a:pt x="5260809" y="2212241"/>
                                </a:cubicBezTo>
                                <a:cubicBezTo>
                                  <a:pt x="5281429" y="2226346"/>
                                  <a:pt x="5311425" y="2243592"/>
                                  <a:pt x="5308421" y="2262143"/>
                                </a:cubicBezTo>
                                <a:cubicBezTo>
                                  <a:pt x="5306757" y="2272470"/>
                                  <a:pt x="5316133" y="2285740"/>
                                  <a:pt x="5328473" y="2297538"/>
                                </a:cubicBezTo>
                                <a:cubicBezTo>
                                  <a:pt x="5331720" y="2300647"/>
                                  <a:pt x="5338823" y="2306329"/>
                                  <a:pt x="5338254" y="2309671"/>
                                </a:cubicBezTo>
                                <a:cubicBezTo>
                                  <a:pt x="5336874" y="2317726"/>
                                  <a:pt x="5346616" y="2320935"/>
                                  <a:pt x="5353313" y="2328355"/>
                                </a:cubicBezTo>
                                <a:cubicBezTo>
                                  <a:pt x="5358590" y="2334171"/>
                                  <a:pt x="5372188" y="2346036"/>
                                  <a:pt x="5380468" y="2348242"/>
                                </a:cubicBezTo>
                                <a:cubicBezTo>
                                  <a:pt x="5390940" y="2351016"/>
                                  <a:pt x="5370564" y="2331998"/>
                                  <a:pt x="5376409" y="2332065"/>
                                </a:cubicBezTo>
                                <a:cubicBezTo>
                                  <a:pt x="5382254" y="2332131"/>
                                  <a:pt x="5387977" y="2350080"/>
                                  <a:pt x="5392645" y="2343730"/>
                                </a:cubicBezTo>
                                <a:cubicBezTo>
                                  <a:pt x="5395973" y="2339117"/>
                                  <a:pt x="5402832" y="2340387"/>
                                  <a:pt x="5406283" y="2335307"/>
                                </a:cubicBezTo>
                                <a:cubicBezTo>
                                  <a:pt x="5407987" y="2332733"/>
                                  <a:pt x="5405958" y="2317459"/>
                                  <a:pt x="5413670" y="2324210"/>
                                </a:cubicBezTo>
                                <a:cubicBezTo>
                                  <a:pt x="5414563" y="2324912"/>
                                  <a:pt x="5446142" y="2363583"/>
                                  <a:pt x="5448699" y="2358703"/>
                                </a:cubicBezTo>
                                <a:cubicBezTo>
                                  <a:pt x="5450525" y="2355361"/>
                                  <a:pt x="5439688" y="2348142"/>
                                  <a:pt x="5440865" y="2345869"/>
                                </a:cubicBezTo>
                                <a:cubicBezTo>
                                  <a:pt x="5443098" y="2341591"/>
                                  <a:pt x="5457710" y="2367594"/>
                                  <a:pt x="5463717" y="2364920"/>
                                </a:cubicBezTo>
                                <a:cubicBezTo>
                                  <a:pt x="5469238" y="2363082"/>
                                  <a:pt x="5475489" y="2363583"/>
                                  <a:pt x="5480481" y="2366224"/>
                                </a:cubicBezTo>
                                <a:cubicBezTo>
                                  <a:pt x="5483688" y="2367761"/>
                                  <a:pt x="5503658" y="2382200"/>
                                  <a:pt x="5492658" y="2368864"/>
                                </a:cubicBezTo>
                                <a:close/>
                                <a:moveTo>
                                  <a:pt x="2856475" y="1286441"/>
                                </a:moveTo>
                                <a:cubicBezTo>
                                  <a:pt x="2831552" y="1288246"/>
                                  <a:pt x="2802856" y="1279757"/>
                                  <a:pt x="2777162" y="1279757"/>
                                </a:cubicBezTo>
                                <a:cubicBezTo>
                                  <a:pt x="2767542" y="1279757"/>
                                  <a:pt x="2768314" y="1283634"/>
                                  <a:pt x="2761576" y="1285305"/>
                                </a:cubicBezTo>
                                <a:cubicBezTo>
                                  <a:pt x="2752768" y="1287477"/>
                                  <a:pt x="2738277" y="1284536"/>
                                  <a:pt x="2727643" y="1282230"/>
                                </a:cubicBezTo>
                                <a:cubicBezTo>
                                  <a:pt x="2722041" y="1280960"/>
                                  <a:pt x="2676987" y="1266253"/>
                                  <a:pt x="2697931" y="1269061"/>
                                </a:cubicBezTo>
                                <a:cubicBezTo>
                                  <a:pt x="2724843" y="1272637"/>
                                  <a:pt x="2743432" y="1276247"/>
                                  <a:pt x="2764052" y="1269696"/>
                                </a:cubicBezTo>
                                <a:cubicBezTo>
                                  <a:pt x="2785280" y="1263011"/>
                                  <a:pt x="2818442" y="1267557"/>
                                  <a:pt x="2843324" y="1264883"/>
                                </a:cubicBezTo>
                                <a:cubicBezTo>
                                  <a:pt x="2872061" y="1261808"/>
                                  <a:pt x="2886389" y="1244829"/>
                                  <a:pt x="2914964" y="1242790"/>
                                </a:cubicBezTo>
                                <a:cubicBezTo>
                                  <a:pt x="2931200" y="1241687"/>
                                  <a:pt x="2908998" y="1262243"/>
                                  <a:pt x="2907253" y="1263646"/>
                                </a:cubicBezTo>
                                <a:cubicBezTo>
                                  <a:pt x="2895360" y="1273172"/>
                                  <a:pt x="2879205" y="1284904"/>
                                  <a:pt x="2856475" y="1286575"/>
                                </a:cubicBezTo>
                                <a:close/>
                                <a:moveTo>
                                  <a:pt x="3272236" y="790669"/>
                                </a:moveTo>
                                <a:cubicBezTo>
                                  <a:pt x="3267771" y="792273"/>
                                  <a:pt x="3239764" y="784285"/>
                                  <a:pt x="3250521" y="792875"/>
                                </a:cubicBezTo>
                                <a:cubicBezTo>
                                  <a:pt x="3261276" y="801465"/>
                                  <a:pt x="3282342" y="807348"/>
                                  <a:pt x="3296224" y="809587"/>
                                </a:cubicBezTo>
                                <a:cubicBezTo>
                                  <a:pt x="3335597" y="816272"/>
                                  <a:pt x="3286604" y="785355"/>
                                  <a:pt x="3272236" y="790536"/>
                                </a:cubicBezTo>
                                <a:close/>
                                <a:moveTo>
                                  <a:pt x="1454951" y="46493"/>
                                </a:moveTo>
                                <a:cubicBezTo>
                                  <a:pt x="1468386" y="48699"/>
                                  <a:pt x="1471918" y="46493"/>
                                  <a:pt x="1482227" y="45189"/>
                                </a:cubicBezTo>
                                <a:cubicBezTo>
                                  <a:pt x="1491725" y="43853"/>
                                  <a:pt x="1507758" y="49568"/>
                                  <a:pt x="1518393" y="50404"/>
                                </a:cubicBezTo>
                                <a:cubicBezTo>
                                  <a:pt x="1529027" y="51239"/>
                                  <a:pt x="1528094" y="47061"/>
                                  <a:pt x="1519813" y="44321"/>
                                </a:cubicBezTo>
                                <a:cubicBezTo>
                                  <a:pt x="1508367" y="40908"/>
                                  <a:pt x="1496474" y="38512"/>
                                  <a:pt x="1484419" y="37168"/>
                                </a:cubicBezTo>
                                <a:cubicBezTo>
                                  <a:pt x="1477397" y="36232"/>
                                  <a:pt x="1467087" y="34628"/>
                                  <a:pt x="1460715" y="35630"/>
                                </a:cubicBezTo>
                                <a:cubicBezTo>
                                  <a:pt x="1456656" y="36265"/>
                                  <a:pt x="1462501" y="38505"/>
                                  <a:pt x="1455600" y="38271"/>
                                </a:cubicBezTo>
                                <a:cubicBezTo>
                                  <a:pt x="1451542" y="38104"/>
                                  <a:pt x="1408191" y="32923"/>
                                  <a:pt x="1408110" y="32756"/>
                                </a:cubicBezTo>
                                <a:cubicBezTo>
                                  <a:pt x="1411276" y="39508"/>
                                  <a:pt x="1444803" y="44822"/>
                                  <a:pt x="1454951" y="46493"/>
                                </a:cubicBezTo>
                                <a:close/>
                                <a:moveTo>
                                  <a:pt x="1311507" y="58325"/>
                                </a:moveTo>
                                <a:cubicBezTo>
                                  <a:pt x="1313293" y="50303"/>
                                  <a:pt x="1254397" y="50671"/>
                                  <a:pt x="1265072" y="53980"/>
                                </a:cubicBezTo>
                                <a:cubicBezTo>
                                  <a:pt x="1274610" y="56888"/>
                                  <a:pt x="1309761" y="66213"/>
                                  <a:pt x="1311547" y="58325"/>
                                </a:cubicBezTo>
                                <a:close/>
                                <a:moveTo>
                                  <a:pt x="1453896" y="74101"/>
                                </a:moveTo>
                                <a:cubicBezTo>
                                  <a:pt x="1457589" y="81220"/>
                                  <a:pt x="1376775" y="65778"/>
                                  <a:pt x="1401373" y="80451"/>
                                </a:cubicBezTo>
                                <a:cubicBezTo>
                                  <a:pt x="1416147" y="89175"/>
                                  <a:pt x="1462257" y="93988"/>
                                  <a:pt x="1479589" y="91448"/>
                                </a:cubicBezTo>
                                <a:cubicBezTo>
                                  <a:pt x="1488721" y="90011"/>
                                  <a:pt x="1544939" y="94389"/>
                                  <a:pt x="1512669" y="84329"/>
                                </a:cubicBezTo>
                                <a:cubicBezTo>
                                  <a:pt x="1508002" y="82824"/>
                                  <a:pt x="1452029" y="70424"/>
                                  <a:pt x="1453896" y="74101"/>
                                </a:cubicBezTo>
                                <a:cubicBezTo>
                                  <a:pt x="1456250" y="78747"/>
                                  <a:pt x="1451623" y="69589"/>
                                  <a:pt x="1453936" y="74101"/>
                                </a:cubicBezTo>
                                <a:close/>
                                <a:moveTo>
                                  <a:pt x="1642679" y="97130"/>
                                </a:moveTo>
                                <a:cubicBezTo>
                                  <a:pt x="1653232" y="93487"/>
                                  <a:pt x="1612114" y="78747"/>
                                  <a:pt x="1604118" y="77076"/>
                                </a:cubicBezTo>
                                <a:cubicBezTo>
                                  <a:pt x="1594620" y="75037"/>
                                  <a:pt x="1580860" y="71962"/>
                                  <a:pt x="1571646" y="72697"/>
                                </a:cubicBezTo>
                                <a:cubicBezTo>
                                  <a:pt x="1566695" y="73098"/>
                                  <a:pt x="1564178" y="77009"/>
                                  <a:pt x="1556994" y="77744"/>
                                </a:cubicBezTo>
                                <a:cubicBezTo>
                                  <a:pt x="1552123" y="78245"/>
                                  <a:pt x="1532640" y="78647"/>
                                  <a:pt x="1534669" y="82657"/>
                                </a:cubicBezTo>
                                <a:cubicBezTo>
                                  <a:pt x="1537226" y="88072"/>
                                  <a:pt x="1559023" y="92217"/>
                                  <a:pt x="1567669" y="93687"/>
                                </a:cubicBezTo>
                                <a:cubicBezTo>
                                  <a:pt x="1586746" y="97030"/>
                                  <a:pt x="1627741" y="102277"/>
                                  <a:pt x="1642841" y="97030"/>
                                </a:cubicBezTo>
                                <a:close/>
                                <a:moveTo>
                                  <a:pt x="1471187" y="58960"/>
                                </a:moveTo>
                                <a:cubicBezTo>
                                  <a:pt x="1475246" y="52275"/>
                                  <a:pt x="1454139" y="50303"/>
                                  <a:pt x="1444641" y="48933"/>
                                </a:cubicBezTo>
                                <a:cubicBezTo>
                                  <a:pt x="1421789" y="45591"/>
                                  <a:pt x="1405999" y="38104"/>
                                  <a:pt x="1384487" y="33525"/>
                                </a:cubicBezTo>
                                <a:cubicBezTo>
                                  <a:pt x="1364720" y="29313"/>
                                  <a:pt x="1387004" y="39975"/>
                                  <a:pt x="1382052" y="41045"/>
                                </a:cubicBezTo>
                                <a:cubicBezTo>
                                  <a:pt x="1373122" y="42917"/>
                                  <a:pt x="1358306" y="41045"/>
                                  <a:pt x="1348078" y="41246"/>
                                </a:cubicBezTo>
                                <a:cubicBezTo>
                                  <a:pt x="1320599" y="41981"/>
                                  <a:pt x="1388668" y="56587"/>
                                  <a:pt x="1396014" y="57690"/>
                                </a:cubicBezTo>
                                <a:cubicBezTo>
                                  <a:pt x="1410789" y="59796"/>
                                  <a:pt x="1465707" y="68185"/>
                                  <a:pt x="1471187" y="58960"/>
                                </a:cubicBezTo>
                                <a:close/>
                                <a:moveTo>
                                  <a:pt x="1246888" y="308501"/>
                                </a:moveTo>
                                <a:cubicBezTo>
                                  <a:pt x="1246888" y="318528"/>
                                  <a:pt x="1213239" y="310472"/>
                                  <a:pt x="1212549" y="313180"/>
                                </a:cubicBezTo>
                                <a:cubicBezTo>
                                  <a:pt x="1211656" y="316856"/>
                                  <a:pt x="1228095" y="321837"/>
                                  <a:pt x="1228785" y="326282"/>
                                </a:cubicBezTo>
                                <a:cubicBezTo>
                                  <a:pt x="1229475" y="330727"/>
                                  <a:pt x="1212224" y="327753"/>
                                  <a:pt x="1207840" y="330460"/>
                                </a:cubicBezTo>
                                <a:cubicBezTo>
                                  <a:pt x="1200494" y="334939"/>
                                  <a:pt x="1202361" y="336777"/>
                                  <a:pt x="1186937" y="335006"/>
                                </a:cubicBezTo>
                                <a:cubicBezTo>
                                  <a:pt x="1173258" y="333435"/>
                                  <a:pt x="1157955" y="332666"/>
                                  <a:pt x="1157753" y="341155"/>
                                </a:cubicBezTo>
                                <a:cubicBezTo>
                                  <a:pt x="1157753" y="347840"/>
                                  <a:pt x="1176261" y="350113"/>
                                  <a:pt x="1186166" y="351684"/>
                                </a:cubicBezTo>
                                <a:cubicBezTo>
                                  <a:pt x="1203254" y="354391"/>
                                  <a:pt x="1196435" y="355628"/>
                                  <a:pt x="1193391" y="361210"/>
                                </a:cubicBezTo>
                                <a:cubicBezTo>
                                  <a:pt x="1191280" y="365154"/>
                                  <a:pt x="1209342" y="373710"/>
                                  <a:pt x="1212711" y="369198"/>
                                </a:cubicBezTo>
                                <a:cubicBezTo>
                                  <a:pt x="1215228" y="365855"/>
                                  <a:pt x="1204228" y="356597"/>
                                  <a:pt x="1220017" y="361276"/>
                                </a:cubicBezTo>
                                <a:cubicBezTo>
                                  <a:pt x="1227770" y="363583"/>
                                  <a:pt x="1237268" y="367694"/>
                                  <a:pt x="1240312" y="371972"/>
                                </a:cubicBezTo>
                                <a:cubicBezTo>
                                  <a:pt x="1243356" y="376250"/>
                                  <a:pt x="1229069" y="376350"/>
                                  <a:pt x="1234427" y="380863"/>
                                </a:cubicBezTo>
                                <a:cubicBezTo>
                                  <a:pt x="1247010" y="391391"/>
                                  <a:pt x="1286260" y="396271"/>
                                  <a:pt x="1306595" y="400917"/>
                                </a:cubicBezTo>
                                <a:cubicBezTo>
                                  <a:pt x="1315241" y="402822"/>
                                  <a:pt x="1367480" y="416826"/>
                                  <a:pt x="1371011" y="409607"/>
                                </a:cubicBezTo>
                                <a:cubicBezTo>
                                  <a:pt x="1373162" y="405095"/>
                                  <a:pt x="1353882" y="397240"/>
                                  <a:pt x="1348240" y="394132"/>
                                </a:cubicBezTo>
                                <a:cubicBezTo>
                                  <a:pt x="1332004" y="385308"/>
                                  <a:pt x="1318164" y="375548"/>
                                  <a:pt x="1311426" y="364619"/>
                                </a:cubicBezTo>
                                <a:cubicBezTo>
                                  <a:pt x="1299249" y="344765"/>
                                  <a:pt x="1330990" y="347272"/>
                                  <a:pt x="1341583" y="334337"/>
                                </a:cubicBezTo>
                                <a:cubicBezTo>
                                  <a:pt x="1347064" y="327652"/>
                                  <a:pt x="1366952" y="328354"/>
                                  <a:pt x="1374542" y="322238"/>
                                </a:cubicBezTo>
                                <a:cubicBezTo>
                                  <a:pt x="1376775" y="320433"/>
                                  <a:pt x="1378114" y="317893"/>
                                  <a:pt x="1381889" y="316723"/>
                                </a:cubicBezTo>
                                <a:cubicBezTo>
                                  <a:pt x="1387450" y="314985"/>
                                  <a:pt x="1399140" y="318695"/>
                                  <a:pt x="1402509" y="315586"/>
                                </a:cubicBezTo>
                                <a:cubicBezTo>
                                  <a:pt x="1409693" y="308902"/>
                                  <a:pt x="1402834" y="309236"/>
                                  <a:pt x="1421789" y="308467"/>
                                </a:cubicBezTo>
                                <a:cubicBezTo>
                                  <a:pt x="1433073" y="307999"/>
                                  <a:pt x="1440826" y="303153"/>
                                  <a:pt x="1441028" y="297571"/>
                                </a:cubicBezTo>
                                <a:cubicBezTo>
                                  <a:pt x="1441232" y="291989"/>
                                  <a:pt x="1452840" y="296134"/>
                                  <a:pt x="1462744" y="296836"/>
                                </a:cubicBezTo>
                                <a:cubicBezTo>
                                  <a:pt x="1470618" y="297437"/>
                                  <a:pt x="1474434" y="295566"/>
                                  <a:pt x="1481334" y="295064"/>
                                </a:cubicBezTo>
                                <a:cubicBezTo>
                                  <a:pt x="1490061" y="294396"/>
                                  <a:pt x="1499884" y="296134"/>
                                  <a:pt x="1508976" y="296568"/>
                                </a:cubicBezTo>
                                <a:cubicBezTo>
                                  <a:pt x="1525212" y="297337"/>
                                  <a:pt x="1544695" y="290586"/>
                                  <a:pt x="1562392" y="290118"/>
                                </a:cubicBezTo>
                                <a:cubicBezTo>
                                  <a:pt x="1597218" y="289182"/>
                                  <a:pt x="1633302" y="290118"/>
                                  <a:pt x="1669265" y="291989"/>
                                </a:cubicBezTo>
                                <a:cubicBezTo>
                                  <a:pt x="1689884" y="292491"/>
                                  <a:pt x="1862310" y="309436"/>
                                  <a:pt x="1838727" y="287811"/>
                                </a:cubicBezTo>
                                <a:cubicBezTo>
                                  <a:pt x="1823181" y="273372"/>
                                  <a:pt x="1772972" y="271935"/>
                                  <a:pt x="1750363" y="271801"/>
                                </a:cubicBezTo>
                                <a:cubicBezTo>
                                  <a:pt x="1737699" y="271801"/>
                                  <a:pt x="1726496" y="273740"/>
                                  <a:pt x="1714116" y="273773"/>
                                </a:cubicBezTo>
                                <a:cubicBezTo>
                                  <a:pt x="1694836" y="273773"/>
                                  <a:pt x="1675232" y="268259"/>
                                  <a:pt x="1655464" y="268492"/>
                                </a:cubicBezTo>
                                <a:cubicBezTo>
                                  <a:pt x="1638011" y="268820"/>
                                  <a:pt x="1620598" y="266938"/>
                                  <a:pt x="1603834" y="262911"/>
                                </a:cubicBezTo>
                                <a:cubicBezTo>
                                  <a:pt x="1582443" y="257362"/>
                                  <a:pt x="1577572" y="252884"/>
                                  <a:pt x="1554355" y="254455"/>
                                </a:cubicBezTo>
                                <a:cubicBezTo>
                                  <a:pt x="1522452" y="256761"/>
                                  <a:pt x="1484784" y="248505"/>
                                  <a:pt x="1452881" y="251112"/>
                                </a:cubicBezTo>
                                <a:cubicBezTo>
                                  <a:pt x="1442449" y="251914"/>
                                  <a:pt x="1438674" y="255591"/>
                                  <a:pt x="1427309" y="255190"/>
                                </a:cubicBezTo>
                                <a:cubicBezTo>
                                  <a:pt x="1410546" y="254622"/>
                                  <a:pt x="1411966" y="261106"/>
                                  <a:pt x="1397394" y="261373"/>
                                </a:cubicBezTo>
                                <a:cubicBezTo>
                                  <a:pt x="1385217" y="261607"/>
                                  <a:pt x="1364923" y="249007"/>
                                  <a:pt x="1361878" y="259301"/>
                                </a:cubicBezTo>
                                <a:cubicBezTo>
                                  <a:pt x="1360296" y="265150"/>
                                  <a:pt x="1378764" y="271701"/>
                                  <a:pt x="1360417" y="272336"/>
                                </a:cubicBezTo>
                                <a:cubicBezTo>
                                  <a:pt x="1340975" y="273038"/>
                                  <a:pt x="1338824" y="278720"/>
                                  <a:pt x="1331355" y="286174"/>
                                </a:cubicBezTo>
                                <a:cubicBezTo>
                                  <a:pt x="1325916" y="291588"/>
                                  <a:pt x="1296854" y="284837"/>
                                  <a:pt x="1286707" y="287912"/>
                                </a:cubicBezTo>
                                <a:cubicBezTo>
                                  <a:pt x="1267710" y="293660"/>
                                  <a:pt x="1295677" y="296000"/>
                                  <a:pt x="1298275" y="299510"/>
                                </a:cubicBezTo>
                                <a:cubicBezTo>
                                  <a:pt x="1295677" y="296167"/>
                                  <a:pt x="1279076" y="307865"/>
                                  <a:pt x="1279076" y="307899"/>
                                </a:cubicBezTo>
                                <a:cubicBezTo>
                                  <a:pt x="1274083" y="311241"/>
                                  <a:pt x="1246604" y="304055"/>
                                  <a:pt x="1246604" y="308567"/>
                                </a:cubicBezTo>
                                <a:cubicBezTo>
                                  <a:pt x="1246888" y="313614"/>
                                  <a:pt x="1247010" y="303387"/>
                                  <a:pt x="1246969" y="308501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accent3"/>
                          </a:solidFill>
                          <a:ln w="3021" cap="flat">
                            <a:solidFill>
                              <a:schemeClr val="accent3">
                                <a:alpha val="44000"/>
                              </a:schemeClr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GB" dirty="0"/>
                          </a:p>
                        </p:txBody>
                      </p:sp>
                    </p:grpSp>
                  </p:grpSp>
                </p:grpSp>
                <p:sp>
                  <p:nvSpPr>
                    <p:cNvPr id="428" name="Freeform: Shape 427">
                      <a:extLst>
                        <a:ext uri="{FF2B5EF4-FFF2-40B4-BE49-F238E27FC236}">
                          <a16:creationId xmlns:a16="http://schemas.microsoft.com/office/drawing/2014/main" id="{69E7BA83-5131-4957-BCEE-424A4C6017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00955" y="4465021"/>
                      <a:ext cx="178579" cy="26976"/>
                    </a:xfrm>
                    <a:custGeom>
                      <a:avLst/>
                      <a:gdLst>
                        <a:gd name="connsiteX0" fmla="*/ 136343 w 183284"/>
                        <a:gd name="connsiteY0" fmla="*/ 4659 h 36936"/>
                        <a:gd name="connsiteX1" fmla="*/ 117510 w 183284"/>
                        <a:gd name="connsiteY1" fmla="*/ 2420 h 36936"/>
                        <a:gd name="connsiteX2" fmla="*/ 88772 w 183284"/>
                        <a:gd name="connsiteY2" fmla="*/ 1518 h 36936"/>
                        <a:gd name="connsiteX3" fmla="*/ 45910 w 183284"/>
                        <a:gd name="connsiteY3" fmla="*/ 3155 h 36936"/>
                        <a:gd name="connsiteX4" fmla="*/ 27685 w 183284"/>
                        <a:gd name="connsiteY4" fmla="*/ 11545 h 36936"/>
                        <a:gd name="connsiteX5" fmla="*/ 3331 w 183284"/>
                        <a:gd name="connsiteY5" fmla="*/ 15388 h 36936"/>
                        <a:gd name="connsiteX6" fmla="*/ 29389 w 183284"/>
                        <a:gd name="connsiteY6" fmla="*/ 36011 h 36936"/>
                        <a:gd name="connsiteX7" fmla="*/ 59223 w 183284"/>
                        <a:gd name="connsiteY7" fmla="*/ 32468 h 36936"/>
                        <a:gd name="connsiteX8" fmla="*/ 95753 w 183284"/>
                        <a:gd name="connsiteY8" fmla="*/ 28791 h 36936"/>
                        <a:gd name="connsiteX9" fmla="*/ 126399 w 183284"/>
                        <a:gd name="connsiteY9" fmla="*/ 20469 h 36936"/>
                        <a:gd name="connsiteX10" fmla="*/ 173767 w 183284"/>
                        <a:gd name="connsiteY10" fmla="*/ 30730 h 36936"/>
                        <a:gd name="connsiteX11" fmla="*/ 183225 w 183284"/>
                        <a:gd name="connsiteY11" fmla="*/ 12180 h 36936"/>
                        <a:gd name="connsiteX12" fmla="*/ 136141 w 183284"/>
                        <a:gd name="connsiteY12" fmla="*/ 4659 h 36936"/>
                        <a:gd name="connsiteX13" fmla="*/ 136343 w 183284"/>
                        <a:gd name="connsiteY13" fmla="*/ 4659 h 369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183284" h="36936">
                          <a:moveTo>
                            <a:pt x="136343" y="4659"/>
                          </a:moveTo>
                          <a:cubicBezTo>
                            <a:pt x="129443" y="4659"/>
                            <a:pt x="124166" y="2888"/>
                            <a:pt x="117510" y="2420"/>
                          </a:cubicBezTo>
                          <a:cubicBezTo>
                            <a:pt x="107281" y="1718"/>
                            <a:pt x="99366" y="3623"/>
                            <a:pt x="88772" y="1518"/>
                          </a:cubicBezTo>
                          <a:cubicBezTo>
                            <a:pt x="75418" y="-1123"/>
                            <a:pt x="55854" y="-1257"/>
                            <a:pt x="45910" y="3155"/>
                          </a:cubicBezTo>
                          <a:cubicBezTo>
                            <a:pt x="39455" y="5996"/>
                            <a:pt x="35681" y="9840"/>
                            <a:pt x="27685" y="11545"/>
                          </a:cubicBezTo>
                          <a:cubicBezTo>
                            <a:pt x="20703" y="13216"/>
                            <a:pt x="8607" y="12246"/>
                            <a:pt x="3331" y="15388"/>
                          </a:cubicBezTo>
                          <a:cubicBezTo>
                            <a:pt x="-8846" y="23042"/>
                            <a:pt x="14574" y="34640"/>
                            <a:pt x="29389" y="36011"/>
                          </a:cubicBezTo>
                          <a:cubicBezTo>
                            <a:pt x="42743" y="37214"/>
                            <a:pt x="50618" y="36813"/>
                            <a:pt x="59223" y="32468"/>
                          </a:cubicBezTo>
                          <a:cubicBezTo>
                            <a:pt x="68762" y="27655"/>
                            <a:pt x="84876" y="31097"/>
                            <a:pt x="95753" y="28791"/>
                          </a:cubicBezTo>
                          <a:cubicBezTo>
                            <a:pt x="105049" y="26819"/>
                            <a:pt x="116048" y="18931"/>
                            <a:pt x="126399" y="20469"/>
                          </a:cubicBezTo>
                          <a:cubicBezTo>
                            <a:pt x="143406" y="22942"/>
                            <a:pt x="157085" y="28123"/>
                            <a:pt x="173767" y="30730"/>
                          </a:cubicBezTo>
                          <a:cubicBezTo>
                            <a:pt x="158871" y="23142"/>
                            <a:pt x="176162" y="18263"/>
                            <a:pt x="183225" y="12180"/>
                          </a:cubicBezTo>
                          <a:cubicBezTo>
                            <a:pt x="166989" y="10308"/>
                            <a:pt x="152904" y="4325"/>
                            <a:pt x="136141" y="4659"/>
                          </a:cubicBezTo>
                          <a:cubicBezTo>
                            <a:pt x="125425" y="4826"/>
                            <a:pt x="147181" y="4459"/>
                            <a:pt x="136343" y="4659"/>
                          </a:cubicBez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021" cap="flat">
                      <a:solidFill>
                        <a:schemeClr val="accent3">
                          <a:alpha val="44000"/>
                        </a:schemeClr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426" name="Freeform: Shape 425">
                    <a:extLst>
                      <a:ext uri="{FF2B5EF4-FFF2-40B4-BE49-F238E27FC236}">
                        <a16:creationId xmlns:a16="http://schemas.microsoft.com/office/drawing/2014/main" id="{7038ADB4-40BD-4AD8-8BAC-D849196DD34E}"/>
                      </a:ext>
                    </a:extLst>
                  </p:cNvPr>
                  <p:cNvSpPr/>
                  <p:nvPr/>
                </p:nvSpPr>
                <p:spPr>
                  <a:xfrm>
                    <a:off x="5960781" y="4373543"/>
                    <a:ext cx="285432" cy="123807"/>
                  </a:xfrm>
                  <a:custGeom>
                    <a:avLst/>
                    <a:gdLst>
                      <a:gd name="connsiteX0" fmla="*/ 35907 w 292952"/>
                      <a:gd name="connsiteY0" fmla="*/ 44750 h 169520"/>
                      <a:gd name="connsiteX1" fmla="*/ 26693 w 292952"/>
                      <a:gd name="connsiteY1" fmla="*/ 57083 h 169520"/>
                      <a:gd name="connsiteX2" fmla="*/ 18575 w 292952"/>
                      <a:gd name="connsiteY2" fmla="*/ 71255 h 169520"/>
                      <a:gd name="connsiteX3" fmla="*/ 5139 w 292952"/>
                      <a:gd name="connsiteY3" fmla="*/ 72425 h 169520"/>
                      <a:gd name="connsiteX4" fmla="*/ 3394 w 292952"/>
                      <a:gd name="connsiteY4" fmla="*/ 80513 h 169520"/>
                      <a:gd name="connsiteX5" fmla="*/ 7697 w 292952"/>
                      <a:gd name="connsiteY5" fmla="*/ 102372 h 169520"/>
                      <a:gd name="connsiteX6" fmla="*/ 6276 w 292952"/>
                      <a:gd name="connsiteY6" fmla="*/ 114371 h 169520"/>
                      <a:gd name="connsiteX7" fmla="*/ 12973 w 292952"/>
                      <a:gd name="connsiteY7" fmla="*/ 125267 h 169520"/>
                      <a:gd name="connsiteX8" fmla="*/ 41386 w 292952"/>
                      <a:gd name="connsiteY8" fmla="*/ 132152 h 169520"/>
                      <a:gd name="connsiteX9" fmla="*/ 65740 w 292952"/>
                      <a:gd name="connsiteY9" fmla="*/ 140575 h 169520"/>
                      <a:gd name="connsiteX10" fmla="*/ 50235 w 292952"/>
                      <a:gd name="connsiteY10" fmla="*/ 165075 h 169520"/>
                      <a:gd name="connsiteX11" fmla="*/ 112946 w 292952"/>
                      <a:gd name="connsiteY11" fmla="*/ 166278 h 169520"/>
                      <a:gd name="connsiteX12" fmla="*/ 132794 w 292952"/>
                      <a:gd name="connsiteY12" fmla="*/ 168450 h 169520"/>
                      <a:gd name="connsiteX13" fmla="*/ 156336 w 292952"/>
                      <a:gd name="connsiteY13" fmla="*/ 166011 h 169520"/>
                      <a:gd name="connsiteX14" fmla="*/ 179716 w 292952"/>
                      <a:gd name="connsiteY14" fmla="*/ 166211 h 169520"/>
                      <a:gd name="connsiteX15" fmla="*/ 209225 w 292952"/>
                      <a:gd name="connsiteY15" fmla="*/ 162568 h 169520"/>
                      <a:gd name="connsiteX16" fmla="*/ 223350 w 292952"/>
                      <a:gd name="connsiteY16" fmla="*/ 164373 h 169520"/>
                      <a:gd name="connsiteX17" fmla="*/ 226841 w 292952"/>
                      <a:gd name="connsiteY17" fmla="*/ 152073 h 169520"/>
                      <a:gd name="connsiteX18" fmla="*/ 257364 w 292952"/>
                      <a:gd name="connsiteY18" fmla="*/ 141444 h 169520"/>
                      <a:gd name="connsiteX19" fmla="*/ 223553 w 292952"/>
                      <a:gd name="connsiteY19" fmla="*/ 126704 h 169520"/>
                      <a:gd name="connsiteX20" fmla="*/ 210605 w 292952"/>
                      <a:gd name="connsiteY20" fmla="*/ 103308 h 169520"/>
                      <a:gd name="connsiteX21" fmla="*/ 245065 w 292952"/>
                      <a:gd name="connsiteY21" fmla="*/ 96623 h 169520"/>
                      <a:gd name="connsiteX22" fmla="*/ 272220 w 292952"/>
                      <a:gd name="connsiteY22" fmla="*/ 90473 h 169520"/>
                      <a:gd name="connsiteX23" fmla="*/ 289836 w 292952"/>
                      <a:gd name="connsiteY23" fmla="*/ 90473 h 169520"/>
                      <a:gd name="connsiteX24" fmla="*/ 285452 w 292952"/>
                      <a:gd name="connsiteY24" fmla="*/ 75600 h 169520"/>
                      <a:gd name="connsiteX25" fmla="*/ 271489 w 292952"/>
                      <a:gd name="connsiteY25" fmla="*/ 49797 h 169520"/>
                      <a:gd name="connsiteX26" fmla="*/ 270393 w 292952"/>
                      <a:gd name="connsiteY26" fmla="*/ 25197 h 169520"/>
                      <a:gd name="connsiteX27" fmla="*/ 256146 w 292952"/>
                      <a:gd name="connsiteY27" fmla="*/ 15638 h 169520"/>
                      <a:gd name="connsiteX28" fmla="*/ 247744 w 292952"/>
                      <a:gd name="connsiteY28" fmla="*/ 10658 h 169520"/>
                      <a:gd name="connsiteX29" fmla="*/ 221239 w 292952"/>
                      <a:gd name="connsiteY29" fmla="*/ 9254 h 169520"/>
                      <a:gd name="connsiteX30" fmla="*/ 166037 w 292952"/>
                      <a:gd name="connsiteY30" fmla="*/ 19582 h 169520"/>
                      <a:gd name="connsiteX31" fmla="*/ 169000 w 292952"/>
                      <a:gd name="connsiteY31" fmla="*/ 9555 h 169520"/>
                      <a:gd name="connsiteX32" fmla="*/ 140222 w 292952"/>
                      <a:gd name="connsiteY32" fmla="*/ 11226 h 169520"/>
                      <a:gd name="connsiteX33" fmla="*/ 120171 w 292952"/>
                      <a:gd name="connsiteY33" fmla="*/ 1199 h 169520"/>
                      <a:gd name="connsiteX34" fmla="*/ 84776 w 292952"/>
                      <a:gd name="connsiteY34" fmla="*/ -339 h 169520"/>
                      <a:gd name="connsiteX35" fmla="*/ 99714 w 292952"/>
                      <a:gd name="connsiteY35" fmla="*/ 22256 h 169520"/>
                      <a:gd name="connsiteX36" fmla="*/ 83478 w 292952"/>
                      <a:gd name="connsiteY36" fmla="*/ 30712 h 169520"/>
                      <a:gd name="connsiteX37" fmla="*/ 45973 w 292952"/>
                      <a:gd name="connsiteY37" fmla="*/ 27370 h 169520"/>
                      <a:gd name="connsiteX38" fmla="*/ 36150 w 292952"/>
                      <a:gd name="connsiteY38" fmla="*/ 45151 h 169520"/>
                      <a:gd name="connsiteX39" fmla="*/ 35907 w 292952"/>
                      <a:gd name="connsiteY39" fmla="*/ 44750 h 1695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92952" h="169520">
                        <a:moveTo>
                          <a:pt x="35907" y="44750"/>
                        </a:moveTo>
                        <a:cubicBezTo>
                          <a:pt x="26693" y="52069"/>
                          <a:pt x="14394" y="49697"/>
                          <a:pt x="26693" y="57083"/>
                        </a:cubicBezTo>
                        <a:cubicBezTo>
                          <a:pt x="31807" y="60158"/>
                          <a:pt x="26206" y="69416"/>
                          <a:pt x="18575" y="71255"/>
                        </a:cubicBezTo>
                        <a:cubicBezTo>
                          <a:pt x="14191" y="72100"/>
                          <a:pt x="9645" y="72495"/>
                          <a:pt x="5139" y="72425"/>
                        </a:cubicBezTo>
                        <a:cubicBezTo>
                          <a:pt x="1649" y="72425"/>
                          <a:pt x="4206" y="79510"/>
                          <a:pt x="3394" y="80513"/>
                        </a:cubicBezTo>
                        <a:cubicBezTo>
                          <a:pt x="-3222" y="88835"/>
                          <a:pt x="471" y="95253"/>
                          <a:pt x="7697" y="102372"/>
                        </a:cubicBezTo>
                        <a:cubicBezTo>
                          <a:pt x="12527" y="107118"/>
                          <a:pt x="-705" y="108756"/>
                          <a:pt x="6276" y="114371"/>
                        </a:cubicBezTo>
                        <a:cubicBezTo>
                          <a:pt x="9889" y="117296"/>
                          <a:pt x="12243" y="121126"/>
                          <a:pt x="12973" y="125267"/>
                        </a:cubicBezTo>
                        <a:cubicBezTo>
                          <a:pt x="24460" y="126838"/>
                          <a:pt x="28032" y="132320"/>
                          <a:pt x="41386" y="132152"/>
                        </a:cubicBezTo>
                        <a:cubicBezTo>
                          <a:pt x="47718" y="132152"/>
                          <a:pt x="76902" y="135495"/>
                          <a:pt x="65740" y="140575"/>
                        </a:cubicBezTo>
                        <a:cubicBezTo>
                          <a:pt x="51290" y="147260"/>
                          <a:pt x="54781" y="156552"/>
                          <a:pt x="50235" y="165075"/>
                        </a:cubicBezTo>
                        <a:cubicBezTo>
                          <a:pt x="73452" y="165877"/>
                          <a:pt x="90824" y="160897"/>
                          <a:pt x="112946" y="166278"/>
                        </a:cubicBezTo>
                        <a:cubicBezTo>
                          <a:pt x="122119" y="168517"/>
                          <a:pt x="122688" y="164941"/>
                          <a:pt x="132794" y="168450"/>
                        </a:cubicBezTo>
                        <a:cubicBezTo>
                          <a:pt x="140912" y="171325"/>
                          <a:pt x="146067" y="164707"/>
                          <a:pt x="156336" y="166011"/>
                        </a:cubicBezTo>
                        <a:cubicBezTo>
                          <a:pt x="164454" y="167080"/>
                          <a:pt x="171923" y="170289"/>
                          <a:pt x="179716" y="166211"/>
                        </a:cubicBezTo>
                        <a:cubicBezTo>
                          <a:pt x="186210" y="162869"/>
                          <a:pt x="200660" y="162267"/>
                          <a:pt x="209225" y="162568"/>
                        </a:cubicBezTo>
                        <a:cubicBezTo>
                          <a:pt x="214136" y="162568"/>
                          <a:pt x="218357" y="164707"/>
                          <a:pt x="223350" y="164373"/>
                        </a:cubicBezTo>
                        <a:cubicBezTo>
                          <a:pt x="232199" y="163771"/>
                          <a:pt x="222741" y="154914"/>
                          <a:pt x="226841" y="152073"/>
                        </a:cubicBezTo>
                        <a:cubicBezTo>
                          <a:pt x="233741" y="147293"/>
                          <a:pt x="250667" y="146090"/>
                          <a:pt x="257364" y="141444"/>
                        </a:cubicBezTo>
                        <a:cubicBezTo>
                          <a:pt x="261423" y="138737"/>
                          <a:pt x="227774" y="128075"/>
                          <a:pt x="223553" y="126704"/>
                        </a:cubicBezTo>
                        <a:cubicBezTo>
                          <a:pt x="217627" y="124465"/>
                          <a:pt x="203501" y="103976"/>
                          <a:pt x="210605" y="103308"/>
                        </a:cubicBezTo>
                        <a:cubicBezTo>
                          <a:pt x="222051" y="101971"/>
                          <a:pt x="236014" y="100868"/>
                          <a:pt x="245065" y="96623"/>
                        </a:cubicBezTo>
                        <a:cubicBezTo>
                          <a:pt x="252696" y="93114"/>
                          <a:pt x="265360" y="93983"/>
                          <a:pt x="272220" y="90473"/>
                        </a:cubicBezTo>
                        <a:cubicBezTo>
                          <a:pt x="276969" y="88100"/>
                          <a:pt x="286264" y="93013"/>
                          <a:pt x="289836" y="90473"/>
                        </a:cubicBezTo>
                        <a:cubicBezTo>
                          <a:pt x="297548" y="84724"/>
                          <a:pt x="288618" y="80981"/>
                          <a:pt x="285452" y="75600"/>
                        </a:cubicBezTo>
                        <a:cubicBezTo>
                          <a:pt x="282286" y="70219"/>
                          <a:pt x="283504" y="53473"/>
                          <a:pt x="271489" y="49797"/>
                        </a:cubicBezTo>
                        <a:cubicBezTo>
                          <a:pt x="262762" y="47123"/>
                          <a:pt x="274980" y="31648"/>
                          <a:pt x="270393" y="25197"/>
                        </a:cubicBezTo>
                        <a:cubicBezTo>
                          <a:pt x="267512" y="21052"/>
                          <a:pt x="266741" y="16674"/>
                          <a:pt x="256146" y="15638"/>
                        </a:cubicBezTo>
                        <a:cubicBezTo>
                          <a:pt x="246486" y="14702"/>
                          <a:pt x="240276" y="15638"/>
                          <a:pt x="247744" y="10658"/>
                        </a:cubicBezTo>
                        <a:cubicBezTo>
                          <a:pt x="263615" y="-71"/>
                          <a:pt x="227450" y="10323"/>
                          <a:pt x="221239" y="9254"/>
                        </a:cubicBezTo>
                        <a:cubicBezTo>
                          <a:pt x="203258" y="6079"/>
                          <a:pt x="180893" y="29007"/>
                          <a:pt x="166037" y="19582"/>
                        </a:cubicBezTo>
                        <a:cubicBezTo>
                          <a:pt x="160395" y="16039"/>
                          <a:pt x="172897" y="11426"/>
                          <a:pt x="169000" y="9555"/>
                        </a:cubicBezTo>
                        <a:cubicBezTo>
                          <a:pt x="165104" y="7683"/>
                          <a:pt x="146757" y="12028"/>
                          <a:pt x="140222" y="11226"/>
                        </a:cubicBezTo>
                        <a:cubicBezTo>
                          <a:pt x="124351" y="9221"/>
                          <a:pt x="136163" y="931"/>
                          <a:pt x="120171" y="1199"/>
                        </a:cubicBezTo>
                        <a:cubicBezTo>
                          <a:pt x="108684" y="1399"/>
                          <a:pt x="96507" y="-305"/>
                          <a:pt x="84776" y="-339"/>
                        </a:cubicBezTo>
                        <a:cubicBezTo>
                          <a:pt x="93625" y="6145"/>
                          <a:pt x="91839" y="14635"/>
                          <a:pt x="99714" y="22256"/>
                        </a:cubicBezTo>
                        <a:cubicBezTo>
                          <a:pt x="102595" y="25063"/>
                          <a:pt x="87821" y="29843"/>
                          <a:pt x="83478" y="30712"/>
                        </a:cubicBezTo>
                        <a:cubicBezTo>
                          <a:pt x="72721" y="32751"/>
                          <a:pt x="58393" y="26300"/>
                          <a:pt x="45973" y="27370"/>
                        </a:cubicBezTo>
                        <a:cubicBezTo>
                          <a:pt x="24582" y="29074"/>
                          <a:pt x="44105" y="38767"/>
                          <a:pt x="36150" y="45151"/>
                        </a:cubicBezTo>
                        <a:cubicBezTo>
                          <a:pt x="28195" y="51535"/>
                          <a:pt x="38707" y="42510"/>
                          <a:pt x="35907" y="4475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3021" cap="flat">
                    <a:solidFill>
                      <a:schemeClr val="accent3">
                        <a:alpha val="44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</p:grp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30ED7F97-FF16-4138-BA9C-DC0907FE8911}"/>
                </a:ext>
              </a:extLst>
            </p:cNvPr>
            <p:cNvSpPr/>
            <p:nvPr/>
          </p:nvSpPr>
          <p:spPr>
            <a:xfrm>
              <a:off x="6076057" y="4470871"/>
              <a:ext cx="231593" cy="41694"/>
            </a:xfrm>
            <a:custGeom>
              <a:avLst/>
              <a:gdLst>
                <a:gd name="connsiteX0" fmla="*/ 203062 w 237694"/>
                <a:gd name="connsiteY0" fmla="*/ 5372 h 57088"/>
                <a:gd name="connsiteX1" fmla="*/ 172173 w 237694"/>
                <a:gd name="connsiteY1" fmla="*/ 1228 h 57088"/>
                <a:gd name="connsiteX2" fmla="*/ 138768 w 237694"/>
                <a:gd name="connsiteY2" fmla="*/ 8213 h 57088"/>
                <a:gd name="connsiteX3" fmla="*/ 111613 w 237694"/>
                <a:gd name="connsiteY3" fmla="*/ 17438 h 57088"/>
                <a:gd name="connsiteX4" fmla="*/ 101425 w 237694"/>
                <a:gd name="connsiteY4" fmla="*/ 30808 h 57088"/>
                <a:gd name="connsiteX5" fmla="*/ 65462 w 237694"/>
                <a:gd name="connsiteY5" fmla="*/ 31443 h 57088"/>
                <a:gd name="connsiteX6" fmla="*/ 48374 w 237694"/>
                <a:gd name="connsiteY6" fmla="*/ 34785 h 57088"/>
                <a:gd name="connsiteX7" fmla="*/ 27146 w 237694"/>
                <a:gd name="connsiteY7" fmla="*/ 33114 h 57088"/>
                <a:gd name="connsiteX8" fmla="*/ 14401 w 237694"/>
                <a:gd name="connsiteY8" fmla="*/ 35153 h 57088"/>
                <a:gd name="connsiteX9" fmla="*/ -50 w 237694"/>
                <a:gd name="connsiteY9" fmla="*/ 36724 h 57088"/>
                <a:gd name="connsiteX10" fmla="*/ 31083 w 237694"/>
                <a:gd name="connsiteY10" fmla="*/ 46751 h 57088"/>
                <a:gd name="connsiteX11" fmla="*/ 87909 w 237694"/>
                <a:gd name="connsiteY11" fmla="*/ 48890 h 57088"/>
                <a:gd name="connsiteX12" fmla="*/ 136007 w 237694"/>
                <a:gd name="connsiteY12" fmla="*/ 54472 h 57088"/>
                <a:gd name="connsiteX13" fmla="*/ 159590 w 237694"/>
                <a:gd name="connsiteY13" fmla="*/ 56243 h 57088"/>
                <a:gd name="connsiteX14" fmla="*/ 183944 w 237694"/>
                <a:gd name="connsiteY14" fmla="*/ 51831 h 57088"/>
                <a:gd name="connsiteX15" fmla="*/ 203833 w 237694"/>
                <a:gd name="connsiteY15" fmla="*/ 48790 h 57088"/>
                <a:gd name="connsiteX16" fmla="*/ 211951 w 237694"/>
                <a:gd name="connsiteY16" fmla="*/ 44545 h 57088"/>
                <a:gd name="connsiteX17" fmla="*/ 226523 w 237694"/>
                <a:gd name="connsiteY17" fmla="*/ 30841 h 57088"/>
                <a:gd name="connsiteX18" fmla="*/ 232854 w 237694"/>
                <a:gd name="connsiteY18" fmla="*/ 14530 h 57088"/>
                <a:gd name="connsiteX19" fmla="*/ 226198 w 237694"/>
                <a:gd name="connsiteY19" fmla="*/ 7846 h 57088"/>
                <a:gd name="connsiteX20" fmla="*/ 203102 w 237694"/>
                <a:gd name="connsiteY20" fmla="*/ 5439 h 5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694" h="57088">
                  <a:moveTo>
                    <a:pt x="203062" y="5372"/>
                  </a:moveTo>
                  <a:cubicBezTo>
                    <a:pt x="199003" y="2866"/>
                    <a:pt x="174649" y="-3184"/>
                    <a:pt x="172173" y="1228"/>
                  </a:cubicBezTo>
                  <a:cubicBezTo>
                    <a:pt x="167261" y="10286"/>
                    <a:pt x="155369" y="10720"/>
                    <a:pt x="138768" y="8213"/>
                  </a:cubicBezTo>
                  <a:cubicBezTo>
                    <a:pt x="133694" y="11556"/>
                    <a:pt x="119122" y="15232"/>
                    <a:pt x="111613" y="17438"/>
                  </a:cubicBezTo>
                  <a:cubicBezTo>
                    <a:pt x="101790" y="20313"/>
                    <a:pt x="115672" y="32646"/>
                    <a:pt x="101425" y="30808"/>
                  </a:cubicBezTo>
                  <a:cubicBezTo>
                    <a:pt x="88842" y="29337"/>
                    <a:pt x="78167" y="28435"/>
                    <a:pt x="65462" y="31443"/>
                  </a:cubicBezTo>
                  <a:cubicBezTo>
                    <a:pt x="59211" y="32913"/>
                    <a:pt x="56127" y="35520"/>
                    <a:pt x="48374" y="34785"/>
                  </a:cubicBezTo>
                  <a:cubicBezTo>
                    <a:pt x="40621" y="34050"/>
                    <a:pt x="35061" y="31008"/>
                    <a:pt x="27146" y="33114"/>
                  </a:cubicBezTo>
                  <a:cubicBezTo>
                    <a:pt x="21301" y="34685"/>
                    <a:pt x="21706" y="37693"/>
                    <a:pt x="14401" y="35153"/>
                  </a:cubicBezTo>
                  <a:cubicBezTo>
                    <a:pt x="8312" y="33014"/>
                    <a:pt x="154" y="30741"/>
                    <a:pt x="-50" y="36724"/>
                  </a:cubicBezTo>
                  <a:cubicBezTo>
                    <a:pt x="-537" y="48856"/>
                    <a:pt x="16958" y="43408"/>
                    <a:pt x="31083" y="46751"/>
                  </a:cubicBezTo>
                  <a:cubicBezTo>
                    <a:pt x="51378" y="51230"/>
                    <a:pt x="76746" y="35420"/>
                    <a:pt x="87909" y="48890"/>
                  </a:cubicBezTo>
                  <a:cubicBezTo>
                    <a:pt x="92536" y="54472"/>
                    <a:pt x="125901" y="53201"/>
                    <a:pt x="136007" y="54472"/>
                  </a:cubicBezTo>
                  <a:cubicBezTo>
                    <a:pt x="142705" y="55307"/>
                    <a:pt x="152730" y="57814"/>
                    <a:pt x="159590" y="56243"/>
                  </a:cubicBezTo>
                  <a:cubicBezTo>
                    <a:pt x="167708" y="54438"/>
                    <a:pt x="174568" y="51697"/>
                    <a:pt x="183944" y="51831"/>
                  </a:cubicBezTo>
                  <a:cubicBezTo>
                    <a:pt x="190722" y="51778"/>
                    <a:pt x="197460" y="50748"/>
                    <a:pt x="203833" y="48790"/>
                  </a:cubicBezTo>
                  <a:cubicBezTo>
                    <a:pt x="207445" y="47854"/>
                    <a:pt x="207648" y="44779"/>
                    <a:pt x="211951" y="44545"/>
                  </a:cubicBezTo>
                  <a:cubicBezTo>
                    <a:pt x="223803" y="43910"/>
                    <a:pt x="209718" y="30373"/>
                    <a:pt x="226523" y="30841"/>
                  </a:cubicBezTo>
                  <a:cubicBezTo>
                    <a:pt x="244382" y="31343"/>
                    <a:pt x="236142" y="18541"/>
                    <a:pt x="232854" y="14530"/>
                  </a:cubicBezTo>
                  <a:cubicBezTo>
                    <a:pt x="231678" y="13060"/>
                    <a:pt x="229851" y="7344"/>
                    <a:pt x="226198" y="7846"/>
                  </a:cubicBezTo>
                  <a:cubicBezTo>
                    <a:pt x="218567" y="8915"/>
                    <a:pt x="208826" y="8949"/>
                    <a:pt x="203102" y="5439"/>
                  </a:cubicBezTo>
                  <a:close/>
                </a:path>
              </a:pathLst>
            </a:custGeom>
            <a:solidFill>
              <a:schemeClr val="accent3"/>
            </a:solidFill>
            <a:ln w="3021" cap="flat">
              <a:solidFill>
                <a:schemeClr val="accent3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CCA6D67C-F96D-4C85-8B8A-E21EBE5BEE8A}"/>
                </a:ext>
              </a:extLst>
            </p:cNvPr>
            <p:cNvSpPr/>
            <p:nvPr/>
          </p:nvSpPr>
          <p:spPr>
            <a:xfrm>
              <a:off x="4920851" y="4185207"/>
              <a:ext cx="359966" cy="71367"/>
            </a:xfrm>
            <a:custGeom>
              <a:avLst/>
              <a:gdLst>
                <a:gd name="connsiteX0" fmla="*/ 316361 w 369449"/>
                <a:gd name="connsiteY0" fmla="*/ 58298 h 97718"/>
                <a:gd name="connsiteX1" fmla="*/ 339862 w 369449"/>
                <a:gd name="connsiteY1" fmla="*/ 45564 h 97718"/>
                <a:gd name="connsiteX2" fmla="*/ 367585 w 369449"/>
                <a:gd name="connsiteY2" fmla="*/ 30155 h 97718"/>
                <a:gd name="connsiteX3" fmla="*/ 339172 w 369449"/>
                <a:gd name="connsiteY3" fmla="*/ 17655 h 97718"/>
                <a:gd name="connsiteX4" fmla="*/ 320095 w 369449"/>
                <a:gd name="connsiteY4" fmla="*/ 1144 h 97718"/>
                <a:gd name="connsiteX5" fmla="*/ 281819 w 369449"/>
                <a:gd name="connsiteY5" fmla="*/ 2146 h 97718"/>
                <a:gd name="connsiteX6" fmla="*/ 259292 w 369449"/>
                <a:gd name="connsiteY6" fmla="*/ 7528 h 97718"/>
                <a:gd name="connsiteX7" fmla="*/ 238753 w 369449"/>
                <a:gd name="connsiteY7" fmla="*/ 12942 h 97718"/>
                <a:gd name="connsiteX8" fmla="*/ 205064 w 369449"/>
                <a:gd name="connsiteY8" fmla="*/ 18123 h 97718"/>
                <a:gd name="connsiteX9" fmla="*/ 168127 w 369449"/>
                <a:gd name="connsiteY9" fmla="*/ 21465 h 97718"/>
                <a:gd name="connsiteX10" fmla="*/ 150227 w 369449"/>
                <a:gd name="connsiteY10" fmla="*/ 25276 h 97718"/>
                <a:gd name="connsiteX11" fmla="*/ 138050 w 369449"/>
                <a:gd name="connsiteY11" fmla="*/ 35303 h 97718"/>
                <a:gd name="connsiteX12" fmla="*/ 109921 w 369449"/>
                <a:gd name="connsiteY12" fmla="*/ 47937 h 97718"/>
                <a:gd name="connsiteX13" fmla="*/ 95512 w 369449"/>
                <a:gd name="connsiteY13" fmla="*/ 37509 h 97718"/>
                <a:gd name="connsiteX14" fmla="*/ 86054 w 369449"/>
                <a:gd name="connsiteY14" fmla="*/ 28685 h 97718"/>
                <a:gd name="connsiteX15" fmla="*/ 46399 w 369449"/>
                <a:gd name="connsiteY15" fmla="*/ 24407 h 97718"/>
                <a:gd name="connsiteX16" fmla="*/ 52852 w 369449"/>
                <a:gd name="connsiteY16" fmla="*/ 35002 h 97718"/>
                <a:gd name="connsiteX17" fmla="*/ 25170 w 369449"/>
                <a:gd name="connsiteY17" fmla="*/ 35002 h 97718"/>
                <a:gd name="connsiteX18" fmla="*/ 1222 w 369449"/>
                <a:gd name="connsiteY18" fmla="*/ 56928 h 97718"/>
                <a:gd name="connsiteX19" fmla="*/ 69494 w 369449"/>
                <a:gd name="connsiteY19" fmla="*/ 56393 h 97718"/>
                <a:gd name="connsiteX20" fmla="*/ 63081 w 369449"/>
                <a:gd name="connsiteY20" fmla="*/ 64749 h 97718"/>
                <a:gd name="connsiteX21" fmla="*/ 14373 w 369449"/>
                <a:gd name="connsiteY21" fmla="*/ 75879 h 97718"/>
                <a:gd name="connsiteX22" fmla="*/ 46439 w 369449"/>
                <a:gd name="connsiteY22" fmla="*/ 71901 h 97718"/>
                <a:gd name="connsiteX23" fmla="*/ 67140 w 369449"/>
                <a:gd name="connsiteY23" fmla="*/ 75411 h 97718"/>
                <a:gd name="connsiteX24" fmla="*/ 86542 w 369449"/>
                <a:gd name="connsiteY24" fmla="*/ 78753 h 97718"/>
                <a:gd name="connsiteX25" fmla="*/ 69981 w 369449"/>
                <a:gd name="connsiteY25" fmla="*/ 90351 h 97718"/>
                <a:gd name="connsiteX26" fmla="*/ 76841 w 369449"/>
                <a:gd name="connsiteY26" fmla="*/ 97036 h 97718"/>
                <a:gd name="connsiteX27" fmla="*/ 136711 w 369449"/>
                <a:gd name="connsiteY27" fmla="*/ 91187 h 97718"/>
                <a:gd name="connsiteX28" fmla="*/ 185946 w 369449"/>
                <a:gd name="connsiteY28" fmla="*/ 95766 h 97718"/>
                <a:gd name="connsiteX29" fmla="*/ 228971 w 369449"/>
                <a:gd name="connsiteY29" fmla="*/ 83065 h 97718"/>
                <a:gd name="connsiteX30" fmla="*/ 266030 w 369449"/>
                <a:gd name="connsiteY30" fmla="*/ 73439 h 97718"/>
                <a:gd name="connsiteX31" fmla="*/ 315996 w 369449"/>
                <a:gd name="connsiteY31" fmla="*/ 58632 h 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9449" h="97718">
                  <a:moveTo>
                    <a:pt x="316361" y="58298"/>
                  </a:moveTo>
                  <a:cubicBezTo>
                    <a:pt x="332353" y="56426"/>
                    <a:pt x="329715" y="49775"/>
                    <a:pt x="339862" y="45564"/>
                  </a:cubicBezTo>
                  <a:cubicBezTo>
                    <a:pt x="352039" y="40617"/>
                    <a:pt x="360888" y="38244"/>
                    <a:pt x="367585" y="30155"/>
                  </a:cubicBezTo>
                  <a:cubicBezTo>
                    <a:pt x="376352" y="19493"/>
                    <a:pt x="350943" y="18858"/>
                    <a:pt x="339172" y="17655"/>
                  </a:cubicBezTo>
                  <a:cubicBezTo>
                    <a:pt x="330283" y="16719"/>
                    <a:pt x="319730" y="5723"/>
                    <a:pt x="320095" y="1144"/>
                  </a:cubicBezTo>
                  <a:cubicBezTo>
                    <a:pt x="320095" y="2046"/>
                    <a:pt x="287948" y="3684"/>
                    <a:pt x="281819" y="2146"/>
                  </a:cubicBezTo>
                  <a:cubicBezTo>
                    <a:pt x="268221" y="-1196"/>
                    <a:pt x="256491" y="-2633"/>
                    <a:pt x="259292" y="7528"/>
                  </a:cubicBezTo>
                  <a:cubicBezTo>
                    <a:pt x="261403" y="15315"/>
                    <a:pt x="238185" y="8931"/>
                    <a:pt x="238753" y="12942"/>
                  </a:cubicBezTo>
                  <a:cubicBezTo>
                    <a:pt x="239971" y="20964"/>
                    <a:pt x="201695" y="7996"/>
                    <a:pt x="205064" y="18123"/>
                  </a:cubicBezTo>
                  <a:cubicBezTo>
                    <a:pt x="205064" y="18390"/>
                    <a:pt x="175961" y="15349"/>
                    <a:pt x="168127" y="21465"/>
                  </a:cubicBezTo>
                  <a:cubicBezTo>
                    <a:pt x="160293" y="27582"/>
                    <a:pt x="165854" y="35403"/>
                    <a:pt x="150227" y="25276"/>
                  </a:cubicBezTo>
                  <a:cubicBezTo>
                    <a:pt x="135371" y="15616"/>
                    <a:pt x="136183" y="31659"/>
                    <a:pt x="138050" y="35303"/>
                  </a:cubicBezTo>
                  <a:cubicBezTo>
                    <a:pt x="141622" y="41753"/>
                    <a:pt x="117106" y="40684"/>
                    <a:pt x="109921" y="47937"/>
                  </a:cubicBezTo>
                  <a:cubicBezTo>
                    <a:pt x="106228" y="51613"/>
                    <a:pt x="92874" y="41052"/>
                    <a:pt x="95512" y="37509"/>
                  </a:cubicBezTo>
                  <a:cubicBezTo>
                    <a:pt x="99571" y="31860"/>
                    <a:pt x="98475" y="31325"/>
                    <a:pt x="86054" y="28685"/>
                  </a:cubicBezTo>
                  <a:cubicBezTo>
                    <a:pt x="73147" y="25784"/>
                    <a:pt x="59793" y="24343"/>
                    <a:pt x="46399" y="24407"/>
                  </a:cubicBezTo>
                  <a:cubicBezTo>
                    <a:pt x="18919" y="25142"/>
                    <a:pt x="51716" y="32930"/>
                    <a:pt x="52852" y="35002"/>
                  </a:cubicBezTo>
                  <a:cubicBezTo>
                    <a:pt x="53664" y="36439"/>
                    <a:pt x="27930" y="33899"/>
                    <a:pt x="25170" y="35002"/>
                  </a:cubicBezTo>
                  <a:cubicBezTo>
                    <a:pt x="18838" y="37141"/>
                    <a:pt x="-5922" y="54120"/>
                    <a:pt x="1222" y="56928"/>
                  </a:cubicBezTo>
                  <a:cubicBezTo>
                    <a:pt x="10923" y="60705"/>
                    <a:pt x="96568" y="40517"/>
                    <a:pt x="69494" y="56393"/>
                  </a:cubicBezTo>
                  <a:cubicBezTo>
                    <a:pt x="63122" y="60103"/>
                    <a:pt x="84350" y="61573"/>
                    <a:pt x="63081" y="64749"/>
                  </a:cubicBezTo>
                  <a:cubicBezTo>
                    <a:pt x="59428" y="65250"/>
                    <a:pt x="7391" y="70999"/>
                    <a:pt x="14373" y="75879"/>
                  </a:cubicBezTo>
                  <a:cubicBezTo>
                    <a:pt x="18432" y="78453"/>
                    <a:pt x="41325" y="72771"/>
                    <a:pt x="46439" y="71901"/>
                  </a:cubicBezTo>
                  <a:cubicBezTo>
                    <a:pt x="64258" y="68793"/>
                    <a:pt x="59590" y="69762"/>
                    <a:pt x="67140" y="75411"/>
                  </a:cubicBezTo>
                  <a:cubicBezTo>
                    <a:pt x="73350" y="80057"/>
                    <a:pt x="80412" y="71333"/>
                    <a:pt x="86542" y="78753"/>
                  </a:cubicBezTo>
                  <a:cubicBezTo>
                    <a:pt x="92671" y="86173"/>
                    <a:pt x="90195" y="86407"/>
                    <a:pt x="69981" y="90351"/>
                  </a:cubicBezTo>
                  <a:cubicBezTo>
                    <a:pt x="51838" y="93928"/>
                    <a:pt x="63243" y="98707"/>
                    <a:pt x="76841" y="97036"/>
                  </a:cubicBezTo>
                  <a:cubicBezTo>
                    <a:pt x="100789" y="93694"/>
                    <a:pt x="112641" y="87845"/>
                    <a:pt x="136711" y="91187"/>
                  </a:cubicBezTo>
                  <a:cubicBezTo>
                    <a:pt x="152500" y="93426"/>
                    <a:pt x="168127" y="97471"/>
                    <a:pt x="185946" y="95766"/>
                  </a:cubicBezTo>
                  <a:cubicBezTo>
                    <a:pt x="197798" y="94629"/>
                    <a:pt x="224790" y="90284"/>
                    <a:pt x="228971" y="83065"/>
                  </a:cubicBezTo>
                  <a:cubicBezTo>
                    <a:pt x="232381" y="77149"/>
                    <a:pt x="257059" y="75912"/>
                    <a:pt x="266030" y="73439"/>
                  </a:cubicBezTo>
                  <a:cubicBezTo>
                    <a:pt x="283930" y="68526"/>
                    <a:pt x="295092" y="61106"/>
                    <a:pt x="315996" y="58632"/>
                  </a:cubicBezTo>
                  <a:close/>
                </a:path>
              </a:pathLst>
            </a:custGeom>
            <a:solidFill>
              <a:schemeClr val="accent3"/>
            </a:solidFill>
            <a:ln w="3021" cap="flat">
              <a:solidFill>
                <a:schemeClr val="accent3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46" name="UK&amp;I">
            <a:extLst>
              <a:ext uri="{FF2B5EF4-FFF2-40B4-BE49-F238E27FC236}">
                <a16:creationId xmlns:a16="http://schemas.microsoft.com/office/drawing/2014/main" id="{8D4BA643-6637-4801-8280-8B54939A1363}"/>
              </a:ext>
            </a:extLst>
          </p:cNvPr>
          <p:cNvGrpSpPr/>
          <p:nvPr/>
        </p:nvGrpSpPr>
        <p:grpSpPr>
          <a:xfrm>
            <a:off x="5425910" y="4273302"/>
            <a:ext cx="394631" cy="192812"/>
            <a:chOff x="5425910" y="4273302"/>
            <a:chExt cx="394631" cy="192812"/>
          </a:xfrm>
        </p:grpSpPr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8CCFC415-2CB1-4BBE-AA33-C1EE08023F28}"/>
                </a:ext>
              </a:extLst>
            </p:cNvPr>
            <p:cNvSpPr/>
            <p:nvPr/>
          </p:nvSpPr>
          <p:spPr>
            <a:xfrm>
              <a:off x="5425910" y="4384007"/>
              <a:ext cx="134333" cy="63777"/>
            </a:xfrm>
            <a:custGeom>
              <a:avLst/>
              <a:gdLst>
                <a:gd name="connsiteX0" fmla="*/ 126488 w 137872"/>
                <a:gd name="connsiteY0" fmla="*/ 22099 h 87325"/>
                <a:gd name="connsiteX1" fmla="*/ 99253 w 137872"/>
                <a:gd name="connsiteY1" fmla="*/ 16450 h 87325"/>
                <a:gd name="connsiteX2" fmla="*/ 85249 w 137872"/>
                <a:gd name="connsiteY2" fmla="*/ 22801 h 87325"/>
                <a:gd name="connsiteX3" fmla="*/ 89511 w 137872"/>
                <a:gd name="connsiteY3" fmla="*/ 374 h 87325"/>
                <a:gd name="connsiteX4" fmla="*/ 57486 w 137872"/>
                <a:gd name="connsiteY4" fmla="*/ 1343 h 87325"/>
                <a:gd name="connsiteX5" fmla="*/ 62478 w 137872"/>
                <a:gd name="connsiteY5" fmla="*/ 10635 h 87325"/>
                <a:gd name="connsiteX6" fmla="*/ 56552 w 137872"/>
                <a:gd name="connsiteY6" fmla="*/ 17821 h 87325"/>
                <a:gd name="connsiteX7" fmla="*/ 35486 w 137872"/>
                <a:gd name="connsiteY7" fmla="*/ 23670 h 87325"/>
                <a:gd name="connsiteX8" fmla="*/ 13892 w 137872"/>
                <a:gd name="connsiteY8" fmla="*/ 23369 h 87325"/>
                <a:gd name="connsiteX9" fmla="*/ 9833 w 137872"/>
                <a:gd name="connsiteY9" fmla="*/ 30622 h 87325"/>
                <a:gd name="connsiteX10" fmla="*/ 9833 w 137872"/>
                <a:gd name="connsiteY10" fmla="*/ 42655 h 87325"/>
                <a:gd name="connsiteX11" fmla="*/ 33619 w 137872"/>
                <a:gd name="connsiteY11" fmla="*/ 52114 h 87325"/>
                <a:gd name="connsiteX12" fmla="*/ 25014 w 137872"/>
                <a:gd name="connsiteY12" fmla="*/ 58063 h 87325"/>
                <a:gd name="connsiteX13" fmla="*/ 20143 w 137872"/>
                <a:gd name="connsiteY13" fmla="*/ 66085 h 87325"/>
                <a:gd name="connsiteX14" fmla="*/ 376 w 137872"/>
                <a:gd name="connsiteY14" fmla="*/ 75811 h 87325"/>
                <a:gd name="connsiteX15" fmla="*/ 19737 w 137872"/>
                <a:gd name="connsiteY15" fmla="*/ 86139 h 87325"/>
                <a:gd name="connsiteX16" fmla="*/ 90526 w 137872"/>
                <a:gd name="connsiteY16" fmla="*/ 70998 h 87325"/>
                <a:gd name="connsiteX17" fmla="*/ 137813 w 137872"/>
                <a:gd name="connsiteY17" fmla="*/ 52982 h 87325"/>
                <a:gd name="connsiteX18" fmla="*/ 134200 w 137872"/>
                <a:gd name="connsiteY18" fmla="*/ 36271 h 87325"/>
                <a:gd name="connsiteX19" fmla="*/ 126082 w 137872"/>
                <a:gd name="connsiteY19" fmla="*/ 22032 h 87325"/>
                <a:gd name="connsiteX20" fmla="*/ 126488 w 137872"/>
                <a:gd name="connsiteY20" fmla="*/ 22099 h 87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7872" h="87325">
                  <a:moveTo>
                    <a:pt x="126488" y="22099"/>
                  </a:moveTo>
                  <a:cubicBezTo>
                    <a:pt x="120765" y="20294"/>
                    <a:pt x="106193" y="11069"/>
                    <a:pt x="99253" y="16450"/>
                  </a:cubicBezTo>
                  <a:cubicBezTo>
                    <a:pt x="93733" y="20729"/>
                    <a:pt x="98075" y="25542"/>
                    <a:pt x="85249" y="22801"/>
                  </a:cubicBezTo>
                  <a:cubicBezTo>
                    <a:pt x="60327" y="17487"/>
                    <a:pt x="85817" y="11404"/>
                    <a:pt x="89511" y="374"/>
                  </a:cubicBezTo>
                  <a:cubicBezTo>
                    <a:pt x="78511" y="1009"/>
                    <a:pt x="68567" y="-2167"/>
                    <a:pt x="57486" y="1343"/>
                  </a:cubicBezTo>
                  <a:cubicBezTo>
                    <a:pt x="46405" y="4853"/>
                    <a:pt x="53995" y="9732"/>
                    <a:pt x="62478" y="10635"/>
                  </a:cubicBezTo>
                  <a:cubicBezTo>
                    <a:pt x="76319" y="12139"/>
                    <a:pt x="62925" y="16517"/>
                    <a:pt x="56552" y="17821"/>
                  </a:cubicBezTo>
                  <a:cubicBezTo>
                    <a:pt x="49571" y="19292"/>
                    <a:pt x="42670" y="22834"/>
                    <a:pt x="35486" y="23670"/>
                  </a:cubicBezTo>
                  <a:cubicBezTo>
                    <a:pt x="28302" y="24506"/>
                    <a:pt x="21239" y="22901"/>
                    <a:pt x="13892" y="23369"/>
                  </a:cubicBezTo>
                  <a:cubicBezTo>
                    <a:pt x="457" y="24272"/>
                    <a:pt x="4151" y="27681"/>
                    <a:pt x="9833" y="30622"/>
                  </a:cubicBezTo>
                  <a:cubicBezTo>
                    <a:pt x="18316" y="34967"/>
                    <a:pt x="4841" y="39011"/>
                    <a:pt x="9833" y="42655"/>
                  </a:cubicBezTo>
                  <a:cubicBezTo>
                    <a:pt x="14826" y="46298"/>
                    <a:pt x="35648" y="46766"/>
                    <a:pt x="33619" y="52114"/>
                  </a:cubicBezTo>
                  <a:cubicBezTo>
                    <a:pt x="32767" y="54420"/>
                    <a:pt x="27652" y="56325"/>
                    <a:pt x="25014" y="58063"/>
                  </a:cubicBezTo>
                  <a:cubicBezTo>
                    <a:pt x="20955" y="60837"/>
                    <a:pt x="22781" y="63177"/>
                    <a:pt x="20143" y="66085"/>
                  </a:cubicBezTo>
                  <a:cubicBezTo>
                    <a:pt x="16084" y="70563"/>
                    <a:pt x="3664" y="71165"/>
                    <a:pt x="376" y="75811"/>
                  </a:cubicBezTo>
                  <a:cubicBezTo>
                    <a:pt x="-2912" y="80457"/>
                    <a:pt x="13283" y="85036"/>
                    <a:pt x="19737" y="86139"/>
                  </a:cubicBezTo>
                  <a:cubicBezTo>
                    <a:pt x="42508" y="89982"/>
                    <a:pt x="74818" y="80022"/>
                    <a:pt x="90526" y="70998"/>
                  </a:cubicBezTo>
                  <a:cubicBezTo>
                    <a:pt x="108142" y="60971"/>
                    <a:pt x="137123" y="70998"/>
                    <a:pt x="137813" y="52982"/>
                  </a:cubicBezTo>
                  <a:cubicBezTo>
                    <a:pt x="137813" y="47280"/>
                    <a:pt x="136595" y="41618"/>
                    <a:pt x="134200" y="36271"/>
                  </a:cubicBezTo>
                  <a:cubicBezTo>
                    <a:pt x="132861" y="32928"/>
                    <a:pt x="124621" y="25441"/>
                    <a:pt x="126082" y="22032"/>
                  </a:cubicBezTo>
                  <a:cubicBezTo>
                    <a:pt x="122429" y="20762"/>
                    <a:pt x="126123" y="22834"/>
                    <a:pt x="126488" y="22099"/>
                  </a:cubicBezTo>
                  <a:close/>
                </a:path>
              </a:pathLst>
            </a:custGeom>
            <a:solidFill>
              <a:schemeClr val="bg2"/>
            </a:solidFill>
            <a:ln w="3021" cap="flat">
              <a:solidFill>
                <a:schemeClr val="bg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F010E079-9E97-480E-A1CD-778968D016B0}"/>
                </a:ext>
              </a:extLst>
            </p:cNvPr>
            <p:cNvSpPr/>
            <p:nvPr/>
          </p:nvSpPr>
          <p:spPr>
            <a:xfrm>
              <a:off x="5496399" y="4273302"/>
              <a:ext cx="324142" cy="192812"/>
            </a:xfrm>
            <a:custGeom>
              <a:avLst/>
              <a:gdLst>
                <a:gd name="connsiteX0" fmla="*/ 58729 w 332681"/>
                <a:gd name="connsiteY0" fmla="*/ 145939 h 264004"/>
                <a:gd name="connsiteX1" fmla="*/ 22929 w 332681"/>
                <a:gd name="connsiteY1" fmla="*/ 151086 h 264004"/>
                <a:gd name="connsiteX2" fmla="*/ 117 w 332681"/>
                <a:gd name="connsiteY2" fmla="*/ 169469 h 264004"/>
                <a:gd name="connsiteX3" fmla="*/ 23619 w 332681"/>
                <a:gd name="connsiteY3" fmla="*/ 173513 h 264004"/>
                <a:gd name="connsiteX4" fmla="*/ 54143 w 332681"/>
                <a:gd name="connsiteY4" fmla="*/ 173680 h 264004"/>
                <a:gd name="connsiteX5" fmla="*/ 79146 w 332681"/>
                <a:gd name="connsiteY5" fmla="*/ 163954 h 264004"/>
                <a:gd name="connsiteX6" fmla="*/ 58851 w 332681"/>
                <a:gd name="connsiteY6" fmla="*/ 145939 h 264004"/>
                <a:gd name="connsiteX7" fmla="*/ 332548 w 332681"/>
                <a:gd name="connsiteY7" fmla="*/ 196074 h 264004"/>
                <a:gd name="connsiteX8" fmla="*/ 313511 w 332681"/>
                <a:gd name="connsiteY8" fmla="*/ 187384 h 264004"/>
                <a:gd name="connsiteX9" fmla="*/ 292851 w 332681"/>
                <a:gd name="connsiteY9" fmla="*/ 191128 h 264004"/>
                <a:gd name="connsiteX10" fmla="*/ 281608 w 332681"/>
                <a:gd name="connsiteY10" fmla="*/ 179697 h 264004"/>
                <a:gd name="connsiteX11" fmla="*/ 268619 w 332681"/>
                <a:gd name="connsiteY11" fmla="*/ 168500 h 264004"/>
                <a:gd name="connsiteX12" fmla="*/ 256888 w 332681"/>
                <a:gd name="connsiteY12" fmla="*/ 155130 h 264004"/>
                <a:gd name="connsiteX13" fmla="*/ 231885 w 332681"/>
                <a:gd name="connsiteY13" fmla="*/ 147309 h 264004"/>
                <a:gd name="connsiteX14" fmla="*/ 219708 w 332681"/>
                <a:gd name="connsiteY14" fmla="*/ 132971 h 264004"/>
                <a:gd name="connsiteX15" fmla="*/ 195355 w 332681"/>
                <a:gd name="connsiteY15" fmla="*/ 122943 h 264004"/>
                <a:gd name="connsiteX16" fmla="*/ 164872 w 332681"/>
                <a:gd name="connsiteY16" fmla="*/ 121874 h 264004"/>
                <a:gd name="connsiteX17" fmla="*/ 176034 w 332681"/>
                <a:gd name="connsiteY17" fmla="*/ 110209 h 264004"/>
                <a:gd name="connsiteX18" fmla="*/ 199901 w 332681"/>
                <a:gd name="connsiteY18" fmla="*/ 79326 h 264004"/>
                <a:gd name="connsiteX19" fmla="*/ 144536 w 332681"/>
                <a:gd name="connsiteY19" fmla="*/ 79326 h 264004"/>
                <a:gd name="connsiteX20" fmla="*/ 122374 w 332681"/>
                <a:gd name="connsiteY20" fmla="*/ 77889 h 264004"/>
                <a:gd name="connsiteX21" fmla="*/ 147012 w 332681"/>
                <a:gd name="connsiteY21" fmla="*/ 64519 h 264004"/>
                <a:gd name="connsiteX22" fmla="*/ 142953 w 332681"/>
                <a:gd name="connsiteY22" fmla="*/ 55428 h 264004"/>
                <a:gd name="connsiteX23" fmla="*/ 83326 w 332681"/>
                <a:gd name="connsiteY23" fmla="*/ 72908 h 264004"/>
                <a:gd name="connsiteX24" fmla="*/ 71637 w 332681"/>
                <a:gd name="connsiteY24" fmla="*/ 83871 h 264004"/>
                <a:gd name="connsiteX25" fmla="*/ 61246 w 332681"/>
                <a:gd name="connsiteY25" fmla="*/ 92996 h 264004"/>
                <a:gd name="connsiteX26" fmla="*/ 38110 w 332681"/>
                <a:gd name="connsiteY26" fmla="*/ 92729 h 264004"/>
                <a:gd name="connsiteX27" fmla="*/ 69364 w 332681"/>
                <a:gd name="connsiteY27" fmla="*/ 99413 h 264004"/>
                <a:gd name="connsiteX28" fmla="*/ 67253 w 332681"/>
                <a:gd name="connsiteY28" fmla="*/ 117696 h 264004"/>
                <a:gd name="connsiteX29" fmla="*/ 47689 w 332681"/>
                <a:gd name="connsiteY29" fmla="*/ 134007 h 264004"/>
                <a:gd name="connsiteX30" fmla="*/ 69729 w 332681"/>
                <a:gd name="connsiteY30" fmla="*/ 126887 h 264004"/>
                <a:gd name="connsiteX31" fmla="*/ 74438 w 332681"/>
                <a:gd name="connsiteY31" fmla="*/ 134508 h 264004"/>
                <a:gd name="connsiteX32" fmla="*/ 102850 w 332681"/>
                <a:gd name="connsiteY32" fmla="*/ 121974 h 264004"/>
                <a:gd name="connsiteX33" fmla="*/ 107478 w 332681"/>
                <a:gd name="connsiteY33" fmla="*/ 136413 h 264004"/>
                <a:gd name="connsiteX34" fmla="*/ 95828 w 332681"/>
                <a:gd name="connsiteY34" fmla="*/ 151420 h 264004"/>
                <a:gd name="connsiteX35" fmla="*/ 143603 w 332681"/>
                <a:gd name="connsiteY35" fmla="*/ 146574 h 264004"/>
                <a:gd name="connsiteX36" fmla="*/ 152897 w 332681"/>
                <a:gd name="connsiteY36" fmla="*/ 151153 h 264004"/>
                <a:gd name="connsiteX37" fmla="*/ 165399 w 332681"/>
                <a:gd name="connsiteY37" fmla="*/ 162283 h 264004"/>
                <a:gd name="connsiteX38" fmla="*/ 166820 w 332681"/>
                <a:gd name="connsiteY38" fmla="*/ 175151 h 264004"/>
                <a:gd name="connsiteX39" fmla="*/ 149325 w 332681"/>
                <a:gd name="connsiteY39" fmla="*/ 186382 h 264004"/>
                <a:gd name="connsiteX40" fmla="*/ 130167 w 332681"/>
                <a:gd name="connsiteY40" fmla="*/ 184276 h 264004"/>
                <a:gd name="connsiteX41" fmla="*/ 119086 w 332681"/>
                <a:gd name="connsiteY41" fmla="*/ 194303 h 264004"/>
                <a:gd name="connsiteX42" fmla="*/ 119086 w 332681"/>
                <a:gd name="connsiteY42" fmla="*/ 214357 h 264004"/>
                <a:gd name="connsiteX43" fmla="*/ 97574 w 332681"/>
                <a:gd name="connsiteY43" fmla="*/ 223916 h 264004"/>
                <a:gd name="connsiteX44" fmla="*/ 120142 w 332681"/>
                <a:gd name="connsiteY44" fmla="*/ 223716 h 264004"/>
                <a:gd name="connsiteX45" fmla="*/ 142953 w 332681"/>
                <a:gd name="connsiteY45" fmla="*/ 226323 h 264004"/>
                <a:gd name="connsiteX46" fmla="*/ 162883 w 332681"/>
                <a:gd name="connsiteY46" fmla="*/ 228094 h 264004"/>
                <a:gd name="connsiteX47" fmla="*/ 180823 w 332681"/>
                <a:gd name="connsiteY47" fmla="*/ 225487 h 264004"/>
                <a:gd name="connsiteX48" fmla="*/ 166982 w 332681"/>
                <a:gd name="connsiteY48" fmla="*/ 233041 h 264004"/>
                <a:gd name="connsiteX49" fmla="*/ 134998 w 332681"/>
                <a:gd name="connsiteY49" fmla="*/ 236383 h 264004"/>
                <a:gd name="connsiteX50" fmla="*/ 98467 w 332681"/>
                <a:gd name="connsiteY50" fmla="*/ 259780 h 264004"/>
                <a:gd name="connsiteX51" fmla="*/ 134024 w 332681"/>
                <a:gd name="connsiteY51" fmla="*/ 254900 h 264004"/>
                <a:gd name="connsiteX52" fmla="*/ 152654 w 332681"/>
                <a:gd name="connsiteY52" fmla="*/ 254332 h 264004"/>
                <a:gd name="connsiteX53" fmla="*/ 170027 w 332681"/>
                <a:gd name="connsiteY53" fmla="*/ 247647 h 264004"/>
                <a:gd name="connsiteX54" fmla="*/ 204731 w 332681"/>
                <a:gd name="connsiteY54" fmla="*/ 243202 h 264004"/>
                <a:gd name="connsiteX55" fmla="*/ 228273 w 332681"/>
                <a:gd name="connsiteY55" fmla="*/ 243001 h 264004"/>
                <a:gd name="connsiteX56" fmla="*/ 283434 w 332681"/>
                <a:gd name="connsiteY56" fmla="*/ 236951 h 264004"/>
                <a:gd name="connsiteX57" fmla="*/ 303729 w 332681"/>
                <a:gd name="connsiteY57" fmla="*/ 223749 h 264004"/>
                <a:gd name="connsiteX58" fmla="*/ 311035 w 332681"/>
                <a:gd name="connsiteY58" fmla="*/ 210981 h 264004"/>
                <a:gd name="connsiteX59" fmla="*/ 332264 w 332681"/>
                <a:gd name="connsiteY59" fmla="*/ 196308 h 264004"/>
                <a:gd name="connsiteX60" fmla="*/ 332548 w 332681"/>
                <a:gd name="connsiteY60" fmla="*/ 195907 h 264004"/>
                <a:gd name="connsiteX61" fmla="*/ 26014 w 332681"/>
                <a:gd name="connsiteY61" fmla="*/ 83905 h 264004"/>
                <a:gd name="connsiteX62" fmla="*/ 47121 w 332681"/>
                <a:gd name="connsiteY62" fmla="*/ 67427 h 264004"/>
                <a:gd name="connsiteX63" fmla="*/ 26014 w 332681"/>
                <a:gd name="connsiteY63" fmla="*/ 83738 h 264004"/>
                <a:gd name="connsiteX64" fmla="*/ 215974 w 332681"/>
                <a:gd name="connsiteY64" fmla="*/ 18996 h 264004"/>
                <a:gd name="connsiteX65" fmla="*/ 220317 w 332681"/>
                <a:gd name="connsiteY65" fmla="*/ -122 h 264004"/>
                <a:gd name="connsiteX66" fmla="*/ 215974 w 332681"/>
                <a:gd name="connsiteY66" fmla="*/ 18829 h 2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32681" h="264004">
                  <a:moveTo>
                    <a:pt x="58729" y="145939"/>
                  </a:moveTo>
                  <a:cubicBezTo>
                    <a:pt x="47364" y="141293"/>
                    <a:pt x="33645" y="148713"/>
                    <a:pt x="22929" y="151086"/>
                  </a:cubicBezTo>
                  <a:cubicBezTo>
                    <a:pt x="17856" y="152223"/>
                    <a:pt x="2635" y="165024"/>
                    <a:pt x="117" y="169469"/>
                  </a:cubicBezTo>
                  <a:cubicBezTo>
                    <a:pt x="-2399" y="173914"/>
                    <a:pt x="22726" y="177190"/>
                    <a:pt x="23619" y="173513"/>
                  </a:cubicBezTo>
                  <a:cubicBezTo>
                    <a:pt x="26501" y="160512"/>
                    <a:pt x="43386" y="170171"/>
                    <a:pt x="54143" y="173680"/>
                  </a:cubicBezTo>
                  <a:cubicBezTo>
                    <a:pt x="56294" y="169235"/>
                    <a:pt x="73504" y="167297"/>
                    <a:pt x="79146" y="163954"/>
                  </a:cubicBezTo>
                  <a:cubicBezTo>
                    <a:pt x="90511" y="157270"/>
                    <a:pt x="66360" y="149081"/>
                    <a:pt x="58851" y="145939"/>
                  </a:cubicBezTo>
                  <a:close/>
                  <a:moveTo>
                    <a:pt x="332548" y="196074"/>
                  </a:moveTo>
                  <a:cubicBezTo>
                    <a:pt x="332954" y="191128"/>
                    <a:pt x="321061" y="188420"/>
                    <a:pt x="313511" y="187384"/>
                  </a:cubicBezTo>
                  <a:cubicBezTo>
                    <a:pt x="299873" y="185579"/>
                    <a:pt x="302633" y="188821"/>
                    <a:pt x="292851" y="191128"/>
                  </a:cubicBezTo>
                  <a:cubicBezTo>
                    <a:pt x="277630" y="194737"/>
                    <a:pt x="281121" y="182705"/>
                    <a:pt x="281608" y="179697"/>
                  </a:cubicBezTo>
                  <a:cubicBezTo>
                    <a:pt x="281608" y="178694"/>
                    <a:pt x="269431" y="171909"/>
                    <a:pt x="268619" y="168500"/>
                  </a:cubicBezTo>
                  <a:cubicBezTo>
                    <a:pt x="266589" y="163102"/>
                    <a:pt x="262490" y="158403"/>
                    <a:pt x="256888" y="155130"/>
                  </a:cubicBezTo>
                  <a:cubicBezTo>
                    <a:pt x="249866" y="150618"/>
                    <a:pt x="239232" y="151086"/>
                    <a:pt x="231885" y="147309"/>
                  </a:cubicBezTo>
                  <a:cubicBezTo>
                    <a:pt x="224538" y="143532"/>
                    <a:pt x="222266" y="137951"/>
                    <a:pt x="219708" y="132971"/>
                  </a:cubicBezTo>
                  <a:cubicBezTo>
                    <a:pt x="215650" y="124715"/>
                    <a:pt x="204649" y="128124"/>
                    <a:pt x="195355" y="122943"/>
                  </a:cubicBezTo>
                  <a:cubicBezTo>
                    <a:pt x="187237" y="118130"/>
                    <a:pt x="175384" y="120972"/>
                    <a:pt x="164872" y="121874"/>
                  </a:cubicBezTo>
                  <a:cubicBezTo>
                    <a:pt x="154359" y="122776"/>
                    <a:pt x="174491" y="110811"/>
                    <a:pt x="176034" y="110209"/>
                  </a:cubicBezTo>
                  <a:cubicBezTo>
                    <a:pt x="189631" y="104861"/>
                    <a:pt x="200388" y="87548"/>
                    <a:pt x="199901" y="79326"/>
                  </a:cubicBezTo>
                  <a:cubicBezTo>
                    <a:pt x="199535" y="73777"/>
                    <a:pt x="150868" y="78557"/>
                    <a:pt x="144536" y="79326"/>
                  </a:cubicBezTo>
                  <a:cubicBezTo>
                    <a:pt x="138204" y="80094"/>
                    <a:pt x="122049" y="84172"/>
                    <a:pt x="122374" y="77889"/>
                  </a:cubicBezTo>
                  <a:cubicBezTo>
                    <a:pt x="122374" y="75148"/>
                    <a:pt x="143359" y="67561"/>
                    <a:pt x="147012" y="64519"/>
                  </a:cubicBezTo>
                  <a:cubicBezTo>
                    <a:pt x="155130" y="57834"/>
                    <a:pt x="157403" y="42025"/>
                    <a:pt x="142953" y="55428"/>
                  </a:cubicBezTo>
                  <a:cubicBezTo>
                    <a:pt x="128503" y="68831"/>
                    <a:pt x="86493" y="50782"/>
                    <a:pt x="83326" y="72908"/>
                  </a:cubicBezTo>
                  <a:cubicBezTo>
                    <a:pt x="82556" y="78356"/>
                    <a:pt x="78578" y="79593"/>
                    <a:pt x="71637" y="83871"/>
                  </a:cubicBezTo>
                  <a:cubicBezTo>
                    <a:pt x="68552" y="85743"/>
                    <a:pt x="71353" y="96840"/>
                    <a:pt x="61246" y="92996"/>
                  </a:cubicBezTo>
                  <a:cubicBezTo>
                    <a:pt x="57471" y="91559"/>
                    <a:pt x="38556" y="84272"/>
                    <a:pt x="38110" y="92729"/>
                  </a:cubicBezTo>
                  <a:cubicBezTo>
                    <a:pt x="37744" y="99848"/>
                    <a:pt x="63275" y="96940"/>
                    <a:pt x="69364" y="99413"/>
                  </a:cubicBezTo>
                  <a:cubicBezTo>
                    <a:pt x="75452" y="101887"/>
                    <a:pt x="36527" y="113718"/>
                    <a:pt x="67253" y="117696"/>
                  </a:cubicBezTo>
                  <a:cubicBezTo>
                    <a:pt x="91323" y="120804"/>
                    <a:pt x="36648" y="131667"/>
                    <a:pt x="47689" y="134007"/>
                  </a:cubicBezTo>
                  <a:cubicBezTo>
                    <a:pt x="53372" y="135210"/>
                    <a:pt x="65346" y="128358"/>
                    <a:pt x="69729" y="126887"/>
                  </a:cubicBezTo>
                  <a:cubicBezTo>
                    <a:pt x="74113" y="125417"/>
                    <a:pt x="73545" y="133405"/>
                    <a:pt x="74438" y="134508"/>
                  </a:cubicBezTo>
                  <a:cubicBezTo>
                    <a:pt x="84382" y="146540"/>
                    <a:pt x="102850" y="121974"/>
                    <a:pt x="102850" y="121974"/>
                  </a:cubicBezTo>
                  <a:cubicBezTo>
                    <a:pt x="104474" y="121974"/>
                    <a:pt x="107680" y="134909"/>
                    <a:pt x="107478" y="136413"/>
                  </a:cubicBezTo>
                  <a:cubicBezTo>
                    <a:pt x="106828" y="141393"/>
                    <a:pt x="94164" y="146674"/>
                    <a:pt x="95828" y="151420"/>
                  </a:cubicBezTo>
                  <a:cubicBezTo>
                    <a:pt x="98223" y="158105"/>
                    <a:pt x="138448" y="149649"/>
                    <a:pt x="143603" y="146574"/>
                  </a:cubicBezTo>
                  <a:cubicBezTo>
                    <a:pt x="153425" y="140625"/>
                    <a:pt x="160326" y="146306"/>
                    <a:pt x="152897" y="151153"/>
                  </a:cubicBezTo>
                  <a:cubicBezTo>
                    <a:pt x="142344" y="158038"/>
                    <a:pt x="155008" y="160578"/>
                    <a:pt x="165399" y="162283"/>
                  </a:cubicBezTo>
                  <a:cubicBezTo>
                    <a:pt x="174329" y="163787"/>
                    <a:pt x="166373" y="171341"/>
                    <a:pt x="166820" y="175151"/>
                  </a:cubicBezTo>
                  <a:cubicBezTo>
                    <a:pt x="167713" y="183072"/>
                    <a:pt x="165318" y="185512"/>
                    <a:pt x="149325" y="186382"/>
                  </a:cubicBezTo>
                  <a:cubicBezTo>
                    <a:pt x="140640" y="186883"/>
                    <a:pt x="136743" y="184610"/>
                    <a:pt x="130167" y="184276"/>
                  </a:cubicBezTo>
                  <a:cubicBezTo>
                    <a:pt x="119777" y="183774"/>
                    <a:pt x="123429" y="191228"/>
                    <a:pt x="119086" y="194303"/>
                  </a:cubicBezTo>
                  <a:cubicBezTo>
                    <a:pt x="103175" y="205199"/>
                    <a:pt x="155901" y="202358"/>
                    <a:pt x="119086" y="214357"/>
                  </a:cubicBezTo>
                  <a:cubicBezTo>
                    <a:pt x="114743" y="215761"/>
                    <a:pt x="89618" y="219705"/>
                    <a:pt x="97574" y="223916"/>
                  </a:cubicBezTo>
                  <a:cubicBezTo>
                    <a:pt x="105529" y="228128"/>
                    <a:pt x="111659" y="224651"/>
                    <a:pt x="120142" y="223716"/>
                  </a:cubicBezTo>
                  <a:cubicBezTo>
                    <a:pt x="123673" y="223315"/>
                    <a:pt x="138813" y="225955"/>
                    <a:pt x="142953" y="226323"/>
                  </a:cubicBezTo>
                  <a:cubicBezTo>
                    <a:pt x="149529" y="227409"/>
                    <a:pt x="156185" y="228000"/>
                    <a:pt x="162883" y="228094"/>
                  </a:cubicBezTo>
                  <a:cubicBezTo>
                    <a:pt x="166942" y="227860"/>
                    <a:pt x="176764" y="224417"/>
                    <a:pt x="180823" y="225487"/>
                  </a:cubicBezTo>
                  <a:cubicBezTo>
                    <a:pt x="185897" y="226857"/>
                    <a:pt x="168240" y="232807"/>
                    <a:pt x="166982" y="233041"/>
                  </a:cubicBezTo>
                  <a:cubicBezTo>
                    <a:pt x="156388" y="234779"/>
                    <a:pt x="144414" y="232372"/>
                    <a:pt x="134998" y="236383"/>
                  </a:cubicBezTo>
                  <a:cubicBezTo>
                    <a:pt x="121075" y="242366"/>
                    <a:pt x="105489" y="250989"/>
                    <a:pt x="98467" y="259780"/>
                  </a:cubicBezTo>
                  <a:cubicBezTo>
                    <a:pt x="88969" y="271177"/>
                    <a:pt x="125581" y="253763"/>
                    <a:pt x="134024" y="254900"/>
                  </a:cubicBezTo>
                  <a:cubicBezTo>
                    <a:pt x="141046" y="255836"/>
                    <a:pt x="147743" y="259780"/>
                    <a:pt x="152654" y="254332"/>
                  </a:cubicBezTo>
                  <a:cubicBezTo>
                    <a:pt x="157565" y="248883"/>
                    <a:pt x="159960" y="249886"/>
                    <a:pt x="170027" y="247647"/>
                  </a:cubicBezTo>
                  <a:cubicBezTo>
                    <a:pt x="181676" y="244973"/>
                    <a:pt x="193650" y="247212"/>
                    <a:pt x="204731" y="243202"/>
                  </a:cubicBezTo>
                  <a:cubicBezTo>
                    <a:pt x="214513" y="239659"/>
                    <a:pt x="217760" y="241029"/>
                    <a:pt x="228273" y="243001"/>
                  </a:cubicBezTo>
                  <a:cubicBezTo>
                    <a:pt x="238785" y="244973"/>
                    <a:pt x="272150" y="239057"/>
                    <a:pt x="283434" y="236951"/>
                  </a:cubicBezTo>
                  <a:cubicBezTo>
                    <a:pt x="294718" y="234846"/>
                    <a:pt x="340706" y="219638"/>
                    <a:pt x="303729" y="223749"/>
                  </a:cubicBezTo>
                  <a:cubicBezTo>
                    <a:pt x="287128" y="225654"/>
                    <a:pt x="307788" y="212385"/>
                    <a:pt x="311035" y="210981"/>
                  </a:cubicBezTo>
                  <a:cubicBezTo>
                    <a:pt x="319722" y="207037"/>
                    <a:pt x="331736" y="202826"/>
                    <a:pt x="332264" y="196308"/>
                  </a:cubicBezTo>
                  <a:cubicBezTo>
                    <a:pt x="333197" y="188320"/>
                    <a:pt x="331939" y="203494"/>
                    <a:pt x="332548" y="195907"/>
                  </a:cubicBezTo>
                  <a:close/>
                  <a:moveTo>
                    <a:pt x="26014" y="83905"/>
                  </a:moveTo>
                  <a:cubicBezTo>
                    <a:pt x="39449" y="82802"/>
                    <a:pt x="53899" y="70301"/>
                    <a:pt x="47121" y="67427"/>
                  </a:cubicBezTo>
                  <a:cubicBezTo>
                    <a:pt x="40342" y="64553"/>
                    <a:pt x="15948" y="84573"/>
                    <a:pt x="26014" y="83738"/>
                  </a:cubicBezTo>
                  <a:close/>
                  <a:moveTo>
                    <a:pt x="215974" y="18996"/>
                  </a:moveTo>
                  <a:cubicBezTo>
                    <a:pt x="224092" y="14350"/>
                    <a:pt x="233347" y="-2428"/>
                    <a:pt x="220317" y="-122"/>
                  </a:cubicBezTo>
                  <a:cubicBezTo>
                    <a:pt x="207288" y="2184"/>
                    <a:pt x="212443" y="20868"/>
                    <a:pt x="215974" y="18829"/>
                  </a:cubicBezTo>
                  <a:close/>
                </a:path>
              </a:pathLst>
            </a:custGeom>
            <a:solidFill>
              <a:schemeClr val="bg2"/>
            </a:solidFill>
            <a:ln w="3021" cap="flat">
              <a:solidFill>
                <a:schemeClr val="bg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49" name="N ASIA">
            <a:extLst>
              <a:ext uri="{FF2B5EF4-FFF2-40B4-BE49-F238E27FC236}">
                <a16:creationId xmlns:a16="http://schemas.microsoft.com/office/drawing/2014/main" id="{AC9B0570-0FD7-40CF-942A-D7E9D543BEAC}"/>
              </a:ext>
            </a:extLst>
          </p:cNvPr>
          <p:cNvGrpSpPr/>
          <p:nvPr/>
        </p:nvGrpSpPr>
        <p:grpSpPr>
          <a:xfrm>
            <a:off x="7235455" y="4496335"/>
            <a:ext cx="2925776" cy="843955"/>
            <a:chOff x="7235455" y="4496335"/>
            <a:chExt cx="2925776" cy="843955"/>
          </a:xfrm>
        </p:grpSpPr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B799C2E9-E486-4A17-9772-FC2358BA4F64}"/>
                </a:ext>
              </a:extLst>
            </p:cNvPr>
            <p:cNvSpPr/>
            <p:nvPr/>
          </p:nvSpPr>
          <p:spPr>
            <a:xfrm>
              <a:off x="9487915" y="5172288"/>
              <a:ext cx="111090" cy="59339"/>
            </a:xfrm>
            <a:custGeom>
              <a:avLst/>
              <a:gdLst>
                <a:gd name="connsiteX0" fmla="*/ 57038 w 114017"/>
                <a:gd name="connsiteY0" fmla="*/ 620 h 81248"/>
                <a:gd name="connsiteX1" fmla="*/ 36175 w 114017"/>
                <a:gd name="connsiteY1" fmla="*/ 3060 h 81248"/>
                <a:gd name="connsiteX2" fmla="*/ 43765 w 114017"/>
                <a:gd name="connsiteY2" fmla="*/ 17165 h 81248"/>
                <a:gd name="connsiteX3" fmla="*/ 29518 w 114017"/>
                <a:gd name="connsiteY3" fmla="*/ 15794 h 81248"/>
                <a:gd name="connsiteX4" fmla="*/ 23389 w 114017"/>
                <a:gd name="connsiteY4" fmla="*/ 30634 h 81248"/>
                <a:gd name="connsiteX5" fmla="*/ 2363 w 114017"/>
                <a:gd name="connsiteY5" fmla="*/ 44806 h 81248"/>
                <a:gd name="connsiteX6" fmla="*/ 1105 w 114017"/>
                <a:gd name="connsiteY6" fmla="*/ 57707 h 81248"/>
                <a:gd name="connsiteX7" fmla="*/ 22699 w 114017"/>
                <a:gd name="connsiteY7" fmla="*/ 65829 h 81248"/>
                <a:gd name="connsiteX8" fmla="*/ 78956 w 114017"/>
                <a:gd name="connsiteY8" fmla="*/ 71678 h 81248"/>
                <a:gd name="connsiteX9" fmla="*/ 97384 w 114017"/>
                <a:gd name="connsiteY9" fmla="*/ 80101 h 81248"/>
                <a:gd name="connsiteX10" fmla="*/ 106719 w 114017"/>
                <a:gd name="connsiteY10" fmla="*/ 69807 h 81248"/>
                <a:gd name="connsiteX11" fmla="*/ 111185 w 114017"/>
                <a:gd name="connsiteY11" fmla="*/ 30367 h 81248"/>
                <a:gd name="connsiteX12" fmla="*/ 105298 w 114017"/>
                <a:gd name="connsiteY12" fmla="*/ 18769 h 81248"/>
                <a:gd name="connsiteX13" fmla="*/ 90768 w 114017"/>
                <a:gd name="connsiteY13" fmla="*/ 11416 h 81248"/>
                <a:gd name="connsiteX14" fmla="*/ 57038 w 114017"/>
                <a:gd name="connsiteY14" fmla="*/ 620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81248">
                  <a:moveTo>
                    <a:pt x="57038" y="620"/>
                  </a:moveTo>
                  <a:cubicBezTo>
                    <a:pt x="48635" y="1121"/>
                    <a:pt x="36540" y="-3124"/>
                    <a:pt x="36175" y="3060"/>
                  </a:cubicBezTo>
                  <a:cubicBezTo>
                    <a:pt x="35890" y="8274"/>
                    <a:pt x="44698" y="13455"/>
                    <a:pt x="43765" y="17165"/>
                  </a:cubicBezTo>
                  <a:cubicBezTo>
                    <a:pt x="42384" y="22646"/>
                    <a:pt x="34510" y="16596"/>
                    <a:pt x="29518" y="15794"/>
                  </a:cubicBezTo>
                  <a:cubicBezTo>
                    <a:pt x="19451" y="14157"/>
                    <a:pt x="22009" y="26757"/>
                    <a:pt x="23389" y="30634"/>
                  </a:cubicBezTo>
                  <a:cubicBezTo>
                    <a:pt x="26880" y="40026"/>
                    <a:pt x="-2305" y="37887"/>
                    <a:pt x="2363" y="44806"/>
                  </a:cubicBezTo>
                  <a:cubicBezTo>
                    <a:pt x="5123" y="48884"/>
                    <a:pt x="-2954" y="54833"/>
                    <a:pt x="1105" y="57707"/>
                  </a:cubicBezTo>
                  <a:cubicBezTo>
                    <a:pt x="7721" y="61371"/>
                    <a:pt x="15027" y="64115"/>
                    <a:pt x="22699" y="65829"/>
                  </a:cubicBezTo>
                  <a:cubicBezTo>
                    <a:pt x="44373" y="71912"/>
                    <a:pt x="58864" y="67902"/>
                    <a:pt x="78956" y="71678"/>
                  </a:cubicBezTo>
                  <a:cubicBezTo>
                    <a:pt x="86506" y="73116"/>
                    <a:pt x="90280" y="78363"/>
                    <a:pt x="97384" y="80101"/>
                  </a:cubicBezTo>
                  <a:cubicBezTo>
                    <a:pt x="110697" y="83644"/>
                    <a:pt x="106435" y="74687"/>
                    <a:pt x="106719" y="69807"/>
                  </a:cubicBezTo>
                  <a:cubicBezTo>
                    <a:pt x="107531" y="54465"/>
                    <a:pt x="119140" y="48081"/>
                    <a:pt x="111185" y="30367"/>
                  </a:cubicBezTo>
                  <a:cubicBezTo>
                    <a:pt x="109439" y="26523"/>
                    <a:pt x="107490" y="22646"/>
                    <a:pt x="105298" y="18769"/>
                  </a:cubicBezTo>
                  <a:cubicBezTo>
                    <a:pt x="100104" y="9577"/>
                    <a:pt x="101443" y="14524"/>
                    <a:pt x="90768" y="11416"/>
                  </a:cubicBezTo>
                  <a:cubicBezTo>
                    <a:pt x="80092" y="8307"/>
                    <a:pt x="67793" y="-48"/>
                    <a:pt x="57038" y="620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61093115-1A35-4925-8BCA-74C0AA5FF791}"/>
                </a:ext>
              </a:extLst>
            </p:cNvPr>
            <p:cNvSpPr/>
            <p:nvPr/>
          </p:nvSpPr>
          <p:spPr>
            <a:xfrm>
              <a:off x="8160991" y="4945413"/>
              <a:ext cx="206994" cy="82913"/>
            </a:xfrm>
            <a:custGeom>
              <a:avLst/>
              <a:gdLst>
                <a:gd name="connsiteX0" fmla="*/ 212266 w 212447"/>
                <a:gd name="connsiteY0" fmla="*/ 93374 h 113527"/>
                <a:gd name="connsiteX1" fmla="*/ 143020 w 212447"/>
                <a:gd name="connsiteY1" fmla="*/ 65599 h 113527"/>
                <a:gd name="connsiteX2" fmla="*/ 83069 w 212447"/>
                <a:gd name="connsiteY2" fmla="*/ 22850 h 113527"/>
                <a:gd name="connsiteX3" fmla="*/ 61191 w 212447"/>
                <a:gd name="connsiteY3" fmla="*/ 5169 h 113527"/>
                <a:gd name="connsiteX4" fmla="*/ 31154 w 212447"/>
                <a:gd name="connsiteY4" fmla="*/ 356 h 113527"/>
                <a:gd name="connsiteX5" fmla="*/ 4324 w 212447"/>
                <a:gd name="connsiteY5" fmla="*/ 8812 h 113527"/>
                <a:gd name="connsiteX6" fmla="*/ 13092 w 212447"/>
                <a:gd name="connsiteY6" fmla="*/ 28165 h 113527"/>
                <a:gd name="connsiteX7" fmla="*/ 65859 w 212447"/>
                <a:gd name="connsiteY7" fmla="*/ 59215 h 113527"/>
                <a:gd name="connsiteX8" fmla="*/ 92445 w 212447"/>
                <a:gd name="connsiteY8" fmla="*/ 68240 h 113527"/>
                <a:gd name="connsiteX9" fmla="*/ 115297 w 212447"/>
                <a:gd name="connsiteY9" fmla="*/ 84116 h 113527"/>
                <a:gd name="connsiteX10" fmla="*/ 170905 w 212447"/>
                <a:gd name="connsiteY10" fmla="*/ 108916 h 113527"/>
                <a:gd name="connsiteX11" fmla="*/ 200860 w 212447"/>
                <a:gd name="connsiteY11" fmla="*/ 112726 h 113527"/>
                <a:gd name="connsiteX12" fmla="*/ 212388 w 212447"/>
                <a:gd name="connsiteY12" fmla="*/ 93374 h 113527"/>
                <a:gd name="connsiteX13" fmla="*/ 212266 w 212447"/>
                <a:gd name="connsiteY13" fmla="*/ 93374 h 11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447" h="113527">
                  <a:moveTo>
                    <a:pt x="212266" y="93374"/>
                  </a:moveTo>
                  <a:cubicBezTo>
                    <a:pt x="188196" y="85907"/>
                    <a:pt x="165020" y="76609"/>
                    <a:pt x="143020" y="65599"/>
                  </a:cubicBezTo>
                  <a:cubicBezTo>
                    <a:pt x="119883" y="53233"/>
                    <a:pt x="102105" y="37289"/>
                    <a:pt x="83069" y="22850"/>
                  </a:cubicBezTo>
                  <a:cubicBezTo>
                    <a:pt x="75722" y="17269"/>
                    <a:pt x="69309" y="10350"/>
                    <a:pt x="61191" y="5169"/>
                  </a:cubicBezTo>
                  <a:cubicBezTo>
                    <a:pt x="49014" y="-2652"/>
                    <a:pt x="43778" y="2696"/>
                    <a:pt x="31154" y="356"/>
                  </a:cubicBezTo>
                  <a:cubicBezTo>
                    <a:pt x="16867" y="-2251"/>
                    <a:pt x="10007" y="2896"/>
                    <a:pt x="4324" y="8812"/>
                  </a:cubicBezTo>
                  <a:cubicBezTo>
                    <a:pt x="-3793" y="17068"/>
                    <a:pt x="-505" y="19876"/>
                    <a:pt x="13092" y="28165"/>
                  </a:cubicBezTo>
                  <a:cubicBezTo>
                    <a:pt x="30140" y="38526"/>
                    <a:pt x="50556" y="47818"/>
                    <a:pt x="65859" y="59215"/>
                  </a:cubicBezTo>
                  <a:cubicBezTo>
                    <a:pt x="75032" y="66101"/>
                    <a:pt x="78807" y="66970"/>
                    <a:pt x="92445" y="68240"/>
                  </a:cubicBezTo>
                  <a:cubicBezTo>
                    <a:pt x="110873" y="69944"/>
                    <a:pt x="106489" y="76796"/>
                    <a:pt x="115297" y="84116"/>
                  </a:cubicBezTo>
                  <a:cubicBezTo>
                    <a:pt x="125810" y="92839"/>
                    <a:pt x="154913" y="105139"/>
                    <a:pt x="170905" y="108916"/>
                  </a:cubicBezTo>
                  <a:cubicBezTo>
                    <a:pt x="179023" y="110888"/>
                    <a:pt x="193148" y="114464"/>
                    <a:pt x="200860" y="112726"/>
                  </a:cubicBezTo>
                  <a:cubicBezTo>
                    <a:pt x="213037" y="109952"/>
                    <a:pt x="201510" y="96015"/>
                    <a:pt x="212388" y="93374"/>
                  </a:cubicBezTo>
                  <a:cubicBezTo>
                    <a:pt x="210318" y="92706"/>
                    <a:pt x="210764" y="93742"/>
                    <a:pt x="212266" y="93374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33756D92-2CAB-4BE2-A92B-9F01C108F366}"/>
                </a:ext>
              </a:extLst>
            </p:cNvPr>
            <p:cNvSpPr/>
            <p:nvPr/>
          </p:nvSpPr>
          <p:spPr>
            <a:xfrm>
              <a:off x="8422834" y="5060170"/>
              <a:ext cx="239190" cy="225073"/>
            </a:xfrm>
            <a:custGeom>
              <a:avLst/>
              <a:gdLst>
                <a:gd name="connsiteX0" fmla="*/ 125571 w 245491"/>
                <a:gd name="connsiteY0" fmla="*/ 288130 h 308176"/>
                <a:gd name="connsiteX1" fmla="*/ 122242 w 245491"/>
                <a:gd name="connsiteY1" fmla="*/ 276298 h 308176"/>
                <a:gd name="connsiteX2" fmla="*/ 125449 w 245491"/>
                <a:gd name="connsiteY2" fmla="*/ 259385 h 308176"/>
                <a:gd name="connsiteX3" fmla="*/ 113718 w 245491"/>
                <a:gd name="connsiteY3" fmla="*/ 237393 h 308176"/>
                <a:gd name="connsiteX4" fmla="*/ 124961 w 245491"/>
                <a:gd name="connsiteY4" fmla="*/ 225962 h 308176"/>
                <a:gd name="connsiteX5" fmla="*/ 131415 w 245491"/>
                <a:gd name="connsiteY5" fmla="*/ 220614 h 308176"/>
                <a:gd name="connsiteX6" fmla="*/ 132024 w 245491"/>
                <a:gd name="connsiteY6" fmla="*/ 208047 h 308176"/>
                <a:gd name="connsiteX7" fmla="*/ 118467 w 245491"/>
                <a:gd name="connsiteY7" fmla="*/ 179770 h 308176"/>
                <a:gd name="connsiteX8" fmla="*/ 134703 w 245491"/>
                <a:gd name="connsiteY8" fmla="*/ 157911 h 308176"/>
                <a:gd name="connsiteX9" fmla="*/ 176754 w 245491"/>
                <a:gd name="connsiteY9" fmla="*/ 159215 h 308176"/>
                <a:gd name="connsiteX10" fmla="*/ 218075 w 245491"/>
                <a:gd name="connsiteY10" fmla="*/ 158847 h 308176"/>
                <a:gd name="connsiteX11" fmla="*/ 245432 w 245491"/>
                <a:gd name="connsiteY11" fmla="*/ 148987 h 308176"/>
                <a:gd name="connsiteX12" fmla="*/ 217019 w 245491"/>
                <a:gd name="connsiteY12" fmla="*/ 140464 h 308176"/>
                <a:gd name="connsiteX13" fmla="*/ 203462 w 245491"/>
                <a:gd name="connsiteY13" fmla="*/ 125992 h 308176"/>
                <a:gd name="connsiteX14" fmla="*/ 209510 w 245491"/>
                <a:gd name="connsiteY14" fmla="*/ 110015 h 308176"/>
                <a:gd name="connsiteX15" fmla="*/ 196481 w 245491"/>
                <a:gd name="connsiteY15" fmla="*/ 90663 h 308176"/>
                <a:gd name="connsiteX16" fmla="*/ 183816 w 245491"/>
                <a:gd name="connsiteY16" fmla="*/ 80034 h 308176"/>
                <a:gd name="connsiteX17" fmla="*/ 171639 w 245491"/>
                <a:gd name="connsiteY17" fmla="*/ 71244 h 308176"/>
                <a:gd name="connsiteX18" fmla="*/ 221119 w 245491"/>
                <a:gd name="connsiteY18" fmla="*/ 41163 h 308176"/>
                <a:gd name="connsiteX19" fmla="*/ 219535 w 245491"/>
                <a:gd name="connsiteY19" fmla="*/ 22613 h 308176"/>
                <a:gd name="connsiteX20" fmla="*/ 211093 w 245491"/>
                <a:gd name="connsiteY20" fmla="*/ 4831 h 308176"/>
                <a:gd name="connsiteX21" fmla="*/ 178621 w 245491"/>
                <a:gd name="connsiteY21" fmla="*/ 17031 h 308176"/>
                <a:gd name="connsiteX22" fmla="*/ 166079 w 245491"/>
                <a:gd name="connsiteY22" fmla="*/ 13120 h 308176"/>
                <a:gd name="connsiteX23" fmla="*/ 133607 w 245491"/>
                <a:gd name="connsiteY23" fmla="*/ 11917 h 308176"/>
                <a:gd name="connsiteX24" fmla="*/ 86279 w 245491"/>
                <a:gd name="connsiteY24" fmla="*/ 45775 h 308176"/>
                <a:gd name="connsiteX25" fmla="*/ 70937 w 245491"/>
                <a:gd name="connsiteY25" fmla="*/ 50588 h 308176"/>
                <a:gd name="connsiteX26" fmla="*/ 53483 w 245491"/>
                <a:gd name="connsiteY26" fmla="*/ 46210 h 308176"/>
                <a:gd name="connsiteX27" fmla="*/ 28318 w 245491"/>
                <a:gd name="connsiteY27" fmla="*/ 73149 h 308176"/>
                <a:gd name="connsiteX28" fmla="*/ 11269 w 245491"/>
                <a:gd name="connsiteY28" fmla="*/ 80970 h 308176"/>
                <a:gd name="connsiteX29" fmla="*/ 3679 w 245491"/>
                <a:gd name="connsiteY29" fmla="*/ 93337 h 308176"/>
                <a:gd name="connsiteX30" fmla="*/ 27708 w 245491"/>
                <a:gd name="connsiteY30" fmla="*/ 116733 h 308176"/>
                <a:gd name="connsiteX31" fmla="*/ 35826 w 245491"/>
                <a:gd name="connsiteY31" fmla="*/ 145912 h 308176"/>
                <a:gd name="connsiteX32" fmla="*/ 24461 w 245491"/>
                <a:gd name="connsiteY32" fmla="*/ 171448 h 308176"/>
                <a:gd name="connsiteX33" fmla="*/ 28033 w 245491"/>
                <a:gd name="connsiteY33" fmla="*/ 186087 h 308176"/>
                <a:gd name="connsiteX34" fmla="*/ 61520 w 245491"/>
                <a:gd name="connsiteY34" fmla="*/ 191068 h 308176"/>
                <a:gd name="connsiteX35" fmla="*/ 91434 w 245491"/>
                <a:gd name="connsiteY35" fmla="*/ 182912 h 308176"/>
                <a:gd name="connsiteX36" fmla="*/ 98862 w 245491"/>
                <a:gd name="connsiteY36" fmla="*/ 224926 h 308176"/>
                <a:gd name="connsiteX37" fmla="*/ 96751 w 245491"/>
                <a:gd name="connsiteY37" fmla="*/ 248322 h 308176"/>
                <a:gd name="connsiteX38" fmla="*/ 104585 w 245491"/>
                <a:gd name="connsiteY38" fmla="*/ 273089 h 308176"/>
                <a:gd name="connsiteX39" fmla="*/ 96914 w 245491"/>
                <a:gd name="connsiteY39" fmla="*/ 285790 h 308176"/>
                <a:gd name="connsiteX40" fmla="*/ 90055 w 245491"/>
                <a:gd name="connsiteY40" fmla="*/ 307081 h 308176"/>
                <a:gd name="connsiteX41" fmla="*/ 125571 w 245491"/>
                <a:gd name="connsiteY41" fmla="*/ 288130 h 30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45491" h="308176">
                  <a:moveTo>
                    <a:pt x="125571" y="288130"/>
                  </a:moveTo>
                  <a:cubicBezTo>
                    <a:pt x="127600" y="283918"/>
                    <a:pt x="123216" y="280609"/>
                    <a:pt x="122242" y="276298"/>
                  </a:cubicBezTo>
                  <a:cubicBezTo>
                    <a:pt x="120902" y="270482"/>
                    <a:pt x="126585" y="265468"/>
                    <a:pt x="125449" y="259385"/>
                  </a:cubicBezTo>
                  <a:cubicBezTo>
                    <a:pt x="124068" y="251832"/>
                    <a:pt x="114651" y="245047"/>
                    <a:pt x="113718" y="237393"/>
                  </a:cubicBezTo>
                  <a:cubicBezTo>
                    <a:pt x="112906" y="230507"/>
                    <a:pt x="122161" y="231243"/>
                    <a:pt x="124961" y="225962"/>
                  </a:cubicBezTo>
                  <a:cubicBezTo>
                    <a:pt x="127234" y="221583"/>
                    <a:pt x="126260" y="222051"/>
                    <a:pt x="131415" y="220614"/>
                  </a:cubicBezTo>
                  <a:cubicBezTo>
                    <a:pt x="140142" y="218208"/>
                    <a:pt x="130116" y="212325"/>
                    <a:pt x="132024" y="208047"/>
                  </a:cubicBezTo>
                  <a:cubicBezTo>
                    <a:pt x="136083" y="198655"/>
                    <a:pt x="114205" y="188962"/>
                    <a:pt x="118467" y="179770"/>
                  </a:cubicBezTo>
                  <a:cubicBezTo>
                    <a:pt x="122079" y="172016"/>
                    <a:pt x="129020" y="164964"/>
                    <a:pt x="134703" y="157911"/>
                  </a:cubicBezTo>
                  <a:cubicBezTo>
                    <a:pt x="143064" y="147116"/>
                    <a:pt x="164577" y="164596"/>
                    <a:pt x="176754" y="159215"/>
                  </a:cubicBezTo>
                  <a:cubicBezTo>
                    <a:pt x="183005" y="156374"/>
                    <a:pt x="208576" y="158580"/>
                    <a:pt x="218075" y="158847"/>
                  </a:cubicBezTo>
                  <a:cubicBezTo>
                    <a:pt x="226193" y="159048"/>
                    <a:pt x="235812" y="145812"/>
                    <a:pt x="245432" y="148987"/>
                  </a:cubicBezTo>
                  <a:cubicBezTo>
                    <a:pt x="243808" y="144843"/>
                    <a:pt x="221890" y="147550"/>
                    <a:pt x="217019" y="140464"/>
                  </a:cubicBezTo>
                  <a:cubicBezTo>
                    <a:pt x="211296" y="132509"/>
                    <a:pt x="221402" y="131774"/>
                    <a:pt x="203462" y="125992"/>
                  </a:cubicBezTo>
                  <a:cubicBezTo>
                    <a:pt x="194329" y="123084"/>
                    <a:pt x="212960" y="114561"/>
                    <a:pt x="209510" y="110015"/>
                  </a:cubicBezTo>
                  <a:cubicBezTo>
                    <a:pt x="203421" y="102127"/>
                    <a:pt x="189581" y="100423"/>
                    <a:pt x="196481" y="90663"/>
                  </a:cubicBezTo>
                  <a:cubicBezTo>
                    <a:pt x="199930" y="85750"/>
                    <a:pt x="193274" y="83009"/>
                    <a:pt x="183816" y="80034"/>
                  </a:cubicBezTo>
                  <a:cubicBezTo>
                    <a:pt x="171639" y="76224"/>
                    <a:pt x="167946" y="79266"/>
                    <a:pt x="171639" y="71244"/>
                  </a:cubicBezTo>
                  <a:cubicBezTo>
                    <a:pt x="179352" y="55100"/>
                    <a:pt x="215233" y="58042"/>
                    <a:pt x="221119" y="41163"/>
                  </a:cubicBezTo>
                  <a:cubicBezTo>
                    <a:pt x="222661" y="36751"/>
                    <a:pt x="230616" y="26858"/>
                    <a:pt x="219535" y="22613"/>
                  </a:cubicBezTo>
                  <a:cubicBezTo>
                    <a:pt x="204802" y="16964"/>
                    <a:pt x="219535" y="11817"/>
                    <a:pt x="211093" y="4831"/>
                  </a:cubicBezTo>
                  <a:cubicBezTo>
                    <a:pt x="194857" y="-8538"/>
                    <a:pt x="173182" y="7104"/>
                    <a:pt x="178621" y="17031"/>
                  </a:cubicBezTo>
                  <a:cubicBezTo>
                    <a:pt x="182680" y="24184"/>
                    <a:pt x="166931" y="17031"/>
                    <a:pt x="166079" y="13120"/>
                  </a:cubicBezTo>
                  <a:cubicBezTo>
                    <a:pt x="164821" y="7505"/>
                    <a:pt x="137138" y="11683"/>
                    <a:pt x="133607" y="11917"/>
                  </a:cubicBezTo>
                  <a:cubicBezTo>
                    <a:pt x="105194" y="13689"/>
                    <a:pt x="103327" y="35314"/>
                    <a:pt x="86279" y="45775"/>
                  </a:cubicBezTo>
                  <a:cubicBezTo>
                    <a:pt x="81084" y="49118"/>
                    <a:pt x="80272" y="54298"/>
                    <a:pt x="70937" y="50588"/>
                  </a:cubicBezTo>
                  <a:cubicBezTo>
                    <a:pt x="65498" y="48449"/>
                    <a:pt x="56568" y="41931"/>
                    <a:pt x="53483" y="46210"/>
                  </a:cubicBezTo>
                  <a:cubicBezTo>
                    <a:pt x="51129" y="49552"/>
                    <a:pt x="34081" y="74887"/>
                    <a:pt x="28318" y="73149"/>
                  </a:cubicBezTo>
                  <a:cubicBezTo>
                    <a:pt x="21335" y="71077"/>
                    <a:pt x="13949" y="78597"/>
                    <a:pt x="11269" y="80970"/>
                  </a:cubicBezTo>
                  <a:cubicBezTo>
                    <a:pt x="4532" y="86987"/>
                    <a:pt x="-5616" y="80068"/>
                    <a:pt x="3679" y="93337"/>
                  </a:cubicBezTo>
                  <a:cubicBezTo>
                    <a:pt x="9687" y="101994"/>
                    <a:pt x="22309" y="107976"/>
                    <a:pt x="27708" y="116733"/>
                  </a:cubicBezTo>
                  <a:cubicBezTo>
                    <a:pt x="32863" y="125881"/>
                    <a:pt x="35623" y="135825"/>
                    <a:pt x="35826" y="145912"/>
                  </a:cubicBezTo>
                  <a:cubicBezTo>
                    <a:pt x="36557" y="155639"/>
                    <a:pt x="33837" y="164830"/>
                    <a:pt x="24461" y="171448"/>
                  </a:cubicBezTo>
                  <a:cubicBezTo>
                    <a:pt x="15085" y="178066"/>
                    <a:pt x="16546" y="178133"/>
                    <a:pt x="28033" y="186087"/>
                  </a:cubicBezTo>
                  <a:cubicBezTo>
                    <a:pt x="40616" y="194811"/>
                    <a:pt x="48693" y="193842"/>
                    <a:pt x="61520" y="191068"/>
                  </a:cubicBezTo>
                  <a:cubicBezTo>
                    <a:pt x="65010" y="190265"/>
                    <a:pt x="92855" y="184115"/>
                    <a:pt x="91434" y="182912"/>
                  </a:cubicBezTo>
                  <a:cubicBezTo>
                    <a:pt x="107143" y="196282"/>
                    <a:pt x="102394" y="212994"/>
                    <a:pt x="98862" y="224926"/>
                  </a:cubicBezTo>
                  <a:cubicBezTo>
                    <a:pt x="96021" y="232493"/>
                    <a:pt x="95291" y="240491"/>
                    <a:pt x="96751" y="248322"/>
                  </a:cubicBezTo>
                  <a:cubicBezTo>
                    <a:pt x="99106" y="257246"/>
                    <a:pt x="106494" y="264031"/>
                    <a:pt x="104585" y="273089"/>
                  </a:cubicBezTo>
                  <a:cubicBezTo>
                    <a:pt x="103530" y="278170"/>
                    <a:pt x="98822" y="281211"/>
                    <a:pt x="96914" y="285790"/>
                  </a:cubicBezTo>
                  <a:cubicBezTo>
                    <a:pt x="93707" y="293477"/>
                    <a:pt x="96386" y="300129"/>
                    <a:pt x="90055" y="307081"/>
                  </a:cubicBezTo>
                  <a:cubicBezTo>
                    <a:pt x="100932" y="311927"/>
                    <a:pt x="121024" y="292074"/>
                    <a:pt x="125571" y="288130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45E420E7-3E14-466C-A3F1-C7053974AC60}"/>
                </a:ext>
              </a:extLst>
            </p:cNvPr>
            <p:cNvSpPr/>
            <p:nvPr/>
          </p:nvSpPr>
          <p:spPr>
            <a:xfrm>
              <a:off x="9558594" y="5227598"/>
              <a:ext cx="602637" cy="112692"/>
            </a:xfrm>
            <a:custGeom>
              <a:avLst/>
              <a:gdLst>
                <a:gd name="connsiteX0" fmla="*/ 589973 w 618513"/>
                <a:gd name="connsiteY0" fmla="*/ 78168 h 154301"/>
                <a:gd name="connsiteX1" fmla="*/ 556285 w 618513"/>
                <a:gd name="connsiteY1" fmla="*/ 65033 h 154301"/>
                <a:gd name="connsiteX2" fmla="*/ 528643 w 618513"/>
                <a:gd name="connsiteY2" fmla="*/ 34617 h 154301"/>
                <a:gd name="connsiteX3" fmla="*/ 512407 w 618513"/>
                <a:gd name="connsiteY3" fmla="*/ 6241 h 154301"/>
                <a:gd name="connsiteX4" fmla="*/ 495197 w 618513"/>
                <a:gd name="connsiteY4" fmla="*/ 291 h 154301"/>
                <a:gd name="connsiteX5" fmla="*/ 493208 w 618513"/>
                <a:gd name="connsiteY5" fmla="*/ 12157 h 154301"/>
                <a:gd name="connsiteX6" fmla="*/ 469991 w 618513"/>
                <a:gd name="connsiteY6" fmla="*/ 24824 h 154301"/>
                <a:gd name="connsiteX7" fmla="*/ 440604 w 618513"/>
                <a:gd name="connsiteY7" fmla="*/ 24022 h 154301"/>
                <a:gd name="connsiteX8" fmla="*/ 426640 w 618513"/>
                <a:gd name="connsiteY8" fmla="*/ 23821 h 154301"/>
                <a:gd name="connsiteX9" fmla="*/ 406345 w 618513"/>
                <a:gd name="connsiteY9" fmla="*/ 23821 h 154301"/>
                <a:gd name="connsiteX10" fmla="*/ 407401 w 618513"/>
                <a:gd name="connsiteY10" fmla="*/ 33849 h 154301"/>
                <a:gd name="connsiteX11" fmla="*/ 397091 w 618513"/>
                <a:gd name="connsiteY11" fmla="*/ 43876 h 154301"/>
                <a:gd name="connsiteX12" fmla="*/ 420187 w 618513"/>
                <a:gd name="connsiteY12" fmla="*/ 47218 h 154301"/>
                <a:gd name="connsiteX13" fmla="*/ 431268 w 618513"/>
                <a:gd name="connsiteY13" fmla="*/ 50059 h 154301"/>
                <a:gd name="connsiteX14" fmla="*/ 433581 w 618513"/>
                <a:gd name="connsiteY14" fmla="*/ 37458 h 154301"/>
                <a:gd name="connsiteX15" fmla="*/ 480503 w 618513"/>
                <a:gd name="connsiteY15" fmla="*/ 65334 h 154301"/>
                <a:gd name="connsiteX16" fmla="*/ 515004 w 618513"/>
                <a:gd name="connsiteY16" fmla="*/ 74759 h 154301"/>
                <a:gd name="connsiteX17" fmla="*/ 570774 w 618513"/>
                <a:gd name="connsiteY17" fmla="*/ 94646 h 154301"/>
                <a:gd name="connsiteX18" fmla="*/ 573737 w 618513"/>
                <a:gd name="connsiteY18" fmla="*/ 89465 h 154301"/>
                <a:gd name="connsiteX19" fmla="*/ 584494 w 618513"/>
                <a:gd name="connsiteY19" fmla="*/ 87694 h 154301"/>
                <a:gd name="connsiteX20" fmla="*/ 618427 w 618513"/>
                <a:gd name="connsiteY20" fmla="*/ 88195 h 154301"/>
                <a:gd name="connsiteX21" fmla="*/ 589731 w 618513"/>
                <a:gd name="connsiteY21" fmla="*/ 78168 h 154301"/>
                <a:gd name="connsiteX22" fmla="*/ 392545 w 618513"/>
                <a:gd name="connsiteY22" fmla="*/ 56877 h 154301"/>
                <a:gd name="connsiteX23" fmla="*/ 373995 w 618513"/>
                <a:gd name="connsiteY23" fmla="*/ 76063 h 154301"/>
                <a:gd name="connsiteX24" fmla="*/ 355771 w 618513"/>
                <a:gd name="connsiteY24" fmla="*/ 80809 h 154301"/>
                <a:gd name="connsiteX25" fmla="*/ 338074 w 618513"/>
                <a:gd name="connsiteY25" fmla="*/ 89933 h 154301"/>
                <a:gd name="connsiteX26" fmla="*/ 291964 w 618513"/>
                <a:gd name="connsiteY26" fmla="*/ 89933 h 154301"/>
                <a:gd name="connsiteX27" fmla="*/ 266108 w 618513"/>
                <a:gd name="connsiteY27" fmla="*/ 79505 h 154301"/>
                <a:gd name="connsiteX28" fmla="*/ 266636 w 618513"/>
                <a:gd name="connsiteY28" fmla="*/ 72820 h 154301"/>
                <a:gd name="connsiteX29" fmla="*/ 229456 w 618513"/>
                <a:gd name="connsiteY29" fmla="*/ 81377 h 154301"/>
                <a:gd name="connsiteX30" fmla="*/ 212124 w 618513"/>
                <a:gd name="connsiteY30" fmla="*/ 81377 h 154301"/>
                <a:gd name="connsiteX31" fmla="*/ 201976 w 618513"/>
                <a:gd name="connsiteY31" fmla="*/ 84452 h 154301"/>
                <a:gd name="connsiteX32" fmla="*/ 192884 w 618513"/>
                <a:gd name="connsiteY32" fmla="*/ 76163 h 154301"/>
                <a:gd name="connsiteX33" fmla="*/ 166217 w 618513"/>
                <a:gd name="connsiteY33" fmla="*/ 65902 h 154301"/>
                <a:gd name="connsiteX34" fmla="*/ 109025 w 618513"/>
                <a:gd name="connsiteY34" fmla="*/ 45647 h 154301"/>
                <a:gd name="connsiteX35" fmla="*/ 72982 w 618513"/>
                <a:gd name="connsiteY35" fmla="*/ 45146 h 154301"/>
                <a:gd name="connsiteX36" fmla="*/ 49318 w 618513"/>
                <a:gd name="connsiteY36" fmla="*/ 43307 h 154301"/>
                <a:gd name="connsiteX37" fmla="*/ 87432 w 618513"/>
                <a:gd name="connsiteY37" fmla="*/ 61456 h 154301"/>
                <a:gd name="connsiteX38" fmla="*/ 144258 w 618513"/>
                <a:gd name="connsiteY38" fmla="*/ 77399 h 154301"/>
                <a:gd name="connsiteX39" fmla="*/ 170032 w 618513"/>
                <a:gd name="connsiteY39" fmla="*/ 99994 h 154301"/>
                <a:gd name="connsiteX40" fmla="*/ 199459 w 618513"/>
                <a:gd name="connsiteY40" fmla="*/ 119212 h 154301"/>
                <a:gd name="connsiteX41" fmla="*/ 216466 w 618513"/>
                <a:gd name="connsiteY41" fmla="*/ 114032 h 154301"/>
                <a:gd name="connsiteX42" fmla="*/ 226249 w 618513"/>
                <a:gd name="connsiteY42" fmla="*/ 115903 h 154301"/>
                <a:gd name="connsiteX43" fmla="*/ 245853 w 618513"/>
                <a:gd name="connsiteY43" fmla="*/ 130376 h 154301"/>
                <a:gd name="connsiteX44" fmla="*/ 271101 w 618513"/>
                <a:gd name="connsiteY44" fmla="*/ 132615 h 154301"/>
                <a:gd name="connsiteX45" fmla="*/ 286078 w 618513"/>
                <a:gd name="connsiteY45" fmla="*/ 144113 h 154301"/>
                <a:gd name="connsiteX46" fmla="*/ 305033 w 618513"/>
                <a:gd name="connsiteY46" fmla="*/ 141406 h 154301"/>
                <a:gd name="connsiteX47" fmla="*/ 307672 w 618513"/>
                <a:gd name="connsiteY47" fmla="*/ 148090 h 154301"/>
                <a:gd name="connsiteX48" fmla="*/ 332472 w 618513"/>
                <a:gd name="connsiteY48" fmla="*/ 153906 h 154301"/>
                <a:gd name="connsiteX49" fmla="*/ 355284 w 618513"/>
                <a:gd name="connsiteY49" fmla="*/ 137194 h 154301"/>
                <a:gd name="connsiteX50" fmla="*/ 378623 w 618513"/>
                <a:gd name="connsiteY50" fmla="*/ 118243 h 154301"/>
                <a:gd name="connsiteX51" fmla="*/ 410201 w 618513"/>
                <a:gd name="connsiteY51" fmla="*/ 115135 h 154301"/>
                <a:gd name="connsiteX52" fmla="*/ 429644 w 618513"/>
                <a:gd name="connsiteY52" fmla="*/ 79973 h 154301"/>
                <a:gd name="connsiteX53" fmla="*/ 427655 w 618513"/>
                <a:gd name="connsiteY53" fmla="*/ 64197 h 154301"/>
                <a:gd name="connsiteX54" fmla="*/ 392586 w 618513"/>
                <a:gd name="connsiteY54" fmla="*/ 57145 h 154301"/>
                <a:gd name="connsiteX55" fmla="*/ 129239 w 618513"/>
                <a:gd name="connsiteY55" fmla="*/ 80040 h 154301"/>
                <a:gd name="connsiteX56" fmla="*/ 83941 w 618513"/>
                <a:gd name="connsiteY56" fmla="*/ 75127 h 154301"/>
                <a:gd name="connsiteX57" fmla="*/ 100665 w 618513"/>
                <a:gd name="connsiteY57" fmla="*/ 92707 h 154301"/>
                <a:gd name="connsiteX58" fmla="*/ 127819 w 618513"/>
                <a:gd name="connsiteY58" fmla="*/ 99192 h 154301"/>
                <a:gd name="connsiteX59" fmla="*/ 152700 w 618513"/>
                <a:gd name="connsiteY59" fmla="*/ 98156 h 154301"/>
                <a:gd name="connsiteX60" fmla="*/ 129239 w 618513"/>
                <a:gd name="connsiteY60" fmla="*/ 80040 h 154301"/>
                <a:gd name="connsiteX61" fmla="*/ 60561 w 618513"/>
                <a:gd name="connsiteY61" fmla="*/ 70381 h 154301"/>
                <a:gd name="connsiteX62" fmla="*/ 46761 w 618513"/>
                <a:gd name="connsiteY62" fmla="*/ 54103 h 154301"/>
                <a:gd name="connsiteX63" fmla="*/ 5197 w 618513"/>
                <a:gd name="connsiteY63" fmla="*/ 44845 h 154301"/>
                <a:gd name="connsiteX64" fmla="*/ 13558 w 618513"/>
                <a:gd name="connsiteY64" fmla="*/ 55407 h 154301"/>
                <a:gd name="connsiteX65" fmla="*/ 20256 w 618513"/>
                <a:gd name="connsiteY65" fmla="*/ 65434 h 154301"/>
                <a:gd name="connsiteX66" fmla="*/ 3614 w 618513"/>
                <a:gd name="connsiteY66" fmla="*/ 84352 h 154301"/>
                <a:gd name="connsiteX67" fmla="*/ 26994 w 618513"/>
                <a:gd name="connsiteY67" fmla="*/ 91705 h 154301"/>
                <a:gd name="connsiteX68" fmla="*/ 64824 w 618513"/>
                <a:gd name="connsiteY68" fmla="*/ 81678 h 154301"/>
                <a:gd name="connsiteX69" fmla="*/ 60561 w 618513"/>
                <a:gd name="connsiteY69" fmla="*/ 70381 h 1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18513" h="154301">
                  <a:moveTo>
                    <a:pt x="589973" y="78168"/>
                  </a:moveTo>
                  <a:cubicBezTo>
                    <a:pt x="586767" y="70280"/>
                    <a:pt x="564199" y="69946"/>
                    <a:pt x="556285" y="65033"/>
                  </a:cubicBezTo>
                  <a:cubicBezTo>
                    <a:pt x="543701" y="57178"/>
                    <a:pt x="535137" y="43942"/>
                    <a:pt x="528643" y="34617"/>
                  </a:cubicBezTo>
                  <a:cubicBezTo>
                    <a:pt x="522148" y="25292"/>
                    <a:pt x="519754" y="14931"/>
                    <a:pt x="512407" y="6241"/>
                  </a:cubicBezTo>
                  <a:cubicBezTo>
                    <a:pt x="508348" y="1662"/>
                    <a:pt x="500027" y="-1815"/>
                    <a:pt x="495197" y="291"/>
                  </a:cubicBezTo>
                  <a:cubicBezTo>
                    <a:pt x="490366" y="2397"/>
                    <a:pt x="496536" y="8981"/>
                    <a:pt x="493208" y="12157"/>
                  </a:cubicBezTo>
                  <a:cubicBezTo>
                    <a:pt x="488580" y="16602"/>
                    <a:pt x="478595" y="23788"/>
                    <a:pt x="469991" y="24824"/>
                  </a:cubicBezTo>
                  <a:cubicBezTo>
                    <a:pt x="455825" y="26562"/>
                    <a:pt x="461426" y="33414"/>
                    <a:pt x="440604" y="24022"/>
                  </a:cubicBezTo>
                  <a:cubicBezTo>
                    <a:pt x="431998" y="20145"/>
                    <a:pt x="430294" y="20212"/>
                    <a:pt x="426640" y="23821"/>
                  </a:cubicBezTo>
                  <a:cubicBezTo>
                    <a:pt x="422988" y="27431"/>
                    <a:pt x="412271" y="22050"/>
                    <a:pt x="406345" y="23821"/>
                  </a:cubicBezTo>
                  <a:cubicBezTo>
                    <a:pt x="400419" y="25593"/>
                    <a:pt x="408132" y="30306"/>
                    <a:pt x="407401" y="33849"/>
                  </a:cubicBezTo>
                  <a:cubicBezTo>
                    <a:pt x="406914" y="36121"/>
                    <a:pt x="394940" y="41603"/>
                    <a:pt x="397091" y="43876"/>
                  </a:cubicBezTo>
                  <a:cubicBezTo>
                    <a:pt x="401637" y="48388"/>
                    <a:pt x="414504" y="44611"/>
                    <a:pt x="420187" y="47218"/>
                  </a:cubicBezTo>
                  <a:cubicBezTo>
                    <a:pt x="423069" y="48555"/>
                    <a:pt x="431998" y="56443"/>
                    <a:pt x="431268" y="50059"/>
                  </a:cubicBezTo>
                  <a:cubicBezTo>
                    <a:pt x="430821" y="45781"/>
                    <a:pt x="410404" y="21816"/>
                    <a:pt x="433581" y="37458"/>
                  </a:cubicBezTo>
                  <a:cubicBezTo>
                    <a:pt x="450061" y="48622"/>
                    <a:pt x="466581" y="49858"/>
                    <a:pt x="480503" y="65334"/>
                  </a:cubicBezTo>
                  <a:cubicBezTo>
                    <a:pt x="501163" y="88396"/>
                    <a:pt x="491341" y="73288"/>
                    <a:pt x="515004" y="74759"/>
                  </a:cubicBezTo>
                  <a:cubicBezTo>
                    <a:pt x="534447" y="75962"/>
                    <a:pt x="553524" y="93543"/>
                    <a:pt x="570774" y="94646"/>
                  </a:cubicBezTo>
                  <a:cubicBezTo>
                    <a:pt x="575118" y="94913"/>
                    <a:pt x="576092" y="92407"/>
                    <a:pt x="573737" y="89465"/>
                  </a:cubicBezTo>
                  <a:cubicBezTo>
                    <a:pt x="571384" y="86524"/>
                    <a:pt x="582992" y="87627"/>
                    <a:pt x="584494" y="87694"/>
                  </a:cubicBezTo>
                  <a:cubicBezTo>
                    <a:pt x="590907" y="87961"/>
                    <a:pt x="616316" y="92473"/>
                    <a:pt x="618427" y="88195"/>
                  </a:cubicBezTo>
                  <a:cubicBezTo>
                    <a:pt x="619442" y="86056"/>
                    <a:pt x="591962" y="83683"/>
                    <a:pt x="589731" y="78168"/>
                  </a:cubicBezTo>
                  <a:close/>
                  <a:moveTo>
                    <a:pt x="392545" y="56877"/>
                  </a:moveTo>
                  <a:cubicBezTo>
                    <a:pt x="372250" y="52666"/>
                    <a:pt x="375213" y="68876"/>
                    <a:pt x="373995" y="76063"/>
                  </a:cubicBezTo>
                  <a:cubicBezTo>
                    <a:pt x="373265" y="80274"/>
                    <a:pt x="360641" y="79940"/>
                    <a:pt x="355771" y="80809"/>
                  </a:cubicBezTo>
                  <a:cubicBezTo>
                    <a:pt x="347409" y="82313"/>
                    <a:pt x="345989" y="88663"/>
                    <a:pt x="338074" y="89933"/>
                  </a:cubicBezTo>
                  <a:cubicBezTo>
                    <a:pt x="322853" y="92497"/>
                    <a:pt x="307185" y="92497"/>
                    <a:pt x="291964" y="89933"/>
                  </a:cubicBezTo>
                  <a:cubicBezTo>
                    <a:pt x="284293" y="88697"/>
                    <a:pt x="266879" y="88329"/>
                    <a:pt x="266108" y="79505"/>
                  </a:cubicBezTo>
                  <a:cubicBezTo>
                    <a:pt x="265905" y="76965"/>
                    <a:pt x="273333" y="74592"/>
                    <a:pt x="266636" y="72820"/>
                  </a:cubicBezTo>
                  <a:cubicBezTo>
                    <a:pt x="244352" y="66437"/>
                    <a:pt x="245042" y="80909"/>
                    <a:pt x="229456" y="81377"/>
                  </a:cubicBezTo>
                  <a:cubicBezTo>
                    <a:pt x="225397" y="81377"/>
                    <a:pt x="214072" y="78903"/>
                    <a:pt x="212124" y="81377"/>
                  </a:cubicBezTo>
                  <a:cubicBezTo>
                    <a:pt x="209566" y="84719"/>
                    <a:pt x="211799" y="87594"/>
                    <a:pt x="201976" y="84452"/>
                  </a:cubicBezTo>
                  <a:cubicBezTo>
                    <a:pt x="192153" y="81310"/>
                    <a:pt x="195036" y="80441"/>
                    <a:pt x="192884" y="76163"/>
                  </a:cubicBezTo>
                  <a:cubicBezTo>
                    <a:pt x="190408" y="71183"/>
                    <a:pt x="171331" y="67205"/>
                    <a:pt x="166217" y="65902"/>
                  </a:cubicBezTo>
                  <a:cubicBezTo>
                    <a:pt x="145232" y="60487"/>
                    <a:pt x="128265" y="44811"/>
                    <a:pt x="109025" y="45647"/>
                  </a:cubicBezTo>
                  <a:cubicBezTo>
                    <a:pt x="97011" y="46476"/>
                    <a:pt x="84956" y="46309"/>
                    <a:pt x="72982" y="45146"/>
                  </a:cubicBezTo>
                  <a:cubicBezTo>
                    <a:pt x="65960" y="44277"/>
                    <a:pt x="52118" y="38227"/>
                    <a:pt x="49318" y="43307"/>
                  </a:cubicBezTo>
                  <a:cubicBezTo>
                    <a:pt x="45259" y="50694"/>
                    <a:pt x="80004" y="63027"/>
                    <a:pt x="87432" y="61456"/>
                  </a:cubicBezTo>
                  <a:cubicBezTo>
                    <a:pt x="99609" y="58849"/>
                    <a:pt x="131268" y="72386"/>
                    <a:pt x="144258" y="77399"/>
                  </a:cubicBezTo>
                  <a:cubicBezTo>
                    <a:pt x="161873" y="84084"/>
                    <a:pt x="183345" y="91003"/>
                    <a:pt x="170032" y="99994"/>
                  </a:cubicBezTo>
                  <a:cubicBezTo>
                    <a:pt x="155825" y="109586"/>
                    <a:pt x="184482" y="120449"/>
                    <a:pt x="199459" y="119212"/>
                  </a:cubicBezTo>
                  <a:cubicBezTo>
                    <a:pt x="206481" y="118577"/>
                    <a:pt x="222717" y="122555"/>
                    <a:pt x="216466" y="114032"/>
                  </a:cubicBezTo>
                  <a:cubicBezTo>
                    <a:pt x="210216" y="105509"/>
                    <a:pt x="223854" y="108617"/>
                    <a:pt x="226249" y="115903"/>
                  </a:cubicBezTo>
                  <a:cubicBezTo>
                    <a:pt x="228197" y="121853"/>
                    <a:pt x="237614" y="127602"/>
                    <a:pt x="245853" y="130376"/>
                  </a:cubicBezTo>
                  <a:cubicBezTo>
                    <a:pt x="252997" y="132749"/>
                    <a:pt x="266473" y="129674"/>
                    <a:pt x="271101" y="132615"/>
                  </a:cubicBezTo>
                  <a:cubicBezTo>
                    <a:pt x="276946" y="136325"/>
                    <a:pt x="276621" y="142976"/>
                    <a:pt x="286078" y="144113"/>
                  </a:cubicBezTo>
                  <a:cubicBezTo>
                    <a:pt x="292451" y="143565"/>
                    <a:pt x="298782" y="142662"/>
                    <a:pt x="305033" y="141406"/>
                  </a:cubicBezTo>
                  <a:cubicBezTo>
                    <a:pt x="307063" y="143979"/>
                    <a:pt x="302720" y="144748"/>
                    <a:pt x="307672" y="148090"/>
                  </a:cubicBezTo>
                  <a:cubicBezTo>
                    <a:pt x="314896" y="152288"/>
                    <a:pt x="323665" y="154337"/>
                    <a:pt x="332472" y="153906"/>
                  </a:cubicBezTo>
                  <a:cubicBezTo>
                    <a:pt x="347085" y="153304"/>
                    <a:pt x="342945" y="139233"/>
                    <a:pt x="355284" y="137194"/>
                  </a:cubicBezTo>
                  <a:cubicBezTo>
                    <a:pt x="367623" y="135155"/>
                    <a:pt x="380409" y="128370"/>
                    <a:pt x="378623" y="118243"/>
                  </a:cubicBezTo>
                  <a:cubicBezTo>
                    <a:pt x="376958" y="108751"/>
                    <a:pt x="400948" y="114199"/>
                    <a:pt x="410201" y="115135"/>
                  </a:cubicBezTo>
                  <a:cubicBezTo>
                    <a:pt x="432647" y="117341"/>
                    <a:pt x="428224" y="90969"/>
                    <a:pt x="429644" y="79973"/>
                  </a:cubicBezTo>
                  <a:cubicBezTo>
                    <a:pt x="430131" y="76196"/>
                    <a:pt x="436382" y="67840"/>
                    <a:pt x="427655" y="64197"/>
                  </a:cubicBezTo>
                  <a:cubicBezTo>
                    <a:pt x="416169" y="59417"/>
                    <a:pt x="403951" y="59518"/>
                    <a:pt x="392586" y="57145"/>
                  </a:cubicBezTo>
                  <a:close/>
                  <a:moveTo>
                    <a:pt x="129239" y="80040"/>
                  </a:moveTo>
                  <a:cubicBezTo>
                    <a:pt x="117062" y="85922"/>
                    <a:pt x="96767" y="63094"/>
                    <a:pt x="83941" y="75127"/>
                  </a:cubicBezTo>
                  <a:cubicBezTo>
                    <a:pt x="76838" y="81811"/>
                    <a:pt x="87189" y="101865"/>
                    <a:pt x="100665" y="92707"/>
                  </a:cubicBezTo>
                  <a:cubicBezTo>
                    <a:pt x="106793" y="88596"/>
                    <a:pt x="120959" y="93042"/>
                    <a:pt x="127819" y="99192"/>
                  </a:cubicBezTo>
                  <a:cubicBezTo>
                    <a:pt x="135327" y="106077"/>
                    <a:pt x="148925" y="100662"/>
                    <a:pt x="152700" y="98156"/>
                  </a:cubicBezTo>
                  <a:cubicBezTo>
                    <a:pt x="162929" y="91471"/>
                    <a:pt x="139265" y="75160"/>
                    <a:pt x="129239" y="80040"/>
                  </a:cubicBezTo>
                  <a:close/>
                  <a:moveTo>
                    <a:pt x="60561" y="70381"/>
                  </a:moveTo>
                  <a:cubicBezTo>
                    <a:pt x="64093" y="65267"/>
                    <a:pt x="44325" y="59250"/>
                    <a:pt x="46761" y="54103"/>
                  </a:cubicBezTo>
                  <a:cubicBezTo>
                    <a:pt x="50048" y="46349"/>
                    <a:pt x="9784" y="44577"/>
                    <a:pt x="5197" y="44845"/>
                  </a:cubicBezTo>
                  <a:cubicBezTo>
                    <a:pt x="-5275" y="45346"/>
                    <a:pt x="1138" y="58214"/>
                    <a:pt x="13558" y="55407"/>
                  </a:cubicBezTo>
                  <a:cubicBezTo>
                    <a:pt x="26994" y="52265"/>
                    <a:pt x="25735" y="58749"/>
                    <a:pt x="20256" y="65434"/>
                  </a:cubicBezTo>
                  <a:cubicBezTo>
                    <a:pt x="14776" y="72119"/>
                    <a:pt x="1991" y="73723"/>
                    <a:pt x="3614" y="84352"/>
                  </a:cubicBezTo>
                  <a:cubicBezTo>
                    <a:pt x="5359" y="95649"/>
                    <a:pt x="18348" y="94111"/>
                    <a:pt x="26994" y="91705"/>
                  </a:cubicBezTo>
                  <a:cubicBezTo>
                    <a:pt x="39171" y="88362"/>
                    <a:pt x="53255" y="85655"/>
                    <a:pt x="64824" y="81678"/>
                  </a:cubicBezTo>
                  <a:cubicBezTo>
                    <a:pt x="72738" y="78937"/>
                    <a:pt x="57923" y="74224"/>
                    <a:pt x="60561" y="70381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18623F34-8C43-44B1-A2D1-CED6EB6E2193}"/>
                </a:ext>
              </a:extLst>
            </p:cNvPr>
            <p:cNvSpPr/>
            <p:nvPr/>
          </p:nvSpPr>
          <p:spPr>
            <a:xfrm>
              <a:off x="8039524" y="4707455"/>
              <a:ext cx="1837251" cy="604801"/>
            </a:xfrm>
            <a:custGeom>
              <a:avLst/>
              <a:gdLst>
                <a:gd name="connsiteX0" fmla="*/ 1884214 w 1885653"/>
                <a:gd name="connsiteY0" fmla="*/ 558738 h 828110"/>
                <a:gd name="connsiteX1" fmla="*/ 1853407 w 1885653"/>
                <a:gd name="connsiteY1" fmla="*/ 541491 h 828110"/>
                <a:gd name="connsiteX2" fmla="*/ 1825928 w 1885653"/>
                <a:gd name="connsiteY2" fmla="*/ 536912 h 828110"/>
                <a:gd name="connsiteX3" fmla="*/ 1796541 w 1885653"/>
                <a:gd name="connsiteY3" fmla="*/ 524412 h 828110"/>
                <a:gd name="connsiteX4" fmla="*/ 1780994 w 1885653"/>
                <a:gd name="connsiteY4" fmla="*/ 492693 h 828110"/>
                <a:gd name="connsiteX5" fmla="*/ 1742597 w 1885653"/>
                <a:gd name="connsiteY5" fmla="*/ 457063 h 828110"/>
                <a:gd name="connsiteX6" fmla="*/ 1704889 w 1885653"/>
                <a:gd name="connsiteY6" fmla="*/ 430324 h 828110"/>
                <a:gd name="connsiteX7" fmla="*/ 1709435 w 1885653"/>
                <a:gd name="connsiteY7" fmla="*/ 419194 h 828110"/>
                <a:gd name="connsiteX8" fmla="*/ 1705376 w 1885653"/>
                <a:gd name="connsiteY8" fmla="*/ 399140 h 828110"/>
                <a:gd name="connsiteX9" fmla="*/ 1700667 w 1885653"/>
                <a:gd name="connsiteY9" fmla="*/ 387241 h 828110"/>
                <a:gd name="connsiteX10" fmla="*/ 1698922 w 1885653"/>
                <a:gd name="connsiteY10" fmla="*/ 365315 h 828110"/>
                <a:gd name="connsiteX11" fmla="*/ 1692671 w 1885653"/>
                <a:gd name="connsiteY11" fmla="*/ 355021 h 828110"/>
                <a:gd name="connsiteX12" fmla="*/ 1687354 w 1885653"/>
                <a:gd name="connsiteY12" fmla="*/ 340248 h 828110"/>
                <a:gd name="connsiteX13" fmla="*/ 1581212 w 1885653"/>
                <a:gd name="connsiteY13" fmla="*/ 281690 h 828110"/>
                <a:gd name="connsiteX14" fmla="*/ 1541393 w 1885653"/>
                <a:gd name="connsiteY14" fmla="*/ 268320 h 828110"/>
                <a:gd name="connsiteX15" fmla="*/ 1517932 w 1885653"/>
                <a:gd name="connsiteY15" fmla="*/ 273467 h 828110"/>
                <a:gd name="connsiteX16" fmla="*/ 1528851 w 1885653"/>
                <a:gd name="connsiteY16" fmla="*/ 282826 h 828110"/>
                <a:gd name="connsiteX17" fmla="*/ 1502751 w 1885653"/>
                <a:gd name="connsiteY17" fmla="*/ 294691 h 828110"/>
                <a:gd name="connsiteX18" fmla="*/ 1462446 w 1885653"/>
                <a:gd name="connsiteY18" fmla="*/ 307760 h 828110"/>
                <a:gd name="connsiteX19" fmla="*/ 1440933 w 1885653"/>
                <a:gd name="connsiteY19" fmla="*/ 312305 h 828110"/>
                <a:gd name="connsiteX20" fmla="*/ 1411871 w 1885653"/>
                <a:gd name="connsiteY20" fmla="*/ 308963 h 828110"/>
                <a:gd name="connsiteX21" fmla="*/ 1375341 w 1885653"/>
                <a:gd name="connsiteY21" fmla="*/ 287305 h 828110"/>
                <a:gd name="connsiteX22" fmla="*/ 1340839 w 1885653"/>
                <a:gd name="connsiteY22" fmla="*/ 300674 h 828110"/>
                <a:gd name="connsiteX23" fmla="*/ 1332721 w 1885653"/>
                <a:gd name="connsiteY23" fmla="*/ 306891 h 828110"/>
                <a:gd name="connsiteX24" fmla="*/ 1319733 w 1885653"/>
                <a:gd name="connsiteY24" fmla="*/ 311704 h 828110"/>
                <a:gd name="connsiteX25" fmla="*/ 1344655 w 1885653"/>
                <a:gd name="connsiteY25" fmla="*/ 326377 h 828110"/>
                <a:gd name="connsiteX26" fmla="*/ 1374772 w 1885653"/>
                <a:gd name="connsiteY26" fmla="*/ 342587 h 828110"/>
                <a:gd name="connsiteX27" fmla="*/ 1401318 w 1885653"/>
                <a:gd name="connsiteY27" fmla="*/ 344626 h 828110"/>
                <a:gd name="connsiteX28" fmla="*/ 1425672 w 1885653"/>
                <a:gd name="connsiteY28" fmla="*/ 370563 h 828110"/>
                <a:gd name="connsiteX29" fmla="*/ 1436307 w 1885653"/>
                <a:gd name="connsiteY29" fmla="*/ 388645 h 828110"/>
                <a:gd name="connsiteX30" fmla="*/ 1404443 w 1885653"/>
                <a:gd name="connsiteY30" fmla="*/ 378050 h 828110"/>
                <a:gd name="connsiteX31" fmla="*/ 1363650 w 1885653"/>
                <a:gd name="connsiteY31" fmla="*/ 366519 h 828110"/>
                <a:gd name="connsiteX32" fmla="*/ 1310884 w 1885653"/>
                <a:gd name="connsiteY32" fmla="*/ 362374 h 828110"/>
                <a:gd name="connsiteX33" fmla="*/ 1274800 w 1885653"/>
                <a:gd name="connsiteY33" fmla="*/ 357695 h 828110"/>
                <a:gd name="connsiteX34" fmla="*/ 1230151 w 1885653"/>
                <a:gd name="connsiteY34" fmla="*/ 351010 h 828110"/>
                <a:gd name="connsiteX35" fmla="*/ 1190576 w 1885653"/>
                <a:gd name="connsiteY35" fmla="*/ 335435 h 828110"/>
                <a:gd name="connsiteX36" fmla="*/ 1155953 w 1885653"/>
                <a:gd name="connsiteY36" fmla="*/ 330622 h 828110"/>
                <a:gd name="connsiteX37" fmla="*/ 1157130 w 1885653"/>
                <a:gd name="connsiteY37" fmla="*/ 349439 h 828110"/>
                <a:gd name="connsiteX38" fmla="*/ 1127052 w 1885653"/>
                <a:gd name="connsiteY38" fmla="*/ 350275 h 828110"/>
                <a:gd name="connsiteX39" fmla="*/ 1083094 w 1885653"/>
                <a:gd name="connsiteY39" fmla="*/ 351010 h 828110"/>
                <a:gd name="connsiteX40" fmla="*/ 1041490 w 1885653"/>
                <a:gd name="connsiteY40" fmla="*/ 338309 h 828110"/>
                <a:gd name="connsiteX41" fmla="*/ 943871 w 1885653"/>
                <a:gd name="connsiteY41" fmla="*/ 318790 h 828110"/>
                <a:gd name="connsiteX42" fmla="*/ 917691 w 1885653"/>
                <a:gd name="connsiteY42" fmla="*/ 310467 h 828110"/>
                <a:gd name="connsiteX43" fmla="*/ 880430 w 1885653"/>
                <a:gd name="connsiteY43" fmla="*/ 291215 h 828110"/>
                <a:gd name="connsiteX44" fmla="*/ 850718 w 1885653"/>
                <a:gd name="connsiteY44" fmla="*/ 277111 h 828110"/>
                <a:gd name="connsiteX45" fmla="*/ 815080 w 1885653"/>
                <a:gd name="connsiteY45" fmla="*/ 256789 h 828110"/>
                <a:gd name="connsiteX46" fmla="*/ 742018 w 1885653"/>
                <a:gd name="connsiteY46" fmla="*/ 231487 h 828110"/>
                <a:gd name="connsiteX47" fmla="*/ 682270 w 1885653"/>
                <a:gd name="connsiteY47" fmla="*/ 207523 h 828110"/>
                <a:gd name="connsiteX48" fmla="*/ 672367 w 1885653"/>
                <a:gd name="connsiteY48" fmla="*/ 183290 h 828110"/>
                <a:gd name="connsiteX49" fmla="*/ 646673 w 1885653"/>
                <a:gd name="connsiteY49" fmla="*/ 160696 h 828110"/>
                <a:gd name="connsiteX50" fmla="*/ 588752 w 1885653"/>
                <a:gd name="connsiteY50" fmla="*/ 129378 h 828110"/>
                <a:gd name="connsiteX51" fmla="*/ 554981 w 1885653"/>
                <a:gd name="connsiteY51" fmla="*/ 112666 h 828110"/>
                <a:gd name="connsiteX52" fmla="*/ 571582 w 1885653"/>
                <a:gd name="connsiteY52" fmla="*/ 92612 h 828110"/>
                <a:gd name="connsiteX53" fmla="*/ 563464 w 1885653"/>
                <a:gd name="connsiteY53" fmla="*/ 66943 h 828110"/>
                <a:gd name="connsiteX54" fmla="*/ 534362 w 1885653"/>
                <a:gd name="connsiteY54" fmla="*/ 45184 h 828110"/>
                <a:gd name="connsiteX55" fmla="*/ 503960 w 1885653"/>
                <a:gd name="connsiteY55" fmla="*/ 22155 h 828110"/>
                <a:gd name="connsiteX56" fmla="*/ 499901 w 1885653"/>
                <a:gd name="connsiteY56" fmla="*/ 8786 h 828110"/>
                <a:gd name="connsiteX57" fmla="*/ 481107 w 1885653"/>
                <a:gd name="connsiteY57" fmla="*/ -339 h 828110"/>
                <a:gd name="connsiteX58" fmla="*/ 465967 w 1885653"/>
                <a:gd name="connsiteY58" fmla="*/ 7081 h 828110"/>
                <a:gd name="connsiteX59" fmla="*/ 443684 w 1885653"/>
                <a:gd name="connsiteY59" fmla="*/ 11293 h 828110"/>
                <a:gd name="connsiteX60" fmla="*/ 423389 w 1885653"/>
                <a:gd name="connsiteY60" fmla="*/ 19013 h 828110"/>
                <a:gd name="connsiteX61" fmla="*/ 422699 w 1885653"/>
                <a:gd name="connsiteY61" fmla="*/ 33152 h 828110"/>
                <a:gd name="connsiteX62" fmla="*/ 370541 w 1885653"/>
                <a:gd name="connsiteY62" fmla="*/ 24261 h 828110"/>
                <a:gd name="connsiteX63" fmla="*/ 345132 w 1885653"/>
                <a:gd name="connsiteY63" fmla="*/ 14234 h 828110"/>
                <a:gd name="connsiteX64" fmla="*/ 331007 w 1885653"/>
                <a:gd name="connsiteY64" fmla="*/ 24528 h 828110"/>
                <a:gd name="connsiteX65" fmla="*/ 310346 w 1885653"/>
                <a:gd name="connsiteY65" fmla="*/ 42744 h 828110"/>
                <a:gd name="connsiteX66" fmla="*/ 298778 w 1885653"/>
                <a:gd name="connsiteY66" fmla="*/ 47892 h 828110"/>
                <a:gd name="connsiteX67" fmla="*/ 269837 w 1885653"/>
                <a:gd name="connsiteY67" fmla="*/ 39034 h 828110"/>
                <a:gd name="connsiteX68" fmla="*/ 238178 w 1885653"/>
                <a:gd name="connsiteY68" fmla="*/ 41775 h 828110"/>
                <a:gd name="connsiteX69" fmla="*/ 237244 w 1885653"/>
                <a:gd name="connsiteY69" fmla="*/ 57116 h 828110"/>
                <a:gd name="connsiteX70" fmla="*/ 243739 w 1885653"/>
                <a:gd name="connsiteY70" fmla="*/ 74229 h 828110"/>
                <a:gd name="connsiteX71" fmla="*/ 228761 w 1885653"/>
                <a:gd name="connsiteY71" fmla="*/ 80246 h 828110"/>
                <a:gd name="connsiteX72" fmla="*/ 215935 w 1885653"/>
                <a:gd name="connsiteY72" fmla="*/ 93916 h 828110"/>
                <a:gd name="connsiteX73" fmla="*/ 155618 w 1885653"/>
                <a:gd name="connsiteY73" fmla="*/ 97559 h 828110"/>
                <a:gd name="connsiteX74" fmla="*/ 102405 w 1885653"/>
                <a:gd name="connsiteY74" fmla="*/ 94685 h 828110"/>
                <a:gd name="connsiteX75" fmla="*/ 81663 w 1885653"/>
                <a:gd name="connsiteY75" fmla="*/ 96857 h 828110"/>
                <a:gd name="connsiteX76" fmla="*/ 57310 w 1885653"/>
                <a:gd name="connsiteY76" fmla="*/ 88100 h 828110"/>
                <a:gd name="connsiteX77" fmla="*/ 31698 w 1885653"/>
                <a:gd name="connsiteY77" fmla="*/ 89470 h 828110"/>
                <a:gd name="connsiteX78" fmla="*/ 7059 w 1885653"/>
                <a:gd name="connsiteY78" fmla="*/ 95253 h 828110"/>
                <a:gd name="connsiteX79" fmla="*/ 1945 w 1885653"/>
                <a:gd name="connsiteY79" fmla="*/ 113703 h 828110"/>
                <a:gd name="connsiteX80" fmla="*/ 28735 w 1885653"/>
                <a:gd name="connsiteY80" fmla="*/ 130982 h 828110"/>
                <a:gd name="connsiteX81" fmla="*/ 26380 w 1885653"/>
                <a:gd name="connsiteY81" fmla="*/ 154379 h 828110"/>
                <a:gd name="connsiteX82" fmla="*/ 49192 w 1885653"/>
                <a:gd name="connsiteY82" fmla="*/ 171458 h 828110"/>
                <a:gd name="connsiteX83" fmla="*/ 55848 w 1885653"/>
                <a:gd name="connsiteY83" fmla="*/ 185530 h 828110"/>
                <a:gd name="connsiteX84" fmla="*/ 84261 w 1885653"/>
                <a:gd name="connsiteY84" fmla="*/ 200136 h 828110"/>
                <a:gd name="connsiteX85" fmla="*/ 102161 w 1885653"/>
                <a:gd name="connsiteY85" fmla="*/ 207155 h 828110"/>
                <a:gd name="connsiteX86" fmla="*/ 169540 w 1885653"/>
                <a:gd name="connsiteY86" fmla="*/ 229114 h 828110"/>
                <a:gd name="connsiteX87" fmla="*/ 135770 w 1885653"/>
                <a:gd name="connsiteY87" fmla="*/ 241147 h 828110"/>
                <a:gd name="connsiteX88" fmla="*/ 116692 w 1885653"/>
                <a:gd name="connsiteY88" fmla="*/ 241782 h 828110"/>
                <a:gd name="connsiteX89" fmla="*/ 123877 w 1885653"/>
                <a:gd name="connsiteY89" fmla="*/ 257992 h 828110"/>
                <a:gd name="connsiteX90" fmla="*/ 120711 w 1885653"/>
                <a:gd name="connsiteY90" fmla="*/ 268019 h 828110"/>
                <a:gd name="connsiteX91" fmla="*/ 102770 w 1885653"/>
                <a:gd name="connsiteY91" fmla="*/ 261702 h 828110"/>
                <a:gd name="connsiteX92" fmla="*/ 100091 w 1885653"/>
                <a:gd name="connsiteY92" fmla="*/ 282926 h 828110"/>
                <a:gd name="connsiteX93" fmla="*/ 148149 w 1885653"/>
                <a:gd name="connsiteY93" fmla="*/ 324405 h 828110"/>
                <a:gd name="connsiteX94" fmla="*/ 174411 w 1885653"/>
                <a:gd name="connsiteY94" fmla="*/ 325875 h 828110"/>
                <a:gd name="connsiteX95" fmla="*/ 198765 w 1885653"/>
                <a:gd name="connsiteY95" fmla="*/ 341752 h 828110"/>
                <a:gd name="connsiteX96" fmla="*/ 249908 w 1885653"/>
                <a:gd name="connsiteY96" fmla="*/ 380824 h 828110"/>
                <a:gd name="connsiteX97" fmla="*/ 315096 w 1885653"/>
                <a:gd name="connsiteY97" fmla="*/ 411707 h 828110"/>
                <a:gd name="connsiteX98" fmla="*/ 336405 w 1885653"/>
                <a:gd name="connsiteY98" fmla="*/ 418793 h 828110"/>
                <a:gd name="connsiteX99" fmla="*/ 350976 w 1885653"/>
                <a:gd name="connsiteY99" fmla="*/ 417189 h 828110"/>
                <a:gd name="connsiteX100" fmla="*/ 352072 w 1885653"/>
                <a:gd name="connsiteY100" fmla="*/ 435873 h 828110"/>
                <a:gd name="connsiteX101" fmla="*/ 382109 w 1885653"/>
                <a:gd name="connsiteY101" fmla="*/ 426982 h 828110"/>
                <a:gd name="connsiteX102" fmla="*/ 413769 w 1885653"/>
                <a:gd name="connsiteY102" fmla="*/ 438078 h 828110"/>
                <a:gd name="connsiteX103" fmla="*/ 441005 w 1885653"/>
                <a:gd name="connsiteY103" fmla="*/ 450746 h 828110"/>
                <a:gd name="connsiteX104" fmla="*/ 478104 w 1885653"/>
                <a:gd name="connsiteY104" fmla="*/ 445231 h 828110"/>
                <a:gd name="connsiteX105" fmla="*/ 491458 w 1885653"/>
                <a:gd name="connsiteY105" fmla="*/ 446702 h 828110"/>
                <a:gd name="connsiteX106" fmla="*/ 512443 w 1885653"/>
                <a:gd name="connsiteY106" fmla="*/ 444763 h 828110"/>
                <a:gd name="connsiteX107" fmla="*/ 547269 w 1885653"/>
                <a:gd name="connsiteY107" fmla="*/ 454790 h 828110"/>
                <a:gd name="connsiteX108" fmla="*/ 567928 w 1885653"/>
                <a:gd name="connsiteY108" fmla="*/ 468728 h 828110"/>
                <a:gd name="connsiteX109" fmla="*/ 575844 w 1885653"/>
                <a:gd name="connsiteY109" fmla="*/ 478588 h 828110"/>
                <a:gd name="connsiteX110" fmla="*/ 594556 w 1885653"/>
                <a:gd name="connsiteY110" fmla="*/ 483000 h 828110"/>
                <a:gd name="connsiteX111" fmla="*/ 605231 w 1885653"/>
                <a:gd name="connsiteY111" fmla="*/ 501349 h 828110"/>
                <a:gd name="connsiteX112" fmla="*/ 616677 w 1885653"/>
                <a:gd name="connsiteY112" fmla="*/ 515487 h 828110"/>
                <a:gd name="connsiteX113" fmla="*/ 598736 w 1885653"/>
                <a:gd name="connsiteY113" fmla="*/ 536511 h 828110"/>
                <a:gd name="connsiteX114" fmla="*/ 565372 w 1885653"/>
                <a:gd name="connsiteY114" fmla="*/ 549546 h 828110"/>
                <a:gd name="connsiteX115" fmla="*/ 591471 w 1885653"/>
                <a:gd name="connsiteY115" fmla="*/ 570570 h 828110"/>
                <a:gd name="connsiteX116" fmla="*/ 590293 w 1885653"/>
                <a:gd name="connsiteY116" fmla="*/ 585543 h 828110"/>
                <a:gd name="connsiteX117" fmla="*/ 602024 w 1885653"/>
                <a:gd name="connsiteY117" fmla="*/ 592696 h 828110"/>
                <a:gd name="connsiteX118" fmla="*/ 594191 w 1885653"/>
                <a:gd name="connsiteY118" fmla="*/ 603826 h 828110"/>
                <a:gd name="connsiteX119" fmla="*/ 609655 w 1885653"/>
                <a:gd name="connsiteY119" fmla="*/ 617998 h 828110"/>
                <a:gd name="connsiteX120" fmla="*/ 631615 w 1885653"/>
                <a:gd name="connsiteY120" fmla="*/ 629529 h 828110"/>
                <a:gd name="connsiteX121" fmla="*/ 644766 w 1885653"/>
                <a:gd name="connsiteY121" fmla="*/ 641060 h 828110"/>
                <a:gd name="connsiteX122" fmla="*/ 656455 w 1885653"/>
                <a:gd name="connsiteY122" fmla="*/ 633406 h 828110"/>
                <a:gd name="connsiteX123" fmla="*/ 664086 w 1885653"/>
                <a:gd name="connsiteY123" fmla="*/ 624950 h 828110"/>
                <a:gd name="connsiteX124" fmla="*/ 693919 w 1885653"/>
                <a:gd name="connsiteY124" fmla="*/ 629596 h 828110"/>
                <a:gd name="connsiteX125" fmla="*/ 719572 w 1885653"/>
                <a:gd name="connsiteY125" fmla="*/ 637818 h 828110"/>
                <a:gd name="connsiteX126" fmla="*/ 751192 w 1885653"/>
                <a:gd name="connsiteY126" fmla="*/ 646341 h 828110"/>
                <a:gd name="connsiteX127" fmla="*/ 797464 w 1885653"/>
                <a:gd name="connsiteY127" fmla="*/ 660947 h 828110"/>
                <a:gd name="connsiteX128" fmla="*/ 800427 w 1885653"/>
                <a:gd name="connsiteY128" fmla="*/ 672979 h 828110"/>
                <a:gd name="connsiteX129" fmla="*/ 818855 w 1885653"/>
                <a:gd name="connsiteY129" fmla="*/ 692733 h 828110"/>
                <a:gd name="connsiteX130" fmla="*/ 841098 w 1885653"/>
                <a:gd name="connsiteY130" fmla="*/ 703395 h 828110"/>
                <a:gd name="connsiteX131" fmla="*/ 853275 w 1885653"/>
                <a:gd name="connsiteY131" fmla="*/ 702659 h 828110"/>
                <a:gd name="connsiteX132" fmla="*/ 861393 w 1885653"/>
                <a:gd name="connsiteY132" fmla="*/ 711751 h 828110"/>
                <a:gd name="connsiteX133" fmla="*/ 883920 w 1885653"/>
                <a:gd name="connsiteY133" fmla="*/ 718435 h 828110"/>
                <a:gd name="connsiteX134" fmla="*/ 875802 w 1885653"/>
                <a:gd name="connsiteY134" fmla="*/ 735147 h 828110"/>
                <a:gd name="connsiteX135" fmla="*/ 889441 w 1885653"/>
                <a:gd name="connsiteY135" fmla="*/ 735481 h 828110"/>
                <a:gd name="connsiteX136" fmla="*/ 918381 w 1885653"/>
                <a:gd name="connsiteY136" fmla="*/ 734178 h 828110"/>
                <a:gd name="connsiteX137" fmla="*/ 974395 w 1885653"/>
                <a:gd name="connsiteY137" fmla="*/ 740863 h 828110"/>
                <a:gd name="connsiteX138" fmla="*/ 1001265 w 1885653"/>
                <a:gd name="connsiteY138" fmla="*/ 739760 h 828110"/>
                <a:gd name="connsiteX139" fmla="*/ 1026674 w 1885653"/>
                <a:gd name="connsiteY139" fmla="*/ 750689 h 828110"/>
                <a:gd name="connsiteX140" fmla="*/ 1064626 w 1885653"/>
                <a:gd name="connsiteY140" fmla="*/ 760716 h 828110"/>
                <a:gd name="connsiteX141" fmla="*/ 1098234 w 1885653"/>
                <a:gd name="connsiteY141" fmla="*/ 763791 h 828110"/>
                <a:gd name="connsiteX142" fmla="*/ 1137850 w 1885653"/>
                <a:gd name="connsiteY142" fmla="*/ 762053 h 828110"/>
                <a:gd name="connsiteX143" fmla="*/ 1160864 w 1885653"/>
                <a:gd name="connsiteY143" fmla="*/ 762053 h 828110"/>
                <a:gd name="connsiteX144" fmla="*/ 1184203 w 1885653"/>
                <a:gd name="connsiteY144" fmla="*/ 758109 h 828110"/>
                <a:gd name="connsiteX145" fmla="*/ 1196989 w 1885653"/>
                <a:gd name="connsiteY145" fmla="*/ 758811 h 828110"/>
                <a:gd name="connsiteX146" fmla="*/ 1204335 w 1885653"/>
                <a:gd name="connsiteY146" fmla="*/ 748784 h 828110"/>
                <a:gd name="connsiteX147" fmla="*/ 1210871 w 1885653"/>
                <a:gd name="connsiteY147" fmla="*/ 745442 h 828110"/>
                <a:gd name="connsiteX148" fmla="*/ 1213956 w 1885653"/>
                <a:gd name="connsiteY148" fmla="*/ 739225 h 828110"/>
                <a:gd name="connsiteX149" fmla="*/ 1246753 w 1885653"/>
                <a:gd name="connsiteY149" fmla="*/ 739559 h 828110"/>
                <a:gd name="connsiteX150" fmla="*/ 1258483 w 1885653"/>
                <a:gd name="connsiteY150" fmla="*/ 734546 h 828110"/>
                <a:gd name="connsiteX151" fmla="*/ 1278452 w 1885653"/>
                <a:gd name="connsiteY151" fmla="*/ 735147 h 828110"/>
                <a:gd name="connsiteX152" fmla="*/ 1287423 w 1885653"/>
                <a:gd name="connsiteY152" fmla="*/ 725488 h 828110"/>
                <a:gd name="connsiteX153" fmla="*/ 1296312 w 1885653"/>
                <a:gd name="connsiteY153" fmla="*/ 722948 h 828110"/>
                <a:gd name="connsiteX154" fmla="*/ 1297083 w 1885653"/>
                <a:gd name="connsiteY154" fmla="*/ 717533 h 828110"/>
                <a:gd name="connsiteX155" fmla="*/ 1317053 w 1885653"/>
                <a:gd name="connsiteY155" fmla="*/ 717533 h 828110"/>
                <a:gd name="connsiteX156" fmla="*/ 1302806 w 1885653"/>
                <a:gd name="connsiteY156" fmla="*/ 710548 h 828110"/>
                <a:gd name="connsiteX157" fmla="*/ 1291563 w 1885653"/>
                <a:gd name="connsiteY157" fmla="*/ 700888 h 828110"/>
                <a:gd name="connsiteX158" fmla="*/ 1278169 w 1885653"/>
                <a:gd name="connsiteY158" fmla="*/ 696443 h 828110"/>
                <a:gd name="connsiteX159" fmla="*/ 1292254 w 1885653"/>
                <a:gd name="connsiteY159" fmla="*/ 695306 h 828110"/>
                <a:gd name="connsiteX160" fmla="*/ 1310031 w 1885653"/>
                <a:gd name="connsiteY160" fmla="*/ 686951 h 828110"/>
                <a:gd name="connsiteX161" fmla="*/ 1294688 w 1885653"/>
                <a:gd name="connsiteY161" fmla="*/ 674082 h 828110"/>
                <a:gd name="connsiteX162" fmla="*/ 1281619 w 1885653"/>
                <a:gd name="connsiteY162" fmla="*/ 660713 h 828110"/>
                <a:gd name="connsiteX163" fmla="*/ 1320219 w 1885653"/>
                <a:gd name="connsiteY163" fmla="*/ 671342 h 828110"/>
                <a:gd name="connsiteX164" fmla="*/ 1308042 w 1885653"/>
                <a:gd name="connsiteY164" fmla="*/ 650352 h 828110"/>
                <a:gd name="connsiteX165" fmla="*/ 1303131 w 1885653"/>
                <a:gd name="connsiteY165" fmla="*/ 626955 h 828110"/>
                <a:gd name="connsiteX166" fmla="*/ 1288681 w 1885653"/>
                <a:gd name="connsiteY166" fmla="*/ 605664 h 828110"/>
                <a:gd name="connsiteX167" fmla="*/ 1291928 w 1885653"/>
                <a:gd name="connsiteY167" fmla="*/ 591025 h 828110"/>
                <a:gd name="connsiteX168" fmla="*/ 1311939 w 1885653"/>
                <a:gd name="connsiteY168" fmla="*/ 591392 h 828110"/>
                <a:gd name="connsiteX169" fmla="*/ 1320707 w 1885653"/>
                <a:gd name="connsiteY169" fmla="*/ 587749 h 828110"/>
                <a:gd name="connsiteX170" fmla="*/ 1332071 w 1885653"/>
                <a:gd name="connsiteY170" fmla="*/ 591092 h 828110"/>
                <a:gd name="connsiteX171" fmla="*/ 1353301 w 1885653"/>
                <a:gd name="connsiteY171" fmla="*/ 589354 h 828110"/>
                <a:gd name="connsiteX172" fmla="*/ 1401683 w 1885653"/>
                <a:gd name="connsiteY172" fmla="*/ 594568 h 828110"/>
                <a:gd name="connsiteX173" fmla="*/ 1376030 w 1885653"/>
                <a:gd name="connsiteY173" fmla="*/ 578357 h 828110"/>
                <a:gd name="connsiteX174" fmla="*/ 1350459 w 1885653"/>
                <a:gd name="connsiteY174" fmla="*/ 561813 h 828110"/>
                <a:gd name="connsiteX175" fmla="*/ 1303902 w 1885653"/>
                <a:gd name="connsiteY175" fmla="*/ 545870 h 828110"/>
                <a:gd name="connsiteX176" fmla="*/ 1272081 w 1885653"/>
                <a:gd name="connsiteY176" fmla="*/ 514585 h 828110"/>
                <a:gd name="connsiteX177" fmla="*/ 1314902 w 1885653"/>
                <a:gd name="connsiteY177" fmla="*/ 517627 h 828110"/>
                <a:gd name="connsiteX178" fmla="*/ 1343843 w 1885653"/>
                <a:gd name="connsiteY178" fmla="*/ 513482 h 828110"/>
                <a:gd name="connsiteX179" fmla="*/ 1388492 w 1885653"/>
                <a:gd name="connsiteY179" fmla="*/ 515955 h 828110"/>
                <a:gd name="connsiteX180" fmla="*/ 1412846 w 1885653"/>
                <a:gd name="connsiteY180" fmla="*/ 537647 h 828110"/>
                <a:gd name="connsiteX181" fmla="*/ 1390237 w 1885653"/>
                <a:gd name="connsiteY181" fmla="*/ 546271 h 828110"/>
                <a:gd name="connsiteX182" fmla="*/ 1394296 w 1885653"/>
                <a:gd name="connsiteY182" fmla="*/ 557267 h 828110"/>
                <a:gd name="connsiteX183" fmla="*/ 1449701 w 1885653"/>
                <a:gd name="connsiteY183" fmla="*/ 562548 h 828110"/>
                <a:gd name="connsiteX184" fmla="*/ 1474055 w 1885653"/>
                <a:gd name="connsiteY184" fmla="*/ 567294 h 828110"/>
                <a:gd name="connsiteX185" fmla="*/ 1493619 w 1885653"/>
                <a:gd name="connsiteY185" fmla="*/ 567294 h 828110"/>
                <a:gd name="connsiteX186" fmla="*/ 1562621 w 1885653"/>
                <a:gd name="connsiteY186" fmla="*/ 574179 h 828110"/>
                <a:gd name="connsiteX187" fmla="*/ 1589736 w 1885653"/>
                <a:gd name="connsiteY187" fmla="*/ 578324 h 828110"/>
                <a:gd name="connsiteX188" fmla="*/ 1619488 w 1885653"/>
                <a:gd name="connsiteY188" fmla="*/ 593164 h 828110"/>
                <a:gd name="connsiteX189" fmla="*/ 1634628 w 1885653"/>
                <a:gd name="connsiteY189" fmla="*/ 589654 h 828110"/>
                <a:gd name="connsiteX190" fmla="*/ 1663974 w 1885653"/>
                <a:gd name="connsiteY190" fmla="*/ 592128 h 828110"/>
                <a:gd name="connsiteX191" fmla="*/ 1689221 w 1885653"/>
                <a:gd name="connsiteY191" fmla="*/ 590289 h 828110"/>
                <a:gd name="connsiteX192" fmla="*/ 1727010 w 1885653"/>
                <a:gd name="connsiteY192" fmla="*/ 599414 h 828110"/>
                <a:gd name="connsiteX193" fmla="*/ 1736954 w 1885653"/>
                <a:gd name="connsiteY193" fmla="*/ 577020 h 828110"/>
                <a:gd name="connsiteX194" fmla="*/ 1767113 w 1885653"/>
                <a:gd name="connsiteY194" fmla="*/ 572775 h 828110"/>
                <a:gd name="connsiteX195" fmla="*/ 1798894 w 1885653"/>
                <a:gd name="connsiteY195" fmla="*/ 589487 h 828110"/>
                <a:gd name="connsiteX196" fmla="*/ 1831123 w 1885653"/>
                <a:gd name="connsiteY196" fmla="*/ 583337 h 828110"/>
                <a:gd name="connsiteX197" fmla="*/ 1866233 w 1885653"/>
                <a:gd name="connsiteY197" fmla="*/ 571773 h 828110"/>
                <a:gd name="connsiteX198" fmla="*/ 1880642 w 1885653"/>
                <a:gd name="connsiteY198" fmla="*/ 569868 h 828110"/>
                <a:gd name="connsiteX199" fmla="*/ 1883199 w 1885653"/>
                <a:gd name="connsiteY199" fmla="*/ 558203 h 828110"/>
                <a:gd name="connsiteX200" fmla="*/ 1197476 w 1885653"/>
                <a:gd name="connsiteY200" fmla="*/ 795577 h 828110"/>
                <a:gd name="connsiteX201" fmla="*/ 1196218 w 1885653"/>
                <a:gd name="connsiteY201" fmla="*/ 827764 h 828110"/>
                <a:gd name="connsiteX202" fmla="*/ 1236807 w 1885653"/>
                <a:gd name="connsiteY202" fmla="*/ 812690 h 828110"/>
                <a:gd name="connsiteX203" fmla="*/ 1258158 w 1885653"/>
                <a:gd name="connsiteY203" fmla="*/ 793037 h 828110"/>
                <a:gd name="connsiteX204" fmla="*/ 1197517 w 1885653"/>
                <a:gd name="connsiteY204" fmla="*/ 795577 h 828110"/>
                <a:gd name="connsiteX205" fmla="*/ 869795 w 1885653"/>
                <a:gd name="connsiteY205" fmla="*/ 744004 h 828110"/>
                <a:gd name="connsiteX206" fmla="*/ 862489 w 1885653"/>
                <a:gd name="connsiteY206" fmla="*/ 772582 h 828110"/>
                <a:gd name="connsiteX207" fmla="*/ 894960 w 1885653"/>
                <a:gd name="connsiteY207" fmla="*/ 763591 h 828110"/>
                <a:gd name="connsiteX208" fmla="*/ 869795 w 1885653"/>
                <a:gd name="connsiteY208" fmla="*/ 744004 h 82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885653" h="828110">
                  <a:moveTo>
                    <a:pt x="1884214" y="558738"/>
                  </a:moveTo>
                  <a:cubicBezTo>
                    <a:pt x="1892332" y="549145"/>
                    <a:pt x="1862377" y="545101"/>
                    <a:pt x="1853407" y="541491"/>
                  </a:cubicBezTo>
                  <a:cubicBezTo>
                    <a:pt x="1839931" y="536010"/>
                    <a:pt x="1837739" y="537881"/>
                    <a:pt x="1825928" y="536912"/>
                  </a:cubicBezTo>
                  <a:cubicBezTo>
                    <a:pt x="1818621" y="536310"/>
                    <a:pt x="1803319" y="527754"/>
                    <a:pt x="1796541" y="524412"/>
                  </a:cubicBezTo>
                  <a:cubicBezTo>
                    <a:pt x="1777666" y="515220"/>
                    <a:pt x="1772673" y="501550"/>
                    <a:pt x="1780994" y="492693"/>
                  </a:cubicBezTo>
                  <a:cubicBezTo>
                    <a:pt x="1784282" y="489350"/>
                    <a:pt x="1750511" y="461141"/>
                    <a:pt x="1742597" y="457063"/>
                  </a:cubicBezTo>
                  <a:cubicBezTo>
                    <a:pt x="1734682" y="452985"/>
                    <a:pt x="1707243" y="435405"/>
                    <a:pt x="1704889" y="430324"/>
                  </a:cubicBezTo>
                  <a:cubicBezTo>
                    <a:pt x="1702534" y="425244"/>
                    <a:pt x="1710044" y="423639"/>
                    <a:pt x="1709435" y="419194"/>
                  </a:cubicBezTo>
                  <a:cubicBezTo>
                    <a:pt x="1708541" y="412509"/>
                    <a:pt x="1704685" y="405290"/>
                    <a:pt x="1705376" y="399140"/>
                  </a:cubicBezTo>
                  <a:cubicBezTo>
                    <a:pt x="1705863" y="395463"/>
                    <a:pt x="1702453" y="391218"/>
                    <a:pt x="1700667" y="387241"/>
                  </a:cubicBezTo>
                  <a:cubicBezTo>
                    <a:pt x="1697014" y="379153"/>
                    <a:pt x="1701885" y="373136"/>
                    <a:pt x="1698922" y="365315"/>
                  </a:cubicBezTo>
                  <a:cubicBezTo>
                    <a:pt x="1697826" y="362374"/>
                    <a:pt x="1691656" y="357528"/>
                    <a:pt x="1692671" y="355021"/>
                  </a:cubicBezTo>
                  <a:cubicBezTo>
                    <a:pt x="1694944" y="349339"/>
                    <a:pt x="1694822" y="347501"/>
                    <a:pt x="1687354" y="340248"/>
                  </a:cubicBezTo>
                  <a:cubicBezTo>
                    <a:pt x="1663447" y="316851"/>
                    <a:pt x="1620056" y="293889"/>
                    <a:pt x="1581212" y="281690"/>
                  </a:cubicBezTo>
                  <a:cubicBezTo>
                    <a:pt x="1567898" y="277512"/>
                    <a:pt x="1554991" y="270192"/>
                    <a:pt x="1541393" y="268320"/>
                  </a:cubicBezTo>
                  <a:cubicBezTo>
                    <a:pt x="1535711" y="267518"/>
                    <a:pt x="1514361" y="267685"/>
                    <a:pt x="1517932" y="273467"/>
                  </a:cubicBezTo>
                  <a:cubicBezTo>
                    <a:pt x="1520652" y="277946"/>
                    <a:pt x="1528120" y="276810"/>
                    <a:pt x="1528851" y="282826"/>
                  </a:cubicBezTo>
                  <a:cubicBezTo>
                    <a:pt x="1530637" y="296997"/>
                    <a:pt x="1518298" y="292184"/>
                    <a:pt x="1502751" y="294691"/>
                  </a:cubicBezTo>
                  <a:cubicBezTo>
                    <a:pt x="1488667" y="297542"/>
                    <a:pt x="1475110" y="301937"/>
                    <a:pt x="1462446" y="307760"/>
                  </a:cubicBezTo>
                  <a:cubicBezTo>
                    <a:pt x="1455424" y="310701"/>
                    <a:pt x="1455302" y="316884"/>
                    <a:pt x="1440933" y="312305"/>
                  </a:cubicBezTo>
                  <a:cubicBezTo>
                    <a:pt x="1431719" y="309364"/>
                    <a:pt x="1420638" y="309966"/>
                    <a:pt x="1411871" y="308963"/>
                  </a:cubicBezTo>
                  <a:cubicBezTo>
                    <a:pt x="1392997" y="306991"/>
                    <a:pt x="1386625" y="294959"/>
                    <a:pt x="1375341" y="287305"/>
                  </a:cubicBezTo>
                  <a:cubicBezTo>
                    <a:pt x="1363813" y="291760"/>
                    <a:pt x="1352326" y="296219"/>
                    <a:pt x="1340839" y="300674"/>
                  </a:cubicBezTo>
                  <a:cubicBezTo>
                    <a:pt x="1337470" y="302085"/>
                    <a:pt x="1334670" y="304237"/>
                    <a:pt x="1332721" y="306891"/>
                  </a:cubicBezTo>
                  <a:cubicBezTo>
                    <a:pt x="1329921" y="309932"/>
                    <a:pt x="1318961" y="307091"/>
                    <a:pt x="1319733" y="311704"/>
                  </a:cubicBezTo>
                  <a:cubicBezTo>
                    <a:pt x="1321356" y="321062"/>
                    <a:pt x="1333249" y="323135"/>
                    <a:pt x="1344655" y="326377"/>
                  </a:cubicBezTo>
                  <a:cubicBezTo>
                    <a:pt x="1358617" y="330388"/>
                    <a:pt x="1363367" y="337340"/>
                    <a:pt x="1374772" y="342587"/>
                  </a:cubicBezTo>
                  <a:cubicBezTo>
                    <a:pt x="1381551" y="345696"/>
                    <a:pt x="1389871" y="339044"/>
                    <a:pt x="1401318" y="344626"/>
                  </a:cubicBezTo>
                  <a:cubicBezTo>
                    <a:pt x="1411709" y="349706"/>
                    <a:pt x="1419705" y="363711"/>
                    <a:pt x="1425672" y="370563"/>
                  </a:cubicBezTo>
                  <a:cubicBezTo>
                    <a:pt x="1429244" y="374641"/>
                    <a:pt x="1440366" y="385236"/>
                    <a:pt x="1436307" y="388645"/>
                  </a:cubicBezTo>
                  <a:cubicBezTo>
                    <a:pt x="1430259" y="393725"/>
                    <a:pt x="1410735" y="381960"/>
                    <a:pt x="1404443" y="378050"/>
                  </a:cubicBezTo>
                  <a:cubicBezTo>
                    <a:pt x="1392673" y="370496"/>
                    <a:pt x="1376559" y="371666"/>
                    <a:pt x="1363650" y="366519"/>
                  </a:cubicBezTo>
                  <a:cubicBezTo>
                    <a:pt x="1344736" y="358931"/>
                    <a:pt x="1325131" y="357828"/>
                    <a:pt x="1310884" y="362374"/>
                  </a:cubicBezTo>
                  <a:cubicBezTo>
                    <a:pt x="1299154" y="366084"/>
                    <a:pt x="1289533" y="362574"/>
                    <a:pt x="1274800" y="357695"/>
                  </a:cubicBezTo>
                  <a:cubicBezTo>
                    <a:pt x="1258564" y="352280"/>
                    <a:pt x="1246102" y="353450"/>
                    <a:pt x="1230151" y="351010"/>
                  </a:cubicBezTo>
                  <a:cubicBezTo>
                    <a:pt x="1215498" y="348794"/>
                    <a:pt x="1201860" y="343420"/>
                    <a:pt x="1190576" y="335435"/>
                  </a:cubicBezTo>
                  <a:cubicBezTo>
                    <a:pt x="1180754" y="328148"/>
                    <a:pt x="1162163" y="323569"/>
                    <a:pt x="1155953" y="330622"/>
                  </a:cubicBezTo>
                  <a:cubicBezTo>
                    <a:pt x="1151488" y="335735"/>
                    <a:pt x="1161879" y="343991"/>
                    <a:pt x="1157130" y="349439"/>
                  </a:cubicBezTo>
                  <a:cubicBezTo>
                    <a:pt x="1152381" y="354887"/>
                    <a:pt x="1136835" y="350843"/>
                    <a:pt x="1127052" y="350275"/>
                  </a:cubicBezTo>
                  <a:cubicBezTo>
                    <a:pt x="1111467" y="349339"/>
                    <a:pt x="1099493" y="352948"/>
                    <a:pt x="1083094" y="351010"/>
                  </a:cubicBezTo>
                  <a:cubicBezTo>
                    <a:pt x="1068319" y="349098"/>
                    <a:pt x="1054194" y="344780"/>
                    <a:pt x="1041490" y="338309"/>
                  </a:cubicBezTo>
                  <a:cubicBezTo>
                    <a:pt x="1006542" y="321898"/>
                    <a:pt x="979509" y="319425"/>
                    <a:pt x="943871" y="318790"/>
                  </a:cubicBezTo>
                  <a:cubicBezTo>
                    <a:pt x="933277" y="318589"/>
                    <a:pt x="923861" y="318155"/>
                    <a:pt x="917691" y="310467"/>
                  </a:cubicBezTo>
                  <a:cubicBezTo>
                    <a:pt x="910344" y="301242"/>
                    <a:pt x="891754" y="299304"/>
                    <a:pt x="880430" y="291215"/>
                  </a:cubicBezTo>
                  <a:cubicBezTo>
                    <a:pt x="870972" y="284530"/>
                    <a:pt x="860378" y="283127"/>
                    <a:pt x="850718" y="277111"/>
                  </a:cubicBezTo>
                  <a:cubicBezTo>
                    <a:pt x="838216" y="269356"/>
                    <a:pt x="830423" y="262805"/>
                    <a:pt x="815080" y="256789"/>
                  </a:cubicBezTo>
                  <a:cubicBezTo>
                    <a:pt x="791092" y="247464"/>
                    <a:pt x="766779" y="239476"/>
                    <a:pt x="742018" y="231487"/>
                  </a:cubicBezTo>
                  <a:cubicBezTo>
                    <a:pt x="725133" y="225972"/>
                    <a:pt x="687871" y="218118"/>
                    <a:pt x="682270" y="207523"/>
                  </a:cubicBezTo>
                  <a:cubicBezTo>
                    <a:pt x="677927" y="199762"/>
                    <a:pt x="674598" y="191636"/>
                    <a:pt x="672367" y="183290"/>
                  </a:cubicBezTo>
                  <a:cubicBezTo>
                    <a:pt x="669565" y="172762"/>
                    <a:pt x="653898" y="169687"/>
                    <a:pt x="646673" y="160696"/>
                  </a:cubicBezTo>
                  <a:cubicBezTo>
                    <a:pt x="633968" y="144887"/>
                    <a:pt x="612497" y="138737"/>
                    <a:pt x="588752" y="129378"/>
                  </a:cubicBezTo>
                  <a:cubicBezTo>
                    <a:pt x="577671" y="125000"/>
                    <a:pt x="562531" y="119351"/>
                    <a:pt x="554981" y="112666"/>
                  </a:cubicBezTo>
                  <a:cubicBezTo>
                    <a:pt x="548446" y="106817"/>
                    <a:pt x="567157" y="97057"/>
                    <a:pt x="571582" y="92612"/>
                  </a:cubicBezTo>
                  <a:cubicBezTo>
                    <a:pt x="580715" y="83387"/>
                    <a:pt x="562043" y="77371"/>
                    <a:pt x="563464" y="66943"/>
                  </a:cubicBezTo>
                  <a:cubicBezTo>
                    <a:pt x="564763" y="57718"/>
                    <a:pt x="545604" y="50799"/>
                    <a:pt x="534362" y="45184"/>
                  </a:cubicBezTo>
                  <a:cubicBezTo>
                    <a:pt x="522793" y="38881"/>
                    <a:pt x="512564" y="31106"/>
                    <a:pt x="503960" y="22155"/>
                  </a:cubicBezTo>
                  <a:cubicBezTo>
                    <a:pt x="499901" y="17576"/>
                    <a:pt x="500591" y="13231"/>
                    <a:pt x="499901" y="8786"/>
                  </a:cubicBezTo>
                  <a:cubicBezTo>
                    <a:pt x="492837" y="6379"/>
                    <a:pt x="485248" y="3973"/>
                    <a:pt x="481107" y="-339"/>
                  </a:cubicBezTo>
                  <a:cubicBezTo>
                    <a:pt x="477536" y="2803"/>
                    <a:pt x="467550" y="3004"/>
                    <a:pt x="465967" y="7081"/>
                  </a:cubicBezTo>
                  <a:cubicBezTo>
                    <a:pt x="463045" y="14234"/>
                    <a:pt x="455332" y="12797"/>
                    <a:pt x="443684" y="11293"/>
                  </a:cubicBezTo>
                  <a:cubicBezTo>
                    <a:pt x="432725" y="9855"/>
                    <a:pt x="425825" y="14000"/>
                    <a:pt x="423389" y="19013"/>
                  </a:cubicBezTo>
                  <a:cubicBezTo>
                    <a:pt x="421644" y="22356"/>
                    <a:pt x="427732" y="31113"/>
                    <a:pt x="422699" y="33152"/>
                  </a:cubicBezTo>
                  <a:cubicBezTo>
                    <a:pt x="408290" y="39068"/>
                    <a:pt x="386168" y="28539"/>
                    <a:pt x="370541" y="24261"/>
                  </a:cubicBezTo>
                  <a:cubicBezTo>
                    <a:pt x="365873" y="22957"/>
                    <a:pt x="348542" y="13398"/>
                    <a:pt x="345132" y="14234"/>
                  </a:cubicBezTo>
                  <a:cubicBezTo>
                    <a:pt x="339531" y="15404"/>
                    <a:pt x="334659" y="22022"/>
                    <a:pt x="331007" y="24528"/>
                  </a:cubicBezTo>
                  <a:cubicBezTo>
                    <a:pt x="327354" y="27035"/>
                    <a:pt x="305313" y="38399"/>
                    <a:pt x="310346" y="42744"/>
                  </a:cubicBezTo>
                  <a:cubicBezTo>
                    <a:pt x="319601" y="50799"/>
                    <a:pt x="310022" y="51635"/>
                    <a:pt x="298778" y="47892"/>
                  </a:cubicBezTo>
                  <a:cubicBezTo>
                    <a:pt x="285262" y="43446"/>
                    <a:pt x="285140" y="39870"/>
                    <a:pt x="269837" y="39034"/>
                  </a:cubicBezTo>
                  <a:cubicBezTo>
                    <a:pt x="257093" y="38299"/>
                    <a:pt x="232292" y="31313"/>
                    <a:pt x="238178" y="41775"/>
                  </a:cubicBezTo>
                  <a:cubicBezTo>
                    <a:pt x="241385" y="47490"/>
                    <a:pt x="235824" y="51802"/>
                    <a:pt x="237244" y="57116"/>
                  </a:cubicBezTo>
                  <a:cubicBezTo>
                    <a:pt x="238665" y="62431"/>
                    <a:pt x="244022" y="68748"/>
                    <a:pt x="243739" y="74229"/>
                  </a:cubicBezTo>
                  <a:cubicBezTo>
                    <a:pt x="243495" y="78207"/>
                    <a:pt x="233591" y="78875"/>
                    <a:pt x="228761" y="80246"/>
                  </a:cubicBezTo>
                  <a:cubicBezTo>
                    <a:pt x="221211" y="82351"/>
                    <a:pt x="223038" y="94083"/>
                    <a:pt x="215935" y="93916"/>
                  </a:cubicBezTo>
                  <a:cubicBezTo>
                    <a:pt x="196533" y="93481"/>
                    <a:pt x="169703" y="91810"/>
                    <a:pt x="155618" y="97559"/>
                  </a:cubicBezTo>
                  <a:cubicBezTo>
                    <a:pt x="139382" y="104244"/>
                    <a:pt x="119859" y="88902"/>
                    <a:pt x="102405" y="94685"/>
                  </a:cubicBezTo>
                  <a:cubicBezTo>
                    <a:pt x="95342" y="97057"/>
                    <a:pt x="89092" y="95654"/>
                    <a:pt x="81663" y="96857"/>
                  </a:cubicBezTo>
                  <a:cubicBezTo>
                    <a:pt x="71475" y="98562"/>
                    <a:pt x="67863" y="88133"/>
                    <a:pt x="57310" y="88100"/>
                  </a:cubicBezTo>
                  <a:cubicBezTo>
                    <a:pt x="48745" y="87729"/>
                    <a:pt x="40140" y="88190"/>
                    <a:pt x="31698" y="89470"/>
                  </a:cubicBezTo>
                  <a:cubicBezTo>
                    <a:pt x="16517" y="92378"/>
                    <a:pt x="15827" y="86763"/>
                    <a:pt x="7059" y="95253"/>
                  </a:cubicBezTo>
                  <a:cubicBezTo>
                    <a:pt x="2595" y="99598"/>
                    <a:pt x="-3169" y="107085"/>
                    <a:pt x="1945" y="113703"/>
                  </a:cubicBezTo>
                  <a:cubicBezTo>
                    <a:pt x="6329" y="119385"/>
                    <a:pt x="29587" y="123028"/>
                    <a:pt x="28735" y="130982"/>
                  </a:cubicBezTo>
                  <a:cubicBezTo>
                    <a:pt x="28491" y="133556"/>
                    <a:pt x="27801" y="154379"/>
                    <a:pt x="26380" y="154379"/>
                  </a:cubicBezTo>
                  <a:cubicBezTo>
                    <a:pt x="33646" y="159927"/>
                    <a:pt x="43509" y="165375"/>
                    <a:pt x="49192" y="171458"/>
                  </a:cubicBezTo>
                  <a:cubicBezTo>
                    <a:pt x="53251" y="176004"/>
                    <a:pt x="49192" y="180249"/>
                    <a:pt x="55848" y="185530"/>
                  </a:cubicBezTo>
                  <a:cubicBezTo>
                    <a:pt x="64453" y="191479"/>
                    <a:pt x="73992" y="196396"/>
                    <a:pt x="84261" y="200136"/>
                  </a:cubicBezTo>
                  <a:cubicBezTo>
                    <a:pt x="93678" y="203177"/>
                    <a:pt x="96032" y="200738"/>
                    <a:pt x="102161" y="207155"/>
                  </a:cubicBezTo>
                  <a:cubicBezTo>
                    <a:pt x="118884" y="191379"/>
                    <a:pt x="182326" y="218953"/>
                    <a:pt x="169540" y="229114"/>
                  </a:cubicBezTo>
                  <a:cubicBezTo>
                    <a:pt x="159880" y="235648"/>
                    <a:pt x="148190" y="239816"/>
                    <a:pt x="135770" y="241147"/>
                  </a:cubicBezTo>
                  <a:cubicBezTo>
                    <a:pt x="126597" y="242049"/>
                    <a:pt x="121198" y="236133"/>
                    <a:pt x="116692" y="241782"/>
                  </a:cubicBezTo>
                  <a:cubicBezTo>
                    <a:pt x="112633" y="246728"/>
                    <a:pt x="119980" y="252578"/>
                    <a:pt x="123877" y="257992"/>
                  </a:cubicBezTo>
                  <a:cubicBezTo>
                    <a:pt x="126759" y="262036"/>
                    <a:pt x="130006" y="267652"/>
                    <a:pt x="120711" y="268019"/>
                  </a:cubicBezTo>
                  <a:cubicBezTo>
                    <a:pt x="111416" y="268387"/>
                    <a:pt x="110036" y="263307"/>
                    <a:pt x="102770" y="261702"/>
                  </a:cubicBezTo>
                  <a:cubicBezTo>
                    <a:pt x="92947" y="259496"/>
                    <a:pt x="97250" y="279951"/>
                    <a:pt x="100091" y="282926"/>
                  </a:cubicBezTo>
                  <a:cubicBezTo>
                    <a:pt x="104922" y="287873"/>
                    <a:pt x="157282" y="319692"/>
                    <a:pt x="148149" y="324405"/>
                  </a:cubicBezTo>
                  <a:cubicBezTo>
                    <a:pt x="157648" y="326243"/>
                    <a:pt x="167064" y="324104"/>
                    <a:pt x="174411" y="325875"/>
                  </a:cubicBezTo>
                  <a:cubicBezTo>
                    <a:pt x="185898" y="328650"/>
                    <a:pt x="191702" y="336170"/>
                    <a:pt x="198765" y="341752"/>
                  </a:cubicBezTo>
                  <a:cubicBezTo>
                    <a:pt x="215001" y="354620"/>
                    <a:pt x="231683" y="368791"/>
                    <a:pt x="249908" y="380824"/>
                  </a:cubicBezTo>
                  <a:cubicBezTo>
                    <a:pt x="269473" y="393792"/>
                    <a:pt x="292365" y="401680"/>
                    <a:pt x="315096" y="411707"/>
                  </a:cubicBezTo>
                  <a:cubicBezTo>
                    <a:pt x="322036" y="414391"/>
                    <a:pt x="329140" y="416757"/>
                    <a:pt x="336405" y="418793"/>
                  </a:cubicBezTo>
                  <a:cubicBezTo>
                    <a:pt x="341154" y="417657"/>
                    <a:pt x="346065" y="417115"/>
                    <a:pt x="350976" y="417189"/>
                  </a:cubicBezTo>
                  <a:cubicBezTo>
                    <a:pt x="360881" y="419963"/>
                    <a:pt x="350976" y="432296"/>
                    <a:pt x="352072" y="435873"/>
                  </a:cubicBezTo>
                  <a:cubicBezTo>
                    <a:pt x="362911" y="431728"/>
                    <a:pt x="366929" y="426681"/>
                    <a:pt x="382109" y="426982"/>
                  </a:cubicBezTo>
                  <a:cubicBezTo>
                    <a:pt x="398669" y="427349"/>
                    <a:pt x="399238" y="432329"/>
                    <a:pt x="413769" y="438078"/>
                  </a:cubicBezTo>
                  <a:cubicBezTo>
                    <a:pt x="425621" y="442791"/>
                    <a:pt x="432440" y="441955"/>
                    <a:pt x="441005" y="450746"/>
                  </a:cubicBezTo>
                  <a:cubicBezTo>
                    <a:pt x="458256" y="451481"/>
                    <a:pt x="463491" y="448206"/>
                    <a:pt x="478104" y="445231"/>
                  </a:cubicBezTo>
                  <a:cubicBezTo>
                    <a:pt x="481392" y="444563"/>
                    <a:pt x="487399" y="447203"/>
                    <a:pt x="491458" y="446702"/>
                  </a:cubicBezTo>
                  <a:cubicBezTo>
                    <a:pt x="498399" y="445602"/>
                    <a:pt x="505380" y="444954"/>
                    <a:pt x="512443" y="444763"/>
                  </a:cubicBezTo>
                  <a:cubicBezTo>
                    <a:pt x="524294" y="444763"/>
                    <a:pt x="537892" y="455826"/>
                    <a:pt x="547269" y="454790"/>
                  </a:cubicBezTo>
                  <a:cubicBezTo>
                    <a:pt x="564195" y="452685"/>
                    <a:pt x="563220" y="460606"/>
                    <a:pt x="567928" y="468728"/>
                  </a:cubicBezTo>
                  <a:cubicBezTo>
                    <a:pt x="570324" y="472839"/>
                    <a:pt x="569918" y="475078"/>
                    <a:pt x="575844" y="478588"/>
                  </a:cubicBezTo>
                  <a:cubicBezTo>
                    <a:pt x="584205" y="483568"/>
                    <a:pt x="585545" y="480894"/>
                    <a:pt x="594556" y="483000"/>
                  </a:cubicBezTo>
                  <a:cubicBezTo>
                    <a:pt x="612699" y="487211"/>
                    <a:pt x="601984" y="494798"/>
                    <a:pt x="605231" y="501349"/>
                  </a:cubicBezTo>
                  <a:cubicBezTo>
                    <a:pt x="608721" y="508468"/>
                    <a:pt x="621467" y="505561"/>
                    <a:pt x="616677" y="515487"/>
                  </a:cubicBezTo>
                  <a:cubicBezTo>
                    <a:pt x="612943" y="523476"/>
                    <a:pt x="613349" y="533770"/>
                    <a:pt x="598736" y="536511"/>
                  </a:cubicBezTo>
                  <a:cubicBezTo>
                    <a:pt x="587169" y="538683"/>
                    <a:pt x="570608" y="542627"/>
                    <a:pt x="565372" y="549546"/>
                  </a:cubicBezTo>
                  <a:cubicBezTo>
                    <a:pt x="552221" y="566859"/>
                    <a:pt x="585179" y="556498"/>
                    <a:pt x="591471" y="570570"/>
                  </a:cubicBezTo>
                  <a:cubicBezTo>
                    <a:pt x="593622" y="575383"/>
                    <a:pt x="583353" y="578625"/>
                    <a:pt x="590293" y="585543"/>
                  </a:cubicBezTo>
                  <a:cubicBezTo>
                    <a:pt x="593378" y="588585"/>
                    <a:pt x="599346" y="589287"/>
                    <a:pt x="602024" y="592696"/>
                  </a:cubicBezTo>
                  <a:cubicBezTo>
                    <a:pt x="605718" y="597542"/>
                    <a:pt x="596666" y="600718"/>
                    <a:pt x="594191" y="603826"/>
                  </a:cubicBezTo>
                  <a:cubicBezTo>
                    <a:pt x="588711" y="610511"/>
                    <a:pt x="615379" y="611279"/>
                    <a:pt x="609655" y="617998"/>
                  </a:cubicBezTo>
                  <a:cubicBezTo>
                    <a:pt x="602917" y="625852"/>
                    <a:pt x="623334" y="628827"/>
                    <a:pt x="631615" y="629529"/>
                  </a:cubicBezTo>
                  <a:cubicBezTo>
                    <a:pt x="642005" y="630364"/>
                    <a:pt x="640544" y="636581"/>
                    <a:pt x="644766" y="641060"/>
                  </a:cubicBezTo>
                  <a:cubicBezTo>
                    <a:pt x="653939" y="650786"/>
                    <a:pt x="657348" y="637149"/>
                    <a:pt x="656455" y="633406"/>
                  </a:cubicBezTo>
                  <a:cubicBezTo>
                    <a:pt x="656050" y="631634"/>
                    <a:pt x="660514" y="620672"/>
                    <a:pt x="664086" y="624950"/>
                  </a:cubicBezTo>
                  <a:cubicBezTo>
                    <a:pt x="669769" y="631935"/>
                    <a:pt x="685801" y="625284"/>
                    <a:pt x="693919" y="629596"/>
                  </a:cubicBezTo>
                  <a:cubicBezTo>
                    <a:pt x="704189" y="635044"/>
                    <a:pt x="709465" y="631868"/>
                    <a:pt x="719572" y="637818"/>
                  </a:cubicBezTo>
                  <a:cubicBezTo>
                    <a:pt x="723631" y="640091"/>
                    <a:pt x="747579" y="647845"/>
                    <a:pt x="751192" y="646341"/>
                  </a:cubicBezTo>
                  <a:cubicBezTo>
                    <a:pt x="774084" y="636648"/>
                    <a:pt x="778549" y="652691"/>
                    <a:pt x="797464" y="660947"/>
                  </a:cubicBezTo>
                  <a:cubicBezTo>
                    <a:pt x="811995" y="667297"/>
                    <a:pt x="803147" y="667632"/>
                    <a:pt x="800427" y="672979"/>
                  </a:cubicBezTo>
                  <a:cubicBezTo>
                    <a:pt x="798033" y="677592"/>
                    <a:pt x="813335" y="689156"/>
                    <a:pt x="818855" y="692733"/>
                  </a:cubicBezTo>
                  <a:cubicBezTo>
                    <a:pt x="825917" y="697379"/>
                    <a:pt x="830504" y="702125"/>
                    <a:pt x="841098" y="703395"/>
                  </a:cubicBezTo>
                  <a:cubicBezTo>
                    <a:pt x="846415" y="703996"/>
                    <a:pt x="846943" y="699819"/>
                    <a:pt x="853275" y="702659"/>
                  </a:cubicBezTo>
                  <a:cubicBezTo>
                    <a:pt x="859607" y="705501"/>
                    <a:pt x="858633" y="708475"/>
                    <a:pt x="861393" y="711751"/>
                  </a:cubicBezTo>
                  <a:cubicBezTo>
                    <a:pt x="867035" y="718001"/>
                    <a:pt x="882459" y="710748"/>
                    <a:pt x="883920" y="718435"/>
                  </a:cubicBezTo>
                  <a:cubicBezTo>
                    <a:pt x="885382" y="726123"/>
                    <a:pt x="871459" y="725120"/>
                    <a:pt x="875802" y="735147"/>
                  </a:cubicBezTo>
                  <a:cubicBezTo>
                    <a:pt x="880146" y="745174"/>
                    <a:pt x="888507" y="742668"/>
                    <a:pt x="889441" y="735481"/>
                  </a:cubicBezTo>
                  <a:cubicBezTo>
                    <a:pt x="890171" y="729499"/>
                    <a:pt x="912049" y="733309"/>
                    <a:pt x="918381" y="734178"/>
                  </a:cubicBezTo>
                  <a:cubicBezTo>
                    <a:pt x="936890" y="737236"/>
                    <a:pt x="955601" y="739469"/>
                    <a:pt x="974395" y="740863"/>
                  </a:cubicBezTo>
                  <a:cubicBezTo>
                    <a:pt x="979062" y="741063"/>
                    <a:pt x="997571" y="738490"/>
                    <a:pt x="1001265" y="739760"/>
                  </a:cubicBezTo>
                  <a:cubicBezTo>
                    <a:pt x="1009952" y="742701"/>
                    <a:pt x="1016445" y="750990"/>
                    <a:pt x="1026674" y="750689"/>
                  </a:cubicBezTo>
                  <a:cubicBezTo>
                    <a:pt x="1037836" y="750355"/>
                    <a:pt x="1053748" y="756772"/>
                    <a:pt x="1064626" y="760716"/>
                  </a:cubicBezTo>
                  <a:cubicBezTo>
                    <a:pt x="1081309" y="766565"/>
                    <a:pt x="1082851" y="764393"/>
                    <a:pt x="1098234" y="763791"/>
                  </a:cubicBezTo>
                  <a:cubicBezTo>
                    <a:pt x="1109396" y="763290"/>
                    <a:pt x="1129976" y="765730"/>
                    <a:pt x="1137850" y="762053"/>
                  </a:cubicBezTo>
                  <a:cubicBezTo>
                    <a:pt x="1145724" y="758377"/>
                    <a:pt x="1150554" y="762053"/>
                    <a:pt x="1160864" y="762053"/>
                  </a:cubicBezTo>
                  <a:cubicBezTo>
                    <a:pt x="1169469" y="761853"/>
                    <a:pt x="1176695" y="759112"/>
                    <a:pt x="1184203" y="758109"/>
                  </a:cubicBezTo>
                  <a:cubicBezTo>
                    <a:pt x="1188262" y="757575"/>
                    <a:pt x="1193011" y="759680"/>
                    <a:pt x="1196989" y="758811"/>
                  </a:cubicBezTo>
                  <a:cubicBezTo>
                    <a:pt x="1202550" y="757541"/>
                    <a:pt x="1200358" y="751191"/>
                    <a:pt x="1204335" y="748784"/>
                  </a:cubicBezTo>
                  <a:cubicBezTo>
                    <a:pt x="1207502" y="747013"/>
                    <a:pt x="1212453" y="750288"/>
                    <a:pt x="1210871" y="745442"/>
                  </a:cubicBezTo>
                  <a:cubicBezTo>
                    <a:pt x="1209653" y="741765"/>
                    <a:pt x="1205635" y="737554"/>
                    <a:pt x="1213956" y="739225"/>
                  </a:cubicBezTo>
                  <a:cubicBezTo>
                    <a:pt x="1226538" y="741765"/>
                    <a:pt x="1237863" y="744305"/>
                    <a:pt x="1246753" y="739559"/>
                  </a:cubicBezTo>
                  <a:cubicBezTo>
                    <a:pt x="1250812" y="737353"/>
                    <a:pt x="1252232" y="735047"/>
                    <a:pt x="1258483" y="734546"/>
                  </a:cubicBezTo>
                  <a:cubicBezTo>
                    <a:pt x="1264734" y="734044"/>
                    <a:pt x="1273582" y="736584"/>
                    <a:pt x="1278452" y="735147"/>
                  </a:cubicBezTo>
                  <a:cubicBezTo>
                    <a:pt x="1283243" y="733392"/>
                    <a:pt x="1286611" y="729753"/>
                    <a:pt x="1287423" y="725488"/>
                  </a:cubicBezTo>
                  <a:cubicBezTo>
                    <a:pt x="1288600" y="721009"/>
                    <a:pt x="1294202" y="724920"/>
                    <a:pt x="1296312" y="722948"/>
                  </a:cubicBezTo>
                  <a:cubicBezTo>
                    <a:pt x="1298423" y="720976"/>
                    <a:pt x="1292984" y="719305"/>
                    <a:pt x="1297083" y="717533"/>
                  </a:cubicBezTo>
                  <a:cubicBezTo>
                    <a:pt x="1301183" y="715762"/>
                    <a:pt x="1314415" y="719338"/>
                    <a:pt x="1317053" y="717533"/>
                  </a:cubicBezTo>
                  <a:cubicBezTo>
                    <a:pt x="1319692" y="715728"/>
                    <a:pt x="1304876" y="710514"/>
                    <a:pt x="1302806" y="710548"/>
                  </a:cubicBezTo>
                  <a:cubicBezTo>
                    <a:pt x="1296677" y="710548"/>
                    <a:pt x="1296109" y="702793"/>
                    <a:pt x="1291563" y="700888"/>
                  </a:cubicBezTo>
                  <a:cubicBezTo>
                    <a:pt x="1286246" y="698615"/>
                    <a:pt x="1283445" y="701423"/>
                    <a:pt x="1278169" y="696443"/>
                  </a:cubicBezTo>
                  <a:cubicBezTo>
                    <a:pt x="1271715" y="690092"/>
                    <a:pt x="1288437" y="694872"/>
                    <a:pt x="1292254" y="695306"/>
                  </a:cubicBezTo>
                  <a:cubicBezTo>
                    <a:pt x="1307312" y="697044"/>
                    <a:pt x="1326064" y="701256"/>
                    <a:pt x="1310031" y="686951"/>
                  </a:cubicBezTo>
                  <a:cubicBezTo>
                    <a:pt x="1304268" y="681803"/>
                    <a:pt x="1298625" y="680266"/>
                    <a:pt x="1294688" y="674082"/>
                  </a:cubicBezTo>
                  <a:cubicBezTo>
                    <a:pt x="1294039" y="673046"/>
                    <a:pt x="1281822" y="659777"/>
                    <a:pt x="1281619" y="660713"/>
                  </a:cubicBezTo>
                  <a:cubicBezTo>
                    <a:pt x="1282836" y="656000"/>
                    <a:pt x="1340352" y="699518"/>
                    <a:pt x="1320219" y="671342"/>
                  </a:cubicBezTo>
                  <a:cubicBezTo>
                    <a:pt x="1315917" y="665325"/>
                    <a:pt x="1303984" y="655499"/>
                    <a:pt x="1308042" y="650352"/>
                  </a:cubicBezTo>
                  <a:cubicBezTo>
                    <a:pt x="1312101" y="645204"/>
                    <a:pt x="1304227" y="633640"/>
                    <a:pt x="1303131" y="626955"/>
                  </a:cubicBezTo>
                  <a:cubicBezTo>
                    <a:pt x="1301588" y="617797"/>
                    <a:pt x="1299762" y="614154"/>
                    <a:pt x="1288681" y="605664"/>
                  </a:cubicBezTo>
                  <a:cubicBezTo>
                    <a:pt x="1279508" y="598612"/>
                    <a:pt x="1281862" y="593097"/>
                    <a:pt x="1291928" y="591025"/>
                  </a:cubicBezTo>
                  <a:cubicBezTo>
                    <a:pt x="1298261" y="589755"/>
                    <a:pt x="1305445" y="592027"/>
                    <a:pt x="1311939" y="591392"/>
                  </a:cubicBezTo>
                  <a:cubicBezTo>
                    <a:pt x="1315998" y="590958"/>
                    <a:pt x="1316972" y="588284"/>
                    <a:pt x="1320707" y="587749"/>
                  </a:cubicBezTo>
                  <a:cubicBezTo>
                    <a:pt x="1323182" y="587415"/>
                    <a:pt x="1328825" y="591092"/>
                    <a:pt x="1332071" y="591092"/>
                  </a:cubicBezTo>
                  <a:cubicBezTo>
                    <a:pt x="1340189" y="591559"/>
                    <a:pt x="1343802" y="586111"/>
                    <a:pt x="1353301" y="589354"/>
                  </a:cubicBezTo>
                  <a:cubicBezTo>
                    <a:pt x="1362798" y="592596"/>
                    <a:pt x="1406635" y="605430"/>
                    <a:pt x="1401683" y="594568"/>
                  </a:cubicBezTo>
                  <a:cubicBezTo>
                    <a:pt x="1397299" y="585042"/>
                    <a:pt x="1386340" y="584541"/>
                    <a:pt x="1376030" y="578357"/>
                  </a:cubicBezTo>
                  <a:cubicBezTo>
                    <a:pt x="1364219" y="571271"/>
                    <a:pt x="1366898" y="561378"/>
                    <a:pt x="1350459" y="561813"/>
                  </a:cubicBezTo>
                  <a:cubicBezTo>
                    <a:pt x="1337754" y="562147"/>
                    <a:pt x="1288519" y="565389"/>
                    <a:pt x="1303902" y="545870"/>
                  </a:cubicBezTo>
                  <a:cubicBezTo>
                    <a:pt x="1316485" y="529926"/>
                    <a:pt x="1264896" y="530194"/>
                    <a:pt x="1272081" y="514585"/>
                  </a:cubicBezTo>
                  <a:cubicBezTo>
                    <a:pt x="1279630" y="498107"/>
                    <a:pt x="1296028" y="512513"/>
                    <a:pt x="1314902" y="517627"/>
                  </a:cubicBezTo>
                  <a:cubicBezTo>
                    <a:pt x="1328703" y="521336"/>
                    <a:pt x="1330936" y="510674"/>
                    <a:pt x="1343843" y="513482"/>
                  </a:cubicBezTo>
                  <a:cubicBezTo>
                    <a:pt x="1362595" y="517593"/>
                    <a:pt x="1370835" y="516256"/>
                    <a:pt x="1388492" y="515955"/>
                  </a:cubicBezTo>
                  <a:cubicBezTo>
                    <a:pt x="1414550" y="515521"/>
                    <a:pt x="1446697" y="534405"/>
                    <a:pt x="1412846" y="537647"/>
                  </a:cubicBezTo>
                  <a:cubicBezTo>
                    <a:pt x="1402129" y="538683"/>
                    <a:pt x="1392022" y="538617"/>
                    <a:pt x="1390237" y="546271"/>
                  </a:cubicBezTo>
                  <a:cubicBezTo>
                    <a:pt x="1388978" y="551752"/>
                    <a:pt x="1367304" y="552955"/>
                    <a:pt x="1394296" y="557267"/>
                  </a:cubicBezTo>
                  <a:cubicBezTo>
                    <a:pt x="1412927" y="560208"/>
                    <a:pt x="1431152" y="560108"/>
                    <a:pt x="1449701" y="562548"/>
                  </a:cubicBezTo>
                  <a:cubicBezTo>
                    <a:pt x="1458021" y="563280"/>
                    <a:pt x="1466221" y="564874"/>
                    <a:pt x="1474055" y="567294"/>
                  </a:cubicBezTo>
                  <a:cubicBezTo>
                    <a:pt x="1486841" y="571840"/>
                    <a:pt x="1482173" y="565523"/>
                    <a:pt x="1493619" y="567294"/>
                  </a:cubicBezTo>
                  <a:cubicBezTo>
                    <a:pt x="1515010" y="570403"/>
                    <a:pt x="1545006" y="578524"/>
                    <a:pt x="1562621" y="574179"/>
                  </a:cubicBezTo>
                  <a:cubicBezTo>
                    <a:pt x="1571227" y="572040"/>
                    <a:pt x="1581658" y="568765"/>
                    <a:pt x="1589736" y="578324"/>
                  </a:cubicBezTo>
                  <a:cubicBezTo>
                    <a:pt x="1592130" y="581131"/>
                    <a:pt x="1615876" y="595871"/>
                    <a:pt x="1619488" y="593164"/>
                  </a:cubicBezTo>
                  <a:cubicBezTo>
                    <a:pt x="1626226" y="588084"/>
                    <a:pt x="1613927" y="582234"/>
                    <a:pt x="1634628" y="589654"/>
                  </a:cubicBezTo>
                  <a:cubicBezTo>
                    <a:pt x="1641000" y="591961"/>
                    <a:pt x="1657926" y="591994"/>
                    <a:pt x="1663974" y="592128"/>
                  </a:cubicBezTo>
                  <a:cubicBezTo>
                    <a:pt x="1672092" y="592128"/>
                    <a:pt x="1678546" y="580730"/>
                    <a:pt x="1689221" y="590289"/>
                  </a:cubicBezTo>
                  <a:cubicBezTo>
                    <a:pt x="1704442" y="603960"/>
                    <a:pt x="1717633" y="614120"/>
                    <a:pt x="1727010" y="599414"/>
                  </a:cubicBezTo>
                  <a:cubicBezTo>
                    <a:pt x="1731109" y="592201"/>
                    <a:pt x="1734438" y="584708"/>
                    <a:pt x="1736954" y="577020"/>
                  </a:cubicBezTo>
                  <a:cubicBezTo>
                    <a:pt x="1740120" y="568898"/>
                    <a:pt x="1753434" y="570904"/>
                    <a:pt x="1767113" y="572775"/>
                  </a:cubicBezTo>
                  <a:cubicBezTo>
                    <a:pt x="1778762" y="574346"/>
                    <a:pt x="1785460" y="589755"/>
                    <a:pt x="1798894" y="589487"/>
                  </a:cubicBezTo>
                  <a:cubicBezTo>
                    <a:pt x="1810259" y="589487"/>
                    <a:pt x="1819189" y="583204"/>
                    <a:pt x="1831123" y="583337"/>
                  </a:cubicBezTo>
                  <a:cubicBezTo>
                    <a:pt x="1849023" y="583605"/>
                    <a:pt x="1852757" y="575917"/>
                    <a:pt x="1866233" y="571773"/>
                  </a:cubicBezTo>
                  <a:cubicBezTo>
                    <a:pt x="1869318" y="570804"/>
                    <a:pt x="1879709" y="572107"/>
                    <a:pt x="1880642" y="569868"/>
                  </a:cubicBezTo>
                  <a:cubicBezTo>
                    <a:pt x="1882266" y="566024"/>
                    <a:pt x="1880155" y="561712"/>
                    <a:pt x="1883199" y="558203"/>
                  </a:cubicBezTo>
                  <a:close/>
                  <a:moveTo>
                    <a:pt x="1197476" y="795577"/>
                  </a:moveTo>
                  <a:cubicBezTo>
                    <a:pt x="1195203" y="797215"/>
                    <a:pt x="1179454" y="827396"/>
                    <a:pt x="1196218" y="827764"/>
                  </a:cubicBezTo>
                  <a:cubicBezTo>
                    <a:pt x="1211196" y="828098"/>
                    <a:pt x="1226944" y="817737"/>
                    <a:pt x="1236807" y="812690"/>
                  </a:cubicBezTo>
                  <a:cubicBezTo>
                    <a:pt x="1241962" y="810083"/>
                    <a:pt x="1266194" y="800457"/>
                    <a:pt x="1258158" y="793037"/>
                  </a:cubicBezTo>
                  <a:cubicBezTo>
                    <a:pt x="1242287" y="778431"/>
                    <a:pt x="1205838" y="789695"/>
                    <a:pt x="1197517" y="795577"/>
                  </a:cubicBezTo>
                  <a:close/>
                  <a:moveTo>
                    <a:pt x="869795" y="744004"/>
                  </a:moveTo>
                  <a:cubicBezTo>
                    <a:pt x="830139" y="729599"/>
                    <a:pt x="815161" y="766733"/>
                    <a:pt x="862489" y="772582"/>
                  </a:cubicBezTo>
                  <a:cubicBezTo>
                    <a:pt x="877750" y="774487"/>
                    <a:pt x="884083" y="767468"/>
                    <a:pt x="894960" y="763591"/>
                  </a:cubicBezTo>
                  <a:cubicBezTo>
                    <a:pt x="915743" y="756037"/>
                    <a:pt x="883758" y="749152"/>
                    <a:pt x="869795" y="744004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719EC528-C36A-4FEE-8077-8D5323831F19}"/>
                </a:ext>
              </a:extLst>
            </p:cNvPr>
            <p:cNvSpPr/>
            <p:nvPr/>
          </p:nvSpPr>
          <p:spPr>
            <a:xfrm>
              <a:off x="7235455" y="4496335"/>
              <a:ext cx="1272653" cy="277761"/>
            </a:xfrm>
            <a:custGeom>
              <a:avLst/>
              <a:gdLst>
                <a:gd name="connsiteX0" fmla="*/ 1302626 w 1306181"/>
                <a:gd name="connsiteY0" fmla="*/ 281447 h 380318"/>
                <a:gd name="connsiteX1" fmla="*/ 1252944 w 1306181"/>
                <a:gd name="connsiteY1" fmla="*/ 259454 h 380318"/>
                <a:gd name="connsiteX2" fmla="*/ 1233866 w 1306181"/>
                <a:gd name="connsiteY2" fmla="*/ 245449 h 380318"/>
                <a:gd name="connsiteX3" fmla="*/ 1210690 w 1306181"/>
                <a:gd name="connsiteY3" fmla="*/ 225395 h 380318"/>
                <a:gd name="connsiteX4" fmla="*/ 1174159 w 1306181"/>
                <a:gd name="connsiteY4" fmla="*/ 221886 h 380318"/>
                <a:gd name="connsiteX5" fmla="*/ 1140389 w 1306181"/>
                <a:gd name="connsiteY5" fmla="*/ 204238 h 380318"/>
                <a:gd name="connsiteX6" fmla="*/ 1099799 w 1306181"/>
                <a:gd name="connsiteY6" fmla="*/ 194746 h 380318"/>
                <a:gd name="connsiteX7" fmla="*/ 1070656 w 1306181"/>
                <a:gd name="connsiteY7" fmla="*/ 145747 h 380318"/>
                <a:gd name="connsiteX8" fmla="*/ 1047276 w 1306181"/>
                <a:gd name="connsiteY8" fmla="*/ 121247 h 380318"/>
                <a:gd name="connsiteX9" fmla="*/ 1027793 w 1306181"/>
                <a:gd name="connsiteY9" fmla="*/ 103266 h 380318"/>
                <a:gd name="connsiteX10" fmla="*/ 1018660 w 1306181"/>
                <a:gd name="connsiteY10" fmla="*/ 95411 h 380318"/>
                <a:gd name="connsiteX11" fmla="*/ 974011 w 1306181"/>
                <a:gd name="connsiteY11" fmla="*/ 96447 h 380318"/>
                <a:gd name="connsiteX12" fmla="*/ 937156 w 1306181"/>
                <a:gd name="connsiteY12" fmla="*/ 94575 h 380318"/>
                <a:gd name="connsiteX13" fmla="*/ 917064 w 1306181"/>
                <a:gd name="connsiteY13" fmla="*/ 89328 h 380318"/>
                <a:gd name="connsiteX14" fmla="*/ 927130 w 1306181"/>
                <a:gd name="connsiteY14" fmla="*/ 82643 h 380318"/>
                <a:gd name="connsiteX15" fmla="*/ 902411 w 1306181"/>
                <a:gd name="connsiteY15" fmla="*/ 74555 h 380318"/>
                <a:gd name="connsiteX16" fmla="*/ 892791 w 1306181"/>
                <a:gd name="connsiteY16" fmla="*/ 75190 h 380318"/>
                <a:gd name="connsiteX17" fmla="*/ 886215 w 1306181"/>
                <a:gd name="connsiteY17" fmla="*/ 66065 h 380318"/>
                <a:gd name="connsiteX18" fmla="*/ 849685 w 1306181"/>
                <a:gd name="connsiteY18" fmla="*/ 61920 h 380318"/>
                <a:gd name="connsiteX19" fmla="*/ 855530 w 1306181"/>
                <a:gd name="connsiteY19" fmla="*/ 55737 h 380318"/>
                <a:gd name="connsiteX20" fmla="*/ 853460 w 1306181"/>
                <a:gd name="connsiteY20" fmla="*/ 42802 h 380318"/>
                <a:gd name="connsiteX21" fmla="*/ 826386 w 1306181"/>
                <a:gd name="connsiteY21" fmla="*/ 30569 h 380318"/>
                <a:gd name="connsiteX22" fmla="*/ 790059 w 1306181"/>
                <a:gd name="connsiteY22" fmla="*/ 20375 h 380318"/>
                <a:gd name="connsiteX23" fmla="*/ 763026 w 1306181"/>
                <a:gd name="connsiteY23" fmla="*/ 21879 h 380318"/>
                <a:gd name="connsiteX24" fmla="*/ 701695 w 1306181"/>
                <a:gd name="connsiteY24" fmla="*/ 17968 h 380318"/>
                <a:gd name="connsiteX25" fmla="*/ 661714 w 1306181"/>
                <a:gd name="connsiteY25" fmla="*/ 13991 h 380318"/>
                <a:gd name="connsiteX26" fmla="*/ 605294 w 1306181"/>
                <a:gd name="connsiteY26" fmla="*/ 8810 h 380318"/>
                <a:gd name="connsiteX27" fmla="*/ 562756 w 1306181"/>
                <a:gd name="connsiteY27" fmla="*/ 7340 h 380318"/>
                <a:gd name="connsiteX28" fmla="*/ 521517 w 1306181"/>
                <a:gd name="connsiteY28" fmla="*/ 87 h 380318"/>
                <a:gd name="connsiteX29" fmla="*/ 514170 w 1306181"/>
                <a:gd name="connsiteY29" fmla="*/ 14024 h 380318"/>
                <a:gd name="connsiteX30" fmla="*/ 541162 w 1306181"/>
                <a:gd name="connsiteY30" fmla="*/ 26625 h 380318"/>
                <a:gd name="connsiteX31" fmla="*/ 496879 w 1306181"/>
                <a:gd name="connsiteY31" fmla="*/ 25388 h 380318"/>
                <a:gd name="connsiteX32" fmla="*/ 492251 w 1306181"/>
                <a:gd name="connsiteY32" fmla="*/ 37856 h 380318"/>
                <a:gd name="connsiteX33" fmla="*/ 470049 w 1306181"/>
                <a:gd name="connsiteY33" fmla="*/ 42669 h 380318"/>
                <a:gd name="connsiteX34" fmla="*/ 508812 w 1306181"/>
                <a:gd name="connsiteY34" fmla="*/ 64761 h 380318"/>
                <a:gd name="connsiteX35" fmla="*/ 494524 w 1306181"/>
                <a:gd name="connsiteY35" fmla="*/ 74454 h 380318"/>
                <a:gd name="connsiteX36" fmla="*/ 463392 w 1306181"/>
                <a:gd name="connsiteY36" fmla="*/ 63859 h 380318"/>
                <a:gd name="connsiteX37" fmla="*/ 452879 w 1306181"/>
                <a:gd name="connsiteY37" fmla="*/ 69006 h 380318"/>
                <a:gd name="connsiteX38" fmla="*/ 435304 w 1306181"/>
                <a:gd name="connsiteY38" fmla="*/ 62121 h 380318"/>
                <a:gd name="connsiteX39" fmla="*/ 383511 w 1306181"/>
                <a:gd name="connsiteY39" fmla="*/ 47248 h 380318"/>
                <a:gd name="connsiteX40" fmla="*/ 331963 w 1306181"/>
                <a:gd name="connsiteY40" fmla="*/ 43471 h 380318"/>
                <a:gd name="connsiteX41" fmla="*/ 301317 w 1306181"/>
                <a:gd name="connsiteY41" fmla="*/ 40128 h 380318"/>
                <a:gd name="connsiteX42" fmla="*/ 288369 w 1306181"/>
                <a:gd name="connsiteY42" fmla="*/ 34647 h 380318"/>
                <a:gd name="connsiteX43" fmla="*/ 280698 w 1306181"/>
                <a:gd name="connsiteY43" fmla="*/ 39259 h 380318"/>
                <a:gd name="connsiteX44" fmla="*/ 234831 w 1306181"/>
                <a:gd name="connsiteY44" fmla="*/ 12888 h 380318"/>
                <a:gd name="connsiteX45" fmla="*/ 211654 w 1306181"/>
                <a:gd name="connsiteY45" fmla="*/ 4398 h 380318"/>
                <a:gd name="connsiteX46" fmla="*/ 181374 w 1306181"/>
                <a:gd name="connsiteY46" fmla="*/ 4064 h 380318"/>
                <a:gd name="connsiteX47" fmla="*/ 147239 w 1306181"/>
                <a:gd name="connsiteY47" fmla="*/ 521 h 380318"/>
                <a:gd name="connsiteX48" fmla="*/ 110708 w 1306181"/>
                <a:gd name="connsiteY48" fmla="*/ 3864 h 380318"/>
                <a:gd name="connsiteX49" fmla="*/ 101250 w 1306181"/>
                <a:gd name="connsiteY49" fmla="*/ 7406 h 380318"/>
                <a:gd name="connsiteX50" fmla="*/ 84324 w 1306181"/>
                <a:gd name="connsiteY50" fmla="*/ 10448 h 380318"/>
                <a:gd name="connsiteX51" fmla="*/ 76206 w 1306181"/>
                <a:gd name="connsiteY51" fmla="*/ 27628 h 380318"/>
                <a:gd name="connsiteX52" fmla="*/ 52340 w 1306181"/>
                <a:gd name="connsiteY52" fmla="*/ 13055 h 380318"/>
                <a:gd name="connsiteX53" fmla="*/ 24901 w 1306181"/>
                <a:gd name="connsiteY53" fmla="*/ 21043 h 380318"/>
                <a:gd name="connsiteX54" fmla="*/ 20314 w 1306181"/>
                <a:gd name="connsiteY54" fmla="*/ 33009 h 380318"/>
                <a:gd name="connsiteX55" fmla="*/ 1318 w 1306181"/>
                <a:gd name="connsiteY55" fmla="*/ 43404 h 380318"/>
                <a:gd name="connsiteX56" fmla="*/ 14591 w 1306181"/>
                <a:gd name="connsiteY56" fmla="*/ 52829 h 380318"/>
                <a:gd name="connsiteX57" fmla="*/ 21572 w 1306181"/>
                <a:gd name="connsiteY57" fmla="*/ 66533 h 380318"/>
                <a:gd name="connsiteX58" fmla="*/ 56723 w 1306181"/>
                <a:gd name="connsiteY58" fmla="*/ 78031 h 380318"/>
                <a:gd name="connsiteX59" fmla="*/ 70726 w 1306181"/>
                <a:gd name="connsiteY59" fmla="*/ 91400 h 380318"/>
                <a:gd name="connsiteX60" fmla="*/ 59037 w 1306181"/>
                <a:gd name="connsiteY60" fmla="*/ 96748 h 380318"/>
                <a:gd name="connsiteX61" fmla="*/ 75272 w 1306181"/>
                <a:gd name="connsiteY61" fmla="*/ 104769 h 380318"/>
                <a:gd name="connsiteX62" fmla="*/ 92726 w 1306181"/>
                <a:gd name="connsiteY62" fmla="*/ 104134 h 380318"/>
                <a:gd name="connsiteX63" fmla="*/ 140866 w 1306181"/>
                <a:gd name="connsiteY63" fmla="*/ 100792 h 380318"/>
                <a:gd name="connsiteX64" fmla="*/ 188884 w 1306181"/>
                <a:gd name="connsiteY64" fmla="*/ 109348 h 380318"/>
                <a:gd name="connsiteX65" fmla="*/ 205120 w 1306181"/>
                <a:gd name="connsiteY65" fmla="*/ 131408 h 380318"/>
                <a:gd name="connsiteX66" fmla="*/ 193267 w 1306181"/>
                <a:gd name="connsiteY66" fmla="*/ 144243 h 380318"/>
                <a:gd name="connsiteX67" fmla="*/ 150972 w 1306181"/>
                <a:gd name="connsiteY67" fmla="*/ 138895 h 380318"/>
                <a:gd name="connsiteX68" fmla="*/ 130921 w 1306181"/>
                <a:gd name="connsiteY68" fmla="*/ 144945 h 380318"/>
                <a:gd name="connsiteX69" fmla="*/ 122803 w 1306181"/>
                <a:gd name="connsiteY69" fmla="*/ 151629 h 380318"/>
                <a:gd name="connsiteX70" fmla="*/ 101453 w 1306181"/>
                <a:gd name="connsiteY70" fmla="*/ 152599 h 380318"/>
                <a:gd name="connsiteX71" fmla="*/ 126944 w 1306181"/>
                <a:gd name="connsiteY71" fmla="*/ 165968 h 380318"/>
                <a:gd name="connsiteX72" fmla="*/ 131530 w 1306181"/>
                <a:gd name="connsiteY72" fmla="*/ 182680 h 380318"/>
                <a:gd name="connsiteX73" fmla="*/ 142367 w 1306181"/>
                <a:gd name="connsiteY73" fmla="*/ 185621 h 380318"/>
                <a:gd name="connsiteX74" fmla="*/ 156574 w 1306181"/>
                <a:gd name="connsiteY74" fmla="*/ 193542 h 380318"/>
                <a:gd name="connsiteX75" fmla="*/ 166965 w 1306181"/>
                <a:gd name="connsiteY75" fmla="*/ 206076 h 380318"/>
                <a:gd name="connsiteX76" fmla="*/ 170131 w 1306181"/>
                <a:gd name="connsiteY76" fmla="*/ 223757 h 380318"/>
                <a:gd name="connsiteX77" fmla="*/ 182064 w 1306181"/>
                <a:gd name="connsiteY77" fmla="*/ 215235 h 380318"/>
                <a:gd name="connsiteX78" fmla="*/ 204307 w 1306181"/>
                <a:gd name="connsiteY78" fmla="*/ 209352 h 380318"/>
                <a:gd name="connsiteX79" fmla="*/ 231787 w 1306181"/>
                <a:gd name="connsiteY79" fmla="*/ 217139 h 380318"/>
                <a:gd name="connsiteX80" fmla="*/ 263488 w 1306181"/>
                <a:gd name="connsiteY80" fmla="*/ 239132 h 380318"/>
                <a:gd name="connsiteX81" fmla="*/ 277328 w 1306181"/>
                <a:gd name="connsiteY81" fmla="*/ 225763 h 380318"/>
                <a:gd name="connsiteX82" fmla="*/ 294498 w 1306181"/>
                <a:gd name="connsiteY82" fmla="*/ 166135 h 380318"/>
                <a:gd name="connsiteX83" fmla="*/ 381401 w 1306181"/>
                <a:gd name="connsiteY83" fmla="*/ 165032 h 380318"/>
                <a:gd name="connsiteX84" fmla="*/ 410504 w 1306181"/>
                <a:gd name="connsiteY84" fmla="*/ 170480 h 380318"/>
                <a:gd name="connsiteX85" fmla="*/ 425725 w 1306181"/>
                <a:gd name="connsiteY85" fmla="*/ 164865 h 380318"/>
                <a:gd name="connsiteX86" fmla="*/ 430758 w 1306181"/>
                <a:gd name="connsiteY86" fmla="*/ 176029 h 380318"/>
                <a:gd name="connsiteX87" fmla="*/ 443868 w 1306181"/>
                <a:gd name="connsiteY87" fmla="*/ 197353 h 380318"/>
                <a:gd name="connsiteX88" fmla="*/ 477679 w 1306181"/>
                <a:gd name="connsiteY88" fmla="*/ 230776 h 380318"/>
                <a:gd name="connsiteX89" fmla="*/ 508447 w 1306181"/>
                <a:gd name="connsiteY89" fmla="*/ 233684 h 380318"/>
                <a:gd name="connsiteX90" fmla="*/ 535885 w 1306181"/>
                <a:gd name="connsiteY90" fmla="*/ 239834 h 380318"/>
                <a:gd name="connsiteX91" fmla="*/ 571482 w 1306181"/>
                <a:gd name="connsiteY91" fmla="*/ 246920 h 380318"/>
                <a:gd name="connsiteX92" fmla="*/ 594862 w 1306181"/>
                <a:gd name="connsiteY92" fmla="*/ 260289 h 380318"/>
                <a:gd name="connsiteX93" fmla="*/ 602980 w 1306181"/>
                <a:gd name="connsiteY93" fmla="*/ 280076 h 380318"/>
                <a:gd name="connsiteX94" fmla="*/ 621570 w 1306181"/>
                <a:gd name="connsiteY94" fmla="*/ 305244 h 380318"/>
                <a:gd name="connsiteX95" fmla="*/ 659197 w 1306181"/>
                <a:gd name="connsiteY95" fmla="*/ 317344 h 380318"/>
                <a:gd name="connsiteX96" fmla="*/ 677463 w 1306181"/>
                <a:gd name="connsiteY96" fmla="*/ 325933 h 380318"/>
                <a:gd name="connsiteX97" fmla="*/ 706728 w 1306181"/>
                <a:gd name="connsiteY97" fmla="*/ 317878 h 380318"/>
                <a:gd name="connsiteX98" fmla="*/ 729823 w 1306181"/>
                <a:gd name="connsiteY98" fmla="*/ 319015 h 380318"/>
                <a:gd name="connsiteX99" fmla="*/ 746627 w 1306181"/>
                <a:gd name="connsiteY99" fmla="*/ 313333 h 380318"/>
                <a:gd name="connsiteX100" fmla="*/ 771509 w 1306181"/>
                <a:gd name="connsiteY100" fmla="*/ 304977 h 380318"/>
                <a:gd name="connsiteX101" fmla="*/ 806091 w 1306181"/>
                <a:gd name="connsiteY101" fmla="*/ 312196 h 380318"/>
                <a:gd name="connsiteX102" fmla="*/ 838563 w 1306181"/>
                <a:gd name="connsiteY102" fmla="*/ 321388 h 380318"/>
                <a:gd name="connsiteX103" fmla="*/ 867504 w 1306181"/>
                <a:gd name="connsiteY103" fmla="*/ 316775 h 380318"/>
                <a:gd name="connsiteX104" fmla="*/ 909027 w 1306181"/>
                <a:gd name="connsiteY104" fmla="*/ 334456 h 380318"/>
                <a:gd name="connsiteX105" fmla="*/ 957045 w 1306181"/>
                <a:gd name="connsiteY105" fmla="*/ 344918 h 380318"/>
                <a:gd name="connsiteX106" fmla="*/ 1004616 w 1306181"/>
                <a:gd name="connsiteY106" fmla="*/ 359758 h 380318"/>
                <a:gd name="connsiteX107" fmla="*/ 1021420 w 1306181"/>
                <a:gd name="connsiteY107" fmla="*/ 368214 h 380318"/>
                <a:gd name="connsiteX108" fmla="*/ 1045408 w 1306181"/>
                <a:gd name="connsiteY108" fmla="*/ 379979 h 380318"/>
                <a:gd name="connsiteX109" fmla="*/ 1059453 w 1306181"/>
                <a:gd name="connsiteY109" fmla="*/ 367780 h 380318"/>
                <a:gd name="connsiteX110" fmla="*/ 1067205 w 1306181"/>
                <a:gd name="connsiteY110" fmla="*/ 356549 h 380318"/>
                <a:gd name="connsiteX111" fmla="*/ 1062213 w 1306181"/>
                <a:gd name="connsiteY111" fmla="*/ 325599 h 380318"/>
                <a:gd name="connsiteX112" fmla="*/ 1087825 w 1306181"/>
                <a:gd name="connsiteY112" fmla="*/ 327270 h 380318"/>
                <a:gd name="connsiteX113" fmla="*/ 1108119 w 1306181"/>
                <a:gd name="connsiteY113" fmla="*/ 328975 h 380318"/>
                <a:gd name="connsiteX114" fmla="*/ 1124355 w 1306181"/>
                <a:gd name="connsiteY114" fmla="*/ 336729 h 380318"/>
                <a:gd name="connsiteX115" fmla="*/ 1135964 w 1306181"/>
                <a:gd name="connsiteY115" fmla="*/ 331582 h 380318"/>
                <a:gd name="connsiteX116" fmla="*/ 1145990 w 1306181"/>
                <a:gd name="connsiteY116" fmla="*/ 320719 h 380318"/>
                <a:gd name="connsiteX117" fmla="*/ 1178462 w 1306181"/>
                <a:gd name="connsiteY117" fmla="*/ 305578 h 380318"/>
                <a:gd name="connsiteX118" fmla="*/ 1244461 w 1306181"/>
                <a:gd name="connsiteY118" fmla="*/ 322992 h 380318"/>
                <a:gd name="connsiteX119" fmla="*/ 1269423 w 1306181"/>
                <a:gd name="connsiteY119" fmla="*/ 300231 h 380318"/>
                <a:gd name="connsiteX120" fmla="*/ 1291707 w 1306181"/>
                <a:gd name="connsiteY120" fmla="*/ 296019 h 380318"/>
                <a:gd name="connsiteX121" fmla="*/ 1302869 w 1306181"/>
                <a:gd name="connsiteY121" fmla="*/ 290872 h 380318"/>
                <a:gd name="connsiteX122" fmla="*/ 1302869 w 1306181"/>
                <a:gd name="connsiteY122" fmla="*/ 280845 h 380318"/>
                <a:gd name="connsiteX123" fmla="*/ 476299 w 1306181"/>
                <a:gd name="connsiteY123" fmla="*/ 171149 h 380318"/>
                <a:gd name="connsiteX124" fmla="*/ 433721 w 1306181"/>
                <a:gd name="connsiteY124" fmla="*/ 157044 h 380318"/>
                <a:gd name="connsiteX125" fmla="*/ 476299 w 1306181"/>
                <a:gd name="connsiteY125" fmla="*/ 171082 h 380318"/>
                <a:gd name="connsiteX126" fmla="*/ 1008431 w 1306181"/>
                <a:gd name="connsiteY126" fmla="*/ 281045 h 380318"/>
                <a:gd name="connsiteX127" fmla="*/ 899245 w 1306181"/>
                <a:gd name="connsiteY127" fmla="*/ 262161 h 380318"/>
                <a:gd name="connsiteX128" fmla="*/ 881385 w 1306181"/>
                <a:gd name="connsiteY128" fmla="*/ 272957 h 380318"/>
                <a:gd name="connsiteX129" fmla="*/ 875459 w 1306181"/>
                <a:gd name="connsiteY129" fmla="*/ 279241 h 380318"/>
                <a:gd name="connsiteX130" fmla="*/ 871847 w 1306181"/>
                <a:gd name="connsiteY130" fmla="*/ 257415 h 380318"/>
                <a:gd name="connsiteX131" fmla="*/ 984159 w 1306181"/>
                <a:gd name="connsiteY131" fmla="*/ 270016 h 380318"/>
                <a:gd name="connsiteX132" fmla="*/ 1041593 w 1306181"/>
                <a:gd name="connsiteY132" fmla="*/ 280611 h 380318"/>
                <a:gd name="connsiteX133" fmla="*/ 1042121 w 1306181"/>
                <a:gd name="connsiteY133" fmla="*/ 283953 h 380318"/>
                <a:gd name="connsiteX134" fmla="*/ 1008431 w 1306181"/>
                <a:gd name="connsiteY134" fmla="*/ 280979 h 38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306181" h="380318">
                  <a:moveTo>
                    <a:pt x="1302626" y="281447"/>
                  </a:moveTo>
                  <a:cubicBezTo>
                    <a:pt x="1303031" y="278104"/>
                    <a:pt x="1253350" y="276433"/>
                    <a:pt x="1252944" y="259454"/>
                  </a:cubicBezTo>
                  <a:cubicBezTo>
                    <a:pt x="1252944" y="254674"/>
                    <a:pt x="1237683" y="250864"/>
                    <a:pt x="1233866" y="245449"/>
                  </a:cubicBezTo>
                  <a:cubicBezTo>
                    <a:pt x="1229077" y="238598"/>
                    <a:pt x="1225748" y="229206"/>
                    <a:pt x="1210690" y="225395"/>
                  </a:cubicBezTo>
                  <a:cubicBezTo>
                    <a:pt x="1198513" y="222454"/>
                    <a:pt x="1186336" y="225395"/>
                    <a:pt x="1174159" y="221886"/>
                  </a:cubicBezTo>
                  <a:cubicBezTo>
                    <a:pt x="1160115" y="217741"/>
                    <a:pt x="1147613" y="212126"/>
                    <a:pt x="1140389" y="204238"/>
                  </a:cubicBezTo>
                  <a:cubicBezTo>
                    <a:pt x="1123787" y="186189"/>
                    <a:pt x="1110961" y="215435"/>
                    <a:pt x="1099799" y="194746"/>
                  </a:cubicBezTo>
                  <a:cubicBezTo>
                    <a:pt x="1091519" y="177860"/>
                    <a:pt x="1081777" y="161486"/>
                    <a:pt x="1070656" y="145747"/>
                  </a:cubicBezTo>
                  <a:cubicBezTo>
                    <a:pt x="1064405" y="136659"/>
                    <a:pt x="1056530" y="128400"/>
                    <a:pt x="1047276" y="121247"/>
                  </a:cubicBezTo>
                  <a:cubicBezTo>
                    <a:pt x="1040700" y="116401"/>
                    <a:pt x="1018863" y="108747"/>
                    <a:pt x="1027793" y="103266"/>
                  </a:cubicBezTo>
                  <a:cubicBezTo>
                    <a:pt x="1034693" y="99154"/>
                    <a:pt x="1034490" y="97283"/>
                    <a:pt x="1018660" y="95411"/>
                  </a:cubicBezTo>
                  <a:cubicBezTo>
                    <a:pt x="1005266" y="93840"/>
                    <a:pt x="987122" y="96079"/>
                    <a:pt x="974011" y="96447"/>
                  </a:cubicBezTo>
                  <a:cubicBezTo>
                    <a:pt x="961672" y="96781"/>
                    <a:pt x="949333" y="96153"/>
                    <a:pt x="937156" y="94575"/>
                  </a:cubicBezTo>
                  <a:cubicBezTo>
                    <a:pt x="936750" y="94575"/>
                    <a:pt x="902533" y="94575"/>
                    <a:pt x="917064" y="89328"/>
                  </a:cubicBezTo>
                  <a:cubicBezTo>
                    <a:pt x="918606" y="88760"/>
                    <a:pt x="941215" y="84715"/>
                    <a:pt x="927130" y="82643"/>
                  </a:cubicBezTo>
                  <a:cubicBezTo>
                    <a:pt x="918038" y="81406"/>
                    <a:pt x="909473" y="74722"/>
                    <a:pt x="902411" y="74555"/>
                  </a:cubicBezTo>
                  <a:cubicBezTo>
                    <a:pt x="897987" y="74555"/>
                    <a:pt x="899164" y="79568"/>
                    <a:pt x="892791" y="75190"/>
                  </a:cubicBezTo>
                  <a:cubicBezTo>
                    <a:pt x="888407" y="72181"/>
                    <a:pt x="893075" y="68906"/>
                    <a:pt x="886215" y="66065"/>
                  </a:cubicBezTo>
                  <a:cubicBezTo>
                    <a:pt x="878097" y="62723"/>
                    <a:pt x="858290" y="70444"/>
                    <a:pt x="849685" y="61920"/>
                  </a:cubicBezTo>
                  <a:cubicBezTo>
                    <a:pt x="846397" y="58578"/>
                    <a:pt x="854271" y="57943"/>
                    <a:pt x="855530" y="55737"/>
                  </a:cubicBezTo>
                  <a:cubicBezTo>
                    <a:pt x="857762" y="51760"/>
                    <a:pt x="850537" y="46780"/>
                    <a:pt x="853460" y="42802"/>
                  </a:cubicBezTo>
                  <a:cubicBezTo>
                    <a:pt x="859020" y="35282"/>
                    <a:pt x="833165" y="32207"/>
                    <a:pt x="826386" y="30569"/>
                  </a:cubicBezTo>
                  <a:cubicBezTo>
                    <a:pt x="812504" y="27227"/>
                    <a:pt x="804995" y="22113"/>
                    <a:pt x="790059" y="20375"/>
                  </a:cubicBezTo>
                  <a:cubicBezTo>
                    <a:pt x="777435" y="18904"/>
                    <a:pt x="773051" y="21344"/>
                    <a:pt x="763026" y="21879"/>
                  </a:cubicBezTo>
                  <a:cubicBezTo>
                    <a:pt x="744963" y="22815"/>
                    <a:pt x="720812" y="19874"/>
                    <a:pt x="701695" y="17968"/>
                  </a:cubicBezTo>
                  <a:cubicBezTo>
                    <a:pt x="688787" y="16665"/>
                    <a:pt x="674337" y="13924"/>
                    <a:pt x="661714" y="13991"/>
                  </a:cubicBezTo>
                  <a:cubicBezTo>
                    <a:pt x="641825" y="13991"/>
                    <a:pt x="625183" y="10649"/>
                    <a:pt x="605294" y="8810"/>
                  </a:cubicBezTo>
                  <a:cubicBezTo>
                    <a:pt x="590113" y="7507"/>
                    <a:pt x="578180" y="10582"/>
                    <a:pt x="562756" y="7340"/>
                  </a:cubicBezTo>
                  <a:cubicBezTo>
                    <a:pt x="549118" y="4465"/>
                    <a:pt x="535317" y="2393"/>
                    <a:pt x="521517" y="87"/>
                  </a:cubicBezTo>
                  <a:cubicBezTo>
                    <a:pt x="508812" y="-2052"/>
                    <a:pt x="511045" y="9913"/>
                    <a:pt x="514170" y="14024"/>
                  </a:cubicBezTo>
                  <a:cubicBezTo>
                    <a:pt x="518229" y="19305"/>
                    <a:pt x="539538" y="21879"/>
                    <a:pt x="541162" y="26625"/>
                  </a:cubicBezTo>
                  <a:cubicBezTo>
                    <a:pt x="541811" y="28497"/>
                    <a:pt x="500572" y="21177"/>
                    <a:pt x="496879" y="25388"/>
                  </a:cubicBezTo>
                  <a:cubicBezTo>
                    <a:pt x="493185" y="29600"/>
                    <a:pt x="500938" y="35683"/>
                    <a:pt x="492251" y="37856"/>
                  </a:cubicBezTo>
                  <a:cubicBezTo>
                    <a:pt x="486609" y="39259"/>
                    <a:pt x="468547" y="37856"/>
                    <a:pt x="470049" y="42669"/>
                  </a:cubicBezTo>
                  <a:cubicBezTo>
                    <a:pt x="473377" y="53598"/>
                    <a:pt x="507797" y="52963"/>
                    <a:pt x="508812" y="64761"/>
                  </a:cubicBezTo>
                  <a:cubicBezTo>
                    <a:pt x="509299" y="70678"/>
                    <a:pt x="507675" y="75658"/>
                    <a:pt x="494524" y="74454"/>
                  </a:cubicBezTo>
                  <a:cubicBezTo>
                    <a:pt x="479668" y="73117"/>
                    <a:pt x="475609" y="67368"/>
                    <a:pt x="463392" y="63859"/>
                  </a:cubicBezTo>
                  <a:cubicBezTo>
                    <a:pt x="457506" y="62188"/>
                    <a:pt x="455274" y="67569"/>
                    <a:pt x="452879" y="69006"/>
                  </a:cubicBezTo>
                  <a:cubicBezTo>
                    <a:pt x="446344" y="73017"/>
                    <a:pt x="441758" y="63224"/>
                    <a:pt x="435304" y="62121"/>
                  </a:cubicBezTo>
                  <a:cubicBezTo>
                    <a:pt x="416551" y="58779"/>
                    <a:pt x="405633" y="40362"/>
                    <a:pt x="383511" y="47248"/>
                  </a:cubicBezTo>
                  <a:cubicBezTo>
                    <a:pt x="370279" y="51325"/>
                    <a:pt x="345722" y="31572"/>
                    <a:pt x="331963" y="43471"/>
                  </a:cubicBezTo>
                  <a:cubicBezTo>
                    <a:pt x="326321" y="48350"/>
                    <a:pt x="308015" y="43471"/>
                    <a:pt x="301317" y="40128"/>
                  </a:cubicBezTo>
                  <a:cubicBezTo>
                    <a:pt x="297299" y="37835"/>
                    <a:pt x="292955" y="35990"/>
                    <a:pt x="288369" y="34647"/>
                  </a:cubicBezTo>
                  <a:cubicBezTo>
                    <a:pt x="280778" y="33009"/>
                    <a:pt x="284878" y="38591"/>
                    <a:pt x="280698" y="39259"/>
                  </a:cubicBezTo>
                  <a:cubicBezTo>
                    <a:pt x="285568" y="38457"/>
                    <a:pt x="243477" y="15027"/>
                    <a:pt x="234831" y="12888"/>
                  </a:cubicBezTo>
                  <a:cubicBezTo>
                    <a:pt x="224278" y="10281"/>
                    <a:pt x="218798" y="8877"/>
                    <a:pt x="211654" y="4398"/>
                  </a:cubicBezTo>
                  <a:cubicBezTo>
                    <a:pt x="198097" y="-4124"/>
                    <a:pt x="190994" y="7005"/>
                    <a:pt x="181374" y="4064"/>
                  </a:cubicBezTo>
                  <a:cubicBezTo>
                    <a:pt x="166924" y="-314"/>
                    <a:pt x="163353" y="-1284"/>
                    <a:pt x="147239" y="521"/>
                  </a:cubicBezTo>
                  <a:cubicBezTo>
                    <a:pt x="135954" y="1791"/>
                    <a:pt x="123372" y="5669"/>
                    <a:pt x="110708" y="3864"/>
                  </a:cubicBezTo>
                  <a:cubicBezTo>
                    <a:pt x="104903" y="3095"/>
                    <a:pt x="103645" y="5535"/>
                    <a:pt x="101250" y="7406"/>
                  </a:cubicBezTo>
                  <a:cubicBezTo>
                    <a:pt x="97191" y="10749"/>
                    <a:pt x="90128" y="8777"/>
                    <a:pt x="84324" y="10448"/>
                  </a:cubicBezTo>
                  <a:cubicBezTo>
                    <a:pt x="72147" y="13790"/>
                    <a:pt x="93985" y="26592"/>
                    <a:pt x="76206" y="27628"/>
                  </a:cubicBezTo>
                  <a:cubicBezTo>
                    <a:pt x="64030" y="28397"/>
                    <a:pt x="59321" y="16765"/>
                    <a:pt x="52340" y="13055"/>
                  </a:cubicBezTo>
                  <a:cubicBezTo>
                    <a:pt x="36104" y="4465"/>
                    <a:pt x="34074" y="19005"/>
                    <a:pt x="24901" y="21043"/>
                  </a:cubicBezTo>
                  <a:cubicBezTo>
                    <a:pt x="10532" y="24386"/>
                    <a:pt x="9193" y="26826"/>
                    <a:pt x="20314" y="33009"/>
                  </a:cubicBezTo>
                  <a:cubicBezTo>
                    <a:pt x="23642" y="34847"/>
                    <a:pt x="3835" y="40563"/>
                    <a:pt x="1318" y="43404"/>
                  </a:cubicBezTo>
                  <a:cubicBezTo>
                    <a:pt x="-3999" y="49386"/>
                    <a:pt x="7285" y="49453"/>
                    <a:pt x="14591" y="52829"/>
                  </a:cubicBezTo>
                  <a:cubicBezTo>
                    <a:pt x="21897" y="56205"/>
                    <a:pt x="8949" y="67101"/>
                    <a:pt x="21572" y="66533"/>
                  </a:cubicBezTo>
                  <a:cubicBezTo>
                    <a:pt x="39960" y="65697"/>
                    <a:pt x="48281" y="69508"/>
                    <a:pt x="56723" y="78031"/>
                  </a:cubicBezTo>
                  <a:cubicBezTo>
                    <a:pt x="60782" y="82175"/>
                    <a:pt x="68900" y="86888"/>
                    <a:pt x="70726" y="91400"/>
                  </a:cubicBezTo>
                  <a:cubicBezTo>
                    <a:pt x="72553" y="95912"/>
                    <a:pt x="55790" y="92603"/>
                    <a:pt x="59037" y="96748"/>
                  </a:cubicBezTo>
                  <a:cubicBezTo>
                    <a:pt x="61797" y="100090"/>
                    <a:pt x="70159" y="102330"/>
                    <a:pt x="75272" y="104769"/>
                  </a:cubicBezTo>
                  <a:cubicBezTo>
                    <a:pt x="83390" y="108647"/>
                    <a:pt x="84690" y="105973"/>
                    <a:pt x="92726" y="104134"/>
                  </a:cubicBezTo>
                  <a:cubicBezTo>
                    <a:pt x="108353" y="100471"/>
                    <a:pt x="124711" y="99335"/>
                    <a:pt x="140866" y="100792"/>
                  </a:cubicBezTo>
                  <a:cubicBezTo>
                    <a:pt x="156412" y="102330"/>
                    <a:pt x="173337" y="106708"/>
                    <a:pt x="188884" y="109348"/>
                  </a:cubicBezTo>
                  <a:cubicBezTo>
                    <a:pt x="209544" y="112891"/>
                    <a:pt x="208407" y="122985"/>
                    <a:pt x="205120" y="131408"/>
                  </a:cubicBezTo>
                  <a:cubicBezTo>
                    <a:pt x="202887" y="136856"/>
                    <a:pt x="207068" y="144778"/>
                    <a:pt x="193267" y="144243"/>
                  </a:cubicBezTo>
                  <a:cubicBezTo>
                    <a:pt x="179467" y="143708"/>
                    <a:pt x="165463" y="139329"/>
                    <a:pt x="150972" y="138895"/>
                  </a:cubicBezTo>
                  <a:cubicBezTo>
                    <a:pt x="141880" y="138628"/>
                    <a:pt x="126984" y="138226"/>
                    <a:pt x="130921" y="144945"/>
                  </a:cubicBezTo>
                  <a:cubicBezTo>
                    <a:pt x="133884" y="149992"/>
                    <a:pt x="137212" y="158080"/>
                    <a:pt x="122803" y="151629"/>
                  </a:cubicBezTo>
                  <a:cubicBezTo>
                    <a:pt x="117567" y="149223"/>
                    <a:pt x="99708" y="145981"/>
                    <a:pt x="101453" y="152599"/>
                  </a:cubicBezTo>
                  <a:cubicBezTo>
                    <a:pt x="102346" y="155941"/>
                    <a:pt x="123128" y="160620"/>
                    <a:pt x="126944" y="165968"/>
                  </a:cubicBezTo>
                  <a:cubicBezTo>
                    <a:pt x="130231" y="170681"/>
                    <a:pt x="122519" y="178769"/>
                    <a:pt x="131530" y="182680"/>
                  </a:cubicBezTo>
                  <a:cubicBezTo>
                    <a:pt x="135589" y="184418"/>
                    <a:pt x="138958" y="182847"/>
                    <a:pt x="142367" y="185621"/>
                  </a:cubicBezTo>
                  <a:cubicBezTo>
                    <a:pt x="146426" y="188963"/>
                    <a:pt x="148537" y="192707"/>
                    <a:pt x="156574" y="193542"/>
                  </a:cubicBezTo>
                  <a:cubicBezTo>
                    <a:pt x="177559" y="195782"/>
                    <a:pt x="173135" y="199425"/>
                    <a:pt x="166965" y="206076"/>
                  </a:cubicBezTo>
                  <a:cubicBezTo>
                    <a:pt x="162540" y="210856"/>
                    <a:pt x="165423" y="218543"/>
                    <a:pt x="170131" y="223757"/>
                  </a:cubicBezTo>
                  <a:cubicBezTo>
                    <a:pt x="177194" y="231545"/>
                    <a:pt x="179304" y="217073"/>
                    <a:pt x="182064" y="215235"/>
                  </a:cubicBezTo>
                  <a:cubicBezTo>
                    <a:pt x="178005" y="207647"/>
                    <a:pt x="195337" y="208550"/>
                    <a:pt x="204307" y="209352"/>
                  </a:cubicBezTo>
                  <a:cubicBezTo>
                    <a:pt x="214171" y="209823"/>
                    <a:pt x="223669" y="212517"/>
                    <a:pt x="231787" y="217139"/>
                  </a:cubicBezTo>
                  <a:cubicBezTo>
                    <a:pt x="241203" y="222688"/>
                    <a:pt x="250702" y="236659"/>
                    <a:pt x="263488" y="239132"/>
                  </a:cubicBezTo>
                  <a:cubicBezTo>
                    <a:pt x="278424" y="242007"/>
                    <a:pt x="275665" y="230877"/>
                    <a:pt x="277328" y="225763"/>
                  </a:cubicBezTo>
                  <a:lnTo>
                    <a:pt x="294498" y="166135"/>
                  </a:lnTo>
                  <a:cubicBezTo>
                    <a:pt x="295959" y="161021"/>
                    <a:pt x="370929" y="170280"/>
                    <a:pt x="381401" y="165032"/>
                  </a:cubicBezTo>
                  <a:cubicBezTo>
                    <a:pt x="391873" y="159785"/>
                    <a:pt x="402101" y="165333"/>
                    <a:pt x="410504" y="170480"/>
                  </a:cubicBezTo>
                  <a:cubicBezTo>
                    <a:pt x="411031" y="170814"/>
                    <a:pt x="419474" y="163495"/>
                    <a:pt x="425725" y="164865"/>
                  </a:cubicBezTo>
                  <a:cubicBezTo>
                    <a:pt x="436603" y="167272"/>
                    <a:pt x="422315" y="174591"/>
                    <a:pt x="430758" y="176029"/>
                  </a:cubicBezTo>
                  <a:cubicBezTo>
                    <a:pt x="442610" y="178101"/>
                    <a:pt x="445046" y="193108"/>
                    <a:pt x="443868" y="197353"/>
                  </a:cubicBezTo>
                  <a:cubicBezTo>
                    <a:pt x="442691" y="201598"/>
                    <a:pt x="467898" y="228671"/>
                    <a:pt x="477679" y="230776"/>
                  </a:cubicBezTo>
                  <a:cubicBezTo>
                    <a:pt x="487462" y="232882"/>
                    <a:pt x="498421" y="232648"/>
                    <a:pt x="508447" y="233684"/>
                  </a:cubicBezTo>
                  <a:cubicBezTo>
                    <a:pt x="517336" y="234620"/>
                    <a:pt x="527118" y="238029"/>
                    <a:pt x="535885" y="239834"/>
                  </a:cubicBezTo>
                  <a:cubicBezTo>
                    <a:pt x="547737" y="242308"/>
                    <a:pt x="559590" y="244614"/>
                    <a:pt x="571482" y="246920"/>
                  </a:cubicBezTo>
                  <a:cubicBezTo>
                    <a:pt x="584715" y="249460"/>
                    <a:pt x="586338" y="254340"/>
                    <a:pt x="594862" y="260289"/>
                  </a:cubicBezTo>
                  <a:cubicBezTo>
                    <a:pt x="607283" y="268812"/>
                    <a:pt x="603630" y="270317"/>
                    <a:pt x="602980" y="280076"/>
                  </a:cubicBezTo>
                  <a:cubicBezTo>
                    <a:pt x="602655" y="284388"/>
                    <a:pt x="614061" y="303038"/>
                    <a:pt x="621570" y="305244"/>
                  </a:cubicBezTo>
                  <a:cubicBezTo>
                    <a:pt x="634843" y="309121"/>
                    <a:pt x="647994" y="310659"/>
                    <a:pt x="659197" y="317344"/>
                  </a:cubicBezTo>
                  <a:cubicBezTo>
                    <a:pt x="665610" y="321187"/>
                    <a:pt x="665123" y="331348"/>
                    <a:pt x="677463" y="325933"/>
                  </a:cubicBezTo>
                  <a:cubicBezTo>
                    <a:pt x="687326" y="321588"/>
                    <a:pt x="691831" y="318614"/>
                    <a:pt x="706728" y="317878"/>
                  </a:cubicBezTo>
                  <a:cubicBezTo>
                    <a:pt x="714440" y="317166"/>
                    <a:pt x="722273" y="317551"/>
                    <a:pt x="729823" y="319015"/>
                  </a:cubicBezTo>
                  <a:cubicBezTo>
                    <a:pt x="741229" y="321856"/>
                    <a:pt x="736602" y="313466"/>
                    <a:pt x="746627" y="313333"/>
                  </a:cubicBezTo>
                  <a:cubicBezTo>
                    <a:pt x="760468" y="313166"/>
                    <a:pt x="762092" y="307818"/>
                    <a:pt x="771509" y="304977"/>
                  </a:cubicBezTo>
                  <a:cubicBezTo>
                    <a:pt x="780276" y="302336"/>
                    <a:pt x="798055" y="308754"/>
                    <a:pt x="806091" y="312196"/>
                  </a:cubicBezTo>
                  <a:cubicBezTo>
                    <a:pt x="813154" y="315171"/>
                    <a:pt x="830730" y="326702"/>
                    <a:pt x="838563" y="321388"/>
                  </a:cubicBezTo>
                  <a:cubicBezTo>
                    <a:pt x="846397" y="316073"/>
                    <a:pt x="850984" y="313099"/>
                    <a:pt x="867504" y="316775"/>
                  </a:cubicBezTo>
                  <a:cubicBezTo>
                    <a:pt x="883090" y="320118"/>
                    <a:pt x="892750" y="330780"/>
                    <a:pt x="909027" y="334456"/>
                  </a:cubicBezTo>
                  <a:cubicBezTo>
                    <a:pt x="925303" y="338133"/>
                    <a:pt x="940768" y="340239"/>
                    <a:pt x="957045" y="344918"/>
                  </a:cubicBezTo>
                  <a:cubicBezTo>
                    <a:pt x="972225" y="349263"/>
                    <a:pt x="989030" y="356850"/>
                    <a:pt x="1004616" y="359758"/>
                  </a:cubicBezTo>
                  <a:cubicBezTo>
                    <a:pt x="1011394" y="360584"/>
                    <a:pt x="1017442" y="363635"/>
                    <a:pt x="1021420" y="368214"/>
                  </a:cubicBezTo>
                  <a:cubicBezTo>
                    <a:pt x="1027305" y="374899"/>
                    <a:pt x="1038265" y="374264"/>
                    <a:pt x="1045408" y="379979"/>
                  </a:cubicBezTo>
                  <a:cubicBezTo>
                    <a:pt x="1047682" y="373295"/>
                    <a:pt x="1048128" y="370353"/>
                    <a:pt x="1059453" y="367780"/>
                  </a:cubicBezTo>
                  <a:cubicBezTo>
                    <a:pt x="1069235" y="365540"/>
                    <a:pt x="1070128" y="363201"/>
                    <a:pt x="1067205" y="356549"/>
                  </a:cubicBezTo>
                  <a:cubicBezTo>
                    <a:pt x="1065095" y="351669"/>
                    <a:pt x="1057992" y="326468"/>
                    <a:pt x="1062213" y="325599"/>
                  </a:cubicBezTo>
                  <a:cubicBezTo>
                    <a:pt x="1070736" y="324095"/>
                    <a:pt x="1078692" y="326234"/>
                    <a:pt x="1087825" y="327270"/>
                  </a:cubicBezTo>
                  <a:cubicBezTo>
                    <a:pt x="1094604" y="327521"/>
                    <a:pt x="1101382" y="328089"/>
                    <a:pt x="1108119" y="328975"/>
                  </a:cubicBezTo>
                  <a:cubicBezTo>
                    <a:pt x="1113559" y="330178"/>
                    <a:pt x="1118551" y="334857"/>
                    <a:pt x="1124355" y="336729"/>
                  </a:cubicBezTo>
                  <a:cubicBezTo>
                    <a:pt x="1135639" y="340473"/>
                    <a:pt x="1145178" y="339637"/>
                    <a:pt x="1135964" y="331582"/>
                  </a:cubicBezTo>
                  <a:cubicBezTo>
                    <a:pt x="1132473" y="328574"/>
                    <a:pt x="1143839" y="322223"/>
                    <a:pt x="1145990" y="320719"/>
                  </a:cubicBezTo>
                  <a:cubicBezTo>
                    <a:pt x="1151145" y="317009"/>
                    <a:pt x="1168192" y="299328"/>
                    <a:pt x="1178462" y="305578"/>
                  </a:cubicBezTo>
                  <a:cubicBezTo>
                    <a:pt x="1192871" y="314436"/>
                    <a:pt x="1226439" y="325198"/>
                    <a:pt x="1244461" y="322992"/>
                  </a:cubicBezTo>
                  <a:cubicBezTo>
                    <a:pt x="1260453" y="321054"/>
                    <a:pt x="1237601" y="296253"/>
                    <a:pt x="1269423" y="300231"/>
                  </a:cubicBezTo>
                  <a:cubicBezTo>
                    <a:pt x="1281113" y="301735"/>
                    <a:pt x="1288825" y="303172"/>
                    <a:pt x="1291707" y="296019"/>
                  </a:cubicBezTo>
                  <a:cubicBezTo>
                    <a:pt x="1292925" y="293111"/>
                    <a:pt x="1299135" y="292343"/>
                    <a:pt x="1302869" y="290872"/>
                  </a:cubicBezTo>
                  <a:cubicBezTo>
                    <a:pt x="1310541" y="287864"/>
                    <a:pt x="1302139" y="285558"/>
                    <a:pt x="1302869" y="280845"/>
                  </a:cubicBezTo>
                  <a:close/>
                  <a:moveTo>
                    <a:pt x="476299" y="171149"/>
                  </a:moveTo>
                  <a:cubicBezTo>
                    <a:pt x="471794" y="173154"/>
                    <a:pt x="435710" y="161556"/>
                    <a:pt x="433721" y="157044"/>
                  </a:cubicBezTo>
                  <a:cubicBezTo>
                    <a:pt x="431732" y="152532"/>
                    <a:pt x="486000" y="166703"/>
                    <a:pt x="476299" y="171082"/>
                  </a:cubicBezTo>
                  <a:close/>
                  <a:moveTo>
                    <a:pt x="1008431" y="281045"/>
                  </a:moveTo>
                  <a:cubicBezTo>
                    <a:pt x="976284" y="273224"/>
                    <a:pt x="929606" y="253638"/>
                    <a:pt x="899245" y="262161"/>
                  </a:cubicBezTo>
                  <a:cubicBezTo>
                    <a:pt x="891127" y="264434"/>
                    <a:pt x="883861" y="267776"/>
                    <a:pt x="881385" y="272957"/>
                  </a:cubicBezTo>
                  <a:cubicBezTo>
                    <a:pt x="880411" y="275029"/>
                    <a:pt x="881629" y="280043"/>
                    <a:pt x="875459" y="279241"/>
                  </a:cubicBezTo>
                  <a:cubicBezTo>
                    <a:pt x="862105" y="277569"/>
                    <a:pt x="869533" y="260323"/>
                    <a:pt x="871847" y="257415"/>
                  </a:cubicBezTo>
                  <a:cubicBezTo>
                    <a:pt x="888082" y="236559"/>
                    <a:pt x="955502" y="263231"/>
                    <a:pt x="984159" y="270016"/>
                  </a:cubicBezTo>
                  <a:cubicBezTo>
                    <a:pt x="1003155" y="274428"/>
                    <a:pt x="1022759" y="276065"/>
                    <a:pt x="1041593" y="280611"/>
                  </a:cubicBezTo>
                  <a:cubicBezTo>
                    <a:pt x="1045977" y="281680"/>
                    <a:pt x="1045652" y="283251"/>
                    <a:pt x="1042121" y="283953"/>
                  </a:cubicBezTo>
                  <a:cubicBezTo>
                    <a:pt x="1032704" y="285858"/>
                    <a:pt x="1018863" y="283485"/>
                    <a:pt x="1008431" y="280979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56" name="SAMEA">
            <a:extLst>
              <a:ext uri="{FF2B5EF4-FFF2-40B4-BE49-F238E27FC236}">
                <a16:creationId xmlns:a16="http://schemas.microsoft.com/office/drawing/2014/main" id="{5247DFDA-998B-4DEF-98E7-0FBB2B7E2C17}"/>
              </a:ext>
            </a:extLst>
          </p:cNvPr>
          <p:cNvGrpSpPr/>
          <p:nvPr/>
        </p:nvGrpSpPr>
        <p:grpSpPr>
          <a:xfrm>
            <a:off x="5489121" y="4490152"/>
            <a:ext cx="4676854" cy="2035192"/>
            <a:chOff x="5489121" y="4490152"/>
            <a:chExt cx="4676854" cy="2035192"/>
          </a:xfrm>
        </p:grpSpPr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C663F399-3DB0-4B72-BAC5-85B6DF7E3F5B}"/>
                </a:ext>
              </a:extLst>
            </p:cNvPr>
            <p:cNvSpPr/>
            <p:nvPr/>
          </p:nvSpPr>
          <p:spPr>
            <a:xfrm>
              <a:off x="9781882" y="6178974"/>
              <a:ext cx="37773" cy="49548"/>
            </a:xfrm>
            <a:custGeom>
              <a:avLst/>
              <a:gdLst>
                <a:gd name="connsiteX0" fmla="*/ 163 w 38768"/>
                <a:gd name="connsiteY0" fmla="*/ -11 h 67843"/>
                <a:gd name="connsiteX1" fmla="*/ 36978 w 38768"/>
                <a:gd name="connsiteY1" fmla="*/ 67472 h 67843"/>
                <a:gd name="connsiteX2" fmla="*/ 163 w 38768"/>
                <a:gd name="connsiteY2" fmla="*/ -11 h 6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768" h="67843">
                  <a:moveTo>
                    <a:pt x="163" y="-11"/>
                  </a:moveTo>
                  <a:cubicBezTo>
                    <a:pt x="3735" y="-5893"/>
                    <a:pt x="47897" y="69310"/>
                    <a:pt x="36978" y="67472"/>
                  </a:cubicBezTo>
                  <a:cubicBezTo>
                    <a:pt x="26059" y="65633"/>
                    <a:pt x="-2881" y="5605"/>
                    <a:pt x="163" y="-11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B7973F7E-1B12-4CF2-B6AD-2C4EACD31A9C}"/>
                </a:ext>
              </a:extLst>
            </p:cNvPr>
            <p:cNvSpPr/>
            <p:nvPr/>
          </p:nvSpPr>
          <p:spPr>
            <a:xfrm>
              <a:off x="6912864" y="5340172"/>
              <a:ext cx="206776" cy="165737"/>
            </a:xfrm>
            <a:custGeom>
              <a:avLst/>
              <a:gdLst>
                <a:gd name="connsiteX0" fmla="*/ 193875 w 212223"/>
                <a:gd name="connsiteY0" fmla="*/ 3008 h 226932"/>
                <a:gd name="connsiteX1" fmla="*/ 192413 w 212223"/>
                <a:gd name="connsiteY1" fmla="*/ -130 h 226932"/>
                <a:gd name="connsiteX2" fmla="*/ 191074 w 212223"/>
                <a:gd name="connsiteY2" fmla="*/ -334 h 226932"/>
                <a:gd name="connsiteX3" fmla="*/ 170779 w 212223"/>
                <a:gd name="connsiteY3" fmla="*/ 22795 h 226932"/>
                <a:gd name="connsiteX4" fmla="*/ 147643 w 212223"/>
                <a:gd name="connsiteY4" fmla="*/ 24299 h 226932"/>
                <a:gd name="connsiteX5" fmla="*/ 142041 w 212223"/>
                <a:gd name="connsiteY5" fmla="*/ 35462 h 226932"/>
                <a:gd name="connsiteX6" fmla="*/ 127916 w 212223"/>
                <a:gd name="connsiteY6" fmla="*/ 46091 h 226932"/>
                <a:gd name="connsiteX7" fmla="*/ 101858 w 212223"/>
                <a:gd name="connsiteY7" fmla="*/ 50470 h 226932"/>
                <a:gd name="connsiteX8" fmla="*/ 75190 w 212223"/>
                <a:gd name="connsiteY8" fmla="*/ 52943 h 226932"/>
                <a:gd name="connsiteX9" fmla="*/ 42718 w 212223"/>
                <a:gd name="connsiteY9" fmla="*/ 54982 h 226932"/>
                <a:gd name="connsiteX10" fmla="*/ 36102 w 212223"/>
                <a:gd name="connsiteY10" fmla="*/ 71694 h 226932"/>
                <a:gd name="connsiteX11" fmla="*/ 27375 w 212223"/>
                <a:gd name="connsiteY11" fmla="*/ 94422 h 226932"/>
                <a:gd name="connsiteX12" fmla="*/ 24818 w 212223"/>
                <a:gd name="connsiteY12" fmla="*/ 135967 h 226932"/>
                <a:gd name="connsiteX13" fmla="*/ 1236 w 212223"/>
                <a:gd name="connsiteY13" fmla="*/ 175607 h 226932"/>
                <a:gd name="connsiteX14" fmla="*/ 21003 w 212223"/>
                <a:gd name="connsiteY14" fmla="*/ 217688 h 226932"/>
                <a:gd name="connsiteX15" fmla="*/ 46088 w 212223"/>
                <a:gd name="connsiteY15" fmla="*/ 226345 h 226932"/>
                <a:gd name="connsiteX16" fmla="*/ 68696 w 212223"/>
                <a:gd name="connsiteY16" fmla="*/ 224272 h 226932"/>
                <a:gd name="connsiteX17" fmla="*/ 100153 w 212223"/>
                <a:gd name="connsiteY17" fmla="*/ 206792 h 226932"/>
                <a:gd name="connsiteX18" fmla="*/ 160713 w 212223"/>
                <a:gd name="connsiteY18" fmla="*/ 122999 h 226932"/>
                <a:gd name="connsiteX19" fmla="*/ 177355 w 212223"/>
                <a:gd name="connsiteY19" fmla="*/ 94255 h 226932"/>
                <a:gd name="connsiteX20" fmla="*/ 186244 w 212223"/>
                <a:gd name="connsiteY20" fmla="*/ 79615 h 226932"/>
                <a:gd name="connsiteX21" fmla="*/ 194849 w 212223"/>
                <a:gd name="connsiteY21" fmla="*/ 66446 h 226932"/>
                <a:gd name="connsiteX22" fmla="*/ 210841 w 212223"/>
                <a:gd name="connsiteY22" fmla="*/ 66446 h 226932"/>
                <a:gd name="connsiteX23" fmla="*/ 208649 w 212223"/>
                <a:gd name="connsiteY23" fmla="*/ 46760 h 226932"/>
                <a:gd name="connsiteX24" fmla="*/ 205808 w 212223"/>
                <a:gd name="connsiteY24" fmla="*/ 24399 h 226932"/>
                <a:gd name="connsiteX25" fmla="*/ 193631 w 212223"/>
                <a:gd name="connsiteY25" fmla="*/ 2807 h 226932"/>
                <a:gd name="connsiteX26" fmla="*/ 193875 w 212223"/>
                <a:gd name="connsiteY26" fmla="*/ 3008 h 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2223" h="226932">
                  <a:moveTo>
                    <a:pt x="193875" y="3008"/>
                  </a:moveTo>
                  <a:cubicBezTo>
                    <a:pt x="194524" y="1812"/>
                    <a:pt x="193875" y="408"/>
                    <a:pt x="192413" y="-130"/>
                  </a:cubicBezTo>
                  <a:cubicBezTo>
                    <a:pt x="192008" y="-287"/>
                    <a:pt x="191521" y="-358"/>
                    <a:pt x="191074" y="-334"/>
                  </a:cubicBezTo>
                  <a:cubicBezTo>
                    <a:pt x="178085" y="3911"/>
                    <a:pt x="182712" y="19386"/>
                    <a:pt x="170779" y="22795"/>
                  </a:cubicBezTo>
                  <a:cubicBezTo>
                    <a:pt x="163311" y="24934"/>
                    <a:pt x="154543" y="21190"/>
                    <a:pt x="147643" y="24299"/>
                  </a:cubicBezTo>
                  <a:cubicBezTo>
                    <a:pt x="144477" y="25736"/>
                    <a:pt x="143097" y="32889"/>
                    <a:pt x="142041" y="35462"/>
                  </a:cubicBezTo>
                  <a:cubicBezTo>
                    <a:pt x="139403" y="41779"/>
                    <a:pt x="142041" y="44988"/>
                    <a:pt x="127916" y="46091"/>
                  </a:cubicBezTo>
                  <a:cubicBezTo>
                    <a:pt x="118987" y="46355"/>
                    <a:pt x="110179" y="47836"/>
                    <a:pt x="101858" y="50470"/>
                  </a:cubicBezTo>
                  <a:cubicBezTo>
                    <a:pt x="91589" y="53812"/>
                    <a:pt x="86434" y="53077"/>
                    <a:pt x="75190" y="52943"/>
                  </a:cubicBezTo>
                  <a:cubicBezTo>
                    <a:pt x="69995" y="52943"/>
                    <a:pt x="44992" y="52442"/>
                    <a:pt x="42718" y="54982"/>
                  </a:cubicBezTo>
                  <a:cubicBezTo>
                    <a:pt x="38416" y="59795"/>
                    <a:pt x="39512" y="66480"/>
                    <a:pt x="36102" y="71694"/>
                  </a:cubicBezTo>
                  <a:cubicBezTo>
                    <a:pt x="30745" y="79849"/>
                    <a:pt x="25427" y="84729"/>
                    <a:pt x="27375" y="94422"/>
                  </a:cubicBezTo>
                  <a:cubicBezTo>
                    <a:pt x="30541" y="110030"/>
                    <a:pt x="42556" y="122932"/>
                    <a:pt x="24818" y="135967"/>
                  </a:cubicBezTo>
                  <a:cubicBezTo>
                    <a:pt x="9070" y="147532"/>
                    <a:pt x="-4366" y="158328"/>
                    <a:pt x="1236" y="175607"/>
                  </a:cubicBezTo>
                  <a:cubicBezTo>
                    <a:pt x="5538" y="188810"/>
                    <a:pt x="3752" y="208129"/>
                    <a:pt x="21003" y="217688"/>
                  </a:cubicBezTo>
                  <a:cubicBezTo>
                    <a:pt x="28553" y="221932"/>
                    <a:pt x="37117" y="224907"/>
                    <a:pt x="46088" y="226345"/>
                  </a:cubicBezTo>
                  <a:cubicBezTo>
                    <a:pt x="54936" y="227648"/>
                    <a:pt x="60213" y="223370"/>
                    <a:pt x="68696" y="224272"/>
                  </a:cubicBezTo>
                  <a:cubicBezTo>
                    <a:pt x="87367" y="226211"/>
                    <a:pt x="93050" y="216083"/>
                    <a:pt x="100153" y="206792"/>
                  </a:cubicBezTo>
                  <a:cubicBezTo>
                    <a:pt x="121057" y="179217"/>
                    <a:pt x="140743" y="150941"/>
                    <a:pt x="160713" y="122999"/>
                  </a:cubicBezTo>
                  <a:cubicBezTo>
                    <a:pt x="166436" y="114877"/>
                    <a:pt x="177598" y="103780"/>
                    <a:pt x="177355" y="94255"/>
                  </a:cubicBezTo>
                  <a:cubicBezTo>
                    <a:pt x="177355" y="88472"/>
                    <a:pt x="185473" y="85130"/>
                    <a:pt x="186244" y="79615"/>
                  </a:cubicBezTo>
                  <a:cubicBezTo>
                    <a:pt x="186244" y="78880"/>
                    <a:pt x="188071" y="55851"/>
                    <a:pt x="194849" y="66446"/>
                  </a:cubicBezTo>
                  <a:cubicBezTo>
                    <a:pt x="199192" y="73131"/>
                    <a:pt x="207472" y="73131"/>
                    <a:pt x="210841" y="66446"/>
                  </a:cubicBezTo>
                  <a:cubicBezTo>
                    <a:pt x="214210" y="59761"/>
                    <a:pt x="210273" y="53077"/>
                    <a:pt x="208649" y="46760"/>
                  </a:cubicBezTo>
                  <a:cubicBezTo>
                    <a:pt x="206701" y="39306"/>
                    <a:pt x="208649" y="31752"/>
                    <a:pt x="205808" y="24399"/>
                  </a:cubicBezTo>
                  <a:cubicBezTo>
                    <a:pt x="202967" y="17046"/>
                    <a:pt x="195376" y="10127"/>
                    <a:pt x="193631" y="2807"/>
                  </a:cubicBezTo>
                  <a:cubicBezTo>
                    <a:pt x="191926" y="-5615"/>
                    <a:pt x="195174" y="8957"/>
                    <a:pt x="193875" y="300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A85D6A81-3236-4010-8118-A998BBCEF203}"/>
                </a:ext>
              </a:extLst>
            </p:cNvPr>
            <p:cNvSpPr/>
            <p:nvPr/>
          </p:nvSpPr>
          <p:spPr>
            <a:xfrm>
              <a:off x="5526359" y="4654230"/>
              <a:ext cx="623231" cy="250047"/>
            </a:xfrm>
            <a:custGeom>
              <a:avLst/>
              <a:gdLst>
                <a:gd name="connsiteX0" fmla="*/ 213394 w 639650"/>
                <a:gd name="connsiteY0" fmla="*/ 71368 h 342371"/>
                <a:gd name="connsiteX1" fmla="*/ 216438 w 639650"/>
                <a:gd name="connsiteY1" fmla="*/ 86810 h 342371"/>
                <a:gd name="connsiteX2" fmla="*/ 229468 w 639650"/>
                <a:gd name="connsiteY2" fmla="*/ 100915 h 342371"/>
                <a:gd name="connsiteX3" fmla="*/ 178203 w 639650"/>
                <a:gd name="connsiteY3" fmla="*/ 107265 h 342371"/>
                <a:gd name="connsiteX4" fmla="*/ 168298 w 639650"/>
                <a:gd name="connsiteY4" fmla="*/ 113950 h 342371"/>
                <a:gd name="connsiteX5" fmla="*/ 151576 w 639650"/>
                <a:gd name="connsiteY5" fmla="*/ 115788 h 342371"/>
                <a:gd name="connsiteX6" fmla="*/ 146705 w 639650"/>
                <a:gd name="connsiteY6" fmla="*/ 130929 h 342371"/>
                <a:gd name="connsiteX7" fmla="*/ 138100 w 639650"/>
                <a:gd name="connsiteY7" fmla="*/ 135374 h 342371"/>
                <a:gd name="connsiteX8" fmla="*/ 121012 w 639650"/>
                <a:gd name="connsiteY8" fmla="*/ 137681 h 342371"/>
                <a:gd name="connsiteX9" fmla="*/ 101691 w 639650"/>
                <a:gd name="connsiteY9" fmla="*/ 151585 h 342371"/>
                <a:gd name="connsiteX10" fmla="*/ 72913 w 639650"/>
                <a:gd name="connsiteY10" fmla="*/ 155362 h 342371"/>
                <a:gd name="connsiteX11" fmla="*/ 67108 w 639650"/>
                <a:gd name="connsiteY11" fmla="*/ 160141 h 342371"/>
                <a:gd name="connsiteX12" fmla="*/ 53348 w 639650"/>
                <a:gd name="connsiteY12" fmla="*/ 161712 h 342371"/>
                <a:gd name="connsiteX13" fmla="*/ 4316 w 639650"/>
                <a:gd name="connsiteY13" fmla="*/ 181766 h 342371"/>
                <a:gd name="connsiteX14" fmla="*/ 12434 w 639650"/>
                <a:gd name="connsiteY14" fmla="*/ 209842 h 342371"/>
                <a:gd name="connsiteX15" fmla="*/ 35935 w 639650"/>
                <a:gd name="connsiteY15" fmla="*/ 216527 h 342371"/>
                <a:gd name="connsiteX16" fmla="*/ 241726 w 639650"/>
                <a:gd name="connsiteY16" fmla="*/ 280032 h 342371"/>
                <a:gd name="connsiteX17" fmla="*/ 309592 w 639650"/>
                <a:gd name="connsiteY17" fmla="*/ 303428 h 342371"/>
                <a:gd name="connsiteX18" fmla="*/ 337436 w 639650"/>
                <a:gd name="connsiteY18" fmla="*/ 319806 h 342371"/>
                <a:gd name="connsiteX19" fmla="*/ 381233 w 639650"/>
                <a:gd name="connsiteY19" fmla="*/ 342033 h 342371"/>
                <a:gd name="connsiteX20" fmla="*/ 461763 w 639650"/>
                <a:gd name="connsiteY20" fmla="*/ 325655 h 342371"/>
                <a:gd name="connsiteX21" fmla="*/ 517290 w 639650"/>
                <a:gd name="connsiteY21" fmla="*/ 299819 h 342371"/>
                <a:gd name="connsiteX22" fmla="*/ 605369 w 639650"/>
                <a:gd name="connsiteY22" fmla="*/ 268100 h 342371"/>
                <a:gd name="connsiteX23" fmla="*/ 637029 w 639650"/>
                <a:gd name="connsiteY23" fmla="*/ 257003 h 342371"/>
                <a:gd name="connsiteX24" fmla="*/ 636826 w 639650"/>
                <a:gd name="connsiteY24" fmla="*/ 251722 h 342371"/>
                <a:gd name="connsiteX25" fmla="*/ 613325 w 639650"/>
                <a:gd name="connsiteY25" fmla="*/ 239890 h 342371"/>
                <a:gd name="connsiteX26" fmla="*/ 583045 w 639650"/>
                <a:gd name="connsiteY26" fmla="*/ 234041 h 342371"/>
                <a:gd name="connsiteX27" fmla="*/ 572126 w 639650"/>
                <a:gd name="connsiteY27" fmla="*/ 214221 h 342371"/>
                <a:gd name="connsiteX28" fmla="*/ 569447 w 639650"/>
                <a:gd name="connsiteY28" fmla="*/ 202456 h 342371"/>
                <a:gd name="connsiteX29" fmla="*/ 571152 w 639650"/>
                <a:gd name="connsiteY29" fmla="*/ 187682 h 342371"/>
                <a:gd name="connsiteX30" fmla="*/ 574277 w 639650"/>
                <a:gd name="connsiteY30" fmla="*/ 168798 h 342371"/>
                <a:gd name="connsiteX31" fmla="*/ 571274 w 639650"/>
                <a:gd name="connsiteY31" fmla="*/ 146705 h 342371"/>
                <a:gd name="connsiteX32" fmla="*/ 563156 w 639650"/>
                <a:gd name="connsiteY32" fmla="*/ 133603 h 342371"/>
                <a:gd name="connsiteX33" fmla="*/ 561329 w 639650"/>
                <a:gd name="connsiteY33" fmla="*/ 114719 h 342371"/>
                <a:gd name="connsiteX34" fmla="*/ 551872 w 639650"/>
                <a:gd name="connsiteY34" fmla="*/ 98675 h 342371"/>
                <a:gd name="connsiteX35" fmla="*/ 527518 w 639650"/>
                <a:gd name="connsiteY35" fmla="*/ 88648 h 342371"/>
                <a:gd name="connsiteX36" fmla="*/ 519400 w 639650"/>
                <a:gd name="connsiteY36" fmla="*/ 78153 h 342371"/>
                <a:gd name="connsiteX37" fmla="*/ 498131 w 639650"/>
                <a:gd name="connsiteY37" fmla="*/ 64784 h 342371"/>
                <a:gd name="connsiteX38" fmla="*/ 527315 w 639650"/>
                <a:gd name="connsiteY38" fmla="*/ 42557 h 342371"/>
                <a:gd name="connsiteX39" fmla="*/ 527315 w 639650"/>
                <a:gd name="connsiteY39" fmla="*/ 26447 h 342371"/>
                <a:gd name="connsiteX40" fmla="*/ 529020 w 639650"/>
                <a:gd name="connsiteY40" fmla="*/ 2014 h 342371"/>
                <a:gd name="connsiteX41" fmla="*/ 481327 w 639650"/>
                <a:gd name="connsiteY41" fmla="*/ 176 h 342371"/>
                <a:gd name="connsiteX42" fmla="*/ 438424 w 639650"/>
                <a:gd name="connsiteY42" fmla="*/ 7128 h 342371"/>
                <a:gd name="connsiteX43" fmla="*/ 412892 w 639650"/>
                <a:gd name="connsiteY43" fmla="*/ 5925 h 342371"/>
                <a:gd name="connsiteX44" fmla="*/ 367108 w 639650"/>
                <a:gd name="connsiteY44" fmla="*/ 8599 h 342371"/>
                <a:gd name="connsiteX45" fmla="*/ 282397 w 639650"/>
                <a:gd name="connsiteY45" fmla="*/ 19929 h 342371"/>
                <a:gd name="connsiteX46" fmla="*/ 251020 w 639650"/>
                <a:gd name="connsiteY46" fmla="*/ 30458 h 342371"/>
                <a:gd name="connsiteX47" fmla="*/ 197807 w 639650"/>
                <a:gd name="connsiteY47" fmla="*/ 49108 h 342371"/>
                <a:gd name="connsiteX48" fmla="*/ 213394 w 639650"/>
                <a:gd name="connsiteY48" fmla="*/ 71368 h 3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39650" h="342371">
                  <a:moveTo>
                    <a:pt x="213394" y="71368"/>
                  </a:moveTo>
                  <a:cubicBezTo>
                    <a:pt x="213394" y="73674"/>
                    <a:pt x="209335" y="86476"/>
                    <a:pt x="216438" y="86810"/>
                  </a:cubicBezTo>
                  <a:cubicBezTo>
                    <a:pt x="224556" y="87178"/>
                    <a:pt x="230685" y="97104"/>
                    <a:pt x="229468" y="100915"/>
                  </a:cubicBezTo>
                  <a:cubicBezTo>
                    <a:pt x="226748" y="109605"/>
                    <a:pt x="188878" y="102786"/>
                    <a:pt x="178203" y="107265"/>
                  </a:cubicBezTo>
                  <a:cubicBezTo>
                    <a:pt x="172277" y="109805"/>
                    <a:pt x="177431" y="111543"/>
                    <a:pt x="168298" y="113950"/>
                  </a:cubicBezTo>
                  <a:cubicBezTo>
                    <a:pt x="164240" y="114953"/>
                    <a:pt x="155107" y="114418"/>
                    <a:pt x="151576" y="115788"/>
                  </a:cubicBezTo>
                  <a:cubicBezTo>
                    <a:pt x="145487" y="118195"/>
                    <a:pt x="155878" y="130461"/>
                    <a:pt x="146705" y="130929"/>
                  </a:cubicBezTo>
                  <a:cubicBezTo>
                    <a:pt x="142240" y="131163"/>
                    <a:pt x="141063" y="134037"/>
                    <a:pt x="138100" y="135374"/>
                  </a:cubicBezTo>
                  <a:cubicBezTo>
                    <a:pt x="133595" y="137413"/>
                    <a:pt x="126207" y="137146"/>
                    <a:pt x="121012" y="137681"/>
                  </a:cubicBezTo>
                  <a:cubicBezTo>
                    <a:pt x="105547" y="139285"/>
                    <a:pt x="113502" y="147206"/>
                    <a:pt x="101691" y="151585"/>
                  </a:cubicBezTo>
                  <a:cubicBezTo>
                    <a:pt x="92761" y="154927"/>
                    <a:pt x="82452" y="153523"/>
                    <a:pt x="72913" y="155362"/>
                  </a:cubicBezTo>
                  <a:cubicBezTo>
                    <a:pt x="66865" y="156498"/>
                    <a:pt x="70721" y="158336"/>
                    <a:pt x="67108" y="160141"/>
                  </a:cubicBezTo>
                  <a:cubicBezTo>
                    <a:pt x="63496" y="161946"/>
                    <a:pt x="57204" y="161244"/>
                    <a:pt x="53348" y="161712"/>
                  </a:cubicBezTo>
                  <a:cubicBezTo>
                    <a:pt x="37518" y="163718"/>
                    <a:pt x="15884" y="175650"/>
                    <a:pt x="4316" y="181766"/>
                  </a:cubicBezTo>
                  <a:cubicBezTo>
                    <a:pt x="-5223" y="186914"/>
                    <a:pt x="2368" y="207235"/>
                    <a:pt x="12434" y="209842"/>
                  </a:cubicBezTo>
                  <a:cubicBezTo>
                    <a:pt x="20552" y="211948"/>
                    <a:pt x="28142" y="214221"/>
                    <a:pt x="35935" y="216527"/>
                  </a:cubicBezTo>
                  <a:cubicBezTo>
                    <a:pt x="105669" y="236581"/>
                    <a:pt x="174266" y="257748"/>
                    <a:pt x="241726" y="280032"/>
                  </a:cubicBezTo>
                  <a:cubicBezTo>
                    <a:pt x="264537" y="287552"/>
                    <a:pt x="287714" y="294905"/>
                    <a:pt x="309592" y="303428"/>
                  </a:cubicBezTo>
                  <a:cubicBezTo>
                    <a:pt x="320632" y="307640"/>
                    <a:pt x="324569" y="318837"/>
                    <a:pt x="337436" y="319806"/>
                  </a:cubicBezTo>
                  <a:cubicBezTo>
                    <a:pt x="361466" y="321577"/>
                    <a:pt x="379974" y="327092"/>
                    <a:pt x="381233" y="342033"/>
                  </a:cubicBezTo>
                  <a:cubicBezTo>
                    <a:pt x="406479" y="338122"/>
                    <a:pt x="441184" y="335615"/>
                    <a:pt x="461763" y="325655"/>
                  </a:cubicBezTo>
                  <a:cubicBezTo>
                    <a:pt x="479866" y="316898"/>
                    <a:pt x="497319" y="307138"/>
                    <a:pt x="517290" y="299819"/>
                  </a:cubicBezTo>
                  <a:cubicBezTo>
                    <a:pt x="546473" y="289080"/>
                    <a:pt x="575820" y="278504"/>
                    <a:pt x="605369" y="268100"/>
                  </a:cubicBezTo>
                  <a:cubicBezTo>
                    <a:pt x="615882" y="264399"/>
                    <a:pt x="626435" y="260703"/>
                    <a:pt x="637029" y="257003"/>
                  </a:cubicBezTo>
                  <a:cubicBezTo>
                    <a:pt x="641088" y="255532"/>
                    <a:pt x="639789" y="257003"/>
                    <a:pt x="636826" y="251722"/>
                  </a:cubicBezTo>
                  <a:cubicBezTo>
                    <a:pt x="631631" y="242731"/>
                    <a:pt x="626557" y="243466"/>
                    <a:pt x="613325" y="239890"/>
                  </a:cubicBezTo>
                  <a:cubicBezTo>
                    <a:pt x="603705" y="237283"/>
                    <a:pt x="590716" y="238887"/>
                    <a:pt x="583045" y="234041"/>
                  </a:cubicBezTo>
                  <a:cubicBezTo>
                    <a:pt x="575373" y="229194"/>
                    <a:pt x="581381" y="220471"/>
                    <a:pt x="572126" y="214221"/>
                  </a:cubicBezTo>
                  <a:cubicBezTo>
                    <a:pt x="565185" y="209575"/>
                    <a:pt x="560315" y="207536"/>
                    <a:pt x="569447" y="202456"/>
                  </a:cubicBezTo>
                  <a:cubicBezTo>
                    <a:pt x="579473" y="197008"/>
                    <a:pt x="574196" y="195102"/>
                    <a:pt x="571152" y="187682"/>
                  </a:cubicBezTo>
                  <a:cubicBezTo>
                    <a:pt x="568108" y="180262"/>
                    <a:pt x="581259" y="176452"/>
                    <a:pt x="574277" y="168798"/>
                  </a:cubicBezTo>
                  <a:cubicBezTo>
                    <a:pt x="568027" y="161913"/>
                    <a:pt x="579473" y="154827"/>
                    <a:pt x="571274" y="146705"/>
                  </a:cubicBezTo>
                  <a:cubicBezTo>
                    <a:pt x="568351" y="143831"/>
                    <a:pt x="556540" y="136845"/>
                    <a:pt x="563156" y="133603"/>
                  </a:cubicBezTo>
                  <a:cubicBezTo>
                    <a:pt x="569772" y="130361"/>
                    <a:pt x="563602" y="119999"/>
                    <a:pt x="561329" y="114719"/>
                  </a:cubicBezTo>
                  <a:cubicBezTo>
                    <a:pt x="559178" y="109007"/>
                    <a:pt x="556012" y="103595"/>
                    <a:pt x="551872" y="98675"/>
                  </a:cubicBezTo>
                  <a:cubicBezTo>
                    <a:pt x="546920" y="93294"/>
                    <a:pt x="534662" y="92726"/>
                    <a:pt x="527518" y="88648"/>
                  </a:cubicBezTo>
                  <a:cubicBezTo>
                    <a:pt x="522566" y="85841"/>
                    <a:pt x="526503" y="81228"/>
                    <a:pt x="519400" y="78153"/>
                  </a:cubicBezTo>
                  <a:cubicBezTo>
                    <a:pt x="509415" y="73842"/>
                    <a:pt x="501865" y="72204"/>
                    <a:pt x="498131" y="64784"/>
                  </a:cubicBezTo>
                  <a:cubicBezTo>
                    <a:pt x="493585" y="55893"/>
                    <a:pt x="519441" y="49910"/>
                    <a:pt x="527315" y="42557"/>
                  </a:cubicBezTo>
                  <a:cubicBezTo>
                    <a:pt x="534013" y="36240"/>
                    <a:pt x="530359" y="32530"/>
                    <a:pt x="527315" y="26447"/>
                  </a:cubicBezTo>
                  <a:cubicBezTo>
                    <a:pt x="523581" y="18826"/>
                    <a:pt x="526990" y="9735"/>
                    <a:pt x="529020" y="2014"/>
                  </a:cubicBezTo>
                  <a:cubicBezTo>
                    <a:pt x="511769" y="2014"/>
                    <a:pt x="498659" y="-1662"/>
                    <a:pt x="481327" y="176"/>
                  </a:cubicBezTo>
                  <a:cubicBezTo>
                    <a:pt x="465944" y="1780"/>
                    <a:pt x="453280" y="4588"/>
                    <a:pt x="438424" y="7128"/>
                  </a:cubicBezTo>
                  <a:cubicBezTo>
                    <a:pt x="428520" y="8799"/>
                    <a:pt x="422472" y="5958"/>
                    <a:pt x="412892" y="5925"/>
                  </a:cubicBezTo>
                  <a:cubicBezTo>
                    <a:pt x="397590" y="6162"/>
                    <a:pt x="382288" y="7055"/>
                    <a:pt x="367108" y="8599"/>
                  </a:cubicBezTo>
                  <a:cubicBezTo>
                    <a:pt x="342104" y="10671"/>
                    <a:pt x="302570" y="10471"/>
                    <a:pt x="282397" y="19929"/>
                  </a:cubicBezTo>
                  <a:cubicBezTo>
                    <a:pt x="270910" y="25311"/>
                    <a:pt x="265552" y="28319"/>
                    <a:pt x="251020" y="30458"/>
                  </a:cubicBezTo>
                  <a:cubicBezTo>
                    <a:pt x="231375" y="33366"/>
                    <a:pt x="215342" y="48139"/>
                    <a:pt x="197807" y="49108"/>
                  </a:cubicBezTo>
                  <a:cubicBezTo>
                    <a:pt x="204748" y="56796"/>
                    <a:pt x="212785" y="61943"/>
                    <a:pt x="213394" y="7136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5D3954E8-A90C-499E-B235-4CBD186CE96D}"/>
                </a:ext>
              </a:extLst>
            </p:cNvPr>
            <p:cNvSpPr/>
            <p:nvPr/>
          </p:nvSpPr>
          <p:spPr>
            <a:xfrm>
              <a:off x="6609845" y="4490152"/>
              <a:ext cx="93244" cy="48235"/>
            </a:xfrm>
            <a:custGeom>
              <a:avLst/>
              <a:gdLst>
                <a:gd name="connsiteX0" fmla="*/ 71785 w 95700"/>
                <a:gd name="connsiteY0" fmla="*/ 18513 h 66045"/>
                <a:gd name="connsiteX1" fmla="*/ 44955 w 95700"/>
                <a:gd name="connsiteY1" fmla="*/ 6948 h 66045"/>
                <a:gd name="connsiteX2" fmla="*/ -60 w 95700"/>
                <a:gd name="connsiteY2" fmla="*/ 832 h 66045"/>
                <a:gd name="connsiteX3" fmla="*/ 36471 w 95700"/>
                <a:gd name="connsiteY3" fmla="*/ 36294 h 66045"/>
                <a:gd name="connsiteX4" fmla="*/ 42235 w 95700"/>
                <a:gd name="connsiteY4" fmla="*/ 65707 h 66045"/>
                <a:gd name="connsiteX5" fmla="*/ 61880 w 95700"/>
                <a:gd name="connsiteY5" fmla="*/ 51770 h 66045"/>
                <a:gd name="connsiteX6" fmla="*/ 83190 w 95700"/>
                <a:gd name="connsiteY6" fmla="*/ 46756 h 66045"/>
                <a:gd name="connsiteX7" fmla="*/ 71663 w 95700"/>
                <a:gd name="connsiteY7" fmla="*/ 18513 h 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00" h="66045">
                  <a:moveTo>
                    <a:pt x="71785" y="18513"/>
                  </a:moveTo>
                  <a:cubicBezTo>
                    <a:pt x="67726" y="10057"/>
                    <a:pt x="55549" y="10959"/>
                    <a:pt x="44955" y="6948"/>
                  </a:cubicBezTo>
                  <a:cubicBezTo>
                    <a:pt x="26202" y="-70"/>
                    <a:pt x="23320" y="-1809"/>
                    <a:pt x="-60" y="832"/>
                  </a:cubicBezTo>
                  <a:cubicBezTo>
                    <a:pt x="10778" y="12998"/>
                    <a:pt x="26649" y="24061"/>
                    <a:pt x="36471" y="36294"/>
                  </a:cubicBezTo>
                  <a:cubicBezTo>
                    <a:pt x="44224" y="45887"/>
                    <a:pt x="24660" y="56850"/>
                    <a:pt x="42235" y="65707"/>
                  </a:cubicBezTo>
                  <a:cubicBezTo>
                    <a:pt x="47958" y="62365"/>
                    <a:pt x="61434" y="56750"/>
                    <a:pt x="61880" y="51770"/>
                  </a:cubicBezTo>
                  <a:cubicBezTo>
                    <a:pt x="62571" y="44015"/>
                    <a:pt x="70729" y="43948"/>
                    <a:pt x="83190" y="46756"/>
                  </a:cubicBezTo>
                  <a:cubicBezTo>
                    <a:pt x="115662" y="54176"/>
                    <a:pt x="74707" y="24663"/>
                    <a:pt x="71663" y="1851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F2FCF75E-61F8-474C-9707-4E3974CB58C1}"/>
                </a:ext>
              </a:extLst>
            </p:cNvPr>
            <p:cNvSpPr/>
            <p:nvPr/>
          </p:nvSpPr>
          <p:spPr>
            <a:xfrm>
              <a:off x="6136141" y="5215977"/>
              <a:ext cx="308608" cy="156726"/>
            </a:xfrm>
            <a:custGeom>
              <a:avLst/>
              <a:gdLst>
                <a:gd name="connsiteX0" fmla="*/ 17719 w 316738"/>
                <a:gd name="connsiteY0" fmla="*/ 193782 h 214593"/>
                <a:gd name="connsiteX1" fmla="*/ 25430 w 316738"/>
                <a:gd name="connsiteY1" fmla="*/ 197859 h 214593"/>
                <a:gd name="connsiteX2" fmla="*/ 48810 w 316738"/>
                <a:gd name="connsiteY2" fmla="*/ 196322 h 214593"/>
                <a:gd name="connsiteX3" fmla="*/ 87411 w 316738"/>
                <a:gd name="connsiteY3" fmla="*/ 203007 h 214593"/>
                <a:gd name="connsiteX4" fmla="*/ 164532 w 316738"/>
                <a:gd name="connsiteY4" fmla="*/ 204477 h 214593"/>
                <a:gd name="connsiteX5" fmla="*/ 177926 w 316738"/>
                <a:gd name="connsiteY5" fmla="*/ 210159 h 214593"/>
                <a:gd name="connsiteX6" fmla="*/ 205000 w 316738"/>
                <a:gd name="connsiteY6" fmla="*/ 210594 h 214593"/>
                <a:gd name="connsiteX7" fmla="*/ 240678 w 316738"/>
                <a:gd name="connsiteY7" fmla="*/ 213401 h 214593"/>
                <a:gd name="connsiteX8" fmla="*/ 285327 w 316738"/>
                <a:gd name="connsiteY8" fmla="*/ 211530 h 214593"/>
                <a:gd name="connsiteX9" fmla="*/ 257280 w 316738"/>
                <a:gd name="connsiteY9" fmla="*/ 177137 h 214593"/>
                <a:gd name="connsiteX10" fmla="*/ 262393 w 316738"/>
                <a:gd name="connsiteY10" fmla="*/ 127235 h 214593"/>
                <a:gd name="connsiteX11" fmla="*/ 301522 w 316738"/>
                <a:gd name="connsiteY11" fmla="*/ 129608 h 214593"/>
                <a:gd name="connsiteX12" fmla="*/ 312928 w 316738"/>
                <a:gd name="connsiteY12" fmla="*/ 110256 h 214593"/>
                <a:gd name="connsiteX13" fmla="*/ 316541 w 316738"/>
                <a:gd name="connsiteY13" fmla="*/ 94781 h 214593"/>
                <a:gd name="connsiteX14" fmla="*/ 301725 w 316738"/>
                <a:gd name="connsiteY14" fmla="*/ 92575 h 214593"/>
                <a:gd name="connsiteX15" fmla="*/ 280659 w 316738"/>
                <a:gd name="connsiteY15" fmla="*/ 92575 h 214593"/>
                <a:gd name="connsiteX16" fmla="*/ 271161 w 316738"/>
                <a:gd name="connsiteY16" fmla="*/ 95917 h 214593"/>
                <a:gd name="connsiteX17" fmla="*/ 271729 w 316738"/>
                <a:gd name="connsiteY17" fmla="*/ 79740 h 214593"/>
                <a:gd name="connsiteX18" fmla="*/ 258010 w 316738"/>
                <a:gd name="connsiteY18" fmla="*/ 64733 h 214593"/>
                <a:gd name="connsiteX19" fmla="*/ 264585 w 316738"/>
                <a:gd name="connsiteY19" fmla="*/ 47286 h 214593"/>
                <a:gd name="connsiteX20" fmla="*/ 260202 w 316738"/>
                <a:gd name="connsiteY20" fmla="*/ 30407 h 214593"/>
                <a:gd name="connsiteX21" fmla="*/ 235848 w 316738"/>
                <a:gd name="connsiteY21" fmla="*/ 27065 h 214593"/>
                <a:gd name="connsiteX22" fmla="*/ 200697 w 316738"/>
                <a:gd name="connsiteY22" fmla="*/ 29772 h 214593"/>
                <a:gd name="connsiteX23" fmla="*/ 185598 w 316738"/>
                <a:gd name="connsiteY23" fmla="*/ 37426 h 214593"/>
                <a:gd name="connsiteX24" fmla="*/ 146713 w 316738"/>
                <a:gd name="connsiteY24" fmla="*/ 36123 h 214593"/>
                <a:gd name="connsiteX25" fmla="*/ 129909 w 316738"/>
                <a:gd name="connsiteY25" fmla="*/ 18742 h 214593"/>
                <a:gd name="connsiteX26" fmla="*/ 125850 w 316738"/>
                <a:gd name="connsiteY26" fmla="*/ 1195 h 214593"/>
                <a:gd name="connsiteX27" fmla="*/ 87046 w 316738"/>
                <a:gd name="connsiteY27" fmla="*/ 326 h 214593"/>
                <a:gd name="connsiteX28" fmla="*/ 38338 w 316738"/>
                <a:gd name="connsiteY28" fmla="*/ -8 h 214593"/>
                <a:gd name="connsiteX29" fmla="*/ 40043 w 316738"/>
                <a:gd name="connsiteY29" fmla="*/ 34351 h 214593"/>
                <a:gd name="connsiteX30" fmla="*/ 45685 w 316738"/>
                <a:gd name="connsiteY30" fmla="*/ 72187 h 214593"/>
                <a:gd name="connsiteX31" fmla="*/ 41626 w 316738"/>
                <a:gd name="connsiteY31" fmla="*/ 116339 h 214593"/>
                <a:gd name="connsiteX32" fmla="*/ 22792 w 316738"/>
                <a:gd name="connsiteY32" fmla="*/ 136627 h 214593"/>
                <a:gd name="connsiteX33" fmla="*/ 14675 w 316738"/>
                <a:gd name="connsiteY33" fmla="*/ 160224 h 214593"/>
                <a:gd name="connsiteX34" fmla="*/ -60 w 316738"/>
                <a:gd name="connsiteY34" fmla="*/ 199464 h 214593"/>
                <a:gd name="connsiteX35" fmla="*/ 17719 w 316738"/>
                <a:gd name="connsiteY35" fmla="*/ 193782 h 2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6738" h="214593">
                  <a:moveTo>
                    <a:pt x="17719" y="193782"/>
                  </a:moveTo>
                  <a:cubicBezTo>
                    <a:pt x="22508" y="193782"/>
                    <a:pt x="21331" y="197592"/>
                    <a:pt x="25430" y="197859"/>
                  </a:cubicBezTo>
                  <a:cubicBezTo>
                    <a:pt x="33548" y="198327"/>
                    <a:pt x="39718" y="194250"/>
                    <a:pt x="48810" y="196322"/>
                  </a:cubicBezTo>
                  <a:cubicBezTo>
                    <a:pt x="62895" y="199664"/>
                    <a:pt x="72149" y="202739"/>
                    <a:pt x="87411" y="203007"/>
                  </a:cubicBezTo>
                  <a:cubicBezTo>
                    <a:pt x="113145" y="203384"/>
                    <a:pt x="138838" y="203876"/>
                    <a:pt x="164532" y="204477"/>
                  </a:cubicBezTo>
                  <a:cubicBezTo>
                    <a:pt x="171554" y="204477"/>
                    <a:pt x="172893" y="206717"/>
                    <a:pt x="177926" y="210159"/>
                  </a:cubicBezTo>
                  <a:cubicBezTo>
                    <a:pt x="181539" y="212666"/>
                    <a:pt x="199926" y="210560"/>
                    <a:pt x="205000" y="210594"/>
                  </a:cubicBezTo>
                  <a:cubicBezTo>
                    <a:pt x="216974" y="210631"/>
                    <a:pt x="228907" y="211570"/>
                    <a:pt x="240678" y="213401"/>
                  </a:cubicBezTo>
                  <a:cubicBezTo>
                    <a:pt x="255615" y="215674"/>
                    <a:pt x="270755" y="212833"/>
                    <a:pt x="285327" y="211530"/>
                  </a:cubicBezTo>
                  <a:cubicBezTo>
                    <a:pt x="274449" y="200968"/>
                    <a:pt x="255980" y="189971"/>
                    <a:pt x="257280" y="177137"/>
                  </a:cubicBezTo>
                  <a:lnTo>
                    <a:pt x="262393" y="127235"/>
                  </a:lnTo>
                  <a:cubicBezTo>
                    <a:pt x="275423" y="128004"/>
                    <a:pt x="288493" y="128773"/>
                    <a:pt x="301522" y="129608"/>
                  </a:cubicBezTo>
                  <a:cubicBezTo>
                    <a:pt x="312197" y="130310"/>
                    <a:pt x="312157" y="113565"/>
                    <a:pt x="312928" y="110256"/>
                  </a:cubicBezTo>
                  <a:cubicBezTo>
                    <a:pt x="314105" y="105109"/>
                    <a:pt x="315323" y="99928"/>
                    <a:pt x="316541" y="94781"/>
                  </a:cubicBezTo>
                  <a:cubicBezTo>
                    <a:pt x="317961" y="88731"/>
                    <a:pt x="308138" y="92274"/>
                    <a:pt x="301725" y="92575"/>
                  </a:cubicBezTo>
                  <a:cubicBezTo>
                    <a:pt x="295312" y="92876"/>
                    <a:pt x="286667" y="90804"/>
                    <a:pt x="280659" y="92575"/>
                  </a:cubicBezTo>
                  <a:cubicBezTo>
                    <a:pt x="277940" y="93444"/>
                    <a:pt x="274814" y="96686"/>
                    <a:pt x="271161" y="95917"/>
                  </a:cubicBezTo>
                  <a:cubicBezTo>
                    <a:pt x="264464" y="94614"/>
                    <a:pt x="272866" y="82715"/>
                    <a:pt x="271729" y="79740"/>
                  </a:cubicBezTo>
                  <a:cubicBezTo>
                    <a:pt x="269497" y="74125"/>
                    <a:pt x="257564" y="70181"/>
                    <a:pt x="258010" y="64733"/>
                  </a:cubicBezTo>
                  <a:cubicBezTo>
                    <a:pt x="258497" y="58717"/>
                    <a:pt x="262962" y="53169"/>
                    <a:pt x="264585" y="47286"/>
                  </a:cubicBezTo>
                  <a:cubicBezTo>
                    <a:pt x="265965" y="42306"/>
                    <a:pt x="259918" y="36056"/>
                    <a:pt x="260202" y="30407"/>
                  </a:cubicBezTo>
                  <a:cubicBezTo>
                    <a:pt x="260486" y="24759"/>
                    <a:pt x="241937" y="28001"/>
                    <a:pt x="235848" y="27065"/>
                  </a:cubicBezTo>
                  <a:cubicBezTo>
                    <a:pt x="223671" y="24792"/>
                    <a:pt x="206583" y="15534"/>
                    <a:pt x="200697" y="29772"/>
                  </a:cubicBezTo>
                  <a:cubicBezTo>
                    <a:pt x="197410" y="37693"/>
                    <a:pt x="197897" y="36791"/>
                    <a:pt x="185598" y="37426"/>
                  </a:cubicBezTo>
                  <a:cubicBezTo>
                    <a:pt x="173299" y="38061"/>
                    <a:pt x="155358" y="44111"/>
                    <a:pt x="146713" y="36123"/>
                  </a:cubicBezTo>
                  <a:cubicBezTo>
                    <a:pt x="142654" y="32546"/>
                    <a:pt x="130883" y="22753"/>
                    <a:pt x="129909" y="18742"/>
                  </a:cubicBezTo>
                  <a:cubicBezTo>
                    <a:pt x="128813" y="14197"/>
                    <a:pt x="133968" y="4805"/>
                    <a:pt x="125850" y="1195"/>
                  </a:cubicBezTo>
                  <a:cubicBezTo>
                    <a:pt x="119436" y="-1713"/>
                    <a:pt x="94758" y="426"/>
                    <a:pt x="87046" y="326"/>
                  </a:cubicBezTo>
                  <a:cubicBezTo>
                    <a:pt x="70810" y="25"/>
                    <a:pt x="54331" y="-610"/>
                    <a:pt x="38338" y="-8"/>
                  </a:cubicBezTo>
                  <a:cubicBezTo>
                    <a:pt x="7653" y="1195"/>
                    <a:pt x="32940" y="24792"/>
                    <a:pt x="40043" y="34351"/>
                  </a:cubicBezTo>
                  <a:cubicBezTo>
                    <a:pt x="49541" y="47152"/>
                    <a:pt x="37607" y="58383"/>
                    <a:pt x="45685" y="72187"/>
                  </a:cubicBezTo>
                  <a:cubicBezTo>
                    <a:pt x="55751" y="89400"/>
                    <a:pt x="62449" y="101399"/>
                    <a:pt x="41626" y="116339"/>
                  </a:cubicBezTo>
                  <a:cubicBezTo>
                    <a:pt x="33630" y="121894"/>
                    <a:pt x="27217" y="128820"/>
                    <a:pt x="22792" y="136627"/>
                  </a:cubicBezTo>
                  <a:cubicBezTo>
                    <a:pt x="18490" y="144315"/>
                    <a:pt x="19545" y="152771"/>
                    <a:pt x="14675" y="160224"/>
                  </a:cubicBezTo>
                  <a:cubicBezTo>
                    <a:pt x="6232" y="173594"/>
                    <a:pt x="752" y="184457"/>
                    <a:pt x="-60" y="199464"/>
                  </a:cubicBezTo>
                  <a:cubicBezTo>
                    <a:pt x="8180" y="199063"/>
                    <a:pt x="10453" y="193748"/>
                    <a:pt x="17719" y="19378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A7C349B7-5712-4E40-AA87-8C1977AEE082}"/>
                </a:ext>
              </a:extLst>
            </p:cNvPr>
            <p:cNvSpPr/>
            <p:nvPr/>
          </p:nvSpPr>
          <p:spPr>
            <a:xfrm>
              <a:off x="6826803" y="4940160"/>
              <a:ext cx="182554" cy="79069"/>
            </a:xfrm>
            <a:custGeom>
              <a:avLst/>
              <a:gdLst>
                <a:gd name="connsiteX0" fmla="*/ 37122 w 187363"/>
                <a:gd name="connsiteY0" fmla="*/ 11861 h 108264"/>
                <a:gd name="connsiteX1" fmla="*/ 20318 w 187363"/>
                <a:gd name="connsiteY1" fmla="*/ 17175 h 108264"/>
                <a:gd name="connsiteX2" fmla="*/ 12768 w 187363"/>
                <a:gd name="connsiteY2" fmla="*/ 31614 h 108264"/>
                <a:gd name="connsiteX3" fmla="*/ -17 w 187363"/>
                <a:gd name="connsiteY3" fmla="*/ 46287 h 108264"/>
                <a:gd name="connsiteX4" fmla="*/ 17071 w 187363"/>
                <a:gd name="connsiteY4" fmla="*/ 59657 h 108264"/>
                <a:gd name="connsiteX5" fmla="*/ 32576 w 187363"/>
                <a:gd name="connsiteY5" fmla="*/ 61094 h 108264"/>
                <a:gd name="connsiteX6" fmla="*/ 45849 w 187363"/>
                <a:gd name="connsiteY6" fmla="*/ 54409 h 108264"/>
                <a:gd name="connsiteX7" fmla="*/ 61273 w 187363"/>
                <a:gd name="connsiteY7" fmla="*/ 62531 h 108264"/>
                <a:gd name="connsiteX8" fmla="*/ 73815 w 187363"/>
                <a:gd name="connsiteY8" fmla="*/ 61462 h 108264"/>
                <a:gd name="connsiteX9" fmla="*/ 83272 w 187363"/>
                <a:gd name="connsiteY9" fmla="*/ 64136 h 108264"/>
                <a:gd name="connsiteX10" fmla="*/ 113634 w 187363"/>
                <a:gd name="connsiteY10" fmla="*/ 68581 h 108264"/>
                <a:gd name="connsiteX11" fmla="*/ 141479 w 187363"/>
                <a:gd name="connsiteY11" fmla="*/ 88635 h 108264"/>
                <a:gd name="connsiteX12" fmla="*/ 187304 w 187363"/>
                <a:gd name="connsiteY12" fmla="*/ 106416 h 108264"/>
                <a:gd name="connsiteX13" fmla="*/ 149515 w 187363"/>
                <a:gd name="connsiteY13" fmla="*/ 74497 h 108264"/>
                <a:gd name="connsiteX14" fmla="*/ 128936 w 187363"/>
                <a:gd name="connsiteY14" fmla="*/ 63032 h 108264"/>
                <a:gd name="connsiteX15" fmla="*/ 108641 w 187363"/>
                <a:gd name="connsiteY15" fmla="*/ 56114 h 108264"/>
                <a:gd name="connsiteX16" fmla="*/ 86195 w 187363"/>
                <a:gd name="connsiteY16" fmla="*/ 34856 h 108264"/>
                <a:gd name="connsiteX17" fmla="*/ 67240 w 187363"/>
                <a:gd name="connsiteY17" fmla="*/ -339 h 108264"/>
                <a:gd name="connsiteX18" fmla="*/ 37001 w 187363"/>
                <a:gd name="connsiteY18" fmla="*/ 12128 h 1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7363" h="108264">
                  <a:moveTo>
                    <a:pt x="37122" y="11861"/>
                  </a:moveTo>
                  <a:cubicBezTo>
                    <a:pt x="32251" y="14034"/>
                    <a:pt x="23687" y="13900"/>
                    <a:pt x="20318" y="17175"/>
                  </a:cubicBezTo>
                  <a:cubicBezTo>
                    <a:pt x="15812" y="21587"/>
                    <a:pt x="19141" y="26902"/>
                    <a:pt x="12768" y="31614"/>
                  </a:cubicBezTo>
                  <a:cubicBezTo>
                    <a:pt x="6396" y="36327"/>
                    <a:pt x="104" y="39235"/>
                    <a:pt x="-17" y="46287"/>
                  </a:cubicBezTo>
                  <a:cubicBezTo>
                    <a:pt x="-261" y="56916"/>
                    <a:pt x="-17" y="57651"/>
                    <a:pt x="17071" y="59657"/>
                  </a:cubicBezTo>
                  <a:cubicBezTo>
                    <a:pt x="22266" y="60225"/>
                    <a:pt x="29532" y="64202"/>
                    <a:pt x="32576" y="61094"/>
                  </a:cubicBezTo>
                  <a:cubicBezTo>
                    <a:pt x="35174" y="58487"/>
                    <a:pt x="37528" y="51267"/>
                    <a:pt x="45849" y="54409"/>
                  </a:cubicBezTo>
                  <a:cubicBezTo>
                    <a:pt x="51613" y="56515"/>
                    <a:pt x="54291" y="61595"/>
                    <a:pt x="61273" y="62531"/>
                  </a:cubicBezTo>
                  <a:cubicBezTo>
                    <a:pt x="65494" y="62484"/>
                    <a:pt x="69675" y="62127"/>
                    <a:pt x="73815" y="61462"/>
                  </a:cubicBezTo>
                  <a:cubicBezTo>
                    <a:pt x="77306" y="61462"/>
                    <a:pt x="79822" y="63668"/>
                    <a:pt x="83272" y="64136"/>
                  </a:cubicBezTo>
                  <a:cubicBezTo>
                    <a:pt x="93136" y="65439"/>
                    <a:pt x="105922" y="63868"/>
                    <a:pt x="113634" y="68581"/>
                  </a:cubicBezTo>
                  <a:cubicBezTo>
                    <a:pt x="123375" y="74834"/>
                    <a:pt x="132670" y="81529"/>
                    <a:pt x="141479" y="88635"/>
                  </a:cubicBezTo>
                  <a:cubicBezTo>
                    <a:pt x="157714" y="101069"/>
                    <a:pt x="161773" y="112031"/>
                    <a:pt x="187304" y="106416"/>
                  </a:cubicBezTo>
                  <a:cubicBezTo>
                    <a:pt x="173301" y="96389"/>
                    <a:pt x="163437" y="84591"/>
                    <a:pt x="149515" y="74497"/>
                  </a:cubicBezTo>
                  <a:cubicBezTo>
                    <a:pt x="143305" y="69928"/>
                    <a:pt x="136405" y="66071"/>
                    <a:pt x="128936" y="63032"/>
                  </a:cubicBezTo>
                  <a:cubicBezTo>
                    <a:pt x="122645" y="60526"/>
                    <a:pt x="112700" y="60091"/>
                    <a:pt x="108641" y="56114"/>
                  </a:cubicBezTo>
                  <a:cubicBezTo>
                    <a:pt x="101213" y="48961"/>
                    <a:pt x="91310" y="42744"/>
                    <a:pt x="86195" y="34856"/>
                  </a:cubicBezTo>
                  <a:cubicBezTo>
                    <a:pt x="78077" y="22389"/>
                    <a:pt x="80675" y="11460"/>
                    <a:pt x="67240" y="-339"/>
                  </a:cubicBezTo>
                  <a:cubicBezTo>
                    <a:pt x="58757" y="5845"/>
                    <a:pt x="46945" y="7516"/>
                    <a:pt x="37001" y="1212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63B547F3-D5C6-415D-88B1-42CAC85E10A8}"/>
                </a:ext>
              </a:extLst>
            </p:cNvPr>
            <p:cNvSpPr/>
            <p:nvPr/>
          </p:nvSpPr>
          <p:spPr>
            <a:xfrm>
              <a:off x="6663027" y="5278406"/>
              <a:ext cx="79153" cy="97007"/>
            </a:xfrm>
            <a:custGeom>
              <a:avLst/>
              <a:gdLst>
                <a:gd name="connsiteX0" fmla="*/ 79251 w 81238"/>
                <a:gd name="connsiteY0" fmla="*/ 90139 h 132825"/>
                <a:gd name="connsiteX1" fmla="*/ 64313 w 81238"/>
                <a:gd name="connsiteY1" fmla="*/ 78909 h 132825"/>
                <a:gd name="connsiteX2" fmla="*/ 50391 w 81238"/>
                <a:gd name="connsiteY2" fmla="*/ 77371 h 132825"/>
                <a:gd name="connsiteX3" fmla="*/ 37159 w 81238"/>
                <a:gd name="connsiteY3" fmla="*/ 53406 h 132825"/>
                <a:gd name="connsiteX4" fmla="*/ 45277 w 81238"/>
                <a:gd name="connsiteY4" fmla="*/ 27804 h 132825"/>
                <a:gd name="connsiteX5" fmla="*/ 39757 w 81238"/>
                <a:gd name="connsiteY5" fmla="*/ 1065 h 132825"/>
                <a:gd name="connsiteX6" fmla="*/ 21532 w 81238"/>
                <a:gd name="connsiteY6" fmla="*/ -339 h 132825"/>
                <a:gd name="connsiteX7" fmla="*/ 30380 w 81238"/>
                <a:gd name="connsiteY7" fmla="*/ 17075 h 132825"/>
                <a:gd name="connsiteX8" fmla="*/ 19299 w 81238"/>
                <a:gd name="connsiteY8" fmla="*/ 21487 h 132825"/>
                <a:gd name="connsiteX9" fmla="*/ 16053 w 81238"/>
                <a:gd name="connsiteY9" fmla="*/ 37396 h 132825"/>
                <a:gd name="connsiteX10" fmla="*/ 19503 w 81238"/>
                <a:gd name="connsiteY10" fmla="*/ 49061 h 132825"/>
                <a:gd name="connsiteX11" fmla="*/ 7082 w 81238"/>
                <a:gd name="connsiteY11" fmla="*/ 51234 h 132825"/>
                <a:gd name="connsiteX12" fmla="*/ 1197 w 81238"/>
                <a:gd name="connsiteY12" fmla="*/ 67444 h 132825"/>
                <a:gd name="connsiteX13" fmla="*/ 9802 w 81238"/>
                <a:gd name="connsiteY13" fmla="*/ 77772 h 132825"/>
                <a:gd name="connsiteX14" fmla="*/ 29812 w 81238"/>
                <a:gd name="connsiteY14" fmla="*/ 83922 h 132825"/>
                <a:gd name="connsiteX15" fmla="*/ 35535 w 81238"/>
                <a:gd name="connsiteY15" fmla="*/ 109959 h 132825"/>
                <a:gd name="connsiteX16" fmla="*/ 57373 w 81238"/>
                <a:gd name="connsiteY16" fmla="*/ 132487 h 132825"/>
                <a:gd name="connsiteX17" fmla="*/ 58428 w 81238"/>
                <a:gd name="connsiteY17" fmla="*/ 119786 h 132825"/>
                <a:gd name="connsiteX18" fmla="*/ 73527 w 81238"/>
                <a:gd name="connsiteY18" fmla="*/ 115173 h 132825"/>
                <a:gd name="connsiteX19" fmla="*/ 79210 w 81238"/>
                <a:gd name="connsiteY19" fmla="*/ 90206 h 1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238" h="132825">
                  <a:moveTo>
                    <a:pt x="79251" y="90139"/>
                  </a:moveTo>
                  <a:cubicBezTo>
                    <a:pt x="74664" y="86058"/>
                    <a:pt x="69671" y="82301"/>
                    <a:pt x="64313" y="78909"/>
                  </a:cubicBezTo>
                  <a:cubicBezTo>
                    <a:pt x="64313" y="86630"/>
                    <a:pt x="53354" y="80179"/>
                    <a:pt x="50391" y="77371"/>
                  </a:cubicBezTo>
                  <a:cubicBezTo>
                    <a:pt x="43044" y="70713"/>
                    <a:pt x="38417" y="62334"/>
                    <a:pt x="37159" y="53406"/>
                  </a:cubicBezTo>
                  <a:cubicBezTo>
                    <a:pt x="36469" y="44282"/>
                    <a:pt x="47185" y="36895"/>
                    <a:pt x="45277" y="27804"/>
                  </a:cubicBezTo>
                  <a:cubicBezTo>
                    <a:pt x="44140" y="22055"/>
                    <a:pt x="29609" y="5711"/>
                    <a:pt x="39757" y="1065"/>
                  </a:cubicBezTo>
                  <a:cubicBezTo>
                    <a:pt x="33709" y="280"/>
                    <a:pt x="27621" y="-192"/>
                    <a:pt x="21532" y="-339"/>
                  </a:cubicBezTo>
                  <a:cubicBezTo>
                    <a:pt x="25347" y="4474"/>
                    <a:pt x="30989" y="11660"/>
                    <a:pt x="30380" y="17075"/>
                  </a:cubicBezTo>
                  <a:cubicBezTo>
                    <a:pt x="30096" y="19247"/>
                    <a:pt x="21126" y="17576"/>
                    <a:pt x="19299" y="21487"/>
                  </a:cubicBezTo>
                  <a:cubicBezTo>
                    <a:pt x="17148" y="26604"/>
                    <a:pt x="16053" y="31982"/>
                    <a:pt x="16053" y="37396"/>
                  </a:cubicBezTo>
                  <a:cubicBezTo>
                    <a:pt x="16053" y="39669"/>
                    <a:pt x="20112" y="47691"/>
                    <a:pt x="19503" y="49061"/>
                  </a:cubicBezTo>
                  <a:cubicBezTo>
                    <a:pt x="18285" y="51334"/>
                    <a:pt x="7326" y="47658"/>
                    <a:pt x="7082" y="51234"/>
                  </a:cubicBezTo>
                  <a:cubicBezTo>
                    <a:pt x="6757" y="54209"/>
                    <a:pt x="6270" y="66241"/>
                    <a:pt x="1197" y="67444"/>
                  </a:cubicBezTo>
                  <a:cubicBezTo>
                    <a:pt x="-3877" y="68648"/>
                    <a:pt x="7935" y="76502"/>
                    <a:pt x="9802" y="77772"/>
                  </a:cubicBezTo>
                  <a:cubicBezTo>
                    <a:pt x="16986" y="82786"/>
                    <a:pt x="19624" y="84825"/>
                    <a:pt x="29812" y="83922"/>
                  </a:cubicBezTo>
                  <a:cubicBezTo>
                    <a:pt x="58225" y="81449"/>
                    <a:pt x="32856" y="103040"/>
                    <a:pt x="35535" y="109959"/>
                  </a:cubicBezTo>
                  <a:cubicBezTo>
                    <a:pt x="36875" y="113301"/>
                    <a:pt x="57251" y="132620"/>
                    <a:pt x="57373" y="132487"/>
                  </a:cubicBezTo>
                  <a:cubicBezTo>
                    <a:pt x="60133" y="128944"/>
                    <a:pt x="56074" y="123730"/>
                    <a:pt x="58428" y="119786"/>
                  </a:cubicBezTo>
                  <a:cubicBezTo>
                    <a:pt x="61432" y="114872"/>
                    <a:pt x="67926" y="116978"/>
                    <a:pt x="73527" y="115173"/>
                  </a:cubicBezTo>
                  <a:cubicBezTo>
                    <a:pt x="79738" y="113201"/>
                    <a:pt x="83797" y="94584"/>
                    <a:pt x="79210" y="9020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6315B53C-551A-45A2-A792-B9A731424666}"/>
                </a:ext>
              </a:extLst>
            </p:cNvPr>
            <p:cNvSpPr/>
            <p:nvPr/>
          </p:nvSpPr>
          <p:spPr>
            <a:xfrm>
              <a:off x="8630854" y="5272177"/>
              <a:ext cx="148033" cy="61826"/>
            </a:xfrm>
            <a:custGeom>
              <a:avLst/>
              <a:gdLst>
                <a:gd name="connsiteX0" fmla="*/ 55879 w 151933"/>
                <a:gd name="connsiteY0" fmla="*/ 73282 h 84654"/>
                <a:gd name="connsiteX1" fmla="*/ 86849 w 151933"/>
                <a:gd name="connsiteY1" fmla="*/ 84044 h 84654"/>
                <a:gd name="connsiteX2" fmla="*/ 100365 w 151933"/>
                <a:gd name="connsiteY2" fmla="*/ 73148 h 84654"/>
                <a:gd name="connsiteX3" fmla="*/ 135638 w 151933"/>
                <a:gd name="connsiteY3" fmla="*/ 68469 h 84654"/>
                <a:gd name="connsiteX4" fmla="*/ 151873 w 151933"/>
                <a:gd name="connsiteY4" fmla="*/ 35714 h 84654"/>
                <a:gd name="connsiteX5" fmla="*/ 110838 w 151933"/>
                <a:gd name="connsiteY5" fmla="*/ 27825 h 84654"/>
                <a:gd name="connsiteX6" fmla="*/ 88432 w 151933"/>
                <a:gd name="connsiteY6" fmla="*/ 17798 h 84654"/>
                <a:gd name="connsiteX7" fmla="*/ 46584 w 151933"/>
                <a:gd name="connsiteY7" fmla="*/ 2156 h 84654"/>
                <a:gd name="connsiteX8" fmla="*/ 1245 w 151933"/>
                <a:gd name="connsiteY8" fmla="*/ 8540 h 84654"/>
                <a:gd name="connsiteX9" fmla="*/ -54 w 151933"/>
                <a:gd name="connsiteY9" fmla="*/ 30199 h 84654"/>
                <a:gd name="connsiteX10" fmla="*/ 2665 w 151933"/>
                <a:gd name="connsiteY10" fmla="*/ 41195 h 84654"/>
                <a:gd name="connsiteX11" fmla="*/ 5304 w 151933"/>
                <a:gd name="connsiteY11" fmla="*/ 52158 h 84654"/>
                <a:gd name="connsiteX12" fmla="*/ 15371 w 151933"/>
                <a:gd name="connsiteY12" fmla="*/ 57840 h 84654"/>
                <a:gd name="connsiteX13" fmla="*/ 19633 w 151933"/>
                <a:gd name="connsiteY13" fmla="*/ 66731 h 84654"/>
                <a:gd name="connsiteX14" fmla="*/ 34042 w 151933"/>
                <a:gd name="connsiteY14" fmla="*/ 72011 h 84654"/>
                <a:gd name="connsiteX15" fmla="*/ 55879 w 151933"/>
                <a:gd name="connsiteY15" fmla="*/ 73282 h 8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933" h="84654">
                  <a:moveTo>
                    <a:pt x="55879" y="73282"/>
                  </a:moveTo>
                  <a:cubicBezTo>
                    <a:pt x="57787" y="69572"/>
                    <a:pt x="81451" y="86651"/>
                    <a:pt x="86849" y="84044"/>
                  </a:cubicBezTo>
                  <a:cubicBezTo>
                    <a:pt x="99026" y="77994"/>
                    <a:pt x="68705" y="60347"/>
                    <a:pt x="100365" y="73148"/>
                  </a:cubicBezTo>
                  <a:cubicBezTo>
                    <a:pt x="112542" y="77994"/>
                    <a:pt x="124192" y="69070"/>
                    <a:pt x="135638" y="68469"/>
                  </a:cubicBezTo>
                  <a:cubicBezTo>
                    <a:pt x="162265" y="67165"/>
                    <a:pt x="145298" y="48414"/>
                    <a:pt x="151873" y="35714"/>
                  </a:cubicBezTo>
                  <a:cubicBezTo>
                    <a:pt x="142092" y="36482"/>
                    <a:pt x="114572" y="20573"/>
                    <a:pt x="110838" y="27825"/>
                  </a:cubicBezTo>
                  <a:cubicBezTo>
                    <a:pt x="106008" y="37151"/>
                    <a:pt x="91842" y="23046"/>
                    <a:pt x="88432" y="17798"/>
                  </a:cubicBezTo>
                  <a:cubicBezTo>
                    <a:pt x="85022" y="12551"/>
                    <a:pt x="54824" y="4964"/>
                    <a:pt x="46584" y="2156"/>
                  </a:cubicBezTo>
                  <a:cubicBezTo>
                    <a:pt x="35422" y="-1687"/>
                    <a:pt x="-2124" y="-2155"/>
                    <a:pt x="1245" y="8540"/>
                  </a:cubicBezTo>
                  <a:cubicBezTo>
                    <a:pt x="3031" y="14122"/>
                    <a:pt x="5304" y="26455"/>
                    <a:pt x="-54" y="30199"/>
                  </a:cubicBezTo>
                  <a:cubicBezTo>
                    <a:pt x="1124" y="29530"/>
                    <a:pt x="3356" y="39758"/>
                    <a:pt x="2665" y="41195"/>
                  </a:cubicBezTo>
                  <a:cubicBezTo>
                    <a:pt x="1083" y="44537"/>
                    <a:pt x="-3788" y="49451"/>
                    <a:pt x="5304" y="52158"/>
                  </a:cubicBezTo>
                  <a:cubicBezTo>
                    <a:pt x="10175" y="53595"/>
                    <a:pt x="20647" y="53963"/>
                    <a:pt x="15371" y="57840"/>
                  </a:cubicBezTo>
                  <a:cubicBezTo>
                    <a:pt x="11312" y="60881"/>
                    <a:pt x="11555" y="64825"/>
                    <a:pt x="19633" y="66731"/>
                  </a:cubicBezTo>
                  <a:cubicBezTo>
                    <a:pt x="23245" y="67600"/>
                    <a:pt x="33433" y="68335"/>
                    <a:pt x="34042" y="72011"/>
                  </a:cubicBezTo>
                  <a:cubicBezTo>
                    <a:pt x="35137" y="77460"/>
                    <a:pt x="54093" y="76958"/>
                    <a:pt x="55879" y="7328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AE0E0994-1BBD-4012-915F-BD335D463C62}"/>
                </a:ext>
              </a:extLst>
            </p:cNvPr>
            <p:cNvSpPr/>
            <p:nvPr/>
          </p:nvSpPr>
          <p:spPr>
            <a:xfrm>
              <a:off x="6713770" y="4979482"/>
              <a:ext cx="412697" cy="145523"/>
            </a:xfrm>
            <a:custGeom>
              <a:avLst/>
              <a:gdLst>
                <a:gd name="connsiteX0" fmla="*/ 26006 w 423569"/>
                <a:gd name="connsiteY0" fmla="*/ 118989 h 199254"/>
                <a:gd name="connsiteX1" fmla="*/ 46057 w 423569"/>
                <a:gd name="connsiteY1" fmla="*/ 136202 h 199254"/>
                <a:gd name="connsiteX2" fmla="*/ 69356 w 423569"/>
                <a:gd name="connsiteY2" fmla="*/ 153917 h 199254"/>
                <a:gd name="connsiteX3" fmla="*/ 71020 w 423569"/>
                <a:gd name="connsiteY3" fmla="*/ 169459 h 199254"/>
                <a:gd name="connsiteX4" fmla="*/ 99433 w 423569"/>
                <a:gd name="connsiteY4" fmla="*/ 175608 h 199254"/>
                <a:gd name="connsiteX5" fmla="*/ 126507 w 423569"/>
                <a:gd name="connsiteY5" fmla="*/ 188109 h 199254"/>
                <a:gd name="connsiteX6" fmla="*/ 153661 w 423569"/>
                <a:gd name="connsiteY6" fmla="*/ 194794 h 199254"/>
                <a:gd name="connsiteX7" fmla="*/ 177163 w 423569"/>
                <a:gd name="connsiteY7" fmla="*/ 198136 h 199254"/>
                <a:gd name="connsiteX8" fmla="*/ 214424 w 423569"/>
                <a:gd name="connsiteY8" fmla="*/ 190214 h 199254"/>
                <a:gd name="connsiteX9" fmla="*/ 224409 w 423569"/>
                <a:gd name="connsiteY9" fmla="*/ 196064 h 199254"/>
                <a:gd name="connsiteX10" fmla="*/ 244258 w 423569"/>
                <a:gd name="connsiteY10" fmla="*/ 195362 h 199254"/>
                <a:gd name="connsiteX11" fmla="*/ 273076 w 423569"/>
                <a:gd name="connsiteY11" fmla="*/ 194626 h 199254"/>
                <a:gd name="connsiteX12" fmla="*/ 306360 w 423569"/>
                <a:gd name="connsiteY12" fmla="*/ 188176 h 199254"/>
                <a:gd name="connsiteX13" fmla="*/ 338304 w 423569"/>
                <a:gd name="connsiteY13" fmla="*/ 188443 h 199254"/>
                <a:gd name="connsiteX14" fmla="*/ 420985 w 423569"/>
                <a:gd name="connsiteY14" fmla="*/ 153114 h 199254"/>
                <a:gd name="connsiteX15" fmla="*/ 409458 w 423569"/>
                <a:gd name="connsiteY15" fmla="*/ 147332 h 199254"/>
                <a:gd name="connsiteX16" fmla="*/ 374266 w 423569"/>
                <a:gd name="connsiteY16" fmla="*/ 137706 h 199254"/>
                <a:gd name="connsiteX17" fmla="*/ 311515 w 423569"/>
                <a:gd name="connsiteY17" fmla="*/ 114610 h 199254"/>
                <a:gd name="connsiteX18" fmla="*/ 292559 w 423569"/>
                <a:gd name="connsiteY18" fmla="*/ 98601 h 199254"/>
                <a:gd name="connsiteX19" fmla="*/ 285943 w 423569"/>
                <a:gd name="connsiteY19" fmla="*/ 89342 h 199254"/>
                <a:gd name="connsiteX20" fmla="*/ 286390 w 423569"/>
                <a:gd name="connsiteY20" fmla="*/ 80351 h 199254"/>
                <a:gd name="connsiteX21" fmla="*/ 261021 w 423569"/>
                <a:gd name="connsiteY21" fmla="*/ 76073 h 199254"/>
                <a:gd name="connsiteX22" fmla="*/ 277663 w 423569"/>
                <a:gd name="connsiteY22" fmla="*/ 56019 h 199254"/>
                <a:gd name="connsiteX23" fmla="*/ 226235 w 423569"/>
                <a:gd name="connsiteY23" fmla="*/ 12568 h 199254"/>
                <a:gd name="connsiteX24" fmla="*/ 199284 w 423569"/>
                <a:gd name="connsiteY24" fmla="*/ 9995 h 199254"/>
                <a:gd name="connsiteX25" fmla="*/ 189827 w 423569"/>
                <a:gd name="connsiteY25" fmla="*/ 7321 h 199254"/>
                <a:gd name="connsiteX26" fmla="*/ 172860 w 423569"/>
                <a:gd name="connsiteY26" fmla="*/ 6987 h 199254"/>
                <a:gd name="connsiteX27" fmla="*/ 151753 w 423569"/>
                <a:gd name="connsiteY27" fmla="*/ 3042 h 199254"/>
                <a:gd name="connsiteX28" fmla="*/ 117617 w 423569"/>
                <a:gd name="connsiteY28" fmla="*/ 4580 h 199254"/>
                <a:gd name="connsiteX29" fmla="*/ 105440 w 423569"/>
                <a:gd name="connsiteY29" fmla="*/ 21292 h 199254"/>
                <a:gd name="connsiteX30" fmla="*/ 79706 w 423569"/>
                <a:gd name="connsiteY30" fmla="*/ 36433 h 199254"/>
                <a:gd name="connsiteX31" fmla="*/ 68139 w 423569"/>
                <a:gd name="connsiteY31" fmla="*/ 44287 h 199254"/>
                <a:gd name="connsiteX32" fmla="*/ 63024 w 423569"/>
                <a:gd name="connsiteY32" fmla="*/ 56253 h 199254"/>
                <a:gd name="connsiteX33" fmla="*/ 48736 w 423569"/>
                <a:gd name="connsiteY33" fmla="*/ 60899 h 199254"/>
                <a:gd name="connsiteX34" fmla="*/ 46301 w 423569"/>
                <a:gd name="connsiteY34" fmla="*/ 68519 h 199254"/>
                <a:gd name="connsiteX35" fmla="*/ 33515 w 423569"/>
                <a:gd name="connsiteY35" fmla="*/ 90779 h 199254"/>
                <a:gd name="connsiteX36" fmla="*/ 15656 w 423569"/>
                <a:gd name="connsiteY36" fmla="*/ 96996 h 199254"/>
                <a:gd name="connsiteX37" fmla="*/ 394 w 423569"/>
                <a:gd name="connsiteY37" fmla="*/ 108527 h 199254"/>
                <a:gd name="connsiteX38" fmla="*/ 26006 w 423569"/>
                <a:gd name="connsiteY38" fmla="*/ 118922 h 199254"/>
                <a:gd name="connsiteX39" fmla="*/ 26006 w 423569"/>
                <a:gd name="connsiteY39" fmla="*/ 118989 h 199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23569" h="199254">
                  <a:moveTo>
                    <a:pt x="26006" y="118989"/>
                  </a:moveTo>
                  <a:cubicBezTo>
                    <a:pt x="29416" y="125440"/>
                    <a:pt x="40903" y="130152"/>
                    <a:pt x="46057" y="136202"/>
                  </a:cubicBezTo>
                  <a:cubicBezTo>
                    <a:pt x="52227" y="143488"/>
                    <a:pt x="55393" y="150507"/>
                    <a:pt x="69356" y="153917"/>
                  </a:cubicBezTo>
                  <a:cubicBezTo>
                    <a:pt x="81046" y="156791"/>
                    <a:pt x="73131" y="163442"/>
                    <a:pt x="71020" y="169459"/>
                  </a:cubicBezTo>
                  <a:cubicBezTo>
                    <a:pt x="80234" y="172259"/>
                    <a:pt x="89732" y="174318"/>
                    <a:pt x="99433" y="175608"/>
                  </a:cubicBezTo>
                  <a:cubicBezTo>
                    <a:pt x="109986" y="177480"/>
                    <a:pt x="117861" y="184132"/>
                    <a:pt x="126507" y="188109"/>
                  </a:cubicBezTo>
                  <a:cubicBezTo>
                    <a:pt x="135152" y="192086"/>
                    <a:pt x="143351" y="193022"/>
                    <a:pt x="153661" y="194794"/>
                  </a:cubicBezTo>
                  <a:cubicBezTo>
                    <a:pt x="160155" y="195963"/>
                    <a:pt x="171642" y="200776"/>
                    <a:pt x="177163" y="198136"/>
                  </a:cubicBezTo>
                  <a:cubicBezTo>
                    <a:pt x="185889" y="193791"/>
                    <a:pt x="201313" y="186839"/>
                    <a:pt x="214424" y="190214"/>
                  </a:cubicBezTo>
                  <a:cubicBezTo>
                    <a:pt x="219010" y="191351"/>
                    <a:pt x="218808" y="194827"/>
                    <a:pt x="224409" y="196064"/>
                  </a:cubicBezTo>
                  <a:cubicBezTo>
                    <a:pt x="230010" y="197300"/>
                    <a:pt x="239427" y="195495"/>
                    <a:pt x="244258" y="195362"/>
                  </a:cubicBezTo>
                  <a:cubicBezTo>
                    <a:pt x="252822" y="195128"/>
                    <a:pt x="265648" y="197100"/>
                    <a:pt x="273076" y="194626"/>
                  </a:cubicBezTo>
                  <a:cubicBezTo>
                    <a:pt x="283183" y="191284"/>
                    <a:pt x="293371" y="186738"/>
                    <a:pt x="306360" y="188176"/>
                  </a:cubicBezTo>
                  <a:cubicBezTo>
                    <a:pt x="317360" y="189412"/>
                    <a:pt x="328968" y="192822"/>
                    <a:pt x="338304" y="188443"/>
                  </a:cubicBezTo>
                  <a:cubicBezTo>
                    <a:pt x="365093" y="175455"/>
                    <a:pt x="392694" y="163663"/>
                    <a:pt x="420985" y="153114"/>
                  </a:cubicBezTo>
                  <a:cubicBezTo>
                    <a:pt x="429671" y="149772"/>
                    <a:pt x="413476" y="147934"/>
                    <a:pt x="409458" y="147332"/>
                  </a:cubicBezTo>
                  <a:cubicBezTo>
                    <a:pt x="397281" y="145330"/>
                    <a:pt x="385469" y="142095"/>
                    <a:pt x="374266" y="137706"/>
                  </a:cubicBezTo>
                  <a:cubicBezTo>
                    <a:pt x="356610" y="131021"/>
                    <a:pt x="324017" y="124905"/>
                    <a:pt x="311515" y="114610"/>
                  </a:cubicBezTo>
                  <a:cubicBezTo>
                    <a:pt x="305020" y="109263"/>
                    <a:pt x="297430" y="104583"/>
                    <a:pt x="292559" y="98601"/>
                  </a:cubicBezTo>
                  <a:cubicBezTo>
                    <a:pt x="290042" y="95676"/>
                    <a:pt x="287810" y="92581"/>
                    <a:pt x="285943" y="89342"/>
                  </a:cubicBezTo>
                  <a:cubicBezTo>
                    <a:pt x="282899" y="83727"/>
                    <a:pt x="298120" y="86401"/>
                    <a:pt x="286390" y="80351"/>
                  </a:cubicBezTo>
                  <a:cubicBezTo>
                    <a:pt x="279043" y="76508"/>
                    <a:pt x="263740" y="84362"/>
                    <a:pt x="261021" y="76073"/>
                  </a:cubicBezTo>
                  <a:cubicBezTo>
                    <a:pt x="257774" y="66313"/>
                    <a:pt x="268571" y="62470"/>
                    <a:pt x="277663" y="56019"/>
                  </a:cubicBezTo>
                  <a:cubicBezTo>
                    <a:pt x="286755" y="49568"/>
                    <a:pt x="238494" y="17782"/>
                    <a:pt x="226235" y="12568"/>
                  </a:cubicBezTo>
                  <a:cubicBezTo>
                    <a:pt x="219985" y="9794"/>
                    <a:pt x="206631" y="10964"/>
                    <a:pt x="199284" y="9995"/>
                  </a:cubicBezTo>
                  <a:cubicBezTo>
                    <a:pt x="195834" y="9527"/>
                    <a:pt x="193317" y="7354"/>
                    <a:pt x="189827" y="7321"/>
                  </a:cubicBezTo>
                  <a:cubicBezTo>
                    <a:pt x="183738" y="7321"/>
                    <a:pt x="178705" y="9961"/>
                    <a:pt x="172860" y="6987"/>
                  </a:cubicBezTo>
                  <a:cubicBezTo>
                    <a:pt x="167015" y="4012"/>
                    <a:pt x="157477" y="-5280"/>
                    <a:pt x="151753" y="3042"/>
                  </a:cubicBezTo>
                  <a:cubicBezTo>
                    <a:pt x="146030" y="11365"/>
                    <a:pt x="132636" y="5248"/>
                    <a:pt x="117617" y="4580"/>
                  </a:cubicBezTo>
                  <a:cubicBezTo>
                    <a:pt x="116724" y="11265"/>
                    <a:pt x="110149" y="15510"/>
                    <a:pt x="105440" y="21292"/>
                  </a:cubicBezTo>
                  <a:cubicBezTo>
                    <a:pt x="98581" y="29781"/>
                    <a:pt x="88961" y="29514"/>
                    <a:pt x="79706" y="36433"/>
                  </a:cubicBezTo>
                  <a:cubicBezTo>
                    <a:pt x="76297" y="39006"/>
                    <a:pt x="70574" y="41312"/>
                    <a:pt x="68139" y="44287"/>
                  </a:cubicBezTo>
                  <a:cubicBezTo>
                    <a:pt x="65094" y="48031"/>
                    <a:pt x="66352" y="52643"/>
                    <a:pt x="63024" y="56253"/>
                  </a:cubicBezTo>
                  <a:cubicBezTo>
                    <a:pt x="60304" y="59228"/>
                    <a:pt x="53445" y="59595"/>
                    <a:pt x="48736" y="60899"/>
                  </a:cubicBezTo>
                  <a:cubicBezTo>
                    <a:pt x="42607" y="62537"/>
                    <a:pt x="49305" y="65478"/>
                    <a:pt x="46301" y="68519"/>
                  </a:cubicBezTo>
                  <a:cubicBezTo>
                    <a:pt x="39685" y="74866"/>
                    <a:pt x="35302" y="82554"/>
                    <a:pt x="33515" y="90779"/>
                  </a:cubicBezTo>
                  <a:cubicBezTo>
                    <a:pt x="30877" y="99737"/>
                    <a:pt x="29172" y="97464"/>
                    <a:pt x="15656" y="96996"/>
                  </a:cubicBezTo>
                  <a:cubicBezTo>
                    <a:pt x="8715" y="96695"/>
                    <a:pt x="-2447" y="104416"/>
                    <a:pt x="394" y="108527"/>
                  </a:cubicBezTo>
                  <a:cubicBezTo>
                    <a:pt x="4453" y="114443"/>
                    <a:pt x="22516" y="112338"/>
                    <a:pt x="26006" y="118922"/>
                  </a:cubicBezTo>
                  <a:cubicBezTo>
                    <a:pt x="28929" y="124537"/>
                    <a:pt x="23084" y="113474"/>
                    <a:pt x="26006" y="11898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24458ABE-02A5-45D5-911D-DDC3D2F4D23D}"/>
                </a:ext>
              </a:extLst>
            </p:cNvPr>
            <p:cNvSpPr/>
            <p:nvPr/>
          </p:nvSpPr>
          <p:spPr>
            <a:xfrm>
              <a:off x="5803898" y="5005804"/>
              <a:ext cx="56315" cy="64268"/>
            </a:xfrm>
            <a:custGeom>
              <a:avLst/>
              <a:gdLst>
                <a:gd name="connsiteX0" fmla="*/ 48486 w 57799"/>
                <a:gd name="connsiteY0" fmla="*/ 29603 h 87998"/>
                <a:gd name="connsiteX1" fmla="*/ 46984 w 57799"/>
                <a:gd name="connsiteY1" fmla="*/ 19576 h 87998"/>
                <a:gd name="connsiteX2" fmla="*/ 32534 w 57799"/>
                <a:gd name="connsiteY2" fmla="*/ 14261 h 87998"/>
                <a:gd name="connsiteX3" fmla="*/ 26324 w 57799"/>
                <a:gd name="connsiteY3" fmla="*/ 6039 h 87998"/>
                <a:gd name="connsiteX4" fmla="*/ -60 w 57799"/>
                <a:gd name="connsiteY4" fmla="*/ 825 h 87998"/>
                <a:gd name="connsiteX5" fmla="*/ 13619 w 57799"/>
                <a:gd name="connsiteY5" fmla="*/ 17738 h 87998"/>
                <a:gd name="connsiteX6" fmla="*/ 13619 w 57799"/>
                <a:gd name="connsiteY6" fmla="*/ 39129 h 87998"/>
                <a:gd name="connsiteX7" fmla="*/ 24091 w 57799"/>
                <a:gd name="connsiteY7" fmla="*/ 63194 h 87998"/>
                <a:gd name="connsiteX8" fmla="*/ 36268 w 57799"/>
                <a:gd name="connsiteY8" fmla="*/ 87660 h 87998"/>
                <a:gd name="connsiteX9" fmla="*/ 57740 w 57799"/>
                <a:gd name="connsiteY9" fmla="*/ 80975 h 87998"/>
                <a:gd name="connsiteX10" fmla="*/ 55711 w 57799"/>
                <a:gd name="connsiteY10" fmla="*/ 63394 h 87998"/>
                <a:gd name="connsiteX11" fmla="*/ 48364 w 57799"/>
                <a:gd name="connsiteY11" fmla="*/ 29770 h 87998"/>
                <a:gd name="connsiteX12" fmla="*/ 48486 w 57799"/>
                <a:gd name="connsiteY12" fmla="*/ 29603 h 8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799" h="87998">
                  <a:moveTo>
                    <a:pt x="48486" y="29603"/>
                  </a:moveTo>
                  <a:cubicBezTo>
                    <a:pt x="43980" y="27196"/>
                    <a:pt x="50069" y="22484"/>
                    <a:pt x="46984" y="19576"/>
                  </a:cubicBezTo>
                  <a:cubicBezTo>
                    <a:pt x="43899" y="16668"/>
                    <a:pt x="36999" y="16233"/>
                    <a:pt x="32534" y="14261"/>
                  </a:cubicBezTo>
                  <a:cubicBezTo>
                    <a:pt x="28962" y="12530"/>
                    <a:pt x="26608" y="9455"/>
                    <a:pt x="26324" y="6039"/>
                  </a:cubicBezTo>
                  <a:cubicBezTo>
                    <a:pt x="25106" y="1026"/>
                    <a:pt x="9479" y="-2183"/>
                    <a:pt x="-60" y="825"/>
                  </a:cubicBezTo>
                  <a:cubicBezTo>
                    <a:pt x="2376" y="7777"/>
                    <a:pt x="11712" y="11588"/>
                    <a:pt x="13619" y="17738"/>
                  </a:cubicBezTo>
                  <a:cubicBezTo>
                    <a:pt x="15771" y="24623"/>
                    <a:pt x="12604" y="32143"/>
                    <a:pt x="13619" y="39129"/>
                  </a:cubicBezTo>
                  <a:cubicBezTo>
                    <a:pt x="14918" y="47418"/>
                    <a:pt x="22305" y="54838"/>
                    <a:pt x="24091" y="63194"/>
                  </a:cubicBezTo>
                  <a:cubicBezTo>
                    <a:pt x="25431" y="72098"/>
                    <a:pt x="29611" y="80547"/>
                    <a:pt x="36268" y="87660"/>
                  </a:cubicBezTo>
                  <a:cubicBezTo>
                    <a:pt x="43047" y="84661"/>
                    <a:pt x="50272" y="82412"/>
                    <a:pt x="57740" y="80975"/>
                  </a:cubicBezTo>
                  <a:cubicBezTo>
                    <a:pt x="57091" y="75126"/>
                    <a:pt x="56441" y="69243"/>
                    <a:pt x="55711" y="63394"/>
                  </a:cubicBezTo>
                  <a:cubicBezTo>
                    <a:pt x="54737" y="55372"/>
                    <a:pt x="58309" y="35218"/>
                    <a:pt x="48364" y="29770"/>
                  </a:cubicBezTo>
                  <a:cubicBezTo>
                    <a:pt x="43209" y="26762"/>
                    <a:pt x="53722" y="32477"/>
                    <a:pt x="48486" y="2960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A8E40451-C04F-4FC6-9B79-80270F04D49A}"/>
                </a:ext>
              </a:extLst>
            </p:cNvPr>
            <p:cNvSpPr/>
            <p:nvPr/>
          </p:nvSpPr>
          <p:spPr>
            <a:xfrm>
              <a:off x="6073021" y="4711092"/>
              <a:ext cx="455373" cy="187448"/>
            </a:xfrm>
            <a:custGeom>
              <a:avLst/>
              <a:gdLst>
                <a:gd name="connsiteX0" fmla="*/ 51165 w 467370"/>
                <a:gd name="connsiteY0" fmla="*/ 13866 h 256659"/>
                <a:gd name="connsiteX1" fmla="*/ 24660 w 467370"/>
                <a:gd name="connsiteY1" fmla="*/ 33920 h 256659"/>
                <a:gd name="connsiteX2" fmla="*/ 306 w 467370"/>
                <a:gd name="connsiteY2" fmla="*/ 59356 h 256659"/>
                <a:gd name="connsiteX3" fmla="*/ 15689 w 467370"/>
                <a:gd name="connsiteY3" fmla="*/ 77171 h 256659"/>
                <a:gd name="connsiteX4" fmla="*/ 12970 w 467370"/>
                <a:gd name="connsiteY4" fmla="*/ 84357 h 256659"/>
                <a:gd name="connsiteX5" fmla="*/ 15811 w 467370"/>
                <a:gd name="connsiteY5" fmla="*/ 95721 h 256659"/>
                <a:gd name="connsiteX6" fmla="*/ 10941 w 467370"/>
                <a:gd name="connsiteY6" fmla="*/ 102405 h 256659"/>
                <a:gd name="connsiteX7" fmla="*/ 10941 w 467370"/>
                <a:gd name="connsiteY7" fmla="*/ 113001 h 256659"/>
                <a:gd name="connsiteX8" fmla="*/ 15487 w 467370"/>
                <a:gd name="connsiteY8" fmla="*/ 120788 h 256659"/>
                <a:gd name="connsiteX9" fmla="*/ 4121 w 467370"/>
                <a:gd name="connsiteY9" fmla="*/ 127039 h 256659"/>
                <a:gd name="connsiteX10" fmla="*/ 15852 w 467370"/>
                <a:gd name="connsiteY10" fmla="*/ 139907 h 256659"/>
                <a:gd name="connsiteX11" fmla="*/ 21818 w 467370"/>
                <a:gd name="connsiteY11" fmla="*/ 156050 h 256659"/>
                <a:gd name="connsiteX12" fmla="*/ 72961 w 467370"/>
                <a:gd name="connsiteY12" fmla="*/ 169754 h 256659"/>
                <a:gd name="connsiteX13" fmla="*/ 88304 w 467370"/>
                <a:gd name="connsiteY13" fmla="*/ 178645 h 256659"/>
                <a:gd name="connsiteX14" fmla="*/ 117610 w 467370"/>
                <a:gd name="connsiteY14" fmla="*/ 181987 h 256659"/>
                <a:gd name="connsiteX15" fmla="*/ 152883 w 467370"/>
                <a:gd name="connsiteY15" fmla="*/ 190878 h 256659"/>
                <a:gd name="connsiteX16" fmla="*/ 202037 w 467370"/>
                <a:gd name="connsiteY16" fmla="*/ 182655 h 256659"/>
                <a:gd name="connsiteX17" fmla="*/ 277778 w 467370"/>
                <a:gd name="connsiteY17" fmla="*/ 207690 h 256659"/>
                <a:gd name="connsiteX18" fmla="*/ 417934 w 467370"/>
                <a:gd name="connsiteY18" fmla="*/ 256321 h 256659"/>
                <a:gd name="connsiteX19" fmla="*/ 441801 w 467370"/>
                <a:gd name="connsiteY19" fmla="*/ 248366 h 256659"/>
                <a:gd name="connsiteX20" fmla="*/ 446509 w 467370"/>
                <a:gd name="connsiteY20" fmla="*/ 242517 h 256659"/>
                <a:gd name="connsiteX21" fmla="*/ 450284 w 467370"/>
                <a:gd name="connsiteY21" fmla="*/ 188271 h 256659"/>
                <a:gd name="connsiteX22" fmla="*/ 455195 w 467370"/>
                <a:gd name="connsiteY22" fmla="*/ 117847 h 256659"/>
                <a:gd name="connsiteX23" fmla="*/ 456657 w 467370"/>
                <a:gd name="connsiteY23" fmla="*/ 72625 h 256659"/>
                <a:gd name="connsiteX24" fmla="*/ 459458 w 467370"/>
                <a:gd name="connsiteY24" fmla="*/ 56414 h 256659"/>
                <a:gd name="connsiteX25" fmla="*/ 462299 w 467370"/>
                <a:gd name="connsiteY25" fmla="*/ 39970 h 256659"/>
                <a:gd name="connsiteX26" fmla="*/ 463476 w 467370"/>
                <a:gd name="connsiteY26" fmla="*/ 28539 h 256659"/>
                <a:gd name="connsiteX27" fmla="*/ 425768 w 467370"/>
                <a:gd name="connsiteY27" fmla="*/ 22891 h 256659"/>
                <a:gd name="connsiteX28" fmla="*/ 372190 w 467370"/>
                <a:gd name="connsiteY28" fmla="*/ 7416 h 256659"/>
                <a:gd name="connsiteX29" fmla="*/ 309072 w 467370"/>
                <a:gd name="connsiteY29" fmla="*/ 24729 h 256659"/>
                <a:gd name="connsiteX30" fmla="*/ 315526 w 467370"/>
                <a:gd name="connsiteY30" fmla="*/ 43413 h 256659"/>
                <a:gd name="connsiteX31" fmla="*/ 278995 w 467370"/>
                <a:gd name="connsiteY31" fmla="*/ 50966 h 256659"/>
                <a:gd name="connsiteX32" fmla="*/ 237716 w 467370"/>
                <a:gd name="connsiteY32" fmla="*/ 36728 h 256659"/>
                <a:gd name="connsiteX33" fmla="*/ 191484 w 467370"/>
                <a:gd name="connsiteY33" fmla="*/ 31213 h 256659"/>
                <a:gd name="connsiteX34" fmla="*/ 177602 w 467370"/>
                <a:gd name="connsiteY34" fmla="*/ 17844 h 256659"/>
                <a:gd name="connsiteX35" fmla="*/ 147485 w 467370"/>
                <a:gd name="connsiteY35" fmla="*/ 8819 h 256659"/>
                <a:gd name="connsiteX36" fmla="*/ 109980 w 467370"/>
                <a:gd name="connsiteY36" fmla="*/ 3438 h 256659"/>
                <a:gd name="connsiteX37" fmla="*/ 65331 w 467370"/>
                <a:gd name="connsiteY37" fmla="*/ -339 h 256659"/>
                <a:gd name="connsiteX38" fmla="*/ 51043 w 467370"/>
                <a:gd name="connsiteY38" fmla="*/ 13799 h 25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7370" h="256659">
                  <a:moveTo>
                    <a:pt x="51165" y="13866"/>
                  </a:moveTo>
                  <a:cubicBezTo>
                    <a:pt x="42357" y="15905"/>
                    <a:pt x="19180" y="27904"/>
                    <a:pt x="24660" y="33920"/>
                  </a:cubicBezTo>
                  <a:cubicBezTo>
                    <a:pt x="35295" y="45719"/>
                    <a:pt x="-4240" y="52972"/>
                    <a:pt x="306" y="59356"/>
                  </a:cubicBezTo>
                  <a:cubicBezTo>
                    <a:pt x="4852" y="65740"/>
                    <a:pt x="15446" y="70386"/>
                    <a:pt x="15689" y="77171"/>
                  </a:cubicBezTo>
                  <a:cubicBezTo>
                    <a:pt x="15405" y="79697"/>
                    <a:pt x="14472" y="82147"/>
                    <a:pt x="12970" y="84357"/>
                  </a:cubicBezTo>
                  <a:cubicBezTo>
                    <a:pt x="10494" y="89103"/>
                    <a:pt x="15202" y="91041"/>
                    <a:pt x="15811" y="95721"/>
                  </a:cubicBezTo>
                  <a:cubicBezTo>
                    <a:pt x="15689" y="98488"/>
                    <a:pt x="13863" y="101012"/>
                    <a:pt x="10941" y="102405"/>
                  </a:cubicBezTo>
                  <a:cubicBezTo>
                    <a:pt x="6232" y="105748"/>
                    <a:pt x="10941" y="109592"/>
                    <a:pt x="10941" y="113001"/>
                  </a:cubicBezTo>
                  <a:cubicBezTo>
                    <a:pt x="10941" y="114438"/>
                    <a:pt x="17394" y="119685"/>
                    <a:pt x="15487" y="120788"/>
                  </a:cubicBezTo>
                  <a:cubicBezTo>
                    <a:pt x="11550" y="122667"/>
                    <a:pt x="7734" y="124752"/>
                    <a:pt x="4121" y="127039"/>
                  </a:cubicBezTo>
                  <a:cubicBezTo>
                    <a:pt x="-1480" y="131317"/>
                    <a:pt x="12239" y="136798"/>
                    <a:pt x="15852" y="139907"/>
                  </a:cubicBezTo>
                  <a:cubicBezTo>
                    <a:pt x="21859" y="144954"/>
                    <a:pt x="15081" y="151806"/>
                    <a:pt x="21818" y="156050"/>
                  </a:cubicBezTo>
                  <a:cubicBezTo>
                    <a:pt x="34889" y="164306"/>
                    <a:pt x="64032" y="158022"/>
                    <a:pt x="72961" y="169754"/>
                  </a:cubicBezTo>
                  <a:cubicBezTo>
                    <a:pt x="78360" y="176840"/>
                    <a:pt x="75113" y="178076"/>
                    <a:pt x="88304" y="178645"/>
                  </a:cubicBezTo>
                  <a:cubicBezTo>
                    <a:pt x="98209" y="178835"/>
                    <a:pt x="108031" y="179955"/>
                    <a:pt x="117610" y="181987"/>
                  </a:cubicBezTo>
                  <a:cubicBezTo>
                    <a:pt x="137905" y="187034"/>
                    <a:pt x="132751" y="196794"/>
                    <a:pt x="152883" y="190878"/>
                  </a:cubicBezTo>
                  <a:cubicBezTo>
                    <a:pt x="169768" y="185931"/>
                    <a:pt x="184543" y="176973"/>
                    <a:pt x="202037" y="182655"/>
                  </a:cubicBezTo>
                  <a:cubicBezTo>
                    <a:pt x="227406" y="190878"/>
                    <a:pt x="252652" y="199223"/>
                    <a:pt x="277778" y="207690"/>
                  </a:cubicBezTo>
                  <a:cubicBezTo>
                    <a:pt x="324862" y="223532"/>
                    <a:pt x="371581" y="239743"/>
                    <a:pt x="417934" y="256321"/>
                  </a:cubicBezTo>
                  <a:cubicBezTo>
                    <a:pt x="418665" y="244757"/>
                    <a:pt x="421993" y="247464"/>
                    <a:pt x="441801" y="248366"/>
                  </a:cubicBezTo>
                  <a:cubicBezTo>
                    <a:pt x="448620" y="248700"/>
                    <a:pt x="446306" y="246127"/>
                    <a:pt x="446509" y="242517"/>
                  </a:cubicBezTo>
                  <a:lnTo>
                    <a:pt x="450284" y="188271"/>
                  </a:lnTo>
                  <a:cubicBezTo>
                    <a:pt x="451908" y="164784"/>
                    <a:pt x="453531" y="141310"/>
                    <a:pt x="455195" y="117847"/>
                  </a:cubicBezTo>
                  <a:cubicBezTo>
                    <a:pt x="456210" y="103207"/>
                    <a:pt x="460432" y="87331"/>
                    <a:pt x="456657" y="72625"/>
                  </a:cubicBezTo>
                  <a:cubicBezTo>
                    <a:pt x="455277" y="67210"/>
                    <a:pt x="452070" y="60793"/>
                    <a:pt x="459458" y="56414"/>
                  </a:cubicBezTo>
                  <a:cubicBezTo>
                    <a:pt x="466845" y="52036"/>
                    <a:pt x="460432" y="45485"/>
                    <a:pt x="462299" y="39970"/>
                  </a:cubicBezTo>
                  <a:cubicBezTo>
                    <a:pt x="463638" y="36093"/>
                    <a:pt x="472122" y="31514"/>
                    <a:pt x="463476" y="28539"/>
                  </a:cubicBezTo>
                  <a:cubicBezTo>
                    <a:pt x="452963" y="24896"/>
                    <a:pt x="437417" y="24361"/>
                    <a:pt x="425768" y="22891"/>
                  </a:cubicBezTo>
                  <a:cubicBezTo>
                    <a:pt x="402997" y="20016"/>
                    <a:pt x="398492" y="7482"/>
                    <a:pt x="372190" y="7416"/>
                  </a:cubicBezTo>
                  <a:cubicBezTo>
                    <a:pt x="356238" y="7416"/>
                    <a:pt x="310331" y="12897"/>
                    <a:pt x="309072" y="24729"/>
                  </a:cubicBezTo>
                  <a:cubicBezTo>
                    <a:pt x="308382" y="31146"/>
                    <a:pt x="318408" y="36928"/>
                    <a:pt x="315526" y="43413"/>
                  </a:cubicBezTo>
                  <a:cubicBezTo>
                    <a:pt x="311751" y="51869"/>
                    <a:pt x="291822" y="53440"/>
                    <a:pt x="278995" y="50966"/>
                  </a:cubicBezTo>
                  <a:cubicBezTo>
                    <a:pt x="263774" y="47892"/>
                    <a:pt x="253343" y="40004"/>
                    <a:pt x="237716" y="36728"/>
                  </a:cubicBezTo>
                  <a:cubicBezTo>
                    <a:pt x="222860" y="33620"/>
                    <a:pt x="205528" y="34990"/>
                    <a:pt x="191484" y="31213"/>
                  </a:cubicBezTo>
                  <a:cubicBezTo>
                    <a:pt x="178860" y="27871"/>
                    <a:pt x="179835" y="24161"/>
                    <a:pt x="177602" y="17844"/>
                  </a:cubicBezTo>
                  <a:cubicBezTo>
                    <a:pt x="175370" y="11527"/>
                    <a:pt x="156536" y="10892"/>
                    <a:pt x="147485" y="8819"/>
                  </a:cubicBezTo>
                  <a:cubicBezTo>
                    <a:pt x="135389" y="5454"/>
                    <a:pt x="122725" y="3639"/>
                    <a:pt x="109980" y="3438"/>
                  </a:cubicBezTo>
                  <a:cubicBezTo>
                    <a:pt x="93744" y="3705"/>
                    <a:pt x="80065" y="4842"/>
                    <a:pt x="65331" y="-339"/>
                  </a:cubicBezTo>
                  <a:cubicBezTo>
                    <a:pt x="63423" y="9254"/>
                    <a:pt x="66021" y="10257"/>
                    <a:pt x="51043" y="1379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FECABA17-3D2D-48DE-96DF-70319AEF8C94}"/>
                </a:ext>
              </a:extLst>
            </p:cNvPr>
            <p:cNvSpPr/>
            <p:nvPr/>
          </p:nvSpPr>
          <p:spPr>
            <a:xfrm>
              <a:off x="6053476" y="4976458"/>
              <a:ext cx="202826" cy="143875"/>
            </a:xfrm>
            <a:custGeom>
              <a:avLst/>
              <a:gdLst>
                <a:gd name="connsiteX0" fmla="*/ 85879 w 208169"/>
                <a:gd name="connsiteY0" fmla="*/ 186098 h 196998"/>
                <a:gd name="connsiteX1" fmla="*/ 200625 w 208169"/>
                <a:gd name="connsiteY1" fmla="*/ 196660 h 196998"/>
                <a:gd name="connsiteX2" fmla="*/ 202980 w 208169"/>
                <a:gd name="connsiteY2" fmla="*/ 189307 h 196998"/>
                <a:gd name="connsiteX3" fmla="*/ 205050 w 208169"/>
                <a:gd name="connsiteY3" fmla="*/ 185296 h 196998"/>
                <a:gd name="connsiteX4" fmla="*/ 203183 w 208169"/>
                <a:gd name="connsiteY4" fmla="*/ 178611 h 196998"/>
                <a:gd name="connsiteX5" fmla="*/ 179722 w 208169"/>
                <a:gd name="connsiteY5" fmla="*/ 162334 h 196998"/>
                <a:gd name="connsiteX6" fmla="*/ 179073 w 208169"/>
                <a:gd name="connsiteY6" fmla="*/ 158190 h 196998"/>
                <a:gd name="connsiteX7" fmla="*/ 168763 w 208169"/>
                <a:gd name="connsiteY7" fmla="*/ 145021 h 196998"/>
                <a:gd name="connsiteX8" fmla="*/ 164704 w 208169"/>
                <a:gd name="connsiteY8" fmla="*/ 121190 h 196998"/>
                <a:gd name="connsiteX9" fmla="*/ 192548 w 208169"/>
                <a:gd name="connsiteY9" fmla="*/ 96322 h 196998"/>
                <a:gd name="connsiteX10" fmla="*/ 167058 w 208169"/>
                <a:gd name="connsiteY10" fmla="*/ 72257 h 196998"/>
                <a:gd name="connsiteX11" fmla="*/ 155693 w 208169"/>
                <a:gd name="connsiteY11" fmla="*/ 55546 h 196998"/>
                <a:gd name="connsiteX12" fmla="*/ 192224 w 208169"/>
                <a:gd name="connsiteY12" fmla="*/ 53808 h 196998"/>
                <a:gd name="connsiteX13" fmla="*/ 182076 w 208169"/>
                <a:gd name="connsiteY13" fmla="*/ 42611 h 196998"/>
                <a:gd name="connsiteX14" fmla="*/ 178382 w 208169"/>
                <a:gd name="connsiteY14" fmla="*/ 23827 h 196998"/>
                <a:gd name="connsiteX15" fmla="*/ 156667 w 208169"/>
                <a:gd name="connsiteY15" fmla="*/ -339 h 196998"/>
                <a:gd name="connsiteX16" fmla="*/ 166652 w 208169"/>
                <a:gd name="connsiteY16" fmla="*/ 16039 h 196998"/>
                <a:gd name="connsiteX17" fmla="*/ 157885 w 208169"/>
                <a:gd name="connsiteY17" fmla="*/ 30545 h 196998"/>
                <a:gd name="connsiteX18" fmla="*/ 133531 w 208169"/>
                <a:gd name="connsiteY18" fmla="*/ 53172 h 196998"/>
                <a:gd name="connsiteX19" fmla="*/ 123180 w 208169"/>
                <a:gd name="connsiteY19" fmla="*/ 70586 h 196998"/>
                <a:gd name="connsiteX20" fmla="*/ 108974 w 208169"/>
                <a:gd name="connsiteY20" fmla="*/ 82151 h 196998"/>
                <a:gd name="connsiteX21" fmla="*/ 78004 w 208169"/>
                <a:gd name="connsiteY21" fmla="*/ 116009 h 196998"/>
                <a:gd name="connsiteX22" fmla="*/ 69886 w 208169"/>
                <a:gd name="connsiteY22" fmla="*/ 108355 h 196998"/>
                <a:gd name="connsiteX23" fmla="*/ 49591 w 208169"/>
                <a:gd name="connsiteY23" fmla="*/ 107118 h 196998"/>
                <a:gd name="connsiteX24" fmla="*/ 23086 w 208169"/>
                <a:gd name="connsiteY24" fmla="*/ 115775 h 196998"/>
                <a:gd name="connsiteX25" fmla="*/ 6120 w 208169"/>
                <a:gd name="connsiteY25" fmla="*/ 126738 h 196998"/>
                <a:gd name="connsiteX26" fmla="*/ 883 w 208169"/>
                <a:gd name="connsiteY26" fmla="*/ 139673 h 196998"/>
                <a:gd name="connsiteX27" fmla="*/ 10179 w 208169"/>
                <a:gd name="connsiteY27" fmla="*/ 153778 h 196998"/>
                <a:gd name="connsiteX28" fmla="*/ 38591 w 208169"/>
                <a:gd name="connsiteY28" fmla="*/ 164072 h 196998"/>
                <a:gd name="connsiteX29" fmla="*/ 35020 w 208169"/>
                <a:gd name="connsiteY29" fmla="*/ 188204 h 196998"/>
                <a:gd name="connsiteX30" fmla="*/ 85879 w 208169"/>
                <a:gd name="connsiteY30" fmla="*/ 186098 h 19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8169" h="196998">
                  <a:moveTo>
                    <a:pt x="85879" y="186098"/>
                  </a:moveTo>
                  <a:cubicBezTo>
                    <a:pt x="126143" y="187468"/>
                    <a:pt x="164095" y="185095"/>
                    <a:pt x="200625" y="196660"/>
                  </a:cubicBezTo>
                  <a:cubicBezTo>
                    <a:pt x="201153" y="194157"/>
                    <a:pt x="201925" y="191697"/>
                    <a:pt x="202980" y="189307"/>
                  </a:cubicBezTo>
                  <a:lnTo>
                    <a:pt x="205050" y="185296"/>
                  </a:lnTo>
                  <a:cubicBezTo>
                    <a:pt x="209637" y="182555"/>
                    <a:pt x="209109" y="180349"/>
                    <a:pt x="203183" y="178611"/>
                  </a:cubicBezTo>
                  <a:cubicBezTo>
                    <a:pt x="200625" y="172796"/>
                    <a:pt x="184917" y="167949"/>
                    <a:pt x="179722" y="162334"/>
                  </a:cubicBezTo>
                  <a:cubicBezTo>
                    <a:pt x="178586" y="161097"/>
                    <a:pt x="179316" y="159560"/>
                    <a:pt x="179073" y="158190"/>
                  </a:cubicBezTo>
                  <a:cubicBezTo>
                    <a:pt x="178139" y="152975"/>
                    <a:pt x="171685" y="149700"/>
                    <a:pt x="168763" y="145021"/>
                  </a:cubicBezTo>
                  <a:cubicBezTo>
                    <a:pt x="165840" y="140341"/>
                    <a:pt x="160929" y="125835"/>
                    <a:pt x="164704" y="121190"/>
                  </a:cubicBezTo>
                  <a:cubicBezTo>
                    <a:pt x="171685" y="111330"/>
                    <a:pt x="181183" y="102843"/>
                    <a:pt x="192548" y="96322"/>
                  </a:cubicBezTo>
                  <a:cubicBezTo>
                    <a:pt x="182685" y="86897"/>
                    <a:pt x="182401" y="79611"/>
                    <a:pt x="167058" y="72257"/>
                  </a:cubicBezTo>
                  <a:cubicBezTo>
                    <a:pt x="163364" y="70453"/>
                    <a:pt x="144003" y="59122"/>
                    <a:pt x="155693" y="55546"/>
                  </a:cubicBezTo>
                  <a:cubicBezTo>
                    <a:pt x="161335" y="53808"/>
                    <a:pt x="190965" y="57250"/>
                    <a:pt x="192224" y="53808"/>
                  </a:cubicBezTo>
                  <a:cubicBezTo>
                    <a:pt x="192548" y="52905"/>
                    <a:pt x="182928" y="44182"/>
                    <a:pt x="182076" y="42611"/>
                  </a:cubicBezTo>
                  <a:cubicBezTo>
                    <a:pt x="178788" y="36294"/>
                    <a:pt x="180858" y="30077"/>
                    <a:pt x="178382" y="23827"/>
                  </a:cubicBezTo>
                  <a:cubicBezTo>
                    <a:pt x="175135" y="15671"/>
                    <a:pt x="175460" y="1332"/>
                    <a:pt x="156667" y="-339"/>
                  </a:cubicBezTo>
                  <a:cubicBezTo>
                    <a:pt x="153826" y="6346"/>
                    <a:pt x="153258" y="13231"/>
                    <a:pt x="166652" y="16039"/>
                  </a:cubicBezTo>
                  <a:cubicBezTo>
                    <a:pt x="178220" y="18412"/>
                    <a:pt x="166003" y="29609"/>
                    <a:pt x="157885" y="30545"/>
                  </a:cubicBezTo>
                  <a:cubicBezTo>
                    <a:pt x="143678" y="32183"/>
                    <a:pt x="135317" y="45753"/>
                    <a:pt x="133531" y="53172"/>
                  </a:cubicBezTo>
                  <a:cubicBezTo>
                    <a:pt x="131745" y="60593"/>
                    <a:pt x="123262" y="62966"/>
                    <a:pt x="123180" y="70586"/>
                  </a:cubicBezTo>
                  <a:cubicBezTo>
                    <a:pt x="123180" y="73929"/>
                    <a:pt x="111003" y="78107"/>
                    <a:pt x="108974" y="82151"/>
                  </a:cubicBezTo>
                  <a:cubicBezTo>
                    <a:pt x="106701" y="86864"/>
                    <a:pt x="86284" y="115574"/>
                    <a:pt x="78004" y="116009"/>
                  </a:cubicBezTo>
                  <a:cubicBezTo>
                    <a:pt x="77517" y="116009"/>
                    <a:pt x="70941" y="108890"/>
                    <a:pt x="69886" y="108355"/>
                  </a:cubicBezTo>
                  <a:cubicBezTo>
                    <a:pt x="61525" y="103642"/>
                    <a:pt x="58724" y="106383"/>
                    <a:pt x="49591" y="107118"/>
                  </a:cubicBezTo>
                  <a:cubicBezTo>
                    <a:pt x="35872" y="108221"/>
                    <a:pt x="33355" y="109625"/>
                    <a:pt x="23086" y="115775"/>
                  </a:cubicBezTo>
                  <a:cubicBezTo>
                    <a:pt x="19027" y="118215"/>
                    <a:pt x="7134" y="123161"/>
                    <a:pt x="6120" y="126738"/>
                  </a:cubicBezTo>
                  <a:cubicBezTo>
                    <a:pt x="4821" y="131163"/>
                    <a:pt x="3075" y="135492"/>
                    <a:pt x="883" y="139673"/>
                  </a:cubicBezTo>
                  <a:cubicBezTo>
                    <a:pt x="-2445" y="146123"/>
                    <a:pt x="3603" y="148263"/>
                    <a:pt x="10179" y="153778"/>
                  </a:cubicBezTo>
                  <a:cubicBezTo>
                    <a:pt x="19636" y="161799"/>
                    <a:pt x="32503" y="151271"/>
                    <a:pt x="38591" y="164072"/>
                  </a:cubicBezTo>
                  <a:cubicBezTo>
                    <a:pt x="42245" y="172060"/>
                    <a:pt x="29661" y="181653"/>
                    <a:pt x="35020" y="188204"/>
                  </a:cubicBezTo>
                  <a:cubicBezTo>
                    <a:pt x="41189" y="192348"/>
                    <a:pt x="76421" y="187803"/>
                    <a:pt x="85879" y="18609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E475DB7C-6C2F-42E7-97F7-32E0A814F833}"/>
                </a:ext>
              </a:extLst>
            </p:cNvPr>
            <p:cNvSpPr/>
            <p:nvPr/>
          </p:nvSpPr>
          <p:spPr>
            <a:xfrm>
              <a:off x="8349398" y="5035579"/>
              <a:ext cx="110086" cy="85560"/>
            </a:xfrm>
            <a:custGeom>
              <a:avLst/>
              <a:gdLst>
                <a:gd name="connsiteX0" fmla="*/ 98411 w 112986"/>
                <a:gd name="connsiteY0" fmla="*/ 107020 h 117151"/>
                <a:gd name="connsiteX1" fmla="*/ 101699 w 112986"/>
                <a:gd name="connsiteY1" fmla="*/ 81752 h 117151"/>
                <a:gd name="connsiteX2" fmla="*/ 95245 w 112986"/>
                <a:gd name="connsiteY2" fmla="*/ 73463 h 117151"/>
                <a:gd name="connsiteX3" fmla="*/ 77548 w 112986"/>
                <a:gd name="connsiteY3" fmla="*/ 79713 h 117151"/>
                <a:gd name="connsiteX4" fmla="*/ 72677 w 112986"/>
                <a:gd name="connsiteY4" fmla="*/ 66878 h 117151"/>
                <a:gd name="connsiteX5" fmla="*/ 87654 w 112986"/>
                <a:gd name="connsiteY5" fmla="*/ 62834 h 117151"/>
                <a:gd name="connsiteX6" fmla="*/ 111725 w 112986"/>
                <a:gd name="connsiteY6" fmla="*/ 54110 h 117151"/>
                <a:gd name="connsiteX7" fmla="*/ 60622 w 112986"/>
                <a:gd name="connsiteY7" fmla="*/ 34056 h 117151"/>
                <a:gd name="connsiteX8" fmla="*/ 49947 w 112986"/>
                <a:gd name="connsiteY8" fmla="*/ 22324 h 117151"/>
                <a:gd name="connsiteX9" fmla="*/ 28799 w 112986"/>
                <a:gd name="connsiteY9" fmla="*/ 5980 h 117151"/>
                <a:gd name="connsiteX10" fmla="*/ 7449 w 112986"/>
                <a:gd name="connsiteY10" fmla="*/ 2638 h 117151"/>
                <a:gd name="connsiteX11" fmla="*/ 18733 w 112986"/>
                <a:gd name="connsiteY11" fmla="*/ 13534 h 117151"/>
                <a:gd name="connsiteX12" fmla="*/ 19788 w 112986"/>
                <a:gd name="connsiteY12" fmla="*/ 21823 h 117151"/>
                <a:gd name="connsiteX13" fmla="*/ 2497 w 112986"/>
                <a:gd name="connsiteY13" fmla="*/ 28173 h 117151"/>
                <a:gd name="connsiteX14" fmla="*/ -60 w 112986"/>
                <a:gd name="connsiteY14" fmla="*/ 81016 h 117151"/>
                <a:gd name="connsiteX15" fmla="*/ 32412 w 112986"/>
                <a:gd name="connsiteY15" fmla="*/ 86297 h 117151"/>
                <a:gd name="connsiteX16" fmla="*/ 57943 w 112986"/>
                <a:gd name="connsiteY16" fmla="*/ 79111 h 117151"/>
                <a:gd name="connsiteX17" fmla="*/ 73367 w 112986"/>
                <a:gd name="connsiteY17" fmla="*/ 116813 h 117151"/>
                <a:gd name="connsiteX18" fmla="*/ 86356 w 112986"/>
                <a:gd name="connsiteY18" fmla="*/ 114440 h 117151"/>
                <a:gd name="connsiteX19" fmla="*/ 98533 w 112986"/>
                <a:gd name="connsiteY19" fmla="*/ 107020 h 117151"/>
                <a:gd name="connsiteX20" fmla="*/ 98411 w 112986"/>
                <a:gd name="connsiteY20" fmla="*/ 107020 h 11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2986" h="117151">
                  <a:moveTo>
                    <a:pt x="98411" y="107020"/>
                  </a:moveTo>
                  <a:cubicBezTo>
                    <a:pt x="99345" y="98564"/>
                    <a:pt x="100887" y="90308"/>
                    <a:pt x="101699" y="81752"/>
                  </a:cubicBezTo>
                  <a:cubicBezTo>
                    <a:pt x="101983" y="78777"/>
                    <a:pt x="104093" y="69986"/>
                    <a:pt x="95245" y="73463"/>
                  </a:cubicBezTo>
                  <a:cubicBezTo>
                    <a:pt x="90090" y="75501"/>
                    <a:pt x="84854" y="79880"/>
                    <a:pt x="77548" y="79713"/>
                  </a:cubicBezTo>
                  <a:cubicBezTo>
                    <a:pt x="67522" y="79713"/>
                    <a:pt x="71176" y="69218"/>
                    <a:pt x="72677" y="66878"/>
                  </a:cubicBezTo>
                  <a:cubicBezTo>
                    <a:pt x="76046" y="61664"/>
                    <a:pt x="79375" y="62633"/>
                    <a:pt x="87654" y="62834"/>
                  </a:cubicBezTo>
                  <a:cubicBezTo>
                    <a:pt x="96787" y="62740"/>
                    <a:pt x="105474" y="59588"/>
                    <a:pt x="111725" y="54110"/>
                  </a:cubicBezTo>
                  <a:cubicBezTo>
                    <a:pt x="121507" y="45086"/>
                    <a:pt x="68618" y="37733"/>
                    <a:pt x="60622" y="34056"/>
                  </a:cubicBezTo>
                  <a:cubicBezTo>
                    <a:pt x="55304" y="31483"/>
                    <a:pt x="48445" y="26034"/>
                    <a:pt x="49947" y="22324"/>
                  </a:cubicBezTo>
                  <a:cubicBezTo>
                    <a:pt x="53722" y="13400"/>
                    <a:pt x="38582" y="11061"/>
                    <a:pt x="28799" y="5980"/>
                  </a:cubicBezTo>
                  <a:cubicBezTo>
                    <a:pt x="21250" y="2070"/>
                    <a:pt x="14633" y="-4047"/>
                    <a:pt x="7449" y="2638"/>
                  </a:cubicBezTo>
                  <a:cubicBezTo>
                    <a:pt x="3878" y="5980"/>
                    <a:pt x="14755" y="11094"/>
                    <a:pt x="18733" y="13534"/>
                  </a:cubicBezTo>
                  <a:cubicBezTo>
                    <a:pt x="23401" y="16475"/>
                    <a:pt x="27582" y="20586"/>
                    <a:pt x="19788" y="21823"/>
                  </a:cubicBezTo>
                  <a:cubicBezTo>
                    <a:pt x="9236" y="23528"/>
                    <a:pt x="5055" y="19283"/>
                    <a:pt x="2497" y="28173"/>
                  </a:cubicBezTo>
                  <a:cubicBezTo>
                    <a:pt x="-2373" y="45220"/>
                    <a:pt x="6556" y="64071"/>
                    <a:pt x="-60" y="81016"/>
                  </a:cubicBezTo>
                  <a:cubicBezTo>
                    <a:pt x="10574" y="82821"/>
                    <a:pt x="21777" y="84693"/>
                    <a:pt x="32412" y="86297"/>
                  </a:cubicBezTo>
                  <a:cubicBezTo>
                    <a:pt x="46741" y="88503"/>
                    <a:pt x="45441" y="79245"/>
                    <a:pt x="57943" y="79111"/>
                  </a:cubicBezTo>
                  <a:cubicBezTo>
                    <a:pt x="80268" y="78877"/>
                    <a:pt x="71054" y="110195"/>
                    <a:pt x="73367" y="116813"/>
                  </a:cubicBezTo>
                  <a:cubicBezTo>
                    <a:pt x="76695" y="116111"/>
                    <a:pt x="84327" y="116211"/>
                    <a:pt x="86356" y="114440"/>
                  </a:cubicBezTo>
                  <a:cubicBezTo>
                    <a:pt x="89603" y="111171"/>
                    <a:pt x="93783" y="108621"/>
                    <a:pt x="98533" y="107020"/>
                  </a:cubicBezTo>
                  <a:cubicBezTo>
                    <a:pt x="100278" y="89807"/>
                    <a:pt x="92282" y="108825"/>
                    <a:pt x="98411" y="10702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60638ABA-A4D3-4321-A41C-B474A941AF8F}"/>
                </a:ext>
              </a:extLst>
            </p:cNvPr>
            <p:cNvSpPr/>
            <p:nvPr/>
          </p:nvSpPr>
          <p:spPr>
            <a:xfrm>
              <a:off x="6600155" y="5106459"/>
              <a:ext cx="156255" cy="63536"/>
            </a:xfrm>
            <a:custGeom>
              <a:avLst/>
              <a:gdLst>
                <a:gd name="connsiteX0" fmla="*/ 149919 w 160371"/>
                <a:gd name="connsiteY0" fmla="*/ 20097 h 86995"/>
                <a:gd name="connsiteX1" fmla="*/ 147565 w 160371"/>
                <a:gd name="connsiteY1" fmla="*/ 7095 h 86995"/>
                <a:gd name="connsiteX2" fmla="*/ 137255 w 160371"/>
                <a:gd name="connsiteY2" fmla="*/ 243 h 86995"/>
                <a:gd name="connsiteX3" fmla="*/ 123699 w 160371"/>
                <a:gd name="connsiteY3" fmla="*/ 5691 h 86995"/>
                <a:gd name="connsiteX4" fmla="*/ 87168 w 160371"/>
                <a:gd name="connsiteY4" fmla="*/ 6460 h 86995"/>
                <a:gd name="connsiteX5" fmla="*/ 73935 w 160371"/>
                <a:gd name="connsiteY5" fmla="*/ 2215 h 86995"/>
                <a:gd name="connsiteX6" fmla="*/ 54087 w 160371"/>
                <a:gd name="connsiteY6" fmla="*/ 2950 h 86995"/>
                <a:gd name="connsiteX7" fmla="*/ 44305 w 160371"/>
                <a:gd name="connsiteY7" fmla="*/ 18292 h 86995"/>
                <a:gd name="connsiteX8" fmla="*/ 52870 w 160371"/>
                <a:gd name="connsiteY8" fmla="*/ 27216 h 86995"/>
                <a:gd name="connsiteX9" fmla="*/ 41707 w 160371"/>
                <a:gd name="connsiteY9" fmla="*/ 37243 h 86995"/>
                <a:gd name="connsiteX10" fmla="*/ 15405 w 160371"/>
                <a:gd name="connsiteY10" fmla="*/ 53286 h 86995"/>
                <a:gd name="connsiteX11" fmla="*/ 6800 w 160371"/>
                <a:gd name="connsiteY11" fmla="*/ 69196 h 86995"/>
                <a:gd name="connsiteX12" fmla="*/ -60 w 160371"/>
                <a:gd name="connsiteY12" fmla="*/ 86309 h 86995"/>
                <a:gd name="connsiteX13" fmla="*/ 44346 w 160371"/>
                <a:gd name="connsiteY13" fmla="*/ 82365 h 86995"/>
                <a:gd name="connsiteX14" fmla="*/ 65128 w 160371"/>
                <a:gd name="connsiteY14" fmla="*/ 82766 h 86995"/>
                <a:gd name="connsiteX15" fmla="*/ 89482 w 160371"/>
                <a:gd name="connsiteY15" fmla="*/ 65887 h 86995"/>
                <a:gd name="connsiteX16" fmla="*/ 126743 w 160371"/>
                <a:gd name="connsiteY16" fmla="*/ 69229 h 86995"/>
                <a:gd name="connsiteX17" fmla="*/ 148824 w 160371"/>
                <a:gd name="connsiteY17" fmla="*/ 51247 h 86995"/>
                <a:gd name="connsiteX18" fmla="*/ 160270 w 160371"/>
                <a:gd name="connsiteY18" fmla="*/ 28252 h 86995"/>
                <a:gd name="connsiteX19" fmla="*/ 149919 w 160371"/>
                <a:gd name="connsiteY19" fmla="*/ 20097 h 8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0371" h="86995">
                  <a:moveTo>
                    <a:pt x="149919" y="20097"/>
                  </a:moveTo>
                  <a:cubicBezTo>
                    <a:pt x="149554" y="16955"/>
                    <a:pt x="151137" y="9501"/>
                    <a:pt x="147565" y="7095"/>
                  </a:cubicBezTo>
                  <a:lnTo>
                    <a:pt x="137255" y="243"/>
                  </a:lnTo>
                  <a:cubicBezTo>
                    <a:pt x="133196" y="-2464"/>
                    <a:pt x="127230" y="5123"/>
                    <a:pt x="123699" y="5691"/>
                  </a:cubicBezTo>
                  <a:cubicBezTo>
                    <a:pt x="112131" y="7563"/>
                    <a:pt x="97600" y="-1261"/>
                    <a:pt x="87168" y="6460"/>
                  </a:cubicBezTo>
                  <a:cubicBezTo>
                    <a:pt x="84814" y="8231"/>
                    <a:pt x="75884" y="2850"/>
                    <a:pt x="73935" y="2215"/>
                  </a:cubicBezTo>
                  <a:cubicBezTo>
                    <a:pt x="68172" y="310"/>
                    <a:pt x="59770" y="2215"/>
                    <a:pt x="54087" y="2950"/>
                  </a:cubicBezTo>
                  <a:cubicBezTo>
                    <a:pt x="44102" y="4287"/>
                    <a:pt x="44874" y="12510"/>
                    <a:pt x="44305" y="18292"/>
                  </a:cubicBezTo>
                  <a:cubicBezTo>
                    <a:pt x="43899" y="22370"/>
                    <a:pt x="53235" y="23439"/>
                    <a:pt x="52870" y="27216"/>
                  </a:cubicBezTo>
                  <a:cubicBezTo>
                    <a:pt x="52585" y="29723"/>
                    <a:pt x="44995" y="35672"/>
                    <a:pt x="41707" y="37243"/>
                  </a:cubicBezTo>
                  <a:cubicBezTo>
                    <a:pt x="31316" y="42156"/>
                    <a:pt x="19342" y="43928"/>
                    <a:pt x="15405" y="53286"/>
                  </a:cubicBezTo>
                  <a:cubicBezTo>
                    <a:pt x="13132" y="58734"/>
                    <a:pt x="8627" y="63648"/>
                    <a:pt x="6800" y="69196"/>
                  </a:cubicBezTo>
                  <a:cubicBezTo>
                    <a:pt x="4974" y="74744"/>
                    <a:pt x="6800" y="81997"/>
                    <a:pt x="-60" y="86309"/>
                  </a:cubicBezTo>
                  <a:cubicBezTo>
                    <a:pt x="14634" y="88147"/>
                    <a:pt x="29409" y="82097"/>
                    <a:pt x="44346" y="82365"/>
                  </a:cubicBezTo>
                  <a:lnTo>
                    <a:pt x="65128" y="82766"/>
                  </a:lnTo>
                  <a:cubicBezTo>
                    <a:pt x="70729" y="82766"/>
                    <a:pt x="78400" y="67057"/>
                    <a:pt x="89482" y="65887"/>
                  </a:cubicBezTo>
                  <a:cubicBezTo>
                    <a:pt x="102064" y="65005"/>
                    <a:pt x="114688" y="66141"/>
                    <a:pt x="126743" y="69229"/>
                  </a:cubicBezTo>
                  <a:cubicBezTo>
                    <a:pt x="132507" y="61742"/>
                    <a:pt x="140990" y="57665"/>
                    <a:pt x="148824" y="51247"/>
                  </a:cubicBezTo>
                  <a:cubicBezTo>
                    <a:pt x="156657" y="44830"/>
                    <a:pt x="159012" y="36708"/>
                    <a:pt x="160270" y="28252"/>
                  </a:cubicBezTo>
                  <a:cubicBezTo>
                    <a:pt x="160960" y="25511"/>
                    <a:pt x="153045" y="22136"/>
                    <a:pt x="149919" y="2009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D1E8F7F8-2164-42A3-AF1D-4EE0F417FFFA}"/>
                </a:ext>
              </a:extLst>
            </p:cNvPr>
            <p:cNvSpPr/>
            <p:nvPr/>
          </p:nvSpPr>
          <p:spPr>
            <a:xfrm>
              <a:off x="6011103" y="4650946"/>
              <a:ext cx="126911" cy="99642"/>
            </a:xfrm>
            <a:custGeom>
              <a:avLst/>
              <a:gdLst>
                <a:gd name="connsiteX0" fmla="*/ 31303 w 130254"/>
                <a:gd name="connsiteY0" fmla="*/ 33050 h 136433"/>
                <a:gd name="connsiteX1" fmla="*/ 6381 w 130254"/>
                <a:gd name="connsiteY1" fmla="*/ 61560 h 136433"/>
                <a:gd name="connsiteX2" fmla="*/ 21683 w 130254"/>
                <a:gd name="connsiteY2" fmla="*/ 82550 h 136433"/>
                <a:gd name="connsiteX3" fmla="*/ 29801 w 130254"/>
                <a:gd name="connsiteY3" fmla="*/ 93045 h 136433"/>
                <a:gd name="connsiteX4" fmla="*/ 52369 w 130254"/>
                <a:gd name="connsiteY4" fmla="*/ 101468 h 136433"/>
                <a:gd name="connsiteX5" fmla="*/ 70026 w 130254"/>
                <a:gd name="connsiteY5" fmla="*/ 136095 h 136433"/>
                <a:gd name="connsiteX6" fmla="*/ 87682 w 130254"/>
                <a:gd name="connsiteY6" fmla="*/ 122124 h 136433"/>
                <a:gd name="connsiteX7" fmla="*/ 90929 w 130254"/>
                <a:gd name="connsiteY7" fmla="*/ 108754 h 136433"/>
                <a:gd name="connsiteX8" fmla="*/ 109316 w 130254"/>
                <a:gd name="connsiteY8" fmla="*/ 98727 h 136433"/>
                <a:gd name="connsiteX9" fmla="*/ 126567 w 130254"/>
                <a:gd name="connsiteY9" fmla="*/ 94081 h 136433"/>
                <a:gd name="connsiteX10" fmla="*/ 118449 w 130254"/>
                <a:gd name="connsiteY10" fmla="*/ 76835 h 136433"/>
                <a:gd name="connsiteX11" fmla="*/ 104121 w 130254"/>
                <a:gd name="connsiteY11" fmla="*/ 69080 h 136433"/>
                <a:gd name="connsiteX12" fmla="*/ 81959 w 130254"/>
                <a:gd name="connsiteY12" fmla="*/ 66139 h 136433"/>
                <a:gd name="connsiteX13" fmla="*/ 96368 w 130254"/>
                <a:gd name="connsiteY13" fmla="*/ 54274 h 136433"/>
                <a:gd name="connsiteX14" fmla="*/ 114268 w 130254"/>
                <a:gd name="connsiteY14" fmla="*/ 41840 h 136433"/>
                <a:gd name="connsiteX15" fmla="*/ 99291 w 130254"/>
                <a:gd name="connsiteY15" fmla="*/ 25128 h 136433"/>
                <a:gd name="connsiteX16" fmla="*/ 114755 w 130254"/>
                <a:gd name="connsiteY16" fmla="*/ 9954 h 136433"/>
                <a:gd name="connsiteX17" fmla="*/ 97545 w 130254"/>
                <a:gd name="connsiteY17" fmla="*/ 9386 h 136433"/>
                <a:gd name="connsiteX18" fmla="*/ 82203 w 130254"/>
                <a:gd name="connsiteY18" fmla="*/ 528 h 136433"/>
                <a:gd name="connsiteX19" fmla="*/ 52653 w 130254"/>
                <a:gd name="connsiteY19" fmla="*/ 1999 h 136433"/>
                <a:gd name="connsiteX20" fmla="*/ 29233 w 130254"/>
                <a:gd name="connsiteY20" fmla="*/ 15369 h 136433"/>
                <a:gd name="connsiteX21" fmla="*/ 31262 w 130254"/>
                <a:gd name="connsiteY21" fmla="*/ 33050 h 136433"/>
                <a:gd name="connsiteX22" fmla="*/ 31303 w 130254"/>
                <a:gd name="connsiteY22" fmla="*/ 33050 h 136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0254" h="136433">
                  <a:moveTo>
                    <a:pt x="31303" y="33050"/>
                  </a:moveTo>
                  <a:cubicBezTo>
                    <a:pt x="42506" y="41974"/>
                    <a:pt x="18152" y="56212"/>
                    <a:pt x="6381" y="61560"/>
                  </a:cubicBezTo>
                  <a:cubicBezTo>
                    <a:pt x="-10220" y="69147"/>
                    <a:pt x="9060" y="77102"/>
                    <a:pt x="21683" y="82550"/>
                  </a:cubicBezTo>
                  <a:cubicBezTo>
                    <a:pt x="28786" y="85625"/>
                    <a:pt x="24849" y="90237"/>
                    <a:pt x="29801" y="93045"/>
                  </a:cubicBezTo>
                  <a:cubicBezTo>
                    <a:pt x="36173" y="96655"/>
                    <a:pt x="46727" y="97357"/>
                    <a:pt x="52369" y="101468"/>
                  </a:cubicBezTo>
                  <a:cubicBezTo>
                    <a:pt x="65723" y="111094"/>
                    <a:pt x="57929" y="127271"/>
                    <a:pt x="70026" y="136095"/>
                  </a:cubicBezTo>
                  <a:cubicBezTo>
                    <a:pt x="80011" y="132284"/>
                    <a:pt x="85003" y="128708"/>
                    <a:pt x="87682" y="122124"/>
                  </a:cubicBezTo>
                  <a:cubicBezTo>
                    <a:pt x="89468" y="117812"/>
                    <a:pt x="84069" y="112096"/>
                    <a:pt x="90929" y="108754"/>
                  </a:cubicBezTo>
                  <a:cubicBezTo>
                    <a:pt x="97789" y="105412"/>
                    <a:pt x="103106" y="102069"/>
                    <a:pt x="109316" y="98727"/>
                  </a:cubicBezTo>
                  <a:cubicBezTo>
                    <a:pt x="114187" y="96220"/>
                    <a:pt x="122954" y="96688"/>
                    <a:pt x="126567" y="94081"/>
                  </a:cubicBezTo>
                  <a:cubicBezTo>
                    <a:pt x="136227" y="87229"/>
                    <a:pt x="124172" y="81514"/>
                    <a:pt x="118449" y="76835"/>
                  </a:cubicBezTo>
                  <a:cubicBezTo>
                    <a:pt x="116623" y="75331"/>
                    <a:pt x="111468" y="64234"/>
                    <a:pt x="104121" y="69080"/>
                  </a:cubicBezTo>
                  <a:cubicBezTo>
                    <a:pt x="98600" y="72690"/>
                    <a:pt x="85693" y="69080"/>
                    <a:pt x="81959" y="66139"/>
                  </a:cubicBezTo>
                  <a:cubicBezTo>
                    <a:pt x="73191" y="59454"/>
                    <a:pt x="88291" y="56780"/>
                    <a:pt x="96368" y="54274"/>
                  </a:cubicBezTo>
                  <a:cubicBezTo>
                    <a:pt x="105298" y="51533"/>
                    <a:pt x="112604" y="47589"/>
                    <a:pt x="114268" y="41840"/>
                  </a:cubicBezTo>
                  <a:cubicBezTo>
                    <a:pt x="116866" y="33317"/>
                    <a:pt x="105866" y="31378"/>
                    <a:pt x="99291" y="25128"/>
                  </a:cubicBezTo>
                  <a:cubicBezTo>
                    <a:pt x="92715" y="18878"/>
                    <a:pt x="112442" y="15101"/>
                    <a:pt x="114755" y="9954"/>
                  </a:cubicBezTo>
                  <a:cubicBezTo>
                    <a:pt x="117759" y="3269"/>
                    <a:pt x="100833" y="9653"/>
                    <a:pt x="97545" y="9386"/>
                  </a:cubicBezTo>
                  <a:cubicBezTo>
                    <a:pt x="90361" y="8784"/>
                    <a:pt x="91213" y="1932"/>
                    <a:pt x="82203" y="528"/>
                  </a:cubicBezTo>
                  <a:cubicBezTo>
                    <a:pt x="72339" y="-1006"/>
                    <a:pt x="62192" y="-498"/>
                    <a:pt x="52653" y="1999"/>
                  </a:cubicBezTo>
                  <a:cubicBezTo>
                    <a:pt x="36782" y="6612"/>
                    <a:pt x="31059" y="5141"/>
                    <a:pt x="29233" y="15369"/>
                  </a:cubicBezTo>
                  <a:cubicBezTo>
                    <a:pt x="28299" y="20382"/>
                    <a:pt x="25661" y="28537"/>
                    <a:pt x="31262" y="33050"/>
                  </a:cubicBezTo>
                  <a:cubicBezTo>
                    <a:pt x="38812" y="39033"/>
                    <a:pt x="26310" y="29039"/>
                    <a:pt x="31303" y="330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40656091-6211-4752-8F95-72AB7A68EC2A}"/>
                </a:ext>
              </a:extLst>
            </p:cNvPr>
            <p:cNvSpPr/>
            <p:nvPr/>
          </p:nvSpPr>
          <p:spPr>
            <a:xfrm>
              <a:off x="10092576" y="6296632"/>
              <a:ext cx="73399" cy="14195"/>
            </a:xfrm>
            <a:custGeom>
              <a:avLst/>
              <a:gdLst>
                <a:gd name="connsiteX0" fmla="*/ 76 w 75333"/>
                <a:gd name="connsiteY0" fmla="*/ 2565 h 19436"/>
                <a:gd name="connsiteX1" fmla="*/ 28489 w 75333"/>
                <a:gd name="connsiteY1" fmla="*/ 16235 h 19436"/>
                <a:gd name="connsiteX2" fmla="*/ 76 w 75333"/>
                <a:gd name="connsiteY2" fmla="*/ 2565 h 19436"/>
                <a:gd name="connsiteX3" fmla="*/ 45171 w 75333"/>
                <a:gd name="connsiteY3" fmla="*/ 8615 h 19436"/>
                <a:gd name="connsiteX4" fmla="*/ 74802 w 75333"/>
                <a:gd name="connsiteY4" fmla="*/ 17739 h 19436"/>
                <a:gd name="connsiteX5" fmla="*/ 45293 w 75333"/>
                <a:gd name="connsiteY5" fmla="*/ 8615 h 1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33" h="19436">
                  <a:moveTo>
                    <a:pt x="76" y="2565"/>
                  </a:moveTo>
                  <a:cubicBezTo>
                    <a:pt x="3201" y="12860"/>
                    <a:pt x="19316" y="24123"/>
                    <a:pt x="28489" y="16235"/>
                  </a:cubicBezTo>
                  <a:cubicBezTo>
                    <a:pt x="37662" y="8348"/>
                    <a:pt x="-2685" y="-6660"/>
                    <a:pt x="76" y="2565"/>
                  </a:cubicBezTo>
                  <a:close/>
                  <a:moveTo>
                    <a:pt x="45171" y="8615"/>
                  </a:moveTo>
                  <a:cubicBezTo>
                    <a:pt x="49230" y="13528"/>
                    <a:pt x="69525" y="22519"/>
                    <a:pt x="74802" y="17739"/>
                  </a:cubicBezTo>
                  <a:cubicBezTo>
                    <a:pt x="80079" y="12960"/>
                    <a:pt x="39245" y="1195"/>
                    <a:pt x="45293" y="8615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EC6DBB64-139E-4205-BB0A-6E432D34765A}"/>
                </a:ext>
              </a:extLst>
            </p:cNvPr>
            <p:cNvSpPr/>
            <p:nvPr/>
          </p:nvSpPr>
          <p:spPr>
            <a:xfrm>
              <a:off x="6967474" y="5017932"/>
              <a:ext cx="51400" cy="22823"/>
            </a:xfrm>
            <a:custGeom>
              <a:avLst/>
              <a:gdLst>
                <a:gd name="connsiteX0" fmla="*/ 20602 w 52754"/>
                <a:gd name="connsiteY0" fmla="*/ 1098 h 31250"/>
                <a:gd name="connsiteX1" fmla="*/ -17 w 52754"/>
                <a:gd name="connsiteY1" fmla="*/ 20518 h 31250"/>
                <a:gd name="connsiteX2" fmla="*/ 30953 w 52754"/>
                <a:gd name="connsiteY2" fmla="*/ 30912 h 31250"/>
                <a:gd name="connsiteX3" fmla="*/ 44226 w 52754"/>
                <a:gd name="connsiteY3" fmla="*/ 23893 h 31250"/>
                <a:gd name="connsiteX4" fmla="*/ 29451 w 52754"/>
                <a:gd name="connsiteY4" fmla="*/ 16941 h 31250"/>
                <a:gd name="connsiteX5" fmla="*/ 51572 w 52754"/>
                <a:gd name="connsiteY5" fmla="*/ 11393 h 31250"/>
                <a:gd name="connsiteX6" fmla="*/ 42927 w 52754"/>
                <a:gd name="connsiteY6" fmla="*/ -339 h 31250"/>
                <a:gd name="connsiteX7" fmla="*/ 20602 w 52754"/>
                <a:gd name="connsiteY7" fmla="*/ 1098 h 31250"/>
                <a:gd name="connsiteX8" fmla="*/ 20602 w 52754"/>
                <a:gd name="connsiteY8" fmla="*/ 1098 h 3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" h="31250">
                  <a:moveTo>
                    <a:pt x="20602" y="1098"/>
                  </a:moveTo>
                  <a:cubicBezTo>
                    <a:pt x="12484" y="7081"/>
                    <a:pt x="-910" y="11727"/>
                    <a:pt x="-17" y="20518"/>
                  </a:cubicBezTo>
                  <a:cubicBezTo>
                    <a:pt x="1160" y="32082"/>
                    <a:pt x="20278" y="23258"/>
                    <a:pt x="30953" y="30912"/>
                  </a:cubicBezTo>
                  <a:cubicBezTo>
                    <a:pt x="35174" y="28302"/>
                    <a:pt x="39599" y="25956"/>
                    <a:pt x="44226" y="23893"/>
                  </a:cubicBezTo>
                  <a:cubicBezTo>
                    <a:pt x="42440" y="23024"/>
                    <a:pt x="27300" y="19080"/>
                    <a:pt x="29451" y="16941"/>
                  </a:cubicBezTo>
                  <a:cubicBezTo>
                    <a:pt x="34078" y="12362"/>
                    <a:pt x="47229" y="14869"/>
                    <a:pt x="51572" y="11393"/>
                  </a:cubicBezTo>
                  <a:cubicBezTo>
                    <a:pt x="55916" y="7917"/>
                    <a:pt x="46499" y="2235"/>
                    <a:pt x="42927" y="-339"/>
                  </a:cubicBezTo>
                  <a:cubicBezTo>
                    <a:pt x="33388" y="1767"/>
                    <a:pt x="31481" y="3004"/>
                    <a:pt x="20602" y="1098"/>
                  </a:cubicBezTo>
                  <a:cubicBezTo>
                    <a:pt x="18695" y="2502"/>
                    <a:pt x="27503" y="2302"/>
                    <a:pt x="20602" y="109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6A0917E7-F74A-4844-B748-9759331E4CD3}"/>
                </a:ext>
              </a:extLst>
            </p:cNvPr>
            <p:cNvSpPr/>
            <p:nvPr/>
          </p:nvSpPr>
          <p:spPr>
            <a:xfrm>
              <a:off x="6944694" y="4688257"/>
              <a:ext cx="282374" cy="126376"/>
            </a:xfrm>
            <a:custGeom>
              <a:avLst/>
              <a:gdLst>
                <a:gd name="connsiteX0" fmla="*/ 241493 w 289813"/>
                <a:gd name="connsiteY0" fmla="*/ 160109 h 173037"/>
                <a:gd name="connsiteX1" fmla="*/ 261788 w 289813"/>
                <a:gd name="connsiteY1" fmla="*/ 156466 h 173037"/>
                <a:gd name="connsiteX2" fmla="*/ 270677 w 289813"/>
                <a:gd name="connsiteY2" fmla="*/ 160978 h 173037"/>
                <a:gd name="connsiteX3" fmla="*/ 289754 w 289813"/>
                <a:gd name="connsiteY3" fmla="*/ 162315 h 173037"/>
                <a:gd name="connsiteX4" fmla="*/ 268282 w 289813"/>
                <a:gd name="connsiteY4" fmla="*/ 136847 h 173037"/>
                <a:gd name="connsiteX5" fmla="*/ 270028 w 289813"/>
                <a:gd name="connsiteY5" fmla="*/ 128524 h 173037"/>
                <a:gd name="connsiteX6" fmla="*/ 265969 w 289813"/>
                <a:gd name="connsiteY6" fmla="*/ 116625 h 173037"/>
                <a:gd name="connsiteX7" fmla="*/ 236013 w 289813"/>
                <a:gd name="connsiteY7" fmla="*/ 102721 h 173037"/>
                <a:gd name="connsiteX8" fmla="*/ 213445 w 289813"/>
                <a:gd name="connsiteY8" fmla="*/ 83336 h 173037"/>
                <a:gd name="connsiteX9" fmla="*/ 212512 w 289813"/>
                <a:gd name="connsiteY9" fmla="*/ 67559 h 173037"/>
                <a:gd name="connsiteX10" fmla="*/ 219493 w 289813"/>
                <a:gd name="connsiteY10" fmla="*/ 60875 h 173037"/>
                <a:gd name="connsiteX11" fmla="*/ 230615 w 289813"/>
                <a:gd name="connsiteY11" fmla="*/ 55159 h 173037"/>
                <a:gd name="connsiteX12" fmla="*/ 216287 w 289813"/>
                <a:gd name="connsiteY12" fmla="*/ 37178 h 173037"/>
                <a:gd name="connsiteX13" fmla="*/ 197169 w 289813"/>
                <a:gd name="connsiteY13" fmla="*/ 12043 h 173037"/>
                <a:gd name="connsiteX14" fmla="*/ 145214 w 289813"/>
                <a:gd name="connsiteY14" fmla="*/ 311 h 173037"/>
                <a:gd name="connsiteX15" fmla="*/ 97277 w 289813"/>
                <a:gd name="connsiteY15" fmla="*/ 9670 h 173037"/>
                <a:gd name="connsiteX16" fmla="*/ 82381 w 289813"/>
                <a:gd name="connsiteY16" fmla="*/ 14951 h 173037"/>
                <a:gd name="connsiteX17" fmla="*/ 82665 w 289813"/>
                <a:gd name="connsiteY17" fmla="*/ 29256 h 173037"/>
                <a:gd name="connsiteX18" fmla="*/ 72599 w 289813"/>
                <a:gd name="connsiteY18" fmla="*/ 49310 h 173037"/>
                <a:gd name="connsiteX19" fmla="*/ -16 w 289813"/>
                <a:gd name="connsiteY19" fmla="*/ 68897 h 173037"/>
                <a:gd name="connsiteX20" fmla="*/ 3312 w 289813"/>
                <a:gd name="connsiteY20" fmla="*/ 80695 h 173037"/>
                <a:gd name="connsiteX21" fmla="*/ 18208 w 289813"/>
                <a:gd name="connsiteY21" fmla="*/ 91123 h 173037"/>
                <a:gd name="connsiteX22" fmla="*/ 49057 w 289813"/>
                <a:gd name="connsiteY22" fmla="*/ 99847 h 173037"/>
                <a:gd name="connsiteX23" fmla="*/ 102797 w 289813"/>
                <a:gd name="connsiteY23" fmla="*/ 125850 h 173037"/>
                <a:gd name="connsiteX24" fmla="*/ 161734 w 289813"/>
                <a:gd name="connsiteY24" fmla="*/ 159274 h 173037"/>
                <a:gd name="connsiteX25" fmla="*/ 201268 w 289813"/>
                <a:gd name="connsiteY25" fmla="*/ 168800 h 173037"/>
                <a:gd name="connsiteX26" fmla="*/ 229438 w 289813"/>
                <a:gd name="connsiteY26" fmla="*/ 170203 h 173037"/>
                <a:gd name="connsiteX27" fmla="*/ 241615 w 289813"/>
                <a:gd name="connsiteY27" fmla="*/ 160176 h 1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9813" h="173037">
                  <a:moveTo>
                    <a:pt x="241493" y="160109"/>
                  </a:moveTo>
                  <a:cubicBezTo>
                    <a:pt x="247622" y="157569"/>
                    <a:pt x="252087" y="153759"/>
                    <a:pt x="261788" y="156466"/>
                  </a:cubicBezTo>
                  <a:cubicBezTo>
                    <a:pt x="265076" y="157496"/>
                    <a:pt x="268079" y="159027"/>
                    <a:pt x="270677" y="160978"/>
                  </a:cubicBezTo>
                  <a:cubicBezTo>
                    <a:pt x="278795" y="166627"/>
                    <a:pt x="278795" y="162616"/>
                    <a:pt x="289754" y="162315"/>
                  </a:cubicBezTo>
                  <a:cubicBezTo>
                    <a:pt x="278511" y="153425"/>
                    <a:pt x="277577" y="145604"/>
                    <a:pt x="268282" y="136847"/>
                  </a:cubicBezTo>
                  <a:cubicBezTo>
                    <a:pt x="264669" y="133504"/>
                    <a:pt x="267470" y="131298"/>
                    <a:pt x="270028" y="128524"/>
                  </a:cubicBezTo>
                  <a:cubicBezTo>
                    <a:pt x="273761" y="124513"/>
                    <a:pt x="268972" y="120870"/>
                    <a:pt x="265969" y="116625"/>
                  </a:cubicBezTo>
                  <a:cubicBezTo>
                    <a:pt x="261910" y="110475"/>
                    <a:pt x="244618" y="107133"/>
                    <a:pt x="236013" y="102721"/>
                  </a:cubicBezTo>
                  <a:cubicBezTo>
                    <a:pt x="223836" y="96438"/>
                    <a:pt x="227490" y="89118"/>
                    <a:pt x="213445" y="83336"/>
                  </a:cubicBezTo>
                  <a:cubicBezTo>
                    <a:pt x="207722" y="80962"/>
                    <a:pt x="205612" y="68897"/>
                    <a:pt x="212512" y="67559"/>
                  </a:cubicBezTo>
                  <a:cubicBezTo>
                    <a:pt x="216571" y="66724"/>
                    <a:pt x="218154" y="62813"/>
                    <a:pt x="219493" y="60875"/>
                  </a:cubicBezTo>
                  <a:cubicBezTo>
                    <a:pt x="222172" y="56797"/>
                    <a:pt x="227936" y="57532"/>
                    <a:pt x="230615" y="55159"/>
                  </a:cubicBezTo>
                  <a:cubicBezTo>
                    <a:pt x="240600" y="45935"/>
                    <a:pt x="227368" y="42124"/>
                    <a:pt x="216287" y="37178"/>
                  </a:cubicBezTo>
                  <a:cubicBezTo>
                    <a:pt x="210929" y="34804"/>
                    <a:pt x="194328" y="15385"/>
                    <a:pt x="197169" y="12043"/>
                  </a:cubicBezTo>
                  <a:cubicBezTo>
                    <a:pt x="194896" y="17357"/>
                    <a:pt x="153819" y="2016"/>
                    <a:pt x="145214" y="311"/>
                  </a:cubicBezTo>
                  <a:cubicBezTo>
                    <a:pt x="130195" y="-3031"/>
                    <a:pt x="112215" y="7497"/>
                    <a:pt x="97277" y="9670"/>
                  </a:cubicBezTo>
                  <a:cubicBezTo>
                    <a:pt x="91635" y="10506"/>
                    <a:pt x="85100" y="11943"/>
                    <a:pt x="82381" y="14951"/>
                  </a:cubicBezTo>
                  <a:cubicBezTo>
                    <a:pt x="78647" y="19062"/>
                    <a:pt x="88672" y="26148"/>
                    <a:pt x="82665" y="29256"/>
                  </a:cubicBezTo>
                  <a:cubicBezTo>
                    <a:pt x="73532" y="33969"/>
                    <a:pt x="80067" y="43327"/>
                    <a:pt x="72599" y="49310"/>
                  </a:cubicBezTo>
                  <a:cubicBezTo>
                    <a:pt x="59772" y="59337"/>
                    <a:pt x="-1924" y="55995"/>
                    <a:pt x="-16" y="68897"/>
                  </a:cubicBezTo>
                  <a:cubicBezTo>
                    <a:pt x="836" y="72874"/>
                    <a:pt x="1973" y="76811"/>
                    <a:pt x="3312" y="80695"/>
                  </a:cubicBezTo>
                  <a:cubicBezTo>
                    <a:pt x="5544" y="88850"/>
                    <a:pt x="3312" y="89987"/>
                    <a:pt x="18208" y="91123"/>
                  </a:cubicBezTo>
                  <a:cubicBezTo>
                    <a:pt x="29168" y="92069"/>
                    <a:pt x="39721" y="95054"/>
                    <a:pt x="49057" y="99847"/>
                  </a:cubicBezTo>
                  <a:cubicBezTo>
                    <a:pt x="67281" y="108136"/>
                    <a:pt x="85587" y="116759"/>
                    <a:pt x="102797" y="125850"/>
                  </a:cubicBezTo>
                  <a:cubicBezTo>
                    <a:pt x="122686" y="136446"/>
                    <a:pt x="140668" y="149681"/>
                    <a:pt x="161734" y="159274"/>
                  </a:cubicBezTo>
                  <a:cubicBezTo>
                    <a:pt x="173667" y="164755"/>
                    <a:pt x="187468" y="166360"/>
                    <a:pt x="201268" y="168800"/>
                  </a:cubicBezTo>
                  <a:cubicBezTo>
                    <a:pt x="211862" y="170705"/>
                    <a:pt x="223674" y="175685"/>
                    <a:pt x="229438" y="170203"/>
                  </a:cubicBezTo>
                  <a:cubicBezTo>
                    <a:pt x="232725" y="167062"/>
                    <a:pt x="236176" y="162382"/>
                    <a:pt x="241615" y="16017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0FCD550F-93B0-4B77-8B20-21F0978979AF}"/>
                </a:ext>
              </a:extLst>
            </p:cNvPr>
            <p:cNvSpPr/>
            <p:nvPr/>
          </p:nvSpPr>
          <p:spPr>
            <a:xfrm>
              <a:off x="6062491" y="5112419"/>
              <a:ext cx="148730" cy="78413"/>
            </a:xfrm>
            <a:custGeom>
              <a:avLst/>
              <a:gdLst>
                <a:gd name="connsiteX0" fmla="*/ 73379 w 152648"/>
                <a:gd name="connsiteY0" fmla="*/ 102013 h 107365"/>
                <a:gd name="connsiteX1" fmla="*/ 75774 w 152648"/>
                <a:gd name="connsiteY1" fmla="*/ 84834 h 107365"/>
                <a:gd name="connsiteX2" fmla="*/ 100818 w 152648"/>
                <a:gd name="connsiteY2" fmla="*/ 76277 h 107365"/>
                <a:gd name="connsiteX3" fmla="*/ 116120 w 152648"/>
                <a:gd name="connsiteY3" fmla="*/ 79920 h 107365"/>
                <a:gd name="connsiteX4" fmla="*/ 148348 w 152648"/>
                <a:gd name="connsiteY4" fmla="*/ 80823 h 107365"/>
                <a:gd name="connsiteX5" fmla="*/ 150662 w 152648"/>
                <a:gd name="connsiteY5" fmla="*/ 51911 h 107365"/>
                <a:gd name="connsiteX6" fmla="*/ 144817 w 152648"/>
                <a:gd name="connsiteY6" fmla="*/ 30654 h 107365"/>
                <a:gd name="connsiteX7" fmla="*/ 123629 w 152648"/>
                <a:gd name="connsiteY7" fmla="*/ 19424 h 107365"/>
                <a:gd name="connsiteX8" fmla="*/ 118596 w 152648"/>
                <a:gd name="connsiteY8" fmla="*/ 1375 h 107365"/>
                <a:gd name="connsiteX9" fmla="*/ 73948 w 152648"/>
                <a:gd name="connsiteY9" fmla="*/ 539 h 107365"/>
                <a:gd name="connsiteX10" fmla="*/ 70132 w 152648"/>
                <a:gd name="connsiteY10" fmla="*/ 22933 h 107365"/>
                <a:gd name="connsiteX11" fmla="*/ 38513 w 152648"/>
                <a:gd name="connsiteY11" fmla="*/ 23902 h 107365"/>
                <a:gd name="connsiteX12" fmla="*/ 18867 w 152648"/>
                <a:gd name="connsiteY12" fmla="*/ 25106 h 107365"/>
                <a:gd name="connsiteX13" fmla="*/ 24955 w 152648"/>
                <a:gd name="connsiteY13" fmla="*/ 37238 h 107365"/>
                <a:gd name="connsiteX14" fmla="*/ 13875 w 152648"/>
                <a:gd name="connsiteY14" fmla="*/ 41116 h 107365"/>
                <a:gd name="connsiteX15" fmla="*/ 6162 w 152648"/>
                <a:gd name="connsiteY15" fmla="*/ 50775 h 107365"/>
                <a:gd name="connsiteX16" fmla="*/ 9328 w 152648"/>
                <a:gd name="connsiteY16" fmla="*/ 66918 h 107365"/>
                <a:gd name="connsiteX17" fmla="*/ 60147 w 152648"/>
                <a:gd name="connsiteY17" fmla="*/ 107027 h 107365"/>
                <a:gd name="connsiteX18" fmla="*/ 73379 w 152648"/>
                <a:gd name="connsiteY18" fmla="*/ 102013 h 10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2648" h="107365">
                  <a:moveTo>
                    <a:pt x="73379" y="102013"/>
                  </a:moveTo>
                  <a:cubicBezTo>
                    <a:pt x="91320" y="102013"/>
                    <a:pt x="75287" y="90215"/>
                    <a:pt x="75774" y="84834"/>
                  </a:cubicBezTo>
                  <a:cubicBezTo>
                    <a:pt x="76423" y="77614"/>
                    <a:pt x="97205" y="84165"/>
                    <a:pt x="100818" y="76277"/>
                  </a:cubicBezTo>
                  <a:cubicBezTo>
                    <a:pt x="105242" y="66684"/>
                    <a:pt x="111899" y="75508"/>
                    <a:pt x="116120" y="79920"/>
                  </a:cubicBezTo>
                  <a:cubicBezTo>
                    <a:pt x="120341" y="84332"/>
                    <a:pt x="144533" y="86605"/>
                    <a:pt x="148348" y="80823"/>
                  </a:cubicBezTo>
                  <a:cubicBezTo>
                    <a:pt x="153057" y="71675"/>
                    <a:pt x="153869" y="61487"/>
                    <a:pt x="150662" y="51911"/>
                  </a:cubicBezTo>
                  <a:cubicBezTo>
                    <a:pt x="145913" y="39912"/>
                    <a:pt x="125050" y="42486"/>
                    <a:pt x="144817" y="30654"/>
                  </a:cubicBezTo>
                  <a:cubicBezTo>
                    <a:pt x="160810" y="21162"/>
                    <a:pt x="134954" y="17485"/>
                    <a:pt x="123629" y="19424"/>
                  </a:cubicBezTo>
                  <a:cubicBezTo>
                    <a:pt x="108489" y="22031"/>
                    <a:pt x="117419" y="6723"/>
                    <a:pt x="118596" y="1375"/>
                  </a:cubicBezTo>
                  <a:cubicBezTo>
                    <a:pt x="105242" y="1007"/>
                    <a:pt x="86977" y="-1700"/>
                    <a:pt x="73948" y="539"/>
                  </a:cubicBezTo>
                  <a:cubicBezTo>
                    <a:pt x="65221" y="2043"/>
                    <a:pt x="76545" y="18755"/>
                    <a:pt x="70132" y="22933"/>
                  </a:cubicBezTo>
                  <a:cubicBezTo>
                    <a:pt x="66844" y="25106"/>
                    <a:pt x="43546" y="23769"/>
                    <a:pt x="38513" y="23902"/>
                  </a:cubicBezTo>
                  <a:cubicBezTo>
                    <a:pt x="31815" y="24069"/>
                    <a:pt x="25524" y="24437"/>
                    <a:pt x="18867" y="25106"/>
                  </a:cubicBezTo>
                  <a:cubicBezTo>
                    <a:pt x="9734" y="33929"/>
                    <a:pt x="19963" y="29484"/>
                    <a:pt x="24955" y="37238"/>
                  </a:cubicBezTo>
                  <a:cubicBezTo>
                    <a:pt x="26457" y="39611"/>
                    <a:pt x="15782" y="40581"/>
                    <a:pt x="13875" y="41116"/>
                  </a:cubicBezTo>
                  <a:cubicBezTo>
                    <a:pt x="7664" y="42854"/>
                    <a:pt x="9816" y="47800"/>
                    <a:pt x="6162" y="50775"/>
                  </a:cubicBezTo>
                  <a:cubicBezTo>
                    <a:pt x="-3741" y="59031"/>
                    <a:pt x="-1184" y="58362"/>
                    <a:pt x="9328" y="66918"/>
                  </a:cubicBezTo>
                  <a:cubicBezTo>
                    <a:pt x="24875" y="79653"/>
                    <a:pt x="39446" y="96498"/>
                    <a:pt x="60147" y="107027"/>
                  </a:cubicBezTo>
                  <a:cubicBezTo>
                    <a:pt x="63435" y="103815"/>
                    <a:pt x="68265" y="101976"/>
                    <a:pt x="73379" y="10201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D41BFD27-DC17-4A9D-A6A5-923A7E536A95}"/>
                </a:ext>
              </a:extLst>
            </p:cNvPr>
            <p:cNvSpPr/>
            <p:nvPr/>
          </p:nvSpPr>
          <p:spPr>
            <a:xfrm>
              <a:off x="6365310" y="4574003"/>
              <a:ext cx="53348" cy="45916"/>
            </a:xfrm>
            <a:custGeom>
              <a:avLst/>
              <a:gdLst>
                <a:gd name="connsiteX0" fmla="*/ 35629 w 54753"/>
                <a:gd name="connsiteY0" fmla="*/ 53640 h 62869"/>
                <a:gd name="connsiteX1" fmla="*/ 53164 w 54753"/>
                <a:gd name="connsiteY1" fmla="*/ 40739 h 62869"/>
                <a:gd name="connsiteX2" fmla="*/ 40541 w 54753"/>
                <a:gd name="connsiteY2" fmla="*/ 29241 h 62869"/>
                <a:gd name="connsiteX3" fmla="*/ 42529 w 54753"/>
                <a:gd name="connsiteY3" fmla="*/ 8820 h 62869"/>
                <a:gd name="connsiteX4" fmla="*/ 15131 w 54753"/>
                <a:gd name="connsiteY4" fmla="*/ -339 h 62869"/>
                <a:gd name="connsiteX5" fmla="*/ 6080 w 54753"/>
                <a:gd name="connsiteY5" fmla="*/ 3238 h 62869"/>
                <a:gd name="connsiteX6" fmla="*/ 6973 w 54753"/>
                <a:gd name="connsiteY6" fmla="*/ 14134 h 62869"/>
                <a:gd name="connsiteX7" fmla="*/ 763 w 54753"/>
                <a:gd name="connsiteY7" fmla="*/ 29776 h 62869"/>
                <a:gd name="connsiteX8" fmla="*/ 26050 w 54753"/>
                <a:gd name="connsiteY8" fmla="*/ 62531 h 62869"/>
                <a:gd name="connsiteX9" fmla="*/ 35629 w 54753"/>
                <a:gd name="connsiteY9" fmla="*/ 53640 h 6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53" h="62869">
                  <a:moveTo>
                    <a:pt x="35629" y="53640"/>
                  </a:moveTo>
                  <a:cubicBezTo>
                    <a:pt x="40459" y="53273"/>
                    <a:pt x="50810" y="42978"/>
                    <a:pt x="53164" y="40739"/>
                  </a:cubicBezTo>
                  <a:cubicBezTo>
                    <a:pt x="59130" y="35090"/>
                    <a:pt x="46101" y="34054"/>
                    <a:pt x="40541" y="29241"/>
                  </a:cubicBezTo>
                  <a:cubicBezTo>
                    <a:pt x="33843" y="23392"/>
                    <a:pt x="38795" y="14568"/>
                    <a:pt x="42529" y="8820"/>
                  </a:cubicBezTo>
                  <a:cubicBezTo>
                    <a:pt x="35629" y="5911"/>
                    <a:pt x="24305" y="-105"/>
                    <a:pt x="15131" y="-339"/>
                  </a:cubicBezTo>
                  <a:cubicBezTo>
                    <a:pt x="11681" y="-88"/>
                    <a:pt x="8474" y="1182"/>
                    <a:pt x="6080" y="3238"/>
                  </a:cubicBezTo>
                  <a:cubicBezTo>
                    <a:pt x="-1348" y="8686"/>
                    <a:pt x="-2688" y="9922"/>
                    <a:pt x="6973" y="14134"/>
                  </a:cubicBezTo>
                  <a:cubicBezTo>
                    <a:pt x="18135" y="18880"/>
                    <a:pt x="2914" y="24395"/>
                    <a:pt x="763" y="29776"/>
                  </a:cubicBezTo>
                  <a:cubicBezTo>
                    <a:pt x="-3296" y="39803"/>
                    <a:pt x="8069" y="57350"/>
                    <a:pt x="26050" y="62531"/>
                  </a:cubicBezTo>
                  <a:cubicBezTo>
                    <a:pt x="27552" y="60325"/>
                    <a:pt x="29663" y="54075"/>
                    <a:pt x="35629" y="5364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B2A4B10B-226F-492D-AE53-78BA9265A63E}"/>
                </a:ext>
              </a:extLst>
            </p:cNvPr>
            <p:cNvSpPr/>
            <p:nvPr/>
          </p:nvSpPr>
          <p:spPr>
            <a:xfrm>
              <a:off x="5573964" y="5019118"/>
              <a:ext cx="166078" cy="79100"/>
            </a:xfrm>
            <a:custGeom>
              <a:avLst/>
              <a:gdLst>
                <a:gd name="connsiteX0" fmla="*/ 163804 w 170453"/>
                <a:gd name="connsiteY0" fmla="*/ 82566 h 108306"/>
                <a:gd name="connsiteX1" fmla="*/ 168391 w 170453"/>
                <a:gd name="connsiteY1" fmla="*/ 38112 h 108306"/>
                <a:gd name="connsiteX2" fmla="*/ 160801 w 170453"/>
                <a:gd name="connsiteY2" fmla="*/ 12911 h 108306"/>
                <a:gd name="connsiteX3" fmla="*/ 122606 w 170453"/>
                <a:gd name="connsiteY3" fmla="*/ 10137 h 108306"/>
                <a:gd name="connsiteX4" fmla="*/ 92529 w 170453"/>
                <a:gd name="connsiteY4" fmla="*/ 6594 h 108306"/>
                <a:gd name="connsiteX5" fmla="*/ 59732 w 170453"/>
                <a:gd name="connsiteY5" fmla="*/ 4655 h 108306"/>
                <a:gd name="connsiteX6" fmla="*/ 37976 w 170453"/>
                <a:gd name="connsiteY6" fmla="*/ 9201 h 108306"/>
                <a:gd name="connsiteX7" fmla="*/ 21537 w 170453"/>
                <a:gd name="connsiteY7" fmla="*/ 5859 h 108306"/>
                <a:gd name="connsiteX8" fmla="*/ 4774 w 170453"/>
                <a:gd name="connsiteY8" fmla="*/ 9936 h 108306"/>
                <a:gd name="connsiteX9" fmla="*/ 17478 w 170453"/>
                <a:gd name="connsiteY9" fmla="*/ 37110 h 108306"/>
                <a:gd name="connsiteX10" fmla="*/ 7493 w 170453"/>
                <a:gd name="connsiteY10" fmla="*/ 41756 h 108306"/>
                <a:gd name="connsiteX11" fmla="*/ 5504 w 170453"/>
                <a:gd name="connsiteY11" fmla="*/ 55426 h 108306"/>
                <a:gd name="connsiteX12" fmla="*/ 2176 w 170453"/>
                <a:gd name="connsiteY12" fmla="*/ 70868 h 108306"/>
                <a:gd name="connsiteX13" fmla="*/ 9158 w 170453"/>
                <a:gd name="connsiteY13" fmla="*/ 80226 h 108306"/>
                <a:gd name="connsiteX14" fmla="*/ 31685 w 170453"/>
                <a:gd name="connsiteY14" fmla="*/ 88950 h 108306"/>
                <a:gd name="connsiteX15" fmla="*/ 25677 w 170453"/>
                <a:gd name="connsiteY15" fmla="*/ 107968 h 108306"/>
                <a:gd name="connsiteX16" fmla="*/ 82828 w 170453"/>
                <a:gd name="connsiteY16" fmla="*/ 96737 h 108306"/>
                <a:gd name="connsiteX17" fmla="*/ 164008 w 170453"/>
                <a:gd name="connsiteY17" fmla="*/ 91055 h 108306"/>
                <a:gd name="connsiteX18" fmla="*/ 164008 w 170453"/>
                <a:gd name="connsiteY18" fmla="*/ 82666 h 10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0453" h="108306">
                  <a:moveTo>
                    <a:pt x="163804" y="82566"/>
                  </a:moveTo>
                  <a:cubicBezTo>
                    <a:pt x="144159" y="68695"/>
                    <a:pt x="153251" y="52217"/>
                    <a:pt x="168391" y="38112"/>
                  </a:cubicBezTo>
                  <a:cubicBezTo>
                    <a:pt x="174723" y="32196"/>
                    <a:pt x="164332" y="18259"/>
                    <a:pt x="160801" y="12911"/>
                  </a:cubicBezTo>
                  <a:cubicBezTo>
                    <a:pt x="155118" y="4522"/>
                    <a:pt x="134214" y="5391"/>
                    <a:pt x="122606" y="10137"/>
                  </a:cubicBezTo>
                  <a:cubicBezTo>
                    <a:pt x="110997" y="14883"/>
                    <a:pt x="101174" y="13981"/>
                    <a:pt x="92529" y="6594"/>
                  </a:cubicBezTo>
                  <a:cubicBezTo>
                    <a:pt x="85060" y="177"/>
                    <a:pt x="60057" y="5357"/>
                    <a:pt x="59732" y="4655"/>
                  </a:cubicBezTo>
                  <a:cubicBezTo>
                    <a:pt x="53968" y="-7477"/>
                    <a:pt x="47028" y="5892"/>
                    <a:pt x="37976" y="9201"/>
                  </a:cubicBezTo>
                  <a:cubicBezTo>
                    <a:pt x="29858" y="12176"/>
                    <a:pt x="27951" y="7196"/>
                    <a:pt x="21537" y="5859"/>
                  </a:cubicBezTo>
                  <a:cubicBezTo>
                    <a:pt x="13095" y="3987"/>
                    <a:pt x="14313" y="13312"/>
                    <a:pt x="4774" y="9936"/>
                  </a:cubicBezTo>
                  <a:cubicBezTo>
                    <a:pt x="1892" y="20465"/>
                    <a:pt x="8833" y="28587"/>
                    <a:pt x="17478" y="37110"/>
                  </a:cubicBezTo>
                  <a:cubicBezTo>
                    <a:pt x="23486" y="43193"/>
                    <a:pt x="12283" y="41054"/>
                    <a:pt x="7493" y="41756"/>
                  </a:cubicBezTo>
                  <a:cubicBezTo>
                    <a:pt x="593" y="42691"/>
                    <a:pt x="11187" y="51783"/>
                    <a:pt x="5504" y="55426"/>
                  </a:cubicBezTo>
                  <a:cubicBezTo>
                    <a:pt x="-2248" y="60306"/>
                    <a:pt x="2947" y="65085"/>
                    <a:pt x="2176" y="70868"/>
                  </a:cubicBezTo>
                  <a:cubicBezTo>
                    <a:pt x="1162" y="78655"/>
                    <a:pt x="-5089" y="75881"/>
                    <a:pt x="9158" y="80226"/>
                  </a:cubicBezTo>
                  <a:cubicBezTo>
                    <a:pt x="16463" y="82432"/>
                    <a:pt x="27869" y="84137"/>
                    <a:pt x="31685" y="88950"/>
                  </a:cubicBezTo>
                  <a:cubicBezTo>
                    <a:pt x="35500" y="93763"/>
                    <a:pt x="26936" y="103088"/>
                    <a:pt x="25677" y="107968"/>
                  </a:cubicBezTo>
                  <a:cubicBezTo>
                    <a:pt x="44958" y="106965"/>
                    <a:pt x="64603" y="100581"/>
                    <a:pt x="82828" y="96737"/>
                  </a:cubicBezTo>
                  <a:cubicBezTo>
                    <a:pt x="109658" y="91156"/>
                    <a:pt x="136203" y="87646"/>
                    <a:pt x="164008" y="91055"/>
                  </a:cubicBezTo>
                  <a:cubicBezTo>
                    <a:pt x="165671" y="88425"/>
                    <a:pt x="165671" y="85297"/>
                    <a:pt x="164008" y="8266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3DA2CC10-DED5-4E54-A223-4AC55DB966D7}"/>
                </a:ext>
              </a:extLst>
            </p:cNvPr>
            <p:cNvSpPr/>
            <p:nvPr/>
          </p:nvSpPr>
          <p:spPr>
            <a:xfrm>
              <a:off x="6719589" y="5099098"/>
              <a:ext cx="232226" cy="128643"/>
            </a:xfrm>
            <a:custGeom>
              <a:avLst/>
              <a:gdLst>
                <a:gd name="connsiteX0" fmla="*/ 208168 w 238344"/>
                <a:gd name="connsiteY0" fmla="*/ 52804 h 176141"/>
                <a:gd name="connsiteX1" fmla="*/ 238285 w 238344"/>
                <a:gd name="connsiteY1" fmla="*/ 31614 h 176141"/>
                <a:gd name="connsiteX2" fmla="*/ 213526 w 238344"/>
                <a:gd name="connsiteY2" fmla="*/ 30410 h 176141"/>
                <a:gd name="connsiteX3" fmla="*/ 192216 w 238344"/>
                <a:gd name="connsiteY3" fmla="*/ 27068 h 176141"/>
                <a:gd name="connsiteX4" fmla="*/ 167862 w 238344"/>
                <a:gd name="connsiteY4" fmla="*/ 35691 h 176141"/>
                <a:gd name="connsiteX5" fmla="*/ 147567 w 238344"/>
                <a:gd name="connsiteY5" fmla="*/ 31213 h 176141"/>
                <a:gd name="connsiteX6" fmla="*/ 102350 w 238344"/>
                <a:gd name="connsiteY6" fmla="*/ 14768 h 176141"/>
                <a:gd name="connsiteX7" fmla="*/ 77063 w 238344"/>
                <a:gd name="connsiteY7" fmla="*/ 9688 h 176141"/>
                <a:gd name="connsiteX8" fmla="*/ 53967 w 238344"/>
                <a:gd name="connsiteY8" fmla="*/ 764 h 176141"/>
                <a:gd name="connsiteX9" fmla="*/ 13661 w 238344"/>
                <a:gd name="connsiteY9" fmla="*/ 9788 h 176141"/>
                <a:gd name="connsiteX10" fmla="*/ 24864 w 238344"/>
                <a:gd name="connsiteY10" fmla="*/ 17242 h 176141"/>
                <a:gd name="connsiteX11" fmla="*/ 26853 w 238344"/>
                <a:gd name="connsiteY11" fmla="*/ 27035 h 176141"/>
                <a:gd name="connsiteX12" fmla="*/ 34241 w 238344"/>
                <a:gd name="connsiteY12" fmla="*/ 34789 h 176141"/>
                <a:gd name="connsiteX13" fmla="*/ 36351 w 238344"/>
                <a:gd name="connsiteY13" fmla="*/ 45986 h 176141"/>
                <a:gd name="connsiteX14" fmla="*/ 4326 w 238344"/>
                <a:gd name="connsiteY14" fmla="*/ 79410 h 176141"/>
                <a:gd name="connsiteX15" fmla="*/ 2702 w 238344"/>
                <a:gd name="connsiteY15" fmla="*/ 98962 h 176141"/>
                <a:gd name="connsiteX16" fmla="*/ 55469 w 238344"/>
                <a:gd name="connsiteY16" fmla="*/ 121189 h 176141"/>
                <a:gd name="connsiteX17" fmla="*/ 101173 w 238344"/>
                <a:gd name="connsiteY17" fmla="*/ 140876 h 176141"/>
                <a:gd name="connsiteX18" fmla="*/ 99387 w 238344"/>
                <a:gd name="connsiteY18" fmla="*/ 151738 h 176141"/>
                <a:gd name="connsiteX19" fmla="*/ 142006 w 238344"/>
                <a:gd name="connsiteY19" fmla="*/ 175803 h 176141"/>
                <a:gd name="connsiteX20" fmla="*/ 167943 w 238344"/>
                <a:gd name="connsiteY20" fmla="*/ 147460 h 176141"/>
                <a:gd name="connsiteX21" fmla="*/ 193271 w 238344"/>
                <a:gd name="connsiteY21" fmla="*/ 134625 h 176141"/>
                <a:gd name="connsiteX22" fmla="*/ 211536 w 238344"/>
                <a:gd name="connsiteY22" fmla="*/ 127740 h 176141"/>
                <a:gd name="connsiteX23" fmla="*/ 200374 w 238344"/>
                <a:gd name="connsiteY23" fmla="*/ 113468 h 176141"/>
                <a:gd name="connsiteX24" fmla="*/ 208168 w 238344"/>
                <a:gd name="connsiteY24" fmla="*/ 52804 h 17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8344" h="176141">
                  <a:moveTo>
                    <a:pt x="208168" y="52804"/>
                  </a:moveTo>
                  <a:cubicBezTo>
                    <a:pt x="218031" y="45618"/>
                    <a:pt x="228016" y="38566"/>
                    <a:pt x="238285" y="31614"/>
                  </a:cubicBezTo>
                  <a:cubicBezTo>
                    <a:pt x="230857" y="31814"/>
                    <a:pt x="220101" y="34288"/>
                    <a:pt x="213526" y="30410"/>
                  </a:cubicBezTo>
                  <a:cubicBezTo>
                    <a:pt x="205773" y="25831"/>
                    <a:pt x="203784" y="25163"/>
                    <a:pt x="192216" y="27068"/>
                  </a:cubicBezTo>
                  <a:cubicBezTo>
                    <a:pt x="182149" y="28639"/>
                    <a:pt x="177035" y="33753"/>
                    <a:pt x="167862" y="35691"/>
                  </a:cubicBezTo>
                  <a:cubicBezTo>
                    <a:pt x="164493" y="36427"/>
                    <a:pt x="151139" y="31881"/>
                    <a:pt x="147567" y="31213"/>
                  </a:cubicBezTo>
                  <a:cubicBezTo>
                    <a:pt x="129383" y="27870"/>
                    <a:pt x="115826" y="23893"/>
                    <a:pt x="102350" y="14768"/>
                  </a:cubicBezTo>
                  <a:cubicBezTo>
                    <a:pt x="96465" y="10758"/>
                    <a:pt x="84775" y="11025"/>
                    <a:pt x="77063" y="9688"/>
                  </a:cubicBezTo>
                  <a:cubicBezTo>
                    <a:pt x="68052" y="8117"/>
                    <a:pt x="62166" y="2602"/>
                    <a:pt x="53967" y="764"/>
                  </a:cubicBezTo>
                  <a:cubicBezTo>
                    <a:pt x="35742" y="-3314"/>
                    <a:pt x="25798" y="4875"/>
                    <a:pt x="13661" y="9788"/>
                  </a:cubicBezTo>
                  <a:cubicBezTo>
                    <a:pt x="13661" y="11392"/>
                    <a:pt x="22916" y="15938"/>
                    <a:pt x="24864" y="17242"/>
                  </a:cubicBezTo>
                  <a:cubicBezTo>
                    <a:pt x="27746" y="19180"/>
                    <a:pt x="26569" y="24628"/>
                    <a:pt x="26853" y="27035"/>
                  </a:cubicBezTo>
                  <a:cubicBezTo>
                    <a:pt x="27300" y="30979"/>
                    <a:pt x="29451" y="31681"/>
                    <a:pt x="34241" y="34789"/>
                  </a:cubicBezTo>
                  <a:cubicBezTo>
                    <a:pt x="39842" y="38432"/>
                    <a:pt x="37569" y="41106"/>
                    <a:pt x="36351" y="45986"/>
                  </a:cubicBezTo>
                  <a:cubicBezTo>
                    <a:pt x="32779" y="60458"/>
                    <a:pt x="13864" y="67043"/>
                    <a:pt x="4326" y="79410"/>
                  </a:cubicBezTo>
                  <a:cubicBezTo>
                    <a:pt x="49340" y="89971"/>
                    <a:pt x="-13574" y="92177"/>
                    <a:pt x="2702" y="98962"/>
                  </a:cubicBezTo>
                  <a:cubicBezTo>
                    <a:pt x="20318" y="106315"/>
                    <a:pt x="37894" y="113725"/>
                    <a:pt x="55469" y="121189"/>
                  </a:cubicBezTo>
                  <a:cubicBezTo>
                    <a:pt x="70771" y="127717"/>
                    <a:pt x="85993" y="134281"/>
                    <a:pt x="101173" y="140876"/>
                  </a:cubicBezTo>
                  <a:cubicBezTo>
                    <a:pt x="104014" y="142112"/>
                    <a:pt x="96181" y="149900"/>
                    <a:pt x="99387" y="151738"/>
                  </a:cubicBezTo>
                  <a:cubicBezTo>
                    <a:pt x="113513" y="159827"/>
                    <a:pt x="127719" y="167848"/>
                    <a:pt x="142006" y="175803"/>
                  </a:cubicBezTo>
                  <a:cubicBezTo>
                    <a:pt x="150124" y="166144"/>
                    <a:pt x="158648" y="156651"/>
                    <a:pt x="167943" y="147460"/>
                  </a:cubicBezTo>
                  <a:cubicBezTo>
                    <a:pt x="174965" y="140575"/>
                    <a:pt x="184504" y="139739"/>
                    <a:pt x="193271" y="134625"/>
                  </a:cubicBezTo>
                  <a:cubicBezTo>
                    <a:pt x="196072" y="132987"/>
                    <a:pt x="215799" y="133088"/>
                    <a:pt x="211536" y="127740"/>
                  </a:cubicBezTo>
                  <a:cubicBezTo>
                    <a:pt x="208898" y="124398"/>
                    <a:pt x="199928" y="116944"/>
                    <a:pt x="200374" y="113468"/>
                  </a:cubicBezTo>
                  <a:cubicBezTo>
                    <a:pt x="202972" y="93237"/>
                    <a:pt x="205570" y="73015"/>
                    <a:pt x="208168" y="5280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62A40B25-CB34-4169-8C54-97F65AA9C8EC}"/>
                </a:ext>
              </a:extLst>
            </p:cNvPr>
            <p:cNvSpPr/>
            <p:nvPr/>
          </p:nvSpPr>
          <p:spPr>
            <a:xfrm>
              <a:off x="8623940" y="5163639"/>
              <a:ext cx="164067" cy="134891"/>
            </a:xfrm>
            <a:custGeom>
              <a:avLst/>
              <a:gdLst>
                <a:gd name="connsiteX0" fmla="*/ 128852 w 168389"/>
                <a:gd name="connsiteY0" fmla="*/ 96923 h 184697"/>
                <a:gd name="connsiteX1" fmla="*/ 108233 w 168389"/>
                <a:gd name="connsiteY1" fmla="*/ 77270 h 184697"/>
                <a:gd name="connsiteX2" fmla="*/ 131207 w 168389"/>
                <a:gd name="connsiteY2" fmla="*/ 71956 h 184697"/>
                <a:gd name="connsiteX3" fmla="*/ 118259 w 168389"/>
                <a:gd name="connsiteY3" fmla="*/ 48025 h 184697"/>
                <a:gd name="connsiteX4" fmla="*/ 90617 w 168389"/>
                <a:gd name="connsiteY4" fmla="*/ 29174 h 184697"/>
                <a:gd name="connsiteX5" fmla="*/ 82499 w 168389"/>
                <a:gd name="connsiteY5" fmla="*/ 15804 h 184697"/>
                <a:gd name="connsiteX6" fmla="*/ 79779 w 168389"/>
                <a:gd name="connsiteY6" fmla="*/ 8685 h 184697"/>
                <a:gd name="connsiteX7" fmla="*/ 64964 w 168389"/>
                <a:gd name="connsiteY7" fmla="*/ 730 h 184697"/>
                <a:gd name="connsiteX8" fmla="*/ 56399 w 168389"/>
                <a:gd name="connsiteY8" fmla="*/ 17442 h 184697"/>
                <a:gd name="connsiteX9" fmla="*/ 37404 w 168389"/>
                <a:gd name="connsiteY9" fmla="*/ 7415 h 184697"/>
                <a:gd name="connsiteX10" fmla="*/ 5541 w 168389"/>
                <a:gd name="connsiteY10" fmla="*/ 16941 h 184697"/>
                <a:gd name="connsiteX11" fmla="*/ 11101 w 168389"/>
                <a:gd name="connsiteY11" fmla="*/ 38299 h 184697"/>
                <a:gd name="connsiteX12" fmla="*/ 12765 w 168389"/>
                <a:gd name="connsiteY12" fmla="*/ 61227 h 184697"/>
                <a:gd name="connsiteX13" fmla="*/ 8991 w 168389"/>
                <a:gd name="connsiteY13" fmla="*/ 75365 h 184697"/>
                <a:gd name="connsiteX14" fmla="*/ 35130 w 168389"/>
                <a:gd name="connsiteY14" fmla="*/ 73895 h 184697"/>
                <a:gd name="connsiteX15" fmla="*/ 51366 w 168389"/>
                <a:gd name="connsiteY15" fmla="*/ 82484 h 184697"/>
                <a:gd name="connsiteX16" fmla="*/ 90658 w 168389"/>
                <a:gd name="connsiteY16" fmla="*/ 88534 h 184697"/>
                <a:gd name="connsiteX17" fmla="*/ 107624 w 168389"/>
                <a:gd name="connsiteY17" fmla="*/ 116376 h 184697"/>
                <a:gd name="connsiteX18" fmla="*/ 99506 w 168389"/>
                <a:gd name="connsiteY18" fmla="*/ 125868 h 184697"/>
                <a:gd name="connsiteX19" fmla="*/ 108071 w 168389"/>
                <a:gd name="connsiteY19" fmla="*/ 135595 h 184697"/>
                <a:gd name="connsiteX20" fmla="*/ 98451 w 168389"/>
                <a:gd name="connsiteY20" fmla="*/ 169286 h 184697"/>
                <a:gd name="connsiteX21" fmla="*/ 108112 w 168389"/>
                <a:gd name="connsiteY21" fmla="*/ 179313 h 184697"/>
                <a:gd name="connsiteX22" fmla="*/ 125159 w 168389"/>
                <a:gd name="connsiteY22" fmla="*/ 174433 h 184697"/>
                <a:gd name="connsiteX23" fmla="*/ 151177 w 168389"/>
                <a:gd name="connsiteY23" fmla="*/ 184159 h 184697"/>
                <a:gd name="connsiteX24" fmla="*/ 168184 w 168389"/>
                <a:gd name="connsiteY24" fmla="*/ 169453 h 184697"/>
                <a:gd name="connsiteX25" fmla="*/ 148904 w 168389"/>
                <a:gd name="connsiteY25" fmla="*/ 136931 h 184697"/>
                <a:gd name="connsiteX26" fmla="*/ 129015 w 168389"/>
                <a:gd name="connsiteY26" fmla="*/ 97124 h 184697"/>
                <a:gd name="connsiteX27" fmla="*/ 128852 w 168389"/>
                <a:gd name="connsiteY27" fmla="*/ 96923 h 18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389" h="184697">
                  <a:moveTo>
                    <a:pt x="128852" y="96923"/>
                  </a:moveTo>
                  <a:cubicBezTo>
                    <a:pt x="131004" y="92812"/>
                    <a:pt x="112008" y="81214"/>
                    <a:pt x="108233" y="77270"/>
                  </a:cubicBezTo>
                  <a:cubicBezTo>
                    <a:pt x="96056" y="64402"/>
                    <a:pt x="128527" y="76869"/>
                    <a:pt x="131207" y="71956"/>
                  </a:cubicBezTo>
                  <a:cubicBezTo>
                    <a:pt x="133886" y="67043"/>
                    <a:pt x="129705" y="50364"/>
                    <a:pt x="118259" y="48025"/>
                  </a:cubicBezTo>
                  <a:cubicBezTo>
                    <a:pt x="98207" y="43914"/>
                    <a:pt x="95772" y="41674"/>
                    <a:pt x="90617" y="29174"/>
                  </a:cubicBezTo>
                  <a:cubicBezTo>
                    <a:pt x="88952" y="25196"/>
                    <a:pt x="80470" y="19414"/>
                    <a:pt x="82499" y="15804"/>
                  </a:cubicBezTo>
                  <a:cubicBezTo>
                    <a:pt x="82702" y="13237"/>
                    <a:pt x="81728" y="10701"/>
                    <a:pt x="79779" y="8685"/>
                  </a:cubicBezTo>
                  <a:cubicBezTo>
                    <a:pt x="74625" y="1265"/>
                    <a:pt x="69389" y="6178"/>
                    <a:pt x="64964" y="730"/>
                  </a:cubicBezTo>
                  <a:cubicBezTo>
                    <a:pt x="59931" y="-5486"/>
                    <a:pt x="56440" y="17442"/>
                    <a:pt x="56399" y="17442"/>
                  </a:cubicBezTo>
                  <a:cubicBezTo>
                    <a:pt x="50798" y="28405"/>
                    <a:pt x="41300" y="6513"/>
                    <a:pt x="37404" y="7415"/>
                  </a:cubicBezTo>
                  <a:cubicBezTo>
                    <a:pt x="25917" y="10390"/>
                    <a:pt x="18935" y="17442"/>
                    <a:pt x="5541" y="16941"/>
                  </a:cubicBezTo>
                  <a:cubicBezTo>
                    <a:pt x="11101" y="22957"/>
                    <a:pt x="1157" y="35758"/>
                    <a:pt x="11101" y="38299"/>
                  </a:cubicBezTo>
                  <a:cubicBezTo>
                    <a:pt x="34359" y="44315"/>
                    <a:pt x="16703" y="53072"/>
                    <a:pt x="12765" y="61227"/>
                  </a:cubicBezTo>
                  <a:cubicBezTo>
                    <a:pt x="11630" y="63533"/>
                    <a:pt x="-12887" y="75532"/>
                    <a:pt x="8991" y="75365"/>
                  </a:cubicBezTo>
                  <a:cubicBezTo>
                    <a:pt x="17839" y="75365"/>
                    <a:pt x="25877" y="73025"/>
                    <a:pt x="35130" y="73895"/>
                  </a:cubicBezTo>
                  <a:cubicBezTo>
                    <a:pt x="45684" y="74931"/>
                    <a:pt x="43939" y="79276"/>
                    <a:pt x="51366" y="82484"/>
                  </a:cubicBezTo>
                  <a:cubicBezTo>
                    <a:pt x="65452" y="88601"/>
                    <a:pt x="75112" y="77939"/>
                    <a:pt x="90658" y="88534"/>
                  </a:cubicBezTo>
                  <a:cubicBezTo>
                    <a:pt x="98207" y="93681"/>
                    <a:pt x="111683" y="111195"/>
                    <a:pt x="107624" y="116376"/>
                  </a:cubicBezTo>
                  <a:cubicBezTo>
                    <a:pt x="105148" y="119718"/>
                    <a:pt x="101048" y="122259"/>
                    <a:pt x="99506" y="125868"/>
                  </a:cubicBezTo>
                  <a:cubicBezTo>
                    <a:pt x="97964" y="129478"/>
                    <a:pt x="105513" y="132553"/>
                    <a:pt x="108071" y="135595"/>
                  </a:cubicBezTo>
                  <a:cubicBezTo>
                    <a:pt x="116189" y="145622"/>
                    <a:pt x="113104" y="166043"/>
                    <a:pt x="98451" y="169286"/>
                  </a:cubicBezTo>
                  <a:cubicBezTo>
                    <a:pt x="100399" y="170990"/>
                    <a:pt x="106975" y="178410"/>
                    <a:pt x="108112" y="179313"/>
                  </a:cubicBezTo>
                  <a:cubicBezTo>
                    <a:pt x="114443" y="183491"/>
                    <a:pt x="118989" y="173597"/>
                    <a:pt x="125159" y="174433"/>
                  </a:cubicBezTo>
                  <a:cubicBezTo>
                    <a:pt x="135022" y="175836"/>
                    <a:pt x="141111" y="182655"/>
                    <a:pt x="151177" y="184159"/>
                  </a:cubicBezTo>
                  <a:cubicBezTo>
                    <a:pt x="162786" y="185930"/>
                    <a:pt x="166967" y="175536"/>
                    <a:pt x="168184" y="169453"/>
                  </a:cubicBezTo>
                  <a:cubicBezTo>
                    <a:pt x="170051" y="160061"/>
                    <a:pt x="153531" y="146992"/>
                    <a:pt x="148904" y="136931"/>
                  </a:cubicBezTo>
                  <a:cubicBezTo>
                    <a:pt x="144277" y="126871"/>
                    <a:pt x="124144" y="106850"/>
                    <a:pt x="129015" y="97124"/>
                  </a:cubicBezTo>
                  <a:cubicBezTo>
                    <a:pt x="130923" y="92979"/>
                    <a:pt x="126864" y="100934"/>
                    <a:pt x="128852" y="9692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28408562-66B4-4408-BCED-45E3F8729B21}"/>
                </a:ext>
              </a:extLst>
            </p:cNvPr>
            <p:cNvSpPr/>
            <p:nvPr/>
          </p:nvSpPr>
          <p:spPr>
            <a:xfrm>
              <a:off x="8867356" y="5460568"/>
              <a:ext cx="31242" cy="14235"/>
            </a:xfrm>
            <a:custGeom>
              <a:avLst/>
              <a:gdLst>
                <a:gd name="connsiteX0" fmla="*/ 7977 w 32065"/>
                <a:gd name="connsiteY0" fmla="*/ 16039 h 19491"/>
                <a:gd name="connsiteX1" fmla="*/ 32006 w 32065"/>
                <a:gd name="connsiteY1" fmla="*/ 9922 h 19491"/>
                <a:gd name="connsiteX2" fmla="*/ 20235 w 32065"/>
                <a:gd name="connsiteY2" fmla="*/ 7449 h 19491"/>
                <a:gd name="connsiteX3" fmla="*/ 14999 w 32065"/>
                <a:gd name="connsiteY3" fmla="*/ 9288 h 19491"/>
                <a:gd name="connsiteX4" fmla="*/ -60 w 32065"/>
                <a:gd name="connsiteY4" fmla="*/ -339 h 19491"/>
                <a:gd name="connsiteX5" fmla="*/ 7977 w 32065"/>
                <a:gd name="connsiteY5" fmla="*/ 16039 h 1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65" h="19491">
                  <a:moveTo>
                    <a:pt x="7977" y="16039"/>
                  </a:moveTo>
                  <a:cubicBezTo>
                    <a:pt x="23807" y="22156"/>
                    <a:pt x="30951" y="18813"/>
                    <a:pt x="32006" y="9922"/>
                  </a:cubicBezTo>
                  <a:cubicBezTo>
                    <a:pt x="28150" y="8920"/>
                    <a:pt x="24213" y="8084"/>
                    <a:pt x="20235" y="7449"/>
                  </a:cubicBezTo>
                  <a:cubicBezTo>
                    <a:pt x="18409" y="7884"/>
                    <a:pt x="16622" y="8485"/>
                    <a:pt x="14999" y="9288"/>
                  </a:cubicBezTo>
                  <a:cubicBezTo>
                    <a:pt x="9479" y="8352"/>
                    <a:pt x="4892" y="1801"/>
                    <a:pt x="-60" y="-339"/>
                  </a:cubicBezTo>
                  <a:cubicBezTo>
                    <a:pt x="793" y="2636"/>
                    <a:pt x="2132" y="13733"/>
                    <a:pt x="7977" y="1603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A1E14E57-7DB8-46F4-826D-FBD8E3A7EA9E}"/>
                </a:ext>
              </a:extLst>
            </p:cNvPr>
            <p:cNvSpPr/>
            <p:nvPr/>
          </p:nvSpPr>
          <p:spPr>
            <a:xfrm>
              <a:off x="7148645" y="4633925"/>
              <a:ext cx="150789" cy="56270"/>
            </a:xfrm>
            <a:custGeom>
              <a:avLst/>
              <a:gdLst>
                <a:gd name="connsiteX0" fmla="*/ 151827 w 154761"/>
                <a:gd name="connsiteY0" fmla="*/ 34227 h 77047"/>
                <a:gd name="connsiteX1" fmla="*/ 127473 w 154761"/>
                <a:gd name="connsiteY1" fmla="*/ 11065 h 77047"/>
                <a:gd name="connsiteX2" fmla="*/ 108599 w 154761"/>
                <a:gd name="connsiteY2" fmla="*/ 15143 h 77047"/>
                <a:gd name="connsiteX3" fmla="*/ 101293 w 154761"/>
                <a:gd name="connsiteY3" fmla="*/ 17382 h 77047"/>
                <a:gd name="connsiteX4" fmla="*/ 91470 w 154761"/>
                <a:gd name="connsiteY4" fmla="*/ 14608 h 77047"/>
                <a:gd name="connsiteX5" fmla="*/ 53803 w 154761"/>
                <a:gd name="connsiteY5" fmla="*/ 2040 h 77047"/>
                <a:gd name="connsiteX6" fmla="*/ 62205 w 154761"/>
                <a:gd name="connsiteY6" fmla="*/ 11566 h 77047"/>
                <a:gd name="connsiteX7" fmla="*/ 40570 w 154761"/>
                <a:gd name="connsiteY7" fmla="*/ 11132 h 77047"/>
                <a:gd name="connsiteX8" fmla="*/ 19708 w 154761"/>
                <a:gd name="connsiteY8" fmla="*/ 10229 h 77047"/>
                <a:gd name="connsiteX9" fmla="*/ 33792 w 154761"/>
                <a:gd name="connsiteY9" fmla="*/ 35364 h 77047"/>
                <a:gd name="connsiteX10" fmla="*/ 48973 w 154761"/>
                <a:gd name="connsiteY10" fmla="*/ 45391 h 77047"/>
                <a:gd name="connsiteX11" fmla="*/ 69836 w 154761"/>
                <a:gd name="connsiteY11" fmla="*/ 54315 h 77047"/>
                <a:gd name="connsiteX12" fmla="*/ 103363 w 154761"/>
                <a:gd name="connsiteY12" fmla="*/ 55351 h 77047"/>
                <a:gd name="connsiteX13" fmla="*/ 118787 w 154761"/>
                <a:gd name="connsiteY13" fmla="*/ 76709 h 77047"/>
                <a:gd name="connsiteX14" fmla="*/ 151868 w 154761"/>
                <a:gd name="connsiteY14" fmla="*/ 34094 h 77047"/>
                <a:gd name="connsiteX15" fmla="*/ 14634 w 154761"/>
                <a:gd name="connsiteY15" fmla="*/ 42216 h 77047"/>
                <a:gd name="connsiteX16" fmla="*/ -60 w 154761"/>
                <a:gd name="connsiteY16" fmla="*/ 36500 h 77047"/>
                <a:gd name="connsiteX17" fmla="*/ 33995 w 154761"/>
                <a:gd name="connsiteY17" fmla="*/ 56554 h 77047"/>
                <a:gd name="connsiteX18" fmla="*/ 14634 w 154761"/>
                <a:gd name="connsiteY18" fmla="*/ 42082 h 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4761" h="77047">
                  <a:moveTo>
                    <a:pt x="151827" y="34227"/>
                  </a:moveTo>
                  <a:cubicBezTo>
                    <a:pt x="145982" y="26206"/>
                    <a:pt x="135591" y="18518"/>
                    <a:pt x="127473" y="11065"/>
                  </a:cubicBezTo>
                  <a:cubicBezTo>
                    <a:pt x="123658" y="15310"/>
                    <a:pt x="115581" y="13939"/>
                    <a:pt x="108599" y="15143"/>
                  </a:cubicBezTo>
                  <a:cubicBezTo>
                    <a:pt x="106367" y="16246"/>
                    <a:pt x="103891" y="17004"/>
                    <a:pt x="101293" y="17382"/>
                  </a:cubicBezTo>
                  <a:cubicBezTo>
                    <a:pt x="98167" y="16149"/>
                    <a:pt x="94879" y="15219"/>
                    <a:pt x="91470" y="14608"/>
                  </a:cubicBezTo>
                  <a:cubicBezTo>
                    <a:pt x="79983" y="15143"/>
                    <a:pt x="68862" y="-7586"/>
                    <a:pt x="53803" y="2040"/>
                  </a:cubicBezTo>
                  <a:cubicBezTo>
                    <a:pt x="48080" y="5717"/>
                    <a:pt x="60175" y="8157"/>
                    <a:pt x="62205" y="11566"/>
                  </a:cubicBezTo>
                  <a:cubicBezTo>
                    <a:pt x="65330" y="16780"/>
                    <a:pt x="43127" y="12034"/>
                    <a:pt x="40570" y="11132"/>
                  </a:cubicBezTo>
                  <a:cubicBezTo>
                    <a:pt x="32128" y="8023"/>
                    <a:pt x="6150" y="-4076"/>
                    <a:pt x="19708" y="10229"/>
                  </a:cubicBezTo>
                  <a:cubicBezTo>
                    <a:pt x="27095" y="18017"/>
                    <a:pt x="26648" y="27376"/>
                    <a:pt x="33792" y="35364"/>
                  </a:cubicBezTo>
                  <a:cubicBezTo>
                    <a:pt x="37323" y="39341"/>
                    <a:pt x="44995" y="41714"/>
                    <a:pt x="48973" y="45391"/>
                  </a:cubicBezTo>
                  <a:cubicBezTo>
                    <a:pt x="57496" y="53647"/>
                    <a:pt x="48648" y="58760"/>
                    <a:pt x="69836" y="54315"/>
                  </a:cubicBezTo>
                  <a:cubicBezTo>
                    <a:pt x="78563" y="52477"/>
                    <a:pt x="105717" y="43018"/>
                    <a:pt x="103363" y="55351"/>
                  </a:cubicBezTo>
                  <a:cubicBezTo>
                    <a:pt x="101171" y="66615"/>
                    <a:pt x="94230" y="68152"/>
                    <a:pt x="118787" y="76709"/>
                  </a:cubicBezTo>
                  <a:cubicBezTo>
                    <a:pt x="119883" y="60933"/>
                    <a:pt x="166480" y="53947"/>
                    <a:pt x="151868" y="34094"/>
                  </a:cubicBezTo>
                  <a:close/>
                  <a:moveTo>
                    <a:pt x="14634" y="42216"/>
                  </a:moveTo>
                  <a:cubicBezTo>
                    <a:pt x="9925" y="40023"/>
                    <a:pt x="5014" y="38115"/>
                    <a:pt x="-60" y="36500"/>
                  </a:cubicBezTo>
                  <a:cubicBezTo>
                    <a:pt x="4648" y="46527"/>
                    <a:pt x="15121" y="54282"/>
                    <a:pt x="33995" y="56554"/>
                  </a:cubicBezTo>
                  <a:cubicBezTo>
                    <a:pt x="37648" y="47864"/>
                    <a:pt x="24456" y="45725"/>
                    <a:pt x="14634" y="4208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FFABF4F6-7691-41A0-841B-D2E99FEC9A92}"/>
                </a:ext>
              </a:extLst>
            </p:cNvPr>
            <p:cNvSpPr/>
            <p:nvPr/>
          </p:nvSpPr>
          <p:spPr>
            <a:xfrm>
              <a:off x="6402471" y="4578836"/>
              <a:ext cx="80984" cy="22848"/>
            </a:xfrm>
            <a:custGeom>
              <a:avLst/>
              <a:gdLst>
                <a:gd name="connsiteX0" fmla="*/ 18027 w 83118"/>
                <a:gd name="connsiteY0" fmla="*/ 30946 h 31284"/>
                <a:gd name="connsiteX1" fmla="*/ 36090 w 83118"/>
                <a:gd name="connsiteY1" fmla="*/ 30946 h 31284"/>
                <a:gd name="connsiteX2" fmla="*/ 51514 w 83118"/>
                <a:gd name="connsiteY2" fmla="*/ 26400 h 31284"/>
                <a:gd name="connsiteX3" fmla="*/ 67141 w 83118"/>
                <a:gd name="connsiteY3" fmla="*/ 25197 h 31284"/>
                <a:gd name="connsiteX4" fmla="*/ 61743 w 83118"/>
                <a:gd name="connsiteY4" fmla="*/ -339 h 31284"/>
                <a:gd name="connsiteX5" fmla="*/ 4389 w 83118"/>
                <a:gd name="connsiteY5" fmla="*/ 2302 h 31284"/>
                <a:gd name="connsiteX6" fmla="*/ 18027 w 83118"/>
                <a:gd name="connsiteY6" fmla="*/ 30946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18" h="31284">
                  <a:moveTo>
                    <a:pt x="18027" y="30946"/>
                  </a:moveTo>
                  <a:cubicBezTo>
                    <a:pt x="24035" y="30612"/>
                    <a:pt x="30083" y="30612"/>
                    <a:pt x="36090" y="30946"/>
                  </a:cubicBezTo>
                  <a:cubicBezTo>
                    <a:pt x="43477" y="30712"/>
                    <a:pt x="45832" y="28105"/>
                    <a:pt x="51514" y="26400"/>
                  </a:cubicBezTo>
                  <a:cubicBezTo>
                    <a:pt x="54721" y="25464"/>
                    <a:pt x="63082" y="25966"/>
                    <a:pt x="67141" y="25197"/>
                  </a:cubicBezTo>
                  <a:cubicBezTo>
                    <a:pt x="107041" y="17509"/>
                    <a:pt x="59023" y="11827"/>
                    <a:pt x="61743" y="-339"/>
                  </a:cubicBezTo>
                  <a:cubicBezTo>
                    <a:pt x="50540" y="62"/>
                    <a:pt x="13360" y="5911"/>
                    <a:pt x="4389" y="2302"/>
                  </a:cubicBezTo>
                  <a:cubicBezTo>
                    <a:pt x="-3810" y="14836"/>
                    <a:pt x="-1455" y="22289"/>
                    <a:pt x="18027" y="3094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F711BE7D-BF25-448B-A6BC-AC39C8339029}"/>
                </a:ext>
              </a:extLst>
            </p:cNvPr>
            <p:cNvSpPr/>
            <p:nvPr/>
          </p:nvSpPr>
          <p:spPr>
            <a:xfrm>
              <a:off x="5720481" y="5006557"/>
              <a:ext cx="118931" cy="80952"/>
            </a:xfrm>
            <a:custGeom>
              <a:avLst/>
              <a:gdLst>
                <a:gd name="connsiteX0" fmla="*/ 101588 w 122064"/>
                <a:gd name="connsiteY0" fmla="*/ 44115 h 110842"/>
                <a:gd name="connsiteX1" fmla="*/ 99640 w 122064"/>
                <a:gd name="connsiteY1" fmla="*/ 20350 h 110842"/>
                <a:gd name="connsiteX2" fmla="*/ 85556 w 122064"/>
                <a:gd name="connsiteY2" fmla="*/ -339 h 110842"/>
                <a:gd name="connsiteX3" fmla="*/ 75530 w 122064"/>
                <a:gd name="connsiteY3" fmla="*/ 3505 h 110842"/>
                <a:gd name="connsiteX4" fmla="*/ 57143 w 122064"/>
                <a:gd name="connsiteY4" fmla="*/ 2870 h 110842"/>
                <a:gd name="connsiteX5" fmla="*/ 10546 w 122064"/>
                <a:gd name="connsiteY5" fmla="*/ 5009 h 110842"/>
                <a:gd name="connsiteX6" fmla="*/ 19638 w 122064"/>
                <a:gd name="connsiteY6" fmla="*/ 52504 h 110842"/>
                <a:gd name="connsiteX7" fmla="*/ 9247 w 122064"/>
                <a:gd name="connsiteY7" fmla="*/ 66943 h 110842"/>
                <a:gd name="connsiteX8" fmla="*/ -8 w 122064"/>
                <a:gd name="connsiteY8" fmla="*/ 81482 h 110842"/>
                <a:gd name="connsiteX9" fmla="*/ 8922 w 122064"/>
                <a:gd name="connsiteY9" fmla="*/ 95420 h 110842"/>
                <a:gd name="connsiteX10" fmla="*/ 21464 w 122064"/>
                <a:gd name="connsiteY10" fmla="*/ 109257 h 110842"/>
                <a:gd name="connsiteX11" fmla="*/ 64571 w 122064"/>
                <a:gd name="connsiteY11" fmla="*/ 104177 h 110842"/>
                <a:gd name="connsiteX12" fmla="*/ 122005 w 122064"/>
                <a:gd name="connsiteY12" fmla="*/ 86496 h 110842"/>
                <a:gd name="connsiteX13" fmla="*/ 101710 w 122064"/>
                <a:gd name="connsiteY13" fmla="*/ 44115 h 11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064" h="110842">
                  <a:moveTo>
                    <a:pt x="101588" y="44115"/>
                  </a:moveTo>
                  <a:cubicBezTo>
                    <a:pt x="96353" y="37129"/>
                    <a:pt x="99194" y="27804"/>
                    <a:pt x="99640" y="20350"/>
                  </a:cubicBezTo>
                  <a:cubicBezTo>
                    <a:pt x="100087" y="12897"/>
                    <a:pt x="88316" y="7416"/>
                    <a:pt x="85556" y="-339"/>
                  </a:cubicBezTo>
                  <a:cubicBezTo>
                    <a:pt x="78696" y="1767"/>
                    <a:pt x="82917" y="4407"/>
                    <a:pt x="75530" y="3505"/>
                  </a:cubicBezTo>
                  <a:cubicBezTo>
                    <a:pt x="69442" y="2940"/>
                    <a:pt x="63272" y="2730"/>
                    <a:pt x="57143" y="2870"/>
                  </a:cubicBezTo>
                  <a:cubicBezTo>
                    <a:pt x="41557" y="2529"/>
                    <a:pt x="25970" y="3244"/>
                    <a:pt x="10546" y="5009"/>
                  </a:cubicBezTo>
                  <a:cubicBezTo>
                    <a:pt x="-2605" y="6814"/>
                    <a:pt x="19192" y="45585"/>
                    <a:pt x="19638" y="52504"/>
                  </a:cubicBezTo>
                  <a:cubicBezTo>
                    <a:pt x="19881" y="56281"/>
                    <a:pt x="10830" y="62531"/>
                    <a:pt x="9247" y="66943"/>
                  </a:cubicBezTo>
                  <a:cubicBezTo>
                    <a:pt x="7420" y="71856"/>
                    <a:pt x="682" y="76536"/>
                    <a:pt x="-8" y="81482"/>
                  </a:cubicBezTo>
                  <a:cubicBezTo>
                    <a:pt x="-698" y="86429"/>
                    <a:pt x="5675" y="91743"/>
                    <a:pt x="8922" y="95420"/>
                  </a:cubicBezTo>
                  <a:cubicBezTo>
                    <a:pt x="14320" y="101503"/>
                    <a:pt x="11114" y="107586"/>
                    <a:pt x="21464" y="109257"/>
                  </a:cubicBezTo>
                  <a:cubicBezTo>
                    <a:pt x="39730" y="112232"/>
                    <a:pt x="46955" y="109625"/>
                    <a:pt x="64571" y="104177"/>
                  </a:cubicBezTo>
                  <a:cubicBezTo>
                    <a:pt x="83445" y="98294"/>
                    <a:pt x="103821" y="92980"/>
                    <a:pt x="122005" y="86496"/>
                  </a:cubicBezTo>
                  <a:cubicBezTo>
                    <a:pt x="109301" y="73126"/>
                    <a:pt x="111980" y="57952"/>
                    <a:pt x="101710" y="44115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DFE24234-EF4F-4ACA-BABF-19EDAEA5CB4E}"/>
                </a:ext>
              </a:extLst>
            </p:cNvPr>
            <p:cNvSpPr/>
            <p:nvPr/>
          </p:nvSpPr>
          <p:spPr>
            <a:xfrm>
              <a:off x="8012039" y="5197465"/>
              <a:ext cx="56082" cy="48441"/>
            </a:xfrm>
            <a:custGeom>
              <a:avLst/>
              <a:gdLst>
                <a:gd name="connsiteX0" fmla="*/ 26706 w 57559"/>
                <a:gd name="connsiteY0" fmla="*/ -162 h 66327"/>
                <a:gd name="connsiteX1" fmla="*/ 647 w 57559"/>
                <a:gd name="connsiteY1" fmla="*/ 38209 h 66327"/>
                <a:gd name="connsiteX2" fmla="*/ 34986 w 57559"/>
                <a:gd name="connsiteY2" fmla="*/ 64246 h 66327"/>
                <a:gd name="connsiteX3" fmla="*/ 53739 w 57559"/>
                <a:gd name="connsiteY3" fmla="*/ 30822 h 66327"/>
                <a:gd name="connsiteX4" fmla="*/ 26706 w 57559"/>
                <a:gd name="connsiteY4" fmla="*/ -162 h 6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59" h="66327">
                  <a:moveTo>
                    <a:pt x="26706" y="-162"/>
                  </a:moveTo>
                  <a:cubicBezTo>
                    <a:pt x="10227" y="-3136"/>
                    <a:pt x="2109" y="32259"/>
                    <a:pt x="647" y="38209"/>
                  </a:cubicBezTo>
                  <a:cubicBezTo>
                    <a:pt x="-2762" y="52547"/>
                    <a:pt x="5762" y="71933"/>
                    <a:pt x="34986" y="64246"/>
                  </a:cubicBezTo>
                  <a:cubicBezTo>
                    <a:pt x="57189" y="58463"/>
                    <a:pt x="61938" y="46163"/>
                    <a:pt x="53739" y="30822"/>
                  </a:cubicBezTo>
                  <a:cubicBezTo>
                    <a:pt x="50735" y="25140"/>
                    <a:pt x="38477" y="1944"/>
                    <a:pt x="26706" y="-16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85FD67A4-26A7-46F4-A5C5-D9947483C649}"/>
                </a:ext>
              </a:extLst>
            </p:cNvPr>
            <p:cNvSpPr/>
            <p:nvPr/>
          </p:nvSpPr>
          <p:spPr>
            <a:xfrm>
              <a:off x="5886002" y="4968978"/>
              <a:ext cx="333057" cy="118991"/>
            </a:xfrm>
            <a:custGeom>
              <a:avLst/>
              <a:gdLst>
                <a:gd name="connsiteX0" fmla="*/ 210355 w 341831"/>
                <a:gd name="connsiteY0" fmla="*/ 117663 h 162926"/>
                <a:gd name="connsiteX1" fmla="*/ 231543 w 341831"/>
                <a:gd name="connsiteY1" fmla="*/ 115557 h 162926"/>
                <a:gd name="connsiteX2" fmla="*/ 249484 w 341831"/>
                <a:gd name="connsiteY2" fmla="*/ 126420 h 162926"/>
                <a:gd name="connsiteX3" fmla="*/ 280454 w 341831"/>
                <a:gd name="connsiteY3" fmla="*/ 92562 h 162926"/>
                <a:gd name="connsiteX4" fmla="*/ 294660 w 341831"/>
                <a:gd name="connsiteY4" fmla="*/ 80997 h 162926"/>
                <a:gd name="connsiteX5" fmla="*/ 305132 w 341831"/>
                <a:gd name="connsiteY5" fmla="*/ 60943 h 162926"/>
                <a:gd name="connsiteX6" fmla="*/ 334073 w 341831"/>
                <a:gd name="connsiteY6" fmla="*/ 40354 h 162926"/>
                <a:gd name="connsiteX7" fmla="*/ 332895 w 341831"/>
                <a:gd name="connsiteY7" fmla="*/ 24712 h 162926"/>
                <a:gd name="connsiteX8" fmla="*/ 326523 w 341831"/>
                <a:gd name="connsiteY8" fmla="*/ 17091 h 162926"/>
                <a:gd name="connsiteX9" fmla="*/ 320231 w 341831"/>
                <a:gd name="connsiteY9" fmla="*/ 5794 h 162926"/>
                <a:gd name="connsiteX10" fmla="*/ 299003 w 341831"/>
                <a:gd name="connsiteY10" fmla="*/ 3287 h 162926"/>
                <a:gd name="connsiteX11" fmla="*/ 266531 w 341831"/>
                <a:gd name="connsiteY11" fmla="*/ 8167 h 162926"/>
                <a:gd name="connsiteX12" fmla="*/ 234344 w 341831"/>
                <a:gd name="connsiteY12" fmla="*/ 6262 h 162926"/>
                <a:gd name="connsiteX13" fmla="*/ 218676 w 341831"/>
                <a:gd name="connsiteY13" fmla="*/ 6997 h 162926"/>
                <a:gd name="connsiteX14" fmla="*/ 198137 w 341831"/>
                <a:gd name="connsiteY14" fmla="*/ 15253 h 162926"/>
                <a:gd name="connsiteX15" fmla="*/ 134412 w 341831"/>
                <a:gd name="connsiteY15" fmla="*/ 9972 h 162926"/>
                <a:gd name="connsiteX16" fmla="*/ 111113 w 341831"/>
                <a:gd name="connsiteY16" fmla="*/ 3287 h 162926"/>
                <a:gd name="connsiteX17" fmla="*/ 77099 w 341831"/>
                <a:gd name="connsiteY17" fmla="*/ 1315 h 162926"/>
                <a:gd name="connsiteX18" fmla="*/ 47793 w 341831"/>
                <a:gd name="connsiteY18" fmla="*/ 2953 h 162926"/>
                <a:gd name="connsiteX19" fmla="*/ 37199 w 341831"/>
                <a:gd name="connsiteY19" fmla="*/ 17826 h 162926"/>
                <a:gd name="connsiteX20" fmla="*/ 26889 w 341831"/>
                <a:gd name="connsiteY20" fmla="*/ 55328 h 162926"/>
                <a:gd name="connsiteX21" fmla="*/ 5823 w 341831"/>
                <a:gd name="connsiteY21" fmla="*/ 84172 h 162926"/>
                <a:gd name="connsiteX22" fmla="*/ 15037 w 341831"/>
                <a:gd name="connsiteY22" fmla="*/ 126988 h 162926"/>
                <a:gd name="connsiteX23" fmla="*/ 79981 w 341831"/>
                <a:gd name="connsiteY23" fmla="*/ 143031 h 162926"/>
                <a:gd name="connsiteX24" fmla="*/ 94390 w 341831"/>
                <a:gd name="connsiteY24" fmla="*/ 160545 h 162926"/>
                <a:gd name="connsiteX25" fmla="*/ 127430 w 341831"/>
                <a:gd name="connsiteY25" fmla="*/ 158105 h 162926"/>
                <a:gd name="connsiteX26" fmla="*/ 158238 w 341831"/>
                <a:gd name="connsiteY26" fmla="*/ 156802 h 162926"/>
                <a:gd name="connsiteX27" fmla="*/ 176097 w 341831"/>
                <a:gd name="connsiteY27" fmla="*/ 142162 h 162926"/>
                <a:gd name="connsiteX28" fmla="*/ 204510 w 341831"/>
                <a:gd name="connsiteY28" fmla="*/ 120571 h 162926"/>
                <a:gd name="connsiteX29" fmla="*/ 210314 w 341831"/>
                <a:gd name="connsiteY29" fmla="*/ 117830 h 162926"/>
                <a:gd name="connsiteX30" fmla="*/ 210355 w 341831"/>
                <a:gd name="connsiteY30" fmla="*/ 117663 h 16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1831" h="162926">
                  <a:moveTo>
                    <a:pt x="210355" y="117663"/>
                  </a:moveTo>
                  <a:cubicBezTo>
                    <a:pt x="217336" y="116463"/>
                    <a:pt x="224440" y="115758"/>
                    <a:pt x="231543" y="115557"/>
                  </a:cubicBezTo>
                  <a:cubicBezTo>
                    <a:pt x="238890" y="116025"/>
                    <a:pt x="247779" y="126486"/>
                    <a:pt x="249484" y="126420"/>
                  </a:cubicBezTo>
                  <a:cubicBezTo>
                    <a:pt x="257602" y="126019"/>
                    <a:pt x="278180" y="97274"/>
                    <a:pt x="280454" y="92562"/>
                  </a:cubicBezTo>
                  <a:cubicBezTo>
                    <a:pt x="282402" y="88517"/>
                    <a:pt x="294619" y="84272"/>
                    <a:pt x="294660" y="80997"/>
                  </a:cubicBezTo>
                  <a:cubicBezTo>
                    <a:pt x="294660" y="73510"/>
                    <a:pt x="307527" y="68263"/>
                    <a:pt x="305132" y="60943"/>
                  </a:cubicBezTo>
                  <a:cubicBezTo>
                    <a:pt x="302332" y="52453"/>
                    <a:pt x="323113" y="42393"/>
                    <a:pt x="334073" y="40354"/>
                  </a:cubicBezTo>
                  <a:cubicBezTo>
                    <a:pt x="347954" y="37747"/>
                    <a:pt x="340242" y="27954"/>
                    <a:pt x="332895" y="24712"/>
                  </a:cubicBezTo>
                  <a:cubicBezTo>
                    <a:pt x="328065" y="22573"/>
                    <a:pt x="326117" y="20467"/>
                    <a:pt x="326523" y="17091"/>
                  </a:cubicBezTo>
                  <a:cubicBezTo>
                    <a:pt x="327416" y="9471"/>
                    <a:pt x="325752" y="11810"/>
                    <a:pt x="320231" y="5794"/>
                  </a:cubicBezTo>
                  <a:cubicBezTo>
                    <a:pt x="314711" y="-222"/>
                    <a:pt x="307689" y="-2696"/>
                    <a:pt x="299003" y="3287"/>
                  </a:cubicBezTo>
                  <a:cubicBezTo>
                    <a:pt x="288896" y="10239"/>
                    <a:pt x="281712" y="12345"/>
                    <a:pt x="266531" y="8167"/>
                  </a:cubicBezTo>
                  <a:cubicBezTo>
                    <a:pt x="256100" y="5293"/>
                    <a:pt x="245668" y="6061"/>
                    <a:pt x="234344" y="6262"/>
                  </a:cubicBezTo>
                  <a:cubicBezTo>
                    <a:pt x="229107" y="5881"/>
                    <a:pt x="223831" y="6128"/>
                    <a:pt x="218676" y="6997"/>
                  </a:cubicBezTo>
                  <a:cubicBezTo>
                    <a:pt x="211167" y="9270"/>
                    <a:pt x="206824" y="14350"/>
                    <a:pt x="198137" y="15253"/>
                  </a:cubicBezTo>
                  <a:cubicBezTo>
                    <a:pt x="172850" y="17826"/>
                    <a:pt x="158725" y="4089"/>
                    <a:pt x="134412" y="9972"/>
                  </a:cubicBezTo>
                  <a:cubicBezTo>
                    <a:pt x="117607" y="14050"/>
                    <a:pt x="121261" y="9805"/>
                    <a:pt x="111113" y="3287"/>
                  </a:cubicBezTo>
                  <a:cubicBezTo>
                    <a:pt x="105836" y="-55"/>
                    <a:pt x="82700" y="-1860"/>
                    <a:pt x="77099" y="1315"/>
                  </a:cubicBezTo>
                  <a:cubicBezTo>
                    <a:pt x="69346" y="5694"/>
                    <a:pt x="57494" y="1649"/>
                    <a:pt x="47793" y="2953"/>
                  </a:cubicBezTo>
                  <a:cubicBezTo>
                    <a:pt x="35251" y="4624"/>
                    <a:pt x="43734" y="13916"/>
                    <a:pt x="37199" y="17826"/>
                  </a:cubicBezTo>
                  <a:cubicBezTo>
                    <a:pt x="17838" y="29892"/>
                    <a:pt x="26077" y="40855"/>
                    <a:pt x="26889" y="55328"/>
                  </a:cubicBezTo>
                  <a:cubicBezTo>
                    <a:pt x="27620" y="67995"/>
                    <a:pt x="16295" y="74179"/>
                    <a:pt x="5823" y="84172"/>
                  </a:cubicBezTo>
                  <a:cubicBezTo>
                    <a:pt x="-3391" y="92963"/>
                    <a:pt x="-2822" y="121272"/>
                    <a:pt x="15037" y="126988"/>
                  </a:cubicBezTo>
                  <a:cubicBezTo>
                    <a:pt x="38336" y="134408"/>
                    <a:pt x="63745" y="126754"/>
                    <a:pt x="79981" y="143031"/>
                  </a:cubicBezTo>
                  <a:cubicBezTo>
                    <a:pt x="85947" y="149047"/>
                    <a:pt x="85014" y="155231"/>
                    <a:pt x="94390" y="160545"/>
                  </a:cubicBezTo>
                  <a:cubicBezTo>
                    <a:pt x="104497" y="166227"/>
                    <a:pt x="116268" y="158272"/>
                    <a:pt x="127430" y="158105"/>
                  </a:cubicBezTo>
                  <a:cubicBezTo>
                    <a:pt x="137740" y="158222"/>
                    <a:pt x="148009" y="157788"/>
                    <a:pt x="158238" y="156802"/>
                  </a:cubicBezTo>
                  <a:cubicBezTo>
                    <a:pt x="172241" y="155064"/>
                    <a:pt x="173013" y="150317"/>
                    <a:pt x="176097" y="142162"/>
                  </a:cubicBezTo>
                  <a:cubicBezTo>
                    <a:pt x="179629" y="132837"/>
                    <a:pt x="192942" y="127021"/>
                    <a:pt x="204510" y="120571"/>
                  </a:cubicBezTo>
                  <a:cubicBezTo>
                    <a:pt x="206255" y="119384"/>
                    <a:pt x="208204" y="118458"/>
                    <a:pt x="210314" y="117830"/>
                  </a:cubicBezTo>
                  <a:cubicBezTo>
                    <a:pt x="213927" y="117161"/>
                    <a:pt x="207148" y="118197"/>
                    <a:pt x="210355" y="11766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9E6450DD-C5EE-409B-936D-8CE87CC1D122}"/>
                </a:ext>
              </a:extLst>
            </p:cNvPr>
            <p:cNvSpPr/>
            <p:nvPr/>
          </p:nvSpPr>
          <p:spPr>
            <a:xfrm>
              <a:off x="6241258" y="5432008"/>
              <a:ext cx="400699" cy="166725"/>
            </a:xfrm>
            <a:custGeom>
              <a:avLst/>
              <a:gdLst>
                <a:gd name="connsiteX0" fmla="*/ 391997 w 411255"/>
                <a:gd name="connsiteY0" fmla="*/ 94083 h 228285"/>
                <a:gd name="connsiteX1" fmla="*/ 377953 w 411255"/>
                <a:gd name="connsiteY1" fmla="*/ 99865 h 228285"/>
                <a:gd name="connsiteX2" fmla="*/ 359647 w 411255"/>
                <a:gd name="connsiteY2" fmla="*/ 86496 h 228285"/>
                <a:gd name="connsiteX3" fmla="*/ 366994 w 411255"/>
                <a:gd name="connsiteY3" fmla="*/ 74831 h 228285"/>
                <a:gd name="connsiteX4" fmla="*/ 391023 w 411255"/>
                <a:gd name="connsiteY4" fmla="*/ 77337 h 228285"/>
                <a:gd name="connsiteX5" fmla="*/ 395082 w 411255"/>
                <a:gd name="connsiteY5" fmla="*/ 51033 h 228285"/>
                <a:gd name="connsiteX6" fmla="*/ 383636 w 411255"/>
                <a:gd name="connsiteY6" fmla="*/ 24863 h 228285"/>
                <a:gd name="connsiteX7" fmla="*/ 362245 w 411255"/>
                <a:gd name="connsiteY7" fmla="*/ 7081 h 228285"/>
                <a:gd name="connsiteX8" fmla="*/ 324862 w 411255"/>
                <a:gd name="connsiteY8" fmla="*/ -339 h 228285"/>
                <a:gd name="connsiteX9" fmla="*/ 296164 w 411255"/>
                <a:gd name="connsiteY9" fmla="*/ 15304 h 228285"/>
                <a:gd name="connsiteX10" fmla="*/ 272703 w 411255"/>
                <a:gd name="connsiteY10" fmla="*/ 22289 h 228285"/>
                <a:gd name="connsiteX11" fmla="*/ 260039 w 411255"/>
                <a:gd name="connsiteY11" fmla="*/ 37764 h 228285"/>
                <a:gd name="connsiteX12" fmla="*/ 237878 w 411255"/>
                <a:gd name="connsiteY12" fmla="*/ 42209 h 228285"/>
                <a:gd name="connsiteX13" fmla="*/ 230044 w 411255"/>
                <a:gd name="connsiteY13" fmla="*/ 56448 h 228285"/>
                <a:gd name="connsiteX14" fmla="*/ 186491 w 411255"/>
                <a:gd name="connsiteY14" fmla="*/ 57016 h 228285"/>
                <a:gd name="connsiteX15" fmla="*/ 158809 w 411255"/>
                <a:gd name="connsiteY15" fmla="*/ 60793 h 228285"/>
                <a:gd name="connsiteX16" fmla="*/ 125078 w 411255"/>
                <a:gd name="connsiteY16" fmla="*/ 79343 h 228285"/>
                <a:gd name="connsiteX17" fmla="*/ 104784 w 411255"/>
                <a:gd name="connsiteY17" fmla="*/ 76836 h 228285"/>
                <a:gd name="connsiteX18" fmla="*/ 107828 w 411255"/>
                <a:gd name="connsiteY18" fmla="*/ 67778 h 228285"/>
                <a:gd name="connsiteX19" fmla="*/ 90537 w 411255"/>
                <a:gd name="connsiteY19" fmla="*/ 41040 h 228285"/>
                <a:gd name="connsiteX20" fmla="*/ 88304 w 411255"/>
                <a:gd name="connsiteY20" fmla="*/ 92178 h 228285"/>
                <a:gd name="connsiteX21" fmla="*/ 73165 w 411255"/>
                <a:gd name="connsiteY21" fmla="*/ 112499 h 228285"/>
                <a:gd name="connsiteX22" fmla="*/ 30789 w 411255"/>
                <a:gd name="connsiteY22" fmla="*/ 110661 h 228285"/>
                <a:gd name="connsiteX23" fmla="*/ 18084 w 411255"/>
                <a:gd name="connsiteY23" fmla="*/ 99665 h 228285"/>
                <a:gd name="connsiteX24" fmla="*/ -60 w 411255"/>
                <a:gd name="connsiteY24" fmla="*/ 107553 h 228285"/>
                <a:gd name="connsiteX25" fmla="*/ 20479 w 411255"/>
                <a:gd name="connsiteY25" fmla="*/ 139606 h 228285"/>
                <a:gd name="connsiteX26" fmla="*/ 39921 w 411255"/>
                <a:gd name="connsiteY26" fmla="*/ 166612 h 228285"/>
                <a:gd name="connsiteX27" fmla="*/ 44995 w 411255"/>
                <a:gd name="connsiteY27" fmla="*/ 178277 h 228285"/>
                <a:gd name="connsiteX28" fmla="*/ 37121 w 411255"/>
                <a:gd name="connsiteY28" fmla="*/ 186131 h 228285"/>
                <a:gd name="connsiteX29" fmla="*/ 44954 w 411255"/>
                <a:gd name="connsiteY29" fmla="*/ 210798 h 228285"/>
                <a:gd name="connsiteX30" fmla="*/ 67725 w 411255"/>
                <a:gd name="connsiteY30" fmla="*/ 222797 h 228285"/>
                <a:gd name="connsiteX31" fmla="*/ 96138 w 411255"/>
                <a:gd name="connsiteY31" fmla="*/ 222563 h 228285"/>
                <a:gd name="connsiteX32" fmla="*/ 134292 w 411255"/>
                <a:gd name="connsiteY32" fmla="*/ 217483 h 228285"/>
                <a:gd name="connsiteX33" fmla="*/ 186044 w 411255"/>
                <a:gd name="connsiteY33" fmla="*/ 218753 h 228285"/>
                <a:gd name="connsiteX34" fmla="*/ 202646 w 411255"/>
                <a:gd name="connsiteY34" fmla="*/ 216413 h 228285"/>
                <a:gd name="connsiteX35" fmla="*/ 217014 w 411255"/>
                <a:gd name="connsiteY35" fmla="*/ 217048 h 228285"/>
                <a:gd name="connsiteX36" fmla="*/ 223712 w 411255"/>
                <a:gd name="connsiteY36" fmla="*/ 210932 h 228285"/>
                <a:gd name="connsiteX37" fmla="*/ 242870 w 411255"/>
                <a:gd name="connsiteY37" fmla="*/ 210932 h 228285"/>
                <a:gd name="connsiteX38" fmla="*/ 312563 w 411255"/>
                <a:gd name="connsiteY38" fmla="*/ 179514 h 228285"/>
                <a:gd name="connsiteX39" fmla="*/ 365654 w 411255"/>
                <a:gd name="connsiteY39" fmla="*/ 138904 h 228285"/>
                <a:gd name="connsiteX40" fmla="*/ 396178 w 411255"/>
                <a:gd name="connsiteY40" fmla="*/ 121356 h 228285"/>
                <a:gd name="connsiteX41" fmla="*/ 411196 w 411255"/>
                <a:gd name="connsiteY41" fmla="*/ 94283 h 228285"/>
                <a:gd name="connsiteX42" fmla="*/ 391997 w 411255"/>
                <a:gd name="connsiteY42" fmla="*/ 94083 h 228285"/>
                <a:gd name="connsiteX43" fmla="*/ 308463 w 411255"/>
                <a:gd name="connsiteY43" fmla="*/ 145154 h 228285"/>
                <a:gd name="connsiteX44" fmla="*/ 294135 w 411255"/>
                <a:gd name="connsiteY44" fmla="*/ 145956 h 228285"/>
                <a:gd name="connsiteX45" fmla="*/ 279847 w 411255"/>
                <a:gd name="connsiteY45" fmla="*/ 155081 h 228285"/>
                <a:gd name="connsiteX46" fmla="*/ 261622 w 411255"/>
                <a:gd name="connsiteY46" fmla="*/ 138803 h 228285"/>
                <a:gd name="connsiteX47" fmla="*/ 298438 w 411255"/>
                <a:gd name="connsiteY47" fmla="*/ 118081 h 228285"/>
                <a:gd name="connsiteX48" fmla="*/ 315283 w 411255"/>
                <a:gd name="connsiteY48" fmla="*/ 129111 h 228285"/>
                <a:gd name="connsiteX49" fmla="*/ 308463 w 411255"/>
                <a:gd name="connsiteY49" fmla="*/ 145154 h 22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11255" h="228285">
                  <a:moveTo>
                    <a:pt x="391997" y="94083"/>
                  </a:moveTo>
                  <a:cubicBezTo>
                    <a:pt x="389074" y="91576"/>
                    <a:pt x="386720" y="100233"/>
                    <a:pt x="377953" y="99865"/>
                  </a:cubicBezTo>
                  <a:cubicBezTo>
                    <a:pt x="366750" y="99397"/>
                    <a:pt x="362732" y="93180"/>
                    <a:pt x="359647" y="86496"/>
                  </a:cubicBezTo>
                  <a:cubicBezTo>
                    <a:pt x="357090" y="81148"/>
                    <a:pt x="361108" y="78374"/>
                    <a:pt x="366994" y="74831"/>
                  </a:cubicBezTo>
                  <a:cubicBezTo>
                    <a:pt x="376289" y="69216"/>
                    <a:pt x="382012" y="72458"/>
                    <a:pt x="391023" y="77337"/>
                  </a:cubicBezTo>
                  <a:cubicBezTo>
                    <a:pt x="391023" y="68514"/>
                    <a:pt x="395082" y="59924"/>
                    <a:pt x="395082" y="51033"/>
                  </a:cubicBezTo>
                  <a:cubicBezTo>
                    <a:pt x="395082" y="42143"/>
                    <a:pt x="386071" y="33653"/>
                    <a:pt x="383636" y="24863"/>
                  </a:cubicBezTo>
                  <a:cubicBezTo>
                    <a:pt x="380186" y="12362"/>
                    <a:pt x="382093" y="9421"/>
                    <a:pt x="362245" y="7081"/>
                  </a:cubicBezTo>
                  <a:cubicBezTo>
                    <a:pt x="357902" y="6580"/>
                    <a:pt x="324862" y="-71"/>
                    <a:pt x="324862" y="-339"/>
                  </a:cubicBezTo>
                  <a:cubicBezTo>
                    <a:pt x="315566" y="7482"/>
                    <a:pt x="305013" y="8418"/>
                    <a:pt x="296164" y="15304"/>
                  </a:cubicBezTo>
                  <a:cubicBezTo>
                    <a:pt x="289346" y="20618"/>
                    <a:pt x="279929" y="18646"/>
                    <a:pt x="272703" y="22289"/>
                  </a:cubicBezTo>
                  <a:cubicBezTo>
                    <a:pt x="264585" y="26266"/>
                    <a:pt x="267711" y="33686"/>
                    <a:pt x="260039" y="37764"/>
                  </a:cubicBezTo>
                  <a:cubicBezTo>
                    <a:pt x="252368" y="41842"/>
                    <a:pt x="245265" y="39870"/>
                    <a:pt x="237878" y="42209"/>
                  </a:cubicBezTo>
                  <a:cubicBezTo>
                    <a:pt x="231911" y="44081"/>
                    <a:pt x="232844" y="52905"/>
                    <a:pt x="230044" y="56448"/>
                  </a:cubicBezTo>
                  <a:cubicBezTo>
                    <a:pt x="223671" y="64403"/>
                    <a:pt x="195867" y="60893"/>
                    <a:pt x="186491" y="57016"/>
                  </a:cubicBezTo>
                  <a:cubicBezTo>
                    <a:pt x="173218" y="51434"/>
                    <a:pt x="161894" y="46989"/>
                    <a:pt x="158809" y="60793"/>
                  </a:cubicBezTo>
                  <a:cubicBezTo>
                    <a:pt x="157348" y="67210"/>
                    <a:pt x="134455" y="79644"/>
                    <a:pt x="125078" y="79343"/>
                  </a:cubicBezTo>
                  <a:cubicBezTo>
                    <a:pt x="121019" y="79343"/>
                    <a:pt x="107950" y="78942"/>
                    <a:pt x="104784" y="76836"/>
                  </a:cubicBezTo>
                  <a:cubicBezTo>
                    <a:pt x="101618" y="74731"/>
                    <a:pt x="104297" y="68848"/>
                    <a:pt x="107828" y="67778"/>
                  </a:cubicBezTo>
                  <a:cubicBezTo>
                    <a:pt x="120492" y="64035"/>
                    <a:pt x="98452" y="43179"/>
                    <a:pt x="90537" y="41040"/>
                  </a:cubicBezTo>
                  <a:cubicBezTo>
                    <a:pt x="89766" y="58085"/>
                    <a:pt x="88995" y="75132"/>
                    <a:pt x="88304" y="92178"/>
                  </a:cubicBezTo>
                  <a:cubicBezTo>
                    <a:pt x="87817" y="103575"/>
                    <a:pt x="87330" y="105848"/>
                    <a:pt x="73165" y="112499"/>
                  </a:cubicBezTo>
                  <a:cubicBezTo>
                    <a:pt x="65574" y="116042"/>
                    <a:pt x="36065" y="117212"/>
                    <a:pt x="30789" y="110661"/>
                  </a:cubicBezTo>
                  <a:cubicBezTo>
                    <a:pt x="28231" y="107319"/>
                    <a:pt x="27055" y="97292"/>
                    <a:pt x="18084" y="99665"/>
                  </a:cubicBezTo>
                  <a:cubicBezTo>
                    <a:pt x="7166" y="102740"/>
                    <a:pt x="14471" y="108756"/>
                    <a:pt x="-60" y="107553"/>
                  </a:cubicBezTo>
                  <a:cubicBezTo>
                    <a:pt x="8221" y="117546"/>
                    <a:pt x="15121" y="128308"/>
                    <a:pt x="20479" y="139606"/>
                  </a:cubicBezTo>
                  <a:cubicBezTo>
                    <a:pt x="25634" y="149065"/>
                    <a:pt x="34198" y="157354"/>
                    <a:pt x="39921" y="166612"/>
                  </a:cubicBezTo>
                  <a:cubicBezTo>
                    <a:pt x="42154" y="170322"/>
                    <a:pt x="43859" y="174232"/>
                    <a:pt x="44995" y="178277"/>
                  </a:cubicBezTo>
                  <a:cubicBezTo>
                    <a:pt x="46781" y="184694"/>
                    <a:pt x="43047" y="183391"/>
                    <a:pt x="37121" y="186131"/>
                  </a:cubicBezTo>
                  <a:cubicBezTo>
                    <a:pt x="29977" y="189474"/>
                    <a:pt x="44589" y="205484"/>
                    <a:pt x="44954" y="210798"/>
                  </a:cubicBezTo>
                  <a:cubicBezTo>
                    <a:pt x="45320" y="216112"/>
                    <a:pt x="63220" y="219020"/>
                    <a:pt x="67725" y="222797"/>
                  </a:cubicBezTo>
                  <a:cubicBezTo>
                    <a:pt x="79902" y="233158"/>
                    <a:pt x="82257" y="225103"/>
                    <a:pt x="96138" y="222563"/>
                  </a:cubicBezTo>
                  <a:cubicBezTo>
                    <a:pt x="110020" y="220023"/>
                    <a:pt x="121141" y="221728"/>
                    <a:pt x="134292" y="217483"/>
                  </a:cubicBezTo>
                  <a:cubicBezTo>
                    <a:pt x="152315" y="211634"/>
                    <a:pt x="168185" y="217182"/>
                    <a:pt x="186044" y="218753"/>
                  </a:cubicBezTo>
                  <a:cubicBezTo>
                    <a:pt x="191727" y="219221"/>
                    <a:pt x="197491" y="218419"/>
                    <a:pt x="202646" y="216413"/>
                  </a:cubicBezTo>
                  <a:cubicBezTo>
                    <a:pt x="207273" y="214642"/>
                    <a:pt x="212834" y="218920"/>
                    <a:pt x="217014" y="217048"/>
                  </a:cubicBezTo>
                  <a:cubicBezTo>
                    <a:pt x="221195" y="215176"/>
                    <a:pt x="218151" y="211968"/>
                    <a:pt x="223712" y="210932"/>
                  </a:cubicBezTo>
                  <a:cubicBezTo>
                    <a:pt x="230044" y="209762"/>
                    <a:pt x="236538" y="211701"/>
                    <a:pt x="242870" y="210932"/>
                  </a:cubicBezTo>
                  <a:cubicBezTo>
                    <a:pt x="269294" y="208024"/>
                    <a:pt x="294135" y="191680"/>
                    <a:pt x="312563" y="179514"/>
                  </a:cubicBezTo>
                  <a:cubicBezTo>
                    <a:pt x="331802" y="166712"/>
                    <a:pt x="347389" y="152206"/>
                    <a:pt x="365654" y="138904"/>
                  </a:cubicBezTo>
                  <a:cubicBezTo>
                    <a:pt x="375233" y="132353"/>
                    <a:pt x="385421" y="126504"/>
                    <a:pt x="396178" y="121356"/>
                  </a:cubicBezTo>
                  <a:cubicBezTo>
                    <a:pt x="406528" y="116109"/>
                    <a:pt x="408882" y="102205"/>
                    <a:pt x="411196" y="94283"/>
                  </a:cubicBezTo>
                  <a:cubicBezTo>
                    <a:pt x="404823" y="93849"/>
                    <a:pt x="398410" y="93782"/>
                    <a:pt x="391997" y="94083"/>
                  </a:cubicBezTo>
                  <a:close/>
                  <a:moveTo>
                    <a:pt x="308463" y="145154"/>
                  </a:moveTo>
                  <a:cubicBezTo>
                    <a:pt x="308179" y="148296"/>
                    <a:pt x="296936" y="145421"/>
                    <a:pt x="294135" y="145956"/>
                  </a:cubicBezTo>
                  <a:cubicBezTo>
                    <a:pt x="284678" y="147828"/>
                    <a:pt x="291091" y="156819"/>
                    <a:pt x="279847" y="155081"/>
                  </a:cubicBezTo>
                  <a:cubicBezTo>
                    <a:pt x="274327" y="154245"/>
                    <a:pt x="258335" y="141511"/>
                    <a:pt x="261622" y="138803"/>
                  </a:cubicBezTo>
                  <a:cubicBezTo>
                    <a:pt x="271527" y="130682"/>
                    <a:pt x="280172" y="118281"/>
                    <a:pt x="298438" y="118081"/>
                  </a:cubicBezTo>
                  <a:cubicBezTo>
                    <a:pt x="304039" y="118081"/>
                    <a:pt x="311913" y="126337"/>
                    <a:pt x="315283" y="129111"/>
                  </a:cubicBezTo>
                  <a:cubicBezTo>
                    <a:pt x="323928" y="136330"/>
                    <a:pt x="308869" y="138503"/>
                    <a:pt x="308463" y="14515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B580FF73-EAEA-4A11-809D-6796F56A6027}"/>
                </a:ext>
              </a:extLst>
            </p:cNvPr>
            <p:cNvSpPr/>
            <p:nvPr/>
          </p:nvSpPr>
          <p:spPr>
            <a:xfrm>
              <a:off x="5489121" y="5051357"/>
              <a:ext cx="115337" cy="46761"/>
            </a:xfrm>
            <a:custGeom>
              <a:avLst/>
              <a:gdLst>
                <a:gd name="connsiteX0" fmla="*/ 96235 w 118376"/>
                <a:gd name="connsiteY0" fmla="*/ 35984 h 64026"/>
                <a:gd name="connsiteX1" fmla="*/ 88117 w 118376"/>
                <a:gd name="connsiteY1" fmla="*/ 19071 h 64026"/>
                <a:gd name="connsiteX2" fmla="*/ 64738 w 118376"/>
                <a:gd name="connsiteY2" fmla="*/ 20141 h 64026"/>
                <a:gd name="connsiteX3" fmla="*/ 47650 w 118376"/>
                <a:gd name="connsiteY3" fmla="*/ -315 h 64026"/>
                <a:gd name="connsiteX4" fmla="*/ 27355 w 118376"/>
                <a:gd name="connsiteY4" fmla="*/ 3362 h 64026"/>
                <a:gd name="connsiteX5" fmla="*/ 19237 w 118376"/>
                <a:gd name="connsiteY5" fmla="*/ 17266 h 64026"/>
                <a:gd name="connsiteX6" fmla="*/ 1174 w 118376"/>
                <a:gd name="connsiteY6" fmla="*/ 27628 h 64026"/>
                <a:gd name="connsiteX7" fmla="*/ 21672 w 118376"/>
                <a:gd name="connsiteY7" fmla="*/ 38356 h 64026"/>
                <a:gd name="connsiteX8" fmla="*/ 77280 w 118376"/>
                <a:gd name="connsiteY8" fmla="*/ 56505 h 64026"/>
                <a:gd name="connsiteX9" fmla="*/ 101350 w 118376"/>
                <a:gd name="connsiteY9" fmla="*/ 62756 h 64026"/>
                <a:gd name="connsiteX10" fmla="*/ 116165 w 118376"/>
                <a:gd name="connsiteY10" fmla="*/ 55269 h 64026"/>
                <a:gd name="connsiteX11" fmla="*/ 96317 w 118376"/>
                <a:gd name="connsiteY11" fmla="*/ 35984 h 64026"/>
                <a:gd name="connsiteX12" fmla="*/ 96235 w 118376"/>
                <a:gd name="connsiteY12" fmla="*/ 35984 h 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376" h="64026">
                  <a:moveTo>
                    <a:pt x="96235" y="35984"/>
                  </a:moveTo>
                  <a:cubicBezTo>
                    <a:pt x="79674" y="30937"/>
                    <a:pt x="91568" y="29867"/>
                    <a:pt x="88117" y="19071"/>
                  </a:cubicBezTo>
                  <a:cubicBezTo>
                    <a:pt x="83044" y="2928"/>
                    <a:pt x="76509" y="22046"/>
                    <a:pt x="64738" y="20141"/>
                  </a:cubicBezTo>
                  <a:cubicBezTo>
                    <a:pt x="53738" y="18403"/>
                    <a:pt x="59055" y="-1117"/>
                    <a:pt x="47650" y="-315"/>
                  </a:cubicBezTo>
                  <a:cubicBezTo>
                    <a:pt x="40790" y="471"/>
                    <a:pt x="34011" y="1701"/>
                    <a:pt x="27355" y="3362"/>
                  </a:cubicBezTo>
                  <a:cubicBezTo>
                    <a:pt x="30236" y="7908"/>
                    <a:pt x="24838" y="14091"/>
                    <a:pt x="19237" y="17266"/>
                  </a:cubicBezTo>
                  <a:cubicBezTo>
                    <a:pt x="13635" y="20441"/>
                    <a:pt x="5152" y="23316"/>
                    <a:pt x="1174" y="27628"/>
                  </a:cubicBezTo>
                  <a:cubicBezTo>
                    <a:pt x="-4914" y="34312"/>
                    <a:pt x="13067" y="35716"/>
                    <a:pt x="21672" y="38356"/>
                  </a:cubicBezTo>
                  <a:cubicBezTo>
                    <a:pt x="40465" y="44172"/>
                    <a:pt x="58203" y="50924"/>
                    <a:pt x="77280" y="56505"/>
                  </a:cubicBezTo>
                  <a:cubicBezTo>
                    <a:pt x="85114" y="58812"/>
                    <a:pt x="93069" y="61051"/>
                    <a:pt x="101350" y="62756"/>
                  </a:cubicBezTo>
                  <a:cubicBezTo>
                    <a:pt x="114866" y="65496"/>
                    <a:pt x="112471" y="61953"/>
                    <a:pt x="116165" y="55269"/>
                  </a:cubicBezTo>
                  <a:cubicBezTo>
                    <a:pt x="122943" y="43002"/>
                    <a:pt x="112999" y="41031"/>
                    <a:pt x="96317" y="35984"/>
                  </a:cubicBezTo>
                  <a:cubicBezTo>
                    <a:pt x="87062" y="33176"/>
                    <a:pt x="105449" y="38758"/>
                    <a:pt x="96235" y="3598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BD0C8756-88B1-4246-B250-430014AE6D38}"/>
                </a:ext>
              </a:extLst>
            </p:cNvPr>
            <p:cNvSpPr/>
            <p:nvPr/>
          </p:nvSpPr>
          <p:spPr>
            <a:xfrm>
              <a:off x="6831391" y="4710091"/>
              <a:ext cx="44236" cy="21900"/>
            </a:xfrm>
            <a:custGeom>
              <a:avLst/>
              <a:gdLst>
                <a:gd name="connsiteX0" fmla="*/ 40165 w 45401"/>
                <a:gd name="connsiteY0" fmla="*/ 13800 h 29986"/>
                <a:gd name="connsiteX1" fmla="*/ 33914 w 45401"/>
                <a:gd name="connsiteY1" fmla="*/ 129 h 29986"/>
                <a:gd name="connsiteX2" fmla="*/ 22305 w 45401"/>
                <a:gd name="connsiteY2" fmla="*/ 6814 h 29986"/>
                <a:gd name="connsiteX3" fmla="*/ -60 w 45401"/>
                <a:gd name="connsiteY3" fmla="*/ 24997 h 29986"/>
                <a:gd name="connsiteX4" fmla="*/ 14147 w 45401"/>
                <a:gd name="connsiteY4" fmla="*/ 29643 h 29986"/>
                <a:gd name="connsiteX5" fmla="*/ 40165 w 45401"/>
                <a:gd name="connsiteY5" fmla="*/ 13800 h 2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01" h="29986">
                  <a:moveTo>
                    <a:pt x="40165" y="13800"/>
                  </a:moveTo>
                  <a:cubicBezTo>
                    <a:pt x="49988" y="10190"/>
                    <a:pt x="44670" y="2102"/>
                    <a:pt x="33914" y="129"/>
                  </a:cubicBezTo>
                  <a:cubicBezTo>
                    <a:pt x="23158" y="-1842"/>
                    <a:pt x="26689" y="2803"/>
                    <a:pt x="22305" y="6814"/>
                  </a:cubicBezTo>
                  <a:cubicBezTo>
                    <a:pt x="15527" y="13131"/>
                    <a:pt x="6557" y="18613"/>
                    <a:pt x="-60" y="24997"/>
                  </a:cubicBezTo>
                  <a:cubicBezTo>
                    <a:pt x="2741" y="25899"/>
                    <a:pt x="11265" y="29810"/>
                    <a:pt x="14147" y="29643"/>
                  </a:cubicBezTo>
                  <a:cubicBezTo>
                    <a:pt x="21656" y="23165"/>
                    <a:pt x="30464" y="17804"/>
                    <a:pt x="40165" y="1380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A448A2D4-FD3A-4C7B-86DD-041862C6E6ED}"/>
                </a:ext>
              </a:extLst>
            </p:cNvPr>
            <p:cNvSpPr/>
            <p:nvPr/>
          </p:nvSpPr>
          <p:spPr>
            <a:xfrm>
              <a:off x="8661662" y="5166025"/>
              <a:ext cx="183863" cy="184643"/>
            </a:xfrm>
            <a:custGeom>
              <a:avLst/>
              <a:gdLst>
                <a:gd name="connsiteX0" fmla="*/ 183940 w 188707"/>
                <a:gd name="connsiteY0" fmla="*/ 66917 h 252818"/>
                <a:gd name="connsiteX1" fmla="*/ 166161 w 188707"/>
                <a:gd name="connsiteY1" fmla="*/ 42552 h 252818"/>
                <a:gd name="connsiteX2" fmla="*/ 152198 w 188707"/>
                <a:gd name="connsiteY2" fmla="*/ 29851 h 252818"/>
                <a:gd name="connsiteX3" fmla="*/ 137262 w 188707"/>
                <a:gd name="connsiteY3" fmla="*/ 17150 h 252818"/>
                <a:gd name="connsiteX4" fmla="*/ 113191 w 188707"/>
                <a:gd name="connsiteY4" fmla="*/ 18754 h 252818"/>
                <a:gd name="connsiteX5" fmla="*/ 86930 w 188707"/>
                <a:gd name="connsiteY5" fmla="*/ 12872 h 252818"/>
                <a:gd name="connsiteX6" fmla="*/ 76945 w 188707"/>
                <a:gd name="connsiteY6" fmla="*/ 7423 h 252818"/>
                <a:gd name="connsiteX7" fmla="*/ 64768 w 188707"/>
                <a:gd name="connsiteY7" fmla="*/ 6120 h 252818"/>
                <a:gd name="connsiteX8" fmla="*/ 51495 w 188707"/>
                <a:gd name="connsiteY8" fmla="*/ 104 h 252818"/>
                <a:gd name="connsiteX9" fmla="*/ 37654 w 188707"/>
                <a:gd name="connsiteY9" fmla="*/ 705 h 252818"/>
                <a:gd name="connsiteX10" fmla="*/ 67893 w 188707"/>
                <a:gd name="connsiteY10" fmla="*/ 43387 h 252818"/>
                <a:gd name="connsiteX11" fmla="*/ 89771 w 188707"/>
                <a:gd name="connsiteY11" fmla="*/ 53748 h 252818"/>
                <a:gd name="connsiteX12" fmla="*/ 86362 w 188707"/>
                <a:gd name="connsiteY12" fmla="*/ 70059 h 252818"/>
                <a:gd name="connsiteX13" fmla="*/ 90055 w 188707"/>
                <a:gd name="connsiteY13" fmla="*/ 92319 h 252818"/>
                <a:gd name="connsiteX14" fmla="*/ 114897 w 188707"/>
                <a:gd name="connsiteY14" fmla="*/ 144728 h 252818"/>
                <a:gd name="connsiteX15" fmla="*/ 127682 w 188707"/>
                <a:gd name="connsiteY15" fmla="*/ 170731 h 252818"/>
                <a:gd name="connsiteX16" fmla="*/ 117982 w 188707"/>
                <a:gd name="connsiteY16" fmla="*/ 198673 h 252818"/>
                <a:gd name="connsiteX17" fmla="*/ 104221 w 188707"/>
                <a:gd name="connsiteY17" fmla="*/ 213848 h 252818"/>
                <a:gd name="connsiteX18" fmla="*/ 80598 w 188707"/>
                <a:gd name="connsiteY18" fmla="*/ 220064 h 252818"/>
                <a:gd name="connsiteX19" fmla="*/ 53646 w 188707"/>
                <a:gd name="connsiteY19" fmla="*/ 213380 h 252818"/>
                <a:gd name="connsiteX20" fmla="*/ 55432 w 188707"/>
                <a:gd name="connsiteY20" fmla="*/ 229323 h 252818"/>
                <a:gd name="connsiteX21" fmla="*/ 31078 w 188707"/>
                <a:gd name="connsiteY21" fmla="*/ 219630 h 252818"/>
                <a:gd name="connsiteX22" fmla="*/ 3924 w 188707"/>
                <a:gd name="connsiteY22" fmla="*/ 220398 h 252818"/>
                <a:gd name="connsiteX23" fmla="*/ 5142 w 188707"/>
                <a:gd name="connsiteY23" fmla="*/ 235673 h 252818"/>
                <a:gd name="connsiteX24" fmla="*/ 9201 w 188707"/>
                <a:gd name="connsiteY24" fmla="*/ 251850 h 252818"/>
                <a:gd name="connsiteX25" fmla="*/ 42565 w 188707"/>
                <a:gd name="connsiteY25" fmla="*/ 248875 h 252818"/>
                <a:gd name="connsiteX26" fmla="*/ 48695 w 188707"/>
                <a:gd name="connsiteY26" fmla="*/ 245533 h 252818"/>
                <a:gd name="connsiteX27" fmla="*/ 60222 w 188707"/>
                <a:gd name="connsiteY27" fmla="*/ 239684 h 252818"/>
                <a:gd name="connsiteX28" fmla="*/ 89406 w 188707"/>
                <a:gd name="connsiteY28" fmla="*/ 246369 h 252818"/>
                <a:gd name="connsiteX29" fmla="*/ 132796 w 188707"/>
                <a:gd name="connsiteY29" fmla="*/ 246369 h 252818"/>
                <a:gd name="connsiteX30" fmla="*/ 164497 w 188707"/>
                <a:gd name="connsiteY30" fmla="*/ 199910 h 252818"/>
                <a:gd name="connsiteX31" fmla="*/ 155689 w 188707"/>
                <a:gd name="connsiteY31" fmla="*/ 164180 h 252818"/>
                <a:gd name="connsiteX32" fmla="*/ 140630 w 188707"/>
                <a:gd name="connsiteY32" fmla="*/ 150811 h 252818"/>
                <a:gd name="connsiteX33" fmla="*/ 121919 w 188707"/>
                <a:gd name="connsiteY33" fmla="*/ 127815 h 252818"/>
                <a:gd name="connsiteX34" fmla="*/ 124557 w 188707"/>
                <a:gd name="connsiteY34" fmla="*/ 80822 h 252818"/>
                <a:gd name="connsiteX35" fmla="*/ 138722 w 188707"/>
                <a:gd name="connsiteY35" fmla="*/ 79752 h 252818"/>
                <a:gd name="connsiteX36" fmla="*/ 149073 w 188707"/>
                <a:gd name="connsiteY36" fmla="*/ 71630 h 252818"/>
                <a:gd name="connsiteX37" fmla="*/ 166649 w 188707"/>
                <a:gd name="connsiteY37" fmla="*/ 73402 h 252818"/>
                <a:gd name="connsiteX38" fmla="*/ 188648 w 188707"/>
                <a:gd name="connsiteY38" fmla="*/ 71262 h 252818"/>
                <a:gd name="connsiteX39" fmla="*/ 184223 w 188707"/>
                <a:gd name="connsiteY39" fmla="*/ 66616 h 252818"/>
                <a:gd name="connsiteX40" fmla="*/ 183940 w 188707"/>
                <a:gd name="connsiteY40" fmla="*/ 66917 h 2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88707" h="252818">
                  <a:moveTo>
                    <a:pt x="183940" y="66917"/>
                  </a:moveTo>
                  <a:cubicBezTo>
                    <a:pt x="172696" y="61803"/>
                    <a:pt x="157759" y="48000"/>
                    <a:pt x="166161" y="42552"/>
                  </a:cubicBezTo>
                  <a:cubicBezTo>
                    <a:pt x="173305" y="37939"/>
                    <a:pt x="158327" y="33160"/>
                    <a:pt x="152198" y="29851"/>
                  </a:cubicBezTo>
                  <a:cubicBezTo>
                    <a:pt x="147531" y="27344"/>
                    <a:pt x="141443" y="18320"/>
                    <a:pt x="137262" y="17150"/>
                  </a:cubicBezTo>
                  <a:cubicBezTo>
                    <a:pt x="129266" y="15388"/>
                    <a:pt x="120741" y="15956"/>
                    <a:pt x="113191" y="18754"/>
                  </a:cubicBezTo>
                  <a:cubicBezTo>
                    <a:pt x="110391" y="19924"/>
                    <a:pt x="90745" y="14242"/>
                    <a:pt x="86930" y="12872"/>
                  </a:cubicBezTo>
                  <a:cubicBezTo>
                    <a:pt x="83399" y="11331"/>
                    <a:pt x="80030" y="9506"/>
                    <a:pt x="76945" y="7423"/>
                  </a:cubicBezTo>
                  <a:cubicBezTo>
                    <a:pt x="70613" y="3747"/>
                    <a:pt x="70531" y="7423"/>
                    <a:pt x="64768" y="6120"/>
                  </a:cubicBezTo>
                  <a:cubicBezTo>
                    <a:pt x="59694" y="5050"/>
                    <a:pt x="56406" y="1440"/>
                    <a:pt x="51495" y="104"/>
                  </a:cubicBezTo>
                  <a:cubicBezTo>
                    <a:pt x="46584" y="-1233"/>
                    <a:pt x="41916" y="906"/>
                    <a:pt x="37654" y="705"/>
                  </a:cubicBezTo>
                  <a:cubicBezTo>
                    <a:pt x="46096" y="12370"/>
                    <a:pt x="46503" y="36535"/>
                    <a:pt x="67893" y="43387"/>
                  </a:cubicBezTo>
                  <a:cubicBezTo>
                    <a:pt x="76011" y="45994"/>
                    <a:pt x="92003" y="44290"/>
                    <a:pt x="89771" y="53748"/>
                  </a:cubicBezTo>
                  <a:cubicBezTo>
                    <a:pt x="88837" y="57793"/>
                    <a:pt x="99147" y="72065"/>
                    <a:pt x="86362" y="70059"/>
                  </a:cubicBezTo>
                  <a:cubicBezTo>
                    <a:pt x="47517" y="64076"/>
                    <a:pt x="83723" y="80354"/>
                    <a:pt x="90055" y="92319"/>
                  </a:cubicBezTo>
                  <a:cubicBezTo>
                    <a:pt x="98783" y="108864"/>
                    <a:pt x="101055" y="128350"/>
                    <a:pt x="114897" y="144728"/>
                  </a:cubicBezTo>
                  <a:cubicBezTo>
                    <a:pt x="123582" y="154988"/>
                    <a:pt x="133284" y="160102"/>
                    <a:pt x="127682" y="170731"/>
                  </a:cubicBezTo>
                  <a:cubicBezTo>
                    <a:pt x="122730" y="180123"/>
                    <a:pt x="115505" y="187042"/>
                    <a:pt x="117982" y="198673"/>
                  </a:cubicBezTo>
                  <a:cubicBezTo>
                    <a:pt x="120254" y="208968"/>
                    <a:pt x="120904" y="213012"/>
                    <a:pt x="104221" y="213848"/>
                  </a:cubicBezTo>
                  <a:cubicBezTo>
                    <a:pt x="93140" y="214416"/>
                    <a:pt x="89447" y="217457"/>
                    <a:pt x="80598" y="220064"/>
                  </a:cubicBezTo>
                  <a:cubicBezTo>
                    <a:pt x="73819" y="222070"/>
                    <a:pt x="55351" y="210639"/>
                    <a:pt x="53646" y="213380"/>
                  </a:cubicBezTo>
                  <a:cubicBezTo>
                    <a:pt x="51292" y="217324"/>
                    <a:pt x="60912" y="226548"/>
                    <a:pt x="55432" y="229323"/>
                  </a:cubicBezTo>
                  <a:cubicBezTo>
                    <a:pt x="50683" y="231696"/>
                    <a:pt x="35340" y="221602"/>
                    <a:pt x="31078" y="219630"/>
                  </a:cubicBezTo>
                  <a:cubicBezTo>
                    <a:pt x="24300" y="216555"/>
                    <a:pt x="12164" y="220833"/>
                    <a:pt x="3924" y="220398"/>
                  </a:cubicBezTo>
                  <a:cubicBezTo>
                    <a:pt x="9972" y="231127"/>
                    <a:pt x="18739" y="229991"/>
                    <a:pt x="5142" y="235673"/>
                  </a:cubicBezTo>
                  <a:cubicBezTo>
                    <a:pt x="-2124" y="238715"/>
                    <a:pt x="-2651" y="255961"/>
                    <a:pt x="9201" y="251850"/>
                  </a:cubicBezTo>
                  <a:cubicBezTo>
                    <a:pt x="16831" y="249210"/>
                    <a:pt x="37614" y="252318"/>
                    <a:pt x="42565" y="248875"/>
                  </a:cubicBezTo>
                  <a:cubicBezTo>
                    <a:pt x="44229" y="247706"/>
                    <a:pt x="44027" y="243795"/>
                    <a:pt x="48695" y="245533"/>
                  </a:cubicBezTo>
                  <a:cubicBezTo>
                    <a:pt x="55067" y="248006"/>
                    <a:pt x="57137" y="241121"/>
                    <a:pt x="60222" y="239684"/>
                  </a:cubicBezTo>
                  <a:cubicBezTo>
                    <a:pt x="66230" y="236910"/>
                    <a:pt x="81369" y="245600"/>
                    <a:pt x="89406" y="246369"/>
                  </a:cubicBezTo>
                  <a:cubicBezTo>
                    <a:pt x="103775" y="248077"/>
                    <a:pt x="118427" y="248077"/>
                    <a:pt x="132796" y="246369"/>
                  </a:cubicBezTo>
                  <a:cubicBezTo>
                    <a:pt x="159261" y="242157"/>
                    <a:pt x="162792" y="215786"/>
                    <a:pt x="164497" y="199910"/>
                  </a:cubicBezTo>
                  <a:cubicBezTo>
                    <a:pt x="165715" y="188913"/>
                    <a:pt x="165106" y="175878"/>
                    <a:pt x="155689" y="164180"/>
                  </a:cubicBezTo>
                  <a:cubicBezTo>
                    <a:pt x="152158" y="159801"/>
                    <a:pt x="144770" y="155657"/>
                    <a:pt x="140630" y="150811"/>
                  </a:cubicBezTo>
                  <a:cubicBezTo>
                    <a:pt x="133933" y="143223"/>
                    <a:pt x="127926" y="135503"/>
                    <a:pt x="121919" y="127815"/>
                  </a:cubicBezTo>
                  <a:cubicBezTo>
                    <a:pt x="111812" y="114880"/>
                    <a:pt x="100528" y="84799"/>
                    <a:pt x="124557" y="80822"/>
                  </a:cubicBezTo>
                  <a:cubicBezTo>
                    <a:pt x="129062" y="80086"/>
                    <a:pt x="134136" y="80320"/>
                    <a:pt x="138722" y="79752"/>
                  </a:cubicBezTo>
                  <a:cubicBezTo>
                    <a:pt x="145622" y="78917"/>
                    <a:pt x="144080" y="73870"/>
                    <a:pt x="149073" y="71630"/>
                  </a:cubicBezTo>
                  <a:cubicBezTo>
                    <a:pt x="154065" y="69391"/>
                    <a:pt x="160560" y="72700"/>
                    <a:pt x="166649" y="73402"/>
                  </a:cubicBezTo>
                  <a:cubicBezTo>
                    <a:pt x="175538" y="74438"/>
                    <a:pt x="180814" y="70627"/>
                    <a:pt x="188648" y="71262"/>
                  </a:cubicBezTo>
                  <a:cubicBezTo>
                    <a:pt x="187674" y="69424"/>
                    <a:pt x="186172" y="67826"/>
                    <a:pt x="184223" y="66616"/>
                  </a:cubicBezTo>
                  <a:cubicBezTo>
                    <a:pt x="176552" y="63575"/>
                    <a:pt x="185319" y="67519"/>
                    <a:pt x="183940" y="6691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2EAA3171-5493-4C69-99A2-E17EE728025F}"/>
                </a:ext>
              </a:extLst>
            </p:cNvPr>
            <p:cNvSpPr/>
            <p:nvPr/>
          </p:nvSpPr>
          <p:spPr>
            <a:xfrm>
              <a:off x="7165057" y="4802097"/>
              <a:ext cx="55327" cy="25262"/>
            </a:xfrm>
            <a:custGeom>
              <a:avLst/>
              <a:gdLst>
                <a:gd name="connsiteX0" fmla="*/ 18490 w 56785"/>
                <a:gd name="connsiteY0" fmla="*/ 21150 h 34590"/>
                <a:gd name="connsiteX1" fmla="*/ 56725 w 56785"/>
                <a:gd name="connsiteY1" fmla="*/ 34252 h 34590"/>
                <a:gd name="connsiteX2" fmla="*/ 40002 w 56785"/>
                <a:gd name="connsiteY2" fmla="*/ 2399 h 34590"/>
                <a:gd name="connsiteX3" fmla="*/ -60 w 56785"/>
                <a:gd name="connsiteY3" fmla="*/ 17540 h 34590"/>
                <a:gd name="connsiteX4" fmla="*/ 18490 w 56785"/>
                <a:gd name="connsiteY4" fmla="*/ 21150 h 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" h="34590">
                  <a:moveTo>
                    <a:pt x="18490" y="21150"/>
                  </a:moveTo>
                  <a:cubicBezTo>
                    <a:pt x="32250" y="30141"/>
                    <a:pt x="36999" y="31177"/>
                    <a:pt x="56725" y="34252"/>
                  </a:cubicBezTo>
                  <a:cubicBezTo>
                    <a:pt x="52666" y="25060"/>
                    <a:pt x="50434" y="7847"/>
                    <a:pt x="40002" y="2399"/>
                  </a:cubicBezTo>
                  <a:cubicBezTo>
                    <a:pt x="21534" y="-7294"/>
                    <a:pt x="6151" y="11390"/>
                    <a:pt x="-60" y="17540"/>
                  </a:cubicBezTo>
                  <a:cubicBezTo>
                    <a:pt x="6151" y="18710"/>
                    <a:pt x="12320" y="19913"/>
                    <a:pt x="18490" y="211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1DDEE98B-D980-4227-8DB1-DC999E621FC2}"/>
                </a:ext>
              </a:extLst>
            </p:cNvPr>
            <p:cNvSpPr/>
            <p:nvPr/>
          </p:nvSpPr>
          <p:spPr>
            <a:xfrm>
              <a:off x="6415936" y="4865489"/>
              <a:ext cx="473958" cy="245739"/>
            </a:xfrm>
            <a:custGeom>
              <a:avLst/>
              <a:gdLst>
                <a:gd name="connsiteX0" fmla="*/ 398416 w 486444"/>
                <a:gd name="connsiteY0" fmla="*/ 4708 h 336473"/>
                <a:gd name="connsiteX1" fmla="*/ 385468 w 486444"/>
                <a:gd name="connsiteY1" fmla="*/ 13933 h 336473"/>
                <a:gd name="connsiteX2" fmla="*/ 364442 w 486444"/>
                <a:gd name="connsiteY2" fmla="*/ 20150 h 336473"/>
                <a:gd name="connsiteX3" fmla="*/ 343457 w 486444"/>
                <a:gd name="connsiteY3" fmla="*/ 15571 h 336473"/>
                <a:gd name="connsiteX4" fmla="*/ 316221 w 486444"/>
                <a:gd name="connsiteY4" fmla="*/ 13565 h 336473"/>
                <a:gd name="connsiteX5" fmla="*/ 299620 w 486444"/>
                <a:gd name="connsiteY5" fmla="*/ 10223 h 336473"/>
                <a:gd name="connsiteX6" fmla="*/ 278757 w 486444"/>
                <a:gd name="connsiteY6" fmla="*/ 12061 h 336473"/>
                <a:gd name="connsiteX7" fmla="*/ 241415 w 486444"/>
                <a:gd name="connsiteY7" fmla="*/ 9621 h 336473"/>
                <a:gd name="connsiteX8" fmla="*/ 118509 w 486444"/>
                <a:gd name="connsiteY8" fmla="*/ 2669 h 336473"/>
                <a:gd name="connsiteX9" fmla="*/ 96266 w 486444"/>
                <a:gd name="connsiteY9" fmla="*/ 7148 h 336473"/>
                <a:gd name="connsiteX10" fmla="*/ 94561 w 486444"/>
                <a:gd name="connsiteY10" fmla="*/ 31915 h 336473"/>
                <a:gd name="connsiteX11" fmla="*/ 85428 w 486444"/>
                <a:gd name="connsiteY11" fmla="*/ 36995 h 336473"/>
                <a:gd name="connsiteX12" fmla="*/ 65945 w 486444"/>
                <a:gd name="connsiteY12" fmla="*/ 45452 h 336473"/>
                <a:gd name="connsiteX13" fmla="*/ 63550 w 486444"/>
                <a:gd name="connsiteY13" fmla="*/ 82552 h 336473"/>
                <a:gd name="connsiteX14" fmla="*/ 62455 w 486444"/>
                <a:gd name="connsiteY14" fmla="*/ 101804 h 336473"/>
                <a:gd name="connsiteX15" fmla="*/ 50683 w 486444"/>
                <a:gd name="connsiteY15" fmla="*/ 110594 h 336473"/>
                <a:gd name="connsiteX16" fmla="*/ 29739 w 486444"/>
                <a:gd name="connsiteY16" fmla="*/ 124665 h 336473"/>
                <a:gd name="connsiteX17" fmla="*/ 15046 w 486444"/>
                <a:gd name="connsiteY17" fmla="*/ 135762 h 336473"/>
                <a:gd name="connsiteX18" fmla="*/ 3396 w 486444"/>
                <a:gd name="connsiteY18" fmla="*/ 143617 h 336473"/>
                <a:gd name="connsiteX19" fmla="*/ 190 w 486444"/>
                <a:gd name="connsiteY19" fmla="*/ 158791 h 336473"/>
                <a:gd name="connsiteX20" fmla="*/ 12367 w 486444"/>
                <a:gd name="connsiteY20" fmla="*/ 163504 h 336473"/>
                <a:gd name="connsiteX21" fmla="*/ 13381 w 486444"/>
                <a:gd name="connsiteY21" fmla="*/ 178043 h 336473"/>
                <a:gd name="connsiteX22" fmla="*/ 25558 w 486444"/>
                <a:gd name="connsiteY22" fmla="*/ 187234 h 336473"/>
                <a:gd name="connsiteX23" fmla="*/ 27101 w 486444"/>
                <a:gd name="connsiteY23" fmla="*/ 197262 h 336473"/>
                <a:gd name="connsiteX24" fmla="*/ 42606 w 486444"/>
                <a:gd name="connsiteY24" fmla="*/ 211065 h 336473"/>
                <a:gd name="connsiteX25" fmla="*/ 47680 w 486444"/>
                <a:gd name="connsiteY25" fmla="*/ 218653 h 336473"/>
                <a:gd name="connsiteX26" fmla="*/ 38222 w 486444"/>
                <a:gd name="connsiteY26" fmla="*/ 227944 h 336473"/>
                <a:gd name="connsiteX27" fmla="*/ 49953 w 486444"/>
                <a:gd name="connsiteY27" fmla="*/ 233325 h 336473"/>
                <a:gd name="connsiteX28" fmla="*/ 59085 w 486444"/>
                <a:gd name="connsiteY28" fmla="*/ 239409 h 336473"/>
                <a:gd name="connsiteX29" fmla="*/ 86808 w 486444"/>
                <a:gd name="connsiteY29" fmla="*/ 253213 h 336473"/>
                <a:gd name="connsiteX30" fmla="*/ 90502 w 486444"/>
                <a:gd name="connsiteY30" fmla="*/ 259530 h 336473"/>
                <a:gd name="connsiteX31" fmla="*/ 106373 w 486444"/>
                <a:gd name="connsiteY31" fmla="*/ 267719 h 336473"/>
                <a:gd name="connsiteX32" fmla="*/ 119686 w 486444"/>
                <a:gd name="connsiteY32" fmla="*/ 283060 h 336473"/>
                <a:gd name="connsiteX33" fmla="*/ 135191 w 486444"/>
                <a:gd name="connsiteY33" fmla="*/ 289979 h 336473"/>
                <a:gd name="connsiteX34" fmla="*/ 160885 w 486444"/>
                <a:gd name="connsiteY34" fmla="*/ 314077 h 336473"/>
                <a:gd name="connsiteX35" fmla="*/ 191002 w 486444"/>
                <a:gd name="connsiteY35" fmla="*/ 315548 h 336473"/>
                <a:gd name="connsiteX36" fmla="*/ 209267 w 486444"/>
                <a:gd name="connsiteY36" fmla="*/ 316550 h 336473"/>
                <a:gd name="connsiteX37" fmla="*/ 240237 w 486444"/>
                <a:gd name="connsiteY37" fmla="*/ 333496 h 336473"/>
                <a:gd name="connsiteX38" fmla="*/ 267067 w 486444"/>
                <a:gd name="connsiteY38" fmla="*/ 333997 h 336473"/>
                <a:gd name="connsiteX39" fmla="*/ 288661 w 486444"/>
                <a:gd name="connsiteY39" fmla="*/ 333496 h 336473"/>
                <a:gd name="connsiteX40" fmla="*/ 315085 w 486444"/>
                <a:gd name="connsiteY40" fmla="*/ 334566 h 336473"/>
                <a:gd name="connsiteX41" fmla="*/ 339439 w 486444"/>
                <a:gd name="connsiteY41" fmla="*/ 322667 h 336473"/>
                <a:gd name="connsiteX42" fmla="*/ 376700 w 486444"/>
                <a:gd name="connsiteY42" fmla="*/ 325742 h 336473"/>
                <a:gd name="connsiteX43" fmla="*/ 370409 w 486444"/>
                <a:gd name="connsiteY43" fmla="*/ 308763 h 336473"/>
                <a:gd name="connsiteX44" fmla="*/ 340413 w 486444"/>
                <a:gd name="connsiteY44" fmla="*/ 283026 h 336473"/>
                <a:gd name="connsiteX45" fmla="*/ 316506 w 486444"/>
                <a:gd name="connsiteY45" fmla="*/ 269089 h 336473"/>
                <a:gd name="connsiteX46" fmla="*/ 313827 w 486444"/>
                <a:gd name="connsiteY46" fmla="*/ 254149 h 336473"/>
                <a:gd name="connsiteX47" fmla="*/ 336923 w 486444"/>
                <a:gd name="connsiteY47" fmla="*/ 253179 h 336473"/>
                <a:gd name="connsiteX48" fmla="*/ 349099 w 486444"/>
                <a:gd name="connsiteY48" fmla="*/ 227276 h 336473"/>
                <a:gd name="connsiteX49" fmla="*/ 351250 w 486444"/>
                <a:gd name="connsiteY49" fmla="*/ 218653 h 336473"/>
                <a:gd name="connsiteX50" fmla="*/ 368623 w 486444"/>
                <a:gd name="connsiteY50" fmla="*/ 212603 h 336473"/>
                <a:gd name="connsiteX51" fmla="*/ 373737 w 486444"/>
                <a:gd name="connsiteY51" fmla="*/ 200637 h 336473"/>
                <a:gd name="connsiteX52" fmla="*/ 389202 w 486444"/>
                <a:gd name="connsiteY52" fmla="*/ 189975 h 336473"/>
                <a:gd name="connsiteX53" fmla="*/ 402028 w 486444"/>
                <a:gd name="connsiteY53" fmla="*/ 186633 h 336473"/>
                <a:gd name="connsiteX54" fmla="*/ 413718 w 486444"/>
                <a:gd name="connsiteY54" fmla="*/ 174968 h 336473"/>
                <a:gd name="connsiteX55" fmla="*/ 422201 w 486444"/>
                <a:gd name="connsiteY55" fmla="*/ 144887 h 336473"/>
                <a:gd name="connsiteX56" fmla="*/ 438681 w 486444"/>
                <a:gd name="connsiteY56" fmla="*/ 130214 h 336473"/>
                <a:gd name="connsiteX57" fmla="*/ 445135 w 486444"/>
                <a:gd name="connsiteY57" fmla="*/ 117981 h 336473"/>
                <a:gd name="connsiteX58" fmla="*/ 478580 w 486444"/>
                <a:gd name="connsiteY58" fmla="*/ 107787 h 336473"/>
                <a:gd name="connsiteX59" fmla="*/ 468352 w 486444"/>
                <a:gd name="connsiteY59" fmla="*/ 88735 h 336473"/>
                <a:gd name="connsiteX60" fmla="*/ 458407 w 486444"/>
                <a:gd name="connsiteY60" fmla="*/ 56782 h 336473"/>
                <a:gd name="connsiteX61" fmla="*/ 451710 w 486444"/>
                <a:gd name="connsiteY61" fmla="*/ 27804 h 336473"/>
                <a:gd name="connsiteX62" fmla="*/ 416113 w 486444"/>
                <a:gd name="connsiteY62" fmla="*/ -339 h 336473"/>
                <a:gd name="connsiteX63" fmla="*/ 398416 w 486444"/>
                <a:gd name="connsiteY63" fmla="*/ 4708 h 33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444" h="336473">
                  <a:moveTo>
                    <a:pt x="398416" y="4708"/>
                  </a:moveTo>
                  <a:cubicBezTo>
                    <a:pt x="391475" y="4140"/>
                    <a:pt x="389445" y="11894"/>
                    <a:pt x="385468" y="13933"/>
                  </a:cubicBezTo>
                  <a:cubicBezTo>
                    <a:pt x="378121" y="17677"/>
                    <a:pt x="370652" y="14334"/>
                    <a:pt x="364442" y="20150"/>
                  </a:cubicBezTo>
                  <a:cubicBezTo>
                    <a:pt x="358232" y="25966"/>
                    <a:pt x="348693" y="16808"/>
                    <a:pt x="343457" y="15571"/>
                  </a:cubicBezTo>
                  <a:cubicBezTo>
                    <a:pt x="335583" y="13833"/>
                    <a:pt x="324421" y="14134"/>
                    <a:pt x="316221" y="13565"/>
                  </a:cubicBezTo>
                  <a:cubicBezTo>
                    <a:pt x="310417" y="13722"/>
                    <a:pt x="304694" y="12566"/>
                    <a:pt x="299620" y="10223"/>
                  </a:cubicBezTo>
                  <a:cubicBezTo>
                    <a:pt x="290284" y="6145"/>
                    <a:pt x="286956" y="12630"/>
                    <a:pt x="278757" y="12061"/>
                  </a:cubicBezTo>
                  <a:lnTo>
                    <a:pt x="241415" y="9621"/>
                  </a:lnTo>
                  <a:cubicBezTo>
                    <a:pt x="200460" y="7015"/>
                    <a:pt x="159464" y="4698"/>
                    <a:pt x="118509" y="2669"/>
                  </a:cubicBezTo>
                  <a:cubicBezTo>
                    <a:pt x="104830" y="2001"/>
                    <a:pt x="96875" y="-1341"/>
                    <a:pt x="96266" y="7148"/>
                  </a:cubicBezTo>
                  <a:lnTo>
                    <a:pt x="94561" y="31915"/>
                  </a:lnTo>
                  <a:cubicBezTo>
                    <a:pt x="94155" y="37630"/>
                    <a:pt x="95616" y="37463"/>
                    <a:pt x="85428" y="36995"/>
                  </a:cubicBezTo>
                  <a:cubicBezTo>
                    <a:pt x="65864" y="36093"/>
                    <a:pt x="66635" y="34723"/>
                    <a:pt x="65945" y="45452"/>
                  </a:cubicBezTo>
                  <a:cubicBezTo>
                    <a:pt x="65174" y="57818"/>
                    <a:pt x="64362" y="70185"/>
                    <a:pt x="63550" y="82552"/>
                  </a:cubicBezTo>
                  <a:cubicBezTo>
                    <a:pt x="63144" y="88936"/>
                    <a:pt x="63550" y="95453"/>
                    <a:pt x="62455" y="101804"/>
                  </a:cubicBezTo>
                  <a:cubicBezTo>
                    <a:pt x="61359" y="108154"/>
                    <a:pt x="60222" y="109057"/>
                    <a:pt x="50683" y="110594"/>
                  </a:cubicBezTo>
                  <a:cubicBezTo>
                    <a:pt x="32661" y="113502"/>
                    <a:pt x="37248" y="116777"/>
                    <a:pt x="29739" y="124665"/>
                  </a:cubicBezTo>
                  <a:cubicBezTo>
                    <a:pt x="23975" y="130682"/>
                    <a:pt x="17562" y="127573"/>
                    <a:pt x="15046" y="135762"/>
                  </a:cubicBezTo>
                  <a:cubicBezTo>
                    <a:pt x="13503" y="141010"/>
                    <a:pt x="311" y="138670"/>
                    <a:pt x="3396" y="143617"/>
                  </a:cubicBezTo>
                  <a:cubicBezTo>
                    <a:pt x="8105" y="151137"/>
                    <a:pt x="-1718" y="152541"/>
                    <a:pt x="190" y="158791"/>
                  </a:cubicBezTo>
                  <a:cubicBezTo>
                    <a:pt x="1529" y="163103"/>
                    <a:pt x="9160" y="160796"/>
                    <a:pt x="12367" y="163504"/>
                  </a:cubicBezTo>
                  <a:cubicBezTo>
                    <a:pt x="17238" y="167481"/>
                    <a:pt x="10500" y="173531"/>
                    <a:pt x="13381" y="178043"/>
                  </a:cubicBezTo>
                  <a:cubicBezTo>
                    <a:pt x="15249" y="180951"/>
                    <a:pt x="26776" y="185095"/>
                    <a:pt x="25558" y="187234"/>
                  </a:cubicBezTo>
                  <a:cubicBezTo>
                    <a:pt x="22555" y="192616"/>
                    <a:pt x="21499" y="192716"/>
                    <a:pt x="27101" y="197262"/>
                  </a:cubicBezTo>
                  <a:cubicBezTo>
                    <a:pt x="32702" y="201807"/>
                    <a:pt x="40170" y="206186"/>
                    <a:pt x="42606" y="211065"/>
                  </a:cubicBezTo>
                  <a:cubicBezTo>
                    <a:pt x="43864" y="213672"/>
                    <a:pt x="46665" y="216012"/>
                    <a:pt x="47680" y="218653"/>
                  </a:cubicBezTo>
                  <a:cubicBezTo>
                    <a:pt x="50602" y="224970"/>
                    <a:pt x="43093" y="224067"/>
                    <a:pt x="38222" y="227944"/>
                  </a:cubicBezTo>
                  <a:cubicBezTo>
                    <a:pt x="33352" y="231821"/>
                    <a:pt x="46706" y="232924"/>
                    <a:pt x="49953" y="233325"/>
                  </a:cubicBezTo>
                  <a:cubicBezTo>
                    <a:pt x="55270" y="234027"/>
                    <a:pt x="52469" y="238473"/>
                    <a:pt x="59085" y="239409"/>
                  </a:cubicBezTo>
                  <a:cubicBezTo>
                    <a:pt x="71912" y="241214"/>
                    <a:pt x="79380" y="247129"/>
                    <a:pt x="86808" y="253213"/>
                  </a:cubicBezTo>
                  <a:cubicBezTo>
                    <a:pt x="89365" y="255285"/>
                    <a:pt x="88188" y="257591"/>
                    <a:pt x="90502" y="259530"/>
                  </a:cubicBezTo>
                  <a:cubicBezTo>
                    <a:pt x="94277" y="262872"/>
                    <a:pt x="101705" y="265078"/>
                    <a:pt x="106373" y="267719"/>
                  </a:cubicBezTo>
                  <a:cubicBezTo>
                    <a:pt x="114937" y="272598"/>
                    <a:pt x="112420" y="279116"/>
                    <a:pt x="119686" y="283060"/>
                  </a:cubicBezTo>
                  <a:cubicBezTo>
                    <a:pt x="123258" y="284998"/>
                    <a:pt x="133689" y="287372"/>
                    <a:pt x="135191" y="289979"/>
                  </a:cubicBezTo>
                  <a:cubicBezTo>
                    <a:pt x="139981" y="298334"/>
                    <a:pt x="147612" y="309197"/>
                    <a:pt x="160885" y="314077"/>
                  </a:cubicBezTo>
                  <a:cubicBezTo>
                    <a:pt x="172372" y="318255"/>
                    <a:pt x="180733" y="309999"/>
                    <a:pt x="191002" y="315548"/>
                  </a:cubicBezTo>
                  <a:cubicBezTo>
                    <a:pt x="195061" y="317653"/>
                    <a:pt x="202367" y="312740"/>
                    <a:pt x="209267" y="316550"/>
                  </a:cubicBezTo>
                  <a:cubicBezTo>
                    <a:pt x="215275" y="319893"/>
                    <a:pt x="233946" y="334398"/>
                    <a:pt x="240237" y="333496"/>
                  </a:cubicBezTo>
                  <a:cubicBezTo>
                    <a:pt x="249330" y="332193"/>
                    <a:pt x="258665" y="330154"/>
                    <a:pt x="267067" y="333997"/>
                  </a:cubicBezTo>
                  <a:cubicBezTo>
                    <a:pt x="276971" y="338576"/>
                    <a:pt x="277905" y="334532"/>
                    <a:pt x="288661" y="333496"/>
                  </a:cubicBezTo>
                  <a:cubicBezTo>
                    <a:pt x="293532" y="333028"/>
                    <a:pt x="313583" y="338777"/>
                    <a:pt x="315085" y="334566"/>
                  </a:cubicBezTo>
                  <a:cubicBezTo>
                    <a:pt x="316181" y="331524"/>
                    <a:pt x="333878" y="324204"/>
                    <a:pt x="339439" y="322667"/>
                  </a:cubicBezTo>
                  <a:cubicBezTo>
                    <a:pt x="355188" y="318188"/>
                    <a:pt x="362291" y="320828"/>
                    <a:pt x="376700" y="325742"/>
                  </a:cubicBezTo>
                  <a:cubicBezTo>
                    <a:pt x="380759" y="314846"/>
                    <a:pt x="385305" y="314378"/>
                    <a:pt x="370409" y="308763"/>
                  </a:cubicBezTo>
                  <a:cubicBezTo>
                    <a:pt x="355512" y="303147"/>
                    <a:pt x="351657" y="291082"/>
                    <a:pt x="340413" y="283026"/>
                  </a:cubicBezTo>
                  <a:cubicBezTo>
                    <a:pt x="331686" y="276776"/>
                    <a:pt x="329779" y="272298"/>
                    <a:pt x="316506" y="269089"/>
                  </a:cubicBezTo>
                  <a:cubicBezTo>
                    <a:pt x="303233" y="265880"/>
                    <a:pt x="303842" y="259062"/>
                    <a:pt x="313827" y="254149"/>
                  </a:cubicBezTo>
                  <a:cubicBezTo>
                    <a:pt x="319347" y="251474"/>
                    <a:pt x="334771" y="257023"/>
                    <a:pt x="336923" y="253179"/>
                  </a:cubicBezTo>
                  <a:cubicBezTo>
                    <a:pt x="341915" y="244155"/>
                    <a:pt x="339236" y="235064"/>
                    <a:pt x="349099" y="227276"/>
                  </a:cubicBezTo>
                  <a:cubicBezTo>
                    <a:pt x="353889" y="223499"/>
                    <a:pt x="349099" y="221460"/>
                    <a:pt x="351250" y="218653"/>
                  </a:cubicBezTo>
                  <a:cubicBezTo>
                    <a:pt x="354011" y="215076"/>
                    <a:pt x="365173" y="216346"/>
                    <a:pt x="368623" y="212603"/>
                  </a:cubicBezTo>
                  <a:cubicBezTo>
                    <a:pt x="372073" y="208859"/>
                    <a:pt x="370693" y="204381"/>
                    <a:pt x="373737" y="200637"/>
                  </a:cubicBezTo>
                  <a:cubicBezTo>
                    <a:pt x="376781" y="196894"/>
                    <a:pt x="384534" y="193117"/>
                    <a:pt x="389202" y="189975"/>
                  </a:cubicBezTo>
                  <a:cubicBezTo>
                    <a:pt x="393870" y="186833"/>
                    <a:pt x="396265" y="188337"/>
                    <a:pt x="402028" y="186633"/>
                  </a:cubicBezTo>
                  <a:cubicBezTo>
                    <a:pt x="409578" y="184226"/>
                    <a:pt x="409578" y="178879"/>
                    <a:pt x="413718" y="174968"/>
                  </a:cubicBezTo>
                  <a:cubicBezTo>
                    <a:pt x="425043" y="164172"/>
                    <a:pt x="418508" y="156652"/>
                    <a:pt x="422201" y="144887"/>
                  </a:cubicBezTo>
                  <a:cubicBezTo>
                    <a:pt x="424150" y="138570"/>
                    <a:pt x="434094" y="135662"/>
                    <a:pt x="438681" y="130214"/>
                  </a:cubicBezTo>
                  <a:cubicBezTo>
                    <a:pt x="441847" y="126437"/>
                    <a:pt x="438397" y="120187"/>
                    <a:pt x="445135" y="117981"/>
                  </a:cubicBezTo>
                  <a:cubicBezTo>
                    <a:pt x="455932" y="114204"/>
                    <a:pt x="468352" y="112265"/>
                    <a:pt x="478580" y="107787"/>
                  </a:cubicBezTo>
                  <a:cubicBezTo>
                    <a:pt x="496115" y="100099"/>
                    <a:pt x="480285" y="96055"/>
                    <a:pt x="468352" y="88735"/>
                  </a:cubicBezTo>
                  <a:cubicBezTo>
                    <a:pt x="454430" y="80212"/>
                    <a:pt x="458205" y="66742"/>
                    <a:pt x="458407" y="56782"/>
                  </a:cubicBezTo>
                  <a:cubicBezTo>
                    <a:pt x="458407" y="48259"/>
                    <a:pt x="458894" y="35959"/>
                    <a:pt x="451710" y="27804"/>
                  </a:cubicBezTo>
                  <a:cubicBezTo>
                    <a:pt x="442456" y="17309"/>
                    <a:pt x="418305" y="11727"/>
                    <a:pt x="416113" y="-339"/>
                  </a:cubicBezTo>
                  <a:cubicBezTo>
                    <a:pt x="409740" y="3405"/>
                    <a:pt x="408239" y="5510"/>
                    <a:pt x="398416" y="470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E23CD90D-C7D2-4A22-8106-292B8637766E}"/>
                </a:ext>
              </a:extLst>
            </p:cNvPr>
            <p:cNvSpPr/>
            <p:nvPr/>
          </p:nvSpPr>
          <p:spPr>
            <a:xfrm>
              <a:off x="8986588" y="5354433"/>
              <a:ext cx="243602" cy="187760"/>
            </a:xfrm>
            <a:custGeom>
              <a:avLst/>
              <a:gdLst>
                <a:gd name="connsiteX0" fmla="*/ 181910 w 250020"/>
                <a:gd name="connsiteY0" fmla="*/ 95151 h 257086"/>
                <a:gd name="connsiteX1" fmla="*/ 205776 w 250020"/>
                <a:gd name="connsiteY1" fmla="*/ 122291 h 257086"/>
                <a:gd name="connsiteX2" fmla="*/ 199769 w 250020"/>
                <a:gd name="connsiteY2" fmla="*/ 134691 h 257086"/>
                <a:gd name="connsiteX3" fmla="*/ 214584 w 250020"/>
                <a:gd name="connsiteY3" fmla="*/ 142011 h 257086"/>
                <a:gd name="connsiteX4" fmla="*/ 207805 w 250020"/>
                <a:gd name="connsiteY4" fmla="*/ 155113 h 257086"/>
                <a:gd name="connsiteX5" fmla="*/ 213123 w 250020"/>
                <a:gd name="connsiteY5" fmla="*/ 174933 h 257086"/>
                <a:gd name="connsiteX6" fmla="*/ 224244 w 250020"/>
                <a:gd name="connsiteY6" fmla="*/ 174632 h 257086"/>
                <a:gd name="connsiteX7" fmla="*/ 241617 w 250020"/>
                <a:gd name="connsiteY7" fmla="*/ 170789 h 257086"/>
                <a:gd name="connsiteX8" fmla="*/ 238979 w 250020"/>
                <a:gd name="connsiteY8" fmla="*/ 139972 h 257086"/>
                <a:gd name="connsiteX9" fmla="*/ 223798 w 250020"/>
                <a:gd name="connsiteY9" fmla="*/ 126903 h 257086"/>
                <a:gd name="connsiteX10" fmla="*/ 219171 w 250020"/>
                <a:gd name="connsiteY10" fmla="*/ 111261 h 257086"/>
                <a:gd name="connsiteX11" fmla="*/ 186090 w 250020"/>
                <a:gd name="connsiteY11" fmla="*/ 85024 h 257086"/>
                <a:gd name="connsiteX12" fmla="*/ 173548 w 250020"/>
                <a:gd name="connsiteY12" fmla="*/ 77537 h 257086"/>
                <a:gd name="connsiteX13" fmla="*/ 174076 w 250020"/>
                <a:gd name="connsiteY13" fmla="*/ 60825 h 257086"/>
                <a:gd name="connsiteX14" fmla="*/ 216492 w 250020"/>
                <a:gd name="connsiteY14" fmla="*/ 42776 h 257086"/>
                <a:gd name="connsiteX15" fmla="*/ 220307 w 250020"/>
                <a:gd name="connsiteY15" fmla="*/ 25262 h 257086"/>
                <a:gd name="connsiteX16" fmla="*/ 216248 w 250020"/>
                <a:gd name="connsiteY16" fmla="*/ 17107 h 257086"/>
                <a:gd name="connsiteX17" fmla="*/ 176470 w 250020"/>
                <a:gd name="connsiteY17" fmla="*/ 763 h 257086"/>
                <a:gd name="connsiteX18" fmla="*/ 159585 w 250020"/>
                <a:gd name="connsiteY18" fmla="*/ 25797 h 257086"/>
                <a:gd name="connsiteX19" fmla="*/ 154593 w 250020"/>
                <a:gd name="connsiteY19" fmla="*/ 32482 h 257086"/>
                <a:gd name="connsiteX20" fmla="*/ 143796 w 250020"/>
                <a:gd name="connsiteY20" fmla="*/ 25797 h 257086"/>
                <a:gd name="connsiteX21" fmla="*/ 134866 w 250020"/>
                <a:gd name="connsiteY21" fmla="*/ 48391 h 257086"/>
                <a:gd name="connsiteX22" fmla="*/ 140224 w 250020"/>
                <a:gd name="connsiteY22" fmla="*/ 60892 h 257086"/>
                <a:gd name="connsiteX23" fmla="*/ 141157 w 250020"/>
                <a:gd name="connsiteY23" fmla="*/ 74529 h 257086"/>
                <a:gd name="connsiteX24" fmla="*/ 169245 w 250020"/>
                <a:gd name="connsiteY24" fmla="*/ 83854 h 257086"/>
                <a:gd name="connsiteX25" fmla="*/ 181950 w 250020"/>
                <a:gd name="connsiteY25" fmla="*/ 95184 h 257086"/>
                <a:gd name="connsiteX26" fmla="*/ 181910 w 250020"/>
                <a:gd name="connsiteY26" fmla="*/ 95151 h 257086"/>
                <a:gd name="connsiteX27" fmla="*/ 128940 w 250020"/>
                <a:gd name="connsiteY27" fmla="*/ 78105 h 257086"/>
                <a:gd name="connsiteX28" fmla="*/ 144242 w 250020"/>
                <a:gd name="connsiteY28" fmla="*/ 104844 h 257086"/>
                <a:gd name="connsiteX29" fmla="*/ 129143 w 250020"/>
                <a:gd name="connsiteY29" fmla="*/ 78105 h 257086"/>
                <a:gd name="connsiteX30" fmla="*/ 146109 w 250020"/>
                <a:gd name="connsiteY30" fmla="*/ 140106 h 257086"/>
                <a:gd name="connsiteX31" fmla="*/ 154755 w 250020"/>
                <a:gd name="connsiteY31" fmla="*/ 142813 h 257086"/>
                <a:gd name="connsiteX32" fmla="*/ 164132 w 250020"/>
                <a:gd name="connsiteY32" fmla="*/ 140874 h 257086"/>
                <a:gd name="connsiteX33" fmla="*/ 153862 w 250020"/>
                <a:gd name="connsiteY33" fmla="*/ 155681 h 257086"/>
                <a:gd name="connsiteX34" fmla="*/ 156825 w 250020"/>
                <a:gd name="connsiteY34" fmla="*/ 174365 h 257086"/>
                <a:gd name="connsiteX35" fmla="*/ 187876 w 250020"/>
                <a:gd name="connsiteY35" fmla="*/ 166443 h 257086"/>
                <a:gd name="connsiteX36" fmla="*/ 194452 w 250020"/>
                <a:gd name="connsiteY36" fmla="*/ 160628 h 257086"/>
                <a:gd name="connsiteX37" fmla="*/ 184669 w 250020"/>
                <a:gd name="connsiteY37" fmla="*/ 155514 h 257086"/>
                <a:gd name="connsiteX38" fmla="*/ 182518 w 250020"/>
                <a:gd name="connsiteY38" fmla="*/ 141175 h 257086"/>
                <a:gd name="connsiteX39" fmla="*/ 160397 w 250020"/>
                <a:gd name="connsiteY39" fmla="*/ 119985 h 257086"/>
                <a:gd name="connsiteX40" fmla="*/ 146109 w 250020"/>
                <a:gd name="connsiteY40" fmla="*/ 140039 h 257086"/>
                <a:gd name="connsiteX41" fmla="*/ 48694 w 250020"/>
                <a:gd name="connsiteY41" fmla="*/ 110559 h 257086"/>
                <a:gd name="connsiteX42" fmla="*/ 433 w 250020"/>
                <a:gd name="connsiteY42" fmla="*/ 121088 h 257086"/>
                <a:gd name="connsiteX43" fmla="*/ 32905 w 250020"/>
                <a:gd name="connsiteY43" fmla="*/ 120352 h 257086"/>
                <a:gd name="connsiteX44" fmla="*/ 80273 w 250020"/>
                <a:gd name="connsiteY44" fmla="*/ 109155 h 257086"/>
                <a:gd name="connsiteX45" fmla="*/ 48856 w 250020"/>
                <a:gd name="connsiteY45" fmla="*/ 110559 h 257086"/>
                <a:gd name="connsiteX46" fmla="*/ 182031 w 250020"/>
                <a:gd name="connsiteY46" fmla="*/ 177406 h 257086"/>
                <a:gd name="connsiteX47" fmla="*/ 205979 w 250020"/>
                <a:gd name="connsiteY47" fmla="*/ 178610 h 257086"/>
                <a:gd name="connsiteX48" fmla="*/ 181910 w 250020"/>
                <a:gd name="connsiteY48" fmla="*/ 177406 h 257086"/>
                <a:gd name="connsiteX49" fmla="*/ 229156 w 250020"/>
                <a:gd name="connsiteY49" fmla="*/ 242382 h 257086"/>
                <a:gd name="connsiteX50" fmla="*/ 239669 w 250020"/>
                <a:gd name="connsiteY50" fmla="*/ 225670 h 257086"/>
                <a:gd name="connsiteX51" fmla="*/ 245189 w 250020"/>
                <a:gd name="connsiteY51" fmla="*/ 200502 h 257086"/>
                <a:gd name="connsiteX52" fmla="*/ 228181 w 250020"/>
                <a:gd name="connsiteY52" fmla="*/ 193817 h 257086"/>
                <a:gd name="connsiteX53" fmla="*/ 216411 w 250020"/>
                <a:gd name="connsiteY53" fmla="*/ 198664 h 257086"/>
                <a:gd name="connsiteX54" fmla="*/ 195791 w 250020"/>
                <a:gd name="connsiteY54" fmla="*/ 199399 h 257086"/>
                <a:gd name="connsiteX55" fmla="*/ 173385 w 250020"/>
                <a:gd name="connsiteY55" fmla="*/ 193717 h 257086"/>
                <a:gd name="connsiteX56" fmla="*/ 144972 w 250020"/>
                <a:gd name="connsiteY56" fmla="*/ 184125 h 257086"/>
                <a:gd name="connsiteX57" fmla="*/ 113191 w 250020"/>
                <a:gd name="connsiteY57" fmla="*/ 186264 h 257086"/>
                <a:gd name="connsiteX58" fmla="*/ 115180 w 250020"/>
                <a:gd name="connsiteY58" fmla="*/ 196291 h 257086"/>
                <a:gd name="connsiteX59" fmla="*/ 131740 w 250020"/>
                <a:gd name="connsiteY59" fmla="*/ 196291 h 257086"/>
                <a:gd name="connsiteX60" fmla="*/ 146840 w 250020"/>
                <a:gd name="connsiteY60" fmla="*/ 199031 h 257086"/>
                <a:gd name="connsiteX61" fmla="*/ 158043 w 250020"/>
                <a:gd name="connsiteY61" fmla="*/ 227408 h 257086"/>
                <a:gd name="connsiteX62" fmla="*/ 190149 w 250020"/>
                <a:gd name="connsiteY62" fmla="*/ 256487 h 257086"/>
                <a:gd name="connsiteX63" fmla="*/ 197334 w 250020"/>
                <a:gd name="connsiteY63" fmla="*/ 237435 h 257086"/>
                <a:gd name="connsiteX64" fmla="*/ 229237 w 250020"/>
                <a:gd name="connsiteY64" fmla="*/ 242850 h 25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50020" h="257086">
                  <a:moveTo>
                    <a:pt x="181910" y="95151"/>
                  </a:moveTo>
                  <a:cubicBezTo>
                    <a:pt x="190920" y="97925"/>
                    <a:pt x="215680" y="117578"/>
                    <a:pt x="205776" y="122291"/>
                  </a:cubicBezTo>
                  <a:cubicBezTo>
                    <a:pt x="201027" y="124497"/>
                    <a:pt x="199241" y="130413"/>
                    <a:pt x="199769" y="134691"/>
                  </a:cubicBezTo>
                  <a:cubicBezTo>
                    <a:pt x="200500" y="141108"/>
                    <a:pt x="209267" y="137566"/>
                    <a:pt x="214584" y="142011"/>
                  </a:cubicBezTo>
                  <a:cubicBezTo>
                    <a:pt x="222702" y="148963"/>
                    <a:pt x="207644" y="149798"/>
                    <a:pt x="207805" y="155113"/>
                  </a:cubicBezTo>
                  <a:cubicBezTo>
                    <a:pt x="207805" y="161564"/>
                    <a:pt x="214788" y="168683"/>
                    <a:pt x="213123" y="174933"/>
                  </a:cubicBezTo>
                  <a:cubicBezTo>
                    <a:pt x="210769" y="183490"/>
                    <a:pt x="222987" y="178676"/>
                    <a:pt x="224244" y="174632"/>
                  </a:cubicBezTo>
                  <a:cubicBezTo>
                    <a:pt x="226071" y="168683"/>
                    <a:pt x="233296" y="170521"/>
                    <a:pt x="241617" y="170789"/>
                  </a:cubicBezTo>
                  <a:cubicBezTo>
                    <a:pt x="257326" y="171290"/>
                    <a:pt x="247583" y="146556"/>
                    <a:pt x="238979" y="139972"/>
                  </a:cubicBezTo>
                  <a:cubicBezTo>
                    <a:pt x="234270" y="136329"/>
                    <a:pt x="224732" y="131649"/>
                    <a:pt x="223798" y="126903"/>
                  </a:cubicBezTo>
                  <a:cubicBezTo>
                    <a:pt x="222540" y="120519"/>
                    <a:pt x="225137" y="118280"/>
                    <a:pt x="219171" y="111261"/>
                  </a:cubicBezTo>
                  <a:cubicBezTo>
                    <a:pt x="209511" y="99964"/>
                    <a:pt x="209389" y="90505"/>
                    <a:pt x="186090" y="85024"/>
                  </a:cubicBezTo>
                  <a:cubicBezTo>
                    <a:pt x="177972" y="83185"/>
                    <a:pt x="170666" y="84088"/>
                    <a:pt x="173548" y="77537"/>
                  </a:cubicBezTo>
                  <a:cubicBezTo>
                    <a:pt x="176105" y="71721"/>
                    <a:pt x="173061" y="66473"/>
                    <a:pt x="174076" y="60825"/>
                  </a:cubicBezTo>
                  <a:cubicBezTo>
                    <a:pt x="176309" y="47790"/>
                    <a:pt x="211825" y="55811"/>
                    <a:pt x="216492" y="42776"/>
                  </a:cubicBezTo>
                  <a:cubicBezTo>
                    <a:pt x="218359" y="37529"/>
                    <a:pt x="215884" y="29407"/>
                    <a:pt x="220307" y="25262"/>
                  </a:cubicBezTo>
                  <a:cubicBezTo>
                    <a:pt x="226111" y="19781"/>
                    <a:pt x="224366" y="20416"/>
                    <a:pt x="216248" y="17107"/>
                  </a:cubicBezTo>
                  <a:cubicBezTo>
                    <a:pt x="206426" y="13029"/>
                    <a:pt x="186739" y="-4919"/>
                    <a:pt x="176470" y="763"/>
                  </a:cubicBezTo>
                  <a:cubicBezTo>
                    <a:pt x="166201" y="6445"/>
                    <a:pt x="164010" y="17675"/>
                    <a:pt x="159585" y="25797"/>
                  </a:cubicBezTo>
                  <a:cubicBezTo>
                    <a:pt x="158570" y="28321"/>
                    <a:pt x="156866" y="30610"/>
                    <a:pt x="154593" y="32482"/>
                  </a:cubicBezTo>
                  <a:cubicBezTo>
                    <a:pt x="150331" y="35122"/>
                    <a:pt x="146475" y="26967"/>
                    <a:pt x="143796" y="25797"/>
                  </a:cubicBezTo>
                  <a:cubicBezTo>
                    <a:pt x="138519" y="23123"/>
                    <a:pt x="132228" y="44715"/>
                    <a:pt x="134866" y="48391"/>
                  </a:cubicBezTo>
                  <a:cubicBezTo>
                    <a:pt x="138722" y="53806"/>
                    <a:pt x="144891" y="54876"/>
                    <a:pt x="140224" y="60892"/>
                  </a:cubicBezTo>
                  <a:cubicBezTo>
                    <a:pt x="136612" y="65504"/>
                    <a:pt x="129265" y="68646"/>
                    <a:pt x="141157" y="74529"/>
                  </a:cubicBezTo>
                  <a:cubicBezTo>
                    <a:pt x="148870" y="78339"/>
                    <a:pt x="163522" y="78874"/>
                    <a:pt x="169245" y="83854"/>
                  </a:cubicBezTo>
                  <a:cubicBezTo>
                    <a:pt x="174969" y="88834"/>
                    <a:pt x="172250" y="92143"/>
                    <a:pt x="181950" y="95184"/>
                  </a:cubicBezTo>
                  <a:cubicBezTo>
                    <a:pt x="197902" y="100098"/>
                    <a:pt x="166282" y="90171"/>
                    <a:pt x="181910" y="95151"/>
                  </a:cubicBezTo>
                  <a:close/>
                  <a:moveTo>
                    <a:pt x="128940" y="78105"/>
                  </a:moveTo>
                  <a:cubicBezTo>
                    <a:pt x="127438" y="85425"/>
                    <a:pt x="124881" y="100766"/>
                    <a:pt x="144242" y="104844"/>
                  </a:cubicBezTo>
                  <a:cubicBezTo>
                    <a:pt x="163604" y="108921"/>
                    <a:pt x="130198" y="72991"/>
                    <a:pt x="129143" y="78105"/>
                  </a:cubicBezTo>
                  <a:close/>
                  <a:moveTo>
                    <a:pt x="146109" y="140106"/>
                  </a:moveTo>
                  <a:cubicBezTo>
                    <a:pt x="148950" y="141108"/>
                    <a:pt x="151833" y="142011"/>
                    <a:pt x="154755" y="142813"/>
                  </a:cubicBezTo>
                  <a:cubicBezTo>
                    <a:pt x="160356" y="144083"/>
                    <a:pt x="160681" y="140373"/>
                    <a:pt x="164132" y="140874"/>
                  </a:cubicBezTo>
                  <a:cubicBezTo>
                    <a:pt x="173102" y="142111"/>
                    <a:pt x="155201" y="155113"/>
                    <a:pt x="153862" y="155681"/>
                  </a:cubicBezTo>
                  <a:cubicBezTo>
                    <a:pt x="147490" y="158422"/>
                    <a:pt x="140549" y="173228"/>
                    <a:pt x="156825" y="174365"/>
                  </a:cubicBezTo>
                  <a:cubicBezTo>
                    <a:pt x="168637" y="175200"/>
                    <a:pt x="180124" y="170488"/>
                    <a:pt x="187876" y="166443"/>
                  </a:cubicBezTo>
                  <a:cubicBezTo>
                    <a:pt x="190190" y="165240"/>
                    <a:pt x="194736" y="163101"/>
                    <a:pt x="194452" y="160628"/>
                  </a:cubicBezTo>
                  <a:cubicBezTo>
                    <a:pt x="194005" y="156216"/>
                    <a:pt x="185441" y="157921"/>
                    <a:pt x="184669" y="155514"/>
                  </a:cubicBezTo>
                  <a:cubicBezTo>
                    <a:pt x="183046" y="150601"/>
                    <a:pt x="186902" y="147726"/>
                    <a:pt x="182518" y="141175"/>
                  </a:cubicBezTo>
                  <a:cubicBezTo>
                    <a:pt x="178135" y="134624"/>
                    <a:pt x="170341" y="124998"/>
                    <a:pt x="160397" y="119985"/>
                  </a:cubicBezTo>
                  <a:cubicBezTo>
                    <a:pt x="144161" y="111963"/>
                    <a:pt x="135556" y="137098"/>
                    <a:pt x="146109" y="140039"/>
                  </a:cubicBezTo>
                  <a:close/>
                  <a:moveTo>
                    <a:pt x="48694" y="110559"/>
                  </a:moveTo>
                  <a:cubicBezTo>
                    <a:pt x="35502" y="113634"/>
                    <a:pt x="8104" y="113267"/>
                    <a:pt x="433" y="121088"/>
                  </a:cubicBezTo>
                  <a:cubicBezTo>
                    <a:pt x="-4600" y="126101"/>
                    <a:pt x="30550" y="120753"/>
                    <a:pt x="32905" y="120352"/>
                  </a:cubicBezTo>
                  <a:cubicBezTo>
                    <a:pt x="44878" y="118013"/>
                    <a:pt x="77838" y="118046"/>
                    <a:pt x="80273" y="109155"/>
                  </a:cubicBezTo>
                  <a:cubicBezTo>
                    <a:pt x="85224" y="91040"/>
                    <a:pt x="56852" y="108687"/>
                    <a:pt x="48856" y="110559"/>
                  </a:cubicBezTo>
                  <a:close/>
                  <a:moveTo>
                    <a:pt x="182031" y="177406"/>
                  </a:moveTo>
                  <a:cubicBezTo>
                    <a:pt x="182316" y="183189"/>
                    <a:pt x="209308" y="185762"/>
                    <a:pt x="205979" y="178610"/>
                  </a:cubicBezTo>
                  <a:cubicBezTo>
                    <a:pt x="202651" y="171457"/>
                    <a:pt x="181910" y="173061"/>
                    <a:pt x="181910" y="177406"/>
                  </a:cubicBezTo>
                  <a:close/>
                  <a:moveTo>
                    <a:pt x="229156" y="242382"/>
                  </a:moveTo>
                  <a:cubicBezTo>
                    <a:pt x="238288" y="240911"/>
                    <a:pt x="238735" y="231118"/>
                    <a:pt x="239669" y="225670"/>
                  </a:cubicBezTo>
                  <a:cubicBezTo>
                    <a:pt x="240724" y="218986"/>
                    <a:pt x="248476" y="207421"/>
                    <a:pt x="245189" y="200502"/>
                  </a:cubicBezTo>
                  <a:cubicBezTo>
                    <a:pt x="243119" y="196157"/>
                    <a:pt x="233377" y="191177"/>
                    <a:pt x="228181" y="193817"/>
                  </a:cubicBezTo>
                  <a:cubicBezTo>
                    <a:pt x="220632" y="197394"/>
                    <a:pt x="231957" y="203276"/>
                    <a:pt x="216411" y="198664"/>
                  </a:cubicBezTo>
                  <a:cubicBezTo>
                    <a:pt x="206629" y="195756"/>
                    <a:pt x="206020" y="203243"/>
                    <a:pt x="195791" y="199399"/>
                  </a:cubicBezTo>
                  <a:cubicBezTo>
                    <a:pt x="183858" y="194887"/>
                    <a:pt x="185969" y="205048"/>
                    <a:pt x="173385" y="193717"/>
                  </a:cubicBezTo>
                  <a:cubicBezTo>
                    <a:pt x="162223" y="183690"/>
                    <a:pt x="160803" y="182821"/>
                    <a:pt x="144972" y="184125"/>
                  </a:cubicBezTo>
                  <a:cubicBezTo>
                    <a:pt x="133567" y="185094"/>
                    <a:pt x="121999" y="181384"/>
                    <a:pt x="113191" y="186264"/>
                  </a:cubicBezTo>
                  <a:cubicBezTo>
                    <a:pt x="108767" y="188737"/>
                    <a:pt x="102353" y="195388"/>
                    <a:pt x="115180" y="196291"/>
                  </a:cubicBezTo>
                  <a:cubicBezTo>
                    <a:pt x="120903" y="196759"/>
                    <a:pt x="125855" y="195288"/>
                    <a:pt x="131740" y="196291"/>
                  </a:cubicBezTo>
                  <a:cubicBezTo>
                    <a:pt x="137626" y="197293"/>
                    <a:pt x="140671" y="199867"/>
                    <a:pt x="146840" y="199031"/>
                  </a:cubicBezTo>
                  <a:cubicBezTo>
                    <a:pt x="171518" y="195689"/>
                    <a:pt x="158124" y="222428"/>
                    <a:pt x="158043" y="227408"/>
                  </a:cubicBezTo>
                  <a:cubicBezTo>
                    <a:pt x="157962" y="232388"/>
                    <a:pt x="186456" y="259695"/>
                    <a:pt x="190149" y="256487"/>
                  </a:cubicBezTo>
                  <a:cubicBezTo>
                    <a:pt x="195791" y="251540"/>
                    <a:pt x="192747" y="242850"/>
                    <a:pt x="197334" y="237435"/>
                  </a:cubicBezTo>
                  <a:cubicBezTo>
                    <a:pt x="200581" y="233625"/>
                    <a:pt x="221688" y="244120"/>
                    <a:pt x="229237" y="2428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3CE30B60-F8AB-4D88-A701-FC5BBBB22CCD}"/>
                </a:ext>
              </a:extLst>
            </p:cNvPr>
            <p:cNvSpPr/>
            <p:nvPr/>
          </p:nvSpPr>
          <p:spPr>
            <a:xfrm>
              <a:off x="7004968" y="4591273"/>
              <a:ext cx="204437" cy="53155"/>
            </a:xfrm>
            <a:custGeom>
              <a:avLst/>
              <a:gdLst>
                <a:gd name="connsiteX0" fmla="*/ 81729 w 209823"/>
                <a:gd name="connsiteY0" fmla="*/ 47307 h 72781"/>
                <a:gd name="connsiteX1" fmla="*/ 112293 w 209823"/>
                <a:gd name="connsiteY1" fmla="*/ 60676 h 72781"/>
                <a:gd name="connsiteX2" fmla="*/ 164410 w 209823"/>
                <a:gd name="connsiteY2" fmla="*/ 65590 h 72781"/>
                <a:gd name="connsiteX3" fmla="*/ 193229 w 209823"/>
                <a:gd name="connsiteY3" fmla="*/ 71071 h 72781"/>
                <a:gd name="connsiteX4" fmla="*/ 209465 w 209823"/>
                <a:gd name="connsiteY4" fmla="*/ 70001 h 72781"/>
                <a:gd name="connsiteX5" fmla="*/ 206908 w 209823"/>
                <a:gd name="connsiteY5" fmla="*/ 57668 h 72781"/>
                <a:gd name="connsiteX6" fmla="*/ 185598 w 209823"/>
                <a:gd name="connsiteY6" fmla="*/ 47173 h 72781"/>
                <a:gd name="connsiteX7" fmla="*/ 174923 w 209823"/>
                <a:gd name="connsiteY7" fmla="*/ 36478 h 72781"/>
                <a:gd name="connsiteX8" fmla="*/ 146510 w 209823"/>
                <a:gd name="connsiteY8" fmla="*/ 32667 h 72781"/>
                <a:gd name="connsiteX9" fmla="*/ 121791 w 209823"/>
                <a:gd name="connsiteY9" fmla="*/ 26885 h 72781"/>
                <a:gd name="connsiteX10" fmla="*/ 63788 w 209823"/>
                <a:gd name="connsiteY10" fmla="*/ 12179 h 72781"/>
                <a:gd name="connsiteX11" fmla="*/ -60 w 209823"/>
                <a:gd name="connsiteY11" fmla="*/ 915 h 72781"/>
                <a:gd name="connsiteX12" fmla="*/ 47024 w 209823"/>
                <a:gd name="connsiteY12" fmla="*/ 20501 h 72781"/>
                <a:gd name="connsiteX13" fmla="*/ 48283 w 209823"/>
                <a:gd name="connsiteY13" fmla="*/ 44299 h 72781"/>
                <a:gd name="connsiteX14" fmla="*/ 81526 w 209823"/>
                <a:gd name="connsiteY14" fmla="*/ 47340 h 72781"/>
                <a:gd name="connsiteX15" fmla="*/ 81729 w 209823"/>
                <a:gd name="connsiteY15" fmla="*/ 47307 h 7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823" h="72781">
                  <a:moveTo>
                    <a:pt x="81729" y="47307"/>
                  </a:moveTo>
                  <a:cubicBezTo>
                    <a:pt x="98330" y="45201"/>
                    <a:pt x="95408" y="60676"/>
                    <a:pt x="112293" y="60676"/>
                  </a:cubicBezTo>
                  <a:cubicBezTo>
                    <a:pt x="129868" y="60011"/>
                    <a:pt x="147484" y="61669"/>
                    <a:pt x="164410" y="65590"/>
                  </a:cubicBezTo>
                  <a:cubicBezTo>
                    <a:pt x="155156" y="54092"/>
                    <a:pt x="189495" y="70202"/>
                    <a:pt x="193229" y="71071"/>
                  </a:cubicBezTo>
                  <a:cubicBezTo>
                    <a:pt x="195543" y="71606"/>
                    <a:pt x="212184" y="74413"/>
                    <a:pt x="209465" y="70001"/>
                  </a:cubicBezTo>
                  <a:cubicBezTo>
                    <a:pt x="205406" y="63317"/>
                    <a:pt x="192580" y="63317"/>
                    <a:pt x="206908" y="57668"/>
                  </a:cubicBezTo>
                  <a:cubicBezTo>
                    <a:pt x="201550" y="55295"/>
                    <a:pt x="186856" y="50984"/>
                    <a:pt x="185598" y="47173"/>
                  </a:cubicBezTo>
                  <a:cubicBezTo>
                    <a:pt x="183366" y="40488"/>
                    <a:pt x="183000" y="40956"/>
                    <a:pt x="174923" y="36478"/>
                  </a:cubicBezTo>
                  <a:cubicBezTo>
                    <a:pt x="168794" y="33135"/>
                    <a:pt x="153938" y="32935"/>
                    <a:pt x="146510" y="32667"/>
                  </a:cubicBezTo>
                  <a:cubicBezTo>
                    <a:pt x="131654" y="32133"/>
                    <a:pt x="133927" y="32667"/>
                    <a:pt x="121791" y="26885"/>
                  </a:cubicBezTo>
                  <a:cubicBezTo>
                    <a:pt x="100441" y="16858"/>
                    <a:pt x="90009" y="15287"/>
                    <a:pt x="63788" y="12179"/>
                  </a:cubicBezTo>
                  <a:cubicBezTo>
                    <a:pt x="40043" y="9371"/>
                    <a:pt x="25755" y="-4533"/>
                    <a:pt x="-60" y="915"/>
                  </a:cubicBezTo>
                  <a:cubicBezTo>
                    <a:pt x="13579" y="6697"/>
                    <a:pt x="44914" y="9405"/>
                    <a:pt x="47024" y="20501"/>
                  </a:cubicBezTo>
                  <a:cubicBezTo>
                    <a:pt x="48851" y="30027"/>
                    <a:pt x="68740" y="37213"/>
                    <a:pt x="48283" y="44299"/>
                  </a:cubicBezTo>
                  <a:cubicBezTo>
                    <a:pt x="57821" y="45703"/>
                    <a:pt x="71947" y="48543"/>
                    <a:pt x="81526" y="47340"/>
                  </a:cubicBezTo>
                  <a:cubicBezTo>
                    <a:pt x="92485" y="45937"/>
                    <a:pt x="76655" y="47908"/>
                    <a:pt x="81729" y="4730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94B40F85-8495-4321-BB5D-9723362F3F45}"/>
                </a:ext>
              </a:extLst>
            </p:cNvPr>
            <p:cNvSpPr/>
            <p:nvPr/>
          </p:nvSpPr>
          <p:spPr>
            <a:xfrm>
              <a:off x="9468330" y="6422349"/>
              <a:ext cx="358164" cy="102995"/>
            </a:xfrm>
            <a:custGeom>
              <a:avLst/>
              <a:gdLst>
                <a:gd name="connsiteX0" fmla="*/ 226265 w 367600"/>
                <a:gd name="connsiteY0" fmla="*/ 106307 h 141023"/>
                <a:gd name="connsiteX1" fmla="*/ 202317 w 367600"/>
                <a:gd name="connsiteY1" fmla="*/ 90364 h 141023"/>
                <a:gd name="connsiteX2" fmla="*/ 183524 w 367600"/>
                <a:gd name="connsiteY2" fmla="*/ 82309 h 141023"/>
                <a:gd name="connsiteX3" fmla="*/ 156451 w 367600"/>
                <a:gd name="connsiteY3" fmla="*/ 86988 h 141023"/>
                <a:gd name="connsiteX4" fmla="*/ 115333 w 367600"/>
                <a:gd name="connsiteY4" fmla="*/ 91066 h 141023"/>
                <a:gd name="connsiteX5" fmla="*/ 76123 w 367600"/>
                <a:gd name="connsiteY5" fmla="*/ 81841 h 141023"/>
                <a:gd name="connsiteX6" fmla="*/ 45640 w 367600"/>
                <a:gd name="connsiteY6" fmla="*/ 79969 h 141023"/>
                <a:gd name="connsiteX7" fmla="*/ 13858 w 367600"/>
                <a:gd name="connsiteY7" fmla="*/ 81908 h 141023"/>
                <a:gd name="connsiteX8" fmla="*/ 11302 w 367600"/>
                <a:gd name="connsiteY8" fmla="*/ 103833 h 141023"/>
                <a:gd name="connsiteX9" fmla="*/ 27538 w 367600"/>
                <a:gd name="connsiteY9" fmla="*/ 126595 h 141023"/>
                <a:gd name="connsiteX10" fmla="*/ 70968 w 367600"/>
                <a:gd name="connsiteY10" fmla="*/ 138761 h 141023"/>
                <a:gd name="connsiteX11" fmla="*/ 128282 w 367600"/>
                <a:gd name="connsiteY11" fmla="*/ 123419 h 141023"/>
                <a:gd name="connsiteX12" fmla="*/ 157425 w 367600"/>
                <a:gd name="connsiteY12" fmla="*/ 135853 h 141023"/>
                <a:gd name="connsiteX13" fmla="*/ 175487 w 367600"/>
                <a:gd name="connsiteY13" fmla="*/ 127664 h 141023"/>
                <a:gd name="connsiteX14" fmla="*/ 188030 w 367600"/>
                <a:gd name="connsiteY14" fmla="*/ 123654 h 141023"/>
                <a:gd name="connsiteX15" fmla="*/ 205889 w 367600"/>
                <a:gd name="connsiteY15" fmla="*/ 122551 h 141023"/>
                <a:gd name="connsiteX16" fmla="*/ 226184 w 367600"/>
                <a:gd name="connsiteY16" fmla="*/ 106307 h 141023"/>
                <a:gd name="connsiteX17" fmla="*/ 1073 w 367600"/>
                <a:gd name="connsiteY17" fmla="*/ 122417 h 141023"/>
                <a:gd name="connsiteX18" fmla="*/ 14102 w 367600"/>
                <a:gd name="connsiteY18" fmla="*/ 121347 h 141023"/>
                <a:gd name="connsiteX19" fmla="*/ 1073 w 367600"/>
                <a:gd name="connsiteY19" fmla="*/ 122417 h 141023"/>
                <a:gd name="connsiteX20" fmla="*/ 345193 w 367600"/>
                <a:gd name="connsiteY20" fmla="*/ 110451 h 141023"/>
                <a:gd name="connsiteX21" fmla="*/ 321570 w 367600"/>
                <a:gd name="connsiteY21" fmla="*/ 82208 h 141023"/>
                <a:gd name="connsiteX22" fmla="*/ 329403 w 367600"/>
                <a:gd name="connsiteY22" fmla="*/ 69474 h 141023"/>
                <a:gd name="connsiteX23" fmla="*/ 320595 w 367600"/>
                <a:gd name="connsiteY23" fmla="*/ 65764 h 141023"/>
                <a:gd name="connsiteX24" fmla="*/ 310123 w 367600"/>
                <a:gd name="connsiteY24" fmla="*/ 54132 h 141023"/>
                <a:gd name="connsiteX25" fmla="*/ 320839 w 367600"/>
                <a:gd name="connsiteY25" fmla="*/ 27394 h 141023"/>
                <a:gd name="connsiteX26" fmla="*/ 301234 w 367600"/>
                <a:gd name="connsiteY26" fmla="*/ 421 h 141023"/>
                <a:gd name="connsiteX27" fmla="*/ 302696 w 367600"/>
                <a:gd name="connsiteY27" fmla="*/ 32407 h 141023"/>
                <a:gd name="connsiteX28" fmla="*/ 300585 w 367600"/>
                <a:gd name="connsiteY28" fmla="*/ 42902 h 141023"/>
                <a:gd name="connsiteX29" fmla="*/ 304278 w 367600"/>
                <a:gd name="connsiteY29" fmla="*/ 58644 h 141023"/>
                <a:gd name="connsiteX30" fmla="*/ 273511 w 367600"/>
                <a:gd name="connsiteY30" fmla="*/ 77462 h 141023"/>
                <a:gd name="connsiteX31" fmla="*/ 249157 w 367600"/>
                <a:gd name="connsiteY31" fmla="*/ 81874 h 141023"/>
                <a:gd name="connsiteX32" fmla="*/ 261903 w 367600"/>
                <a:gd name="connsiteY32" fmla="*/ 113359 h 141023"/>
                <a:gd name="connsiteX33" fmla="*/ 236006 w 367600"/>
                <a:gd name="connsiteY33" fmla="*/ 123954 h 141023"/>
                <a:gd name="connsiteX34" fmla="*/ 262187 w 367600"/>
                <a:gd name="connsiteY34" fmla="*/ 140666 h 141023"/>
                <a:gd name="connsiteX35" fmla="*/ 299408 w 367600"/>
                <a:gd name="connsiteY35" fmla="*/ 134216 h 141023"/>
                <a:gd name="connsiteX36" fmla="*/ 313939 w 367600"/>
                <a:gd name="connsiteY36" fmla="*/ 125692 h 141023"/>
                <a:gd name="connsiteX37" fmla="*/ 334883 w 367600"/>
                <a:gd name="connsiteY37" fmla="*/ 132377 h 141023"/>
                <a:gd name="connsiteX38" fmla="*/ 346289 w 367600"/>
                <a:gd name="connsiteY38" fmla="*/ 130539 h 141023"/>
                <a:gd name="connsiteX39" fmla="*/ 364919 w 367600"/>
                <a:gd name="connsiteY39" fmla="*/ 123854 h 141023"/>
                <a:gd name="connsiteX40" fmla="*/ 345274 w 367600"/>
                <a:gd name="connsiteY40" fmla="*/ 110484 h 14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67600" h="141023">
                  <a:moveTo>
                    <a:pt x="226265" y="106307"/>
                  </a:moveTo>
                  <a:cubicBezTo>
                    <a:pt x="221557" y="95477"/>
                    <a:pt x="204711" y="103833"/>
                    <a:pt x="202317" y="90364"/>
                  </a:cubicBezTo>
                  <a:cubicBezTo>
                    <a:pt x="200815" y="81841"/>
                    <a:pt x="191967" y="76292"/>
                    <a:pt x="183524" y="82309"/>
                  </a:cubicBezTo>
                  <a:cubicBezTo>
                    <a:pt x="177110" y="86854"/>
                    <a:pt x="164650" y="83946"/>
                    <a:pt x="156451" y="86988"/>
                  </a:cubicBezTo>
                  <a:cubicBezTo>
                    <a:pt x="143705" y="92135"/>
                    <a:pt x="129215" y="93572"/>
                    <a:pt x="115333" y="91066"/>
                  </a:cubicBezTo>
                  <a:cubicBezTo>
                    <a:pt x="102141" y="88759"/>
                    <a:pt x="89193" y="84815"/>
                    <a:pt x="76123" y="81841"/>
                  </a:cubicBezTo>
                  <a:cubicBezTo>
                    <a:pt x="65083" y="79300"/>
                    <a:pt x="56437" y="81072"/>
                    <a:pt x="45640" y="79969"/>
                  </a:cubicBezTo>
                  <a:cubicBezTo>
                    <a:pt x="35006" y="78799"/>
                    <a:pt x="24168" y="79468"/>
                    <a:pt x="13858" y="81908"/>
                  </a:cubicBezTo>
                  <a:cubicBezTo>
                    <a:pt x="-5056" y="85250"/>
                    <a:pt x="2128" y="92770"/>
                    <a:pt x="11302" y="103833"/>
                  </a:cubicBezTo>
                  <a:cubicBezTo>
                    <a:pt x="16984" y="110719"/>
                    <a:pt x="20231" y="120545"/>
                    <a:pt x="27538" y="126595"/>
                  </a:cubicBezTo>
                  <a:cubicBezTo>
                    <a:pt x="39389" y="135352"/>
                    <a:pt x="55098" y="139764"/>
                    <a:pt x="70968" y="138761"/>
                  </a:cubicBezTo>
                  <a:cubicBezTo>
                    <a:pt x="91019" y="137524"/>
                    <a:pt x="106769" y="121849"/>
                    <a:pt x="128282" y="123419"/>
                  </a:cubicBezTo>
                  <a:cubicBezTo>
                    <a:pt x="133923" y="123820"/>
                    <a:pt x="156126" y="137591"/>
                    <a:pt x="157425" y="135853"/>
                  </a:cubicBezTo>
                  <a:cubicBezTo>
                    <a:pt x="163269" y="127832"/>
                    <a:pt x="160794" y="126495"/>
                    <a:pt x="175487" y="127664"/>
                  </a:cubicBezTo>
                  <a:cubicBezTo>
                    <a:pt x="181901" y="128166"/>
                    <a:pt x="183199" y="125425"/>
                    <a:pt x="188030" y="123654"/>
                  </a:cubicBezTo>
                  <a:cubicBezTo>
                    <a:pt x="192860" y="121882"/>
                    <a:pt x="200207" y="122517"/>
                    <a:pt x="205889" y="122551"/>
                  </a:cubicBezTo>
                  <a:cubicBezTo>
                    <a:pt x="213763" y="122551"/>
                    <a:pt x="229431" y="113727"/>
                    <a:pt x="226184" y="106307"/>
                  </a:cubicBezTo>
                  <a:close/>
                  <a:moveTo>
                    <a:pt x="1073" y="122417"/>
                  </a:moveTo>
                  <a:cubicBezTo>
                    <a:pt x="3509" y="124991"/>
                    <a:pt x="15076" y="129737"/>
                    <a:pt x="14102" y="121347"/>
                  </a:cubicBezTo>
                  <a:cubicBezTo>
                    <a:pt x="13128" y="112958"/>
                    <a:pt x="-4650" y="116334"/>
                    <a:pt x="1073" y="122417"/>
                  </a:cubicBezTo>
                  <a:close/>
                  <a:moveTo>
                    <a:pt x="345193" y="110451"/>
                  </a:moveTo>
                  <a:cubicBezTo>
                    <a:pt x="336506" y="111922"/>
                    <a:pt x="318810" y="88225"/>
                    <a:pt x="321570" y="82208"/>
                  </a:cubicBezTo>
                  <a:cubicBezTo>
                    <a:pt x="323680" y="77596"/>
                    <a:pt x="328998" y="75022"/>
                    <a:pt x="329403" y="69474"/>
                  </a:cubicBezTo>
                  <a:cubicBezTo>
                    <a:pt x="329809" y="63926"/>
                    <a:pt x="321854" y="58745"/>
                    <a:pt x="320595" y="65764"/>
                  </a:cubicBezTo>
                  <a:cubicBezTo>
                    <a:pt x="318566" y="76927"/>
                    <a:pt x="309149" y="58277"/>
                    <a:pt x="310123" y="54132"/>
                  </a:cubicBezTo>
                  <a:cubicBezTo>
                    <a:pt x="312274" y="44907"/>
                    <a:pt x="317957" y="36418"/>
                    <a:pt x="320839" y="27394"/>
                  </a:cubicBezTo>
                  <a:cubicBezTo>
                    <a:pt x="322381" y="22648"/>
                    <a:pt x="308987" y="-5261"/>
                    <a:pt x="301234" y="421"/>
                  </a:cubicBezTo>
                  <a:cubicBezTo>
                    <a:pt x="292589" y="6771"/>
                    <a:pt x="299935" y="23583"/>
                    <a:pt x="302696" y="32407"/>
                  </a:cubicBezTo>
                  <a:cubicBezTo>
                    <a:pt x="304197" y="37120"/>
                    <a:pt x="301112" y="38758"/>
                    <a:pt x="300585" y="42902"/>
                  </a:cubicBezTo>
                  <a:cubicBezTo>
                    <a:pt x="299976" y="47715"/>
                    <a:pt x="305171" y="54801"/>
                    <a:pt x="304278" y="58644"/>
                  </a:cubicBezTo>
                  <a:cubicBezTo>
                    <a:pt x="303060" y="63592"/>
                    <a:pt x="279478" y="76861"/>
                    <a:pt x="273511" y="77462"/>
                  </a:cubicBezTo>
                  <a:cubicBezTo>
                    <a:pt x="265028" y="78231"/>
                    <a:pt x="244408" y="68204"/>
                    <a:pt x="249157" y="81874"/>
                  </a:cubicBezTo>
                  <a:cubicBezTo>
                    <a:pt x="251958" y="90130"/>
                    <a:pt x="266814" y="106106"/>
                    <a:pt x="261903" y="113359"/>
                  </a:cubicBezTo>
                  <a:cubicBezTo>
                    <a:pt x="256992" y="120612"/>
                    <a:pt x="242745" y="118607"/>
                    <a:pt x="236006" y="123954"/>
                  </a:cubicBezTo>
                  <a:cubicBezTo>
                    <a:pt x="228416" y="130038"/>
                    <a:pt x="255246" y="141201"/>
                    <a:pt x="262187" y="140666"/>
                  </a:cubicBezTo>
                  <a:cubicBezTo>
                    <a:pt x="274810" y="139530"/>
                    <a:pt x="287271" y="137357"/>
                    <a:pt x="299408" y="134216"/>
                  </a:cubicBezTo>
                  <a:cubicBezTo>
                    <a:pt x="305171" y="132511"/>
                    <a:pt x="307526" y="126294"/>
                    <a:pt x="313939" y="125692"/>
                  </a:cubicBezTo>
                  <a:cubicBezTo>
                    <a:pt x="322057" y="124890"/>
                    <a:pt x="328673" y="134917"/>
                    <a:pt x="334883" y="132377"/>
                  </a:cubicBezTo>
                  <a:cubicBezTo>
                    <a:pt x="337765" y="131140"/>
                    <a:pt x="342068" y="127464"/>
                    <a:pt x="346289" y="130539"/>
                  </a:cubicBezTo>
                  <a:cubicBezTo>
                    <a:pt x="352256" y="134884"/>
                    <a:pt x="360820" y="125358"/>
                    <a:pt x="364919" y="123854"/>
                  </a:cubicBezTo>
                  <a:cubicBezTo>
                    <a:pt x="375392" y="120211"/>
                    <a:pt x="351525" y="109482"/>
                    <a:pt x="345274" y="11048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82C3389F-F278-48E4-8279-A424838C577B}"/>
                </a:ext>
              </a:extLst>
            </p:cNvPr>
            <p:cNvSpPr/>
            <p:nvPr/>
          </p:nvSpPr>
          <p:spPr>
            <a:xfrm>
              <a:off x="7285797" y="4899078"/>
              <a:ext cx="242124" cy="99097"/>
            </a:xfrm>
            <a:custGeom>
              <a:avLst/>
              <a:gdLst>
                <a:gd name="connsiteX0" fmla="*/ 141761 w 248503"/>
                <a:gd name="connsiteY0" fmla="*/ -339 h 135687"/>
                <a:gd name="connsiteX1" fmla="*/ 126012 w 248503"/>
                <a:gd name="connsiteY1" fmla="*/ 18445 h 135687"/>
                <a:gd name="connsiteX2" fmla="*/ 103647 w 248503"/>
                <a:gd name="connsiteY2" fmla="*/ 35391 h 135687"/>
                <a:gd name="connsiteX3" fmla="*/ 98168 w 248503"/>
                <a:gd name="connsiteY3" fmla="*/ 79376 h 135687"/>
                <a:gd name="connsiteX4" fmla="*/ 72150 w 248503"/>
                <a:gd name="connsiteY4" fmla="*/ 83822 h 135687"/>
                <a:gd name="connsiteX5" fmla="*/ -60 w 248503"/>
                <a:gd name="connsiteY5" fmla="*/ 86496 h 135687"/>
                <a:gd name="connsiteX6" fmla="*/ 26730 w 248503"/>
                <a:gd name="connsiteY6" fmla="*/ 134124 h 135687"/>
                <a:gd name="connsiteX7" fmla="*/ 68618 w 248503"/>
                <a:gd name="connsiteY7" fmla="*/ 134325 h 135687"/>
                <a:gd name="connsiteX8" fmla="*/ 92445 w 248503"/>
                <a:gd name="connsiteY8" fmla="*/ 126771 h 135687"/>
                <a:gd name="connsiteX9" fmla="*/ 121466 w 248503"/>
                <a:gd name="connsiteY9" fmla="*/ 125334 h 135687"/>
                <a:gd name="connsiteX10" fmla="*/ 141355 w 248503"/>
                <a:gd name="connsiteY10" fmla="*/ 118850 h 135687"/>
                <a:gd name="connsiteX11" fmla="*/ 166399 w 248503"/>
                <a:gd name="connsiteY11" fmla="*/ 114371 h 135687"/>
                <a:gd name="connsiteX12" fmla="*/ 175856 w 248503"/>
                <a:gd name="connsiteY12" fmla="*/ 100701 h 135687"/>
                <a:gd name="connsiteX13" fmla="*/ 215594 w 248503"/>
                <a:gd name="connsiteY13" fmla="*/ 83989 h 135687"/>
                <a:gd name="connsiteX14" fmla="*/ 243723 w 248503"/>
                <a:gd name="connsiteY14" fmla="*/ 60592 h 135687"/>
                <a:gd name="connsiteX15" fmla="*/ 213889 w 248503"/>
                <a:gd name="connsiteY15" fmla="*/ 34856 h 135687"/>
                <a:gd name="connsiteX16" fmla="*/ 164207 w 248503"/>
                <a:gd name="connsiteY16" fmla="*/ -138 h 135687"/>
                <a:gd name="connsiteX17" fmla="*/ 141761 w 248503"/>
                <a:gd name="connsiteY17" fmla="*/ -339 h 135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503" h="135687">
                  <a:moveTo>
                    <a:pt x="141761" y="-339"/>
                  </a:moveTo>
                  <a:cubicBezTo>
                    <a:pt x="139366" y="9889"/>
                    <a:pt x="139001" y="12229"/>
                    <a:pt x="126012" y="18445"/>
                  </a:cubicBezTo>
                  <a:cubicBezTo>
                    <a:pt x="117367" y="22917"/>
                    <a:pt x="109777" y="28663"/>
                    <a:pt x="103647" y="35391"/>
                  </a:cubicBezTo>
                  <a:cubicBezTo>
                    <a:pt x="141477" y="42510"/>
                    <a:pt x="108599" y="69717"/>
                    <a:pt x="98168" y="79376"/>
                  </a:cubicBezTo>
                  <a:cubicBezTo>
                    <a:pt x="92729" y="84390"/>
                    <a:pt x="82216" y="83387"/>
                    <a:pt x="72150" y="83822"/>
                  </a:cubicBezTo>
                  <a:cubicBezTo>
                    <a:pt x="48120" y="84858"/>
                    <a:pt x="24051" y="85694"/>
                    <a:pt x="-60" y="86496"/>
                  </a:cubicBezTo>
                  <a:cubicBezTo>
                    <a:pt x="8911" y="102382"/>
                    <a:pt x="17841" y="118258"/>
                    <a:pt x="26730" y="134124"/>
                  </a:cubicBezTo>
                  <a:cubicBezTo>
                    <a:pt x="40652" y="132537"/>
                    <a:pt x="54737" y="132607"/>
                    <a:pt x="68618" y="134325"/>
                  </a:cubicBezTo>
                  <a:cubicBezTo>
                    <a:pt x="88913" y="137032"/>
                    <a:pt x="84854" y="134325"/>
                    <a:pt x="92445" y="126771"/>
                  </a:cubicBezTo>
                  <a:cubicBezTo>
                    <a:pt x="98168" y="121022"/>
                    <a:pt x="112009" y="123429"/>
                    <a:pt x="121466" y="125334"/>
                  </a:cubicBezTo>
                  <a:cubicBezTo>
                    <a:pt x="132994" y="127640"/>
                    <a:pt x="135388" y="123295"/>
                    <a:pt x="141355" y="118850"/>
                  </a:cubicBezTo>
                  <a:cubicBezTo>
                    <a:pt x="148458" y="113636"/>
                    <a:pt x="154831" y="114070"/>
                    <a:pt x="166399" y="114371"/>
                  </a:cubicBezTo>
                  <a:cubicBezTo>
                    <a:pt x="175085" y="114605"/>
                    <a:pt x="173949" y="104344"/>
                    <a:pt x="175856" y="100701"/>
                  </a:cubicBezTo>
                  <a:cubicBezTo>
                    <a:pt x="182676" y="87331"/>
                    <a:pt x="202605" y="93347"/>
                    <a:pt x="215594" y="83989"/>
                  </a:cubicBezTo>
                  <a:cubicBezTo>
                    <a:pt x="220140" y="80647"/>
                    <a:pt x="262353" y="65405"/>
                    <a:pt x="243723" y="60592"/>
                  </a:cubicBezTo>
                  <a:cubicBezTo>
                    <a:pt x="226391" y="55980"/>
                    <a:pt x="231546" y="39736"/>
                    <a:pt x="213889" y="34856"/>
                  </a:cubicBezTo>
                  <a:cubicBezTo>
                    <a:pt x="185192" y="26901"/>
                    <a:pt x="167454" y="18445"/>
                    <a:pt x="164207" y="-138"/>
                  </a:cubicBezTo>
                  <a:cubicBezTo>
                    <a:pt x="156861" y="1653"/>
                    <a:pt x="149067" y="1583"/>
                    <a:pt x="141761" y="-33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E86016A2-D139-47A3-A118-F5C7E7E83F8E}"/>
                </a:ext>
              </a:extLst>
            </p:cNvPr>
            <p:cNvSpPr/>
            <p:nvPr/>
          </p:nvSpPr>
          <p:spPr>
            <a:xfrm>
              <a:off x="6509114" y="4734429"/>
              <a:ext cx="314324" cy="147078"/>
            </a:xfrm>
            <a:custGeom>
              <a:avLst/>
              <a:gdLst>
                <a:gd name="connsiteX0" fmla="*/ 315326 w 322605"/>
                <a:gd name="connsiteY0" fmla="*/ 59122 h 201383"/>
                <a:gd name="connsiteX1" fmla="*/ 296817 w 322605"/>
                <a:gd name="connsiteY1" fmla="*/ 27470 h 201383"/>
                <a:gd name="connsiteX2" fmla="*/ 268891 w 322605"/>
                <a:gd name="connsiteY2" fmla="*/ 26500 h 201383"/>
                <a:gd name="connsiteX3" fmla="*/ 222050 w 322605"/>
                <a:gd name="connsiteY3" fmla="*/ 19013 h 201383"/>
                <a:gd name="connsiteX4" fmla="*/ 162628 w 322605"/>
                <a:gd name="connsiteY4" fmla="*/ 18646 h 201383"/>
                <a:gd name="connsiteX5" fmla="*/ 138558 w 322605"/>
                <a:gd name="connsiteY5" fmla="*/ 23158 h 201383"/>
                <a:gd name="connsiteX6" fmla="*/ 98779 w 322605"/>
                <a:gd name="connsiteY6" fmla="*/ 13666 h 201383"/>
                <a:gd name="connsiteX7" fmla="*/ 20279 w 322605"/>
                <a:gd name="connsiteY7" fmla="*/ -339 h 201383"/>
                <a:gd name="connsiteX8" fmla="*/ 15490 w 322605"/>
                <a:gd name="connsiteY8" fmla="*/ 17443 h 201383"/>
                <a:gd name="connsiteX9" fmla="*/ 7372 w 322605"/>
                <a:gd name="connsiteY9" fmla="*/ 33319 h 201383"/>
                <a:gd name="connsiteX10" fmla="*/ 9198 w 322605"/>
                <a:gd name="connsiteY10" fmla="*/ 62932 h 201383"/>
                <a:gd name="connsiteX11" fmla="*/ 2663 w 322605"/>
                <a:gd name="connsiteY11" fmla="*/ 156919 h 201383"/>
                <a:gd name="connsiteX12" fmla="*/ 5951 w 322605"/>
                <a:gd name="connsiteY12" fmla="*/ 181084 h 201383"/>
                <a:gd name="connsiteX13" fmla="*/ 48449 w 322605"/>
                <a:gd name="connsiteY13" fmla="*/ 183224 h 201383"/>
                <a:gd name="connsiteX14" fmla="*/ 165590 w 322605"/>
                <a:gd name="connsiteY14" fmla="*/ 190142 h 201383"/>
                <a:gd name="connsiteX15" fmla="*/ 187387 w 322605"/>
                <a:gd name="connsiteY15" fmla="*/ 190343 h 201383"/>
                <a:gd name="connsiteX16" fmla="*/ 236095 w 322605"/>
                <a:gd name="connsiteY16" fmla="*/ 194086 h 201383"/>
                <a:gd name="connsiteX17" fmla="*/ 252331 w 322605"/>
                <a:gd name="connsiteY17" fmla="*/ 197830 h 201383"/>
                <a:gd name="connsiteX18" fmla="*/ 272626 w 322605"/>
                <a:gd name="connsiteY18" fmla="*/ 195958 h 201383"/>
                <a:gd name="connsiteX19" fmla="*/ 294260 w 322605"/>
                <a:gd name="connsiteY19" fmla="*/ 189474 h 201383"/>
                <a:gd name="connsiteX20" fmla="*/ 309644 w 322605"/>
                <a:gd name="connsiteY20" fmla="*/ 184561 h 201383"/>
                <a:gd name="connsiteX21" fmla="*/ 281718 w 322605"/>
                <a:gd name="connsiteY21" fmla="*/ 114772 h 201383"/>
                <a:gd name="connsiteX22" fmla="*/ 269297 w 322605"/>
                <a:gd name="connsiteY22" fmla="*/ 96322 h 201383"/>
                <a:gd name="connsiteX23" fmla="*/ 255821 w 322605"/>
                <a:gd name="connsiteY23" fmla="*/ 80513 h 201383"/>
                <a:gd name="connsiteX24" fmla="*/ 240032 w 322605"/>
                <a:gd name="connsiteY24" fmla="*/ 43747 h 201383"/>
                <a:gd name="connsiteX25" fmla="*/ 276116 w 322605"/>
                <a:gd name="connsiteY25" fmla="*/ 87198 h 201383"/>
                <a:gd name="connsiteX26" fmla="*/ 297020 w 322605"/>
                <a:gd name="connsiteY26" fmla="*/ 84290 h 201383"/>
                <a:gd name="connsiteX27" fmla="*/ 308223 w 322605"/>
                <a:gd name="connsiteY27" fmla="*/ 69984 h 201383"/>
                <a:gd name="connsiteX28" fmla="*/ 315326 w 322605"/>
                <a:gd name="connsiteY28" fmla="*/ 59122 h 20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2605" h="201383">
                  <a:moveTo>
                    <a:pt x="315326" y="59122"/>
                  </a:moveTo>
                  <a:cubicBezTo>
                    <a:pt x="309197" y="48560"/>
                    <a:pt x="303027" y="38008"/>
                    <a:pt x="296817" y="27470"/>
                  </a:cubicBezTo>
                  <a:cubicBezTo>
                    <a:pt x="289389" y="32684"/>
                    <a:pt x="279323" y="27470"/>
                    <a:pt x="268891" y="26500"/>
                  </a:cubicBezTo>
                  <a:cubicBezTo>
                    <a:pt x="249936" y="24729"/>
                    <a:pt x="239586" y="25230"/>
                    <a:pt x="222050" y="19013"/>
                  </a:cubicBezTo>
                  <a:cubicBezTo>
                    <a:pt x="206951" y="13599"/>
                    <a:pt x="177646" y="15437"/>
                    <a:pt x="162628" y="18646"/>
                  </a:cubicBezTo>
                  <a:cubicBezTo>
                    <a:pt x="153454" y="20584"/>
                    <a:pt x="150451" y="24161"/>
                    <a:pt x="138558" y="23158"/>
                  </a:cubicBezTo>
                  <a:cubicBezTo>
                    <a:pt x="124514" y="21955"/>
                    <a:pt x="111809" y="16774"/>
                    <a:pt x="98779" y="13666"/>
                  </a:cubicBezTo>
                  <a:cubicBezTo>
                    <a:pt x="80108" y="9153"/>
                    <a:pt x="32213" y="9387"/>
                    <a:pt x="20279" y="-339"/>
                  </a:cubicBezTo>
                  <a:cubicBezTo>
                    <a:pt x="15449" y="5878"/>
                    <a:pt x="13582" y="10658"/>
                    <a:pt x="15490" y="17443"/>
                  </a:cubicBezTo>
                  <a:cubicBezTo>
                    <a:pt x="17194" y="23659"/>
                    <a:pt x="6438" y="26868"/>
                    <a:pt x="7372" y="33319"/>
                  </a:cubicBezTo>
                  <a:cubicBezTo>
                    <a:pt x="8995" y="43132"/>
                    <a:pt x="9604" y="53035"/>
                    <a:pt x="9198" y="62932"/>
                  </a:cubicBezTo>
                  <a:cubicBezTo>
                    <a:pt x="7047" y="94283"/>
                    <a:pt x="4855" y="125611"/>
                    <a:pt x="2663" y="156919"/>
                  </a:cubicBezTo>
                  <a:cubicBezTo>
                    <a:pt x="2298" y="162167"/>
                    <a:pt x="-5008" y="180583"/>
                    <a:pt x="5951" y="181084"/>
                  </a:cubicBezTo>
                  <a:cubicBezTo>
                    <a:pt x="20116" y="181753"/>
                    <a:pt x="34363" y="182488"/>
                    <a:pt x="48449" y="183224"/>
                  </a:cubicBezTo>
                  <a:cubicBezTo>
                    <a:pt x="87536" y="185252"/>
                    <a:pt x="126584" y="187559"/>
                    <a:pt x="165590" y="190142"/>
                  </a:cubicBezTo>
                  <a:cubicBezTo>
                    <a:pt x="172734" y="190610"/>
                    <a:pt x="181096" y="192215"/>
                    <a:pt x="187387" y="190343"/>
                  </a:cubicBezTo>
                  <a:cubicBezTo>
                    <a:pt x="198103" y="187000"/>
                    <a:pt x="221442" y="192983"/>
                    <a:pt x="236095" y="194086"/>
                  </a:cubicBezTo>
                  <a:cubicBezTo>
                    <a:pt x="244984" y="194755"/>
                    <a:pt x="245999" y="194487"/>
                    <a:pt x="252331" y="197830"/>
                  </a:cubicBezTo>
                  <a:cubicBezTo>
                    <a:pt x="263858" y="204046"/>
                    <a:pt x="265928" y="200036"/>
                    <a:pt x="272626" y="195958"/>
                  </a:cubicBezTo>
                  <a:cubicBezTo>
                    <a:pt x="279323" y="191880"/>
                    <a:pt x="288862" y="195958"/>
                    <a:pt x="294260" y="189474"/>
                  </a:cubicBezTo>
                  <a:cubicBezTo>
                    <a:pt x="299009" y="183725"/>
                    <a:pt x="300024" y="185363"/>
                    <a:pt x="309644" y="184561"/>
                  </a:cubicBezTo>
                  <a:cubicBezTo>
                    <a:pt x="350233" y="181218"/>
                    <a:pt x="282124" y="124398"/>
                    <a:pt x="281718" y="114772"/>
                  </a:cubicBezTo>
                  <a:cubicBezTo>
                    <a:pt x="281718" y="108087"/>
                    <a:pt x="268080" y="103308"/>
                    <a:pt x="269297" y="96322"/>
                  </a:cubicBezTo>
                  <a:cubicBezTo>
                    <a:pt x="270434" y="90139"/>
                    <a:pt x="261707" y="85460"/>
                    <a:pt x="255821" y="80513"/>
                  </a:cubicBezTo>
                  <a:cubicBezTo>
                    <a:pt x="251762" y="77171"/>
                    <a:pt x="225988" y="45284"/>
                    <a:pt x="240032" y="43747"/>
                  </a:cubicBezTo>
                  <a:cubicBezTo>
                    <a:pt x="243157" y="43413"/>
                    <a:pt x="270799" y="83187"/>
                    <a:pt x="276116" y="87198"/>
                  </a:cubicBezTo>
                  <a:cubicBezTo>
                    <a:pt x="286020" y="94685"/>
                    <a:pt x="292352" y="90774"/>
                    <a:pt x="297020" y="84290"/>
                  </a:cubicBezTo>
                  <a:cubicBezTo>
                    <a:pt x="298359" y="82351"/>
                    <a:pt x="307573" y="68480"/>
                    <a:pt x="308223" y="69984"/>
                  </a:cubicBezTo>
                  <a:cubicBezTo>
                    <a:pt x="309522" y="65957"/>
                    <a:pt x="311957" y="62237"/>
                    <a:pt x="315326" y="5912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0DBABB88-3A89-4594-82F8-A700A857E559}"/>
                </a:ext>
              </a:extLst>
            </p:cNvPr>
            <p:cNvSpPr/>
            <p:nvPr/>
          </p:nvSpPr>
          <p:spPr>
            <a:xfrm>
              <a:off x="7272988" y="4869701"/>
              <a:ext cx="29290" cy="19832"/>
            </a:xfrm>
            <a:custGeom>
              <a:avLst/>
              <a:gdLst>
                <a:gd name="connsiteX0" fmla="*/ 20435 w 30062"/>
                <a:gd name="connsiteY0" fmla="*/ 26816 h 27154"/>
                <a:gd name="connsiteX1" fmla="*/ 29973 w 30062"/>
                <a:gd name="connsiteY1" fmla="*/ 7530 h 27154"/>
                <a:gd name="connsiteX2" fmla="*/ 10328 w 30062"/>
                <a:gd name="connsiteY2" fmla="*/ 1681 h 27154"/>
                <a:gd name="connsiteX3" fmla="*/ 20435 w 30062"/>
                <a:gd name="connsiteY3" fmla="*/ 26816 h 27154"/>
                <a:gd name="connsiteX4" fmla="*/ 20435 w 30062"/>
                <a:gd name="connsiteY4" fmla="*/ 26816 h 2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62" h="27154">
                  <a:moveTo>
                    <a:pt x="20435" y="26816"/>
                  </a:moveTo>
                  <a:cubicBezTo>
                    <a:pt x="19095" y="20131"/>
                    <a:pt x="30663" y="14783"/>
                    <a:pt x="29973" y="7530"/>
                  </a:cubicBezTo>
                  <a:cubicBezTo>
                    <a:pt x="29324" y="846"/>
                    <a:pt x="18608" y="-2898"/>
                    <a:pt x="10328" y="1681"/>
                  </a:cubicBezTo>
                  <a:cubicBezTo>
                    <a:pt x="-3026" y="9068"/>
                    <a:pt x="-7167" y="25078"/>
                    <a:pt x="20435" y="26816"/>
                  </a:cubicBezTo>
                  <a:cubicBezTo>
                    <a:pt x="20069" y="24944"/>
                    <a:pt x="13006" y="26314"/>
                    <a:pt x="20435" y="2681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3D212C05-C1E1-4A67-9E81-1379207A3796}"/>
                </a:ext>
              </a:extLst>
            </p:cNvPr>
            <p:cNvSpPr/>
            <p:nvPr/>
          </p:nvSpPr>
          <p:spPr>
            <a:xfrm>
              <a:off x="7600123" y="4813240"/>
              <a:ext cx="518484" cy="155627"/>
            </a:xfrm>
            <a:custGeom>
              <a:avLst/>
              <a:gdLst>
                <a:gd name="connsiteX0" fmla="*/ 512752 w 532143"/>
                <a:gd name="connsiteY0" fmla="*/ 44529 h 213089"/>
                <a:gd name="connsiteX1" fmla="*/ 497936 w 532143"/>
                <a:gd name="connsiteY1" fmla="*/ 24475 h 213089"/>
                <a:gd name="connsiteX2" fmla="*/ 456413 w 532143"/>
                <a:gd name="connsiteY2" fmla="*/ 6760 h 213089"/>
                <a:gd name="connsiteX3" fmla="*/ 407259 w 532143"/>
                <a:gd name="connsiteY3" fmla="*/ 75 h 213089"/>
                <a:gd name="connsiteX4" fmla="*/ 356156 w 532143"/>
                <a:gd name="connsiteY4" fmla="*/ 4588 h 213089"/>
                <a:gd name="connsiteX5" fmla="*/ 360702 w 532143"/>
                <a:gd name="connsiteY5" fmla="*/ 18859 h 213089"/>
                <a:gd name="connsiteX6" fmla="*/ 342518 w 532143"/>
                <a:gd name="connsiteY6" fmla="*/ 27449 h 213089"/>
                <a:gd name="connsiteX7" fmla="*/ 315932 w 532143"/>
                <a:gd name="connsiteY7" fmla="*/ 36206 h 213089"/>
                <a:gd name="connsiteX8" fmla="*/ 307083 w 532143"/>
                <a:gd name="connsiteY8" fmla="*/ 42691 h 213089"/>
                <a:gd name="connsiteX9" fmla="*/ 293567 w 532143"/>
                <a:gd name="connsiteY9" fmla="*/ 48406 h 213089"/>
                <a:gd name="connsiteX10" fmla="*/ 273272 w 532143"/>
                <a:gd name="connsiteY10" fmla="*/ 54456 h 213089"/>
                <a:gd name="connsiteX11" fmla="*/ 253424 w 532143"/>
                <a:gd name="connsiteY11" fmla="*/ 67491 h 213089"/>
                <a:gd name="connsiteX12" fmla="*/ 220952 w 532143"/>
                <a:gd name="connsiteY12" fmla="*/ 65519 h 213089"/>
                <a:gd name="connsiteX13" fmla="*/ 205690 w 532143"/>
                <a:gd name="connsiteY13" fmla="*/ 67524 h 213089"/>
                <a:gd name="connsiteX14" fmla="*/ 178617 w 532143"/>
                <a:gd name="connsiteY14" fmla="*/ 65820 h 213089"/>
                <a:gd name="connsiteX15" fmla="*/ 169443 w 532143"/>
                <a:gd name="connsiteY15" fmla="*/ 85874 h 213089"/>
                <a:gd name="connsiteX16" fmla="*/ 101861 w 532143"/>
                <a:gd name="connsiteY16" fmla="*/ 79690 h 213089"/>
                <a:gd name="connsiteX17" fmla="*/ 387 w 532143"/>
                <a:gd name="connsiteY17" fmla="*/ 60071 h 213089"/>
                <a:gd name="connsiteX18" fmla="*/ 24741 w 532143"/>
                <a:gd name="connsiteY18" fmla="*/ 83868 h 213089"/>
                <a:gd name="connsiteX19" fmla="*/ 46375 w 532143"/>
                <a:gd name="connsiteY19" fmla="*/ 103288 h 213089"/>
                <a:gd name="connsiteX20" fmla="*/ 54493 w 532143"/>
                <a:gd name="connsiteY20" fmla="*/ 117559 h 213089"/>
                <a:gd name="connsiteX21" fmla="*/ 23685 w 532143"/>
                <a:gd name="connsiteY21" fmla="*/ 126016 h 213089"/>
                <a:gd name="connsiteX22" fmla="*/ -60 w 532143"/>
                <a:gd name="connsiteY22" fmla="*/ 143997 h 213089"/>
                <a:gd name="connsiteX23" fmla="*/ 49135 w 532143"/>
                <a:gd name="connsiteY23" fmla="*/ 151852 h 213089"/>
                <a:gd name="connsiteX24" fmla="*/ 79456 w 532143"/>
                <a:gd name="connsiteY24" fmla="*/ 154192 h 213089"/>
                <a:gd name="connsiteX25" fmla="*/ 116798 w 532143"/>
                <a:gd name="connsiteY25" fmla="*/ 163015 h 213089"/>
                <a:gd name="connsiteX26" fmla="*/ 149270 w 532143"/>
                <a:gd name="connsiteY26" fmla="*/ 169165 h 213089"/>
                <a:gd name="connsiteX27" fmla="*/ 162624 w 532143"/>
                <a:gd name="connsiteY27" fmla="*/ 191693 h 213089"/>
                <a:gd name="connsiteX28" fmla="*/ 187344 w 532143"/>
                <a:gd name="connsiteY28" fmla="*/ 207569 h 213089"/>
                <a:gd name="connsiteX29" fmla="*/ 211413 w 532143"/>
                <a:gd name="connsiteY29" fmla="*/ 202288 h 213089"/>
                <a:gd name="connsiteX30" fmla="*/ 275017 w 532143"/>
                <a:gd name="connsiteY30" fmla="*/ 211112 h 213089"/>
                <a:gd name="connsiteX31" fmla="*/ 266372 w 532143"/>
                <a:gd name="connsiteY31" fmla="*/ 190690 h 213089"/>
                <a:gd name="connsiteX32" fmla="*/ 256671 w 532143"/>
                <a:gd name="connsiteY32" fmla="*/ 167026 h 213089"/>
                <a:gd name="connsiteX33" fmla="*/ 252043 w 532143"/>
                <a:gd name="connsiteY33" fmla="*/ 154258 h 213089"/>
                <a:gd name="connsiteX34" fmla="*/ 276641 w 532143"/>
                <a:gd name="connsiteY34" fmla="*/ 147774 h 213089"/>
                <a:gd name="connsiteX35" fmla="*/ 288818 w 532143"/>
                <a:gd name="connsiteY35" fmla="*/ 153156 h 213089"/>
                <a:gd name="connsiteX36" fmla="*/ 300061 w 532143"/>
                <a:gd name="connsiteY36" fmla="*/ 152587 h 213089"/>
                <a:gd name="connsiteX37" fmla="*/ 333548 w 532143"/>
                <a:gd name="connsiteY37" fmla="*/ 151752 h 213089"/>
                <a:gd name="connsiteX38" fmla="*/ 357090 w 532143"/>
                <a:gd name="connsiteY38" fmla="*/ 145635 h 213089"/>
                <a:gd name="connsiteX39" fmla="*/ 374462 w 532143"/>
                <a:gd name="connsiteY39" fmla="*/ 136979 h 213089"/>
                <a:gd name="connsiteX40" fmla="*/ 391916 w 532143"/>
                <a:gd name="connsiteY40" fmla="*/ 130595 h 213089"/>
                <a:gd name="connsiteX41" fmla="*/ 414606 w 532143"/>
                <a:gd name="connsiteY41" fmla="*/ 120568 h 213089"/>
                <a:gd name="connsiteX42" fmla="*/ 431978 w 532143"/>
                <a:gd name="connsiteY42" fmla="*/ 106463 h 213089"/>
                <a:gd name="connsiteX43" fmla="*/ 450690 w 532143"/>
                <a:gd name="connsiteY43" fmla="*/ 96837 h 213089"/>
                <a:gd name="connsiteX44" fmla="*/ 428649 w 532143"/>
                <a:gd name="connsiteY44" fmla="*/ 85239 h 213089"/>
                <a:gd name="connsiteX45" fmla="*/ 424590 w 532143"/>
                <a:gd name="connsiteY45" fmla="*/ 70599 h 213089"/>
                <a:gd name="connsiteX46" fmla="*/ 437092 w 532143"/>
                <a:gd name="connsiteY46" fmla="*/ 48139 h 213089"/>
                <a:gd name="connsiteX47" fmla="*/ 472770 w 532143"/>
                <a:gd name="connsiteY47" fmla="*/ 60606 h 213089"/>
                <a:gd name="connsiteX48" fmla="*/ 515025 w 532143"/>
                <a:gd name="connsiteY48" fmla="*/ 64483 h 213089"/>
                <a:gd name="connsiteX49" fmla="*/ 530814 w 532143"/>
                <a:gd name="connsiteY49" fmla="*/ 59235 h 213089"/>
                <a:gd name="connsiteX50" fmla="*/ 512549 w 532143"/>
                <a:gd name="connsiteY50" fmla="*/ 44663 h 21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32143" h="213089">
                  <a:moveTo>
                    <a:pt x="512752" y="44529"/>
                  </a:moveTo>
                  <a:cubicBezTo>
                    <a:pt x="499600" y="37410"/>
                    <a:pt x="506338" y="31160"/>
                    <a:pt x="497936" y="24475"/>
                  </a:cubicBezTo>
                  <a:cubicBezTo>
                    <a:pt x="486328" y="15183"/>
                    <a:pt x="473096" y="5189"/>
                    <a:pt x="456413" y="6760"/>
                  </a:cubicBezTo>
                  <a:cubicBezTo>
                    <a:pt x="439730" y="8331"/>
                    <a:pt x="424347" y="510"/>
                    <a:pt x="407259" y="75"/>
                  </a:cubicBezTo>
                  <a:cubicBezTo>
                    <a:pt x="397842" y="-225"/>
                    <a:pt x="354736" y="-1896"/>
                    <a:pt x="356156" y="4588"/>
                  </a:cubicBezTo>
                  <a:cubicBezTo>
                    <a:pt x="357333" y="10036"/>
                    <a:pt x="361189" y="13178"/>
                    <a:pt x="360702" y="18859"/>
                  </a:cubicBezTo>
                  <a:cubicBezTo>
                    <a:pt x="360256" y="23672"/>
                    <a:pt x="347470" y="24909"/>
                    <a:pt x="342518" y="27449"/>
                  </a:cubicBezTo>
                  <a:cubicBezTo>
                    <a:pt x="329123" y="34301"/>
                    <a:pt x="342803" y="45699"/>
                    <a:pt x="315932" y="36206"/>
                  </a:cubicBezTo>
                  <a:cubicBezTo>
                    <a:pt x="298032" y="29889"/>
                    <a:pt x="300873" y="33599"/>
                    <a:pt x="307083" y="42691"/>
                  </a:cubicBezTo>
                  <a:cubicBezTo>
                    <a:pt x="310736" y="48038"/>
                    <a:pt x="300305" y="48640"/>
                    <a:pt x="293567" y="48406"/>
                  </a:cubicBezTo>
                  <a:cubicBezTo>
                    <a:pt x="280862" y="47938"/>
                    <a:pt x="276600" y="46802"/>
                    <a:pt x="273272" y="54456"/>
                  </a:cubicBezTo>
                  <a:cubicBezTo>
                    <a:pt x="272704" y="55759"/>
                    <a:pt x="257361" y="79356"/>
                    <a:pt x="253424" y="67491"/>
                  </a:cubicBezTo>
                  <a:cubicBezTo>
                    <a:pt x="251556" y="61842"/>
                    <a:pt x="225011" y="63614"/>
                    <a:pt x="220952" y="65519"/>
                  </a:cubicBezTo>
                  <a:cubicBezTo>
                    <a:pt x="214904" y="68293"/>
                    <a:pt x="216447" y="70098"/>
                    <a:pt x="205690" y="67524"/>
                  </a:cubicBezTo>
                  <a:cubicBezTo>
                    <a:pt x="195624" y="65084"/>
                    <a:pt x="187993" y="63748"/>
                    <a:pt x="178617" y="65820"/>
                  </a:cubicBezTo>
                  <a:cubicBezTo>
                    <a:pt x="163355" y="69162"/>
                    <a:pt x="177805" y="80192"/>
                    <a:pt x="169443" y="85874"/>
                  </a:cubicBezTo>
                  <a:cubicBezTo>
                    <a:pt x="163395" y="90052"/>
                    <a:pt x="111156" y="80727"/>
                    <a:pt x="101861" y="79690"/>
                  </a:cubicBezTo>
                  <a:cubicBezTo>
                    <a:pt x="65330" y="75379"/>
                    <a:pt x="35944" y="67257"/>
                    <a:pt x="387" y="60071"/>
                  </a:cubicBezTo>
                  <a:cubicBezTo>
                    <a:pt x="9601" y="67792"/>
                    <a:pt x="13741" y="76783"/>
                    <a:pt x="24741" y="83868"/>
                  </a:cubicBezTo>
                  <a:cubicBezTo>
                    <a:pt x="35741" y="90954"/>
                    <a:pt x="46862" y="93428"/>
                    <a:pt x="46375" y="103288"/>
                  </a:cubicBezTo>
                  <a:cubicBezTo>
                    <a:pt x="46010" y="110774"/>
                    <a:pt x="49663" y="110908"/>
                    <a:pt x="54493" y="117559"/>
                  </a:cubicBezTo>
                  <a:cubicBezTo>
                    <a:pt x="64478" y="130929"/>
                    <a:pt x="37202" y="124746"/>
                    <a:pt x="23685" y="126016"/>
                  </a:cubicBezTo>
                  <a:cubicBezTo>
                    <a:pt x="7449" y="127486"/>
                    <a:pt x="549" y="134773"/>
                    <a:pt x="-60" y="143997"/>
                  </a:cubicBezTo>
                  <a:cubicBezTo>
                    <a:pt x="16136" y="147410"/>
                    <a:pt x="32575" y="150034"/>
                    <a:pt x="49135" y="151852"/>
                  </a:cubicBezTo>
                  <a:cubicBezTo>
                    <a:pt x="59486" y="152788"/>
                    <a:pt x="69430" y="147975"/>
                    <a:pt x="79456" y="154192"/>
                  </a:cubicBezTo>
                  <a:cubicBezTo>
                    <a:pt x="87899" y="159506"/>
                    <a:pt x="106083" y="162013"/>
                    <a:pt x="116798" y="163015"/>
                  </a:cubicBezTo>
                  <a:cubicBezTo>
                    <a:pt x="127514" y="164018"/>
                    <a:pt x="144359" y="160442"/>
                    <a:pt x="149270" y="169165"/>
                  </a:cubicBezTo>
                  <a:cubicBezTo>
                    <a:pt x="153329" y="176519"/>
                    <a:pt x="163761" y="184373"/>
                    <a:pt x="162624" y="191693"/>
                  </a:cubicBezTo>
                  <a:cubicBezTo>
                    <a:pt x="161366" y="199949"/>
                    <a:pt x="178048" y="202990"/>
                    <a:pt x="187344" y="207569"/>
                  </a:cubicBezTo>
                  <a:cubicBezTo>
                    <a:pt x="197897" y="212750"/>
                    <a:pt x="200008" y="202689"/>
                    <a:pt x="211413" y="202288"/>
                  </a:cubicBezTo>
                  <a:cubicBezTo>
                    <a:pt x="228055" y="201687"/>
                    <a:pt x="261339" y="217830"/>
                    <a:pt x="275017" y="211112"/>
                  </a:cubicBezTo>
                  <a:cubicBezTo>
                    <a:pt x="283704" y="206834"/>
                    <a:pt x="270512" y="195737"/>
                    <a:pt x="266372" y="190690"/>
                  </a:cubicBezTo>
                  <a:cubicBezTo>
                    <a:pt x="260081" y="182936"/>
                    <a:pt x="266737" y="173076"/>
                    <a:pt x="256671" y="167026"/>
                  </a:cubicBezTo>
                  <a:cubicBezTo>
                    <a:pt x="248553" y="162146"/>
                    <a:pt x="242586" y="158637"/>
                    <a:pt x="252043" y="154258"/>
                  </a:cubicBezTo>
                  <a:cubicBezTo>
                    <a:pt x="255778" y="152487"/>
                    <a:pt x="270512" y="145969"/>
                    <a:pt x="276641" y="147774"/>
                  </a:cubicBezTo>
                  <a:cubicBezTo>
                    <a:pt x="281106" y="149111"/>
                    <a:pt x="284759" y="151585"/>
                    <a:pt x="288818" y="153156"/>
                  </a:cubicBezTo>
                  <a:cubicBezTo>
                    <a:pt x="295028" y="155462"/>
                    <a:pt x="294501" y="152420"/>
                    <a:pt x="300061" y="152587"/>
                  </a:cubicBezTo>
                  <a:cubicBezTo>
                    <a:pt x="316297" y="153022"/>
                    <a:pt x="321452" y="162247"/>
                    <a:pt x="333548" y="151752"/>
                  </a:cubicBezTo>
                  <a:cubicBezTo>
                    <a:pt x="340285" y="145936"/>
                    <a:pt x="343290" y="145067"/>
                    <a:pt x="357090" y="145635"/>
                  </a:cubicBezTo>
                  <a:cubicBezTo>
                    <a:pt x="367318" y="146103"/>
                    <a:pt x="370038" y="141290"/>
                    <a:pt x="374462" y="136979"/>
                  </a:cubicBezTo>
                  <a:cubicBezTo>
                    <a:pt x="379860" y="131731"/>
                    <a:pt x="380510" y="130093"/>
                    <a:pt x="391916" y="130595"/>
                  </a:cubicBezTo>
                  <a:cubicBezTo>
                    <a:pt x="405717" y="131263"/>
                    <a:pt x="399790" y="119598"/>
                    <a:pt x="414606" y="120568"/>
                  </a:cubicBezTo>
                  <a:cubicBezTo>
                    <a:pt x="429421" y="121537"/>
                    <a:pt x="425930" y="112145"/>
                    <a:pt x="431978" y="106463"/>
                  </a:cubicBezTo>
                  <a:cubicBezTo>
                    <a:pt x="436362" y="102352"/>
                    <a:pt x="456981" y="102586"/>
                    <a:pt x="450690" y="96837"/>
                  </a:cubicBezTo>
                  <a:cubicBezTo>
                    <a:pt x="444398" y="91088"/>
                    <a:pt x="432952" y="91957"/>
                    <a:pt x="428649" y="85239"/>
                  </a:cubicBezTo>
                  <a:cubicBezTo>
                    <a:pt x="426012" y="81128"/>
                    <a:pt x="422927" y="74543"/>
                    <a:pt x="424590" y="70599"/>
                  </a:cubicBezTo>
                  <a:cubicBezTo>
                    <a:pt x="427797" y="62645"/>
                    <a:pt x="417203" y="47203"/>
                    <a:pt x="437092" y="48139"/>
                  </a:cubicBezTo>
                  <a:cubicBezTo>
                    <a:pt x="449797" y="48707"/>
                    <a:pt x="462095" y="56361"/>
                    <a:pt x="472770" y="60606"/>
                  </a:cubicBezTo>
                  <a:cubicBezTo>
                    <a:pt x="486003" y="65887"/>
                    <a:pt x="501183" y="63714"/>
                    <a:pt x="515025" y="64483"/>
                  </a:cubicBezTo>
                  <a:cubicBezTo>
                    <a:pt x="520991" y="64753"/>
                    <a:pt x="526755" y="62828"/>
                    <a:pt x="530814" y="59235"/>
                  </a:cubicBezTo>
                  <a:cubicBezTo>
                    <a:pt x="536903" y="55124"/>
                    <a:pt x="519489" y="48406"/>
                    <a:pt x="512549" y="4466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28DB55D9-DBBA-43D7-BE26-CE37157CAA86}"/>
                </a:ext>
              </a:extLst>
            </p:cNvPr>
            <p:cNvSpPr/>
            <p:nvPr/>
          </p:nvSpPr>
          <p:spPr>
            <a:xfrm>
              <a:off x="6750751" y="4692930"/>
              <a:ext cx="72308" cy="13010"/>
            </a:xfrm>
            <a:custGeom>
              <a:avLst/>
              <a:gdLst>
                <a:gd name="connsiteX0" fmla="*/ 49382 w 74213"/>
                <a:gd name="connsiteY0" fmla="*/ 12329 h 17814"/>
                <a:gd name="connsiteX1" fmla="*/ 74060 w 74213"/>
                <a:gd name="connsiteY1" fmla="*/ -339 h 17814"/>
                <a:gd name="connsiteX2" fmla="*/ 715 w 74213"/>
                <a:gd name="connsiteY2" fmla="*/ 7616 h 17814"/>
                <a:gd name="connsiteX3" fmla="*/ 49423 w 74213"/>
                <a:gd name="connsiteY3" fmla="*/ 12329 h 17814"/>
                <a:gd name="connsiteX4" fmla="*/ 49382 w 74213"/>
                <a:gd name="connsiteY4" fmla="*/ 12329 h 1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13" h="17814">
                  <a:moveTo>
                    <a:pt x="49382" y="12329"/>
                  </a:moveTo>
                  <a:cubicBezTo>
                    <a:pt x="47880" y="4976"/>
                    <a:pt x="75969" y="3739"/>
                    <a:pt x="74060" y="-339"/>
                  </a:cubicBezTo>
                  <a:cubicBezTo>
                    <a:pt x="75360" y="2369"/>
                    <a:pt x="4530" y="1901"/>
                    <a:pt x="715" y="7616"/>
                  </a:cubicBezTo>
                  <a:cubicBezTo>
                    <a:pt x="-7403" y="19816"/>
                    <a:pt x="51006" y="19849"/>
                    <a:pt x="49423" y="12329"/>
                  </a:cubicBezTo>
                  <a:cubicBezTo>
                    <a:pt x="48936" y="9454"/>
                    <a:pt x="50113" y="15170"/>
                    <a:pt x="49382" y="1232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BC69FD47-0BC2-4493-8E83-5FEDEC337091}"/>
                </a:ext>
              </a:extLst>
            </p:cNvPr>
            <p:cNvSpPr/>
            <p:nvPr/>
          </p:nvSpPr>
          <p:spPr>
            <a:xfrm>
              <a:off x="6819316" y="4732329"/>
              <a:ext cx="131076" cy="54583"/>
            </a:xfrm>
            <a:custGeom>
              <a:avLst/>
              <a:gdLst>
                <a:gd name="connsiteX0" fmla="*/ 128300 w 134529"/>
                <a:gd name="connsiteY0" fmla="*/ 3772 h 74737"/>
                <a:gd name="connsiteX1" fmla="*/ 87305 w 134529"/>
                <a:gd name="connsiteY1" fmla="*/ 10290 h 74737"/>
                <a:gd name="connsiteX2" fmla="*/ 56822 w 134529"/>
                <a:gd name="connsiteY2" fmla="*/ 16373 h 74737"/>
                <a:gd name="connsiteX3" fmla="*/ 27556 w 134529"/>
                <a:gd name="connsiteY3" fmla="*/ -339 h 74737"/>
                <a:gd name="connsiteX4" fmla="*/ 9372 w 134529"/>
                <a:gd name="connsiteY4" fmla="*/ 43112 h 74737"/>
                <a:gd name="connsiteX5" fmla="*/ 483 w 134529"/>
                <a:gd name="connsiteY5" fmla="*/ 60024 h 74737"/>
                <a:gd name="connsiteX6" fmla="*/ 19804 w 134529"/>
                <a:gd name="connsiteY6" fmla="*/ 72725 h 74737"/>
                <a:gd name="connsiteX7" fmla="*/ 56943 w 134529"/>
                <a:gd name="connsiteY7" fmla="*/ 62698 h 74737"/>
                <a:gd name="connsiteX8" fmla="*/ 91120 w 134529"/>
                <a:gd name="connsiteY8" fmla="*/ 55813 h 74737"/>
                <a:gd name="connsiteX9" fmla="*/ 68552 w 134529"/>
                <a:gd name="connsiteY9" fmla="*/ 39870 h 74737"/>
                <a:gd name="connsiteX10" fmla="*/ 100374 w 134529"/>
                <a:gd name="connsiteY10" fmla="*/ 31915 h 74737"/>
                <a:gd name="connsiteX11" fmla="*/ 134470 w 134529"/>
                <a:gd name="connsiteY11" fmla="*/ 29743 h 74737"/>
                <a:gd name="connsiteX12" fmla="*/ 128300 w 134529"/>
                <a:gd name="connsiteY12" fmla="*/ 3872 h 74737"/>
                <a:gd name="connsiteX13" fmla="*/ 128300 w 134529"/>
                <a:gd name="connsiteY13" fmla="*/ 3772 h 7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4529" h="74737">
                  <a:moveTo>
                    <a:pt x="128300" y="3772"/>
                  </a:moveTo>
                  <a:cubicBezTo>
                    <a:pt x="116123" y="5911"/>
                    <a:pt x="100577" y="10457"/>
                    <a:pt x="87305" y="10290"/>
                  </a:cubicBezTo>
                  <a:cubicBezTo>
                    <a:pt x="76670" y="10290"/>
                    <a:pt x="66157" y="16975"/>
                    <a:pt x="56822" y="16373"/>
                  </a:cubicBezTo>
                  <a:cubicBezTo>
                    <a:pt x="45497" y="15771"/>
                    <a:pt x="27191" y="5677"/>
                    <a:pt x="27556" y="-339"/>
                  </a:cubicBezTo>
                  <a:cubicBezTo>
                    <a:pt x="22726" y="14067"/>
                    <a:pt x="20088" y="30210"/>
                    <a:pt x="9372" y="43112"/>
                  </a:cubicBezTo>
                  <a:cubicBezTo>
                    <a:pt x="5516" y="48399"/>
                    <a:pt x="2513" y="54088"/>
                    <a:pt x="483" y="60024"/>
                  </a:cubicBezTo>
                  <a:cubicBezTo>
                    <a:pt x="-2602" y="67511"/>
                    <a:pt x="7952" y="69349"/>
                    <a:pt x="19804" y="72725"/>
                  </a:cubicBezTo>
                  <a:cubicBezTo>
                    <a:pt x="43062" y="79410"/>
                    <a:pt x="42696" y="64002"/>
                    <a:pt x="56943" y="62698"/>
                  </a:cubicBezTo>
                  <a:cubicBezTo>
                    <a:pt x="66644" y="61796"/>
                    <a:pt x="87670" y="63667"/>
                    <a:pt x="91120" y="55813"/>
                  </a:cubicBezTo>
                  <a:cubicBezTo>
                    <a:pt x="93149" y="51200"/>
                    <a:pt x="75290" y="41741"/>
                    <a:pt x="68552" y="39870"/>
                  </a:cubicBezTo>
                  <a:cubicBezTo>
                    <a:pt x="56903" y="36527"/>
                    <a:pt x="96681" y="31648"/>
                    <a:pt x="100374" y="31915"/>
                  </a:cubicBezTo>
                  <a:cubicBezTo>
                    <a:pt x="113201" y="32751"/>
                    <a:pt x="122496" y="28573"/>
                    <a:pt x="134470" y="29743"/>
                  </a:cubicBezTo>
                  <a:cubicBezTo>
                    <a:pt x="132359" y="21153"/>
                    <a:pt x="128584" y="12429"/>
                    <a:pt x="128300" y="3872"/>
                  </a:cubicBezTo>
                  <a:cubicBezTo>
                    <a:pt x="108167" y="7349"/>
                    <a:pt x="128422" y="6914"/>
                    <a:pt x="128300" y="377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47885D68-1808-4989-96D1-002450F42D31}"/>
                </a:ext>
              </a:extLst>
            </p:cNvPr>
            <p:cNvSpPr/>
            <p:nvPr/>
          </p:nvSpPr>
          <p:spPr>
            <a:xfrm>
              <a:off x="6808508" y="4754604"/>
              <a:ext cx="595374" cy="218869"/>
            </a:xfrm>
            <a:custGeom>
              <a:avLst/>
              <a:gdLst>
                <a:gd name="connsiteX0" fmla="*/ 384432 w 611059"/>
                <a:gd name="connsiteY0" fmla="*/ 86178 h 299682"/>
                <a:gd name="connsiteX1" fmla="*/ 333289 w 611059"/>
                <a:gd name="connsiteY1" fmla="*/ 76552 h 299682"/>
                <a:gd name="connsiteX2" fmla="*/ 280523 w 611059"/>
                <a:gd name="connsiteY2" fmla="*/ 55863 h 299682"/>
                <a:gd name="connsiteX3" fmla="*/ 179819 w 611059"/>
                <a:gd name="connsiteY3" fmla="*/ 4792 h 299682"/>
                <a:gd name="connsiteX4" fmla="*/ 126443 w 611059"/>
                <a:gd name="connsiteY4" fmla="*/ 1449 h 299682"/>
                <a:gd name="connsiteX5" fmla="*/ 86259 w 611059"/>
                <a:gd name="connsiteY5" fmla="*/ 12145 h 299682"/>
                <a:gd name="connsiteX6" fmla="*/ 74529 w 611059"/>
                <a:gd name="connsiteY6" fmla="*/ 32199 h 299682"/>
                <a:gd name="connsiteX7" fmla="*/ 49689 w 611059"/>
                <a:gd name="connsiteY7" fmla="*/ 42627 h 299682"/>
                <a:gd name="connsiteX8" fmla="*/ 6704 w 611059"/>
                <a:gd name="connsiteY8" fmla="*/ 33536 h 299682"/>
                <a:gd name="connsiteX9" fmla="*/ 26674 w 611059"/>
                <a:gd name="connsiteY9" fmla="*/ 81265 h 299682"/>
                <a:gd name="connsiteX10" fmla="*/ 60404 w 611059"/>
                <a:gd name="connsiteY10" fmla="*/ 114087 h 299682"/>
                <a:gd name="connsiteX11" fmla="*/ 86259 w 611059"/>
                <a:gd name="connsiteY11" fmla="*/ 144168 h 299682"/>
                <a:gd name="connsiteX12" fmla="*/ 116783 w 611059"/>
                <a:gd name="connsiteY12" fmla="*/ 173547 h 299682"/>
                <a:gd name="connsiteX13" fmla="*/ 130462 w 611059"/>
                <a:gd name="connsiteY13" fmla="*/ 213221 h 299682"/>
                <a:gd name="connsiteX14" fmla="*/ 156642 w 611059"/>
                <a:gd name="connsiteY14" fmla="*/ 229164 h 299682"/>
                <a:gd name="connsiteX15" fmla="*/ 172878 w 611059"/>
                <a:gd name="connsiteY15" fmla="*/ 252928 h 299682"/>
                <a:gd name="connsiteX16" fmla="*/ 205350 w 611059"/>
                <a:gd name="connsiteY16" fmla="*/ 295410 h 299682"/>
                <a:gd name="connsiteX17" fmla="*/ 219232 w 611059"/>
                <a:gd name="connsiteY17" fmla="*/ 286118 h 299682"/>
                <a:gd name="connsiteX18" fmla="*/ 242409 w 611059"/>
                <a:gd name="connsiteY18" fmla="*/ 280436 h 299682"/>
                <a:gd name="connsiteX19" fmla="*/ 273379 w 611059"/>
                <a:gd name="connsiteY19" fmla="*/ 284881 h 299682"/>
                <a:gd name="connsiteX20" fmla="*/ 296352 w 611059"/>
                <a:gd name="connsiteY20" fmla="*/ 290363 h 299682"/>
                <a:gd name="connsiteX21" fmla="*/ 352407 w 611059"/>
                <a:gd name="connsiteY21" fmla="*/ 296112 h 299682"/>
                <a:gd name="connsiteX22" fmla="*/ 397502 w 611059"/>
                <a:gd name="connsiteY22" fmla="*/ 280302 h 299682"/>
                <a:gd name="connsiteX23" fmla="*/ 450269 w 611059"/>
                <a:gd name="connsiteY23" fmla="*/ 284614 h 299682"/>
                <a:gd name="connsiteX24" fmla="*/ 493132 w 611059"/>
                <a:gd name="connsiteY24" fmla="*/ 284614 h 299682"/>
                <a:gd name="connsiteX25" fmla="*/ 553245 w 611059"/>
                <a:gd name="connsiteY25" fmla="*/ 282408 h 299682"/>
                <a:gd name="connsiteX26" fmla="*/ 586407 w 611059"/>
                <a:gd name="connsiteY26" fmla="*/ 279066 h 299682"/>
                <a:gd name="connsiteX27" fmla="*/ 591805 w 611059"/>
                <a:gd name="connsiteY27" fmla="*/ 233208 h 299682"/>
                <a:gd name="connsiteX28" fmla="*/ 535994 w 611059"/>
                <a:gd name="connsiteY28" fmla="*/ 221243 h 299682"/>
                <a:gd name="connsiteX29" fmla="*/ 502954 w 611059"/>
                <a:gd name="connsiteY29" fmla="*/ 193668 h 299682"/>
                <a:gd name="connsiteX30" fmla="*/ 497271 w 611059"/>
                <a:gd name="connsiteY30" fmla="*/ 184744 h 299682"/>
                <a:gd name="connsiteX31" fmla="*/ 484648 w 611059"/>
                <a:gd name="connsiteY31" fmla="*/ 181770 h 299682"/>
                <a:gd name="connsiteX32" fmla="*/ 466342 w 611059"/>
                <a:gd name="connsiteY32" fmla="*/ 164490 h 299682"/>
                <a:gd name="connsiteX33" fmla="*/ 452136 w 611059"/>
                <a:gd name="connsiteY33" fmla="*/ 131267 h 299682"/>
                <a:gd name="connsiteX34" fmla="*/ 431313 w 611059"/>
                <a:gd name="connsiteY34" fmla="*/ 115758 h 299682"/>
                <a:gd name="connsiteX35" fmla="*/ 421450 w 611059"/>
                <a:gd name="connsiteY35" fmla="*/ 99380 h 299682"/>
                <a:gd name="connsiteX36" fmla="*/ 384432 w 611059"/>
                <a:gd name="connsiteY36" fmla="*/ 86178 h 29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11059" h="299682">
                  <a:moveTo>
                    <a:pt x="384432" y="86178"/>
                  </a:moveTo>
                  <a:cubicBezTo>
                    <a:pt x="367465" y="82836"/>
                    <a:pt x="350459" y="79259"/>
                    <a:pt x="333289" y="76552"/>
                  </a:cubicBezTo>
                  <a:cubicBezTo>
                    <a:pt x="309706" y="72875"/>
                    <a:pt x="297083" y="65623"/>
                    <a:pt x="280523" y="55863"/>
                  </a:cubicBezTo>
                  <a:cubicBezTo>
                    <a:pt x="248659" y="36674"/>
                    <a:pt x="214970" y="19598"/>
                    <a:pt x="179819" y="4792"/>
                  </a:cubicBezTo>
                  <a:cubicBezTo>
                    <a:pt x="162081" y="-2361"/>
                    <a:pt x="144303" y="-556"/>
                    <a:pt x="126443" y="1449"/>
                  </a:cubicBezTo>
                  <a:cubicBezTo>
                    <a:pt x="114916" y="2619"/>
                    <a:pt x="62271" y="-322"/>
                    <a:pt x="86259" y="12145"/>
                  </a:cubicBezTo>
                  <a:cubicBezTo>
                    <a:pt x="106230" y="22540"/>
                    <a:pt x="103998" y="33102"/>
                    <a:pt x="74529" y="32199"/>
                  </a:cubicBezTo>
                  <a:cubicBezTo>
                    <a:pt x="59917" y="31698"/>
                    <a:pt x="61500" y="39652"/>
                    <a:pt x="49689" y="42627"/>
                  </a:cubicBezTo>
                  <a:cubicBezTo>
                    <a:pt x="34548" y="46437"/>
                    <a:pt x="19043" y="38516"/>
                    <a:pt x="6704" y="33536"/>
                  </a:cubicBezTo>
                  <a:cubicBezTo>
                    <a:pt x="-10181" y="50248"/>
                    <a:pt x="7597" y="66959"/>
                    <a:pt x="26674" y="81265"/>
                  </a:cubicBezTo>
                  <a:cubicBezTo>
                    <a:pt x="39541" y="91008"/>
                    <a:pt x="50865" y="102034"/>
                    <a:pt x="60404" y="114087"/>
                  </a:cubicBezTo>
                  <a:cubicBezTo>
                    <a:pt x="69618" y="125685"/>
                    <a:pt x="67020" y="134509"/>
                    <a:pt x="86259" y="144168"/>
                  </a:cubicBezTo>
                  <a:cubicBezTo>
                    <a:pt x="96123" y="149048"/>
                    <a:pt x="116175" y="166161"/>
                    <a:pt x="116783" y="173547"/>
                  </a:cubicBezTo>
                  <a:cubicBezTo>
                    <a:pt x="117920" y="187485"/>
                    <a:pt x="111953" y="200821"/>
                    <a:pt x="130462" y="213221"/>
                  </a:cubicBezTo>
                  <a:cubicBezTo>
                    <a:pt x="138864" y="218870"/>
                    <a:pt x="149458" y="222747"/>
                    <a:pt x="156642" y="229164"/>
                  </a:cubicBezTo>
                  <a:cubicBezTo>
                    <a:pt x="164760" y="236517"/>
                    <a:pt x="167520" y="244973"/>
                    <a:pt x="172878" y="252928"/>
                  </a:cubicBezTo>
                  <a:cubicBezTo>
                    <a:pt x="183107" y="267702"/>
                    <a:pt x="197679" y="280135"/>
                    <a:pt x="205350" y="295410"/>
                  </a:cubicBezTo>
                  <a:cubicBezTo>
                    <a:pt x="217892" y="293404"/>
                    <a:pt x="220044" y="293906"/>
                    <a:pt x="219232" y="286118"/>
                  </a:cubicBezTo>
                  <a:cubicBezTo>
                    <a:pt x="218542" y="279433"/>
                    <a:pt x="234209" y="277729"/>
                    <a:pt x="242409" y="280436"/>
                  </a:cubicBezTo>
                  <a:cubicBezTo>
                    <a:pt x="251866" y="283778"/>
                    <a:pt x="263231" y="283244"/>
                    <a:pt x="273379" y="284881"/>
                  </a:cubicBezTo>
                  <a:cubicBezTo>
                    <a:pt x="281497" y="286218"/>
                    <a:pt x="288519" y="288992"/>
                    <a:pt x="296352" y="290363"/>
                  </a:cubicBezTo>
                  <a:cubicBezTo>
                    <a:pt x="312263" y="293204"/>
                    <a:pt x="343315" y="304935"/>
                    <a:pt x="352407" y="296112"/>
                  </a:cubicBezTo>
                  <a:cubicBezTo>
                    <a:pt x="360525" y="288157"/>
                    <a:pt x="383255" y="283611"/>
                    <a:pt x="397502" y="280302"/>
                  </a:cubicBezTo>
                  <a:cubicBezTo>
                    <a:pt x="411749" y="276993"/>
                    <a:pt x="434642" y="283143"/>
                    <a:pt x="450269" y="284614"/>
                  </a:cubicBezTo>
                  <a:cubicBezTo>
                    <a:pt x="464516" y="285533"/>
                    <a:pt x="478885" y="285533"/>
                    <a:pt x="493132" y="284614"/>
                  </a:cubicBezTo>
                  <a:cubicBezTo>
                    <a:pt x="513183" y="283945"/>
                    <a:pt x="533234" y="283210"/>
                    <a:pt x="553245" y="282408"/>
                  </a:cubicBezTo>
                  <a:cubicBezTo>
                    <a:pt x="561850" y="282074"/>
                    <a:pt x="581049" y="283478"/>
                    <a:pt x="586407" y="279066"/>
                  </a:cubicBezTo>
                  <a:cubicBezTo>
                    <a:pt x="599233" y="268571"/>
                    <a:pt x="631583" y="240762"/>
                    <a:pt x="591805" y="233208"/>
                  </a:cubicBezTo>
                  <a:cubicBezTo>
                    <a:pt x="573093" y="229666"/>
                    <a:pt x="554382" y="225621"/>
                    <a:pt x="535994" y="221243"/>
                  </a:cubicBezTo>
                  <a:cubicBezTo>
                    <a:pt x="513832" y="215962"/>
                    <a:pt x="513467" y="204030"/>
                    <a:pt x="502954" y="193668"/>
                  </a:cubicBezTo>
                  <a:cubicBezTo>
                    <a:pt x="500194" y="191118"/>
                    <a:pt x="498246" y="188056"/>
                    <a:pt x="497271" y="184744"/>
                  </a:cubicBezTo>
                  <a:cubicBezTo>
                    <a:pt x="492847" y="184497"/>
                    <a:pt x="488545" y="183484"/>
                    <a:pt x="484648" y="181770"/>
                  </a:cubicBezTo>
                  <a:cubicBezTo>
                    <a:pt x="476530" y="178126"/>
                    <a:pt x="470888" y="169704"/>
                    <a:pt x="466342" y="164490"/>
                  </a:cubicBezTo>
                  <a:cubicBezTo>
                    <a:pt x="455099" y="151722"/>
                    <a:pt x="470401" y="144168"/>
                    <a:pt x="452136" y="131267"/>
                  </a:cubicBezTo>
                  <a:cubicBezTo>
                    <a:pt x="444870" y="126410"/>
                    <a:pt x="437889" y="121233"/>
                    <a:pt x="431313" y="115758"/>
                  </a:cubicBezTo>
                  <a:cubicBezTo>
                    <a:pt x="428635" y="113351"/>
                    <a:pt x="422992" y="99648"/>
                    <a:pt x="421450" y="99380"/>
                  </a:cubicBezTo>
                  <a:cubicBezTo>
                    <a:pt x="402048" y="96005"/>
                    <a:pt x="397908" y="94968"/>
                    <a:pt x="384432" y="8617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DC3E31A1-A00C-47DD-A4FE-60C8D9F34653}"/>
                </a:ext>
              </a:extLst>
            </p:cNvPr>
            <p:cNvSpPr/>
            <p:nvPr/>
          </p:nvSpPr>
          <p:spPr>
            <a:xfrm>
              <a:off x="7302842" y="4883238"/>
              <a:ext cx="142278" cy="40927"/>
            </a:xfrm>
            <a:custGeom>
              <a:avLst/>
              <a:gdLst>
                <a:gd name="connsiteX0" fmla="*/ 18530 w 146026"/>
                <a:gd name="connsiteY0" fmla="*/ 42038 h 56038"/>
                <a:gd name="connsiteX1" fmla="*/ 59445 w 146026"/>
                <a:gd name="connsiteY1" fmla="*/ 51664 h 56038"/>
                <a:gd name="connsiteX2" fmla="*/ 95204 w 146026"/>
                <a:gd name="connsiteY2" fmla="*/ 48322 h 56038"/>
                <a:gd name="connsiteX3" fmla="*/ 118503 w 146026"/>
                <a:gd name="connsiteY3" fmla="*/ 35219 h 56038"/>
                <a:gd name="connsiteX4" fmla="*/ 126012 w 146026"/>
                <a:gd name="connsiteY4" fmla="*/ 21482 h 56038"/>
                <a:gd name="connsiteX5" fmla="*/ 145536 w 146026"/>
                <a:gd name="connsiteY5" fmla="*/ 6375 h 56038"/>
                <a:gd name="connsiteX6" fmla="*/ 111359 w 146026"/>
                <a:gd name="connsiteY6" fmla="*/ 10486 h 56038"/>
                <a:gd name="connsiteX7" fmla="*/ 49825 w 146026"/>
                <a:gd name="connsiteY7" fmla="*/ 23856 h 56038"/>
                <a:gd name="connsiteX8" fmla="*/ 16176 w 146026"/>
                <a:gd name="connsiteY8" fmla="*/ 20112 h 56038"/>
                <a:gd name="connsiteX9" fmla="*/ -60 w 146026"/>
                <a:gd name="connsiteY9" fmla="*/ 20580 h 56038"/>
                <a:gd name="connsiteX10" fmla="*/ 18571 w 146026"/>
                <a:gd name="connsiteY10" fmla="*/ 41837 h 5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26" h="56038">
                  <a:moveTo>
                    <a:pt x="18530" y="42038"/>
                  </a:moveTo>
                  <a:cubicBezTo>
                    <a:pt x="27988" y="46985"/>
                    <a:pt x="48120" y="49257"/>
                    <a:pt x="59445" y="51664"/>
                  </a:cubicBezTo>
                  <a:cubicBezTo>
                    <a:pt x="81485" y="56343"/>
                    <a:pt x="84245" y="58850"/>
                    <a:pt x="95204" y="48322"/>
                  </a:cubicBezTo>
                  <a:cubicBezTo>
                    <a:pt x="101049" y="42773"/>
                    <a:pt x="109857" y="39331"/>
                    <a:pt x="118503" y="35219"/>
                  </a:cubicBezTo>
                  <a:cubicBezTo>
                    <a:pt x="123049" y="33047"/>
                    <a:pt x="122156" y="20881"/>
                    <a:pt x="126012" y="21482"/>
                  </a:cubicBezTo>
                  <a:cubicBezTo>
                    <a:pt x="149189" y="25159"/>
                    <a:pt x="146064" y="18140"/>
                    <a:pt x="145536" y="6375"/>
                  </a:cubicBezTo>
                  <a:cubicBezTo>
                    <a:pt x="144805" y="-8766"/>
                    <a:pt x="120127" y="5773"/>
                    <a:pt x="111359" y="10486"/>
                  </a:cubicBezTo>
                  <a:cubicBezTo>
                    <a:pt x="93825" y="19912"/>
                    <a:pt x="78887" y="28468"/>
                    <a:pt x="49825" y="23856"/>
                  </a:cubicBezTo>
                  <a:cubicBezTo>
                    <a:pt x="38216" y="22051"/>
                    <a:pt x="27866" y="18408"/>
                    <a:pt x="16176" y="20112"/>
                  </a:cubicBezTo>
                  <a:cubicBezTo>
                    <a:pt x="10331" y="20948"/>
                    <a:pt x="5663" y="24190"/>
                    <a:pt x="-60" y="20580"/>
                  </a:cubicBezTo>
                  <a:cubicBezTo>
                    <a:pt x="-60" y="28000"/>
                    <a:pt x="8464" y="36557"/>
                    <a:pt x="18571" y="4183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A1791D08-8D4B-4EE1-8E28-7A0473F08C7C}"/>
                </a:ext>
              </a:extLst>
            </p:cNvPr>
            <p:cNvSpPr/>
            <p:nvPr/>
          </p:nvSpPr>
          <p:spPr>
            <a:xfrm>
              <a:off x="8484341" y="5173344"/>
              <a:ext cx="249346" cy="188029"/>
            </a:xfrm>
            <a:custGeom>
              <a:avLst/>
              <a:gdLst>
                <a:gd name="connsiteX0" fmla="*/ 152958 w 255915"/>
                <a:gd name="connsiteY0" fmla="*/ 152087 h 257455"/>
                <a:gd name="connsiteX1" fmla="*/ 153648 w 255915"/>
                <a:gd name="connsiteY1" fmla="*/ 139486 h 257455"/>
                <a:gd name="connsiteX2" fmla="*/ 185308 w 255915"/>
                <a:gd name="connsiteY2" fmla="*/ 135108 h 257455"/>
                <a:gd name="connsiteX3" fmla="*/ 212625 w 255915"/>
                <a:gd name="connsiteY3" fmla="*/ 143497 h 257455"/>
                <a:gd name="connsiteX4" fmla="*/ 241565 w 255915"/>
                <a:gd name="connsiteY4" fmla="*/ 155931 h 257455"/>
                <a:gd name="connsiteX5" fmla="*/ 243960 w 255915"/>
                <a:gd name="connsiteY5" fmla="*/ 116056 h 257455"/>
                <a:gd name="connsiteX6" fmla="*/ 248506 w 255915"/>
                <a:gd name="connsiteY6" fmla="*/ 105494 h 257455"/>
                <a:gd name="connsiteX7" fmla="*/ 242824 w 255915"/>
                <a:gd name="connsiteY7" fmla="*/ 87446 h 257455"/>
                <a:gd name="connsiteX8" fmla="*/ 223544 w 255915"/>
                <a:gd name="connsiteY8" fmla="*/ 70734 h 257455"/>
                <a:gd name="connsiteX9" fmla="*/ 194400 w 255915"/>
                <a:gd name="connsiteY9" fmla="*/ 69096 h 257455"/>
                <a:gd name="connsiteX10" fmla="*/ 184253 w 255915"/>
                <a:gd name="connsiteY10" fmla="*/ 61743 h 257455"/>
                <a:gd name="connsiteX11" fmla="*/ 164363 w 255915"/>
                <a:gd name="connsiteY11" fmla="*/ 61074 h 257455"/>
                <a:gd name="connsiteX12" fmla="*/ 144068 w 255915"/>
                <a:gd name="connsiteY12" fmla="*/ 54657 h 257455"/>
                <a:gd name="connsiteX13" fmla="*/ 158234 w 255915"/>
                <a:gd name="connsiteY13" fmla="*/ 25779 h 257455"/>
                <a:gd name="connsiteX14" fmla="*/ 151050 w 255915"/>
                <a:gd name="connsiteY14" fmla="*/ 13747 h 257455"/>
                <a:gd name="connsiteX15" fmla="*/ 151050 w 255915"/>
                <a:gd name="connsiteY15" fmla="*/ 6460 h 257455"/>
                <a:gd name="connsiteX16" fmla="*/ 139726 w 255915"/>
                <a:gd name="connsiteY16" fmla="*/ 4956 h 257455"/>
                <a:gd name="connsiteX17" fmla="*/ 86553 w 255915"/>
                <a:gd name="connsiteY17" fmla="*/ 243 h 257455"/>
                <a:gd name="connsiteX18" fmla="*/ 55908 w 255915"/>
                <a:gd name="connsiteY18" fmla="*/ 23640 h 257455"/>
                <a:gd name="connsiteX19" fmla="*/ 68694 w 255915"/>
                <a:gd name="connsiteY19" fmla="*/ 53220 h 257455"/>
                <a:gd name="connsiteX20" fmla="*/ 68085 w 255915"/>
                <a:gd name="connsiteY20" fmla="*/ 65787 h 257455"/>
                <a:gd name="connsiteX21" fmla="*/ 55583 w 255915"/>
                <a:gd name="connsiteY21" fmla="*/ 75547 h 257455"/>
                <a:gd name="connsiteX22" fmla="*/ 53878 w 255915"/>
                <a:gd name="connsiteY22" fmla="*/ 91089 h 257455"/>
                <a:gd name="connsiteX23" fmla="*/ 60495 w 255915"/>
                <a:gd name="connsiteY23" fmla="*/ 115789 h 257455"/>
                <a:gd name="connsiteX24" fmla="*/ 62240 w 255915"/>
                <a:gd name="connsiteY24" fmla="*/ 133303 h 257455"/>
                <a:gd name="connsiteX25" fmla="*/ 52458 w 255915"/>
                <a:gd name="connsiteY25" fmla="*/ 141191 h 257455"/>
                <a:gd name="connsiteX26" fmla="*/ 20229 w 255915"/>
                <a:gd name="connsiteY26" fmla="*/ 159039 h 257455"/>
                <a:gd name="connsiteX27" fmla="*/ 949 w 255915"/>
                <a:gd name="connsiteY27" fmla="*/ 180029 h 257455"/>
                <a:gd name="connsiteX28" fmla="*/ 13126 w 255915"/>
                <a:gd name="connsiteY28" fmla="*/ 196741 h 257455"/>
                <a:gd name="connsiteX29" fmla="*/ 31513 w 255915"/>
                <a:gd name="connsiteY29" fmla="*/ 224917 h 257455"/>
                <a:gd name="connsiteX30" fmla="*/ 57734 w 255915"/>
                <a:gd name="connsiteY30" fmla="*/ 244637 h 257455"/>
                <a:gd name="connsiteX31" fmla="*/ 70520 w 255915"/>
                <a:gd name="connsiteY31" fmla="*/ 256168 h 257455"/>
                <a:gd name="connsiteX32" fmla="*/ 89110 w 255915"/>
                <a:gd name="connsiteY32" fmla="*/ 254397 h 257455"/>
                <a:gd name="connsiteX33" fmla="*/ 55583 w 255915"/>
                <a:gd name="connsiteY33" fmla="*/ 228259 h 257455"/>
                <a:gd name="connsiteX34" fmla="*/ 51524 w 255915"/>
                <a:gd name="connsiteY34" fmla="*/ 198178 h 257455"/>
                <a:gd name="connsiteX35" fmla="*/ 47465 w 255915"/>
                <a:gd name="connsiteY35" fmla="*/ 185043 h 257455"/>
                <a:gd name="connsiteX36" fmla="*/ 34882 w 255915"/>
                <a:gd name="connsiteY36" fmla="*/ 173578 h 257455"/>
                <a:gd name="connsiteX37" fmla="*/ 55989 w 255915"/>
                <a:gd name="connsiteY37" fmla="*/ 150182 h 257455"/>
                <a:gd name="connsiteX38" fmla="*/ 81479 w 255915"/>
                <a:gd name="connsiteY38" fmla="*/ 130696 h 257455"/>
                <a:gd name="connsiteX39" fmla="*/ 104129 w 255915"/>
                <a:gd name="connsiteY39" fmla="*/ 125381 h 257455"/>
                <a:gd name="connsiteX40" fmla="*/ 117604 w 255915"/>
                <a:gd name="connsiteY40" fmla="*/ 144299 h 257455"/>
                <a:gd name="connsiteX41" fmla="*/ 150076 w 255915"/>
                <a:gd name="connsiteY41" fmla="*/ 166091 h 257455"/>
                <a:gd name="connsiteX42" fmla="*/ 152958 w 255915"/>
                <a:gd name="connsiteY42" fmla="*/ 152087 h 25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5915" h="257455">
                  <a:moveTo>
                    <a:pt x="152958" y="152087"/>
                  </a:moveTo>
                  <a:cubicBezTo>
                    <a:pt x="154947" y="148109"/>
                    <a:pt x="148899" y="142428"/>
                    <a:pt x="153648" y="139486"/>
                  </a:cubicBezTo>
                  <a:cubicBezTo>
                    <a:pt x="160711" y="135308"/>
                    <a:pt x="174592" y="134239"/>
                    <a:pt x="185308" y="135108"/>
                  </a:cubicBezTo>
                  <a:cubicBezTo>
                    <a:pt x="196024" y="135977"/>
                    <a:pt x="202681" y="140756"/>
                    <a:pt x="212625" y="143497"/>
                  </a:cubicBezTo>
                  <a:cubicBezTo>
                    <a:pt x="225776" y="147140"/>
                    <a:pt x="232920" y="148143"/>
                    <a:pt x="241565" y="155931"/>
                  </a:cubicBezTo>
                  <a:cubicBezTo>
                    <a:pt x="258329" y="152221"/>
                    <a:pt x="261860" y="125849"/>
                    <a:pt x="243960" y="116056"/>
                  </a:cubicBezTo>
                  <a:cubicBezTo>
                    <a:pt x="238643" y="113115"/>
                    <a:pt x="246842" y="107232"/>
                    <a:pt x="248506" y="105494"/>
                  </a:cubicBezTo>
                  <a:cubicBezTo>
                    <a:pt x="255366" y="98275"/>
                    <a:pt x="249034" y="96136"/>
                    <a:pt x="242824" y="87446"/>
                  </a:cubicBezTo>
                  <a:cubicBezTo>
                    <a:pt x="237750" y="80393"/>
                    <a:pt x="236127" y="74343"/>
                    <a:pt x="223544" y="70734"/>
                  </a:cubicBezTo>
                  <a:cubicBezTo>
                    <a:pt x="212341" y="67392"/>
                    <a:pt x="205116" y="73742"/>
                    <a:pt x="194400" y="69096"/>
                  </a:cubicBezTo>
                  <a:cubicBezTo>
                    <a:pt x="189529" y="66957"/>
                    <a:pt x="189976" y="63648"/>
                    <a:pt x="184253" y="61743"/>
                  </a:cubicBezTo>
                  <a:cubicBezTo>
                    <a:pt x="177799" y="60098"/>
                    <a:pt x="170939" y="59868"/>
                    <a:pt x="164363" y="61074"/>
                  </a:cubicBezTo>
                  <a:cubicBezTo>
                    <a:pt x="158722" y="61643"/>
                    <a:pt x="135423" y="63347"/>
                    <a:pt x="144068" y="54657"/>
                  </a:cubicBezTo>
                  <a:cubicBezTo>
                    <a:pt x="148127" y="50680"/>
                    <a:pt x="183319" y="31027"/>
                    <a:pt x="158234" y="25779"/>
                  </a:cubicBezTo>
                  <a:cubicBezTo>
                    <a:pt x="147194" y="23506"/>
                    <a:pt x="148087" y="19094"/>
                    <a:pt x="151050" y="13747"/>
                  </a:cubicBezTo>
                  <a:cubicBezTo>
                    <a:pt x="152471" y="11206"/>
                    <a:pt x="153770" y="9468"/>
                    <a:pt x="151050" y="6460"/>
                  </a:cubicBezTo>
                  <a:cubicBezTo>
                    <a:pt x="146626" y="1146"/>
                    <a:pt x="145815" y="4789"/>
                    <a:pt x="139726" y="4956"/>
                  </a:cubicBezTo>
                  <a:cubicBezTo>
                    <a:pt x="121825" y="5698"/>
                    <a:pt x="103885" y="4107"/>
                    <a:pt x="86553" y="243"/>
                  </a:cubicBezTo>
                  <a:cubicBezTo>
                    <a:pt x="67759" y="-3968"/>
                    <a:pt x="60778" y="15786"/>
                    <a:pt x="55908" y="23640"/>
                  </a:cubicBezTo>
                  <a:cubicBezTo>
                    <a:pt x="50022" y="32999"/>
                    <a:pt x="72996" y="43694"/>
                    <a:pt x="68694" y="53220"/>
                  </a:cubicBezTo>
                  <a:cubicBezTo>
                    <a:pt x="66785" y="57498"/>
                    <a:pt x="76812" y="63247"/>
                    <a:pt x="68085" y="65787"/>
                  </a:cubicBezTo>
                  <a:cubicBezTo>
                    <a:pt x="61915" y="67492"/>
                    <a:pt x="63214" y="74577"/>
                    <a:pt x="55583" y="75547"/>
                  </a:cubicBezTo>
                  <a:cubicBezTo>
                    <a:pt x="46410" y="76750"/>
                    <a:pt x="50996" y="86644"/>
                    <a:pt x="53878" y="91089"/>
                  </a:cubicBezTo>
                  <a:cubicBezTo>
                    <a:pt x="60170" y="100615"/>
                    <a:pt x="64229" y="106764"/>
                    <a:pt x="60495" y="115789"/>
                  </a:cubicBezTo>
                  <a:cubicBezTo>
                    <a:pt x="57978" y="121772"/>
                    <a:pt x="64918" y="127755"/>
                    <a:pt x="62240" y="133303"/>
                  </a:cubicBezTo>
                  <a:cubicBezTo>
                    <a:pt x="61103" y="136177"/>
                    <a:pt x="55259" y="139118"/>
                    <a:pt x="52458" y="141191"/>
                  </a:cubicBezTo>
                  <a:cubicBezTo>
                    <a:pt x="42189" y="148778"/>
                    <a:pt x="27008" y="151218"/>
                    <a:pt x="20229" y="159039"/>
                  </a:cubicBezTo>
                  <a:cubicBezTo>
                    <a:pt x="14181" y="166091"/>
                    <a:pt x="6226" y="172642"/>
                    <a:pt x="949" y="180029"/>
                  </a:cubicBezTo>
                  <a:cubicBezTo>
                    <a:pt x="-3475" y="186246"/>
                    <a:pt x="7769" y="190357"/>
                    <a:pt x="13126" y="196741"/>
                  </a:cubicBezTo>
                  <a:cubicBezTo>
                    <a:pt x="20757" y="205421"/>
                    <a:pt x="26927" y="214896"/>
                    <a:pt x="31513" y="224917"/>
                  </a:cubicBezTo>
                  <a:cubicBezTo>
                    <a:pt x="35369" y="234309"/>
                    <a:pt x="55137" y="234075"/>
                    <a:pt x="57734" y="244637"/>
                  </a:cubicBezTo>
                  <a:cubicBezTo>
                    <a:pt x="59439" y="251589"/>
                    <a:pt x="57734" y="252458"/>
                    <a:pt x="70520" y="256168"/>
                  </a:cubicBezTo>
                  <a:cubicBezTo>
                    <a:pt x="82007" y="259510"/>
                    <a:pt x="78354" y="252826"/>
                    <a:pt x="89110" y="254397"/>
                  </a:cubicBezTo>
                  <a:cubicBezTo>
                    <a:pt x="82900" y="242130"/>
                    <a:pt x="64310" y="238186"/>
                    <a:pt x="55583" y="228259"/>
                  </a:cubicBezTo>
                  <a:cubicBezTo>
                    <a:pt x="46207" y="217631"/>
                    <a:pt x="56070" y="208706"/>
                    <a:pt x="51524" y="198178"/>
                  </a:cubicBezTo>
                  <a:cubicBezTo>
                    <a:pt x="49535" y="193766"/>
                    <a:pt x="52701" y="188987"/>
                    <a:pt x="47465" y="185043"/>
                  </a:cubicBezTo>
                  <a:cubicBezTo>
                    <a:pt x="42229" y="181098"/>
                    <a:pt x="33746" y="178358"/>
                    <a:pt x="34882" y="173578"/>
                  </a:cubicBezTo>
                  <a:cubicBezTo>
                    <a:pt x="36790" y="165356"/>
                    <a:pt x="48155" y="156031"/>
                    <a:pt x="55989" y="150182"/>
                  </a:cubicBezTo>
                  <a:cubicBezTo>
                    <a:pt x="63822" y="144332"/>
                    <a:pt x="76284" y="138651"/>
                    <a:pt x="81479" y="130696"/>
                  </a:cubicBezTo>
                  <a:cubicBezTo>
                    <a:pt x="85091" y="125281"/>
                    <a:pt x="88176" y="115956"/>
                    <a:pt x="104129" y="125381"/>
                  </a:cubicBezTo>
                  <a:cubicBezTo>
                    <a:pt x="113951" y="131231"/>
                    <a:pt x="102667" y="138550"/>
                    <a:pt x="117604" y="144299"/>
                  </a:cubicBezTo>
                  <a:cubicBezTo>
                    <a:pt x="134612" y="150984"/>
                    <a:pt x="137046" y="157234"/>
                    <a:pt x="150076" y="166091"/>
                  </a:cubicBezTo>
                  <a:cubicBezTo>
                    <a:pt x="154947" y="161613"/>
                    <a:pt x="150523" y="157167"/>
                    <a:pt x="152958" y="15208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1716D37C-D906-4DDA-9172-4F9CBD111828}"/>
                </a:ext>
              </a:extLst>
            </p:cNvPr>
            <p:cNvSpPr/>
            <p:nvPr/>
          </p:nvSpPr>
          <p:spPr>
            <a:xfrm>
              <a:off x="7790060" y="4848671"/>
              <a:ext cx="819326" cy="355261"/>
            </a:xfrm>
            <a:custGeom>
              <a:avLst/>
              <a:gdLst>
                <a:gd name="connsiteX0" fmla="*/ 576166 w 840911"/>
                <a:gd name="connsiteY0" fmla="*/ 304550 h 486434"/>
                <a:gd name="connsiteX1" fmla="*/ 589723 w 840911"/>
                <a:gd name="connsiteY1" fmla="*/ 277811 h 486434"/>
                <a:gd name="connsiteX2" fmla="*/ 580834 w 840911"/>
                <a:gd name="connsiteY2" fmla="*/ 260230 h 486434"/>
                <a:gd name="connsiteX3" fmla="*/ 620612 w 840911"/>
                <a:gd name="connsiteY3" fmla="*/ 269388 h 486434"/>
                <a:gd name="connsiteX4" fmla="*/ 626904 w 840911"/>
                <a:gd name="connsiteY4" fmla="*/ 284428 h 486434"/>
                <a:gd name="connsiteX5" fmla="*/ 644519 w 840911"/>
                <a:gd name="connsiteY5" fmla="*/ 292350 h 486434"/>
                <a:gd name="connsiteX6" fmla="*/ 683242 w 840911"/>
                <a:gd name="connsiteY6" fmla="*/ 312036 h 486434"/>
                <a:gd name="connsiteX7" fmla="*/ 645412 w 840911"/>
                <a:gd name="connsiteY7" fmla="*/ 325606 h 486434"/>
                <a:gd name="connsiteX8" fmla="*/ 669320 w 840911"/>
                <a:gd name="connsiteY8" fmla="*/ 329450 h 486434"/>
                <a:gd name="connsiteX9" fmla="*/ 675976 w 840911"/>
                <a:gd name="connsiteY9" fmla="*/ 334163 h 486434"/>
                <a:gd name="connsiteX10" fmla="*/ 672486 w 840911"/>
                <a:gd name="connsiteY10" fmla="*/ 363007 h 486434"/>
                <a:gd name="connsiteX11" fmla="*/ 702522 w 840911"/>
                <a:gd name="connsiteY11" fmla="*/ 335767 h 486434"/>
                <a:gd name="connsiteX12" fmla="*/ 723872 w 840911"/>
                <a:gd name="connsiteY12" fmla="*/ 341516 h 486434"/>
                <a:gd name="connsiteX13" fmla="*/ 745669 w 840911"/>
                <a:gd name="connsiteY13" fmla="*/ 327512 h 486434"/>
                <a:gd name="connsiteX14" fmla="*/ 766451 w 840911"/>
                <a:gd name="connsiteY14" fmla="*/ 304416 h 486434"/>
                <a:gd name="connsiteX15" fmla="*/ 813129 w 840911"/>
                <a:gd name="connsiteY15" fmla="*/ 301073 h 486434"/>
                <a:gd name="connsiteX16" fmla="*/ 827823 w 840911"/>
                <a:gd name="connsiteY16" fmla="*/ 306755 h 486434"/>
                <a:gd name="connsiteX17" fmla="*/ 840852 w 840911"/>
                <a:gd name="connsiteY17" fmla="*/ 290044 h 486434"/>
                <a:gd name="connsiteX18" fmla="*/ 824616 w 840911"/>
                <a:gd name="connsiteY18" fmla="*/ 275972 h 486434"/>
                <a:gd name="connsiteX19" fmla="*/ 803956 w 840911"/>
                <a:gd name="connsiteY19" fmla="*/ 262035 h 486434"/>
                <a:gd name="connsiteX20" fmla="*/ 769130 w 840911"/>
                <a:gd name="connsiteY20" fmla="*/ 252008 h 486434"/>
                <a:gd name="connsiteX21" fmla="*/ 730975 w 840911"/>
                <a:gd name="connsiteY21" fmla="*/ 254147 h 486434"/>
                <a:gd name="connsiteX22" fmla="*/ 699274 w 840911"/>
                <a:gd name="connsiteY22" fmla="*/ 258057 h 486434"/>
                <a:gd name="connsiteX23" fmla="*/ 693389 w 840911"/>
                <a:gd name="connsiteY23" fmla="*/ 267516 h 486434"/>
                <a:gd name="connsiteX24" fmla="*/ 626944 w 840911"/>
                <a:gd name="connsiteY24" fmla="*/ 255383 h 486434"/>
                <a:gd name="connsiteX25" fmla="*/ 608272 w 840911"/>
                <a:gd name="connsiteY25" fmla="*/ 239474 h 486434"/>
                <a:gd name="connsiteX26" fmla="*/ 604213 w 840911"/>
                <a:gd name="connsiteY26" fmla="*/ 224701 h 486434"/>
                <a:gd name="connsiteX27" fmla="*/ 587978 w 840911"/>
                <a:gd name="connsiteY27" fmla="*/ 236766 h 486434"/>
                <a:gd name="connsiteX28" fmla="*/ 563624 w 840911"/>
                <a:gd name="connsiteY28" fmla="*/ 244053 h 486434"/>
                <a:gd name="connsiteX29" fmla="*/ 507570 w 840911"/>
                <a:gd name="connsiteY29" fmla="*/ 222896 h 486434"/>
                <a:gd name="connsiteX30" fmla="*/ 490806 w 840911"/>
                <a:gd name="connsiteY30" fmla="*/ 208022 h 486434"/>
                <a:gd name="connsiteX31" fmla="*/ 456507 w 840911"/>
                <a:gd name="connsiteY31" fmla="*/ 198697 h 486434"/>
                <a:gd name="connsiteX32" fmla="*/ 432153 w 840911"/>
                <a:gd name="connsiteY32" fmla="*/ 183356 h 486434"/>
                <a:gd name="connsiteX33" fmla="*/ 407556 w 840911"/>
                <a:gd name="connsiteY33" fmla="*/ 167546 h 486434"/>
                <a:gd name="connsiteX34" fmla="*/ 383771 w 840911"/>
                <a:gd name="connsiteY34" fmla="*/ 153675 h 486434"/>
                <a:gd name="connsiteX35" fmla="*/ 394649 w 840911"/>
                <a:gd name="connsiteY35" fmla="*/ 134256 h 486434"/>
                <a:gd name="connsiteX36" fmla="*/ 399520 w 840911"/>
                <a:gd name="connsiteY36" fmla="*/ 123394 h 486434"/>
                <a:gd name="connsiteX37" fmla="*/ 386206 w 840911"/>
                <a:gd name="connsiteY37" fmla="*/ 110024 h 486434"/>
                <a:gd name="connsiteX38" fmla="*/ 363516 w 840911"/>
                <a:gd name="connsiteY38" fmla="*/ 93981 h 486434"/>
                <a:gd name="connsiteX39" fmla="*/ 353856 w 840911"/>
                <a:gd name="connsiteY39" fmla="*/ 76534 h 486434"/>
                <a:gd name="connsiteX40" fmla="*/ 355317 w 840911"/>
                <a:gd name="connsiteY40" fmla="*/ 69642 h 486434"/>
                <a:gd name="connsiteX41" fmla="*/ 356129 w 840911"/>
                <a:gd name="connsiteY41" fmla="*/ 69247 h 486434"/>
                <a:gd name="connsiteX42" fmla="*/ 367656 w 840911"/>
                <a:gd name="connsiteY42" fmla="*/ 73592 h 486434"/>
                <a:gd name="connsiteX43" fmla="*/ 380645 w 840911"/>
                <a:gd name="connsiteY43" fmla="*/ 65337 h 486434"/>
                <a:gd name="connsiteX44" fmla="*/ 375247 w 840911"/>
                <a:gd name="connsiteY44" fmla="*/ 46954 h 486434"/>
                <a:gd name="connsiteX45" fmla="*/ 363882 w 840911"/>
                <a:gd name="connsiteY45" fmla="*/ 24226 h 486434"/>
                <a:gd name="connsiteX46" fmla="*/ 334941 w 840911"/>
                <a:gd name="connsiteY46" fmla="*/ 11792 h 486434"/>
                <a:gd name="connsiteX47" fmla="*/ 265939 w 840911"/>
                <a:gd name="connsiteY47" fmla="*/ 7046 h 486434"/>
                <a:gd name="connsiteX48" fmla="*/ 232452 w 840911"/>
                <a:gd name="connsiteY48" fmla="*/ 1063 h 486434"/>
                <a:gd name="connsiteX49" fmla="*/ 232452 w 840911"/>
                <a:gd name="connsiteY49" fmla="*/ 12929 h 486434"/>
                <a:gd name="connsiteX50" fmla="*/ 239109 w 840911"/>
                <a:gd name="connsiteY50" fmla="*/ 41539 h 486434"/>
                <a:gd name="connsiteX51" fmla="*/ 257617 w 840911"/>
                <a:gd name="connsiteY51" fmla="*/ 52536 h 486434"/>
                <a:gd name="connsiteX52" fmla="*/ 241869 w 840911"/>
                <a:gd name="connsiteY52" fmla="*/ 55109 h 486434"/>
                <a:gd name="connsiteX53" fmla="*/ 232858 w 840911"/>
                <a:gd name="connsiteY53" fmla="*/ 65604 h 486434"/>
                <a:gd name="connsiteX54" fmla="*/ 212319 w 840911"/>
                <a:gd name="connsiteY54" fmla="*/ 73091 h 486434"/>
                <a:gd name="connsiteX55" fmla="*/ 205216 w 840911"/>
                <a:gd name="connsiteY55" fmla="*/ 81146 h 486434"/>
                <a:gd name="connsiteX56" fmla="*/ 189468 w 840911"/>
                <a:gd name="connsiteY56" fmla="*/ 81815 h 486434"/>
                <a:gd name="connsiteX57" fmla="*/ 174165 w 840911"/>
                <a:gd name="connsiteY57" fmla="*/ 94148 h 486434"/>
                <a:gd name="connsiteX58" fmla="*/ 152734 w 840911"/>
                <a:gd name="connsiteY58" fmla="*/ 97056 h 486434"/>
                <a:gd name="connsiteX59" fmla="*/ 130247 w 840911"/>
                <a:gd name="connsiteY59" fmla="*/ 108353 h 486434"/>
                <a:gd name="connsiteX60" fmla="*/ 116609 w 840911"/>
                <a:gd name="connsiteY60" fmla="*/ 107183 h 486434"/>
                <a:gd name="connsiteX61" fmla="*/ 98262 w 840911"/>
                <a:gd name="connsiteY61" fmla="*/ 105880 h 486434"/>
                <a:gd name="connsiteX62" fmla="*/ 76628 w 840911"/>
                <a:gd name="connsiteY62" fmla="*/ 99964 h 486434"/>
                <a:gd name="connsiteX63" fmla="*/ 52274 w 840911"/>
                <a:gd name="connsiteY63" fmla="*/ 110191 h 486434"/>
                <a:gd name="connsiteX64" fmla="*/ 67495 w 840911"/>
                <a:gd name="connsiteY64" fmla="*/ 123327 h 486434"/>
                <a:gd name="connsiteX65" fmla="*/ 67292 w 840911"/>
                <a:gd name="connsiteY65" fmla="*/ 134256 h 486434"/>
                <a:gd name="connsiteX66" fmla="*/ 77967 w 840911"/>
                <a:gd name="connsiteY66" fmla="*/ 148829 h 486434"/>
                <a:gd name="connsiteX67" fmla="*/ 42451 w 840911"/>
                <a:gd name="connsiteY67" fmla="*/ 159324 h 486434"/>
                <a:gd name="connsiteX68" fmla="*/ 9046 w 840911"/>
                <a:gd name="connsiteY68" fmla="*/ 155982 h 486434"/>
                <a:gd name="connsiteX69" fmla="*/ 6326 w 840911"/>
                <a:gd name="connsiteY69" fmla="*/ 171523 h 486434"/>
                <a:gd name="connsiteX70" fmla="*/ 39813 w 840911"/>
                <a:gd name="connsiteY70" fmla="*/ 185294 h 486434"/>
                <a:gd name="connsiteX71" fmla="*/ 47931 w 840911"/>
                <a:gd name="connsiteY71" fmla="*/ 191444 h 486434"/>
                <a:gd name="connsiteX72" fmla="*/ 10304 w 840911"/>
                <a:gd name="connsiteY72" fmla="*/ 191812 h 486434"/>
                <a:gd name="connsiteX73" fmla="*/ 47119 w 840911"/>
                <a:gd name="connsiteY73" fmla="*/ 224701 h 486434"/>
                <a:gd name="connsiteX74" fmla="*/ 97978 w 840911"/>
                <a:gd name="connsiteY74" fmla="*/ 219754 h 486434"/>
                <a:gd name="connsiteX75" fmla="*/ 111251 w 840911"/>
                <a:gd name="connsiteY75" fmla="*/ 214874 h 486434"/>
                <a:gd name="connsiteX76" fmla="*/ 111616 w 840911"/>
                <a:gd name="connsiteY76" fmla="*/ 231853 h 486434"/>
                <a:gd name="connsiteX77" fmla="*/ 103498 w 840911"/>
                <a:gd name="connsiteY77" fmla="*/ 252877 h 486434"/>
                <a:gd name="connsiteX78" fmla="*/ 102930 w 840911"/>
                <a:gd name="connsiteY78" fmla="*/ 279615 h 486434"/>
                <a:gd name="connsiteX79" fmla="*/ 121398 w 840911"/>
                <a:gd name="connsiteY79" fmla="*/ 366216 h 486434"/>
                <a:gd name="connsiteX80" fmla="*/ 129516 w 840911"/>
                <a:gd name="connsiteY80" fmla="*/ 402715 h 486434"/>
                <a:gd name="connsiteX81" fmla="*/ 146361 w 840911"/>
                <a:gd name="connsiteY81" fmla="*/ 437141 h 486434"/>
                <a:gd name="connsiteX82" fmla="*/ 153952 w 840911"/>
                <a:gd name="connsiteY82" fmla="*/ 472236 h 486434"/>
                <a:gd name="connsiteX83" fmla="*/ 193161 w 840911"/>
                <a:gd name="connsiteY83" fmla="*/ 479622 h 486434"/>
                <a:gd name="connsiteX84" fmla="*/ 214836 w 840911"/>
                <a:gd name="connsiteY84" fmla="*/ 474408 h 486434"/>
                <a:gd name="connsiteX85" fmla="*/ 230382 w 840911"/>
                <a:gd name="connsiteY85" fmla="*/ 464013 h 486434"/>
                <a:gd name="connsiteX86" fmla="*/ 249378 w 840911"/>
                <a:gd name="connsiteY86" fmla="*/ 456827 h 486434"/>
                <a:gd name="connsiteX87" fmla="*/ 259160 w 840911"/>
                <a:gd name="connsiteY87" fmla="*/ 438912 h 486434"/>
                <a:gd name="connsiteX88" fmla="*/ 281444 w 840911"/>
                <a:gd name="connsiteY88" fmla="*/ 411338 h 486434"/>
                <a:gd name="connsiteX89" fmla="*/ 302023 w 840911"/>
                <a:gd name="connsiteY89" fmla="*/ 377513 h 486434"/>
                <a:gd name="connsiteX90" fmla="*/ 331694 w 840911"/>
                <a:gd name="connsiteY90" fmla="*/ 375708 h 486434"/>
                <a:gd name="connsiteX91" fmla="*/ 360553 w 840911"/>
                <a:gd name="connsiteY91" fmla="*/ 368756 h 486434"/>
                <a:gd name="connsiteX92" fmla="*/ 414172 w 840911"/>
                <a:gd name="connsiteY92" fmla="*/ 359899 h 486434"/>
                <a:gd name="connsiteX93" fmla="*/ 460851 w 840911"/>
                <a:gd name="connsiteY93" fmla="*/ 347566 h 486434"/>
                <a:gd name="connsiteX94" fmla="*/ 509558 w 840911"/>
                <a:gd name="connsiteY94" fmla="*/ 334731 h 486434"/>
                <a:gd name="connsiteX95" fmla="*/ 557738 w 840911"/>
                <a:gd name="connsiteY95" fmla="*/ 333327 h 486434"/>
                <a:gd name="connsiteX96" fmla="*/ 577140 w 840911"/>
                <a:gd name="connsiteY96" fmla="*/ 327044 h 486434"/>
                <a:gd name="connsiteX97" fmla="*/ 576612 w 840911"/>
                <a:gd name="connsiteY97" fmla="*/ 304850 h 486434"/>
                <a:gd name="connsiteX98" fmla="*/ 576166 w 840911"/>
                <a:gd name="connsiteY98" fmla="*/ 304550 h 486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840911" h="486434">
                  <a:moveTo>
                    <a:pt x="576166" y="304550"/>
                  </a:moveTo>
                  <a:cubicBezTo>
                    <a:pt x="573649" y="295826"/>
                    <a:pt x="570402" y="275438"/>
                    <a:pt x="589723" y="277811"/>
                  </a:cubicBezTo>
                  <a:cubicBezTo>
                    <a:pt x="613306" y="280652"/>
                    <a:pt x="581118" y="263305"/>
                    <a:pt x="580834" y="260230"/>
                  </a:cubicBezTo>
                  <a:cubicBezTo>
                    <a:pt x="579778" y="247729"/>
                    <a:pt x="616147" y="265979"/>
                    <a:pt x="620612" y="269388"/>
                  </a:cubicBezTo>
                  <a:cubicBezTo>
                    <a:pt x="627634" y="274602"/>
                    <a:pt x="621220" y="279081"/>
                    <a:pt x="626904" y="284428"/>
                  </a:cubicBezTo>
                  <a:cubicBezTo>
                    <a:pt x="632586" y="289776"/>
                    <a:pt x="636199" y="290278"/>
                    <a:pt x="644519" y="292350"/>
                  </a:cubicBezTo>
                  <a:cubicBezTo>
                    <a:pt x="656412" y="295258"/>
                    <a:pt x="697286" y="302778"/>
                    <a:pt x="683242" y="312036"/>
                  </a:cubicBezTo>
                  <a:cubicBezTo>
                    <a:pt x="671593" y="319623"/>
                    <a:pt x="649228" y="314577"/>
                    <a:pt x="645412" y="325606"/>
                  </a:cubicBezTo>
                  <a:cubicBezTo>
                    <a:pt x="640217" y="340614"/>
                    <a:pt x="660471" y="332926"/>
                    <a:pt x="669320" y="329450"/>
                  </a:cubicBezTo>
                  <a:cubicBezTo>
                    <a:pt x="675813" y="326910"/>
                    <a:pt x="676098" y="330720"/>
                    <a:pt x="675976" y="334163"/>
                  </a:cubicBezTo>
                  <a:cubicBezTo>
                    <a:pt x="675733" y="343922"/>
                    <a:pt x="673541" y="353381"/>
                    <a:pt x="672486" y="363007"/>
                  </a:cubicBezTo>
                  <a:cubicBezTo>
                    <a:pt x="688072" y="358562"/>
                    <a:pt x="695054" y="346296"/>
                    <a:pt x="702522" y="335767"/>
                  </a:cubicBezTo>
                  <a:cubicBezTo>
                    <a:pt x="705810" y="331155"/>
                    <a:pt x="717621" y="339711"/>
                    <a:pt x="723872" y="341516"/>
                  </a:cubicBezTo>
                  <a:cubicBezTo>
                    <a:pt x="729027" y="343053"/>
                    <a:pt x="743680" y="330219"/>
                    <a:pt x="745669" y="327512"/>
                  </a:cubicBezTo>
                  <a:cubicBezTo>
                    <a:pt x="751351" y="319891"/>
                    <a:pt x="756953" y="310399"/>
                    <a:pt x="766451" y="304416"/>
                  </a:cubicBezTo>
                  <a:cubicBezTo>
                    <a:pt x="772539" y="300539"/>
                    <a:pt x="802981" y="297330"/>
                    <a:pt x="813129" y="301073"/>
                  </a:cubicBezTo>
                  <a:cubicBezTo>
                    <a:pt x="812885" y="301073"/>
                    <a:pt x="833424" y="317250"/>
                    <a:pt x="827823" y="306755"/>
                  </a:cubicBezTo>
                  <a:cubicBezTo>
                    <a:pt x="820882" y="293921"/>
                    <a:pt x="834764" y="297865"/>
                    <a:pt x="840852" y="290044"/>
                  </a:cubicBezTo>
                  <a:cubicBezTo>
                    <a:pt x="833302" y="287433"/>
                    <a:pt x="827376" y="282330"/>
                    <a:pt x="824616" y="275972"/>
                  </a:cubicBezTo>
                  <a:cubicBezTo>
                    <a:pt x="819907" y="267850"/>
                    <a:pt x="820922" y="259929"/>
                    <a:pt x="803956" y="262035"/>
                  </a:cubicBezTo>
                  <a:cubicBezTo>
                    <a:pt x="794579" y="263204"/>
                    <a:pt x="781023" y="252208"/>
                    <a:pt x="769130" y="252008"/>
                  </a:cubicBezTo>
                  <a:cubicBezTo>
                    <a:pt x="761702" y="252008"/>
                    <a:pt x="735319" y="252008"/>
                    <a:pt x="730975" y="254147"/>
                  </a:cubicBezTo>
                  <a:cubicBezTo>
                    <a:pt x="721843" y="258993"/>
                    <a:pt x="711817" y="258659"/>
                    <a:pt x="699274" y="258057"/>
                  </a:cubicBezTo>
                  <a:cubicBezTo>
                    <a:pt x="688193" y="257523"/>
                    <a:pt x="694404" y="261700"/>
                    <a:pt x="693389" y="267516"/>
                  </a:cubicBezTo>
                  <a:cubicBezTo>
                    <a:pt x="691035" y="280886"/>
                    <a:pt x="640826" y="261232"/>
                    <a:pt x="626944" y="255383"/>
                  </a:cubicBezTo>
                  <a:cubicBezTo>
                    <a:pt x="617527" y="251372"/>
                    <a:pt x="607583" y="246125"/>
                    <a:pt x="608272" y="239474"/>
                  </a:cubicBezTo>
                  <a:cubicBezTo>
                    <a:pt x="608272" y="239140"/>
                    <a:pt x="615213" y="220222"/>
                    <a:pt x="604213" y="224701"/>
                  </a:cubicBezTo>
                  <a:cubicBezTo>
                    <a:pt x="593214" y="229179"/>
                    <a:pt x="589521" y="226205"/>
                    <a:pt x="587978" y="236766"/>
                  </a:cubicBezTo>
                  <a:cubicBezTo>
                    <a:pt x="586760" y="246125"/>
                    <a:pt x="578155" y="246593"/>
                    <a:pt x="563624" y="244053"/>
                  </a:cubicBezTo>
                  <a:cubicBezTo>
                    <a:pt x="540122" y="240009"/>
                    <a:pt x="527377" y="231853"/>
                    <a:pt x="507570" y="222896"/>
                  </a:cubicBezTo>
                  <a:cubicBezTo>
                    <a:pt x="495068" y="217280"/>
                    <a:pt x="497625" y="215442"/>
                    <a:pt x="490806" y="208022"/>
                  </a:cubicBezTo>
                  <a:cubicBezTo>
                    <a:pt x="482201" y="198630"/>
                    <a:pt x="469577" y="202273"/>
                    <a:pt x="456507" y="198697"/>
                  </a:cubicBezTo>
                  <a:cubicBezTo>
                    <a:pt x="447091" y="196123"/>
                    <a:pt x="441976" y="186798"/>
                    <a:pt x="432153" y="183356"/>
                  </a:cubicBezTo>
                  <a:cubicBezTo>
                    <a:pt x="419489" y="178944"/>
                    <a:pt x="417176" y="172493"/>
                    <a:pt x="407556" y="167546"/>
                  </a:cubicBezTo>
                  <a:cubicBezTo>
                    <a:pt x="398708" y="163001"/>
                    <a:pt x="392051" y="158422"/>
                    <a:pt x="383771" y="153675"/>
                  </a:cubicBezTo>
                  <a:cubicBezTo>
                    <a:pt x="373583" y="147893"/>
                    <a:pt x="385760" y="136395"/>
                    <a:pt x="394649" y="134256"/>
                  </a:cubicBezTo>
                  <a:cubicBezTo>
                    <a:pt x="405080" y="131750"/>
                    <a:pt x="408896" y="130914"/>
                    <a:pt x="399520" y="123394"/>
                  </a:cubicBezTo>
                  <a:cubicBezTo>
                    <a:pt x="394080" y="119115"/>
                    <a:pt x="392538" y="113935"/>
                    <a:pt x="386206" y="110024"/>
                  </a:cubicBezTo>
                  <a:cubicBezTo>
                    <a:pt x="377520" y="104576"/>
                    <a:pt x="371715" y="99997"/>
                    <a:pt x="363516" y="93981"/>
                  </a:cubicBezTo>
                  <a:cubicBezTo>
                    <a:pt x="353450" y="86795"/>
                    <a:pt x="359904" y="83954"/>
                    <a:pt x="353856" y="76534"/>
                  </a:cubicBezTo>
                  <a:cubicBezTo>
                    <a:pt x="351948" y="74298"/>
                    <a:pt x="352598" y="71213"/>
                    <a:pt x="355317" y="69642"/>
                  </a:cubicBezTo>
                  <a:cubicBezTo>
                    <a:pt x="355561" y="69495"/>
                    <a:pt x="355845" y="69361"/>
                    <a:pt x="356129" y="69247"/>
                  </a:cubicBezTo>
                  <a:cubicBezTo>
                    <a:pt x="360553" y="67576"/>
                    <a:pt x="364247" y="72222"/>
                    <a:pt x="367656" y="73592"/>
                  </a:cubicBezTo>
                  <a:cubicBezTo>
                    <a:pt x="382025" y="79575"/>
                    <a:pt x="385191" y="71721"/>
                    <a:pt x="380645" y="65337"/>
                  </a:cubicBezTo>
                  <a:cubicBezTo>
                    <a:pt x="375166" y="57716"/>
                    <a:pt x="369930" y="53505"/>
                    <a:pt x="375247" y="46954"/>
                  </a:cubicBezTo>
                  <a:cubicBezTo>
                    <a:pt x="383364" y="36927"/>
                    <a:pt x="369889" y="34587"/>
                    <a:pt x="363882" y="24226"/>
                  </a:cubicBezTo>
                  <a:cubicBezTo>
                    <a:pt x="357874" y="13864"/>
                    <a:pt x="349675" y="2267"/>
                    <a:pt x="334941" y="11792"/>
                  </a:cubicBezTo>
                  <a:cubicBezTo>
                    <a:pt x="320207" y="21318"/>
                    <a:pt x="286233" y="15803"/>
                    <a:pt x="265939" y="7046"/>
                  </a:cubicBezTo>
                  <a:cubicBezTo>
                    <a:pt x="255750" y="2567"/>
                    <a:pt x="242965" y="-2981"/>
                    <a:pt x="232452" y="1063"/>
                  </a:cubicBezTo>
                  <a:cubicBezTo>
                    <a:pt x="225551" y="3603"/>
                    <a:pt x="232452" y="8550"/>
                    <a:pt x="232452" y="12929"/>
                  </a:cubicBezTo>
                  <a:cubicBezTo>
                    <a:pt x="231843" y="20616"/>
                    <a:pt x="224334" y="34220"/>
                    <a:pt x="239109" y="41539"/>
                  </a:cubicBezTo>
                  <a:cubicBezTo>
                    <a:pt x="241909" y="42943"/>
                    <a:pt x="264761" y="48224"/>
                    <a:pt x="257617" y="52536"/>
                  </a:cubicBezTo>
                  <a:cubicBezTo>
                    <a:pt x="254451" y="54441"/>
                    <a:pt x="246090" y="52937"/>
                    <a:pt x="241869" y="55109"/>
                  </a:cubicBezTo>
                  <a:cubicBezTo>
                    <a:pt x="237363" y="57552"/>
                    <a:pt x="234156" y="61299"/>
                    <a:pt x="232858" y="65604"/>
                  </a:cubicBezTo>
                  <a:cubicBezTo>
                    <a:pt x="229164" y="75331"/>
                    <a:pt x="222386" y="68946"/>
                    <a:pt x="212319" y="73091"/>
                  </a:cubicBezTo>
                  <a:cubicBezTo>
                    <a:pt x="207611" y="74996"/>
                    <a:pt x="208910" y="78907"/>
                    <a:pt x="205216" y="81146"/>
                  </a:cubicBezTo>
                  <a:cubicBezTo>
                    <a:pt x="201523" y="83386"/>
                    <a:pt x="194744" y="81714"/>
                    <a:pt x="189468" y="81815"/>
                  </a:cubicBezTo>
                  <a:cubicBezTo>
                    <a:pt x="182689" y="81815"/>
                    <a:pt x="177291" y="91407"/>
                    <a:pt x="174165" y="94148"/>
                  </a:cubicBezTo>
                  <a:cubicBezTo>
                    <a:pt x="168685" y="98760"/>
                    <a:pt x="162313" y="96889"/>
                    <a:pt x="152734" y="97056"/>
                  </a:cubicBezTo>
                  <a:cubicBezTo>
                    <a:pt x="140029" y="97290"/>
                    <a:pt x="139867" y="105211"/>
                    <a:pt x="130247" y="108353"/>
                  </a:cubicBezTo>
                  <a:cubicBezTo>
                    <a:pt x="124970" y="110058"/>
                    <a:pt x="122129" y="109289"/>
                    <a:pt x="116609" y="107183"/>
                  </a:cubicBezTo>
                  <a:cubicBezTo>
                    <a:pt x="106746" y="103406"/>
                    <a:pt x="106461" y="106682"/>
                    <a:pt x="98262" y="105880"/>
                  </a:cubicBezTo>
                  <a:cubicBezTo>
                    <a:pt x="90063" y="105077"/>
                    <a:pt x="85274" y="97825"/>
                    <a:pt x="76628" y="99964"/>
                  </a:cubicBezTo>
                  <a:cubicBezTo>
                    <a:pt x="68875" y="101902"/>
                    <a:pt x="53857" y="104576"/>
                    <a:pt x="52274" y="110191"/>
                  </a:cubicBezTo>
                  <a:cubicBezTo>
                    <a:pt x="50772" y="115138"/>
                    <a:pt x="65466" y="118581"/>
                    <a:pt x="67495" y="123327"/>
                  </a:cubicBezTo>
                  <a:cubicBezTo>
                    <a:pt x="69078" y="126937"/>
                    <a:pt x="65993" y="130413"/>
                    <a:pt x="67292" y="134256"/>
                  </a:cubicBezTo>
                  <a:cubicBezTo>
                    <a:pt x="69119" y="139604"/>
                    <a:pt x="73868" y="143849"/>
                    <a:pt x="77967" y="148829"/>
                  </a:cubicBezTo>
                  <a:cubicBezTo>
                    <a:pt x="95299" y="170086"/>
                    <a:pt x="62584" y="161831"/>
                    <a:pt x="42451" y="159324"/>
                  </a:cubicBezTo>
                  <a:cubicBezTo>
                    <a:pt x="30274" y="157786"/>
                    <a:pt x="19478" y="151035"/>
                    <a:pt x="9046" y="155982"/>
                  </a:cubicBezTo>
                  <a:cubicBezTo>
                    <a:pt x="-3131" y="161797"/>
                    <a:pt x="-2116" y="162031"/>
                    <a:pt x="6326" y="171523"/>
                  </a:cubicBezTo>
                  <a:cubicBezTo>
                    <a:pt x="14201" y="180224"/>
                    <a:pt x="26621" y="185331"/>
                    <a:pt x="39813" y="185294"/>
                  </a:cubicBezTo>
                  <a:cubicBezTo>
                    <a:pt x="46104" y="185495"/>
                    <a:pt x="60108" y="189338"/>
                    <a:pt x="47931" y="191444"/>
                  </a:cubicBezTo>
                  <a:cubicBezTo>
                    <a:pt x="39813" y="192915"/>
                    <a:pt x="4744" y="184124"/>
                    <a:pt x="10304" y="191812"/>
                  </a:cubicBezTo>
                  <a:cubicBezTo>
                    <a:pt x="19721" y="204737"/>
                    <a:pt x="32222" y="215930"/>
                    <a:pt x="47119" y="224701"/>
                  </a:cubicBezTo>
                  <a:cubicBezTo>
                    <a:pt x="63355" y="234026"/>
                    <a:pt x="106746" y="225035"/>
                    <a:pt x="97978" y="219754"/>
                  </a:cubicBezTo>
                  <a:cubicBezTo>
                    <a:pt x="90916" y="215476"/>
                    <a:pt x="109262" y="209092"/>
                    <a:pt x="111251" y="214874"/>
                  </a:cubicBezTo>
                  <a:cubicBezTo>
                    <a:pt x="113037" y="219954"/>
                    <a:pt x="105406" y="226973"/>
                    <a:pt x="111616" y="231853"/>
                  </a:cubicBezTo>
                  <a:cubicBezTo>
                    <a:pt x="120708" y="239073"/>
                    <a:pt x="104959" y="246559"/>
                    <a:pt x="103498" y="252877"/>
                  </a:cubicBezTo>
                  <a:cubicBezTo>
                    <a:pt x="102159" y="261747"/>
                    <a:pt x="101956" y="270711"/>
                    <a:pt x="102930" y="279615"/>
                  </a:cubicBezTo>
                  <a:cubicBezTo>
                    <a:pt x="104310" y="308794"/>
                    <a:pt x="112428" y="336837"/>
                    <a:pt x="121398" y="366216"/>
                  </a:cubicBezTo>
                  <a:cubicBezTo>
                    <a:pt x="125132" y="378382"/>
                    <a:pt x="125457" y="390548"/>
                    <a:pt x="129516" y="402715"/>
                  </a:cubicBezTo>
                  <a:cubicBezTo>
                    <a:pt x="133575" y="414279"/>
                    <a:pt x="143601" y="425309"/>
                    <a:pt x="146361" y="437141"/>
                  </a:cubicBezTo>
                  <a:cubicBezTo>
                    <a:pt x="149324" y="449775"/>
                    <a:pt x="145225" y="459234"/>
                    <a:pt x="153952" y="472236"/>
                  </a:cubicBezTo>
                  <a:cubicBezTo>
                    <a:pt x="162070" y="484502"/>
                    <a:pt x="180010" y="492290"/>
                    <a:pt x="193161" y="479622"/>
                  </a:cubicBezTo>
                  <a:cubicBezTo>
                    <a:pt x="197220" y="475578"/>
                    <a:pt x="207570" y="475444"/>
                    <a:pt x="214836" y="474408"/>
                  </a:cubicBezTo>
                  <a:cubicBezTo>
                    <a:pt x="225146" y="472904"/>
                    <a:pt x="224090" y="468292"/>
                    <a:pt x="230382" y="464013"/>
                  </a:cubicBezTo>
                  <a:cubicBezTo>
                    <a:pt x="236673" y="459735"/>
                    <a:pt x="245846" y="464448"/>
                    <a:pt x="249378" y="456827"/>
                  </a:cubicBezTo>
                  <a:cubicBezTo>
                    <a:pt x="252260" y="450677"/>
                    <a:pt x="253762" y="444260"/>
                    <a:pt x="259160" y="438912"/>
                  </a:cubicBezTo>
                  <a:cubicBezTo>
                    <a:pt x="268820" y="429387"/>
                    <a:pt x="281687" y="424975"/>
                    <a:pt x="281444" y="411338"/>
                  </a:cubicBezTo>
                  <a:cubicBezTo>
                    <a:pt x="281444" y="401311"/>
                    <a:pt x="285908" y="381958"/>
                    <a:pt x="302023" y="377513"/>
                  </a:cubicBezTo>
                  <a:cubicBezTo>
                    <a:pt x="309735" y="375374"/>
                    <a:pt x="322642" y="378148"/>
                    <a:pt x="331694" y="375708"/>
                  </a:cubicBezTo>
                  <a:cubicBezTo>
                    <a:pt x="341070" y="372790"/>
                    <a:pt x="350731" y="370464"/>
                    <a:pt x="360553" y="368756"/>
                  </a:cubicBezTo>
                  <a:cubicBezTo>
                    <a:pt x="378900" y="366116"/>
                    <a:pt x="396759" y="363843"/>
                    <a:pt x="414172" y="359899"/>
                  </a:cubicBezTo>
                  <a:cubicBezTo>
                    <a:pt x="429596" y="356557"/>
                    <a:pt x="443843" y="348702"/>
                    <a:pt x="460851" y="347566"/>
                  </a:cubicBezTo>
                  <a:cubicBezTo>
                    <a:pt x="482201" y="346162"/>
                    <a:pt x="502617" y="348735"/>
                    <a:pt x="509558" y="334731"/>
                  </a:cubicBezTo>
                  <a:cubicBezTo>
                    <a:pt x="514957" y="323735"/>
                    <a:pt x="541706" y="329751"/>
                    <a:pt x="557738" y="333327"/>
                  </a:cubicBezTo>
                  <a:cubicBezTo>
                    <a:pt x="573771" y="336904"/>
                    <a:pt x="575394" y="337973"/>
                    <a:pt x="577140" y="327044"/>
                  </a:cubicBezTo>
                  <a:cubicBezTo>
                    <a:pt x="578560" y="319677"/>
                    <a:pt x="578398" y="312163"/>
                    <a:pt x="576612" y="304850"/>
                  </a:cubicBezTo>
                  <a:cubicBezTo>
                    <a:pt x="573812" y="296361"/>
                    <a:pt x="577871" y="310933"/>
                    <a:pt x="576166" y="3045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0835EE00-422A-4ED5-9C8E-79013B182D2F}"/>
                </a:ext>
              </a:extLst>
            </p:cNvPr>
            <p:cNvSpPr/>
            <p:nvPr/>
          </p:nvSpPr>
          <p:spPr>
            <a:xfrm>
              <a:off x="8512029" y="5341420"/>
              <a:ext cx="493392" cy="159779"/>
            </a:xfrm>
            <a:custGeom>
              <a:avLst/>
              <a:gdLst>
                <a:gd name="connsiteX0" fmla="*/ 83343 w 506390"/>
                <a:gd name="connsiteY0" fmla="*/ 62498 h 218774"/>
                <a:gd name="connsiteX1" fmla="*/ 71855 w 506390"/>
                <a:gd name="connsiteY1" fmla="*/ 42076 h 218774"/>
                <a:gd name="connsiteX2" fmla="*/ 60734 w 506390"/>
                <a:gd name="connsiteY2" fmla="*/ 23994 h 218774"/>
                <a:gd name="connsiteX3" fmla="*/ 49329 w 506390"/>
                <a:gd name="connsiteY3" fmla="*/ 27604 h 218774"/>
                <a:gd name="connsiteX4" fmla="*/ 32727 w 506390"/>
                <a:gd name="connsiteY4" fmla="*/ 22490 h 218774"/>
                <a:gd name="connsiteX5" fmla="*/ 29358 w 506390"/>
                <a:gd name="connsiteY5" fmla="*/ 14234 h 218774"/>
                <a:gd name="connsiteX6" fmla="*/ 4802 w 506390"/>
                <a:gd name="connsiteY6" fmla="*/ -339 h 218774"/>
                <a:gd name="connsiteX7" fmla="*/ -29 w 506390"/>
                <a:gd name="connsiteY7" fmla="*/ 29275 h 218774"/>
                <a:gd name="connsiteX8" fmla="*/ 10037 w 506390"/>
                <a:gd name="connsiteY8" fmla="*/ 56983 h 218774"/>
                <a:gd name="connsiteX9" fmla="*/ 18155 w 506390"/>
                <a:gd name="connsiteY9" fmla="*/ 75633 h 218774"/>
                <a:gd name="connsiteX10" fmla="*/ 48395 w 506390"/>
                <a:gd name="connsiteY10" fmla="*/ 103609 h 218774"/>
                <a:gd name="connsiteX11" fmla="*/ 75347 w 506390"/>
                <a:gd name="connsiteY11" fmla="*/ 106650 h 218774"/>
                <a:gd name="connsiteX12" fmla="*/ 67229 w 506390"/>
                <a:gd name="connsiteY12" fmla="*/ 86964 h 218774"/>
                <a:gd name="connsiteX13" fmla="*/ 83180 w 506390"/>
                <a:gd name="connsiteY13" fmla="*/ 62498 h 218774"/>
                <a:gd name="connsiteX14" fmla="*/ 83343 w 506390"/>
                <a:gd name="connsiteY14" fmla="*/ 62498 h 218774"/>
                <a:gd name="connsiteX15" fmla="*/ 493299 w 506390"/>
                <a:gd name="connsiteY15" fmla="*/ 193217 h 218774"/>
                <a:gd name="connsiteX16" fmla="*/ 469392 w 506390"/>
                <a:gd name="connsiteY16" fmla="*/ 171291 h 218774"/>
                <a:gd name="connsiteX17" fmla="*/ 427260 w 506390"/>
                <a:gd name="connsiteY17" fmla="*/ 164105 h 218774"/>
                <a:gd name="connsiteX18" fmla="*/ 396168 w 506390"/>
                <a:gd name="connsiteY18" fmla="*/ 177475 h 218774"/>
                <a:gd name="connsiteX19" fmla="*/ 383707 w 506390"/>
                <a:gd name="connsiteY19" fmla="*/ 180817 h 218774"/>
                <a:gd name="connsiteX20" fmla="*/ 366497 w 506390"/>
                <a:gd name="connsiteY20" fmla="*/ 168751 h 218774"/>
                <a:gd name="connsiteX21" fmla="*/ 335811 w 506390"/>
                <a:gd name="connsiteY21" fmla="*/ 170289 h 218774"/>
                <a:gd name="connsiteX22" fmla="*/ 293882 w 506390"/>
                <a:gd name="connsiteY22" fmla="*/ 170088 h 218774"/>
                <a:gd name="connsiteX23" fmla="*/ 261410 w 506390"/>
                <a:gd name="connsiteY23" fmla="*/ 179581 h 218774"/>
                <a:gd name="connsiteX24" fmla="*/ 223580 w 506390"/>
                <a:gd name="connsiteY24" fmla="*/ 161064 h 218774"/>
                <a:gd name="connsiteX25" fmla="*/ 247934 w 506390"/>
                <a:gd name="connsiteY25" fmla="*/ 188672 h 218774"/>
                <a:gd name="connsiteX26" fmla="*/ 274318 w 506390"/>
                <a:gd name="connsiteY26" fmla="*/ 197964 h 218774"/>
                <a:gd name="connsiteX27" fmla="*/ 302041 w 506390"/>
                <a:gd name="connsiteY27" fmla="*/ 200404 h 218774"/>
                <a:gd name="connsiteX28" fmla="*/ 319900 w 506390"/>
                <a:gd name="connsiteY28" fmla="*/ 211132 h 218774"/>
                <a:gd name="connsiteX29" fmla="*/ 349368 w 506390"/>
                <a:gd name="connsiteY29" fmla="*/ 217817 h 218774"/>
                <a:gd name="connsiteX30" fmla="*/ 362113 w 506390"/>
                <a:gd name="connsiteY30" fmla="*/ 210899 h 218774"/>
                <a:gd name="connsiteX31" fmla="*/ 377213 w 506390"/>
                <a:gd name="connsiteY31" fmla="*/ 200872 h 218774"/>
                <a:gd name="connsiteX32" fmla="*/ 391420 w 506390"/>
                <a:gd name="connsiteY32" fmla="*/ 200872 h 218774"/>
                <a:gd name="connsiteX33" fmla="*/ 403596 w 506390"/>
                <a:gd name="connsiteY33" fmla="*/ 190844 h 218774"/>
                <a:gd name="connsiteX34" fmla="*/ 450193 w 506390"/>
                <a:gd name="connsiteY34" fmla="*/ 203746 h 218774"/>
                <a:gd name="connsiteX35" fmla="*/ 478200 w 506390"/>
                <a:gd name="connsiteY35" fmla="*/ 208091 h 218774"/>
                <a:gd name="connsiteX36" fmla="*/ 487414 w 506390"/>
                <a:gd name="connsiteY36" fmla="*/ 206620 h 218774"/>
                <a:gd name="connsiteX37" fmla="*/ 492934 w 506390"/>
                <a:gd name="connsiteY37" fmla="*/ 193251 h 21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90" h="218774">
                  <a:moveTo>
                    <a:pt x="83343" y="62498"/>
                  </a:moveTo>
                  <a:cubicBezTo>
                    <a:pt x="87808" y="54376"/>
                    <a:pt x="75914" y="49797"/>
                    <a:pt x="71855" y="42076"/>
                  </a:cubicBezTo>
                  <a:cubicBezTo>
                    <a:pt x="68284" y="35391"/>
                    <a:pt x="64063" y="30578"/>
                    <a:pt x="60734" y="23994"/>
                  </a:cubicBezTo>
                  <a:cubicBezTo>
                    <a:pt x="55377" y="23258"/>
                    <a:pt x="51804" y="28105"/>
                    <a:pt x="49329" y="27604"/>
                  </a:cubicBezTo>
                  <a:cubicBezTo>
                    <a:pt x="43565" y="26477"/>
                    <a:pt x="37964" y="24759"/>
                    <a:pt x="32727" y="22490"/>
                  </a:cubicBezTo>
                  <a:cubicBezTo>
                    <a:pt x="26720" y="19782"/>
                    <a:pt x="30210" y="17677"/>
                    <a:pt x="29358" y="14234"/>
                  </a:cubicBezTo>
                  <a:cubicBezTo>
                    <a:pt x="27532" y="6881"/>
                    <a:pt x="14299" y="2402"/>
                    <a:pt x="4802" y="-339"/>
                  </a:cubicBezTo>
                  <a:cubicBezTo>
                    <a:pt x="7359" y="10825"/>
                    <a:pt x="743" y="18947"/>
                    <a:pt x="-29" y="29275"/>
                  </a:cubicBezTo>
                  <a:cubicBezTo>
                    <a:pt x="-556" y="38132"/>
                    <a:pt x="5817" y="48025"/>
                    <a:pt x="10037" y="56983"/>
                  </a:cubicBezTo>
                  <a:cubicBezTo>
                    <a:pt x="12960" y="63200"/>
                    <a:pt x="12798" y="69650"/>
                    <a:pt x="18155" y="75633"/>
                  </a:cubicBezTo>
                  <a:cubicBezTo>
                    <a:pt x="27451" y="85526"/>
                    <a:pt x="37557" y="94885"/>
                    <a:pt x="48395" y="103609"/>
                  </a:cubicBezTo>
                  <a:cubicBezTo>
                    <a:pt x="63576" y="116243"/>
                    <a:pt x="83627" y="130348"/>
                    <a:pt x="75347" y="106650"/>
                  </a:cubicBezTo>
                  <a:cubicBezTo>
                    <a:pt x="73155" y="100534"/>
                    <a:pt x="66214" y="92813"/>
                    <a:pt x="67229" y="86964"/>
                  </a:cubicBezTo>
                  <a:cubicBezTo>
                    <a:pt x="69014" y="77739"/>
                    <a:pt x="78635" y="70820"/>
                    <a:pt x="83180" y="62498"/>
                  </a:cubicBezTo>
                  <a:cubicBezTo>
                    <a:pt x="88985" y="52170"/>
                    <a:pt x="77701" y="72859"/>
                    <a:pt x="83343" y="62498"/>
                  </a:cubicBezTo>
                  <a:close/>
                  <a:moveTo>
                    <a:pt x="493299" y="193217"/>
                  </a:moveTo>
                  <a:cubicBezTo>
                    <a:pt x="471827" y="187769"/>
                    <a:pt x="476617" y="181820"/>
                    <a:pt x="469392" y="171291"/>
                  </a:cubicBezTo>
                  <a:cubicBezTo>
                    <a:pt x="458676" y="155582"/>
                    <a:pt x="440329" y="155215"/>
                    <a:pt x="427260" y="164105"/>
                  </a:cubicBezTo>
                  <a:cubicBezTo>
                    <a:pt x="418086" y="170289"/>
                    <a:pt x="398116" y="167448"/>
                    <a:pt x="396168" y="177475"/>
                  </a:cubicBezTo>
                  <a:cubicBezTo>
                    <a:pt x="394747" y="184928"/>
                    <a:pt x="392109" y="180416"/>
                    <a:pt x="383707" y="180817"/>
                  </a:cubicBezTo>
                  <a:cubicBezTo>
                    <a:pt x="371530" y="181352"/>
                    <a:pt x="368851" y="175904"/>
                    <a:pt x="366497" y="168751"/>
                  </a:cubicBezTo>
                  <a:cubicBezTo>
                    <a:pt x="362072" y="155382"/>
                    <a:pt x="344132" y="165609"/>
                    <a:pt x="335811" y="170289"/>
                  </a:cubicBezTo>
                  <a:cubicBezTo>
                    <a:pt x="320062" y="179213"/>
                    <a:pt x="317343" y="178477"/>
                    <a:pt x="293882" y="170088"/>
                  </a:cubicBezTo>
                  <a:cubicBezTo>
                    <a:pt x="270421" y="161699"/>
                    <a:pt x="270503" y="170489"/>
                    <a:pt x="261410" y="179581"/>
                  </a:cubicBezTo>
                  <a:cubicBezTo>
                    <a:pt x="253292" y="187669"/>
                    <a:pt x="231455" y="165108"/>
                    <a:pt x="223580" y="161064"/>
                  </a:cubicBezTo>
                  <a:cubicBezTo>
                    <a:pt x="223012" y="173798"/>
                    <a:pt x="233079" y="185162"/>
                    <a:pt x="247934" y="188672"/>
                  </a:cubicBezTo>
                  <a:cubicBezTo>
                    <a:pt x="257067" y="190543"/>
                    <a:pt x="265429" y="195357"/>
                    <a:pt x="274318" y="197964"/>
                  </a:cubicBezTo>
                  <a:cubicBezTo>
                    <a:pt x="284059" y="200905"/>
                    <a:pt x="292299" y="197964"/>
                    <a:pt x="302041" y="200404"/>
                  </a:cubicBezTo>
                  <a:cubicBezTo>
                    <a:pt x="309427" y="202008"/>
                    <a:pt x="315800" y="205852"/>
                    <a:pt x="319900" y="211132"/>
                  </a:cubicBezTo>
                  <a:cubicBezTo>
                    <a:pt x="324243" y="215812"/>
                    <a:pt x="342387" y="216179"/>
                    <a:pt x="349368" y="217817"/>
                  </a:cubicBezTo>
                  <a:cubicBezTo>
                    <a:pt x="359759" y="220290"/>
                    <a:pt x="358095" y="214809"/>
                    <a:pt x="362113" y="210899"/>
                  </a:cubicBezTo>
                  <a:cubicBezTo>
                    <a:pt x="366822" y="207255"/>
                    <a:pt x="371896" y="203913"/>
                    <a:pt x="377213" y="200872"/>
                  </a:cubicBezTo>
                  <a:cubicBezTo>
                    <a:pt x="380135" y="198832"/>
                    <a:pt x="387361" y="201306"/>
                    <a:pt x="391420" y="200872"/>
                  </a:cubicBezTo>
                  <a:cubicBezTo>
                    <a:pt x="399538" y="199969"/>
                    <a:pt x="397751" y="193084"/>
                    <a:pt x="403596" y="190844"/>
                  </a:cubicBezTo>
                  <a:cubicBezTo>
                    <a:pt x="414027" y="186633"/>
                    <a:pt x="440654" y="197195"/>
                    <a:pt x="450193" y="203746"/>
                  </a:cubicBezTo>
                  <a:cubicBezTo>
                    <a:pt x="455591" y="207456"/>
                    <a:pt x="473208" y="213773"/>
                    <a:pt x="478200" y="208091"/>
                  </a:cubicBezTo>
                  <a:cubicBezTo>
                    <a:pt x="481447" y="204481"/>
                    <a:pt x="475440" y="202543"/>
                    <a:pt x="487414" y="206620"/>
                  </a:cubicBezTo>
                  <a:cubicBezTo>
                    <a:pt x="510997" y="214709"/>
                    <a:pt x="512174" y="198030"/>
                    <a:pt x="492934" y="193251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9AF970CE-41A3-4B48-8562-127983616706}"/>
                </a:ext>
              </a:extLst>
            </p:cNvPr>
            <p:cNvSpPr/>
            <p:nvPr/>
          </p:nvSpPr>
          <p:spPr>
            <a:xfrm>
              <a:off x="8538290" y="5762954"/>
              <a:ext cx="945245" cy="520448"/>
            </a:xfrm>
            <a:custGeom>
              <a:avLst/>
              <a:gdLst>
                <a:gd name="connsiteX0" fmla="*/ 942383 w 970147"/>
                <a:gd name="connsiteY0" fmla="*/ 537263 h 712612"/>
                <a:gd name="connsiteX1" fmla="*/ 945711 w 970147"/>
                <a:gd name="connsiteY1" fmla="*/ 520551 h 712612"/>
                <a:gd name="connsiteX2" fmla="*/ 970065 w 970147"/>
                <a:gd name="connsiteY2" fmla="*/ 494748 h 712612"/>
                <a:gd name="connsiteX3" fmla="*/ 955209 w 970147"/>
                <a:gd name="connsiteY3" fmla="*/ 489467 h 712612"/>
                <a:gd name="connsiteX4" fmla="*/ 956508 w 970147"/>
                <a:gd name="connsiteY4" fmla="*/ 472421 h 712612"/>
                <a:gd name="connsiteX5" fmla="*/ 954356 w 970147"/>
                <a:gd name="connsiteY5" fmla="*/ 460656 h 712612"/>
                <a:gd name="connsiteX6" fmla="*/ 944697 w 970147"/>
                <a:gd name="connsiteY6" fmla="*/ 452801 h 712612"/>
                <a:gd name="connsiteX7" fmla="*/ 945549 w 970147"/>
                <a:gd name="connsiteY7" fmla="*/ 446116 h 712612"/>
                <a:gd name="connsiteX8" fmla="*/ 937958 w 970147"/>
                <a:gd name="connsiteY8" fmla="*/ 436992 h 712612"/>
                <a:gd name="connsiteX9" fmla="*/ 948959 w 970147"/>
                <a:gd name="connsiteY9" fmla="*/ 418542 h 712612"/>
                <a:gd name="connsiteX10" fmla="*/ 934387 w 970147"/>
                <a:gd name="connsiteY10" fmla="*/ 408013 h 712612"/>
                <a:gd name="connsiteX11" fmla="*/ 930693 w 970147"/>
                <a:gd name="connsiteY11" fmla="*/ 393842 h 712612"/>
                <a:gd name="connsiteX12" fmla="*/ 929191 w 970147"/>
                <a:gd name="connsiteY12" fmla="*/ 367103 h 712612"/>
                <a:gd name="connsiteX13" fmla="*/ 911981 w 970147"/>
                <a:gd name="connsiteY13" fmla="*/ 334281 h 712612"/>
                <a:gd name="connsiteX14" fmla="*/ 896313 w 970147"/>
                <a:gd name="connsiteY14" fmla="*/ 317803 h 712612"/>
                <a:gd name="connsiteX15" fmla="*/ 896882 w 970147"/>
                <a:gd name="connsiteY15" fmla="*/ 303632 h 712612"/>
                <a:gd name="connsiteX16" fmla="*/ 906460 w 970147"/>
                <a:gd name="connsiteY16" fmla="*/ 280035 h 712612"/>
                <a:gd name="connsiteX17" fmla="*/ 903051 w 970147"/>
                <a:gd name="connsiteY17" fmla="*/ 260883 h 712612"/>
                <a:gd name="connsiteX18" fmla="*/ 915228 w 970147"/>
                <a:gd name="connsiteY18" fmla="*/ 239057 h 712612"/>
                <a:gd name="connsiteX19" fmla="*/ 906704 w 970147"/>
                <a:gd name="connsiteY19" fmla="*/ 219605 h 712612"/>
                <a:gd name="connsiteX20" fmla="*/ 884908 w 970147"/>
                <a:gd name="connsiteY20" fmla="*/ 204832 h 712612"/>
                <a:gd name="connsiteX21" fmla="*/ 899114 w 970147"/>
                <a:gd name="connsiteY21" fmla="*/ 184543 h 712612"/>
                <a:gd name="connsiteX22" fmla="*/ 898424 w 970147"/>
                <a:gd name="connsiteY22" fmla="*/ 162985 h 712612"/>
                <a:gd name="connsiteX23" fmla="*/ 901549 w 970147"/>
                <a:gd name="connsiteY23" fmla="*/ 142329 h 712612"/>
                <a:gd name="connsiteX24" fmla="*/ 880239 w 970147"/>
                <a:gd name="connsiteY24" fmla="*/ 143265 h 712612"/>
                <a:gd name="connsiteX25" fmla="*/ 872487 w 970147"/>
                <a:gd name="connsiteY25" fmla="*/ 150919 h 712612"/>
                <a:gd name="connsiteX26" fmla="*/ 861203 w 970147"/>
                <a:gd name="connsiteY26" fmla="*/ 154262 h 712612"/>
                <a:gd name="connsiteX27" fmla="*/ 848377 w 970147"/>
                <a:gd name="connsiteY27" fmla="*/ 167865 h 712612"/>
                <a:gd name="connsiteX28" fmla="*/ 831654 w 970147"/>
                <a:gd name="connsiteY28" fmla="*/ 186482 h 712612"/>
                <a:gd name="connsiteX29" fmla="*/ 786071 w 970147"/>
                <a:gd name="connsiteY29" fmla="*/ 217299 h 712612"/>
                <a:gd name="connsiteX30" fmla="*/ 754167 w 970147"/>
                <a:gd name="connsiteY30" fmla="*/ 209177 h 712612"/>
                <a:gd name="connsiteX31" fmla="*/ 743655 w 970147"/>
                <a:gd name="connsiteY31" fmla="*/ 187518 h 712612"/>
                <a:gd name="connsiteX32" fmla="*/ 723847 w 970147"/>
                <a:gd name="connsiteY32" fmla="*/ 171341 h 712612"/>
                <a:gd name="connsiteX33" fmla="*/ 703269 w 970147"/>
                <a:gd name="connsiteY33" fmla="*/ 147343 h 712612"/>
                <a:gd name="connsiteX34" fmla="*/ 694055 w 970147"/>
                <a:gd name="connsiteY34" fmla="*/ 128693 h 712612"/>
                <a:gd name="connsiteX35" fmla="*/ 685693 w 970147"/>
                <a:gd name="connsiteY35" fmla="*/ 116961 h 712612"/>
                <a:gd name="connsiteX36" fmla="*/ 701929 w 970147"/>
                <a:gd name="connsiteY36" fmla="*/ 114253 h 712612"/>
                <a:gd name="connsiteX37" fmla="*/ 713700 w 970147"/>
                <a:gd name="connsiteY37" fmla="*/ 101553 h 712612"/>
                <a:gd name="connsiteX38" fmla="*/ 732534 w 970147"/>
                <a:gd name="connsiteY38" fmla="*/ 104093 h 712612"/>
                <a:gd name="connsiteX39" fmla="*/ 737892 w 970147"/>
                <a:gd name="connsiteY39" fmla="*/ 98411 h 712612"/>
                <a:gd name="connsiteX40" fmla="*/ 748160 w 970147"/>
                <a:gd name="connsiteY40" fmla="*/ 96172 h 712612"/>
                <a:gd name="connsiteX41" fmla="*/ 737648 w 970147"/>
                <a:gd name="connsiteY41" fmla="*/ 86913 h 712612"/>
                <a:gd name="connsiteX42" fmla="*/ 726445 w 970147"/>
                <a:gd name="connsiteY42" fmla="*/ 84039 h 712612"/>
                <a:gd name="connsiteX43" fmla="*/ 714268 w 970147"/>
                <a:gd name="connsiteY43" fmla="*/ 78022 h 712612"/>
                <a:gd name="connsiteX44" fmla="*/ 697221 w 970147"/>
                <a:gd name="connsiteY44" fmla="*/ 66157 h 712612"/>
                <a:gd name="connsiteX45" fmla="*/ 670553 w 970147"/>
                <a:gd name="connsiteY45" fmla="*/ 47072 h 712612"/>
                <a:gd name="connsiteX46" fmla="*/ 651436 w 970147"/>
                <a:gd name="connsiteY46" fmla="*/ 26784 h 712612"/>
                <a:gd name="connsiteX47" fmla="*/ 646159 w 970147"/>
                <a:gd name="connsiteY47" fmla="*/ 32466 h 712612"/>
                <a:gd name="connsiteX48" fmla="*/ 639421 w 970147"/>
                <a:gd name="connsiteY48" fmla="*/ 39886 h 712612"/>
                <a:gd name="connsiteX49" fmla="*/ 612997 w 970147"/>
                <a:gd name="connsiteY49" fmla="*/ 30661 h 712612"/>
                <a:gd name="connsiteX50" fmla="*/ 603946 w 970147"/>
                <a:gd name="connsiteY50" fmla="*/ 25313 h 712612"/>
                <a:gd name="connsiteX51" fmla="*/ 600292 w 970147"/>
                <a:gd name="connsiteY51" fmla="*/ 29291 h 712612"/>
                <a:gd name="connsiteX52" fmla="*/ 589008 w 970147"/>
                <a:gd name="connsiteY52" fmla="*/ 27586 h 712612"/>
                <a:gd name="connsiteX53" fmla="*/ 575857 w 970147"/>
                <a:gd name="connsiteY53" fmla="*/ 32800 h 712612"/>
                <a:gd name="connsiteX54" fmla="*/ 549150 w 970147"/>
                <a:gd name="connsiteY54" fmla="*/ 40722 h 712612"/>
                <a:gd name="connsiteX55" fmla="*/ 546348 w 970147"/>
                <a:gd name="connsiteY55" fmla="*/ 59138 h 712612"/>
                <a:gd name="connsiteX56" fmla="*/ 523050 w 970147"/>
                <a:gd name="connsiteY56" fmla="*/ 40588 h 712612"/>
                <a:gd name="connsiteX57" fmla="*/ 509695 w 970147"/>
                <a:gd name="connsiteY57" fmla="*/ 39919 h 712612"/>
                <a:gd name="connsiteX58" fmla="*/ 503810 w 970147"/>
                <a:gd name="connsiteY58" fmla="*/ 25681 h 712612"/>
                <a:gd name="connsiteX59" fmla="*/ 492121 w 970147"/>
                <a:gd name="connsiteY59" fmla="*/ 7131 h 712612"/>
                <a:gd name="connsiteX60" fmla="*/ 463423 w 970147"/>
                <a:gd name="connsiteY60" fmla="*/ 2752 h 712612"/>
                <a:gd name="connsiteX61" fmla="*/ 445321 w 970147"/>
                <a:gd name="connsiteY61" fmla="*/ 2251 h 712612"/>
                <a:gd name="connsiteX62" fmla="*/ 431723 w 970147"/>
                <a:gd name="connsiteY62" fmla="*/ 4658 h 712612"/>
                <a:gd name="connsiteX63" fmla="*/ 410901 w 970147"/>
                <a:gd name="connsiteY63" fmla="*/ 5527 h 712612"/>
                <a:gd name="connsiteX64" fmla="*/ 396653 w 970147"/>
                <a:gd name="connsiteY64" fmla="*/ 15855 h 712612"/>
                <a:gd name="connsiteX65" fmla="*/ 382163 w 970147"/>
                <a:gd name="connsiteY65" fmla="*/ 14016 h 712612"/>
                <a:gd name="connsiteX66" fmla="*/ 370230 w 970147"/>
                <a:gd name="connsiteY66" fmla="*/ 26450 h 712612"/>
                <a:gd name="connsiteX67" fmla="*/ 367753 w 970147"/>
                <a:gd name="connsiteY67" fmla="*/ 10908 h 712612"/>
                <a:gd name="connsiteX68" fmla="*/ 337839 w 970147"/>
                <a:gd name="connsiteY68" fmla="*/ 13548 h 712612"/>
                <a:gd name="connsiteX69" fmla="*/ 330898 w 970147"/>
                <a:gd name="connsiteY69" fmla="*/ 26517 h 712612"/>
                <a:gd name="connsiteX70" fmla="*/ 301713 w 970147"/>
                <a:gd name="connsiteY70" fmla="*/ 30327 h 712612"/>
                <a:gd name="connsiteX71" fmla="*/ 269648 w 970147"/>
                <a:gd name="connsiteY71" fmla="*/ 32901 h 712612"/>
                <a:gd name="connsiteX72" fmla="*/ 238028 w 970147"/>
                <a:gd name="connsiteY72" fmla="*/ 23575 h 712612"/>
                <a:gd name="connsiteX73" fmla="*/ 212254 w 970147"/>
                <a:gd name="connsiteY73" fmla="*/ 19030 h 712612"/>
                <a:gd name="connsiteX74" fmla="*/ 192568 w 970147"/>
                <a:gd name="connsiteY74" fmla="*/ 19765 h 712612"/>
                <a:gd name="connsiteX75" fmla="*/ 169229 w 970147"/>
                <a:gd name="connsiteY75" fmla="*/ 9237 h 712612"/>
                <a:gd name="connsiteX76" fmla="*/ 123240 w 970147"/>
                <a:gd name="connsiteY76" fmla="*/ 9671 h 712612"/>
                <a:gd name="connsiteX77" fmla="*/ 107005 w 970147"/>
                <a:gd name="connsiteY77" fmla="*/ 10106 h 712612"/>
                <a:gd name="connsiteX78" fmla="*/ 97426 w 970147"/>
                <a:gd name="connsiteY78" fmla="*/ 14284 h 712612"/>
                <a:gd name="connsiteX79" fmla="*/ 101119 w 970147"/>
                <a:gd name="connsiteY79" fmla="*/ 3287 h 712612"/>
                <a:gd name="connsiteX80" fmla="*/ 80297 w 970147"/>
                <a:gd name="connsiteY80" fmla="*/ 23341 h 712612"/>
                <a:gd name="connsiteX81" fmla="*/ 54766 w 970147"/>
                <a:gd name="connsiteY81" fmla="*/ 46404 h 712612"/>
                <a:gd name="connsiteX82" fmla="*/ 58256 w 970147"/>
                <a:gd name="connsiteY82" fmla="*/ 77621 h 712612"/>
                <a:gd name="connsiteX83" fmla="*/ 48474 w 970147"/>
                <a:gd name="connsiteY83" fmla="*/ 64252 h 712612"/>
                <a:gd name="connsiteX84" fmla="*/ 49164 w 970147"/>
                <a:gd name="connsiteY84" fmla="*/ 77856 h 712612"/>
                <a:gd name="connsiteX85" fmla="*/ 41046 w 970147"/>
                <a:gd name="connsiteY85" fmla="*/ 66291 h 712612"/>
                <a:gd name="connsiteX86" fmla="*/ 36419 w 970147"/>
                <a:gd name="connsiteY86" fmla="*/ 67394 h 712612"/>
                <a:gd name="connsiteX87" fmla="*/ 41006 w 970147"/>
                <a:gd name="connsiteY87" fmla="*/ 90189 h 712612"/>
                <a:gd name="connsiteX88" fmla="*/ 45836 w 970147"/>
                <a:gd name="connsiteY88" fmla="*/ 128592 h 712612"/>
                <a:gd name="connsiteX89" fmla="*/ 41980 w 970147"/>
                <a:gd name="connsiteY89" fmla="*/ 150618 h 712612"/>
                <a:gd name="connsiteX90" fmla="*/ 42873 w 970147"/>
                <a:gd name="connsiteY90" fmla="*/ 178093 h 712612"/>
                <a:gd name="connsiteX91" fmla="*/ 42873 w 970147"/>
                <a:gd name="connsiteY91" fmla="*/ 191195 h 712612"/>
                <a:gd name="connsiteX92" fmla="*/ 26069 w 970147"/>
                <a:gd name="connsiteY92" fmla="*/ 210179 h 712612"/>
                <a:gd name="connsiteX93" fmla="*/ 4434 w 970147"/>
                <a:gd name="connsiteY93" fmla="*/ 212820 h 712612"/>
                <a:gd name="connsiteX94" fmla="*/ 11781 w 970147"/>
                <a:gd name="connsiteY94" fmla="*/ 228596 h 712612"/>
                <a:gd name="connsiteX95" fmla="*/ 25501 w 970147"/>
                <a:gd name="connsiteY95" fmla="*/ 247748 h 712612"/>
                <a:gd name="connsiteX96" fmla="*/ 54604 w 970147"/>
                <a:gd name="connsiteY96" fmla="*/ 260582 h 712612"/>
                <a:gd name="connsiteX97" fmla="*/ 76400 w 970147"/>
                <a:gd name="connsiteY97" fmla="*/ 262454 h 712612"/>
                <a:gd name="connsiteX98" fmla="*/ 106152 w 970147"/>
                <a:gd name="connsiteY98" fmla="*/ 263791 h 712612"/>
                <a:gd name="connsiteX99" fmla="*/ 170325 w 970147"/>
                <a:gd name="connsiteY99" fmla="*/ 284213 h 712612"/>
                <a:gd name="connsiteX100" fmla="*/ 203771 w 970147"/>
                <a:gd name="connsiteY100" fmla="*/ 294240 h 712612"/>
                <a:gd name="connsiteX101" fmla="*/ 227435 w 970147"/>
                <a:gd name="connsiteY101" fmla="*/ 288892 h 712612"/>
                <a:gd name="connsiteX102" fmla="*/ 257390 w 970147"/>
                <a:gd name="connsiteY102" fmla="*/ 292234 h 712612"/>
                <a:gd name="connsiteX103" fmla="*/ 281744 w 970147"/>
                <a:gd name="connsiteY103" fmla="*/ 296913 h 712612"/>
                <a:gd name="connsiteX104" fmla="*/ 320629 w 970147"/>
                <a:gd name="connsiteY104" fmla="*/ 311052 h 712612"/>
                <a:gd name="connsiteX105" fmla="*/ 361219 w 970147"/>
                <a:gd name="connsiteY105" fmla="*/ 318238 h 712612"/>
                <a:gd name="connsiteX106" fmla="*/ 411712 w 970147"/>
                <a:gd name="connsiteY106" fmla="*/ 344977 h 712612"/>
                <a:gd name="connsiteX107" fmla="*/ 453479 w 970147"/>
                <a:gd name="connsiteY107" fmla="*/ 377063 h 712612"/>
                <a:gd name="connsiteX108" fmla="*/ 449907 w 970147"/>
                <a:gd name="connsiteY108" fmla="*/ 390967 h 712612"/>
                <a:gd name="connsiteX109" fmla="*/ 460906 w 970147"/>
                <a:gd name="connsiteY109" fmla="*/ 407245 h 712612"/>
                <a:gd name="connsiteX110" fmla="*/ 471257 w 970147"/>
                <a:gd name="connsiteY110" fmla="*/ 436891 h 712612"/>
                <a:gd name="connsiteX111" fmla="*/ 493988 w 970147"/>
                <a:gd name="connsiteY111" fmla="*/ 435554 h 712612"/>
                <a:gd name="connsiteX112" fmla="*/ 507545 w 970147"/>
                <a:gd name="connsiteY112" fmla="*/ 434987 h 712612"/>
                <a:gd name="connsiteX113" fmla="*/ 536282 w 970147"/>
                <a:gd name="connsiteY113" fmla="*/ 433081 h 712612"/>
                <a:gd name="connsiteX114" fmla="*/ 515663 w 970147"/>
                <a:gd name="connsiteY114" fmla="*/ 444011 h 712612"/>
                <a:gd name="connsiteX115" fmla="*/ 492121 w 970147"/>
                <a:gd name="connsiteY115" fmla="*/ 451464 h 712612"/>
                <a:gd name="connsiteX116" fmla="*/ 499386 w 970147"/>
                <a:gd name="connsiteY116" fmla="*/ 462060 h 712612"/>
                <a:gd name="connsiteX117" fmla="*/ 521872 w 970147"/>
                <a:gd name="connsiteY117" fmla="*/ 455375 h 712612"/>
                <a:gd name="connsiteX118" fmla="*/ 512253 w 970147"/>
                <a:gd name="connsiteY118" fmla="*/ 475763 h 712612"/>
                <a:gd name="connsiteX119" fmla="*/ 532142 w 970147"/>
                <a:gd name="connsiteY119" fmla="*/ 489667 h 712612"/>
                <a:gd name="connsiteX120" fmla="*/ 528489 w 970147"/>
                <a:gd name="connsiteY120" fmla="*/ 516039 h 712612"/>
                <a:gd name="connsiteX121" fmla="*/ 532792 w 970147"/>
                <a:gd name="connsiteY121" fmla="*/ 543412 h 712612"/>
                <a:gd name="connsiteX122" fmla="*/ 579753 w 970147"/>
                <a:gd name="connsiteY122" fmla="*/ 586429 h 712612"/>
                <a:gd name="connsiteX123" fmla="*/ 612225 w 970147"/>
                <a:gd name="connsiteY123" fmla="*/ 594183 h 712612"/>
                <a:gd name="connsiteX124" fmla="*/ 625701 w 970147"/>
                <a:gd name="connsiteY124" fmla="*/ 592946 h 712612"/>
                <a:gd name="connsiteX125" fmla="*/ 623469 w 970147"/>
                <a:gd name="connsiteY125" fmla="*/ 599330 h 712612"/>
                <a:gd name="connsiteX126" fmla="*/ 620141 w 970147"/>
                <a:gd name="connsiteY126" fmla="*/ 605647 h 712612"/>
                <a:gd name="connsiteX127" fmla="*/ 629638 w 970147"/>
                <a:gd name="connsiteY127" fmla="*/ 602305 h 712612"/>
                <a:gd name="connsiteX128" fmla="*/ 641126 w 970147"/>
                <a:gd name="connsiteY128" fmla="*/ 630280 h 712612"/>
                <a:gd name="connsiteX129" fmla="*/ 658985 w 970147"/>
                <a:gd name="connsiteY129" fmla="*/ 626671 h 712612"/>
                <a:gd name="connsiteX130" fmla="*/ 686992 w 970147"/>
                <a:gd name="connsiteY130" fmla="*/ 627874 h 712612"/>
                <a:gd name="connsiteX131" fmla="*/ 729652 w 970147"/>
                <a:gd name="connsiteY131" fmla="*/ 643884 h 712612"/>
                <a:gd name="connsiteX132" fmla="*/ 751204 w 970147"/>
                <a:gd name="connsiteY132" fmla="*/ 635762 h 712612"/>
                <a:gd name="connsiteX133" fmla="*/ 765898 w 970147"/>
                <a:gd name="connsiteY133" fmla="*/ 622392 h 712612"/>
                <a:gd name="connsiteX134" fmla="*/ 791470 w 970147"/>
                <a:gd name="connsiteY134" fmla="*/ 614471 h 712612"/>
                <a:gd name="connsiteX135" fmla="*/ 832506 w 970147"/>
                <a:gd name="connsiteY135" fmla="*/ 594985 h 712612"/>
                <a:gd name="connsiteX136" fmla="*/ 847727 w 970147"/>
                <a:gd name="connsiteY136" fmla="*/ 592478 h 712612"/>
                <a:gd name="connsiteX137" fmla="*/ 872081 w 970147"/>
                <a:gd name="connsiteY137" fmla="*/ 587732 h 712612"/>
                <a:gd name="connsiteX138" fmla="*/ 896435 w 970147"/>
                <a:gd name="connsiteY138" fmla="*/ 577170 h 712612"/>
                <a:gd name="connsiteX139" fmla="*/ 916730 w 970147"/>
                <a:gd name="connsiteY139" fmla="*/ 562531 h 712612"/>
                <a:gd name="connsiteX140" fmla="*/ 931017 w 970147"/>
                <a:gd name="connsiteY140" fmla="*/ 549930 h 712612"/>
                <a:gd name="connsiteX141" fmla="*/ 942748 w 970147"/>
                <a:gd name="connsiteY141" fmla="*/ 537798 h 712612"/>
                <a:gd name="connsiteX142" fmla="*/ 623387 w 970147"/>
                <a:gd name="connsiteY142" fmla="*/ 21904 h 712612"/>
                <a:gd name="connsiteX143" fmla="*/ 589130 w 970147"/>
                <a:gd name="connsiteY143" fmla="*/ 12145 h 712612"/>
                <a:gd name="connsiteX144" fmla="*/ 623265 w 970147"/>
                <a:gd name="connsiteY144" fmla="*/ 21904 h 712612"/>
                <a:gd name="connsiteX145" fmla="*/ 466427 w 970147"/>
                <a:gd name="connsiteY145" fmla="*/ 464499 h 712612"/>
                <a:gd name="connsiteX146" fmla="*/ 494272 w 970147"/>
                <a:gd name="connsiteY146" fmla="*/ 475061 h 712612"/>
                <a:gd name="connsiteX147" fmla="*/ 466305 w 970147"/>
                <a:gd name="connsiteY147" fmla="*/ 464499 h 712612"/>
                <a:gd name="connsiteX148" fmla="*/ 613727 w 970147"/>
                <a:gd name="connsiteY148" fmla="*/ 664005 h 712612"/>
                <a:gd name="connsiteX149" fmla="*/ 582352 w 970147"/>
                <a:gd name="connsiteY149" fmla="*/ 637934 h 712612"/>
                <a:gd name="connsiteX150" fmla="*/ 577359 w 970147"/>
                <a:gd name="connsiteY150" fmla="*/ 662467 h 712612"/>
                <a:gd name="connsiteX151" fmla="*/ 566887 w 970147"/>
                <a:gd name="connsiteY151" fmla="*/ 682087 h 712612"/>
                <a:gd name="connsiteX152" fmla="*/ 587182 w 970147"/>
                <a:gd name="connsiteY152" fmla="*/ 710564 h 712612"/>
                <a:gd name="connsiteX153" fmla="*/ 591849 w 970147"/>
                <a:gd name="connsiteY153" fmla="*/ 708792 h 712612"/>
                <a:gd name="connsiteX154" fmla="*/ 600333 w 970147"/>
                <a:gd name="connsiteY154" fmla="*/ 710363 h 712612"/>
                <a:gd name="connsiteX155" fmla="*/ 610561 w 970147"/>
                <a:gd name="connsiteY155" fmla="*/ 705918 h 712612"/>
                <a:gd name="connsiteX156" fmla="*/ 633982 w 970147"/>
                <a:gd name="connsiteY156" fmla="*/ 699768 h 712612"/>
                <a:gd name="connsiteX157" fmla="*/ 652166 w 970147"/>
                <a:gd name="connsiteY157" fmla="*/ 680516 h 712612"/>
                <a:gd name="connsiteX158" fmla="*/ 613606 w 970147"/>
                <a:gd name="connsiteY158" fmla="*/ 664005 h 712612"/>
                <a:gd name="connsiteX159" fmla="*/ 613606 w 970147"/>
                <a:gd name="connsiteY159" fmla="*/ 664005 h 71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970147" h="712612">
                  <a:moveTo>
                    <a:pt x="942383" y="537263"/>
                  </a:moveTo>
                  <a:cubicBezTo>
                    <a:pt x="953789" y="538065"/>
                    <a:pt x="944209" y="523325"/>
                    <a:pt x="945711" y="520551"/>
                  </a:cubicBezTo>
                  <a:cubicBezTo>
                    <a:pt x="947213" y="517777"/>
                    <a:pt x="970917" y="495683"/>
                    <a:pt x="970065" y="494748"/>
                  </a:cubicBezTo>
                  <a:cubicBezTo>
                    <a:pt x="966493" y="490837"/>
                    <a:pt x="957604" y="498090"/>
                    <a:pt x="955209" y="489467"/>
                  </a:cubicBezTo>
                  <a:cubicBezTo>
                    <a:pt x="953504" y="483317"/>
                    <a:pt x="956021" y="478136"/>
                    <a:pt x="956508" y="472421"/>
                  </a:cubicBezTo>
                  <a:cubicBezTo>
                    <a:pt x="956914" y="468410"/>
                    <a:pt x="956183" y="464399"/>
                    <a:pt x="954356" y="460656"/>
                  </a:cubicBezTo>
                  <a:cubicBezTo>
                    <a:pt x="952083" y="456344"/>
                    <a:pt x="947375" y="456177"/>
                    <a:pt x="944697" y="452801"/>
                  </a:cubicBezTo>
                  <a:cubicBezTo>
                    <a:pt x="942910" y="450529"/>
                    <a:pt x="945224" y="448055"/>
                    <a:pt x="945549" y="446116"/>
                  </a:cubicBezTo>
                  <a:cubicBezTo>
                    <a:pt x="946198" y="442173"/>
                    <a:pt x="938405" y="441337"/>
                    <a:pt x="937958" y="436992"/>
                  </a:cubicBezTo>
                  <a:cubicBezTo>
                    <a:pt x="937390" y="431644"/>
                    <a:pt x="951678" y="422185"/>
                    <a:pt x="948959" y="418542"/>
                  </a:cubicBezTo>
                  <a:cubicBezTo>
                    <a:pt x="944778" y="414464"/>
                    <a:pt x="939866" y="410921"/>
                    <a:pt x="934387" y="408013"/>
                  </a:cubicBezTo>
                  <a:cubicBezTo>
                    <a:pt x="922210" y="405373"/>
                    <a:pt x="923062" y="398187"/>
                    <a:pt x="930693" y="393842"/>
                  </a:cubicBezTo>
                  <a:cubicBezTo>
                    <a:pt x="941205" y="387892"/>
                    <a:pt x="923955" y="374891"/>
                    <a:pt x="929191" y="367103"/>
                  </a:cubicBezTo>
                  <a:cubicBezTo>
                    <a:pt x="935279" y="358012"/>
                    <a:pt x="920302" y="343907"/>
                    <a:pt x="911981" y="334281"/>
                  </a:cubicBezTo>
                  <a:cubicBezTo>
                    <a:pt x="907232" y="328499"/>
                    <a:pt x="901996" y="322984"/>
                    <a:pt x="896313" y="317803"/>
                  </a:cubicBezTo>
                  <a:cubicBezTo>
                    <a:pt x="886369" y="309113"/>
                    <a:pt x="900372" y="310450"/>
                    <a:pt x="896882" y="303632"/>
                  </a:cubicBezTo>
                  <a:cubicBezTo>
                    <a:pt x="892052" y="294373"/>
                    <a:pt x="905364" y="287689"/>
                    <a:pt x="906460" y="280035"/>
                  </a:cubicBezTo>
                  <a:cubicBezTo>
                    <a:pt x="907314" y="274152"/>
                    <a:pt x="898545" y="265796"/>
                    <a:pt x="903051" y="260883"/>
                  </a:cubicBezTo>
                  <a:cubicBezTo>
                    <a:pt x="907556" y="255970"/>
                    <a:pt x="914376" y="245140"/>
                    <a:pt x="915228" y="239057"/>
                  </a:cubicBezTo>
                  <a:cubicBezTo>
                    <a:pt x="913523" y="232272"/>
                    <a:pt x="910641" y="225721"/>
                    <a:pt x="906704" y="219605"/>
                  </a:cubicBezTo>
                  <a:cubicBezTo>
                    <a:pt x="899804" y="213956"/>
                    <a:pt x="880930" y="214591"/>
                    <a:pt x="884908" y="204832"/>
                  </a:cubicBezTo>
                  <a:cubicBezTo>
                    <a:pt x="887911" y="197245"/>
                    <a:pt x="896070" y="192231"/>
                    <a:pt x="899114" y="184543"/>
                  </a:cubicBezTo>
                  <a:cubicBezTo>
                    <a:pt x="902159" y="176856"/>
                    <a:pt x="900007" y="171174"/>
                    <a:pt x="898424" y="162985"/>
                  </a:cubicBezTo>
                  <a:cubicBezTo>
                    <a:pt x="897125" y="156301"/>
                    <a:pt x="905162" y="148680"/>
                    <a:pt x="901549" y="142329"/>
                  </a:cubicBezTo>
                  <a:cubicBezTo>
                    <a:pt x="898586" y="137282"/>
                    <a:pt x="882594" y="141928"/>
                    <a:pt x="880239" y="143265"/>
                  </a:cubicBezTo>
                  <a:cubicBezTo>
                    <a:pt x="876790" y="145237"/>
                    <a:pt x="875816" y="148780"/>
                    <a:pt x="872487" y="150919"/>
                  </a:cubicBezTo>
                  <a:cubicBezTo>
                    <a:pt x="869159" y="153059"/>
                    <a:pt x="864044" y="152423"/>
                    <a:pt x="861203" y="154262"/>
                  </a:cubicBezTo>
                  <a:cubicBezTo>
                    <a:pt x="856333" y="157604"/>
                    <a:pt x="857144" y="167631"/>
                    <a:pt x="848377" y="167865"/>
                  </a:cubicBezTo>
                  <a:cubicBezTo>
                    <a:pt x="838676" y="168199"/>
                    <a:pt x="834942" y="181469"/>
                    <a:pt x="831654" y="186482"/>
                  </a:cubicBezTo>
                  <a:cubicBezTo>
                    <a:pt x="821912" y="201289"/>
                    <a:pt x="806529" y="210814"/>
                    <a:pt x="786071" y="217299"/>
                  </a:cubicBezTo>
                  <a:cubicBezTo>
                    <a:pt x="775518" y="220641"/>
                    <a:pt x="763139" y="217299"/>
                    <a:pt x="754167" y="209177"/>
                  </a:cubicBezTo>
                  <a:cubicBezTo>
                    <a:pt x="745197" y="201055"/>
                    <a:pt x="751651" y="194871"/>
                    <a:pt x="743655" y="187518"/>
                  </a:cubicBezTo>
                  <a:cubicBezTo>
                    <a:pt x="736552" y="180833"/>
                    <a:pt x="727419" y="179396"/>
                    <a:pt x="723847" y="171341"/>
                  </a:cubicBezTo>
                  <a:cubicBezTo>
                    <a:pt x="719788" y="161949"/>
                    <a:pt x="716744" y="153059"/>
                    <a:pt x="703269" y="147343"/>
                  </a:cubicBezTo>
                  <a:cubicBezTo>
                    <a:pt x="692268" y="142664"/>
                    <a:pt x="698357" y="135645"/>
                    <a:pt x="694055" y="128693"/>
                  </a:cubicBezTo>
                  <a:cubicBezTo>
                    <a:pt x="691011" y="124916"/>
                    <a:pt x="688209" y="121005"/>
                    <a:pt x="685693" y="116961"/>
                  </a:cubicBezTo>
                  <a:cubicBezTo>
                    <a:pt x="683989" y="113084"/>
                    <a:pt x="699210" y="115223"/>
                    <a:pt x="701929" y="114253"/>
                  </a:cubicBezTo>
                  <a:cubicBezTo>
                    <a:pt x="710655" y="111212"/>
                    <a:pt x="700752" y="98344"/>
                    <a:pt x="713700" y="101553"/>
                  </a:cubicBezTo>
                  <a:cubicBezTo>
                    <a:pt x="719301" y="102956"/>
                    <a:pt x="727460" y="105597"/>
                    <a:pt x="732534" y="104093"/>
                  </a:cubicBezTo>
                  <a:cubicBezTo>
                    <a:pt x="736105" y="103023"/>
                    <a:pt x="734928" y="99681"/>
                    <a:pt x="737892" y="98411"/>
                  </a:cubicBezTo>
                  <a:cubicBezTo>
                    <a:pt x="740855" y="97141"/>
                    <a:pt x="748648" y="100851"/>
                    <a:pt x="748160" y="96172"/>
                  </a:cubicBezTo>
                  <a:cubicBezTo>
                    <a:pt x="746781" y="91826"/>
                    <a:pt x="742803" y="88350"/>
                    <a:pt x="737648" y="86913"/>
                  </a:cubicBezTo>
                  <a:cubicBezTo>
                    <a:pt x="730910" y="85843"/>
                    <a:pt x="726567" y="94968"/>
                    <a:pt x="726445" y="84039"/>
                  </a:cubicBezTo>
                  <a:cubicBezTo>
                    <a:pt x="726445" y="76217"/>
                    <a:pt x="723239" y="78156"/>
                    <a:pt x="714268" y="78022"/>
                  </a:cubicBezTo>
                  <a:cubicBezTo>
                    <a:pt x="703999" y="77856"/>
                    <a:pt x="703228" y="71338"/>
                    <a:pt x="697221" y="66157"/>
                  </a:cubicBezTo>
                  <a:cubicBezTo>
                    <a:pt x="688940" y="59238"/>
                    <a:pt x="680011" y="52854"/>
                    <a:pt x="670553" y="47072"/>
                  </a:cubicBezTo>
                  <a:cubicBezTo>
                    <a:pt x="659350" y="39986"/>
                    <a:pt x="657524" y="35675"/>
                    <a:pt x="651436" y="26784"/>
                  </a:cubicBezTo>
                  <a:cubicBezTo>
                    <a:pt x="645347" y="17893"/>
                    <a:pt x="643318" y="27352"/>
                    <a:pt x="646159" y="32466"/>
                  </a:cubicBezTo>
                  <a:cubicBezTo>
                    <a:pt x="649893" y="39151"/>
                    <a:pt x="649974" y="42092"/>
                    <a:pt x="639421" y="39886"/>
                  </a:cubicBezTo>
                  <a:cubicBezTo>
                    <a:pt x="630126" y="37847"/>
                    <a:pt x="621236" y="34739"/>
                    <a:pt x="612997" y="30661"/>
                  </a:cubicBezTo>
                  <a:cubicBezTo>
                    <a:pt x="610114" y="28723"/>
                    <a:pt x="607111" y="26951"/>
                    <a:pt x="603946" y="25313"/>
                  </a:cubicBezTo>
                  <a:cubicBezTo>
                    <a:pt x="601104" y="24378"/>
                    <a:pt x="602728" y="29157"/>
                    <a:pt x="600292" y="29291"/>
                  </a:cubicBezTo>
                  <a:cubicBezTo>
                    <a:pt x="596233" y="29291"/>
                    <a:pt x="593798" y="26417"/>
                    <a:pt x="589008" y="27586"/>
                  </a:cubicBezTo>
                  <a:cubicBezTo>
                    <a:pt x="584503" y="29124"/>
                    <a:pt x="580119" y="30862"/>
                    <a:pt x="575857" y="32800"/>
                  </a:cubicBezTo>
                  <a:cubicBezTo>
                    <a:pt x="567334" y="36243"/>
                    <a:pt x="558362" y="38884"/>
                    <a:pt x="549150" y="40722"/>
                  </a:cubicBezTo>
                  <a:cubicBezTo>
                    <a:pt x="536973" y="42794"/>
                    <a:pt x="553533" y="57433"/>
                    <a:pt x="546348" y="59138"/>
                  </a:cubicBezTo>
                  <a:cubicBezTo>
                    <a:pt x="537012" y="61545"/>
                    <a:pt x="531655" y="42092"/>
                    <a:pt x="523050" y="40588"/>
                  </a:cubicBezTo>
                  <a:cubicBezTo>
                    <a:pt x="520412" y="40154"/>
                    <a:pt x="507950" y="50983"/>
                    <a:pt x="509695" y="39919"/>
                  </a:cubicBezTo>
                  <a:cubicBezTo>
                    <a:pt x="511157" y="30461"/>
                    <a:pt x="511765" y="34405"/>
                    <a:pt x="503810" y="25681"/>
                  </a:cubicBezTo>
                  <a:cubicBezTo>
                    <a:pt x="498412" y="19798"/>
                    <a:pt x="500603" y="13281"/>
                    <a:pt x="492121" y="7131"/>
                  </a:cubicBezTo>
                  <a:cubicBezTo>
                    <a:pt x="488995" y="4825"/>
                    <a:pt x="466508" y="1683"/>
                    <a:pt x="463423" y="2752"/>
                  </a:cubicBezTo>
                  <a:cubicBezTo>
                    <a:pt x="452343" y="6663"/>
                    <a:pt x="461150" y="11543"/>
                    <a:pt x="445321" y="2251"/>
                  </a:cubicBezTo>
                  <a:cubicBezTo>
                    <a:pt x="432413" y="-5369"/>
                    <a:pt x="436959" y="6429"/>
                    <a:pt x="431723" y="4658"/>
                  </a:cubicBezTo>
                  <a:cubicBezTo>
                    <a:pt x="424782" y="3989"/>
                    <a:pt x="417719" y="4290"/>
                    <a:pt x="410901" y="5527"/>
                  </a:cubicBezTo>
                  <a:cubicBezTo>
                    <a:pt x="406313" y="8668"/>
                    <a:pt x="405136" y="23241"/>
                    <a:pt x="396653" y="15855"/>
                  </a:cubicBezTo>
                  <a:cubicBezTo>
                    <a:pt x="391214" y="11108"/>
                    <a:pt x="380418" y="4357"/>
                    <a:pt x="382163" y="14016"/>
                  </a:cubicBezTo>
                  <a:cubicBezTo>
                    <a:pt x="383908" y="23676"/>
                    <a:pt x="381473" y="24812"/>
                    <a:pt x="370230" y="26450"/>
                  </a:cubicBezTo>
                  <a:cubicBezTo>
                    <a:pt x="363329" y="27453"/>
                    <a:pt x="366860" y="12345"/>
                    <a:pt x="367753" y="10908"/>
                  </a:cubicBezTo>
                  <a:cubicBezTo>
                    <a:pt x="371082" y="5560"/>
                    <a:pt x="341167" y="8134"/>
                    <a:pt x="337839" y="13548"/>
                  </a:cubicBezTo>
                  <a:cubicBezTo>
                    <a:pt x="335363" y="17526"/>
                    <a:pt x="338447" y="26082"/>
                    <a:pt x="330898" y="26517"/>
                  </a:cubicBezTo>
                  <a:cubicBezTo>
                    <a:pt x="321075" y="27252"/>
                    <a:pt x="311334" y="28522"/>
                    <a:pt x="301713" y="30327"/>
                  </a:cubicBezTo>
                  <a:cubicBezTo>
                    <a:pt x="291283" y="32098"/>
                    <a:pt x="281419" y="35808"/>
                    <a:pt x="269648" y="32901"/>
                  </a:cubicBezTo>
                  <a:cubicBezTo>
                    <a:pt x="260475" y="30661"/>
                    <a:pt x="247283" y="22573"/>
                    <a:pt x="238028" y="23575"/>
                  </a:cubicBezTo>
                  <a:cubicBezTo>
                    <a:pt x="228774" y="24578"/>
                    <a:pt x="221225" y="18361"/>
                    <a:pt x="212254" y="19030"/>
                  </a:cubicBezTo>
                  <a:cubicBezTo>
                    <a:pt x="205719" y="19765"/>
                    <a:pt x="199143" y="19999"/>
                    <a:pt x="192568" y="19765"/>
                  </a:cubicBezTo>
                  <a:cubicBezTo>
                    <a:pt x="184044" y="19164"/>
                    <a:pt x="181690" y="10774"/>
                    <a:pt x="169229" y="9237"/>
                  </a:cubicBezTo>
                  <a:cubicBezTo>
                    <a:pt x="152993" y="7231"/>
                    <a:pt x="139964" y="12980"/>
                    <a:pt x="123240" y="9671"/>
                  </a:cubicBezTo>
                  <a:cubicBezTo>
                    <a:pt x="116015" y="8267"/>
                    <a:pt x="112322" y="6697"/>
                    <a:pt x="107005" y="10106"/>
                  </a:cubicBezTo>
                  <a:cubicBezTo>
                    <a:pt x="106437" y="10440"/>
                    <a:pt x="98887" y="16456"/>
                    <a:pt x="97426" y="14284"/>
                  </a:cubicBezTo>
                  <a:cubicBezTo>
                    <a:pt x="96249" y="12746"/>
                    <a:pt x="101850" y="3354"/>
                    <a:pt x="101119" y="3287"/>
                  </a:cubicBezTo>
                  <a:cubicBezTo>
                    <a:pt x="83544" y="1883"/>
                    <a:pt x="82083" y="15219"/>
                    <a:pt x="80297" y="23341"/>
                  </a:cubicBezTo>
                  <a:cubicBezTo>
                    <a:pt x="77902" y="34204"/>
                    <a:pt x="53345" y="31965"/>
                    <a:pt x="54766" y="46404"/>
                  </a:cubicBezTo>
                  <a:cubicBezTo>
                    <a:pt x="55578" y="54592"/>
                    <a:pt x="69215" y="71806"/>
                    <a:pt x="58256" y="77621"/>
                  </a:cubicBezTo>
                  <a:cubicBezTo>
                    <a:pt x="52086" y="80964"/>
                    <a:pt x="51681" y="63684"/>
                    <a:pt x="48474" y="64252"/>
                  </a:cubicBezTo>
                  <a:cubicBezTo>
                    <a:pt x="43928" y="65188"/>
                    <a:pt x="54522" y="75816"/>
                    <a:pt x="49164" y="77856"/>
                  </a:cubicBezTo>
                  <a:cubicBezTo>
                    <a:pt x="45674" y="79192"/>
                    <a:pt x="41656" y="67628"/>
                    <a:pt x="41046" y="66291"/>
                  </a:cubicBezTo>
                  <a:cubicBezTo>
                    <a:pt x="38246" y="61010"/>
                    <a:pt x="36054" y="63750"/>
                    <a:pt x="36419" y="67394"/>
                  </a:cubicBezTo>
                  <a:cubicBezTo>
                    <a:pt x="37190" y="74947"/>
                    <a:pt x="39585" y="82601"/>
                    <a:pt x="41006" y="90189"/>
                  </a:cubicBezTo>
                  <a:cubicBezTo>
                    <a:pt x="43563" y="103558"/>
                    <a:pt x="41858" y="114922"/>
                    <a:pt x="45836" y="128592"/>
                  </a:cubicBezTo>
                  <a:cubicBezTo>
                    <a:pt x="48393" y="137483"/>
                    <a:pt x="43928" y="142697"/>
                    <a:pt x="41980" y="150618"/>
                  </a:cubicBezTo>
                  <a:cubicBezTo>
                    <a:pt x="40275" y="159743"/>
                    <a:pt x="40600" y="169035"/>
                    <a:pt x="42873" y="178093"/>
                  </a:cubicBezTo>
                  <a:cubicBezTo>
                    <a:pt x="43726" y="182505"/>
                    <a:pt x="46931" y="187886"/>
                    <a:pt x="42873" y="191195"/>
                  </a:cubicBezTo>
                  <a:cubicBezTo>
                    <a:pt x="36135" y="196777"/>
                    <a:pt x="30453" y="203194"/>
                    <a:pt x="26069" y="210179"/>
                  </a:cubicBezTo>
                  <a:cubicBezTo>
                    <a:pt x="20265" y="218602"/>
                    <a:pt x="13648" y="212151"/>
                    <a:pt x="4434" y="212820"/>
                  </a:cubicBezTo>
                  <a:cubicBezTo>
                    <a:pt x="-8270" y="213756"/>
                    <a:pt x="9792" y="226657"/>
                    <a:pt x="11781" y="228596"/>
                  </a:cubicBezTo>
                  <a:cubicBezTo>
                    <a:pt x="18154" y="234813"/>
                    <a:pt x="15840" y="241798"/>
                    <a:pt x="25501" y="247748"/>
                  </a:cubicBezTo>
                  <a:cubicBezTo>
                    <a:pt x="34593" y="252895"/>
                    <a:pt x="44375" y="257173"/>
                    <a:pt x="54604" y="260582"/>
                  </a:cubicBezTo>
                  <a:cubicBezTo>
                    <a:pt x="61219" y="263691"/>
                    <a:pt x="69135" y="264359"/>
                    <a:pt x="76400" y="262454"/>
                  </a:cubicBezTo>
                  <a:cubicBezTo>
                    <a:pt x="87075" y="260415"/>
                    <a:pt x="96249" y="267601"/>
                    <a:pt x="106152" y="263791"/>
                  </a:cubicBezTo>
                  <a:cubicBezTo>
                    <a:pt x="123362" y="257106"/>
                    <a:pt x="154860" y="276859"/>
                    <a:pt x="170325" y="284213"/>
                  </a:cubicBezTo>
                  <a:cubicBezTo>
                    <a:pt x="180513" y="288959"/>
                    <a:pt x="192243" y="293671"/>
                    <a:pt x="203771" y="294240"/>
                  </a:cubicBezTo>
                  <a:cubicBezTo>
                    <a:pt x="213634" y="294641"/>
                    <a:pt x="218383" y="288792"/>
                    <a:pt x="227435" y="288892"/>
                  </a:cubicBezTo>
                  <a:cubicBezTo>
                    <a:pt x="237217" y="288892"/>
                    <a:pt x="247730" y="293371"/>
                    <a:pt x="257390" y="292234"/>
                  </a:cubicBezTo>
                  <a:cubicBezTo>
                    <a:pt x="265914" y="291499"/>
                    <a:pt x="274478" y="293137"/>
                    <a:pt x="281744" y="296913"/>
                  </a:cubicBezTo>
                  <a:cubicBezTo>
                    <a:pt x="294854" y="302629"/>
                    <a:pt x="306098" y="308244"/>
                    <a:pt x="320629" y="311052"/>
                  </a:cubicBezTo>
                  <a:cubicBezTo>
                    <a:pt x="334104" y="313692"/>
                    <a:pt x="348108" y="313893"/>
                    <a:pt x="361219" y="318238"/>
                  </a:cubicBezTo>
                  <a:cubicBezTo>
                    <a:pt x="378632" y="323953"/>
                    <a:pt x="405339" y="330905"/>
                    <a:pt x="411712" y="344977"/>
                  </a:cubicBezTo>
                  <a:cubicBezTo>
                    <a:pt x="417882" y="358346"/>
                    <a:pt x="444184" y="363894"/>
                    <a:pt x="453479" y="377063"/>
                  </a:cubicBezTo>
                  <a:cubicBezTo>
                    <a:pt x="461597" y="388929"/>
                    <a:pt x="456076" y="382311"/>
                    <a:pt x="449907" y="390967"/>
                  </a:cubicBezTo>
                  <a:cubicBezTo>
                    <a:pt x="447918" y="393775"/>
                    <a:pt x="459364" y="404137"/>
                    <a:pt x="460906" y="407245"/>
                  </a:cubicBezTo>
                  <a:cubicBezTo>
                    <a:pt x="465575" y="416537"/>
                    <a:pt x="445239" y="442941"/>
                    <a:pt x="471257" y="436891"/>
                  </a:cubicBezTo>
                  <a:cubicBezTo>
                    <a:pt x="478848" y="435120"/>
                    <a:pt x="485221" y="433148"/>
                    <a:pt x="493988" y="435554"/>
                  </a:cubicBezTo>
                  <a:cubicBezTo>
                    <a:pt x="499589" y="437126"/>
                    <a:pt x="503932" y="438596"/>
                    <a:pt x="507545" y="434987"/>
                  </a:cubicBezTo>
                  <a:cubicBezTo>
                    <a:pt x="511157" y="431376"/>
                    <a:pt x="534577" y="420715"/>
                    <a:pt x="536282" y="433081"/>
                  </a:cubicBezTo>
                  <a:cubicBezTo>
                    <a:pt x="536891" y="437527"/>
                    <a:pt x="519234" y="441638"/>
                    <a:pt x="515663" y="444011"/>
                  </a:cubicBezTo>
                  <a:cubicBezTo>
                    <a:pt x="507545" y="449392"/>
                    <a:pt x="504379" y="455174"/>
                    <a:pt x="492121" y="451464"/>
                  </a:cubicBezTo>
                  <a:cubicBezTo>
                    <a:pt x="484003" y="448991"/>
                    <a:pt x="495327" y="460556"/>
                    <a:pt x="499386" y="462060"/>
                  </a:cubicBezTo>
                  <a:cubicBezTo>
                    <a:pt x="510183" y="466003"/>
                    <a:pt x="515622" y="451063"/>
                    <a:pt x="521872" y="455375"/>
                  </a:cubicBezTo>
                  <a:cubicBezTo>
                    <a:pt x="536526" y="465602"/>
                    <a:pt x="518342" y="471485"/>
                    <a:pt x="512253" y="475763"/>
                  </a:cubicBezTo>
                  <a:cubicBezTo>
                    <a:pt x="507504" y="479105"/>
                    <a:pt x="529422" y="484788"/>
                    <a:pt x="532142" y="489667"/>
                  </a:cubicBezTo>
                  <a:cubicBezTo>
                    <a:pt x="537500" y="499227"/>
                    <a:pt x="536201" y="509487"/>
                    <a:pt x="528489" y="516039"/>
                  </a:cubicBezTo>
                  <a:cubicBezTo>
                    <a:pt x="517976" y="524963"/>
                    <a:pt x="524430" y="532516"/>
                    <a:pt x="532792" y="543412"/>
                  </a:cubicBezTo>
                  <a:cubicBezTo>
                    <a:pt x="544969" y="559389"/>
                    <a:pt x="567820" y="569115"/>
                    <a:pt x="579753" y="586429"/>
                  </a:cubicBezTo>
                  <a:cubicBezTo>
                    <a:pt x="586370" y="596055"/>
                    <a:pt x="601347" y="597692"/>
                    <a:pt x="612225" y="594183"/>
                  </a:cubicBezTo>
                  <a:cubicBezTo>
                    <a:pt x="615919" y="592980"/>
                    <a:pt x="621074" y="588334"/>
                    <a:pt x="625701" y="592946"/>
                  </a:cubicBezTo>
                  <a:cubicBezTo>
                    <a:pt x="628096" y="595353"/>
                    <a:pt x="628502" y="599898"/>
                    <a:pt x="623469" y="599330"/>
                  </a:cubicBezTo>
                  <a:cubicBezTo>
                    <a:pt x="618436" y="598762"/>
                    <a:pt x="617502" y="602672"/>
                    <a:pt x="620141" y="605647"/>
                  </a:cubicBezTo>
                  <a:cubicBezTo>
                    <a:pt x="622779" y="608622"/>
                    <a:pt x="627000" y="602506"/>
                    <a:pt x="629638" y="602305"/>
                  </a:cubicBezTo>
                  <a:cubicBezTo>
                    <a:pt x="631627" y="602038"/>
                    <a:pt x="638771" y="628442"/>
                    <a:pt x="641126" y="630280"/>
                  </a:cubicBezTo>
                  <a:cubicBezTo>
                    <a:pt x="638447" y="628242"/>
                    <a:pt x="656793" y="626136"/>
                    <a:pt x="658985" y="626671"/>
                  </a:cubicBezTo>
                  <a:cubicBezTo>
                    <a:pt x="668442" y="628943"/>
                    <a:pt x="677819" y="627907"/>
                    <a:pt x="686992" y="627874"/>
                  </a:cubicBezTo>
                  <a:cubicBezTo>
                    <a:pt x="700265" y="627874"/>
                    <a:pt x="718124" y="637901"/>
                    <a:pt x="729652" y="643884"/>
                  </a:cubicBezTo>
                  <a:cubicBezTo>
                    <a:pt x="741179" y="649866"/>
                    <a:pt x="744833" y="641611"/>
                    <a:pt x="751204" y="635762"/>
                  </a:cubicBezTo>
                  <a:cubicBezTo>
                    <a:pt x="756117" y="631283"/>
                    <a:pt x="760865" y="626671"/>
                    <a:pt x="765898" y="622392"/>
                  </a:cubicBezTo>
                  <a:cubicBezTo>
                    <a:pt x="772393" y="616711"/>
                    <a:pt x="782662" y="617312"/>
                    <a:pt x="791470" y="614471"/>
                  </a:cubicBezTo>
                  <a:cubicBezTo>
                    <a:pt x="806285" y="609692"/>
                    <a:pt x="816554" y="599531"/>
                    <a:pt x="832506" y="594985"/>
                  </a:cubicBezTo>
                  <a:cubicBezTo>
                    <a:pt x="835997" y="594016"/>
                    <a:pt x="843222" y="591141"/>
                    <a:pt x="847727" y="592478"/>
                  </a:cubicBezTo>
                  <a:cubicBezTo>
                    <a:pt x="859904" y="596155"/>
                    <a:pt x="863963" y="591743"/>
                    <a:pt x="872081" y="587732"/>
                  </a:cubicBezTo>
                  <a:cubicBezTo>
                    <a:pt x="880199" y="583721"/>
                    <a:pt x="891239" y="583387"/>
                    <a:pt x="896435" y="577170"/>
                  </a:cubicBezTo>
                  <a:cubicBezTo>
                    <a:pt x="900819" y="571990"/>
                    <a:pt x="914741" y="568547"/>
                    <a:pt x="916730" y="562531"/>
                  </a:cubicBezTo>
                  <a:cubicBezTo>
                    <a:pt x="918718" y="556515"/>
                    <a:pt x="921803" y="550599"/>
                    <a:pt x="931017" y="549930"/>
                  </a:cubicBezTo>
                  <a:cubicBezTo>
                    <a:pt x="939135" y="549362"/>
                    <a:pt x="937268" y="537430"/>
                    <a:pt x="942748" y="537798"/>
                  </a:cubicBezTo>
                  <a:close/>
                  <a:moveTo>
                    <a:pt x="623387" y="21904"/>
                  </a:moveTo>
                  <a:cubicBezTo>
                    <a:pt x="625052" y="17392"/>
                    <a:pt x="583690" y="4390"/>
                    <a:pt x="589130" y="12145"/>
                  </a:cubicBezTo>
                  <a:cubicBezTo>
                    <a:pt x="592580" y="17259"/>
                    <a:pt x="621724" y="26350"/>
                    <a:pt x="623265" y="21904"/>
                  </a:cubicBezTo>
                  <a:close/>
                  <a:moveTo>
                    <a:pt x="466427" y="464499"/>
                  </a:moveTo>
                  <a:cubicBezTo>
                    <a:pt x="469431" y="470349"/>
                    <a:pt x="488062" y="478170"/>
                    <a:pt x="494272" y="475061"/>
                  </a:cubicBezTo>
                  <a:cubicBezTo>
                    <a:pt x="500481" y="471953"/>
                    <a:pt x="463423" y="459185"/>
                    <a:pt x="466305" y="464499"/>
                  </a:cubicBezTo>
                  <a:close/>
                  <a:moveTo>
                    <a:pt x="613727" y="664005"/>
                  </a:moveTo>
                  <a:cubicBezTo>
                    <a:pt x="608857" y="661866"/>
                    <a:pt x="583975" y="637266"/>
                    <a:pt x="582352" y="637934"/>
                  </a:cubicBezTo>
                  <a:cubicBezTo>
                    <a:pt x="576466" y="640876"/>
                    <a:pt x="578698" y="657320"/>
                    <a:pt x="577359" y="662467"/>
                  </a:cubicBezTo>
                  <a:cubicBezTo>
                    <a:pt x="575127" y="670957"/>
                    <a:pt x="565182" y="672494"/>
                    <a:pt x="566887" y="682087"/>
                  </a:cubicBezTo>
                  <a:cubicBezTo>
                    <a:pt x="567820" y="687301"/>
                    <a:pt x="575330" y="712770"/>
                    <a:pt x="587182" y="710564"/>
                  </a:cubicBezTo>
                  <a:cubicBezTo>
                    <a:pt x="588805" y="710096"/>
                    <a:pt x="590388" y="709494"/>
                    <a:pt x="591849" y="708792"/>
                  </a:cubicBezTo>
                  <a:cubicBezTo>
                    <a:pt x="595462" y="707456"/>
                    <a:pt x="596842" y="710631"/>
                    <a:pt x="600333" y="710363"/>
                  </a:cubicBezTo>
                  <a:cubicBezTo>
                    <a:pt x="603824" y="710096"/>
                    <a:pt x="607030" y="700604"/>
                    <a:pt x="610561" y="705918"/>
                  </a:cubicBezTo>
                  <a:cubicBezTo>
                    <a:pt x="621967" y="723098"/>
                    <a:pt x="623794" y="700035"/>
                    <a:pt x="633982" y="699768"/>
                  </a:cubicBezTo>
                  <a:cubicBezTo>
                    <a:pt x="646808" y="699467"/>
                    <a:pt x="649000" y="689975"/>
                    <a:pt x="652166" y="680516"/>
                  </a:cubicBezTo>
                  <a:cubicBezTo>
                    <a:pt x="655698" y="669954"/>
                    <a:pt x="622657" y="667949"/>
                    <a:pt x="613606" y="664005"/>
                  </a:cubicBezTo>
                  <a:cubicBezTo>
                    <a:pt x="600292" y="658222"/>
                    <a:pt x="626919" y="669854"/>
                    <a:pt x="613606" y="664005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759522EB-8276-44CF-9697-0BB2C7C9F15B}"/>
                </a:ext>
              </a:extLst>
            </p:cNvPr>
            <p:cNvSpPr/>
            <p:nvPr/>
          </p:nvSpPr>
          <p:spPr>
            <a:xfrm>
              <a:off x="8386827" y="5324754"/>
              <a:ext cx="1079757" cy="509320"/>
            </a:xfrm>
            <a:custGeom>
              <a:avLst/>
              <a:gdLst>
                <a:gd name="connsiteX0" fmla="*/ 37428 w 1108203"/>
                <a:gd name="connsiteY0" fmla="*/ 134216 h 697375"/>
                <a:gd name="connsiteX1" fmla="*/ 45546 w 1108203"/>
                <a:gd name="connsiteY1" fmla="*/ 147151 h 697375"/>
                <a:gd name="connsiteX2" fmla="*/ 37428 w 1108203"/>
                <a:gd name="connsiteY2" fmla="*/ 134216 h 697375"/>
                <a:gd name="connsiteX3" fmla="*/ 276177 w 1108203"/>
                <a:gd name="connsiteY3" fmla="*/ 248258 h 697375"/>
                <a:gd name="connsiteX4" fmla="*/ 260428 w 1108203"/>
                <a:gd name="connsiteY4" fmla="*/ 247021 h 697375"/>
                <a:gd name="connsiteX5" fmla="*/ 270657 w 1108203"/>
                <a:gd name="connsiteY5" fmla="*/ 252035 h 697375"/>
                <a:gd name="connsiteX6" fmla="*/ 276177 w 1108203"/>
                <a:gd name="connsiteY6" fmla="*/ 248258 h 697375"/>
                <a:gd name="connsiteX7" fmla="*/ 17823 w 1108203"/>
                <a:gd name="connsiteY7" fmla="*/ 81608 h 697375"/>
                <a:gd name="connsiteX8" fmla="*/ 28458 w 1108203"/>
                <a:gd name="connsiteY8" fmla="*/ 99523 h 697375"/>
                <a:gd name="connsiteX9" fmla="*/ 17823 w 1108203"/>
                <a:gd name="connsiteY9" fmla="*/ 81608 h 697375"/>
                <a:gd name="connsiteX10" fmla="*/ 557424 w 1108203"/>
                <a:gd name="connsiteY10" fmla="*/ 369351 h 697375"/>
                <a:gd name="connsiteX11" fmla="*/ 558559 w 1108203"/>
                <a:gd name="connsiteY11" fmla="*/ 407554 h 697375"/>
                <a:gd name="connsiteX12" fmla="*/ 569722 w 1108203"/>
                <a:gd name="connsiteY12" fmla="*/ 387500 h 697375"/>
                <a:gd name="connsiteX13" fmla="*/ 592818 w 1108203"/>
                <a:gd name="connsiteY13" fmla="*/ 369986 h 697375"/>
                <a:gd name="connsiteX14" fmla="*/ 595172 w 1108203"/>
                <a:gd name="connsiteY14" fmla="*/ 390776 h 697375"/>
                <a:gd name="connsiteX15" fmla="*/ 615466 w 1108203"/>
                <a:gd name="connsiteY15" fmla="*/ 412902 h 697375"/>
                <a:gd name="connsiteX16" fmla="*/ 632717 w 1108203"/>
                <a:gd name="connsiteY16" fmla="*/ 394319 h 697375"/>
                <a:gd name="connsiteX17" fmla="*/ 631743 w 1108203"/>
                <a:gd name="connsiteY17" fmla="*/ 378576 h 697375"/>
                <a:gd name="connsiteX18" fmla="*/ 635031 w 1108203"/>
                <a:gd name="connsiteY18" fmla="*/ 367145 h 697375"/>
                <a:gd name="connsiteX19" fmla="*/ 667503 w 1108203"/>
                <a:gd name="connsiteY19" fmla="*/ 358221 h 697375"/>
                <a:gd name="connsiteX20" fmla="*/ 628334 w 1108203"/>
                <a:gd name="connsiteY20" fmla="*/ 352807 h 697375"/>
                <a:gd name="connsiteX21" fmla="*/ 601626 w 1108203"/>
                <a:gd name="connsiteY21" fmla="*/ 338936 h 697375"/>
                <a:gd name="connsiteX22" fmla="*/ 669207 w 1108203"/>
                <a:gd name="connsiteY22" fmla="*/ 335961 h 697375"/>
                <a:gd name="connsiteX23" fmla="*/ 705738 w 1108203"/>
                <a:gd name="connsiteY23" fmla="*/ 355681 h 697375"/>
                <a:gd name="connsiteX24" fmla="*/ 752497 w 1108203"/>
                <a:gd name="connsiteY24" fmla="*/ 351002 h 697375"/>
                <a:gd name="connsiteX25" fmla="*/ 718687 w 1108203"/>
                <a:gd name="connsiteY25" fmla="*/ 348027 h 697375"/>
                <a:gd name="connsiteX26" fmla="*/ 681790 w 1108203"/>
                <a:gd name="connsiteY26" fmla="*/ 332953 h 697375"/>
                <a:gd name="connsiteX27" fmla="*/ 646964 w 1108203"/>
                <a:gd name="connsiteY27" fmla="*/ 311963 h 697375"/>
                <a:gd name="connsiteX28" fmla="*/ 630728 w 1108203"/>
                <a:gd name="connsiteY28" fmla="*/ 312699 h 697375"/>
                <a:gd name="connsiteX29" fmla="*/ 613721 w 1108203"/>
                <a:gd name="connsiteY29" fmla="*/ 311027 h 697375"/>
                <a:gd name="connsiteX30" fmla="*/ 595253 w 1108203"/>
                <a:gd name="connsiteY30" fmla="*/ 323795 h 697375"/>
                <a:gd name="connsiteX31" fmla="*/ 576784 w 1108203"/>
                <a:gd name="connsiteY31" fmla="*/ 332652 h 697375"/>
                <a:gd name="connsiteX32" fmla="*/ 557504 w 1108203"/>
                <a:gd name="connsiteY32" fmla="*/ 369418 h 697375"/>
                <a:gd name="connsiteX33" fmla="*/ 204293 w 1108203"/>
                <a:gd name="connsiteY33" fmla="*/ 250297 h 697375"/>
                <a:gd name="connsiteX34" fmla="*/ 223370 w 1108203"/>
                <a:gd name="connsiteY34" fmla="*/ 233217 h 697375"/>
                <a:gd name="connsiteX35" fmla="*/ 236683 w 1108203"/>
                <a:gd name="connsiteY35" fmla="*/ 227869 h 697375"/>
                <a:gd name="connsiteX36" fmla="*/ 229133 w 1108203"/>
                <a:gd name="connsiteY36" fmla="*/ 213497 h 697375"/>
                <a:gd name="connsiteX37" fmla="*/ 208838 w 1108203"/>
                <a:gd name="connsiteY37" fmla="*/ 207848 h 697375"/>
                <a:gd name="connsiteX38" fmla="*/ 219514 w 1108203"/>
                <a:gd name="connsiteY38" fmla="*/ 222689 h 697375"/>
                <a:gd name="connsiteX39" fmla="*/ 200924 w 1108203"/>
                <a:gd name="connsiteY39" fmla="*/ 212461 h 697375"/>
                <a:gd name="connsiteX40" fmla="*/ 198894 w 1108203"/>
                <a:gd name="connsiteY40" fmla="*/ 205309 h 697375"/>
                <a:gd name="connsiteX41" fmla="*/ 189518 w 1108203"/>
                <a:gd name="connsiteY41" fmla="*/ 198624 h 697375"/>
                <a:gd name="connsiteX42" fmla="*/ 180304 w 1108203"/>
                <a:gd name="connsiteY42" fmla="*/ 180341 h 697375"/>
                <a:gd name="connsiteX43" fmla="*/ 172186 w 1108203"/>
                <a:gd name="connsiteY43" fmla="*/ 166771 h 697375"/>
                <a:gd name="connsiteX44" fmla="*/ 174418 w 1108203"/>
                <a:gd name="connsiteY44" fmla="*/ 154571 h 697375"/>
                <a:gd name="connsiteX45" fmla="*/ 165773 w 1108203"/>
                <a:gd name="connsiteY45" fmla="*/ 140366 h 697375"/>
                <a:gd name="connsiteX46" fmla="*/ 160293 w 1108203"/>
                <a:gd name="connsiteY46" fmla="*/ 134851 h 697375"/>
                <a:gd name="connsiteX47" fmla="*/ 150876 w 1108203"/>
                <a:gd name="connsiteY47" fmla="*/ 122451 h 697375"/>
                <a:gd name="connsiteX48" fmla="*/ 140120 w 1108203"/>
                <a:gd name="connsiteY48" fmla="*/ 115432 h 697375"/>
                <a:gd name="connsiteX49" fmla="*/ 128471 w 1108203"/>
                <a:gd name="connsiteY49" fmla="*/ 104169 h 697375"/>
                <a:gd name="connsiteX50" fmla="*/ 105822 w 1108203"/>
                <a:gd name="connsiteY50" fmla="*/ 88794 h 697375"/>
                <a:gd name="connsiteX51" fmla="*/ 94619 w 1108203"/>
                <a:gd name="connsiteY51" fmla="*/ 69408 h 697375"/>
                <a:gd name="connsiteX52" fmla="*/ 71036 w 1108203"/>
                <a:gd name="connsiteY52" fmla="*/ 46012 h 697375"/>
                <a:gd name="connsiteX53" fmla="*/ 59346 w 1108203"/>
                <a:gd name="connsiteY53" fmla="*/ 28063 h 697375"/>
                <a:gd name="connsiteX54" fmla="*/ 23628 w 1108203"/>
                <a:gd name="connsiteY54" fmla="*/ 13156 h 697375"/>
                <a:gd name="connsiteX55" fmla="*/ 6498 w 1108203"/>
                <a:gd name="connsiteY55" fmla="*/ 121 h 697375"/>
                <a:gd name="connsiteX56" fmla="*/ 2196 w 1108203"/>
                <a:gd name="connsiteY56" fmla="*/ 14861 h 697375"/>
                <a:gd name="connsiteX57" fmla="*/ 33816 w 1108203"/>
                <a:gd name="connsiteY57" fmla="*/ 55470 h 697375"/>
                <a:gd name="connsiteX58" fmla="*/ 47048 w 1108203"/>
                <a:gd name="connsiteY58" fmla="*/ 74923 h 697375"/>
                <a:gd name="connsiteX59" fmla="*/ 59225 w 1108203"/>
                <a:gd name="connsiteY59" fmla="*/ 90030 h 697375"/>
                <a:gd name="connsiteX60" fmla="*/ 67343 w 1108203"/>
                <a:gd name="connsiteY60" fmla="*/ 119443 h 697375"/>
                <a:gd name="connsiteX61" fmla="*/ 88368 w 1108203"/>
                <a:gd name="connsiteY61" fmla="*/ 164933 h 697375"/>
                <a:gd name="connsiteX62" fmla="*/ 112722 w 1108203"/>
                <a:gd name="connsiteY62" fmla="*/ 207514 h 697375"/>
                <a:gd name="connsiteX63" fmla="*/ 147223 w 1108203"/>
                <a:gd name="connsiteY63" fmla="*/ 248024 h 697375"/>
                <a:gd name="connsiteX64" fmla="*/ 156234 w 1108203"/>
                <a:gd name="connsiteY64" fmla="*/ 260391 h 697375"/>
                <a:gd name="connsiteX65" fmla="*/ 179289 w 1108203"/>
                <a:gd name="connsiteY65" fmla="*/ 268312 h 697375"/>
                <a:gd name="connsiteX66" fmla="*/ 204536 w 1108203"/>
                <a:gd name="connsiteY66" fmla="*/ 250297 h 697375"/>
                <a:gd name="connsiteX67" fmla="*/ 204373 w 1108203"/>
                <a:gd name="connsiteY67" fmla="*/ 250297 h 697375"/>
                <a:gd name="connsiteX68" fmla="*/ 825316 w 1108203"/>
                <a:gd name="connsiteY68" fmla="*/ 408022 h 697375"/>
                <a:gd name="connsiteX69" fmla="*/ 832500 w 1108203"/>
                <a:gd name="connsiteY69" fmla="*/ 393049 h 697375"/>
                <a:gd name="connsiteX70" fmla="*/ 812205 w 1108203"/>
                <a:gd name="connsiteY70" fmla="*/ 377975 h 697375"/>
                <a:gd name="connsiteX71" fmla="*/ 802667 w 1108203"/>
                <a:gd name="connsiteY71" fmla="*/ 410730 h 697375"/>
                <a:gd name="connsiteX72" fmla="*/ 825154 w 1108203"/>
                <a:gd name="connsiteY72" fmla="*/ 408022 h 697375"/>
                <a:gd name="connsiteX73" fmla="*/ 727901 w 1108203"/>
                <a:gd name="connsiteY73" fmla="*/ 436366 h 697375"/>
                <a:gd name="connsiteX74" fmla="*/ 755136 w 1108203"/>
                <a:gd name="connsiteY74" fmla="*/ 454682 h 697375"/>
                <a:gd name="connsiteX75" fmla="*/ 727941 w 1108203"/>
                <a:gd name="connsiteY75" fmla="*/ 436366 h 697375"/>
                <a:gd name="connsiteX76" fmla="*/ 621433 w 1108203"/>
                <a:gd name="connsiteY76" fmla="*/ 486501 h 697375"/>
                <a:gd name="connsiteX77" fmla="*/ 590463 w 1108203"/>
                <a:gd name="connsiteY77" fmla="*/ 476908 h 697375"/>
                <a:gd name="connsiteX78" fmla="*/ 561807 w 1108203"/>
                <a:gd name="connsiteY78" fmla="*/ 463539 h 697375"/>
                <a:gd name="connsiteX79" fmla="*/ 519228 w 1108203"/>
                <a:gd name="connsiteY79" fmla="*/ 453980 h 697375"/>
                <a:gd name="connsiteX80" fmla="*/ 585390 w 1108203"/>
                <a:gd name="connsiteY80" fmla="*/ 481621 h 697375"/>
                <a:gd name="connsiteX81" fmla="*/ 616359 w 1108203"/>
                <a:gd name="connsiteY81" fmla="*/ 489743 h 697375"/>
                <a:gd name="connsiteX82" fmla="*/ 621433 w 1108203"/>
                <a:gd name="connsiteY82" fmla="*/ 486601 h 697375"/>
                <a:gd name="connsiteX83" fmla="*/ 831932 w 1108203"/>
                <a:gd name="connsiteY83" fmla="*/ 474803 h 697375"/>
                <a:gd name="connsiteX84" fmla="*/ 789719 w 1108203"/>
                <a:gd name="connsiteY84" fmla="*/ 456420 h 697375"/>
                <a:gd name="connsiteX85" fmla="*/ 779612 w 1108203"/>
                <a:gd name="connsiteY85" fmla="*/ 458058 h 697375"/>
                <a:gd name="connsiteX86" fmla="*/ 803763 w 1108203"/>
                <a:gd name="connsiteY86" fmla="*/ 473132 h 697375"/>
                <a:gd name="connsiteX87" fmla="*/ 838710 w 1108203"/>
                <a:gd name="connsiteY87" fmla="*/ 497564 h 697375"/>
                <a:gd name="connsiteX88" fmla="*/ 831932 w 1108203"/>
                <a:gd name="connsiteY88" fmla="*/ 474803 h 697375"/>
                <a:gd name="connsiteX89" fmla="*/ 831973 w 1108203"/>
                <a:gd name="connsiteY89" fmla="*/ 474903 h 697375"/>
                <a:gd name="connsiteX90" fmla="*/ 392792 w 1108203"/>
                <a:gd name="connsiteY90" fmla="*/ 387333 h 697375"/>
                <a:gd name="connsiteX91" fmla="*/ 373390 w 1108203"/>
                <a:gd name="connsiteY91" fmla="*/ 364705 h 697375"/>
                <a:gd name="connsiteX92" fmla="*/ 368478 w 1108203"/>
                <a:gd name="connsiteY92" fmla="*/ 356985 h 697375"/>
                <a:gd name="connsiteX93" fmla="*/ 311084 w 1108203"/>
                <a:gd name="connsiteY93" fmla="*/ 332619 h 697375"/>
                <a:gd name="connsiteX94" fmla="*/ 288841 w 1108203"/>
                <a:gd name="connsiteY94" fmla="*/ 327873 h 697375"/>
                <a:gd name="connsiteX95" fmla="*/ 251498 w 1108203"/>
                <a:gd name="connsiteY95" fmla="*/ 303139 h 697375"/>
                <a:gd name="connsiteX96" fmla="*/ 213466 w 1108203"/>
                <a:gd name="connsiteY96" fmla="*/ 282082 h 697375"/>
                <a:gd name="connsiteX97" fmla="*/ 192521 w 1108203"/>
                <a:gd name="connsiteY97" fmla="*/ 280044 h 697375"/>
                <a:gd name="connsiteX98" fmla="*/ 176285 w 1108203"/>
                <a:gd name="connsiteY98" fmla="*/ 281815 h 697375"/>
                <a:gd name="connsiteX99" fmla="*/ 196987 w 1108203"/>
                <a:gd name="connsiteY99" fmla="*/ 300098 h 697375"/>
                <a:gd name="connsiteX100" fmla="*/ 228566 w 1108203"/>
                <a:gd name="connsiteY100" fmla="*/ 320854 h 697375"/>
                <a:gd name="connsiteX101" fmla="*/ 259373 w 1108203"/>
                <a:gd name="connsiteY101" fmla="*/ 328976 h 697375"/>
                <a:gd name="connsiteX102" fmla="*/ 302682 w 1108203"/>
                <a:gd name="connsiteY102" fmla="*/ 360628 h 697375"/>
                <a:gd name="connsiteX103" fmla="*/ 350091 w 1108203"/>
                <a:gd name="connsiteY103" fmla="*/ 381016 h 697375"/>
                <a:gd name="connsiteX104" fmla="*/ 375663 w 1108203"/>
                <a:gd name="connsiteY104" fmla="*/ 393784 h 697375"/>
                <a:gd name="connsiteX105" fmla="*/ 390965 w 1108203"/>
                <a:gd name="connsiteY105" fmla="*/ 397695 h 697375"/>
                <a:gd name="connsiteX106" fmla="*/ 406307 w 1108203"/>
                <a:gd name="connsiteY106" fmla="*/ 406418 h 697375"/>
                <a:gd name="connsiteX107" fmla="*/ 416536 w 1108203"/>
                <a:gd name="connsiteY107" fmla="*/ 403443 h 697375"/>
                <a:gd name="connsiteX108" fmla="*/ 392832 w 1108203"/>
                <a:gd name="connsiteY108" fmla="*/ 387333 h 697375"/>
                <a:gd name="connsiteX109" fmla="*/ 392832 w 1108203"/>
                <a:gd name="connsiteY109" fmla="*/ 387434 h 697375"/>
                <a:gd name="connsiteX110" fmla="*/ 1036951 w 1108203"/>
                <a:gd name="connsiteY110" fmla="*/ 545594 h 697375"/>
                <a:gd name="connsiteX111" fmla="*/ 1017386 w 1108203"/>
                <a:gd name="connsiteY111" fmla="*/ 546964 h 697375"/>
                <a:gd name="connsiteX112" fmla="*/ 993601 w 1108203"/>
                <a:gd name="connsiteY112" fmla="*/ 544424 h 697375"/>
                <a:gd name="connsiteX113" fmla="*/ 947572 w 1108203"/>
                <a:gd name="connsiteY113" fmla="*/ 533896 h 697375"/>
                <a:gd name="connsiteX114" fmla="*/ 934827 w 1108203"/>
                <a:gd name="connsiteY114" fmla="*/ 474168 h 697375"/>
                <a:gd name="connsiteX115" fmla="*/ 913193 w 1108203"/>
                <a:gd name="connsiteY115" fmla="*/ 462871 h 697375"/>
                <a:gd name="connsiteX116" fmla="*/ 892492 w 1108203"/>
                <a:gd name="connsiteY116" fmla="*/ 463105 h 697375"/>
                <a:gd name="connsiteX117" fmla="*/ 873130 w 1108203"/>
                <a:gd name="connsiteY117" fmla="*/ 461467 h 697375"/>
                <a:gd name="connsiteX118" fmla="*/ 888149 w 1108203"/>
                <a:gd name="connsiteY118" fmla="*/ 474268 h 697375"/>
                <a:gd name="connsiteX119" fmla="*/ 891802 w 1108203"/>
                <a:gd name="connsiteY119" fmla="*/ 490545 h 697375"/>
                <a:gd name="connsiteX120" fmla="*/ 917333 w 1108203"/>
                <a:gd name="connsiteY120" fmla="*/ 503714 h 697375"/>
                <a:gd name="connsiteX121" fmla="*/ 934421 w 1108203"/>
                <a:gd name="connsiteY121" fmla="*/ 514510 h 697375"/>
                <a:gd name="connsiteX122" fmla="*/ 911934 w 1108203"/>
                <a:gd name="connsiteY122" fmla="*/ 506488 h 697375"/>
                <a:gd name="connsiteX123" fmla="*/ 891355 w 1108203"/>
                <a:gd name="connsiteY123" fmla="*/ 497999 h 697375"/>
                <a:gd name="connsiteX124" fmla="*/ 891761 w 1108203"/>
                <a:gd name="connsiteY124" fmla="*/ 508728 h 697375"/>
                <a:gd name="connsiteX125" fmla="*/ 892208 w 1108203"/>
                <a:gd name="connsiteY125" fmla="*/ 524971 h 697375"/>
                <a:gd name="connsiteX126" fmla="*/ 910230 w 1108203"/>
                <a:gd name="connsiteY126" fmla="*/ 525874 h 697375"/>
                <a:gd name="connsiteX127" fmla="*/ 939982 w 1108203"/>
                <a:gd name="connsiteY127" fmla="*/ 555955 h 697375"/>
                <a:gd name="connsiteX128" fmla="*/ 964945 w 1108203"/>
                <a:gd name="connsiteY128" fmla="*/ 572099 h 697375"/>
                <a:gd name="connsiteX129" fmla="*/ 993357 w 1108203"/>
                <a:gd name="connsiteY129" fmla="*/ 595261 h 697375"/>
                <a:gd name="connsiteX130" fmla="*/ 1009106 w 1108203"/>
                <a:gd name="connsiteY130" fmla="*/ 614280 h 697375"/>
                <a:gd name="connsiteX131" fmla="*/ 1007564 w 1108203"/>
                <a:gd name="connsiteY131" fmla="*/ 632896 h 697375"/>
                <a:gd name="connsiteX132" fmla="*/ 969571 w 1108203"/>
                <a:gd name="connsiteY132" fmla="*/ 642121 h 697375"/>
                <a:gd name="connsiteX133" fmla="*/ 998716 w 1108203"/>
                <a:gd name="connsiteY133" fmla="*/ 662175 h 697375"/>
                <a:gd name="connsiteX134" fmla="*/ 1022785 w 1108203"/>
                <a:gd name="connsiteY134" fmla="*/ 671969 h 697375"/>
                <a:gd name="connsiteX135" fmla="*/ 1039305 w 1108203"/>
                <a:gd name="connsiteY135" fmla="*/ 697036 h 697375"/>
                <a:gd name="connsiteX136" fmla="*/ 1089758 w 1108203"/>
                <a:gd name="connsiteY136" fmla="*/ 630189 h 697375"/>
                <a:gd name="connsiteX137" fmla="*/ 1108105 w 1108203"/>
                <a:gd name="connsiteY137" fmla="*/ 605790 h 697375"/>
                <a:gd name="connsiteX138" fmla="*/ 1036951 w 1108203"/>
                <a:gd name="connsiteY138" fmla="*/ 545828 h 697375"/>
                <a:gd name="connsiteX139" fmla="*/ 644692 w 1108203"/>
                <a:gd name="connsiteY139" fmla="*/ 510466 h 697375"/>
                <a:gd name="connsiteX140" fmla="*/ 622651 w 1108203"/>
                <a:gd name="connsiteY140" fmla="*/ 505653 h 697375"/>
                <a:gd name="connsiteX141" fmla="*/ 598014 w 1108203"/>
                <a:gd name="connsiteY141" fmla="*/ 512338 h 697375"/>
                <a:gd name="connsiteX142" fmla="*/ 649278 w 1108203"/>
                <a:gd name="connsiteY142" fmla="*/ 519022 h 697375"/>
                <a:gd name="connsiteX143" fmla="*/ 644692 w 1108203"/>
                <a:gd name="connsiteY143" fmla="*/ 510599 h 697375"/>
                <a:gd name="connsiteX144" fmla="*/ 644611 w 1108203"/>
                <a:gd name="connsiteY144" fmla="*/ 510466 h 697375"/>
                <a:gd name="connsiteX145" fmla="*/ 508432 w 1108203"/>
                <a:gd name="connsiteY145" fmla="*/ 308654 h 697375"/>
                <a:gd name="connsiteX146" fmla="*/ 548210 w 1108203"/>
                <a:gd name="connsiteY146" fmla="*/ 287597 h 697375"/>
                <a:gd name="connsiteX147" fmla="*/ 584741 w 1108203"/>
                <a:gd name="connsiteY147" fmla="*/ 285859 h 697375"/>
                <a:gd name="connsiteX148" fmla="*/ 570980 w 1108203"/>
                <a:gd name="connsiteY148" fmla="*/ 267643 h 697375"/>
                <a:gd name="connsiteX149" fmla="*/ 566921 w 1108203"/>
                <a:gd name="connsiteY149" fmla="*/ 248124 h 697375"/>
                <a:gd name="connsiteX150" fmla="*/ 576257 w 1108203"/>
                <a:gd name="connsiteY150" fmla="*/ 240904 h 697375"/>
                <a:gd name="connsiteX151" fmla="*/ 584659 w 1108203"/>
                <a:gd name="connsiteY151" fmla="*/ 231245 h 697375"/>
                <a:gd name="connsiteX152" fmla="*/ 543541 w 1108203"/>
                <a:gd name="connsiteY152" fmla="*/ 213397 h 697375"/>
                <a:gd name="connsiteX153" fmla="*/ 516550 w 1108203"/>
                <a:gd name="connsiteY153" fmla="*/ 223992 h 697375"/>
                <a:gd name="connsiteX154" fmla="*/ 493454 w 1108203"/>
                <a:gd name="connsiteY154" fmla="*/ 231880 h 697375"/>
                <a:gd name="connsiteX155" fmla="*/ 484524 w 1108203"/>
                <a:gd name="connsiteY155" fmla="*/ 241372 h 697375"/>
                <a:gd name="connsiteX156" fmla="*/ 460170 w 1108203"/>
                <a:gd name="connsiteY156" fmla="*/ 237495 h 697375"/>
                <a:gd name="connsiteX157" fmla="*/ 424776 w 1108203"/>
                <a:gd name="connsiteY157" fmla="*/ 222221 h 697375"/>
                <a:gd name="connsiteX158" fmla="*/ 407282 w 1108203"/>
                <a:gd name="connsiteY158" fmla="*/ 221853 h 697375"/>
                <a:gd name="connsiteX159" fmla="*/ 380818 w 1108203"/>
                <a:gd name="connsiteY159" fmla="*/ 212695 h 697375"/>
                <a:gd name="connsiteX160" fmla="*/ 365597 w 1108203"/>
                <a:gd name="connsiteY160" fmla="*/ 208049 h 697375"/>
                <a:gd name="connsiteX161" fmla="*/ 351958 w 1108203"/>
                <a:gd name="connsiteY161" fmla="*/ 194078 h 697375"/>
                <a:gd name="connsiteX162" fmla="*/ 341161 w 1108203"/>
                <a:gd name="connsiteY162" fmla="*/ 182079 h 697375"/>
                <a:gd name="connsiteX163" fmla="*/ 321313 w 1108203"/>
                <a:gd name="connsiteY163" fmla="*/ 190201 h 697375"/>
                <a:gd name="connsiteX164" fmla="*/ 322652 w 1108203"/>
                <a:gd name="connsiteY164" fmla="*/ 202534 h 697375"/>
                <a:gd name="connsiteX165" fmla="*/ 321841 w 1108203"/>
                <a:gd name="connsiteY165" fmla="*/ 221652 h 697375"/>
                <a:gd name="connsiteX166" fmla="*/ 336250 w 1108203"/>
                <a:gd name="connsiteY166" fmla="*/ 248625 h 697375"/>
                <a:gd name="connsiteX167" fmla="*/ 345951 w 1108203"/>
                <a:gd name="connsiteY167" fmla="*/ 277871 h 697375"/>
                <a:gd name="connsiteX168" fmla="*/ 365758 w 1108203"/>
                <a:gd name="connsiteY168" fmla="*/ 288500 h 697375"/>
                <a:gd name="connsiteX169" fmla="*/ 379437 w 1108203"/>
                <a:gd name="connsiteY169" fmla="*/ 297323 h 697375"/>
                <a:gd name="connsiteX170" fmla="*/ 417023 w 1108203"/>
                <a:gd name="connsiteY170" fmla="*/ 311194 h 697375"/>
                <a:gd name="connsiteX171" fmla="*/ 442433 w 1108203"/>
                <a:gd name="connsiteY171" fmla="*/ 330981 h 697375"/>
                <a:gd name="connsiteX172" fmla="*/ 482413 w 1108203"/>
                <a:gd name="connsiteY172" fmla="*/ 329176 h 697375"/>
                <a:gd name="connsiteX173" fmla="*/ 508188 w 1108203"/>
                <a:gd name="connsiteY173" fmla="*/ 308654 h 697375"/>
                <a:gd name="connsiteX174" fmla="*/ 489477 w 1108203"/>
                <a:gd name="connsiteY174" fmla="*/ 458091 h 697375"/>
                <a:gd name="connsiteX175" fmla="*/ 511881 w 1108203"/>
                <a:gd name="connsiteY175" fmla="*/ 478646 h 697375"/>
                <a:gd name="connsiteX176" fmla="*/ 530147 w 1108203"/>
                <a:gd name="connsiteY176" fmla="*/ 481320 h 697375"/>
                <a:gd name="connsiteX177" fmla="*/ 507214 w 1108203"/>
                <a:gd name="connsiteY177" fmla="*/ 463840 h 697375"/>
                <a:gd name="connsiteX178" fmla="*/ 489477 w 1108203"/>
                <a:gd name="connsiteY178" fmla="*/ 458091 h 697375"/>
                <a:gd name="connsiteX179" fmla="*/ 489395 w 1108203"/>
                <a:gd name="connsiteY179" fmla="*/ 458091 h 697375"/>
                <a:gd name="connsiteX180" fmla="*/ 465650 w 1108203"/>
                <a:gd name="connsiteY180" fmla="*/ 421024 h 697375"/>
                <a:gd name="connsiteX181" fmla="*/ 425060 w 1108203"/>
                <a:gd name="connsiteY181" fmla="*/ 414540 h 697375"/>
                <a:gd name="connsiteX182" fmla="*/ 467842 w 1108203"/>
                <a:gd name="connsiteY182" fmla="*/ 436499 h 697375"/>
                <a:gd name="connsiteX183" fmla="*/ 496458 w 1108203"/>
                <a:gd name="connsiteY183" fmla="*/ 436499 h 697375"/>
                <a:gd name="connsiteX184" fmla="*/ 465772 w 1108203"/>
                <a:gd name="connsiteY184" fmla="*/ 421024 h 69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108203" h="697375">
                  <a:moveTo>
                    <a:pt x="37428" y="134216"/>
                  </a:moveTo>
                  <a:cubicBezTo>
                    <a:pt x="34790" y="136088"/>
                    <a:pt x="38930" y="148221"/>
                    <a:pt x="45546" y="147151"/>
                  </a:cubicBezTo>
                  <a:cubicBezTo>
                    <a:pt x="52162" y="146082"/>
                    <a:pt x="45871" y="128334"/>
                    <a:pt x="37428" y="134216"/>
                  </a:cubicBezTo>
                  <a:close/>
                  <a:moveTo>
                    <a:pt x="276177" y="248258"/>
                  </a:moveTo>
                  <a:cubicBezTo>
                    <a:pt x="278369" y="244080"/>
                    <a:pt x="257546" y="239033"/>
                    <a:pt x="260428" y="247021"/>
                  </a:cubicBezTo>
                  <a:cubicBezTo>
                    <a:pt x="261565" y="250731"/>
                    <a:pt x="266152" y="252970"/>
                    <a:pt x="270657" y="252035"/>
                  </a:cubicBezTo>
                  <a:cubicBezTo>
                    <a:pt x="273092" y="251500"/>
                    <a:pt x="275122" y="250129"/>
                    <a:pt x="276177" y="248258"/>
                  </a:cubicBezTo>
                  <a:close/>
                  <a:moveTo>
                    <a:pt x="17823" y="81608"/>
                  </a:moveTo>
                  <a:cubicBezTo>
                    <a:pt x="14089" y="85819"/>
                    <a:pt x="16403" y="102197"/>
                    <a:pt x="28458" y="99523"/>
                  </a:cubicBezTo>
                  <a:cubicBezTo>
                    <a:pt x="40513" y="96849"/>
                    <a:pt x="21517" y="77463"/>
                    <a:pt x="17823" y="81608"/>
                  </a:cubicBezTo>
                  <a:close/>
                  <a:moveTo>
                    <a:pt x="557424" y="369351"/>
                  </a:moveTo>
                  <a:cubicBezTo>
                    <a:pt x="576013" y="377875"/>
                    <a:pt x="522679" y="413069"/>
                    <a:pt x="558559" y="407554"/>
                  </a:cubicBezTo>
                  <a:cubicBezTo>
                    <a:pt x="574795" y="405114"/>
                    <a:pt x="566353" y="395923"/>
                    <a:pt x="569722" y="387500"/>
                  </a:cubicBezTo>
                  <a:cubicBezTo>
                    <a:pt x="571832" y="382219"/>
                    <a:pt x="578895" y="362667"/>
                    <a:pt x="592818" y="369986"/>
                  </a:cubicBezTo>
                  <a:cubicBezTo>
                    <a:pt x="608810" y="378409"/>
                    <a:pt x="587663" y="381852"/>
                    <a:pt x="595172" y="390776"/>
                  </a:cubicBezTo>
                  <a:cubicBezTo>
                    <a:pt x="605522" y="403109"/>
                    <a:pt x="590220" y="408591"/>
                    <a:pt x="615466" y="412902"/>
                  </a:cubicBezTo>
                  <a:cubicBezTo>
                    <a:pt x="644407" y="417883"/>
                    <a:pt x="622367" y="403443"/>
                    <a:pt x="632717" y="394319"/>
                  </a:cubicBezTo>
                  <a:cubicBezTo>
                    <a:pt x="639171" y="388670"/>
                    <a:pt x="637304" y="386297"/>
                    <a:pt x="631743" y="378576"/>
                  </a:cubicBezTo>
                  <a:cubicBezTo>
                    <a:pt x="629024" y="374766"/>
                    <a:pt x="623382" y="364004"/>
                    <a:pt x="635031" y="367145"/>
                  </a:cubicBezTo>
                  <a:cubicBezTo>
                    <a:pt x="651023" y="371390"/>
                    <a:pt x="708093" y="371323"/>
                    <a:pt x="667503" y="358221"/>
                  </a:cubicBezTo>
                  <a:cubicBezTo>
                    <a:pt x="656300" y="354578"/>
                    <a:pt x="638400" y="349665"/>
                    <a:pt x="628334" y="352807"/>
                  </a:cubicBezTo>
                  <a:cubicBezTo>
                    <a:pt x="616157" y="356583"/>
                    <a:pt x="605807" y="348963"/>
                    <a:pt x="601626" y="338936"/>
                  </a:cubicBezTo>
                  <a:cubicBezTo>
                    <a:pt x="589449" y="309423"/>
                    <a:pt x="649115" y="327472"/>
                    <a:pt x="669207" y="335961"/>
                  </a:cubicBezTo>
                  <a:cubicBezTo>
                    <a:pt x="681750" y="341209"/>
                    <a:pt x="693318" y="351503"/>
                    <a:pt x="705738" y="355681"/>
                  </a:cubicBezTo>
                  <a:cubicBezTo>
                    <a:pt x="712151" y="357820"/>
                    <a:pt x="758992" y="357286"/>
                    <a:pt x="752497" y="351002"/>
                  </a:cubicBezTo>
                  <a:cubicBezTo>
                    <a:pt x="748155" y="346824"/>
                    <a:pt x="724085" y="348227"/>
                    <a:pt x="718687" y="348027"/>
                  </a:cubicBezTo>
                  <a:cubicBezTo>
                    <a:pt x="706307" y="347559"/>
                    <a:pt x="691735" y="338802"/>
                    <a:pt x="681790" y="332953"/>
                  </a:cubicBezTo>
                  <a:cubicBezTo>
                    <a:pt x="671846" y="327104"/>
                    <a:pt x="658411" y="314537"/>
                    <a:pt x="646964" y="311963"/>
                  </a:cubicBezTo>
                  <a:cubicBezTo>
                    <a:pt x="641079" y="310659"/>
                    <a:pt x="636168" y="312464"/>
                    <a:pt x="630728" y="312699"/>
                  </a:cubicBezTo>
                  <a:cubicBezTo>
                    <a:pt x="625290" y="312932"/>
                    <a:pt x="619039" y="310058"/>
                    <a:pt x="613721" y="311027"/>
                  </a:cubicBezTo>
                  <a:cubicBezTo>
                    <a:pt x="604792" y="312699"/>
                    <a:pt x="600652" y="319483"/>
                    <a:pt x="595253" y="323795"/>
                  </a:cubicBezTo>
                  <a:cubicBezTo>
                    <a:pt x="589855" y="328107"/>
                    <a:pt x="582224" y="328541"/>
                    <a:pt x="576784" y="332652"/>
                  </a:cubicBezTo>
                  <a:cubicBezTo>
                    <a:pt x="562943" y="343047"/>
                    <a:pt x="520690" y="352707"/>
                    <a:pt x="557504" y="369418"/>
                  </a:cubicBezTo>
                  <a:close/>
                  <a:moveTo>
                    <a:pt x="204293" y="250297"/>
                  </a:moveTo>
                  <a:cubicBezTo>
                    <a:pt x="205713" y="246553"/>
                    <a:pt x="214968" y="231379"/>
                    <a:pt x="223370" y="233217"/>
                  </a:cubicBezTo>
                  <a:cubicBezTo>
                    <a:pt x="231122" y="234888"/>
                    <a:pt x="240783" y="237161"/>
                    <a:pt x="236683" y="227869"/>
                  </a:cubicBezTo>
                  <a:cubicBezTo>
                    <a:pt x="234776" y="223524"/>
                    <a:pt x="231610" y="217842"/>
                    <a:pt x="229133" y="213497"/>
                  </a:cubicBezTo>
                  <a:cubicBezTo>
                    <a:pt x="226333" y="208383"/>
                    <a:pt x="205794" y="199426"/>
                    <a:pt x="208838" y="207848"/>
                  </a:cubicBezTo>
                  <a:cubicBezTo>
                    <a:pt x="210462" y="212662"/>
                    <a:pt x="228119" y="217408"/>
                    <a:pt x="219514" y="222689"/>
                  </a:cubicBezTo>
                  <a:cubicBezTo>
                    <a:pt x="212979" y="219714"/>
                    <a:pt x="206768" y="216305"/>
                    <a:pt x="200924" y="212461"/>
                  </a:cubicBezTo>
                  <a:cubicBezTo>
                    <a:pt x="198325" y="210289"/>
                    <a:pt x="199584" y="207548"/>
                    <a:pt x="198894" y="205309"/>
                  </a:cubicBezTo>
                  <a:cubicBezTo>
                    <a:pt x="197758" y="201732"/>
                    <a:pt x="192765" y="201064"/>
                    <a:pt x="189518" y="198624"/>
                  </a:cubicBezTo>
                  <a:cubicBezTo>
                    <a:pt x="182577" y="193109"/>
                    <a:pt x="187976" y="185655"/>
                    <a:pt x="180304" y="180341"/>
                  </a:cubicBezTo>
                  <a:cubicBezTo>
                    <a:pt x="174012" y="175929"/>
                    <a:pt x="160496" y="171584"/>
                    <a:pt x="172186" y="166771"/>
                  </a:cubicBezTo>
                  <a:cubicBezTo>
                    <a:pt x="181237" y="163061"/>
                    <a:pt x="181115" y="162493"/>
                    <a:pt x="174418" y="154571"/>
                  </a:cubicBezTo>
                  <a:cubicBezTo>
                    <a:pt x="170075" y="149357"/>
                    <a:pt x="173363" y="144177"/>
                    <a:pt x="165773" y="140366"/>
                  </a:cubicBezTo>
                  <a:cubicBezTo>
                    <a:pt x="163012" y="138963"/>
                    <a:pt x="159116" y="137225"/>
                    <a:pt x="160293" y="134851"/>
                  </a:cubicBezTo>
                  <a:cubicBezTo>
                    <a:pt x="162241" y="130941"/>
                    <a:pt x="153028" y="126395"/>
                    <a:pt x="150876" y="122451"/>
                  </a:cubicBezTo>
                  <a:cubicBezTo>
                    <a:pt x="148157" y="117337"/>
                    <a:pt x="145478" y="118240"/>
                    <a:pt x="140120" y="115432"/>
                  </a:cubicBezTo>
                  <a:cubicBezTo>
                    <a:pt x="134762" y="112625"/>
                    <a:pt x="133261" y="107377"/>
                    <a:pt x="128471" y="104169"/>
                  </a:cubicBezTo>
                  <a:cubicBezTo>
                    <a:pt x="118404" y="97484"/>
                    <a:pt x="111707" y="99222"/>
                    <a:pt x="105822" y="88794"/>
                  </a:cubicBezTo>
                  <a:cubicBezTo>
                    <a:pt x="101763" y="81407"/>
                    <a:pt x="101763" y="76360"/>
                    <a:pt x="94619" y="69408"/>
                  </a:cubicBezTo>
                  <a:cubicBezTo>
                    <a:pt x="86501" y="61754"/>
                    <a:pt x="76962" y="54368"/>
                    <a:pt x="71036" y="46012"/>
                  </a:cubicBezTo>
                  <a:cubicBezTo>
                    <a:pt x="66368" y="39561"/>
                    <a:pt x="68114" y="33946"/>
                    <a:pt x="59346" y="28063"/>
                  </a:cubicBezTo>
                  <a:cubicBezTo>
                    <a:pt x="48834" y="21011"/>
                    <a:pt x="34465" y="19473"/>
                    <a:pt x="23628" y="13156"/>
                  </a:cubicBezTo>
                  <a:cubicBezTo>
                    <a:pt x="18026" y="9814"/>
                    <a:pt x="12952" y="2160"/>
                    <a:pt x="6498" y="121"/>
                  </a:cubicBezTo>
                  <a:cubicBezTo>
                    <a:pt x="-4177" y="-3221"/>
                    <a:pt x="1141" y="12688"/>
                    <a:pt x="2196" y="14861"/>
                  </a:cubicBezTo>
                  <a:cubicBezTo>
                    <a:pt x="9340" y="29433"/>
                    <a:pt x="27077" y="41232"/>
                    <a:pt x="33816" y="55470"/>
                  </a:cubicBezTo>
                  <a:cubicBezTo>
                    <a:pt x="36779" y="61721"/>
                    <a:pt x="39011" y="69742"/>
                    <a:pt x="47048" y="74923"/>
                  </a:cubicBezTo>
                  <a:cubicBezTo>
                    <a:pt x="55085" y="80104"/>
                    <a:pt x="58048" y="82610"/>
                    <a:pt x="59225" y="90030"/>
                  </a:cubicBezTo>
                  <a:cubicBezTo>
                    <a:pt x="60442" y="99656"/>
                    <a:pt x="55815" y="110920"/>
                    <a:pt x="67343" y="119443"/>
                  </a:cubicBezTo>
                  <a:cubicBezTo>
                    <a:pt x="82564" y="130707"/>
                    <a:pt x="88368" y="152299"/>
                    <a:pt x="88368" y="164933"/>
                  </a:cubicBezTo>
                  <a:cubicBezTo>
                    <a:pt x="88368" y="181411"/>
                    <a:pt x="107323" y="191671"/>
                    <a:pt x="112722" y="207514"/>
                  </a:cubicBezTo>
                  <a:cubicBezTo>
                    <a:pt x="117918" y="222388"/>
                    <a:pt x="139917" y="233885"/>
                    <a:pt x="147223" y="248024"/>
                  </a:cubicBezTo>
                  <a:cubicBezTo>
                    <a:pt x="148157" y="249862"/>
                    <a:pt x="150308" y="263265"/>
                    <a:pt x="156234" y="260391"/>
                  </a:cubicBezTo>
                  <a:cubicBezTo>
                    <a:pt x="162160" y="257516"/>
                    <a:pt x="174337" y="265738"/>
                    <a:pt x="179289" y="268312"/>
                  </a:cubicBezTo>
                  <a:cubicBezTo>
                    <a:pt x="193577" y="275799"/>
                    <a:pt x="202142" y="256513"/>
                    <a:pt x="204536" y="250297"/>
                  </a:cubicBezTo>
                  <a:cubicBezTo>
                    <a:pt x="206931" y="243545"/>
                    <a:pt x="201776" y="257048"/>
                    <a:pt x="204373" y="250297"/>
                  </a:cubicBezTo>
                  <a:close/>
                  <a:moveTo>
                    <a:pt x="825316" y="408022"/>
                  </a:moveTo>
                  <a:cubicBezTo>
                    <a:pt x="841552" y="416445"/>
                    <a:pt x="848249" y="399265"/>
                    <a:pt x="832500" y="393049"/>
                  </a:cubicBezTo>
                  <a:cubicBezTo>
                    <a:pt x="825640" y="390341"/>
                    <a:pt x="835057" y="367045"/>
                    <a:pt x="812205" y="377975"/>
                  </a:cubicBezTo>
                  <a:cubicBezTo>
                    <a:pt x="800515" y="383657"/>
                    <a:pt x="797349" y="399566"/>
                    <a:pt x="802667" y="410730"/>
                  </a:cubicBezTo>
                  <a:cubicBezTo>
                    <a:pt x="808958" y="424099"/>
                    <a:pt x="812977" y="401672"/>
                    <a:pt x="825154" y="408022"/>
                  </a:cubicBezTo>
                  <a:close/>
                  <a:moveTo>
                    <a:pt x="727901" y="436366"/>
                  </a:moveTo>
                  <a:cubicBezTo>
                    <a:pt x="726277" y="444788"/>
                    <a:pt x="745151" y="458258"/>
                    <a:pt x="755136" y="454682"/>
                  </a:cubicBezTo>
                  <a:cubicBezTo>
                    <a:pt x="765121" y="451105"/>
                    <a:pt x="729849" y="426573"/>
                    <a:pt x="727941" y="436366"/>
                  </a:cubicBezTo>
                  <a:close/>
                  <a:moveTo>
                    <a:pt x="621433" y="486501"/>
                  </a:moveTo>
                  <a:cubicBezTo>
                    <a:pt x="611854" y="481220"/>
                    <a:pt x="601138" y="479415"/>
                    <a:pt x="590463" y="476908"/>
                  </a:cubicBezTo>
                  <a:cubicBezTo>
                    <a:pt x="578287" y="474067"/>
                    <a:pt x="571630" y="469388"/>
                    <a:pt x="561807" y="463539"/>
                  </a:cubicBezTo>
                  <a:cubicBezTo>
                    <a:pt x="557302" y="460765"/>
                    <a:pt x="510014" y="444120"/>
                    <a:pt x="519228" y="453980"/>
                  </a:cubicBezTo>
                  <a:cubicBezTo>
                    <a:pt x="531690" y="467349"/>
                    <a:pt x="566069" y="477744"/>
                    <a:pt x="585390" y="481621"/>
                  </a:cubicBezTo>
                  <a:cubicBezTo>
                    <a:pt x="595943" y="483626"/>
                    <a:pt x="606334" y="486334"/>
                    <a:pt x="616359" y="489743"/>
                  </a:cubicBezTo>
                  <a:cubicBezTo>
                    <a:pt x="626345" y="493086"/>
                    <a:pt x="635802" y="494489"/>
                    <a:pt x="621433" y="486601"/>
                  </a:cubicBezTo>
                  <a:close/>
                  <a:moveTo>
                    <a:pt x="831932" y="474803"/>
                  </a:moveTo>
                  <a:cubicBezTo>
                    <a:pt x="819796" y="466079"/>
                    <a:pt x="805345" y="459762"/>
                    <a:pt x="789719" y="456420"/>
                  </a:cubicBezTo>
                  <a:cubicBezTo>
                    <a:pt x="786268" y="455751"/>
                    <a:pt x="779855" y="454882"/>
                    <a:pt x="779612" y="458058"/>
                  </a:cubicBezTo>
                  <a:cubicBezTo>
                    <a:pt x="779084" y="464742"/>
                    <a:pt x="796903" y="470290"/>
                    <a:pt x="803763" y="473132"/>
                  </a:cubicBezTo>
                  <a:cubicBezTo>
                    <a:pt x="819592" y="479817"/>
                    <a:pt x="825154" y="491347"/>
                    <a:pt x="838710" y="497564"/>
                  </a:cubicBezTo>
                  <a:cubicBezTo>
                    <a:pt x="852267" y="503781"/>
                    <a:pt x="836032" y="477777"/>
                    <a:pt x="831932" y="474803"/>
                  </a:cubicBezTo>
                  <a:cubicBezTo>
                    <a:pt x="815169" y="462637"/>
                    <a:pt x="848776" y="487236"/>
                    <a:pt x="831973" y="474903"/>
                  </a:cubicBezTo>
                  <a:close/>
                  <a:moveTo>
                    <a:pt x="392792" y="387333"/>
                  </a:moveTo>
                  <a:cubicBezTo>
                    <a:pt x="396039" y="379479"/>
                    <a:pt x="309501" y="356283"/>
                    <a:pt x="373390" y="364705"/>
                  </a:cubicBezTo>
                  <a:cubicBezTo>
                    <a:pt x="394780" y="367580"/>
                    <a:pt x="381792" y="360394"/>
                    <a:pt x="368478" y="356985"/>
                  </a:cubicBezTo>
                  <a:cubicBezTo>
                    <a:pt x="343353" y="350567"/>
                    <a:pt x="331419" y="345855"/>
                    <a:pt x="311084" y="332619"/>
                  </a:cubicBezTo>
                  <a:cubicBezTo>
                    <a:pt x="302966" y="327305"/>
                    <a:pt x="299151" y="332619"/>
                    <a:pt x="288841" y="327873"/>
                  </a:cubicBezTo>
                  <a:cubicBezTo>
                    <a:pt x="274756" y="321456"/>
                    <a:pt x="262133" y="313066"/>
                    <a:pt x="251498" y="303139"/>
                  </a:cubicBezTo>
                  <a:cubicBezTo>
                    <a:pt x="243137" y="294449"/>
                    <a:pt x="226698" y="286427"/>
                    <a:pt x="213466" y="282082"/>
                  </a:cubicBezTo>
                  <a:cubicBezTo>
                    <a:pt x="207012" y="279876"/>
                    <a:pt x="198042" y="277503"/>
                    <a:pt x="192521" y="280044"/>
                  </a:cubicBezTo>
                  <a:cubicBezTo>
                    <a:pt x="189721" y="281314"/>
                    <a:pt x="176854" y="280545"/>
                    <a:pt x="176285" y="281815"/>
                  </a:cubicBezTo>
                  <a:cubicBezTo>
                    <a:pt x="170806" y="293480"/>
                    <a:pt x="195972" y="289670"/>
                    <a:pt x="196987" y="300098"/>
                  </a:cubicBezTo>
                  <a:cubicBezTo>
                    <a:pt x="197798" y="308554"/>
                    <a:pt x="218701" y="316208"/>
                    <a:pt x="228566" y="320854"/>
                  </a:cubicBezTo>
                  <a:cubicBezTo>
                    <a:pt x="240255" y="326335"/>
                    <a:pt x="248657" y="324196"/>
                    <a:pt x="259373" y="328976"/>
                  </a:cubicBezTo>
                  <a:cubicBezTo>
                    <a:pt x="278450" y="337599"/>
                    <a:pt x="286567" y="350567"/>
                    <a:pt x="302682" y="360628"/>
                  </a:cubicBezTo>
                  <a:cubicBezTo>
                    <a:pt x="317010" y="369519"/>
                    <a:pt x="333044" y="376404"/>
                    <a:pt x="350091" y="381016"/>
                  </a:cubicBezTo>
                  <a:cubicBezTo>
                    <a:pt x="360117" y="383623"/>
                    <a:pt x="366693" y="389940"/>
                    <a:pt x="375663" y="393784"/>
                  </a:cubicBezTo>
                  <a:cubicBezTo>
                    <a:pt x="382319" y="396625"/>
                    <a:pt x="385241" y="392681"/>
                    <a:pt x="390965" y="397695"/>
                  </a:cubicBezTo>
                  <a:cubicBezTo>
                    <a:pt x="394821" y="401906"/>
                    <a:pt x="400179" y="404948"/>
                    <a:pt x="406307" y="406418"/>
                  </a:cubicBezTo>
                  <a:cubicBezTo>
                    <a:pt x="408216" y="406752"/>
                    <a:pt x="421326" y="407688"/>
                    <a:pt x="416536" y="403443"/>
                  </a:cubicBezTo>
                  <a:cubicBezTo>
                    <a:pt x="412477" y="399767"/>
                    <a:pt x="390843" y="392180"/>
                    <a:pt x="392832" y="387333"/>
                  </a:cubicBezTo>
                  <a:cubicBezTo>
                    <a:pt x="395186" y="381651"/>
                    <a:pt x="390437" y="393216"/>
                    <a:pt x="392832" y="387434"/>
                  </a:cubicBezTo>
                  <a:close/>
                  <a:moveTo>
                    <a:pt x="1036951" y="545594"/>
                  </a:moveTo>
                  <a:cubicBezTo>
                    <a:pt x="1029604" y="542252"/>
                    <a:pt x="1022948" y="545594"/>
                    <a:pt x="1017386" y="546964"/>
                  </a:cubicBezTo>
                  <a:cubicBezTo>
                    <a:pt x="1009918" y="548802"/>
                    <a:pt x="1002003" y="544558"/>
                    <a:pt x="993601" y="544424"/>
                  </a:cubicBezTo>
                  <a:cubicBezTo>
                    <a:pt x="982033" y="544223"/>
                    <a:pt x="950130" y="548335"/>
                    <a:pt x="947572" y="533896"/>
                  </a:cubicBezTo>
                  <a:cubicBezTo>
                    <a:pt x="943229" y="509530"/>
                    <a:pt x="970627" y="497831"/>
                    <a:pt x="934827" y="474168"/>
                  </a:cubicBezTo>
                  <a:cubicBezTo>
                    <a:pt x="928251" y="469622"/>
                    <a:pt x="920986" y="465812"/>
                    <a:pt x="913193" y="462871"/>
                  </a:cubicBezTo>
                  <a:cubicBezTo>
                    <a:pt x="903208" y="459328"/>
                    <a:pt x="901381" y="464241"/>
                    <a:pt x="892492" y="463105"/>
                  </a:cubicBezTo>
                  <a:cubicBezTo>
                    <a:pt x="886281" y="462302"/>
                    <a:pt x="877270" y="457590"/>
                    <a:pt x="873130" y="461467"/>
                  </a:cubicBezTo>
                  <a:cubicBezTo>
                    <a:pt x="866514" y="467650"/>
                    <a:pt x="882710" y="469522"/>
                    <a:pt x="888149" y="474268"/>
                  </a:cubicBezTo>
                  <a:cubicBezTo>
                    <a:pt x="894319" y="479716"/>
                    <a:pt x="887824" y="485131"/>
                    <a:pt x="891802" y="490545"/>
                  </a:cubicBezTo>
                  <a:cubicBezTo>
                    <a:pt x="896308" y="496695"/>
                    <a:pt x="909418" y="500806"/>
                    <a:pt x="917333" y="503714"/>
                  </a:cubicBezTo>
                  <a:cubicBezTo>
                    <a:pt x="921392" y="505252"/>
                    <a:pt x="938196" y="509697"/>
                    <a:pt x="934421" y="514510"/>
                  </a:cubicBezTo>
                  <a:cubicBezTo>
                    <a:pt x="931702" y="517852"/>
                    <a:pt x="917860" y="506856"/>
                    <a:pt x="911934" y="506488"/>
                  </a:cubicBezTo>
                  <a:cubicBezTo>
                    <a:pt x="903167" y="505920"/>
                    <a:pt x="899311" y="501408"/>
                    <a:pt x="891355" y="497999"/>
                  </a:cubicBezTo>
                  <a:cubicBezTo>
                    <a:pt x="878366" y="492417"/>
                    <a:pt x="890097" y="505285"/>
                    <a:pt x="891761" y="508728"/>
                  </a:cubicBezTo>
                  <a:cubicBezTo>
                    <a:pt x="894521" y="514376"/>
                    <a:pt x="887946" y="520125"/>
                    <a:pt x="892208" y="524971"/>
                  </a:cubicBezTo>
                  <a:cubicBezTo>
                    <a:pt x="899311" y="533094"/>
                    <a:pt x="905075" y="527278"/>
                    <a:pt x="910230" y="525874"/>
                  </a:cubicBezTo>
                  <a:cubicBezTo>
                    <a:pt x="915385" y="524470"/>
                    <a:pt x="936979" y="552245"/>
                    <a:pt x="939982" y="555955"/>
                  </a:cubicBezTo>
                  <a:cubicBezTo>
                    <a:pt x="944487" y="561437"/>
                    <a:pt x="958369" y="567386"/>
                    <a:pt x="964945" y="572099"/>
                  </a:cubicBezTo>
                  <a:cubicBezTo>
                    <a:pt x="975051" y="579285"/>
                    <a:pt x="984550" y="587006"/>
                    <a:pt x="993357" y="595261"/>
                  </a:cubicBezTo>
                  <a:cubicBezTo>
                    <a:pt x="999487" y="601010"/>
                    <a:pt x="1006549" y="607695"/>
                    <a:pt x="1009106" y="614280"/>
                  </a:cubicBezTo>
                  <a:cubicBezTo>
                    <a:pt x="1011948" y="621499"/>
                    <a:pt x="1004195" y="625543"/>
                    <a:pt x="1007564" y="632896"/>
                  </a:cubicBezTo>
                  <a:cubicBezTo>
                    <a:pt x="1019741" y="659301"/>
                    <a:pt x="986010" y="636673"/>
                    <a:pt x="969571" y="642121"/>
                  </a:cubicBezTo>
                  <a:cubicBezTo>
                    <a:pt x="955041" y="646901"/>
                    <a:pt x="993073" y="659836"/>
                    <a:pt x="998716" y="662175"/>
                  </a:cubicBezTo>
                  <a:cubicBezTo>
                    <a:pt x="1006915" y="665117"/>
                    <a:pt x="1014951" y="668359"/>
                    <a:pt x="1022785" y="671969"/>
                  </a:cubicBezTo>
                  <a:cubicBezTo>
                    <a:pt x="1031593" y="676414"/>
                    <a:pt x="1034596" y="690819"/>
                    <a:pt x="1039305" y="697036"/>
                  </a:cubicBezTo>
                  <a:cubicBezTo>
                    <a:pt x="1056109" y="674743"/>
                    <a:pt x="1072914" y="652482"/>
                    <a:pt x="1089758" y="630189"/>
                  </a:cubicBezTo>
                  <a:cubicBezTo>
                    <a:pt x="1095887" y="622067"/>
                    <a:pt x="1102016" y="613945"/>
                    <a:pt x="1108105" y="605790"/>
                  </a:cubicBezTo>
                  <a:cubicBezTo>
                    <a:pt x="1109931" y="603517"/>
                    <a:pt x="1047017" y="550106"/>
                    <a:pt x="1036951" y="545828"/>
                  </a:cubicBezTo>
                  <a:close/>
                  <a:moveTo>
                    <a:pt x="644692" y="510466"/>
                  </a:moveTo>
                  <a:cubicBezTo>
                    <a:pt x="635680" y="510265"/>
                    <a:pt x="626791" y="514042"/>
                    <a:pt x="622651" y="505653"/>
                  </a:cubicBezTo>
                  <a:cubicBezTo>
                    <a:pt x="613396" y="504249"/>
                    <a:pt x="599881" y="505653"/>
                    <a:pt x="598014" y="512338"/>
                  </a:cubicBezTo>
                  <a:cubicBezTo>
                    <a:pt x="593264" y="529049"/>
                    <a:pt x="642459" y="518421"/>
                    <a:pt x="649278" y="519022"/>
                  </a:cubicBezTo>
                  <a:cubicBezTo>
                    <a:pt x="648263" y="516048"/>
                    <a:pt x="646681" y="513207"/>
                    <a:pt x="644692" y="510599"/>
                  </a:cubicBezTo>
                  <a:cubicBezTo>
                    <a:pt x="641768" y="510399"/>
                    <a:pt x="646437" y="512739"/>
                    <a:pt x="644611" y="510466"/>
                  </a:cubicBezTo>
                  <a:close/>
                  <a:moveTo>
                    <a:pt x="508432" y="308654"/>
                  </a:moveTo>
                  <a:cubicBezTo>
                    <a:pt x="533150" y="309289"/>
                    <a:pt x="528442" y="286494"/>
                    <a:pt x="548210" y="287597"/>
                  </a:cubicBezTo>
                  <a:cubicBezTo>
                    <a:pt x="557951" y="288132"/>
                    <a:pt x="594685" y="300967"/>
                    <a:pt x="584741" y="285859"/>
                  </a:cubicBezTo>
                  <a:cubicBezTo>
                    <a:pt x="581209" y="280445"/>
                    <a:pt x="568748" y="272991"/>
                    <a:pt x="570980" y="267643"/>
                  </a:cubicBezTo>
                  <a:cubicBezTo>
                    <a:pt x="574146" y="260190"/>
                    <a:pt x="569601" y="256313"/>
                    <a:pt x="566921" y="248124"/>
                  </a:cubicBezTo>
                  <a:cubicBezTo>
                    <a:pt x="563836" y="238097"/>
                    <a:pt x="575039" y="245183"/>
                    <a:pt x="576257" y="240904"/>
                  </a:cubicBezTo>
                  <a:cubicBezTo>
                    <a:pt x="577719" y="235356"/>
                    <a:pt x="572198" y="230075"/>
                    <a:pt x="584659" y="231245"/>
                  </a:cubicBezTo>
                  <a:cubicBezTo>
                    <a:pt x="573091" y="222455"/>
                    <a:pt x="558885" y="216305"/>
                    <a:pt x="543541" y="213397"/>
                  </a:cubicBezTo>
                  <a:cubicBezTo>
                    <a:pt x="525642" y="210255"/>
                    <a:pt x="531365" y="224895"/>
                    <a:pt x="516550" y="223992"/>
                  </a:cubicBezTo>
                  <a:cubicBezTo>
                    <a:pt x="504373" y="223257"/>
                    <a:pt x="502506" y="227903"/>
                    <a:pt x="493454" y="231880"/>
                  </a:cubicBezTo>
                  <a:cubicBezTo>
                    <a:pt x="488664" y="233986"/>
                    <a:pt x="489841" y="240102"/>
                    <a:pt x="484524" y="241372"/>
                  </a:cubicBezTo>
                  <a:cubicBezTo>
                    <a:pt x="479207" y="242642"/>
                    <a:pt x="466502" y="238030"/>
                    <a:pt x="460170" y="237495"/>
                  </a:cubicBezTo>
                  <a:cubicBezTo>
                    <a:pt x="444989" y="236359"/>
                    <a:pt x="442433" y="224126"/>
                    <a:pt x="424776" y="222221"/>
                  </a:cubicBezTo>
                  <a:cubicBezTo>
                    <a:pt x="418769" y="221586"/>
                    <a:pt x="413410" y="222856"/>
                    <a:pt x="407282" y="221853"/>
                  </a:cubicBezTo>
                  <a:cubicBezTo>
                    <a:pt x="398150" y="220416"/>
                    <a:pt x="389504" y="215536"/>
                    <a:pt x="380818" y="212695"/>
                  </a:cubicBezTo>
                  <a:cubicBezTo>
                    <a:pt x="375338" y="210924"/>
                    <a:pt x="369656" y="211859"/>
                    <a:pt x="365597" y="208049"/>
                  </a:cubicBezTo>
                  <a:cubicBezTo>
                    <a:pt x="362430" y="205074"/>
                    <a:pt x="353054" y="197186"/>
                    <a:pt x="351958" y="194078"/>
                  </a:cubicBezTo>
                  <a:cubicBezTo>
                    <a:pt x="349807" y="187962"/>
                    <a:pt x="355287" y="180709"/>
                    <a:pt x="341161" y="182079"/>
                  </a:cubicBezTo>
                  <a:cubicBezTo>
                    <a:pt x="333571" y="182681"/>
                    <a:pt x="326508" y="185589"/>
                    <a:pt x="321313" y="190201"/>
                  </a:cubicBezTo>
                  <a:cubicBezTo>
                    <a:pt x="317050" y="194479"/>
                    <a:pt x="320623" y="197320"/>
                    <a:pt x="322652" y="202534"/>
                  </a:cubicBezTo>
                  <a:cubicBezTo>
                    <a:pt x="325331" y="209453"/>
                    <a:pt x="321800" y="215168"/>
                    <a:pt x="321841" y="221652"/>
                  </a:cubicBezTo>
                  <a:cubicBezTo>
                    <a:pt x="321841" y="231446"/>
                    <a:pt x="341689" y="238598"/>
                    <a:pt x="336250" y="248625"/>
                  </a:cubicBezTo>
                  <a:cubicBezTo>
                    <a:pt x="333084" y="254475"/>
                    <a:pt x="332191" y="273526"/>
                    <a:pt x="345951" y="277871"/>
                  </a:cubicBezTo>
                  <a:cubicBezTo>
                    <a:pt x="355976" y="281046"/>
                    <a:pt x="362187" y="279242"/>
                    <a:pt x="365758" y="288500"/>
                  </a:cubicBezTo>
                  <a:cubicBezTo>
                    <a:pt x="368031" y="294516"/>
                    <a:pt x="370142" y="295418"/>
                    <a:pt x="379437" y="297323"/>
                  </a:cubicBezTo>
                  <a:cubicBezTo>
                    <a:pt x="395145" y="300666"/>
                    <a:pt x="404116" y="302872"/>
                    <a:pt x="417023" y="311194"/>
                  </a:cubicBezTo>
                  <a:cubicBezTo>
                    <a:pt x="428713" y="318748"/>
                    <a:pt x="427212" y="327906"/>
                    <a:pt x="442433" y="330981"/>
                  </a:cubicBezTo>
                  <a:cubicBezTo>
                    <a:pt x="458669" y="334324"/>
                    <a:pt x="473524" y="337933"/>
                    <a:pt x="482413" y="329176"/>
                  </a:cubicBezTo>
                  <a:cubicBezTo>
                    <a:pt x="488421" y="323260"/>
                    <a:pt x="494388" y="308320"/>
                    <a:pt x="508188" y="308654"/>
                  </a:cubicBezTo>
                  <a:close/>
                  <a:moveTo>
                    <a:pt x="489477" y="458091"/>
                  </a:moveTo>
                  <a:cubicBezTo>
                    <a:pt x="491506" y="464174"/>
                    <a:pt x="505915" y="473098"/>
                    <a:pt x="511881" y="478646"/>
                  </a:cubicBezTo>
                  <a:cubicBezTo>
                    <a:pt x="515940" y="482557"/>
                    <a:pt x="535789" y="492283"/>
                    <a:pt x="530147" y="481320"/>
                  </a:cubicBezTo>
                  <a:cubicBezTo>
                    <a:pt x="526656" y="474636"/>
                    <a:pt x="515251" y="468218"/>
                    <a:pt x="507214" y="463840"/>
                  </a:cubicBezTo>
                  <a:cubicBezTo>
                    <a:pt x="506077" y="463238"/>
                    <a:pt x="488177" y="454314"/>
                    <a:pt x="489477" y="458091"/>
                  </a:cubicBezTo>
                  <a:cubicBezTo>
                    <a:pt x="491344" y="463973"/>
                    <a:pt x="487163" y="451573"/>
                    <a:pt x="489395" y="458091"/>
                  </a:cubicBezTo>
                  <a:close/>
                  <a:moveTo>
                    <a:pt x="465650" y="421024"/>
                  </a:moveTo>
                  <a:cubicBezTo>
                    <a:pt x="453270" y="427709"/>
                    <a:pt x="431352" y="400201"/>
                    <a:pt x="425060" y="414540"/>
                  </a:cubicBezTo>
                  <a:cubicBezTo>
                    <a:pt x="419337" y="427408"/>
                    <a:pt x="458100" y="434594"/>
                    <a:pt x="467842" y="436499"/>
                  </a:cubicBezTo>
                  <a:cubicBezTo>
                    <a:pt x="472875" y="437502"/>
                    <a:pt x="511638" y="451206"/>
                    <a:pt x="496458" y="436499"/>
                  </a:cubicBezTo>
                  <a:cubicBezTo>
                    <a:pt x="492845" y="432957"/>
                    <a:pt x="472104" y="417581"/>
                    <a:pt x="465772" y="42102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3E4C2932-8AF0-4C19-BB2E-22B6A8DD992E}"/>
                </a:ext>
              </a:extLst>
            </p:cNvPr>
            <p:cNvSpPr/>
            <p:nvPr/>
          </p:nvSpPr>
          <p:spPr>
            <a:xfrm>
              <a:off x="6342448" y="4562383"/>
              <a:ext cx="36713" cy="20260"/>
            </a:xfrm>
            <a:custGeom>
              <a:avLst/>
              <a:gdLst>
                <a:gd name="connsiteX0" fmla="*/ 13065 w 37680"/>
                <a:gd name="connsiteY0" fmla="*/ -339 h 27741"/>
                <a:gd name="connsiteX1" fmla="*/ 76 w 37680"/>
                <a:gd name="connsiteY1" fmla="*/ 14033 h 27741"/>
                <a:gd name="connsiteX2" fmla="*/ 22724 w 37680"/>
                <a:gd name="connsiteY2" fmla="*/ 27403 h 27741"/>
                <a:gd name="connsiteX3" fmla="*/ 37621 w 37680"/>
                <a:gd name="connsiteY3" fmla="*/ 15738 h 27741"/>
                <a:gd name="connsiteX4" fmla="*/ 13267 w 37680"/>
                <a:gd name="connsiteY4" fmla="*/ -272 h 27741"/>
                <a:gd name="connsiteX5" fmla="*/ 13065 w 37680"/>
                <a:gd name="connsiteY5" fmla="*/ -339 h 2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80" h="27741">
                  <a:moveTo>
                    <a:pt x="13065" y="-339"/>
                  </a:moveTo>
                  <a:cubicBezTo>
                    <a:pt x="6164" y="4307"/>
                    <a:pt x="1780" y="8284"/>
                    <a:pt x="76" y="14033"/>
                  </a:cubicBezTo>
                  <a:cubicBezTo>
                    <a:pt x="-1629" y="19782"/>
                    <a:pt x="13186" y="24428"/>
                    <a:pt x="22724" y="27403"/>
                  </a:cubicBezTo>
                  <a:cubicBezTo>
                    <a:pt x="24145" y="23693"/>
                    <a:pt x="29300" y="16540"/>
                    <a:pt x="37621" y="15738"/>
                  </a:cubicBezTo>
                  <a:cubicBezTo>
                    <a:pt x="29828" y="10290"/>
                    <a:pt x="21872" y="4775"/>
                    <a:pt x="13267" y="-272"/>
                  </a:cubicBezTo>
                  <a:cubicBezTo>
                    <a:pt x="6286" y="4374"/>
                    <a:pt x="19883" y="3572"/>
                    <a:pt x="13065" y="-33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DB7FD56B-A986-4EAE-A5D5-6DB21763DAC6}"/>
                </a:ext>
              </a:extLst>
            </p:cNvPr>
            <p:cNvSpPr/>
            <p:nvPr/>
          </p:nvSpPr>
          <p:spPr>
            <a:xfrm>
              <a:off x="6590351" y="5484450"/>
              <a:ext cx="33556" cy="21175"/>
            </a:xfrm>
            <a:custGeom>
              <a:avLst/>
              <a:gdLst>
                <a:gd name="connsiteX0" fmla="*/ 18609 w 34440"/>
                <a:gd name="connsiteY0" fmla="*/ -316 h 28994"/>
                <a:gd name="connsiteX1" fmla="*/ 749 w 34440"/>
                <a:gd name="connsiteY1" fmla="*/ 9477 h 28994"/>
                <a:gd name="connsiteX2" fmla="*/ 10937 w 34440"/>
                <a:gd name="connsiteY2" fmla="*/ 26490 h 28994"/>
                <a:gd name="connsiteX3" fmla="*/ 18609 w 34440"/>
                <a:gd name="connsiteY3" fmla="*/ -316 h 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40" h="28994">
                  <a:moveTo>
                    <a:pt x="18609" y="-316"/>
                  </a:moveTo>
                  <a:cubicBezTo>
                    <a:pt x="11709" y="-784"/>
                    <a:pt x="3631" y="6035"/>
                    <a:pt x="749" y="9477"/>
                  </a:cubicBezTo>
                  <a:cubicBezTo>
                    <a:pt x="-2782" y="13655"/>
                    <a:pt x="6107" y="23783"/>
                    <a:pt x="10937" y="26490"/>
                  </a:cubicBezTo>
                  <a:cubicBezTo>
                    <a:pt x="31070" y="37720"/>
                    <a:pt x="47914" y="1723"/>
                    <a:pt x="18609" y="-31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B7077C24-9C1C-4893-9D4B-47FE96ED4BCC}"/>
                </a:ext>
              </a:extLst>
            </p:cNvPr>
            <p:cNvSpPr/>
            <p:nvPr/>
          </p:nvSpPr>
          <p:spPr>
            <a:xfrm>
              <a:off x="6595845" y="5166924"/>
              <a:ext cx="275801" cy="144967"/>
            </a:xfrm>
            <a:custGeom>
              <a:avLst/>
              <a:gdLst>
                <a:gd name="connsiteX0" fmla="*/ 267508 w 283067"/>
                <a:gd name="connsiteY0" fmla="*/ 167962 h 198493"/>
                <a:gd name="connsiteX1" fmla="*/ 261460 w 283067"/>
                <a:gd name="connsiteY1" fmla="*/ 155261 h 198493"/>
                <a:gd name="connsiteX2" fmla="*/ 261135 w 283067"/>
                <a:gd name="connsiteY2" fmla="*/ 137146 h 198493"/>
                <a:gd name="connsiteX3" fmla="*/ 265803 w 283067"/>
                <a:gd name="connsiteY3" fmla="*/ 123108 h 198493"/>
                <a:gd name="connsiteX4" fmla="*/ 257685 w 283067"/>
                <a:gd name="connsiteY4" fmla="*/ 113081 h 198493"/>
                <a:gd name="connsiteX5" fmla="*/ 256143 w 283067"/>
                <a:gd name="connsiteY5" fmla="*/ 99912 h 198493"/>
                <a:gd name="connsiteX6" fmla="*/ 261785 w 283067"/>
                <a:gd name="connsiteY6" fmla="*/ 78955 h 198493"/>
                <a:gd name="connsiteX7" fmla="*/ 226228 w 283067"/>
                <a:gd name="connsiteY7" fmla="*/ 55559 h 198493"/>
                <a:gd name="connsiteX8" fmla="*/ 220911 w 283067"/>
                <a:gd name="connsiteY8" fmla="*/ 44730 h 198493"/>
                <a:gd name="connsiteX9" fmla="*/ 186491 w 283067"/>
                <a:gd name="connsiteY9" fmla="*/ 29923 h 198493"/>
                <a:gd name="connsiteX10" fmla="*/ 127636 w 283067"/>
                <a:gd name="connsiteY10" fmla="*/ 5089 h 198493"/>
                <a:gd name="connsiteX11" fmla="*/ 120654 w 283067"/>
                <a:gd name="connsiteY11" fmla="*/ 16353 h 198493"/>
                <a:gd name="connsiteX12" fmla="*/ 110344 w 283067"/>
                <a:gd name="connsiteY12" fmla="*/ 21133 h 198493"/>
                <a:gd name="connsiteX13" fmla="*/ 108437 w 283067"/>
                <a:gd name="connsiteY13" fmla="*/ 30458 h 198493"/>
                <a:gd name="connsiteX14" fmla="*/ 89360 w 283067"/>
                <a:gd name="connsiteY14" fmla="*/ 26815 h 198493"/>
                <a:gd name="connsiteX15" fmla="*/ 65006 w 283067"/>
                <a:gd name="connsiteY15" fmla="*/ 25879 h 198493"/>
                <a:gd name="connsiteX16" fmla="*/ 70769 w 283067"/>
                <a:gd name="connsiteY16" fmla="*/ -91 h 198493"/>
                <a:gd name="connsiteX17" fmla="*/ 34036 w 283067"/>
                <a:gd name="connsiteY17" fmla="*/ 711 h 198493"/>
                <a:gd name="connsiteX18" fmla="*/ 40165 w 283067"/>
                <a:gd name="connsiteY18" fmla="*/ 12643 h 198493"/>
                <a:gd name="connsiteX19" fmla="*/ 37040 w 283067"/>
                <a:gd name="connsiteY19" fmla="*/ 22002 h 198493"/>
                <a:gd name="connsiteX20" fmla="*/ 29855 w 283067"/>
                <a:gd name="connsiteY20" fmla="*/ 31561 h 198493"/>
                <a:gd name="connsiteX21" fmla="*/ 33386 w 283067"/>
                <a:gd name="connsiteY21" fmla="*/ 37811 h 198493"/>
                <a:gd name="connsiteX22" fmla="*/ 14349 w 283067"/>
                <a:gd name="connsiteY22" fmla="*/ 52450 h 198493"/>
                <a:gd name="connsiteX23" fmla="*/ -60 w 283067"/>
                <a:gd name="connsiteY23" fmla="*/ 56729 h 198493"/>
                <a:gd name="connsiteX24" fmla="*/ 3715 w 283067"/>
                <a:gd name="connsiteY24" fmla="*/ 71803 h 198493"/>
                <a:gd name="connsiteX25" fmla="*/ 21534 w 283067"/>
                <a:gd name="connsiteY25" fmla="*/ 97706 h 198493"/>
                <a:gd name="connsiteX26" fmla="*/ 28475 w 283067"/>
                <a:gd name="connsiteY26" fmla="*/ 116791 h 198493"/>
                <a:gd name="connsiteX27" fmla="*/ 16988 w 283067"/>
                <a:gd name="connsiteY27" fmla="*/ 119264 h 198493"/>
                <a:gd name="connsiteX28" fmla="*/ 47755 w 283067"/>
                <a:gd name="connsiteY28" fmla="*/ 135308 h 198493"/>
                <a:gd name="connsiteX29" fmla="*/ 89360 w 283067"/>
                <a:gd name="connsiteY29" fmla="*/ 149513 h 198493"/>
                <a:gd name="connsiteX30" fmla="*/ 123414 w 283067"/>
                <a:gd name="connsiteY30" fmla="*/ 160008 h 198493"/>
                <a:gd name="connsiteX31" fmla="*/ 129990 w 283067"/>
                <a:gd name="connsiteY31" fmla="*/ 178290 h 198493"/>
                <a:gd name="connsiteX32" fmla="*/ 141599 w 283067"/>
                <a:gd name="connsiteY32" fmla="*/ 190891 h 198493"/>
                <a:gd name="connsiteX33" fmla="*/ 161569 w 283067"/>
                <a:gd name="connsiteY33" fmla="*/ 190691 h 198493"/>
                <a:gd name="connsiteX34" fmla="*/ 179509 w 283067"/>
                <a:gd name="connsiteY34" fmla="*/ 196439 h 198493"/>
                <a:gd name="connsiteX35" fmla="*/ 202036 w 283067"/>
                <a:gd name="connsiteY35" fmla="*/ 198077 h 198493"/>
                <a:gd name="connsiteX36" fmla="*/ 218679 w 283067"/>
                <a:gd name="connsiteY36" fmla="*/ 191158 h 198493"/>
                <a:gd name="connsiteX37" fmla="*/ 267955 w 283067"/>
                <a:gd name="connsiteY37" fmla="*/ 188184 h 198493"/>
                <a:gd name="connsiteX38" fmla="*/ 267224 w 283067"/>
                <a:gd name="connsiteY38" fmla="*/ 167862 h 198493"/>
                <a:gd name="connsiteX39" fmla="*/ 267508 w 283067"/>
                <a:gd name="connsiteY39" fmla="*/ 167962 h 19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3067" h="198493">
                  <a:moveTo>
                    <a:pt x="267508" y="167962"/>
                  </a:moveTo>
                  <a:cubicBezTo>
                    <a:pt x="267833" y="162916"/>
                    <a:pt x="264829" y="159673"/>
                    <a:pt x="261460" y="155261"/>
                  </a:cubicBezTo>
                  <a:cubicBezTo>
                    <a:pt x="256914" y="149312"/>
                    <a:pt x="263774" y="143196"/>
                    <a:pt x="261135" y="137146"/>
                  </a:cubicBezTo>
                  <a:cubicBezTo>
                    <a:pt x="258497" y="131096"/>
                    <a:pt x="257726" y="129091"/>
                    <a:pt x="265803" y="123108"/>
                  </a:cubicBezTo>
                  <a:cubicBezTo>
                    <a:pt x="271161" y="119198"/>
                    <a:pt x="261744" y="115721"/>
                    <a:pt x="257685" y="113081"/>
                  </a:cubicBezTo>
                  <a:cubicBezTo>
                    <a:pt x="251394" y="108602"/>
                    <a:pt x="253221" y="104658"/>
                    <a:pt x="256143" y="99912"/>
                  </a:cubicBezTo>
                  <a:cubicBezTo>
                    <a:pt x="260932" y="92124"/>
                    <a:pt x="273394" y="85473"/>
                    <a:pt x="261785" y="78955"/>
                  </a:cubicBezTo>
                  <a:cubicBezTo>
                    <a:pt x="253667" y="74443"/>
                    <a:pt x="224321" y="62778"/>
                    <a:pt x="226228" y="55559"/>
                  </a:cubicBezTo>
                  <a:cubicBezTo>
                    <a:pt x="228136" y="48339"/>
                    <a:pt x="229922" y="48640"/>
                    <a:pt x="220911" y="44730"/>
                  </a:cubicBezTo>
                  <a:cubicBezTo>
                    <a:pt x="209465" y="39740"/>
                    <a:pt x="197978" y="34803"/>
                    <a:pt x="186491" y="29923"/>
                  </a:cubicBezTo>
                  <a:cubicBezTo>
                    <a:pt x="166967" y="21567"/>
                    <a:pt x="147322" y="13288"/>
                    <a:pt x="127636" y="5089"/>
                  </a:cubicBezTo>
                  <a:cubicBezTo>
                    <a:pt x="126905" y="9381"/>
                    <a:pt x="124429" y="13345"/>
                    <a:pt x="120654" y="16353"/>
                  </a:cubicBezTo>
                  <a:cubicBezTo>
                    <a:pt x="118584" y="17924"/>
                    <a:pt x="111278" y="19361"/>
                    <a:pt x="110344" y="21133"/>
                  </a:cubicBezTo>
                  <a:cubicBezTo>
                    <a:pt x="108477" y="24475"/>
                    <a:pt x="123820" y="32463"/>
                    <a:pt x="108437" y="30458"/>
                  </a:cubicBezTo>
                  <a:cubicBezTo>
                    <a:pt x="101943" y="29622"/>
                    <a:pt x="95732" y="27951"/>
                    <a:pt x="89360" y="26815"/>
                  </a:cubicBezTo>
                  <a:cubicBezTo>
                    <a:pt x="82987" y="25678"/>
                    <a:pt x="70445" y="27483"/>
                    <a:pt x="65006" y="25879"/>
                  </a:cubicBezTo>
                  <a:cubicBezTo>
                    <a:pt x="54615" y="22737"/>
                    <a:pt x="68172" y="3485"/>
                    <a:pt x="70769" y="-91"/>
                  </a:cubicBezTo>
                  <a:cubicBezTo>
                    <a:pt x="58511" y="-596"/>
                    <a:pt x="46253" y="-329"/>
                    <a:pt x="34036" y="711"/>
                  </a:cubicBezTo>
                  <a:cubicBezTo>
                    <a:pt x="36025" y="4688"/>
                    <a:pt x="38419" y="8666"/>
                    <a:pt x="40165" y="12643"/>
                  </a:cubicBezTo>
                  <a:cubicBezTo>
                    <a:pt x="41464" y="15718"/>
                    <a:pt x="43736" y="20765"/>
                    <a:pt x="37040" y="22002"/>
                  </a:cubicBezTo>
                  <a:cubicBezTo>
                    <a:pt x="28150" y="23639"/>
                    <a:pt x="28313" y="25344"/>
                    <a:pt x="29855" y="31561"/>
                  </a:cubicBezTo>
                  <a:cubicBezTo>
                    <a:pt x="31072" y="36508"/>
                    <a:pt x="39759" y="31895"/>
                    <a:pt x="33386" y="37811"/>
                  </a:cubicBezTo>
                  <a:cubicBezTo>
                    <a:pt x="28028" y="42824"/>
                    <a:pt x="22346" y="48908"/>
                    <a:pt x="14349" y="52450"/>
                  </a:cubicBezTo>
                  <a:cubicBezTo>
                    <a:pt x="9641" y="54085"/>
                    <a:pt x="4852" y="55512"/>
                    <a:pt x="-60" y="56729"/>
                  </a:cubicBezTo>
                  <a:cubicBezTo>
                    <a:pt x="1077" y="61776"/>
                    <a:pt x="2254" y="66756"/>
                    <a:pt x="3715" y="71803"/>
                  </a:cubicBezTo>
                  <a:cubicBezTo>
                    <a:pt x="6922" y="82599"/>
                    <a:pt x="15324" y="88114"/>
                    <a:pt x="21534" y="97706"/>
                  </a:cubicBezTo>
                  <a:cubicBezTo>
                    <a:pt x="25593" y="103923"/>
                    <a:pt x="23361" y="110808"/>
                    <a:pt x="28475" y="116791"/>
                  </a:cubicBezTo>
                  <a:cubicBezTo>
                    <a:pt x="38623" y="128590"/>
                    <a:pt x="26283" y="130461"/>
                    <a:pt x="16988" y="119264"/>
                  </a:cubicBezTo>
                  <a:cubicBezTo>
                    <a:pt x="11265" y="127587"/>
                    <a:pt x="37567" y="131263"/>
                    <a:pt x="47755" y="135308"/>
                  </a:cubicBezTo>
                  <a:cubicBezTo>
                    <a:pt x="61068" y="140622"/>
                    <a:pt x="77061" y="142928"/>
                    <a:pt x="89360" y="149513"/>
                  </a:cubicBezTo>
                  <a:cubicBezTo>
                    <a:pt x="100968" y="155796"/>
                    <a:pt x="116555" y="149312"/>
                    <a:pt x="123414" y="160008"/>
                  </a:cubicBezTo>
                  <a:cubicBezTo>
                    <a:pt x="126865" y="165743"/>
                    <a:pt x="129097" y="171930"/>
                    <a:pt x="129990" y="178290"/>
                  </a:cubicBezTo>
                  <a:cubicBezTo>
                    <a:pt x="131370" y="186780"/>
                    <a:pt x="127027" y="188819"/>
                    <a:pt x="141599" y="190891"/>
                  </a:cubicBezTo>
                  <a:cubicBezTo>
                    <a:pt x="148539" y="191860"/>
                    <a:pt x="154790" y="188652"/>
                    <a:pt x="161569" y="190691"/>
                  </a:cubicBezTo>
                  <a:cubicBezTo>
                    <a:pt x="170904" y="193532"/>
                    <a:pt x="166074" y="196941"/>
                    <a:pt x="179509" y="196439"/>
                  </a:cubicBezTo>
                  <a:cubicBezTo>
                    <a:pt x="187059" y="196379"/>
                    <a:pt x="194609" y="196927"/>
                    <a:pt x="202036" y="198077"/>
                  </a:cubicBezTo>
                  <a:cubicBezTo>
                    <a:pt x="211778" y="199147"/>
                    <a:pt x="209789" y="188719"/>
                    <a:pt x="218679" y="191158"/>
                  </a:cubicBezTo>
                  <a:cubicBezTo>
                    <a:pt x="236132" y="196072"/>
                    <a:pt x="251151" y="191626"/>
                    <a:pt x="267955" y="188184"/>
                  </a:cubicBezTo>
                  <a:cubicBezTo>
                    <a:pt x="302659" y="181065"/>
                    <a:pt x="266372" y="180597"/>
                    <a:pt x="267224" y="167862"/>
                  </a:cubicBezTo>
                  <a:cubicBezTo>
                    <a:pt x="268198" y="157635"/>
                    <a:pt x="266818" y="178090"/>
                    <a:pt x="267508" y="16796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11" name="AMERICAS">
            <a:extLst>
              <a:ext uri="{FF2B5EF4-FFF2-40B4-BE49-F238E27FC236}">
                <a16:creationId xmlns:a16="http://schemas.microsoft.com/office/drawing/2014/main" id="{59E7BBC8-DBDC-4170-8704-C0AC0604CDF9}"/>
              </a:ext>
            </a:extLst>
          </p:cNvPr>
          <p:cNvGrpSpPr/>
          <p:nvPr/>
        </p:nvGrpSpPr>
        <p:grpSpPr>
          <a:xfrm>
            <a:off x="438475" y="4003405"/>
            <a:ext cx="4455549" cy="2110667"/>
            <a:chOff x="438475" y="4003405"/>
            <a:chExt cx="4455549" cy="2110667"/>
          </a:xfrm>
        </p:grpSpPr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EB485A9D-370F-4409-9876-E3A20A42B32E}"/>
                </a:ext>
              </a:extLst>
            </p:cNvPr>
            <p:cNvSpPr/>
            <p:nvPr/>
          </p:nvSpPr>
          <p:spPr>
            <a:xfrm>
              <a:off x="3285174" y="5336170"/>
              <a:ext cx="65869" cy="18813"/>
            </a:xfrm>
            <a:custGeom>
              <a:avLst/>
              <a:gdLst>
                <a:gd name="connsiteX0" fmla="*/ 60541 w 67604"/>
                <a:gd name="connsiteY0" fmla="*/ -68 h 25759"/>
                <a:gd name="connsiteX1" fmla="*/ 44549 w 67604"/>
                <a:gd name="connsiteY1" fmla="*/ 3876 h 25759"/>
                <a:gd name="connsiteX2" fmla="*/ 21940 w 67604"/>
                <a:gd name="connsiteY2" fmla="*/ 7219 h 25759"/>
                <a:gd name="connsiteX3" fmla="*/ -60 w 67604"/>
                <a:gd name="connsiteY3" fmla="*/ 25334 h 25759"/>
                <a:gd name="connsiteX4" fmla="*/ 45441 w 67604"/>
                <a:gd name="connsiteY4" fmla="*/ 18984 h 25759"/>
                <a:gd name="connsiteX5" fmla="*/ 60541 w 67604"/>
                <a:gd name="connsiteY5" fmla="*/ 66 h 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04" h="25759">
                  <a:moveTo>
                    <a:pt x="60541" y="-68"/>
                  </a:moveTo>
                  <a:cubicBezTo>
                    <a:pt x="56035" y="-1371"/>
                    <a:pt x="48932" y="2372"/>
                    <a:pt x="44549" y="3876"/>
                  </a:cubicBezTo>
                  <a:cubicBezTo>
                    <a:pt x="36431" y="6650"/>
                    <a:pt x="29896" y="6350"/>
                    <a:pt x="21940" y="7219"/>
                  </a:cubicBezTo>
                  <a:cubicBezTo>
                    <a:pt x="9114" y="8388"/>
                    <a:pt x="5379" y="18048"/>
                    <a:pt x="-60" y="25334"/>
                  </a:cubicBezTo>
                  <a:cubicBezTo>
                    <a:pt x="13538" y="26069"/>
                    <a:pt x="31276" y="21992"/>
                    <a:pt x="45441" y="18984"/>
                  </a:cubicBezTo>
                  <a:cubicBezTo>
                    <a:pt x="57618" y="16343"/>
                    <a:pt x="78522" y="5213"/>
                    <a:pt x="60541" y="6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F347C2FF-8EB2-42DF-91E9-0E04125E4345}"/>
                </a:ext>
              </a:extLst>
            </p:cNvPr>
            <p:cNvSpPr/>
            <p:nvPr/>
          </p:nvSpPr>
          <p:spPr>
            <a:xfrm>
              <a:off x="3299687" y="5287960"/>
              <a:ext cx="157677" cy="57317"/>
            </a:xfrm>
            <a:custGeom>
              <a:avLst/>
              <a:gdLst>
                <a:gd name="connsiteX0" fmla="*/ 79821 w 161831"/>
                <a:gd name="connsiteY0" fmla="*/ 65642 h 78480"/>
                <a:gd name="connsiteX1" fmla="*/ 78238 w 161831"/>
                <a:gd name="connsiteY1" fmla="*/ 55414 h 78480"/>
                <a:gd name="connsiteX2" fmla="*/ 109086 w 161831"/>
                <a:gd name="connsiteY2" fmla="*/ 34491 h 78480"/>
                <a:gd name="connsiteX3" fmla="*/ 130639 w 161831"/>
                <a:gd name="connsiteY3" fmla="*/ 22692 h 78480"/>
                <a:gd name="connsiteX4" fmla="*/ 161772 w 161831"/>
                <a:gd name="connsiteY4" fmla="*/ 2839 h 78480"/>
                <a:gd name="connsiteX5" fmla="*/ 119274 w 161831"/>
                <a:gd name="connsiteY5" fmla="*/ 1067 h 78480"/>
                <a:gd name="connsiteX6" fmla="*/ 70567 w 161831"/>
                <a:gd name="connsiteY6" fmla="*/ 19116 h 78480"/>
                <a:gd name="connsiteX7" fmla="*/ 16014 w 161831"/>
                <a:gd name="connsiteY7" fmla="*/ 42713 h 78480"/>
                <a:gd name="connsiteX8" fmla="*/ 5623 w 161831"/>
                <a:gd name="connsiteY8" fmla="*/ 57319 h 78480"/>
                <a:gd name="connsiteX9" fmla="*/ -60 w 161831"/>
                <a:gd name="connsiteY9" fmla="*/ 74031 h 78480"/>
                <a:gd name="connsiteX10" fmla="*/ 35944 w 161831"/>
                <a:gd name="connsiteY10" fmla="*/ 67614 h 78480"/>
                <a:gd name="connsiteX11" fmla="*/ 51002 w 161831"/>
                <a:gd name="connsiteY11" fmla="*/ 76237 h 78480"/>
                <a:gd name="connsiteX12" fmla="*/ 61154 w 161831"/>
                <a:gd name="connsiteY12" fmla="*/ 74011 h 78480"/>
                <a:gd name="connsiteX13" fmla="*/ 64722 w 161831"/>
                <a:gd name="connsiteY13" fmla="*/ 78142 h 78480"/>
                <a:gd name="connsiteX14" fmla="*/ 79821 w 161831"/>
                <a:gd name="connsiteY14" fmla="*/ 65709 h 78480"/>
                <a:gd name="connsiteX15" fmla="*/ 79821 w 161831"/>
                <a:gd name="connsiteY15" fmla="*/ 65642 h 7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1831" h="78480">
                  <a:moveTo>
                    <a:pt x="79821" y="65642"/>
                  </a:moveTo>
                  <a:cubicBezTo>
                    <a:pt x="80755" y="61698"/>
                    <a:pt x="70810" y="60762"/>
                    <a:pt x="78238" y="55414"/>
                  </a:cubicBezTo>
                  <a:cubicBezTo>
                    <a:pt x="87208" y="48963"/>
                    <a:pt x="110142" y="44585"/>
                    <a:pt x="109086" y="34491"/>
                  </a:cubicBezTo>
                  <a:cubicBezTo>
                    <a:pt x="108437" y="28475"/>
                    <a:pt x="124023" y="24798"/>
                    <a:pt x="130639" y="22692"/>
                  </a:cubicBezTo>
                  <a:cubicBezTo>
                    <a:pt x="143060" y="18715"/>
                    <a:pt x="148134" y="7351"/>
                    <a:pt x="161772" y="2839"/>
                  </a:cubicBezTo>
                  <a:cubicBezTo>
                    <a:pt x="158930" y="-2944"/>
                    <a:pt x="128366" y="900"/>
                    <a:pt x="119274" y="1067"/>
                  </a:cubicBezTo>
                  <a:cubicBezTo>
                    <a:pt x="102511" y="1401"/>
                    <a:pt x="83758" y="11094"/>
                    <a:pt x="70567" y="19116"/>
                  </a:cubicBezTo>
                  <a:cubicBezTo>
                    <a:pt x="54331" y="29143"/>
                    <a:pt x="29652" y="31048"/>
                    <a:pt x="16014" y="42713"/>
                  </a:cubicBezTo>
                  <a:cubicBezTo>
                    <a:pt x="11590" y="46056"/>
                    <a:pt x="9195" y="53275"/>
                    <a:pt x="5623" y="57319"/>
                  </a:cubicBezTo>
                  <a:cubicBezTo>
                    <a:pt x="915" y="62634"/>
                    <a:pt x="4446" y="69753"/>
                    <a:pt x="-60" y="74031"/>
                  </a:cubicBezTo>
                  <a:cubicBezTo>
                    <a:pt x="13132" y="72059"/>
                    <a:pt x="22792" y="72494"/>
                    <a:pt x="35944" y="67614"/>
                  </a:cubicBezTo>
                  <a:cubicBezTo>
                    <a:pt x="49095" y="62734"/>
                    <a:pt x="49501" y="70321"/>
                    <a:pt x="51002" y="76237"/>
                  </a:cubicBezTo>
                  <a:cubicBezTo>
                    <a:pt x="53060" y="73316"/>
                    <a:pt x="57602" y="72320"/>
                    <a:pt x="61154" y="74011"/>
                  </a:cubicBezTo>
                  <a:cubicBezTo>
                    <a:pt x="63013" y="74900"/>
                    <a:pt x="64312" y="76404"/>
                    <a:pt x="64722" y="78142"/>
                  </a:cubicBezTo>
                  <a:cubicBezTo>
                    <a:pt x="71094" y="75301"/>
                    <a:pt x="78603" y="70588"/>
                    <a:pt x="79821" y="65709"/>
                  </a:cubicBezTo>
                  <a:cubicBezTo>
                    <a:pt x="80349" y="63737"/>
                    <a:pt x="79375" y="67413"/>
                    <a:pt x="79821" y="65642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EB808AF4-0EE2-4A16-B427-30669105A726}"/>
                </a:ext>
              </a:extLst>
            </p:cNvPr>
            <p:cNvSpPr/>
            <p:nvPr/>
          </p:nvSpPr>
          <p:spPr>
            <a:xfrm>
              <a:off x="2377352" y="5240183"/>
              <a:ext cx="933519" cy="178736"/>
            </a:xfrm>
            <a:custGeom>
              <a:avLst/>
              <a:gdLst>
                <a:gd name="connsiteX0" fmla="*/ 865152 w 958112"/>
                <a:gd name="connsiteY0" fmla="*/ 139348 h 244731"/>
                <a:gd name="connsiteX1" fmla="*/ 899207 w 958112"/>
                <a:gd name="connsiteY1" fmla="*/ 121533 h 244731"/>
                <a:gd name="connsiteX2" fmla="*/ 876801 w 958112"/>
                <a:gd name="connsiteY2" fmla="*/ 117289 h 244731"/>
                <a:gd name="connsiteX3" fmla="*/ 871809 w 958112"/>
                <a:gd name="connsiteY3" fmla="*/ 108231 h 244731"/>
                <a:gd name="connsiteX4" fmla="*/ 912398 w 958112"/>
                <a:gd name="connsiteY4" fmla="*/ 86338 h 244731"/>
                <a:gd name="connsiteX5" fmla="*/ 951243 w 958112"/>
                <a:gd name="connsiteY5" fmla="*/ 65114 h 244731"/>
                <a:gd name="connsiteX6" fmla="*/ 947184 w 958112"/>
                <a:gd name="connsiteY6" fmla="*/ 20026 h 244731"/>
                <a:gd name="connsiteX7" fmla="*/ 952217 w 958112"/>
                <a:gd name="connsiteY7" fmla="*/ -262 h 244731"/>
                <a:gd name="connsiteX8" fmla="*/ 940040 w 958112"/>
                <a:gd name="connsiteY8" fmla="*/ 4116 h 244731"/>
                <a:gd name="connsiteX9" fmla="*/ 921206 w 958112"/>
                <a:gd name="connsiteY9" fmla="*/ 8261 h 244731"/>
                <a:gd name="connsiteX10" fmla="*/ 859916 w 958112"/>
                <a:gd name="connsiteY10" fmla="*/ 44291 h 244731"/>
                <a:gd name="connsiteX11" fmla="*/ 861052 w 958112"/>
                <a:gd name="connsiteY11" fmla="*/ 79353 h 244731"/>
                <a:gd name="connsiteX12" fmla="*/ 850702 w 958112"/>
                <a:gd name="connsiteY12" fmla="*/ 94327 h 244731"/>
                <a:gd name="connsiteX13" fmla="*/ 829027 w 958112"/>
                <a:gd name="connsiteY13" fmla="*/ 100710 h 244731"/>
                <a:gd name="connsiteX14" fmla="*/ 779873 w 958112"/>
                <a:gd name="connsiteY14" fmla="*/ 127984 h 244731"/>
                <a:gd name="connsiteX15" fmla="*/ 761161 w 958112"/>
                <a:gd name="connsiteY15" fmla="*/ 135805 h 244731"/>
                <a:gd name="connsiteX16" fmla="*/ 728689 w 958112"/>
                <a:gd name="connsiteY16" fmla="*/ 139916 h 244731"/>
                <a:gd name="connsiteX17" fmla="*/ 705147 w 958112"/>
                <a:gd name="connsiteY17" fmla="*/ 127048 h 244731"/>
                <a:gd name="connsiteX18" fmla="*/ 663218 w 958112"/>
                <a:gd name="connsiteY18" fmla="*/ 120364 h 244731"/>
                <a:gd name="connsiteX19" fmla="*/ 630746 w 958112"/>
                <a:gd name="connsiteY19" fmla="*/ 84233 h 244731"/>
                <a:gd name="connsiteX20" fmla="*/ 621897 w 958112"/>
                <a:gd name="connsiteY20" fmla="*/ 55990 h 244731"/>
                <a:gd name="connsiteX21" fmla="*/ 620355 w 958112"/>
                <a:gd name="connsiteY21" fmla="*/ 42620 h 244731"/>
                <a:gd name="connsiteX22" fmla="*/ 598234 w 958112"/>
                <a:gd name="connsiteY22" fmla="*/ 47868 h 244731"/>
                <a:gd name="connsiteX23" fmla="*/ 546400 w 958112"/>
                <a:gd name="connsiteY23" fmla="*/ 45862 h 244731"/>
                <a:gd name="connsiteX24" fmla="*/ 524076 w 958112"/>
                <a:gd name="connsiteY24" fmla="*/ 38409 h 244731"/>
                <a:gd name="connsiteX25" fmla="*/ 489453 w 958112"/>
                <a:gd name="connsiteY25" fmla="*/ 27546 h 244731"/>
                <a:gd name="connsiteX26" fmla="*/ 431491 w 958112"/>
                <a:gd name="connsiteY26" fmla="*/ 40916 h 244731"/>
                <a:gd name="connsiteX27" fmla="*/ 425768 w 958112"/>
                <a:gd name="connsiteY27" fmla="*/ 58496 h 244731"/>
                <a:gd name="connsiteX28" fmla="*/ 395772 w 958112"/>
                <a:gd name="connsiteY28" fmla="*/ 64145 h 244731"/>
                <a:gd name="connsiteX29" fmla="*/ 370728 w 958112"/>
                <a:gd name="connsiteY29" fmla="*/ 60067 h 244731"/>
                <a:gd name="connsiteX30" fmla="*/ 345197 w 958112"/>
                <a:gd name="connsiteY30" fmla="*/ 56391 h 244731"/>
                <a:gd name="connsiteX31" fmla="*/ 302618 w 958112"/>
                <a:gd name="connsiteY31" fmla="*/ 55956 h 244731"/>
                <a:gd name="connsiteX32" fmla="*/ 260649 w 958112"/>
                <a:gd name="connsiteY32" fmla="*/ 75375 h 244731"/>
                <a:gd name="connsiteX33" fmla="*/ 255616 w 958112"/>
                <a:gd name="connsiteY33" fmla="*/ 85402 h 244731"/>
                <a:gd name="connsiteX34" fmla="*/ 246320 w 958112"/>
                <a:gd name="connsiteY34" fmla="*/ 90683 h 244731"/>
                <a:gd name="connsiteX35" fmla="*/ 172691 w 958112"/>
                <a:gd name="connsiteY35" fmla="*/ 125177 h 244731"/>
                <a:gd name="connsiteX36" fmla="*/ 68050 w 958112"/>
                <a:gd name="connsiteY36" fmla="*/ 151113 h 244731"/>
                <a:gd name="connsiteX37" fmla="*/ -60 w 958112"/>
                <a:gd name="connsiteY37" fmla="*/ 188314 h 244731"/>
                <a:gd name="connsiteX38" fmla="*/ 62814 w 958112"/>
                <a:gd name="connsiteY38" fmla="*/ 206463 h 244731"/>
                <a:gd name="connsiteX39" fmla="*/ 132628 w 958112"/>
                <a:gd name="connsiteY39" fmla="*/ 211576 h 244731"/>
                <a:gd name="connsiteX40" fmla="*/ 135226 w 958112"/>
                <a:gd name="connsiteY40" fmla="*/ 223643 h 244731"/>
                <a:gd name="connsiteX41" fmla="*/ 119761 w 958112"/>
                <a:gd name="connsiteY41" fmla="*/ 232901 h 244731"/>
                <a:gd name="connsiteX42" fmla="*/ 178495 w 958112"/>
                <a:gd name="connsiteY42" fmla="*/ 224478 h 244731"/>
                <a:gd name="connsiteX43" fmla="*/ 216365 w 958112"/>
                <a:gd name="connsiteY43" fmla="*/ 228155 h 244731"/>
                <a:gd name="connsiteX44" fmla="*/ 221561 w 958112"/>
                <a:gd name="connsiteY44" fmla="*/ 241524 h 244731"/>
                <a:gd name="connsiteX45" fmla="*/ 303024 w 958112"/>
                <a:gd name="connsiteY45" fmla="*/ 243931 h 244731"/>
                <a:gd name="connsiteX46" fmla="*/ 308869 w 958112"/>
                <a:gd name="connsiteY46" fmla="*/ 228823 h 244731"/>
                <a:gd name="connsiteX47" fmla="*/ 286910 w 958112"/>
                <a:gd name="connsiteY47" fmla="*/ 223810 h 244731"/>
                <a:gd name="connsiteX48" fmla="*/ 265276 w 958112"/>
                <a:gd name="connsiteY48" fmla="*/ 226015 h 244731"/>
                <a:gd name="connsiteX49" fmla="*/ 234265 w 958112"/>
                <a:gd name="connsiteY49" fmla="*/ 212880 h 244731"/>
                <a:gd name="connsiteX50" fmla="*/ 165263 w 958112"/>
                <a:gd name="connsiteY50" fmla="*/ 196469 h 244731"/>
                <a:gd name="connsiteX51" fmla="*/ 143222 w 958112"/>
                <a:gd name="connsiteY51" fmla="*/ 191690 h 244731"/>
                <a:gd name="connsiteX52" fmla="*/ 117813 w 958112"/>
                <a:gd name="connsiteY52" fmla="*/ 190787 h 244731"/>
                <a:gd name="connsiteX53" fmla="*/ 72069 w 958112"/>
                <a:gd name="connsiteY53" fmla="*/ 171134 h 244731"/>
                <a:gd name="connsiteX54" fmla="*/ 84245 w 958112"/>
                <a:gd name="connsiteY54" fmla="*/ 163681 h 244731"/>
                <a:gd name="connsiteX55" fmla="*/ 100481 w 958112"/>
                <a:gd name="connsiteY55" fmla="*/ 156494 h 244731"/>
                <a:gd name="connsiteX56" fmla="*/ 121466 w 958112"/>
                <a:gd name="connsiteY56" fmla="*/ 151815 h 244731"/>
                <a:gd name="connsiteX57" fmla="*/ 127677 w 958112"/>
                <a:gd name="connsiteY57" fmla="*/ 155158 h 244731"/>
                <a:gd name="connsiteX58" fmla="*/ 151259 w 958112"/>
                <a:gd name="connsiteY58" fmla="*/ 168093 h 244731"/>
                <a:gd name="connsiteX59" fmla="*/ 159377 w 958112"/>
                <a:gd name="connsiteY59" fmla="*/ 174276 h 244731"/>
                <a:gd name="connsiteX60" fmla="*/ 172122 w 958112"/>
                <a:gd name="connsiteY60" fmla="*/ 183534 h 244731"/>
                <a:gd name="connsiteX61" fmla="*/ 193513 w 958112"/>
                <a:gd name="connsiteY61" fmla="*/ 176348 h 244731"/>
                <a:gd name="connsiteX62" fmla="*/ 228989 w 958112"/>
                <a:gd name="connsiteY62" fmla="*/ 173942 h 244731"/>
                <a:gd name="connsiteX63" fmla="*/ 251272 w 958112"/>
                <a:gd name="connsiteY63" fmla="*/ 178120 h 244731"/>
                <a:gd name="connsiteX64" fmla="*/ 283744 w 958112"/>
                <a:gd name="connsiteY64" fmla="*/ 177351 h 244731"/>
                <a:gd name="connsiteX65" fmla="*/ 295678 w 958112"/>
                <a:gd name="connsiteY65" fmla="*/ 189818 h 244731"/>
                <a:gd name="connsiteX66" fmla="*/ 330422 w 958112"/>
                <a:gd name="connsiteY66" fmla="*/ 187044 h 244731"/>
                <a:gd name="connsiteX67" fmla="*/ 398816 w 958112"/>
                <a:gd name="connsiteY67" fmla="*/ 193461 h 244731"/>
                <a:gd name="connsiteX68" fmla="*/ 449919 w 958112"/>
                <a:gd name="connsiteY68" fmla="*/ 213515 h 244731"/>
                <a:gd name="connsiteX69" fmla="*/ 455601 w 958112"/>
                <a:gd name="connsiteY69" fmla="*/ 220200 h 244731"/>
                <a:gd name="connsiteX70" fmla="*/ 448701 w 958112"/>
                <a:gd name="connsiteY70" fmla="*/ 227921 h 244731"/>
                <a:gd name="connsiteX71" fmla="*/ 469767 w 958112"/>
                <a:gd name="connsiteY71" fmla="*/ 237647 h 244731"/>
                <a:gd name="connsiteX72" fmla="*/ 502848 w 958112"/>
                <a:gd name="connsiteY72" fmla="*/ 233402 h 244731"/>
                <a:gd name="connsiteX73" fmla="*/ 553057 w 958112"/>
                <a:gd name="connsiteY73" fmla="*/ 229726 h 244731"/>
                <a:gd name="connsiteX74" fmla="*/ 660295 w 958112"/>
                <a:gd name="connsiteY74" fmla="*/ 210373 h 244731"/>
                <a:gd name="connsiteX75" fmla="*/ 757711 w 958112"/>
                <a:gd name="connsiteY75" fmla="*/ 184370 h 244731"/>
                <a:gd name="connsiteX76" fmla="*/ 852731 w 958112"/>
                <a:gd name="connsiteY76" fmla="*/ 164984 h 244731"/>
                <a:gd name="connsiteX77" fmla="*/ 865233 w 958112"/>
                <a:gd name="connsiteY77" fmla="*/ 139616 h 244731"/>
                <a:gd name="connsiteX78" fmla="*/ 865152 w 958112"/>
                <a:gd name="connsiteY78" fmla="*/ 139348 h 2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58112" h="244731">
                  <a:moveTo>
                    <a:pt x="865152" y="139348"/>
                  </a:moveTo>
                  <a:cubicBezTo>
                    <a:pt x="870144" y="136641"/>
                    <a:pt x="905742" y="127015"/>
                    <a:pt x="899207" y="121533"/>
                  </a:cubicBezTo>
                  <a:cubicBezTo>
                    <a:pt x="895148" y="117957"/>
                    <a:pt x="883742" y="118191"/>
                    <a:pt x="876801" y="117289"/>
                  </a:cubicBezTo>
                  <a:cubicBezTo>
                    <a:pt x="869860" y="116386"/>
                    <a:pt x="872296" y="113044"/>
                    <a:pt x="871809" y="108231"/>
                  </a:cubicBezTo>
                  <a:cubicBezTo>
                    <a:pt x="870631" y="97201"/>
                    <a:pt x="898395" y="91719"/>
                    <a:pt x="912398" y="86338"/>
                  </a:cubicBezTo>
                  <a:cubicBezTo>
                    <a:pt x="931800" y="78918"/>
                    <a:pt x="926767" y="62073"/>
                    <a:pt x="951243" y="65114"/>
                  </a:cubicBezTo>
                  <a:cubicBezTo>
                    <a:pt x="965287" y="47400"/>
                    <a:pt x="936549" y="35401"/>
                    <a:pt x="947184" y="20026"/>
                  </a:cubicBezTo>
                  <a:cubicBezTo>
                    <a:pt x="951040" y="14411"/>
                    <a:pt x="966261" y="2111"/>
                    <a:pt x="952217" y="-262"/>
                  </a:cubicBezTo>
                  <a:cubicBezTo>
                    <a:pt x="948158" y="-897"/>
                    <a:pt x="943287" y="2579"/>
                    <a:pt x="940040" y="4116"/>
                  </a:cubicBezTo>
                  <a:cubicBezTo>
                    <a:pt x="933424" y="7459"/>
                    <a:pt x="927863" y="6423"/>
                    <a:pt x="921206" y="8261"/>
                  </a:cubicBezTo>
                  <a:cubicBezTo>
                    <a:pt x="902413" y="13375"/>
                    <a:pt x="866654" y="31357"/>
                    <a:pt x="859916" y="44291"/>
                  </a:cubicBezTo>
                  <a:cubicBezTo>
                    <a:pt x="853706" y="56157"/>
                    <a:pt x="867263" y="67287"/>
                    <a:pt x="861052" y="79353"/>
                  </a:cubicBezTo>
                  <a:cubicBezTo>
                    <a:pt x="858942" y="83431"/>
                    <a:pt x="847414" y="90650"/>
                    <a:pt x="850702" y="94327"/>
                  </a:cubicBezTo>
                  <a:cubicBezTo>
                    <a:pt x="855045" y="99173"/>
                    <a:pt x="832315" y="100577"/>
                    <a:pt x="829027" y="100710"/>
                  </a:cubicBezTo>
                  <a:cubicBezTo>
                    <a:pt x="817297" y="101112"/>
                    <a:pt x="789087" y="122369"/>
                    <a:pt x="779873" y="127984"/>
                  </a:cubicBezTo>
                  <a:cubicBezTo>
                    <a:pt x="773622" y="131761"/>
                    <a:pt x="769035" y="135371"/>
                    <a:pt x="761161" y="135805"/>
                  </a:cubicBezTo>
                  <a:cubicBezTo>
                    <a:pt x="749877" y="136440"/>
                    <a:pt x="739527" y="138813"/>
                    <a:pt x="728689" y="139916"/>
                  </a:cubicBezTo>
                  <a:cubicBezTo>
                    <a:pt x="715091" y="141320"/>
                    <a:pt x="713022" y="130625"/>
                    <a:pt x="705147" y="127048"/>
                  </a:cubicBezTo>
                  <a:cubicBezTo>
                    <a:pt x="693701" y="121868"/>
                    <a:pt x="674826" y="125143"/>
                    <a:pt x="663218" y="120364"/>
                  </a:cubicBezTo>
                  <a:cubicBezTo>
                    <a:pt x="646292" y="113144"/>
                    <a:pt x="637849" y="96800"/>
                    <a:pt x="630746" y="84233"/>
                  </a:cubicBezTo>
                  <a:cubicBezTo>
                    <a:pt x="625567" y="75389"/>
                    <a:pt x="622563" y="65793"/>
                    <a:pt x="621897" y="55990"/>
                  </a:cubicBezTo>
                  <a:cubicBezTo>
                    <a:pt x="622234" y="51494"/>
                    <a:pt x="621715" y="46982"/>
                    <a:pt x="620355" y="42620"/>
                  </a:cubicBezTo>
                  <a:cubicBezTo>
                    <a:pt x="612237" y="43155"/>
                    <a:pt x="606230" y="45963"/>
                    <a:pt x="598234" y="47868"/>
                  </a:cubicBezTo>
                  <a:cubicBezTo>
                    <a:pt x="575138" y="53082"/>
                    <a:pt x="558659" y="56224"/>
                    <a:pt x="546400" y="45862"/>
                  </a:cubicBezTo>
                  <a:cubicBezTo>
                    <a:pt x="539500" y="40013"/>
                    <a:pt x="535644" y="39846"/>
                    <a:pt x="524076" y="38409"/>
                  </a:cubicBezTo>
                  <a:cubicBezTo>
                    <a:pt x="510032" y="36671"/>
                    <a:pt x="502482" y="29485"/>
                    <a:pt x="489453" y="27546"/>
                  </a:cubicBezTo>
                  <a:cubicBezTo>
                    <a:pt x="477885" y="25775"/>
                    <a:pt x="440096" y="29786"/>
                    <a:pt x="431491" y="40916"/>
                  </a:cubicBezTo>
                  <a:cubicBezTo>
                    <a:pt x="426864" y="46965"/>
                    <a:pt x="428041" y="52581"/>
                    <a:pt x="425768" y="58496"/>
                  </a:cubicBezTo>
                  <a:cubicBezTo>
                    <a:pt x="424103" y="62741"/>
                    <a:pt x="400074" y="63644"/>
                    <a:pt x="395772" y="64145"/>
                  </a:cubicBezTo>
                  <a:cubicBezTo>
                    <a:pt x="384610" y="65348"/>
                    <a:pt x="375112" y="66618"/>
                    <a:pt x="370728" y="60067"/>
                  </a:cubicBezTo>
                  <a:cubicBezTo>
                    <a:pt x="368009" y="55923"/>
                    <a:pt x="353112" y="54452"/>
                    <a:pt x="345197" y="56391"/>
                  </a:cubicBezTo>
                  <a:cubicBezTo>
                    <a:pt x="333223" y="59332"/>
                    <a:pt x="312725" y="51277"/>
                    <a:pt x="302618" y="55956"/>
                  </a:cubicBezTo>
                  <a:cubicBezTo>
                    <a:pt x="288627" y="62374"/>
                    <a:pt x="274640" y="68848"/>
                    <a:pt x="260649" y="75375"/>
                  </a:cubicBezTo>
                  <a:cubicBezTo>
                    <a:pt x="257970" y="76645"/>
                    <a:pt x="256590" y="83330"/>
                    <a:pt x="255616" y="85402"/>
                  </a:cubicBezTo>
                  <a:cubicBezTo>
                    <a:pt x="254641" y="87475"/>
                    <a:pt x="249202" y="89313"/>
                    <a:pt x="246320" y="90683"/>
                  </a:cubicBezTo>
                  <a:cubicBezTo>
                    <a:pt x="224767" y="100911"/>
                    <a:pt x="195827" y="119361"/>
                    <a:pt x="172691" y="125177"/>
                  </a:cubicBezTo>
                  <a:cubicBezTo>
                    <a:pt x="138676" y="133700"/>
                    <a:pt x="101537" y="146735"/>
                    <a:pt x="68050" y="151113"/>
                  </a:cubicBezTo>
                  <a:cubicBezTo>
                    <a:pt x="46741" y="153854"/>
                    <a:pt x="18409" y="176983"/>
                    <a:pt x="-60" y="188314"/>
                  </a:cubicBezTo>
                  <a:cubicBezTo>
                    <a:pt x="20763" y="195333"/>
                    <a:pt x="45320" y="195901"/>
                    <a:pt x="62814" y="206463"/>
                  </a:cubicBezTo>
                  <a:cubicBezTo>
                    <a:pt x="80308" y="217024"/>
                    <a:pt x="115581" y="199979"/>
                    <a:pt x="132628" y="211576"/>
                  </a:cubicBezTo>
                  <a:cubicBezTo>
                    <a:pt x="135835" y="213749"/>
                    <a:pt x="144075" y="219632"/>
                    <a:pt x="135226" y="223643"/>
                  </a:cubicBezTo>
                  <a:cubicBezTo>
                    <a:pt x="132791" y="224745"/>
                    <a:pt x="113917" y="230762"/>
                    <a:pt x="119761" y="232901"/>
                  </a:cubicBezTo>
                  <a:cubicBezTo>
                    <a:pt x="137946" y="239585"/>
                    <a:pt x="159377" y="225481"/>
                    <a:pt x="178495" y="224478"/>
                  </a:cubicBezTo>
                  <a:cubicBezTo>
                    <a:pt x="191524" y="223810"/>
                    <a:pt x="208166" y="222740"/>
                    <a:pt x="216365" y="228155"/>
                  </a:cubicBezTo>
                  <a:cubicBezTo>
                    <a:pt x="220789" y="231096"/>
                    <a:pt x="216812" y="240822"/>
                    <a:pt x="221561" y="241524"/>
                  </a:cubicBezTo>
                  <a:cubicBezTo>
                    <a:pt x="247132" y="245334"/>
                    <a:pt x="283014" y="231196"/>
                    <a:pt x="303024" y="243931"/>
                  </a:cubicBezTo>
                  <a:cubicBezTo>
                    <a:pt x="308382" y="247273"/>
                    <a:pt x="317028" y="231464"/>
                    <a:pt x="308869" y="228823"/>
                  </a:cubicBezTo>
                  <a:cubicBezTo>
                    <a:pt x="301725" y="226584"/>
                    <a:pt x="297585" y="220200"/>
                    <a:pt x="286910" y="223810"/>
                  </a:cubicBezTo>
                  <a:cubicBezTo>
                    <a:pt x="276235" y="227419"/>
                    <a:pt x="269781" y="233168"/>
                    <a:pt x="265276" y="226015"/>
                  </a:cubicBezTo>
                  <a:cubicBezTo>
                    <a:pt x="260243" y="218094"/>
                    <a:pt x="244169" y="217726"/>
                    <a:pt x="234265" y="212880"/>
                  </a:cubicBezTo>
                  <a:cubicBezTo>
                    <a:pt x="214660" y="203221"/>
                    <a:pt x="189617" y="201516"/>
                    <a:pt x="165263" y="196469"/>
                  </a:cubicBezTo>
                  <a:cubicBezTo>
                    <a:pt x="160757" y="195533"/>
                    <a:pt x="141477" y="196035"/>
                    <a:pt x="143222" y="191690"/>
                  </a:cubicBezTo>
                  <a:cubicBezTo>
                    <a:pt x="148174" y="179523"/>
                    <a:pt x="128691" y="188347"/>
                    <a:pt x="117813" y="190787"/>
                  </a:cubicBezTo>
                  <a:cubicBezTo>
                    <a:pt x="94149" y="195734"/>
                    <a:pt x="85341" y="178019"/>
                    <a:pt x="72069" y="171134"/>
                  </a:cubicBezTo>
                  <a:cubicBezTo>
                    <a:pt x="60785" y="165285"/>
                    <a:pt x="76371" y="164449"/>
                    <a:pt x="84245" y="163681"/>
                  </a:cubicBezTo>
                  <a:cubicBezTo>
                    <a:pt x="90090" y="163112"/>
                    <a:pt x="93337" y="157196"/>
                    <a:pt x="100481" y="156494"/>
                  </a:cubicBezTo>
                  <a:cubicBezTo>
                    <a:pt x="111684" y="155391"/>
                    <a:pt x="109858" y="157698"/>
                    <a:pt x="121466" y="151815"/>
                  </a:cubicBezTo>
                  <a:cubicBezTo>
                    <a:pt x="129990" y="147470"/>
                    <a:pt x="127230" y="152183"/>
                    <a:pt x="127677" y="155158"/>
                  </a:cubicBezTo>
                  <a:cubicBezTo>
                    <a:pt x="128894" y="163146"/>
                    <a:pt x="142208" y="165452"/>
                    <a:pt x="151259" y="168093"/>
                  </a:cubicBezTo>
                  <a:cubicBezTo>
                    <a:pt x="155927" y="169463"/>
                    <a:pt x="160676" y="169997"/>
                    <a:pt x="159377" y="174276"/>
                  </a:cubicBezTo>
                  <a:cubicBezTo>
                    <a:pt x="158362" y="177919"/>
                    <a:pt x="164410" y="189149"/>
                    <a:pt x="172122" y="183534"/>
                  </a:cubicBezTo>
                  <a:cubicBezTo>
                    <a:pt x="181296" y="176849"/>
                    <a:pt x="179144" y="175178"/>
                    <a:pt x="193513" y="176348"/>
                  </a:cubicBezTo>
                  <a:cubicBezTo>
                    <a:pt x="205690" y="177317"/>
                    <a:pt x="217380" y="173607"/>
                    <a:pt x="228989" y="173942"/>
                  </a:cubicBezTo>
                  <a:cubicBezTo>
                    <a:pt x="238081" y="174175"/>
                    <a:pt x="236741" y="183334"/>
                    <a:pt x="251272" y="178120"/>
                  </a:cubicBezTo>
                  <a:cubicBezTo>
                    <a:pt x="256224" y="176348"/>
                    <a:pt x="280862" y="175379"/>
                    <a:pt x="283744" y="177351"/>
                  </a:cubicBezTo>
                  <a:cubicBezTo>
                    <a:pt x="289873" y="181729"/>
                    <a:pt x="281958" y="190353"/>
                    <a:pt x="295678" y="189818"/>
                  </a:cubicBezTo>
                  <a:cubicBezTo>
                    <a:pt x="308342" y="189350"/>
                    <a:pt x="319341" y="184503"/>
                    <a:pt x="330422" y="187044"/>
                  </a:cubicBezTo>
                  <a:cubicBezTo>
                    <a:pt x="350352" y="191623"/>
                    <a:pt x="377141" y="190887"/>
                    <a:pt x="398816" y="193461"/>
                  </a:cubicBezTo>
                  <a:cubicBezTo>
                    <a:pt x="416148" y="195500"/>
                    <a:pt x="451055" y="198742"/>
                    <a:pt x="449919" y="213515"/>
                  </a:cubicBezTo>
                  <a:cubicBezTo>
                    <a:pt x="449675" y="217325"/>
                    <a:pt x="455479" y="217325"/>
                    <a:pt x="455601" y="220200"/>
                  </a:cubicBezTo>
                  <a:cubicBezTo>
                    <a:pt x="455723" y="223074"/>
                    <a:pt x="446347" y="225447"/>
                    <a:pt x="448701" y="227921"/>
                  </a:cubicBezTo>
                  <a:cubicBezTo>
                    <a:pt x="454245" y="232968"/>
                    <a:pt x="461645" y="236377"/>
                    <a:pt x="469767" y="237647"/>
                  </a:cubicBezTo>
                  <a:cubicBezTo>
                    <a:pt x="479590" y="239351"/>
                    <a:pt x="491848" y="233736"/>
                    <a:pt x="502848" y="233402"/>
                  </a:cubicBezTo>
                  <a:cubicBezTo>
                    <a:pt x="520545" y="232867"/>
                    <a:pt x="534021" y="235675"/>
                    <a:pt x="553057" y="229726"/>
                  </a:cubicBezTo>
                  <a:cubicBezTo>
                    <a:pt x="588614" y="218662"/>
                    <a:pt x="624333" y="217492"/>
                    <a:pt x="660295" y="210373"/>
                  </a:cubicBezTo>
                  <a:cubicBezTo>
                    <a:pt x="697435" y="203053"/>
                    <a:pt x="725888" y="206530"/>
                    <a:pt x="757711" y="184370"/>
                  </a:cubicBezTo>
                  <a:cubicBezTo>
                    <a:pt x="788600" y="162979"/>
                    <a:pt x="818961" y="162076"/>
                    <a:pt x="852731" y="164984"/>
                  </a:cubicBezTo>
                  <a:cubicBezTo>
                    <a:pt x="854720" y="160405"/>
                    <a:pt x="858576" y="143326"/>
                    <a:pt x="865233" y="139616"/>
                  </a:cubicBezTo>
                  <a:cubicBezTo>
                    <a:pt x="867871" y="137911"/>
                    <a:pt x="863894" y="140050"/>
                    <a:pt x="865152" y="13934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A7DA3722-673D-4733-8186-0CEFB761D422}"/>
                </a:ext>
              </a:extLst>
            </p:cNvPr>
            <p:cNvSpPr/>
            <p:nvPr/>
          </p:nvSpPr>
          <p:spPr>
            <a:xfrm>
              <a:off x="3210148" y="5301339"/>
              <a:ext cx="104725" cy="61505"/>
            </a:xfrm>
            <a:custGeom>
              <a:avLst/>
              <a:gdLst>
                <a:gd name="connsiteX0" fmla="*/ 97521 w 107484"/>
                <a:gd name="connsiteY0" fmla="*/ 39001 h 84215"/>
                <a:gd name="connsiteX1" fmla="*/ 107425 w 107484"/>
                <a:gd name="connsiteY1" fmla="*/ 24796 h 84215"/>
                <a:gd name="connsiteX2" fmla="*/ 94355 w 107484"/>
                <a:gd name="connsiteY2" fmla="*/ 25264 h 84215"/>
                <a:gd name="connsiteX3" fmla="*/ 81285 w 107484"/>
                <a:gd name="connsiteY3" fmla="*/ 31481 h 84215"/>
                <a:gd name="connsiteX4" fmla="*/ 65049 w 107484"/>
                <a:gd name="connsiteY4" fmla="*/ -339 h 84215"/>
                <a:gd name="connsiteX5" fmla="*/ 24175 w 107484"/>
                <a:gd name="connsiteY5" fmla="*/ 15136 h 84215"/>
                <a:gd name="connsiteX6" fmla="*/ 16788 w 107484"/>
                <a:gd name="connsiteY6" fmla="*/ 32082 h 84215"/>
                <a:gd name="connsiteX7" fmla="*/ 23647 w 107484"/>
                <a:gd name="connsiteY7" fmla="*/ 50799 h 84215"/>
                <a:gd name="connsiteX8" fmla="*/ 3352 w 107484"/>
                <a:gd name="connsiteY8" fmla="*/ 68848 h 84215"/>
                <a:gd name="connsiteX9" fmla="*/ 15976 w 107484"/>
                <a:gd name="connsiteY9" fmla="*/ 82552 h 84215"/>
                <a:gd name="connsiteX10" fmla="*/ 41953 w 107484"/>
                <a:gd name="connsiteY10" fmla="*/ 82986 h 84215"/>
                <a:gd name="connsiteX11" fmla="*/ 81163 w 107484"/>
                <a:gd name="connsiteY11" fmla="*/ 67344 h 84215"/>
                <a:gd name="connsiteX12" fmla="*/ 92853 w 107484"/>
                <a:gd name="connsiteY12" fmla="*/ 54309 h 84215"/>
                <a:gd name="connsiteX13" fmla="*/ 97521 w 107484"/>
                <a:gd name="connsiteY13" fmla="*/ 39001 h 8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484" h="84215">
                  <a:moveTo>
                    <a:pt x="97521" y="39001"/>
                  </a:moveTo>
                  <a:cubicBezTo>
                    <a:pt x="101393" y="34552"/>
                    <a:pt x="104709" y="29793"/>
                    <a:pt x="107425" y="24796"/>
                  </a:cubicBezTo>
                  <a:cubicBezTo>
                    <a:pt x="101904" y="29341"/>
                    <a:pt x="95248" y="30712"/>
                    <a:pt x="94355" y="25264"/>
                  </a:cubicBezTo>
                  <a:lnTo>
                    <a:pt x="81285" y="31481"/>
                  </a:lnTo>
                  <a:cubicBezTo>
                    <a:pt x="75874" y="20875"/>
                    <a:pt x="70459" y="10267"/>
                    <a:pt x="65049" y="-339"/>
                  </a:cubicBezTo>
                  <a:cubicBezTo>
                    <a:pt x="51654" y="5176"/>
                    <a:pt x="37813" y="10056"/>
                    <a:pt x="24175" y="15136"/>
                  </a:cubicBezTo>
                  <a:cubicBezTo>
                    <a:pt x="9562" y="20618"/>
                    <a:pt x="23891" y="25665"/>
                    <a:pt x="16788" y="32082"/>
                  </a:cubicBezTo>
                  <a:cubicBezTo>
                    <a:pt x="13256" y="35425"/>
                    <a:pt x="73613" y="32583"/>
                    <a:pt x="23647" y="50799"/>
                  </a:cubicBezTo>
                  <a:cubicBezTo>
                    <a:pt x="8304" y="56414"/>
                    <a:pt x="8426" y="57785"/>
                    <a:pt x="3352" y="68848"/>
                  </a:cubicBezTo>
                  <a:cubicBezTo>
                    <a:pt x="-2695" y="81817"/>
                    <a:pt x="-1965" y="81014"/>
                    <a:pt x="15976" y="82552"/>
                  </a:cubicBezTo>
                  <a:cubicBezTo>
                    <a:pt x="23769" y="83254"/>
                    <a:pt x="33104" y="84891"/>
                    <a:pt x="41953" y="82986"/>
                  </a:cubicBezTo>
                  <a:cubicBezTo>
                    <a:pt x="53887" y="80346"/>
                    <a:pt x="76170" y="73795"/>
                    <a:pt x="81163" y="67344"/>
                  </a:cubicBezTo>
                  <a:cubicBezTo>
                    <a:pt x="83720" y="64002"/>
                    <a:pt x="91716" y="57685"/>
                    <a:pt x="92853" y="54309"/>
                  </a:cubicBezTo>
                  <a:cubicBezTo>
                    <a:pt x="94760" y="48527"/>
                    <a:pt x="92000" y="45218"/>
                    <a:pt x="97521" y="39001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652CE6A1-7989-4111-85B8-5813CE49EE95}"/>
                </a:ext>
              </a:extLst>
            </p:cNvPr>
            <p:cNvSpPr/>
            <p:nvPr/>
          </p:nvSpPr>
          <p:spPr>
            <a:xfrm>
              <a:off x="3275202" y="5287530"/>
              <a:ext cx="32710" cy="36998"/>
            </a:xfrm>
            <a:custGeom>
              <a:avLst/>
              <a:gdLst>
                <a:gd name="connsiteX0" fmla="*/ 2137 w 33572"/>
                <a:gd name="connsiteY0" fmla="*/ 16897 h 50659"/>
                <a:gd name="connsiteX1" fmla="*/ 14517 w 33572"/>
                <a:gd name="connsiteY1" fmla="*/ 50321 h 50659"/>
                <a:gd name="connsiteX2" fmla="*/ 33350 w 33572"/>
                <a:gd name="connsiteY2" fmla="*/ 28261 h 50659"/>
                <a:gd name="connsiteX3" fmla="*/ 24908 w 33572"/>
                <a:gd name="connsiteY3" fmla="*/ 15293 h 50659"/>
                <a:gd name="connsiteX4" fmla="*/ 29738 w 33572"/>
                <a:gd name="connsiteY4" fmla="*/ 185 h 50659"/>
                <a:gd name="connsiteX5" fmla="*/ 2137 w 33572"/>
                <a:gd name="connsiteY5" fmla="*/ 16897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72" h="50659">
                  <a:moveTo>
                    <a:pt x="2137" y="16897"/>
                  </a:moveTo>
                  <a:cubicBezTo>
                    <a:pt x="-5981" y="23582"/>
                    <a:pt x="10742" y="42901"/>
                    <a:pt x="14517" y="50321"/>
                  </a:cubicBezTo>
                  <a:cubicBezTo>
                    <a:pt x="26247" y="44739"/>
                    <a:pt x="34812" y="37252"/>
                    <a:pt x="33350" y="28261"/>
                  </a:cubicBezTo>
                  <a:cubicBezTo>
                    <a:pt x="32620" y="23314"/>
                    <a:pt x="27992" y="19370"/>
                    <a:pt x="24908" y="15293"/>
                  </a:cubicBezTo>
                  <a:cubicBezTo>
                    <a:pt x="19428" y="8140"/>
                    <a:pt x="23771" y="7772"/>
                    <a:pt x="29738" y="185"/>
                  </a:cubicBezTo>
                  <a:cubicBezTo>
                    <a:pt x="5384" y="-2823"/>
                    <a:pt x="13827" y="7706"/>
                    <a:pt x="2137" y="1689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AE0BC955-8103-42EF-AAC5-BBEC8D0F384E}"/>
                </a:ext>
              </a:extLst>
            </p:cNvPr>
            <p:cNvSpPr/>
            <p:nvPr/>
          </p:nvSpPr>
          <p:spPr>
            <a:xfrm>
              <a:off x="3667862" y="5154949"/>
              <a:ext cx="76541" cy="37086"/>
            </a:xfrm>
            <a:custGeom>
              <a:avLst/>
              <a:gdLst>
                <a:gd name="connsiteX0" fmla="*/ 23133 w 78557"/>
                <a:gd name="connsiteY0" fmla="*/ 9087 h 50779"/>
                <a:gd name="connsiteX1" fmla="*/ 50450 w 78557"/>
                <a:gd name="connsiteY1" fmla="*/ 23559 h 50779"/>
                <a:gd name="connsiteX2" fmla="*/ 22565 w 78557"/>
                <a:gd name="connsiteY2" fmla="*/ 37263 h 50779"/>
                <a:gd name="connsiteX3" fmla="*/ 9130 w 78557"/>
                <a:gd name="connsiteY3" fmla="*/ 50264 h 50779"/>
                <a:gd name="connsiteX4" fmla="*/ 78498 w 78557"/>
                <a:gd name="connsiteY4" fmla="*/ 32416 h 50779"/>
                <a:gd name="connsiteX5" fmla="*/ 69974 w 78557"/>
                <a:gd name="connsiteY5" fmla="*/ -339 h 50779"/>
                <a:gd name="connsiteX6" fmla="*/ 23133 w 78557"/>
                <a:gd name="connsiteY6" fmla="*/ 9087 h 50779"/>
                <a:gd name="connsiteX7" fmla="*/ 23133 w 78557"/>
                <a:gd name="connsiteY7" fmla="*/ 9087 h 5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57" h="50779">
                  <a:moveTo>
                    <a:pt x="23133" y="9087"/>
                  </a:moveTo>
                  <a:cubicBezTo>
                    <a:pt x="13757" y="17175"/>
                    <a:pt x="45498" y="20250"/>
                    <a:pt x="50450" y="23559"/>
                  </a:cubicBezTo>
                  <a:cubicBezTo>
                    <a:pt x="58568" y="28840"/>
                    <a:pt x="27964" y="35658"/>
                    <a:pt x="22565" y="37263"/>
                  </a:cubicBezTo>
                  <a:cubicBezTo>
                    <a:pt x="15340" y="39435"/>
                    <a:pt x="-15061" y="52069"/>
                    <a:pt x="9130" y="50264"/>
                  </a:cubicBezTo>
                  <a:cubicBezTo>
                    <a:pt x="34296" y="48460"/>
                    <a:pt x="51587" y="32884"/>
                    <a:pt x="78498" y="32416"/>
                  </a:cubicBezTo>
                  <a:cubicBezTo>
                    <a:pt x="75170" y="21620"/>
                    <a:pt x="72166" y="10724"/>
                    <a:pt x="69974" y="-339"/>
                  </a:cubicBezTo>
                  <a:cubicBezTo>
                    <a:pt x="57797" y="1466"/>
                    <a:pt x="32428" y="965"/>
                    <a:pt x="23133" y="9087"/>
                  </a:cubicBezTo>
                  <a:cubicBezTo>
                    <a:pt x="12905" y="17944"/>
                    <a:pt x="30602" y="2602"/>
                    <a:pt x="23133" y="908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15C3C909-F595-488B-AD4A-F92AF72EF228}"/>
                </a:ext>
              </a:extLst>
            </p:cNvPr>
            <p:cNvSpPr/>
            <p:nvPr/>
          </p:nvSpPr>
          <p:spPr>
            <a:xfrm>
              <a:off x="3736138" y="5144793"/>
              <a:ext cx="96650" cy="34053"/>
            </a:xfrm>
            <a:custGeom>
              <a:avLst/>
              <a:gdLst>
                <a:gd name="connsiteX0" fmla="*/ 42722 w 99196"/>
                <a:gd name="connsiteY0" fmla="*/ 28540 h 46626"/>
                <a:gd name="connsiteX1" fmla="*/ 89116 w 99196"/>
                <a:gd name="connsiteY1" fmla="*/ 397 h 46626"/>
                <a:gd name="connsiteX2" fmla="*/ 46172 w 99196"/>
                <a:gd name="connsiteY2" fmla="*/ 1968 h 46626"/>
                <a:gd name="connsiteX3" fmla="*/ -60 w 99196"/>
                <a:gd name="connsiteY3" fmla="*/ 13566 h 46626"/>
                <a:gd name="connsiteX4" fmla="*/ 10900 w 99196"/>
                <a:gd name="connsiteY4" fmla="*/ 46287 h 46626"/>
                <a:gd name="connsiteX5" fmla="*/ 42722 w 99196"/>
                <a:gd name="connsiteY5" fmla="*/ 2854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196" h="46626">
                  <a:moveTo>
                    <a:pt x="42722" y="28540"/>
                  </a:moveTo>
                  <a:cubicBezTo>
                    <a:pt x="50840" y="24161"/>
                    <a:pt x="125728" y="5611"/>
                    <a:pt x="89116" y="397"/>
                  </a:cubicBezTo>
                  <a:cubicBezTo>
                    <a:pt x="74792" y="-964"/>
                    <a:pt x="60293" y="-435"/>
                    <a:pt x="46172" y="1968"/>
                  </a:cubicBezTo>
                  <a:cubicBezTo>
                    <a:pt x="29936" y="4241"/>
                    <a:pt x="15527" y="11226"/>
                    <a:pt x="-60" y="13566"/>
                  </a:cubicBezTo>
                  <a:cubicBezTo>
                    <a:pt x="955" y="18780"/>
                    <a:pt x="3431" y="46455"/>
                    <a:pt x="10900" y="46287"/>
                  </a:cubicBezTo>
                  <a:cubicBezTo>
                    <a:pt x="22265" y="46053"/>
                    <a:pt x="34198" y="32918"/>
                    <a:pt x="42722" y="2854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8126A2C3-F275-4F57-B87B-4276C6FBF3D2}"/>
                </a:ext>
              </a:extLst>
            </p:cNvPr>
            <p:cNvSpPr/>
            <p:nvPr/>
          </p:nvSpPr>
          <p:spPr>
            <a:xfrm>
              <a:off x="3362055" y="5290280"/>
              <a:ext cx="117851" cy="63580"/>
            </a:xfrm>
            <a:custGeom>
              <a:avLst/>
              <a:gdLst>
                <a:gd name="connsiteX0" fmla="*/ 78928 w 120956"/>
                <a:gd name="connsiteY0" fmla="*/ 83320 h 87056"/>
                <a:gd name="connsiteX1" fmla="*/ 120897 w 120956"/>
                <a:gd name="connsiteY1" fmla="*/ 72291 h 87056"/>
                <a:gd name="connsiteX2" fmla="*/ 105676 w 120956"/>
                <a:gd name="connsiteY2" fmla="*/ 34990 h 87056"/>
                <a:gd name="connsiteX3" fmla="*/ 97558 w 120956"/>
                <a:gd name="connsiteY3" fmla="*/ -339 h 87056"/>
                <a:gd name="connsiteX4" fmla="*/ 71987 w 120956"/>
                <a:gd name="connsiteY4" fmla="*/ 16741 h 87056"/>
                <a:gd name="connsiteX5" fmla="*/ 48526 w 120956"/>
                <a:gd name="connsiteY5" fmla="*/ 26300 h 87056"/>
                <a:gd name="connsiteX6" fmla="*/ 32736 w 120956"/>
                <a:gd name="connsiteY6" fmla="*/ 43413 h 87056"/>
                <a:gd name="connsiteX7" fmla="*/ 12441 w 120956"/>
                <a:gd name="connsiteY7" fmla="*/ 58687 h 87056"/>
                <a:gd name="connsiteX8" fmla="*/ 9966 w 120956"/>
                <a:gd name="connsiteY8" fmla="*/ 69784 h 87056"/>
                <a:gd name="connsiteX9" fmla="*/ 8098 w 120956"/>
                <a:gd name="connsiteY9" fmla="*/ 79209 h 87056"/>
                <a:gd name="connsiteX10" fmla="*/ 40936 w 120956"/>
                <a:gd name="connsiteY10" fmla="*/ 84557 h 87056"/>
                <a:gd name="connsiteX11" fmla="*/ 58552 w 120956"/>
                <a:gd name="connsiteY11" fmla="*/ 85928 h 87056"/>
                <a:gd name="connsiteX12" fmla="*/ 78846 w 120956"/>
                <a:gd name="connsiteY12" fmla="*/ 83320 h 87056"/>
                <a:gd name="connsiteX13" fmla="*/ 78928 w 120956"/>
                <a:gd name="connsiteY13" fmla="*/ 83320 h 8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956" h="87056">
                  <a:moveTo>
                    <a:pt x="78928" y="83320"/>
                  </a:moveTo>
                  <a:cubicBezTo>
                    <a:pt x="93422" y="81104"/>
                    <a:pt x="107523" y="77401"/>
                    <a:pt x="120897" y="72291"/>
                  </a:cubicBezTo>
                  <a:cubicBezTo>
                    <a:pt x="103931" y="66642"/>
                    <a:pt x="112779" y="46220"/>
                    <a:pt x="105676" y="34990"/>
                  </a:cubicBezTo>
                  <a:cubicBezTo>
                    <a:pt x="98573" y="23760"/>
                    <a:pt x="103809" y="11593"/>
                    <a:pt x="97558" y="-339"/>
                  </a:cubicBezTo>
                  <a:cubicBezTo>
                    <a:pt x="86396" y="3371"/>
                    <a:pt x="79658" y="10658"/>
                    <a:pt x="71987" y="16741"/>
                  </a:cubicBezTo>
                  <a:cubicBezTo>
                    <a:pt x="66101" y="21420"/>
                    <a:pt x="55385" y="22021"/>
                    <a:pt x="48526" y="26300"/>
                  </a:cubicBezTo>
                  <a:cubicBezTo>
                    <a:pt x="40408" y="31480"/>
                    <a:pt x="44467" y="37497"/>
                    <a:pt x="32736" y="43413"/>
                  </a:cubicBezTo>
                  <a:cubicBezTo>
                    <a:pt x="25471" y="47089"/>
                    <a:pt x="7287" y="52103"/>
                    <a:pt x="12441" y="58687"/>
                  </a:cubicBezTo>
                  <a:cubicBezTo>
                    <a:pt x="16013" y="63333"/>
                    <a:pt x="14796" y="63701"/>
                    <a:pt x="9966" y="69784"/>
                  </a:cubicBezTo>
                  <a:cubicBezTo>
                    <a:pt x="7936" y="72358"/>
                    <a:pt x="-10329" y="79811"/>
                    <a:pt x="8098" y="79209"/>
                  </a:cubicBezTo>
                  <a:cubicBezTo>
                    <a:pt x="19991" y="78708"/>
                    <a:pt x="30342" y="82886"/>
                    <a:pt x="40936" y="84557"/>
                  </a:cubicBezTo>
                  <a:cubicBezTo>
                    <a:pt x="46375" y="85393"/>
                    <a:pt x="53478" y="84557"/>
                    <a:pt x="58552" y="85928"/>
                  </a:cubicBezTo>
                  <a:cubicBezTo>
                    <a:pt x="68699" y="88501"/>
                    <a:pt x="67725" y="84022"/>
                    <a:pt x="78846" y="83320"/>
                  </a:cubicBezTo>
                  <a:cubicBezTo>
                    <a:pt x="85787" y="82886"/>
                    <a:pt x="75396" y="83521"/>
                    <a:pt x="78928" y="8332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23437589-A116-46EF-803C-5DB487FCB780}"/>
                </a:ext>
              </a:extLst>
            </p:cNvPr>
            <p:cNvSpPr/>
            <p:nvPr/>
          </p:nvSpPr>
          <p:spPr>
            <a:xfrm>
              <a:off x="3873846" y="5233943"/>
              <a:ext cx="1020178" cy="484888"/>
            </a:xfrm>
            <a:custGeom>
              <a:avLst/>
              <a:gdLst>
                <a:gd name="connsiteX0" fmla="*/ 707701 w 1047054"/>
                <a:gd name="connsiteY0" fmla="*/ 652956 h 663923"/>
                <a:gd name="connsiteX1" fmla="*/ 720243 w 1047054"/>
                <a:gd name="connsiteY1" fmla="*/ 623778 h 663923"/>
                <a:gd name="connsiteX2" fmla="*/ 721785 w 1047054"/>
                <a:gd name="connsiteY2" fmla="*/ 609940 h 663923"/>
                <a:gd name="connsiteX3" fmla="*/ 727671 w 1047054"/>
                <a:gd name="connsiteY3" fmla="*/ 595534 h 663923"/>
                <a:gd name="connsiteX4" fmla="*/ 743663 w 1047054"/>
                <a:gd name="connsiteY4" fmla="*/ 584237 h 663923"/>
                <a:gd name="connsiteX5" fmla="*/ 731202 w 1047054"/>
                <a:gd name="connsiteY5" fmla="*/ 611678 h 663923"/>
                <a:gd name="connsiteX6" fmla="*/ 748899 w 1047054"/>
                <a:gd name="connsiteY6" fmla="*/ 596905 h 663923"/>
                <a:gd name="connsiteX7" fmla="*/ 760711 w 1047054"/>
                <a:gd name="connsiteY7" fmla="*/ 570534 h 663923"/>
                <a:gd name="connsiteX8" fmla="*/ 773131 w 1047054"/>
                <a:gd name="connsiteY8" fmla="*/ 547137 h 663923"/>
                <a:gd name="connsiteX9" fmla="*/ 785633 w 1047054"/>
                <a:gd name="connsiteY9" fmla="*/ 532565 h 663923"/>
                <a:gd name="connsiteX10" fmla="*/ 776216 w 1047054"/>
                <a:gd name="connsiteY10" fmla="*/ 508533 h 663923"/>
                <a:gd name="connsiteX11" fmla="*/ 774511 w 1047054"/>
                <a:gd name="connsiteY11" fmla="*/ 485136 h 663923"/>
                <a:gd name="connsiteX12" fmla="*/ 790179 w 1047054"/>
                <a:gd name="connsiteY12" fmla="*/ 471132 h 663923"/>
                <a:gd name="connsiteX13" fmla="*/ 823178 w 1047054"/>
                <a:gd name="connsiteY13" fmla="*/ 443524 h 663923"/>
                <a:gd name="connsiteX14" fmla="*/ 843758 w 1047054"/>
                <a:gd name="connsiteY14" fmla="*/ 433898 h 663923"/>
                <a:gd name="connsiteX15" fmla="*/ 866204 w 1047054"/>
                <a:gd name="connsiteY15" fmla="*/ 416785 h 663923"/>
                <a:gd name="connsiteX16" fmla="*/ 927089 w 1047054"/>
                <a:gd name="connsiteY16" fmla="*/ 401277 h 663923"/>
                <a:gd name="connsiteX17" fmla="*/ 945557 w 1047054"/>
                <a:gd name="connsiteY17" fmla="*/ 386269 h 663923"/>
                <a:gd name="connsiteX18" fmla="*/ 948114 w 1047054"/>
                <a:gd name="connsiteY18" fmla="*/ 366483 h 663923"/>
                <a:gd name="connsiteX19" fmla="*/ 958992 w 1047054"/>
                <a:gd name="connsiteY19" fmla="*/ 346629 h 663923"/>
                <a:gd name="connsiteX20" fmla="*/ 966014 w 1047054"/>
                <a:gd name="connsiteY20" fmla="*/ 328280 h 663923"/>
                <a:gd name="connsiteX21" fmla="*/ 967597 w 1047054"/>
                <a:gd name="connsiteY21" fmla="*/ 306621 h 663923"/>
                <a:gd name="connsiteX22" fmla="*/ 975309 w 1047054"/>
                <a:gd name="connsiteY22" fmla="*/ 293954 h 663923"/>
                <a:gd name="connsiteX23" fmla="*/ 973726 w 1047054"/>
                <a:gd name="connsiteY23" fmla="*/ 268986 h 663923"/>
                <a:gd name="connsiteX24" fmla="*/ 962401 w 1047054"/>
                <a:gd name="connsiteY24" fmla="*/ 236398 h 663923"/>
                <a:gd name="connsiteX25" fmla="*/ 965040 w 1047054"/>
                <a:gd name="connsiteY25" fmla="*/ 215809 h 663923"/>
                <a:gd name="connsiteX26" fmla="*/ 971859 w 1047054"/>
                <a:gd name="connsiteY26" fmla="*/ 211030 h 663923"/>
                <a:gd name="connsiteX27" fmla="*/ 1007415 w 1047054"/>
                <a:gd name="connsiteY27" fmla="*/ 167913 h 663923"/>
                <a:gd name="connsiteX28" fmla="*/ 1027345 w 1047054"/>
                <a:gd name="connsiteY28" fmla="*/ 72856 h 663923"/>
                <a:gd name="connsiteX29" fmla="*/ 987242 w 1047054"/>
                <a:gd name="connsiteY29" fmla="*/ 72522 h 663923"/>
                <a:gd name="connsiteX30" fmla="*/ 905089 w 1047054"/>
                <a:gd name="connsiteY30" fmla="*/ 52836 h 663923"/>
                <a:gd name="connsiteX31" fmla="*/ 835315 w 1047054"/>
                <a:gd name="connsiteY31" fmla="*/ 63230 h 663923"/>
                <a:gd name="connsiteX32" fmla="*/ 794238 w 1047054"/>
                <a:gd name="connsiteY32" fmla="*/ 62495 h 663923"/>
                <a:gd name="connsiteX33" fmla="*/ 761767 w 1047054"/>
                <a:gd name="connsiteY33" fmla="*/ 80176 h 663923"/>
                <a:gd name="connsiteX34" fmla="*/ 761767 w 1047054"/>
                <a:gd name="connsiteY34" fmla="*/ 69481 h 663923"/>
                <a:gd name="connsiteX35" fmla="*/ 751741 w 1047054"/>
                <a:gd name="connsiteY35" fmla="*/ 57916 h 663923"/>
                <a:gd name="connsiteX36" fmla="*/ 664311 w 1047054"/>
                <a:gd name="connsiteY36" fmla="*/ 54941 h 663923"/>
                <a:gd name="connsiteX37" fmla="*/ 653838 w 1047054"/>
                <a:gd name="connsiteY37" fmla="*/ 68545 h 663923"/>
                <a:gd name="connsiteX38" fmla="*/ 642189 w 1047054"/>
                <a:gd name="connsiteY38" fmla="*/ 74762 h 663923"/>
                <a:gd name="connsiteX39" fmla="*/ 625019 w 1047054"/>
                <a:gd name="connsiteY39" fmla="*/ 89535 h 663923"/>
                <a:gd name="connsiteX40" fmla="*/ 634924 w 1047054"/>
                <a:gd name="connsiteY40" fmla="*/ 72823 h 663923"/>
                <a:gd name="connsiteX41" fmla="*/ 606511 w 1047054"/>
                <a:gd name="connsiteY41" fmla="*/ 57348 h 663923"/>
                <a:gd name="connsiteX42" fmla="*/ 579478 w 1047054"/>
                <a:gd name="connsiteY42" fmla="*/ 65804 h 663923"/>
                <a:gd name="connsiteX43" fmla="*/ 573389 w 1047054"/>
                <a:gd name="connsiteY43" fmla="*/ 80043 h 663923"/>
                <a:gd name="connsiteX44" fmla="*/ 565474 w 1047054"/>
                <a:gd name="connsiteY44" fmla="*/ 68445 h 663923"/>
                <a:gd name="connsiteX45" fmla="*/ 586581 w 1047054"/>
                <a:gd name="connsiteY45" fmla="*/ 52568 h 663923"/>
                <a:gd name="connsiteX46" fmla="*/ 589463 w 1047054"/>
                <a:gd name="connsiteY46" fmla="*/ 31211 h 663923"/>
                <a:gd name="connsiteX47" fmla="*/ 558980 w 1047054"/>
                <a:gd name="connsiteY47" fmla="*/ 22220 h 663923"/>
                <a:gd name="connsiteX48" fmla="*/ 545058 w 1047054"/>
                <a:gd name="connsiteY48" fmla="*/ 5040 h 663923"/>
                <a:gd name="connsiteX49" fmla="*/ 527198 w 1047054"/>
                <a:gd name="connsiteY49" fmla="*/ 6778 h 663923"/>
                <a:gd name="connsiteX50" fmla="*/ 510962 w 1047054"/>
                <a:gd name="connsiteY50" fmla="*/ 32280 h 663923"/>
                <a:gd name="connsiteX51" fmla="*/ 489937 w 1047054"/>
                <a:gd name="connsiteY51" fmla="*/ 44346 h 663923"/>
                <a:gd name="connsiteX52" fmla="*/ 458885 w 1047054"/>
                <a:gd name="connsiteY52" fmla="*/ 49226 h 663923"/>
                <a:gd name="connsiteX53" fmla="*/ 430960 w 1047054"/>
                <a:gd name="connsiteY53" fmla="*/ 53237 h 663923"/>
                <a:gd name="connsiteX54" fmla="*/ 419635 w 1047054"/>
                <a:gd name="connsiteY54" fmla="*/ 65470 h 663923"/>
                <a:gd name="connsiteX55" fmla="*/ 387691 w 1047054"/>
                <a:gd name="connsiteY55" fmla="*/ 73224 h 663923"/>
                <a:gd name="connsiteX56" fmla="*/ 348076 w 1047054"/>
                <a:gd name="connsiteY56" fmla="*/ 95050 h 663923"/>
                <a:gd name="connsiteX57" fmla="*/ 306065 w 1047054"/>
                <a:gd name="connsiteY57" fmla="*/ 67141 h 663923"/>
                <a:gd name="connsiteX58" fmla="*/ 304157 w 1047054"/>
                <a:gd name="connsiteY58" fmla="*/ 53070 h 663923"/>
                <a:gd name="connsiteX59" fmla="*/ 289748 w 1047054"/>
                <a:gd name="connsiteY59" fmla="*/ 43043 h 663923"/>
                <a:gd name="connsiteX60" fmla="*/ 273228 w 1047054"/>
                <a:gd name="connsiteY60" fmla="*/ 50964 h 663923"/>
                <a:gd name="connsiteX61" fmla="*/ 247332 w 1047054"/>
                <a:gd name="connsiteY61" fmla="*/ 69046 h 663923"/>
                <a:gd name="connsiteX62" fmla="*/ 222450 w 1047054"/>
                <a:gd name="connsiteY62" fmla="*/ 80577 h 663923"/>
                <a:gd name="connsiteX63" fmla="*/ 208934 w 1047054"/>
                <a:gd name="connsiteY63" fmla="*/ 84956 h 663923"/>
                <a:gd name="connsiteX64" fmla="*/ 182997 w 1047054"/>
                <a:gd name="connsiteY64" fmla="*/ 87529 h 663923"/>
                <a:gd name="connsiteX65" fmla="*/ 168750 w 1047054"/>
                <a:gd name="connsiteY65" fmla="*/ 94615 h 663923"/>
                <a:gd name="connsiteX66" fmla="*/ 203535 w 1047054"/>
                <a:gd name="connsiteY66" fmla="*/ 113266 h 663923"/>
                <a:gd name="connsiteX67" fmla="*/ 213805 w 1047054"/>
                <a:gd name="connsiteY67" fmla="*/ 115572 h 663923"/>
                <a:gd name="connsiteX68" fmla="*/ 200938 w 1047054"/>
                <a:gd name="connsiteY68" fmla="*/ 123527 h 663923"/>
                <a:gd name="connsiteX69" fmla="*/ 192211 w 1047054"/>
                <a:gd name="connsiteY69" fmla="*/ 135793 h 663923"/>
                <a:gd name="connsiteX70" fmla="*/ 176949 w 1047054"/>
                <a:gd name="connsiteY70" fmla="*/ 146689 h 663923"/>
                <a:gd name="connsiteX71" fmla="*/ 158968 w 1047054"/>
                <a:gd name="connsiteY71" fmla="*/ 153374 h 663923"/>
                <a:gd name="connsiteX72" fmla="*/ 130190 w 1047054"/>
                <a:gd name="connsiteY72" fmla="*/ 157184 h 663923"/>
                <a:gd name="connsiteX73" fmla="*/ 114400 w 1047054"/>
                <a:gd name="connsiteY73" fmla="*/ 150299 h 663923"/>
                <a:gd name="connsiteX74" fmla="*/ 98164 w 1047054"/>
                <a:gd name="connsiteY74" fmla="*/ 153374 h 663923"/>
                <a:gd name="connsiteX75" fmla="*/ 64840 w 1047054"/>
                <a:gd name="connsiteY75" fmla="*/ 165340 h 663923"/>
                <a:gd name="connsiteX76" fmla="*/ 43043 w 1047054"/>
                <a:gd name="connsiteY76" fmla="*/ 174097 h 663923"/>
                <a:gd name="connsiteX77" fmla="*/ 62851 w 1047054"/>
                <a:gd name="connsiteY77" fmla="*/ 180380 h 663923"/>
                <a:gd name="connsiteX78" fmla="*/ 47792 w 1047054"/>
                <a:gd name="connsiteY78" fmla="*/ 193315 h 663923"/>
                <a:gd name="connsiteX79" fmla="*/ 66017 w 1047054"/>
                <a:gd name="connsiteY79" fmla="*/ 210996 h 663923"/>
                <a:gd name="connsiteX80" fmla="*/ 81239 w 1047054"/>
                <a:gd name="connsiteY80" fmla="*/ 246291 h 663923"/>
                <a:gd name="connsiteX81" fmla="*/ 82943 w 1047054"/>
                <a:gd name="connsiteY81" fmla="*/ 265309 h 663923"/>
                <a:gd name="connsiteX82" fmla="*/ 74825 w 1047054"/>
                <a:gd name="connsiteY82" fmla="*/ 270557 h 663923"/>
                <a:gd name="connsiteX83" fmla="*/ 52988 w 1047054"/>
                <a:gd name="connsiteY83" fmla="*/ 280584 h 663923"/>
                <a:gd name="connsiteX84" fmla="*/ 34844 w 1047054"/>
                <a:gd name="connsiteY84" fmla="*/ 289274 h 663923"/>
                <a:gd name="connsiteX85" fmla="*/ 18608 w 1047054"/>
                <a:gd name="connsiteY85" fmla="*/ 301273 h 663923"/>
                <a:gd name="connsiteX86" fmla="*/ 8096 w 1047054"/>
                <a:gd name="connsiteY86" fmla="*/ 321327 h 663923"/>
                <a:gd name="connsiteX87" fmla="*/ 10653 w 1047054"/>
                <a:gd name="connsiteY87" fmla="*/ 330953 h 663923"/>
                <a:gd name="connsiteX88" fmla="*/ 1480 w 1047054"/>
                <a:gd name="connsiteY88" fmla="*/ 339978 h 663923"/>
                <a:gd name="connsiteX89" fmla="*/ 9922 w 1047054"/>
                <a:gd name="connsiteY89" fmla="*/ 360433 h 663923"/>
                <a:gd name="connsiteX90" fmla="*/ 26605 w 1047054"/>
                <a:gd name="connsiteY90" fmla="*/ 367653 h 663923"/>
                <a:gd name="connsiteX91" fmla="*/ 34723 w 1047054"/>
                <a:gd name="connsiteY91" fmla="*/ 376175 h 663923"/>
                <a:gd name="connsiteX92" fmla="*/ 54774 w 1047054"/>
                <a:gd name="connsiteY92" fmla="*/ 377312 h 663923"/>
                <a:gd name="connsiteX93" fmla="*/ 80548 w 1047054"/>
                <a:gd name="connsiteY93" fmla="*/ 376242 h 663923"/>
                <a:gd name="connsiteX94" fmla="*/ 92725 w 1047054"/>
                <a:gd name="connsiteY94" fmla="*/ 369558 h 663923"/>
                <a:gd name="connsiteX95" fmla="*/ 101493 w 1047054"/>
                <a:gd name="connsiteY95" fmla="*/ 362338 h 663923"/>
                <a:gd name="connsiteX96" fmla="*/ 118946 w 1047054"/>
                <a:gd name="connsiteY96" fmla="*/ 383696 h 663923"/>
                <a:gd name="connsiteX97" fmla="*/ 147359 w 1047054"/>
                <a:gd name="connsiteY97" fmla="*/ 374738 h 663923"/>
                <a:gd name="connsiteX98" fmla="*/ 176543 w 1047054"/>
                <a:gd name="connsiteY98" fmla="*/ 361101 h 663923"/>
                <a:gd name="connsiteX99" fmla="*/ 235642 w 1047054"/>
                <a:gd name="connsiteY99" fmla="*/ 327310 h 663923"/>
                <a:gd name="connsiteX100" fmla="*/ 244815 w 1047054"/>
                <a:gd name="connsiteY100" fmla="*/ 331956 h 663923"/>
                <a:gd name="connsiteX101" fmla="*/ 257317 w 1047054"/>
                <a:gd name="connsiteY101" fmla="*/ 352010 h 663923"/>
                <a:gd name="connsiteX102" fmla="*/ 282807 w 1047054"/>
                <a:gd name="connsiteY102" fmla="*/ 361536 h 663923"/>
                <a:gd name="connsiteX103" fmla="*/ 310165 w 1047054"/>
                <a:gd name="connsiteY103" fmla="*/ 357826 h 663923"/>
                <a:gd name="connsiteX104" fmla="*/ 326157 w 1047054"/>
                <a:gd name="connsiteY104" fmla="*/ 357492 h 663923"/>
                <a:gd name="connsiteX105" fmla="*/ 347182 w 1047054"/>
                <a:gd name="connsiteY105" fmla="*/ 357492 h 663923"/>
                <a:gd name="connsiteX106" fmla="*/ 361632 w 1047054"/>
                <a:gd name="connsiteY106" fmla="*/ 361937 h 663923"/>
                <a:gd name="connsiteX107" fmla="*/ 386757 w 1047054"/>
                <a:gd name="connsiteY107" fmla="*/ 356857 h 663923"/>
                <a:gd name="connsiteX108" fmla="*/ 402263 w 1047054"/>
                <a:gd name="connsiteY108" fmla="*/ 367987 h 663923"/>
                <a:gd name="connsiteX109" fmla="*/ 410381 w 1047054"/>
                <a:gd name="connsiteY109" fmla="*/ 373268 h 663923"/>
                <a:gd name="connsiteX110" fmla="*/ 407499 w 1047054"/>
                <a:gd name="connsiteY110" fmla="*/ 379251 h 663923"/>
                <a:gd name="connsiteX111" fmla="*/ 419676 w 1047054"/>
                <a:gd name="connsiteY111" fmla="*/ 391684 h 663923"/>
                <a:gd name="connsiteX112" fmla="*/ 442203 w 1047054"/>
                <a:gd name="connsiteY112" fmla="*/ 392185 h 663923"/>
                <a:gd name="connsiteX113" fmla="*/ 467653 w 1047054"/>
                <a:gd name="connsiteY113" fmla="*/ 387406 h 663923"/>
                <a:gd name="connsiteX114" fmla="*/ 482387 w 1047054"/>
                <a:gd name="connsiteY114" fmla="*/ 399840 h 663923"/>
                <a:gd name="connsiteX115" fmla="*/ 497689 w 1047054"/>
                <a:gd name="connsiteY115" fmla="*/ 414245 h 663923"/>
                <a:gd name="connsiteX116" fmla="*/ 495497 w 1047054"/>
                <a:gd name="connsiteY116" fmla="*/ 440382 h 663923"/>
                <a:gd name="connsiteX117" fmla="*/ 498623 w 1047054"/>
                <a:gd name="connsiteY117" fmla="*/ 450410 h 663923"/>
                <a:gd name="connsiteX118" fmla="*/ 510800 w 1047054"/>
                <a:gd name="connsiteY118" fmla="*/ 463779 h 663923"/>
                <a:gd name="connsiteX119" fmla="*/ 514006 w 1047054"/>
                <a:gd name="connsiteY119" fmla="*/ 478652 h 663923"/>
                <a:gd name="connsiteX120" fmla="*/ 541851 w 1047054"/>
                <a:gd name="connsiteY120" fmla="*/ 475978 h 663923"/>
                <a:gd name="connsiteX121" fmla="*/ 554434 w 1047054"/>
                <a:gd name="connsiteY121" fmla="*/ 472904 h 663923"/>
                <a:gd name="connsiteX122" fmla="*/ 574120 w 1047054"/>
                <a:gd name="connsiteY122" fmla="*/ 483399 h 663923"/>
                <a:gd name="connsiteX123" fmla="*/ 588407 w 1047054"/>
                <a:gd name="connsiteY123" fmla="*/ 496768 h 663923"/>
                <a:gd name="connsiteX124" fmla="*/ 606998 w 1047054"/>
                <a:gd name="connsiteY124" fmla="*/ 491086 h 663923"/>
                <a:gd name="connsiteX125" fmla="*/ 620636 w 1047054"/>
                <a:gd name="connsiteY125" fmla="*/ 520532 h 663923"/>
                <a:gd name="connsiteX126" fmla="*/ 646816 w 1047054"/>
                <a:gd name="connsiteY126" fmla="*/ 529389 h 663923"/>
                <a:gd name="connsiteX127" fmla="*/ 637643 w 1047054"/>
                <a:gd name="connsiteY127" fmla="*/ 551014 h 663923"/>
                <a:gd name="connsiteX128" fmla="*/ 577205 w 1047054"/>
                <a:gd name="connsiteY128" fmla="*/ 622140 h 663923"/>
                <a:gd name="connsiteX129" fmla="*/ 591208 w 1047054"/>
                <a:gd name="connsiteY129" fmla="*/ 617527 h 663923"/>
                <a:gd name="connsiteX130" fmla="*/ 616049 w 1047054"/>
                <a:gd name="connsiteY130" fmla="*/ 625415 h 663923"/>
                <a:gd name="connsiteX131" fmla="*/ 623842 w 1047054"/>
                <a:gd name="connsiteY131" fmla="*/ 627220 h 663923"/>
                <a:gd name="connsiteX132" fmla="*/ 639226 w 1047054"/>
                <a:gd name="connsiteY132" fmla="*/ 624613 h 663923"/>
                <a:gd name="connsiteX133" fmla="*/ 678476 w 1047054"/>
                <a:gd name="connsiteY133" fmla="*/ 632635 h 663923"/>
                <a:gd name="connsiteX134" fmla="*/ 699258 w 1047054"/>
                <a:gd name="connsiteY134" fmla="*/ 663585 h 663923"/>
                <a:gd name="connsiteX135" fmla="*/ 707904 w 1047054"/>
                <a:gd name="connsiteY135" fmla="*/ 653357 h 663923"/>
                <a:gd name="connsiteX136" fmla="*/ 707701 w 1047054"/>
                <a:gd name="connsiteY136" fmla="*/ 652956 h 66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047054" h="663923">
                  <a:moveTo>
                    <a:pt x="707701" y="652956"/>
                  </a:moveTo>
                  <a:cubicBezTo>
                    <a:pt x="717158" y="644834"/>
                    <a:pt x="718944" y="633504"/>
                    <a:pt x="720243" y="623778"/>
                  </a:cubicBezTo>
                  <a:cubicBezTo>
                    <a:pt x="720892" y="619031"/>
                    <a:pt x="719147" y="614653"/>
                    <a:pt x="721785" y="609940"/>
                  </a:cubicBezTo>
                  <a:cubicBezTo>
                    <a:pt x="724789" y="604659"/>
                    <a:pt x="729903" y="601150"/>
                    <a:pt x="727671" y="595534"/>
                  </a:cubicBezTo>
                  <a:cubicBezTo>
                    <a:pt x="725114" y="588850"/>
                    <a:pt x="741796" y="577118"/>
                    <a:pt x="743663" y="584237"/>
                  </a:cubicBezTo>
                  <a:cubicBezTo>
                    <a:pt x="746058" y="593630"/>
                    <a:pt x="729010" y="603389"/>
                    <a:pt x="731202" y="611678"/>
                  </a:cubicBezTo>
                  <a:cubicBezTo>
                    <a:pt x="737534" y="607099"/>
                    <a:pt x="743461" y="602186"/>
                    <a:pt x="748899" y="596905"/>
                  </a:cubicBezTo>
                  <a:cubicBezTo>
                    <a:pt x="754460" y="588649"/>
                    <a:pt x="758438" y="579759"/>
                    <a:pt x="760711" y="570534"/>
                  </a:cubicBezTo>
                  <a:cubicBezTo>
                    <a:pt x="763228" y="562880"/>
                    <a:pt x="765501" y="553822"/>
                    <a:pt x="773131" y="547137"/>
                  </a:cubicBezTo>
                  <a:cubicBezTo>
                    <a:pt x="780762" y="540452"/>
                    <a:pt x="786729" y="541622"/>
                    <a:pt x="785633" y="532565"/>
                  </a:cubicBezTo>
                  <a:cubicBezTo>
                    <a:pt x="784091" y="524175"/>
                    <a:pt x="780925" y="516053"/>
                    <a:pt x="776216" y="508533"/>
                  </a:cubicBezTo>
                  <a:cubicBezTo>
                    <a:pt x="771548" y="500010"/>
                    <a:pt x="776216" y="493559"/>
                    <a:pt x="774511" y="485136"/>
                  </a:cubicBezTo>
                  <a:cubicBezTo>
                    <a:pt x="773091" y="478452"/>
                    <a:pt x="784091" y="476647"/>
                    <a:pt x="790179" y="471132"/>
                  </a:cubicBezTo>
                  <a:cubicBezTo>
                    <a:pt x="800529" y="461773"/>
                    <a:pt x="807308" y="449407"/>
                    <a:pt x="823178" y="443524"/>
                  </a:cubicBezTo>
                  <a:cubicBezTo>
                    <a:pt x="832636" y="440182"/>
                    <a:pt x="837588" y="439313"/>
                    <a:pt x="843758" y="433898"/>
                  </a:cubicBezTo>
                  <a:cubicBezTo>
                    <a:pt x="848060" y="430121"/>
                    <a:pt x="860521" y="419058"/>
                    <a:pt x="866204" y="416785"/>
                  </a:cubicBezTo>
                  <a:cubicBezTo>
                    <a:pt x="875539" y="412975"/>
                    <a:pt x="930133" y="411805"/>
                    <a:pt x="927089" y="401277"/>
                  </a:cubicBezTo>
                  <a:cubicBezTo>
                    <a:pt x="924044" y="390748"/>
                    <a:pt x="937804" y="391617"/>
                    <a:pt x="945557" y="386269"/>
                  </a:cubicBezTo>
                  <a:cubicBezTo>
                    <a:pt x="952132" y="381757"/>
                    <a:pt x="945029" y="372232"/>
                    <a:pt x="948114" y="366483"/>
                  </a:cubicBezTo>
                  <a:cubicBezTo>
                    <a:pt x="952173" y="358929"/>
                    <a:pt x="958139" y="355119"/>
                    <a:pt x="958992" y="346629"/>
                  </a:cubicBezTo>
                  <a:cubicBezTo>
                    <a:pt x="959763" y="338808"/>
                    <a:pt x="966745" y="336936"/>
                    <a:pt x="966014" y="328280"/>
                  </a:cubicBezTo>
                  <a:cubicBezTo>
                    <a:pt x="965568" y="323500"/>
                    <a:pt x="961955" y="310665"/>
                    <a:pt x="967597" y="306621"/>
                  </a:cubicBezTo>
                  <a:cubicBezTo>
                    <a:pt x="974091" y="301908"/>
                    <a:pt x="978272" y="300137"/>
                    <a:pt x="975309" y="293954"/>
                  </a:cubicBezTo>
                  <a:cubicBezTo>
                    <a:pt x="971250" y="285698"/>
                    <a:pt x="975309" y="277476"/>
                    <a:pt x="973726" y="268986"/>
                  </a:cubicBezTo>
                  <a:cubicBezTo>
                    <a:pt x="971494" y="257823"/>
                    <a:pt x="964634" y="247662"/>
                    <a:pt x="962401" y="236398"/>
                  </a:cubicBezTo>
                  <a:cubicBezTo>
                    <a:pt x="961833" y="233457"/>
                    <a:pt x="966460" y="216344"/>
                    <a:pt x="965040" y="215809"/>
                  </a:cubicBezTo>
                  <a:cubicBezTo>
                    <a:pt x="954405" y="211297"/>
                    <a:pt x="961874" y="208857"/>
                    <a:pt x="971859" y="211030"/>
                  </a:cubicBezTo>
                  <a:cubicBezTo>
                    <a:pt x="991423" y="215341"/>
                    <a:pt x="993940" y="174264"/>
                    <a:pt x="1007415" y="167913"/>
                  </a:cubicBezTo>
                  <a:cubicBezTo>
                    <a:pt x="1059046" y="143614"/>
                    <a:pt x="1053972" y="101868"/>
                    <a:pt x="1027345" y="72856"/>
                  </a:cubicBezTo>
                  <a:cubicBezTo>
                    <a:pt x="1019227" y="64066"/>
                    <a:pt x="1000921" y="72489"/>
                    <a:pt x="987242" y="72522"/>
                  </a:cubicBezTo>
                  <a:cubicBezTo>
                    <a:pt x="954771" y="72522"/>
                    <a:pt x="934922" y="56680"/>
                    <a:pt x="905089" y="52836"/>
                  </a:cubicBezTo>
                  <a:cubicBezTo>
                    <a:pt x="877691" y="49493"/>
                    <a:pt x="860927" y="60657"/>
                    <a:pt x="835315" y="63230"/>
                  </a:cubicBezTo>
                  <a:cubicBezTo>
                    <a:pt x="821149" y="64634"/>
                    <a:pt x="808201" y="61727"/>
                    <a:pt x="794238" y="62495"/>
                  </a:cubicBezTo>
                  <a:cubicBezTo>
                    <a:pt x="779260" y="63297"/>
                    <a:pt x="772847" y="75096"/>
                    <a:pt x="761767" y="80176"/>
                  </a:cubicBezTo>
                  <a:cubicBezTo>
                    <a:pt x="754663" y="83519"/>
                    <a:pt x="761320" y="70851"/>
                    <a:pt x="761767" y="69481"/>
                  </a:cubicBezTo>
                  <a:cubicBezTo>
                    <a:pt x="763877" y="62796"/>
                    <a:pt x="761158" y="60022"/>
                    <a:pt x="751741" y="57916"/>
                  </a:cubicBezTo>
                  <a:cubicBezTo>
                    <a:pt x="730025" y="53036"/>
                    <a:pt x="688380" y="48324"/>
                    <a:pt x="664311" y="54941"/>
                  </a:cubicBezTo>
                  <a:cubicBezTo>
                    <a:pt x="654772" y="57549"/>
                    <a:pt x="652134" y="63030"/>
                    <a:pt x="653838" y="68545"/>
                  </a:cubicBezTo>
                  <a:cubicBezTo>
                    <a:pt x="656111" y="75764"/>
                    <a:pt x="648521" y="71887"/>
                    <a:pt x="642189" y="74762"/>
                  </a:cubicBezTo>
                  <a:cubicBezTo>
                    <a:pt x="634842" y="78104"/>
                    <a:pt x="637237" y="89769"/>
                    <a:pt x="625019" y="89535"/>
                  </a:cubicBezTo>
                  <a:cubicBezTo>
                    <a:pt x="613735" y="89368"/>
                    <a:pt x="633137" y="75497"/>
                    <a:pt x="634924" y="72823"/>
                  </a:cubicBezTo>
                  <a:cubicBezTo>
                    <a:pt x="647628" y="54875"/>
                    <a:pt x="630865" y="53838"/>
                    <a:pt x="606511" y="57348"/>
                  </a:cubicBezTo>
                  <a:cubicBezTo>
                    <a:pt x="597905" y="58585"/>
                    <a:pt x="585201" y="60523"/>
                    <a:pt x="579478" y="65804"/>
                  </a:cubicBezTo>
                  <a:cubicBezTo>
                    <a:pt x="576474" y="68545"/>
                    <a:pt x="578179" y="79174"/>
                    <a:pt x="573389" y="80043"/>
                  </a:cubicBezTo>
                  <a:cubicBezTo>
                    <a:pt x="562065" y="81747"/>
                    <a:pt x="560035" y="73358"/>
                    <a:pt x="565474" y="68445"/>
                  </a:cubicBezTo>
                  <a:cubicBezTo>
                    <a:pt x="572659" y="61760"/>
                    <a:pt x="581264" y="61459"/>
                    <a:pt x="586581" y="52568"/>
                  </a:cubicBezTo>
                  <a:cubicBezTo>
                    <a:pt x="589909" y="46953"/>
                    <a:pt x="598961" y="34854"/>
                    <a:pt x="589463" y="31211"/>
                  </a:cubicBezTo>
                  <a:cubicBezTo>
                    <a:pt x="579965" y="27567"/>
                    <a:pt x="566327" y="28570"/>
                    <a:pt x="558980" y="22220"/>
                  </a:cubicBezTo>
                  <a:cubicBezTo>
                    <a:pt x="552973" y="17072"/>
                    <a:pt x="549928" y="10655"/>
                    <a:pt x="545058" y="5040"/>
                  </a:cubicBezTo>
                  <a:cubicBezTo>
                    <a:pt x="538238" y="-2881"/>
                    <a:pt x="534748" y="-1845"/>
                    <a:pt x="527198" y="6778"/>
                  </a:cubicBezTo>
                  <a:cubicBezTo>
                    <a:pt x="520257" y="14666"/>
                    <a:pt x="512667" y="23490"/>
                    <a:pt x="510962" y="32280"/>
                  </a:cubicBezTo>
                  <a:cubicBezTo>
                    <a:pt x="509257" y="41071"/>
                    <a:pt x="500734" y="40837"/>
                    <a:pt x="489937" y="44346"/>
                  </a:cubicBezTo>
                  <a:cubicBezTo>
                    <a:pt x="479140" y="47856"/>
                    <a:pt x="469642" y="53237"/>
                    <a:pt x="458885" y="49226"/>
                  </a:cubicBezTo>
                  <a:cubicBezTo>
                    <a:pt x="449104" y="45616"/>
                    <a:pt x="441838" y="49961"/>
                    <a:pt x="430960" y="53237"/>
                  </a:cubicBezTo>
                  <a:cubicBezTo>
                    <a:pt x="416875" y="57482"/>
                    <a:pt x="422842" y="57716"/>
                    <a:pt x="419635" y="65470"/>
                  </a:cubicBezTo>
                  <a:cubicBezTo>
                    <a:pt x="416510" y="72623"/>
                    <a:pt x="395281" y="69882"/>
                    <a:pt x="387691" y="73224"/>
                  </a:cubicBezTo>
                  <a:cubicBezTo>
                    <a:pt x="374256" y="79006"/>
                    <a:pt x="363905" y="91540"/>
                    <a:pt x="348076" y="95050"/>
                  </a:cubicBezTo>
                  <a:cubicBezTo>
                    <a:pt x="324371" y="100331"/>
                    <a:pt x="298394" y="81981"/>
                    <a:pt x="306065" y="67141"/>
                  </a:cubicBezTo>
                  <a:cubicBezTo>
                    <a:pt x="308866" y="61827"/>
                    <a:pt x="313452" y="56145"/>
                    <a:pt x="304157" y="53070"/>
                  </a:cubicBezTo>
                  <a:cubicBezTo>
                    <a:pt x="294862" y="49995"/>
                    <a:pt x="296039" y="48190"/>
                    <a:pt x="289748" y="43043"/>
                  </a:cubicBezTo>
                  <a:cubicBezTo>
                    <a:pt x="282645" y="36926"/>
                    <a:pt x="274770" y="46987"/>
                    <a:pt x="273228" y="50964"/>
                  </a:cubicBezTo>
                  <a:cubicBezTo>
                    <a:pt x="270833" y="57081"/>
                    <a:pt x="255003" y="65035"/>
                    <a:pt x="247332" y="69046"/>
                  </a:cubicBezTo>
                  <a:cubicBezTo>
                    <a:pt x="239660" y="73057"/>
                    <a:pt x="225494" y="73425"/>
                    <a:pt x="222450" y="80577"/>
                  </a:cubicBezTo>
                  <a:cubicBezTo>
                    <a:pt x="217904" y="91306"/>
                    <a:pt x="221922" y="86426"/>
                    <a:pt x="208934" y="84956"/>
                  </a:cubicBezTo>
                  <a:cubicBezTo>
                    <a:pt x="202196" y="84187"/>
                    <a:pt x="190425" y="87095"/>
                    <a:pt x="182997" y="87529"/>
                  </a:cubicBezTo>
                  <a:cubicBezTo>
                    <a:pt x="179385" y="87529"/>
                    <a:pt x="158643" y="94014"/>
                    <a:pt x="168750" y="94615"/>
                  </a:cubicBezTo>
                  <a:cubicBezTo>
                    <a:pt x="179993" y="95284"/>
                    <a:pt x="194809" y="117577"/>
                    <a:pt x="203535" y="113266"/>
                  </a:cubicBezTo>
                  <a:cubicBezTo>
                    <a:pt x="208771" y="110692"/>
                    <a:pt x="221679" y="108586"/>
                    <a:pt x="213805" y="115572"/>
                  </a:cubicBezTo>
                  <a:cubicBezTo>
                    <a:pt x="210151" y="118914"/>
                    <a:pt x="204144" y="119850"/>
                    <a:pt x="200938" y="123527"/>
                  </a:cubicBezTo>
                  <a:cubicBezTo>
                    <a:pt x="196879" y="127972"/>
                    <a:pt x="200288" y="132852"/>
                    <a:pt x="192211" y="135793"/>
                  </a:cubicBezTo>
                  <a:cubicBezTo>
                    <a:pt x="184133" y="138734"/>
                    <a:pt x="182023" y="141843"/>
                    <a:pt x="176949" y="146689"/>
                  </a:cubicBezTo>
                  <a:cubicBezTo>
                    <a:pt x="169683" y="153675"/>
                    <a:pt x="167613" y="149296"/>
                    <a:pt x="158968" y="153374"/>
                  </a:cubicBezTo>
                  <a:cubicBezTo>
                    <a:pt x="146791" y="159089"/>
                    <a:pt x="143584" y="162265"/>
                    <a:pt x="130190" y="157184"/>
                  </a:cubicBezTo>
                  <a:cubicBezTo>
                    <a:pt x="124669" y="155112"/>
                    <a:pt x="120002" y="152338"/>
                    <a:pt x="114400" y="150299"/>
                  </a:cubicBezTo>
                  <a:cubicBezTo>
                    <a:pt x="105024" y="146957"/>
                    <a:pt x="106282" y="148895"/>
                    <a:pt x="98164" y="153374"/>
                  </a:cubicBezTo>
                  <a:cubicBezTo>
                    <a:pt x="87733" y="158535"/>
                    <a:pt x="76530" y="162559"/>
                    <a:pt x="64840" y="165340"/>
                  </a:cubicBezTo>
                  <a:cubicBezTo>
                    <a:pt x="61147" y="166376"/>
                    <a:pt x="43287" y="170520"/>
                    <a:pt x="43043" y="174097"/>
                  </a:cubicBezTo>
                  <a:cubicBezTo>
                    <a:pt x="42394" y="182920"/>
                    <a:pt x="55220" y="178943"/>
                    <a:pt x="62851" y="180380"/>
                  </a:cubicBezTo>
                  <a:cubicBezTo>
                    <a:pt x="73567" y="182486"/>
                    <a:pt x="49335" y="191677"/>
                    <a:pt x="47792" y="193315"/>
                  </a:cubicBezTo>
                  <a:cubicBezTo>
                    <a:pt x="39674" y="201571"/>
                    <a:pt x="59401" y="208222"/>
                    <a:pt x="66017" y="210996"/>
                  </a:cubicBezTo>
                  <a:cubicBezTo>
                    <a:pt x="81482" y="217480"/>
                    <a:pt x="77423" y="234794"/>
                    <a:pt x="81239" y="246291"/>
                  </a:cubicBezTo>
                  <a:cubicBezTo>
                    <a:pt x="83759" y="252408"/>
                    <a:pt x="84348" y="258959"/>
                    <a:pt x="82943" y="265309"/>
                  </a:cubicBezTo>
                  <a:cubicBezTo>
                    <a:pt x="81969" y="268418"/>
                    <a:pt x="79737" y="269788"/>
                    <a:pt x="74825" y="270557"/>
                  </a:cubicBezTo>
                  <a:cubicBezTo>
                    <a:pt x="63095" y="272362"/>
                    <a:pt x="61918" y="275403"/>
                    <a:pt x="52988" y="280584"/>
                  </a:cubicBezTo>
                  <a:cubicBezTo>
                    <a:pt x="47346" y="283926"/>
                    <a:pt x="40446" y="285865"/>
                    <a:pt x="34844" y="289274"/>
                  </a:cubicBezTo>
                  <a:cubicBezTo>
                    <a:pt x="29243" y="292683"/>
                    <a:pt x="24819" y="297663"/>
                    <a:pt x="18608" y="301273"/>
                  </a:cubicBezTo>
                  <a:cubicBezTo>
                    <a:pt x="8258" y="307122"/>
                    <a:pt x="10490" y="313774"/>
                    <a:pt x="8096" y="321327"/>
                  </a:cubicBezTo>
                  <a:cubicBezTo>
                    <a:pt x="6675" y="325572"/>
                    <a:pt x="11099" y="327243"/>
                    <a:pt x="10653" y="330953"/>
                  </a:cubicBezTo>
                  <a:cubicBezTo>
                    <a:pt x="10369" y="333761"/>
                    <a:pt x="3428" y="337438"/>
                    <a:pt x="1480" y="339978"/>
                  </a:cubicBezTo>
                  <a:cubicBezTo>
                    <a:pt x="-3188" y="346027"/>
                    <a:pt x="3671" y="357492"/>
                    <a:pt x="9922" y="360433"/>
                  </a:cubicBezTo>
                  <a:cubicBezTo>
                    <a:pt x="15321" y="362973"/>
                    <a:pt x="21287" y="365046"/>
                    <a:pt x="26605" y="367653"/>
                  </a:cubicBezTo>
                  <a:cubicBezTo>
                    <a:pt x="31922" y="370259"/>
                    <a:pt x="30948" y="373635"/>
                    <a:pt x="34723" y="376175"/>
                  </a:cubicBezTo>
                  <a:cubicBezTo>
                    <a:pt x="41055" y="380420"/>
                    <a:pt x="49700" y="371998"/>
                    <a:pt x="54774" y="377312"/>
                  </a:cubicBezTo>
                  <a:cubicBezTo>
                    <a:pt x="60822" y="383595"/>
                    <a:pt x="70360" y="379117"/>
                    <a:pt x="80548" y="376242"/>
                  </a:cubicBezTo>
                  <a:cubicBezTo>
                    <a:pt x="84851" y="375039"/>
                    <a:pt x="91873" y="373134"/>
                    <a:pt x="92725" y="369558"/>
                  </a:cubicBezTo>
                  <a:cubicBezTo>
                    <a:pt x="93091" y="367953"/>
                    <a:pt x="96784" y="360232"/>
                    <a:pt x="101493" y="362338"/>
                  </a:cubicBezTo>
                  <a:cubicBezTo>
                    <a:pt x="105227" y="364076"/>
                    <a:pt x="110098" y="388877"/>
                    <a:pt x="118946" y="383696"/>
                  </a:cubicBezTo>
                  <a:cubicBezTo>
                    <a:pt x="127592" y="379184"/>
                    <a:pt x="137256" y="376142"/>
                    <a:pt x="147359" y="374738"/>
                  </a:cubicBezTo>
                  <a:cubicBezTo>
                    <a:pt x="163595" y="372232"/>
                    <a:pt x="165706" y="369357"/>
                    <a:pt x="176543" y="361101"/>
                  </a:cubicBezTo>
                  <a:cubicBezTo>
                    <a:pt x="194565" y="347398"/>
                    <a:pt x="211897" y="335867"/>
                    <a:pt x="235642" y="327310"/>
                  </a:cubicBezTo>
                  <a:cubicBezTo>
                    <a:pt x="244977" y="323968"/>
                    <a:pt x="243760" y="327310"/>
                    <a:pt x="244815" y="331956"/>
                  </a:cubicBezTo>
                  <a:cubicBezTo>
                    <a:pt x="246414" y="339543"/>
                    <a:pt x="250774" y="346529"/>
                    <a:pt x="257317" y="352010"/>
                  </a:cubicBezTo>
                  <a:cubicBezTo>
                    <a:pt x="264619" y="357024"/>
                    <a:pt x="273423" y="360299"/>
                    <a:pt x="282807" y="361536"/>
                  </a:cubicBezTo>
                  <a:cubicBezTo>
                    <a:pt x="293239" y="363207"/>
                    <a:pt x="300383" y="357592"/>
                    <a:pt x="310165" y="357826"/>
                  </a:cubicBezTo>
                  <a:cubicBezTo>
                    <a:pt x="314224" y="357826"/>
                    <a:pt x="323843" y="355553"/>
                    <a:pt x="326157" y="357492"/>
                  </a:cubicBezTo>
                  <a:cubicBezTo>
                    <a:pt x="331799" y="362271"/>
                    <a:pt x="338334" y="357960"/>
                    <a:pt x="347182" y="357492"/>
                  </a:cubicBezTo>
                  <a:cubicBezTo>
                    <a:pt x="354935" y="357024"/>
                    <a:pt x="355300" y="362472"/>
                    <a:pt x="361632" y="361937"/>
                  </a:cubicBezTo>
                  <a:cubicBezTo>
                    <a:pt x="369020" y="361269"/>
                    <a:pt x="379776" y="355252"/>
                    <a:pt x="386757" y="356857"/>
                  </a:cubicBezTo>
                  <a:cubicBezTo>
                    <a:pt x="397961" y="359430"/>
                    <a:pt x="396743" y="362071"/>
                    <a:pt x="402263" y="367987"/>
                  </a:cubicBezTo>
                  <a:cubicBezTo>
                    <a:pt x="404374" y="370226"/>
                    <a:pt x="408067" y="371329"/>
                    <a:pt x="410381" y="373268"/>
                  </a:cubicBezTo>
                  <a:cubicBezTo>
                    <a:pt x="412695" y="375206"/>
                    <a:pt x="407742" y="376811"/>
                    <a:pt x="407499" y="379251"/>
                  </a:cubicBezTo>
                  <a:cubicBezTo>
                    <a:pt x="407174" y="382225"/>
                    <a:pt x="416834" y="389578"/>
                    <a:pt x="419676" y="391684"/>
                  </a:cubicBezTo>
                  <a:cubicBezTo>
                    <a:pt x="424709" y="395628"/>
                    <a:pt x="435100" y="393823"/>
                    <a:pt x="442203" y="392185"/>
                  </a:cubicBezTo>
                  <a:cubicBezTo>
                    <a:pt x="449306" y="390548"/>
                    <a:pt x="460428" y="385501"/>
                    <a:pt x="467653" y="387406"/>
                  </a:cubicBezTo>
                  <a:cubicBezTo>
                    <a:pt x="474878" y="389311"/>
                    <a:pt x="474106" y="397232"/>
                    <a:pt x="482387" y="399840"/>
                  </a:cubicBezTo>
                  <a:cubicBezTo>
                    <a:pt x="491966" y="402814"/>
                    <a:pt x="497324" y="406524"/>
                    <a:pt x="497689" y="414245"/>
                  </a:cubicBezTo>
                  <a:cubicBezTo>
                    <a:pt x="498055" y="421966"/>
                    <a:pt x="504143" y="433530"/>
                    <a:pt x="495497" y="440382"/>
                  </a:cubicBezTo>
                  <a:cubicBezTo>
                    <a:pt x="505401" y="444694"/>
                    <a:pt x="499556" y="444627"/>
                    <a:pt x="498623" y="450410"/>
                  </a:cubicBezTo>
                  <a:cubicBezTo>
                    <a:pt x="497973" y="454654"/>
                    <a:pt x="509298" y="459568"/>
                    <a:pt x="510800" y="463779"/>
                  </a:cubicBezTo>
                  <a:cubicBezTo>
                    <a:pt x="512302" y="467990"/>
                    <a:pt x="509339" y="475444"/>
                    <a:pt x="514006" y="478652"/>
                  </a:cubicBezTo>
                  <a:cubicBezTo>
                    <a:pt x="518674" y="481861"/>
                    <a:pt x="535276" y="476313"/>
                    <a:pt x="541851" y="475978"/>
                  </a:cubicBezTo>
                  <a:cubicBezTo>
                    <a:pt x="547290" y="475678"/>
                    <a:pt x="549969" y="473338"/>
                    <a:pt x="554434" y="472904"/>
                  </a:cubicBezTo>
                  <a:cubicBezTo>
                    <a:pt x="562552" y="472135"/>
                    <a:pt x="570670" y="479588"/>
                    <a:pt x="574120" y="483399"/>
                  </a:cubicBezTo>
                  <a:cubicBezTo>
                    <a:pt x="578219" y="488312"/>
                    <a:pt x="583009" y="492790"/>
                    <a:pt x="588407" y="496768"/>
                  </a:cubicBezTo>
                  <a:cubicBezTo>
                    <a:pt x="594740" y="501213"/>
                    <a:pt x="599651" y="492857"/>
                    <a:pt x="606998" y="491086"/>
                  </a:cubicBezTo>
                  <a:cubicBezTo>
                    <a:pt x="624898" y="486841"/>
                    <a:pt x="618647" y="514282"/>
                    <a:pt x="620636" y="520532"/>
                  </a:cubicBezTo>
                  <a:cubicBezTo>
                    <a:pt x="638739" y="515752"/>
                    <a:pt x="641458" y="518326"/>
                    <a:pt x="646816" y="529389"/>
                  </a:cubicBezTo>
                  <a:cubicBezTo>
                    <a:pt x="651809" y="539650"/>
                    <a:pt x="651159" y="543093"/>
                    <a:pt x="637643" y="551014"/>
                  </a:cubicBezTo>
                  <a:cubicBezTo>
                    <a:pt x="605739" y="569798"/>
                    <a:pt x="594577" y="597506"/>
                    <a:pt x="577205" y="622140"/>
                  </a:cubicBezTo>
                  <a:cubicBezTo>
                    <a:pt x="582563" y="621337"/>
                    <a:pt x="586013" y="618396"/>
                    <a:pt x="591208" y="617527"/>
                  </a:cubicBezTo>
                  <a:cubicBezTo>
                    <a:pt x="601153" y="615889"/>
                    <a:pt x="610448" y="620870"/>
                    <a:pt x="616049" y="625415"/>
                  </a:cubicBezTo>
                  <a:cubicBezTo>
                    <a:pt x="617876" y="626852"/>
                    <a:pt x="621082" y="630963"/>
                    <a:pt x="623842" y="627220"/>
                  </a:cubicBezTo>
                  <a:cubicBezTo>
                    <a:pt x="628956" y="620268"/>
                    <a:pt x="630702" y="621805"/>
                    <a:pt x="639226" y="624613"/>
                  </a:cubicBezTo>
                  <a:cubicBezTo>
                    <a:pt x="651403" y="628557"/>
                    <a:pt x="665812" y="629593"/>
                    <a:pt x="678476" y="632635"/>
                  </a:cubicBezTo>
                  <a:cubicBezTo>
                    <a:pt x="694712" y="636612"/>
                    <a:pt x="688542" y="655229"/>
                    <a:pt x="699258" y="663585"/>
                  </a:cubicBezTo>
                  <a:cubicBezTo>
                    <a:pt x="701531" y="659841"/>
                    <a:pt x="704453" y="656399"/>
                    <a:pt x="707904" y="653357"/>
                  </a:cubicBezTo>
                  <a:cubicBezTo>
                    <a:pt x="720243" y="642194"/>
                    <a:pt x="703764" y="656366"/>
                    <a:pt x="707701" y="65295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5129B2FB-8687-45AC-AC6B-D6EDA9DD5593}"/>
                </a:ext>
              </a:extLst>
            </p:cNvPr>
            <p:cNvSpPr/>
            <p:nvPr/>
          </p:nvSpPr>
          <p:spPr>
            <a:xfrm>
              <a:off x="4431254" y="5685465"/>
              <a:ext cx="123919" cy="61908"/>
            </a:xfrm>
            <a:custGeom>
              <a:avLst/>
              <a:gdLst>
                <a:gd name="connsiteX0" fmla="*/ 115800 w 127184"/>
                <a:gd name="connsiteY0" fmla="*/ 20815 h 84766"/>
                <a:gd name="connsiteX1" fmla="*/ 77483 w 127184"/>
                <a:gd name="connsiteY1" fmla="*/ 8615 h 84766"/>
                <a:gd name="connsiteX2" fmla="*/ 55240 w 127184"/>
                <a:gd name="connsiteY2" fmla="*/ 4070 h 84766"/>
                <a:gd name="connsiteX3" fmla="*/ 43753 w 127184"/>
                <a:gd name="connsiteY3" fmla="*/ 6944 h 84766"/>
                <a:gd name="connsiteX4" fmla="*/ 728 w 127184"/>
                <a:gd name="connsiteY4" fmla="*/ 11623 h 84766"/>
                <a:gd name="connsiteX5" fmla="*/ 4787 w 127184"/>
                <a:gd name="connsiteY5" fmla="*/ 53236 h 84766"/>
                <a:gd name="connsiteX6" fmla="*/ 13839 w 127184"/>
                <a:gd name="connsiteY6" fmla="*/ 75496 h 84766"/>
                <a:gd name="connsiteX7" fmla="*/ 22484 w 127184"/>
                <a:gd name="connsiteY7" fmla="*/ 84420 h 84766"/>
                <a:gd name="connsiteX8" fmla="*/ 59583 w 127184"/>
                <a:gd name="connsiteY8" fmla="*/ 81479 h 84766"/>
                <a:gd name="connsiteX9" fmla="*/ 78214 w 127184"/>
                <a:gd name="connsiteY9" fmla="*/ 76933 h 84766"/>
                <a:gd name="connsiteX10" fmla="*/ 113243 w 127184"/>
                <a:gd name="connsiteY10" fmla="*/ 64967 h 84766"/>
                <a:gd name="connsiteX11" fmla="*/ 127125 w 127184"/>
                <a:gd name="connsiteY11" fmla="*/ 45114 h 84766"/>
                <a:gd name="connsiteX12" fmla="*/ 115963 w 127184"/>
                <a:gd name="connsiteY12" fmla="*/ 20815 h 84766"/>
                <a:gd name="connsiteX13" fmla="*/ 115800 w 127184"/>
                <a:gd name="connsiteY13" fmla="*/ 20815 h 8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184" h="84766">
                  <a:moveTo>
                    <a:pt x="115800" y="20815"/>
                  </a:moveTo>
                  <a:cubicBezTo>
                    <a:pt x="112756" y="12024"/>
                    <a:pt x="88361" y="10487"/>
                    <a:pt x="77483" y="8615"/>
                  </a:cubicBezTo>
                  <a:cubicBezTo>
                    <a:pt x="73425" y="7847"/>
                    <a:pt x="58852" y="1396"/>
                    <a:pt x="55240" y="4070"/>
                  </a:cubicBezTo>
                  <a:cubicBezTo>
                    <a:pt x="49192" y="8548"/>
                    <a:pt x="51181" y="12793"/>
                    <a:pt x="43753" y="6944"/>
                  </a:cubicBezTo>
                  <a:cubicBezTo>
                    <a:pt x="32835" y="-1980"/>
                    <a:pt x="4503" y="-5088"/>
                    <a:pt x="728" y="11623"/>
                  </a:cubicBezTo>
                  <a:cubicBezTo>
                    <a:pt x="-2397" y="25528"/>
                    <a:pt x="4787" y="39699"/>
                    <a:pt x="4787" y="53236"/>
                  </a:cubicBezTo>
                  <a:cubicBezTo>
                    <a:pt x="4787" y="59920"/>
                    <a:pt x="-3" y="75296"/>
                    <a:pt x="13839" y="75496"/>
                  </a:cubicBezTo>
                  <a:cubicBezTo>
                    <a:pt x="20090" y="75496"/>
                    <a:pt x="12296" y="84253"/>
                    <a:pt x="22484" y="84420"/>
                  </a:cubicBezTo>
                  <a:cubicBezTo>
                    <a:pt x="34337" y="84620"/>
                    <a:pt x="46838" y="80744"/>
                    <a:pt x="59583" y="81479"/>
                  </a:cubicBezTo>
                  <a:cubicBezTo>
                    <a:pt x="68270" y="81980"/>
                    <a:pt x="70218" y="78136"/>
                    <a:pt x="78214" y="76933"/>
                  </a:cubicBezTo>
                  <a:cubicBezTo>
                    <a:pt x="91040" y="75128"/>
                    <a:pt x="103745" y="72220"/>
                    <a:pt x="113243" y="64967"/>
                  </a:cubicBezTo>
                  <a:cubicBezTo>
                    <a:pt x="120590" y="59352"/>
                    <a:pt x="122944" y="51799"/>
                    <a:pt x="127125" y="45114"/>
                  </a:cubicBezTo>
                  <a:cubicBezTo>
                    <a:pt x="118520" y="38429"/>
                    <a:pt x="119007" y="29305"/>
                    <a:pt x="115963" y="20815"/>
                  </a:cubicBezTo>
                  <a:cubicBezTo>
                    <a:pt x="113121" y="12927"/>
                    <a:pt x="117708" y="26196"/>
                    <a:pt x="115800" y="2081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2BA7DAE8-AA69-41B2-85E9-9B960ECF8C64}"/>
                </a:ext>
              </a:extLst>
            </p:cNvPr>
            <p:cNvSpPr/>
            <p:nvPr/>
          </p:nvSpPr>
          <p:spPr>
            <a:xfrm>
              <a:off x="4131159" y="5608227"/>
              <a:ext cx="375413" cy="492419"/>
            </a:xfrm>
            <a:custGeom>
              <a:avLst/>
              <a:gdLst>
                <a:gd name="connsiteX0" fmla="*/ 305767 w 385303"/>
                <a:gd name="connsiteY0" fmla="*/ 647979 h 674234"/>
                <a:gd name="connsiteX1" fmla="*/ 254056 w 385303"/>
                <a:gd name="connsiteY1" fmla="*/ 639222 h 674234"/>
                <a:gd name="connsiteX2" fmla="*/ 244598 w 385303"/>
                <a:gd name="connsiteY2" fmla="*/ 633673 h 674234"/>
                <a:gd name="connsiteX3" fmla="*/ 235181 w 385303"/>
                <a:gd name="connsiteY3" fmla="*/ 634709 h 674234"/>
                <a:gd name="connsiteX4" fmla="*/ 227834 w 385303"/>
                <a:gd name="connsiteY4" fmla="*/ 621039 h 674234"/>
                <a:gd name="connsiteX5" fmla="*/ 251011 w 385303"/>
                <a:gd name="connsiteY5" fmla="*/ 673882 h 674234"/>
                <a:gd name="connsiteX6" fmla="*/ 272037 w 385303"/>
                <a:gd name="connsiteY6" fmla="*/ 667197 h 674234"/>
                <a:gd name="connsiteX7" fmla="*/ 294970 w 385303"/>
                <a:gd name="connsiteY7" fmla="*/ 664122 h 674234"/>
                <a:gd name="connsiteX8" fmla="*/ 304062 w 385303"/>
                <a:gd name="connsiteY8" fmla="*/ 657437 h 674234"/>
                <a:gd name="connsiteX9" fmla="*/ 318472 w 385303"/>
                <a:gd name="connsiteY9" fmla="*/ 651488 h 674234"/>
                <a:gd name="connsiteX10" fmla="*/ 305767 w 385303"/>
                <a:gd name="connsiteY10" fmla="*/ 647979 h 674234"/>
                <a:gd name="connsiteX11" fmla="*/ 372943 w 385303"/>
                <a:gd name="connsiteY11" fmla="*/ 4508 h 674234"/>
                <a:gd name="connsiteX12" fmla="*/ 356342 w 385303"/>
                <a:gd name="connsiteY12" fmla="*/ 7850 h 674234"/>
                <a:gd name="connsiteX13" fmla="*/ 348833 w 385303"/>
                <a:gd name="connsiteY13" fmla="*/ 38199 h 674234"/>
                <a:gd name="connsiteX14" fmla="*/ 339335 w 385303"/>
                <a:gd name="connsiteY14" fmla="*/ 46454 h 674234"/>
                <a:gd name="connsiteX15" fmla="*/ 328416 w 385303"/>
                <a:gd name="connsiteY15" fmla="*/ 51067 h 674234"/>
                <a:gd name="connsiteX16" fmla="*/ 291235 w 385303"/>
                <a:gd name="connsiteY16" fmla="*/ 60258 h 674234"/>
                <a:gd name="connsiteX17" fmla="*/ 266882 w 385303"/>
                <a:gd name="connsiteY17" fmla="*/ 62631 h 674234"/>
                <a:gd name="connsiteX18" fmla="*/ 270941 w 385303"/>
                <a:gd name="connsiteY18" fmla="*/ 49797 h 674234"/>
                <a:gd name="connsiteX19" fmla="*/ 270941 w 385303"/>
                <a:gd name="connsiteY19" fmla="*/ 21553 h 674234"/>
                <a:gd name="connsiteX20" fmla="*/ 222233 w 385303"/>
                <a:gd name="connsiteY20" fmla="*/ 16908 h 674234"/>
                <a:gd name="connsiteX21" fmla="*/ 187164 w 385303"/>
                <a:gd name="connsiteY21" fmla="*/ 18011 h 674234"/>
                <a:gd name="connsiteX22" fmla="*/ 151566 w 385303"/>
                <a:gd name="connsiteY22" fmla="*/ 10290 h 674234"/>
                <a:gd name="connsiteX23" fmla="*/ 123153 w 385303"/>
                <a:gd name="connsiteY23" fmla="*/ -339 h 674234"/>
                <a:gd name="connsiteX24" fmla="*/ 97663 w 385303"/>
                <a:gd name="connsiteY24" fmla="*/ 8452 h 674234"/>
                <a:gd name="connsiteX25" fmla="*/ 90316 w 385303"/>
                <a:gd name="connsiteY25" fmla="*/ 21253 h 674234"/>
                <a:gd name="connsiteX26" fmla="*/ 78464 w 385303"/>
                <a:gd name="connsiteY26" fmla="*/ 17442 h 674234"/>
                <a:gd name="connsiteX27" fmla="*/ 55815 w 385303"/>
                <a:gd name="connsiteY27" fmla="*/ 20551 h 674234"/>
                <a:gd name="connsiteX28" fmla="*/ 33937 w 385303"/>
                <a:gd name="connsiteY28" fmla="*/ 27236 h 674234"/>
                <a:gd name="connsiteX29" fmla="*/ 19893 w 385303"/>
                <a:gd name="connsiteY29" fmla="*/ 42209 h 674234"/>
                <a:gd name="connsiteX30" fmla="*/ 23019 w 385303"/>
                <a:gd name="connsiteY30" fmla="*/ 56281 h 674234"/>
                <a:gd name="connsiteX31" fmla="*/ 4388 w 385303"/>
                <a:gd name="connsiteY31" fmla="*/ 91275 h 674234"/>
                <a:gd name="connsiteX32" fmla="*/ 10720 w 385303"/>
                <a:gd name="connsiteY32" fmla="*/ 104912 h 674234"/>
                <a:gd name="connsiteX33" fmla="*/ 13521 w 385303"/>
                <a:gd name="connsiteY33" fmla="*/ 117914 h 674234"/>
                <a:gd name="connsiteX34" fmla="*/ 11978 w 385303"/>
                <a:gd name="connsiteY34" fmla="*/ 130648 h 674234"/>
                <a:gd name="connsiteX35" fmla="*/ 6986 w 385303"/>
                <a:gd name="connsiteY35" fmla="*/ 151939 h 674234"/>
                <a:gd name="connsiteX36" fmla="*/ 2439 w 385303"/>
                <a:gd name="connsiteY36" fmla="*/ 172194 h 674234"/>
                <a:gd name="connsiteX37" fmla="*/ 6174 w 385303"/>
                <a:gd name="connsiteY37" fmla="*/ 186131 h 674234"/>
                <a:gd name="connsiteX38" fmla="*/ 532 w 385303"/>
                <a:gd name="connsiteY38" fmla="*/ 215444 h 674234"/>
                <a:gd name="connsiteX39" fmla="*/ 15997 w 385303"/>
                <a:gd name="connsiteY39" fmla="*/ 232390 h 674234"/>
                <a:gd name="connsiteX40" fmla="*/ 33653 w 385303"/>
                <a:gd name="connsiteY40" fmla="*/ 249503 h 674234"/>
                <a:gd name="connsiteX41" fmla="*/ 36576 w 385303"/>
                <a:gd name="connsiteY41" fmla="*/ 270559 h 674234"/>
                <a:gd name="connsiteX42" fmla="*/ 33978 w 385303"/>
                <a:gd name="connsiteY42" fmla="*/ 287839 h 674234"/>
                <a:gd name="connsiteX43" fmla="*/ 37468 w 385303"/>
                <a:gd name="connsiteY43" fmla="*/ 310266 h 674234"/>
                <a:gd name="connsiteX44" fmla="*/ 43395 w 385303"/>
                <a:gd name="connsiteY44" fmla="*/ 346498 h 674234"/>
                <a:gd name="connsiteX45" fmla="*/ 53055 w 385303"/>
                <a:gd name="connsiteY45" fmla="*/ 353951 h 674234"/>
                <a:gd name="connsiteX46" fmla="*/ 43151 w 385303"/>
                <a:gd name="connsiteY46" fmla="*/ 362508 h 674234"/>
                <a:gd name="connsiteX47" fmla="*/ 47900 w 385303"/>
                <a:gd name="connsiteY47" fmla="*/ 375041 h 674234"/>
                <a:gd name="connsiteX48" fmla="*/ 43232 w 385303"/>
                <a:gd name="connsiteY48" fmla="*/ 380757 h 674234"/>
                <a:gd name="connsiteX49" fmla="*/ 46033 w 385303"/>
                <a:gd name="connsiteY49" fmla="*/ 392956 h 674234"/>
                <a:gd name="connsiteX50" fmla="*/ 50539 w 385303"/>
                <a:gd name="connsiteY50" fmla="*/ 407730 h 674234"/>
                <a:gd name="connsiteX51" fmla="*/ 60077 w 385303"/>
                <a:gd name="connsiteY51" fmla="*/ 422202 h 674234"/>
                <a:gd name="connsiteX52" fmla="*/ 64380 w 385303"/>
                <a:gd name="connsiteY52" fmla="*/ 446635 h 674234"/>
                <a:gd name="connsiteX53" fmla="*/ 74040 w 385303"/>
                <a:gd name="connsiteY53" fmla="*/ 457531 h 674234"/>
                <a:gd name="connsiteX54" fmla="*/ 80818 w 385303"/>
                <a:gd name="connsiteY54" fmla="*/ 471168 h 674234"/>
                <a:gd name="connsiteX55" fmla="*/ 97257 w 385303"/>
                <a:gd name="connsiteY55" fmla="*/ 470633 h 674234"/>
                <a:gd name="connsiteX56" fmla="*/ 85080 w 385303"/>
                <a:gd name="connsiteY56" fmla="*/ 480660 h 674234"/>
                <a:gd name="connsiteX57" fmla="*/ 96364 w 385303"/>
                <a:gd name="connsiteY57" fmla="*/ 491423 h 674234"/>
                <a:gd name="connsiteX58" fmla="*/ 99977 w 385303"/>
                <a:gd name="connsiteY58" fmla="*/ 508368 h 674234"/>
                <a:gd name="connsiteX59" fmla="*/ 105497 w 385303"/>
                <a:gd name="connsiteY59" fmla="*/ 515554 h 674234"/>
                <a:gd name="connsiteX60" fmla="*/ 102493 w 385303"/>
                <a:gd name="connsiteY60" fmla="*/ 521704 h 674234"/>
                <a:gd name="connsiteX61" fmla="*/ 98434 w 385303"/>
                <a:gd name="connsiteY61" fmla="*/ 538416 h 674234"/>
                <a:gd name="connsiteX62" fmla="*/ 103752 w 385303"/>
                <a:gd name="connsiteY62" fmla="*/ 552053 h 674234"/>
                <a:gd name="connsiteX63" fmla="*/ 102290 w 385303"/>
                <a:gd name="connsiteY63" fmla="*/ 568765 h 674234"/>
                <a:gd name="connsiteX64" fmla="*/ 92549 w 385303"/>
                <a:gd name="connsiteY64" fmla="*/ 584808 h 674234"/>
                <a:gd name="connsiteX65" fmla="*/ 94172 w 385303"/>
                <a:gd name="connsiteY65" fmla="*/ 594033 h 674234"/>
                <a:gd name="connsiteX66" fmla="*/ 105253 w 385303"/>
                <a:gd name="connsiteY66" fmla="*/ 605063 h 674234"/>
                <a:gd name="connsiteX67" fmla="*/ 122504 w 385303"/>
                <a:gd name="connsiteY67" fmla="*/ 605564 h 674234"/>
                <a:gd name="connsiteX68" fmla="*/ 132814 w 385303"/>
                <a:gd name="connsiteY68" fmla="*/ 613753 h 674234"/>
                <a:gd name="connsiteX69" fmla="*/ 164433 w 385303"/>
                <a:gd name="connsiteY69" fmla="*/ 624582 h 674234"/>
                <a:gd name="connsiteX70" fmla="*/ 218864 w 385303"/>
                <a:gd name="connsiteY70" fmla="*/ 615457 h 674234"/>
                <a:gd name="connsiteX71" fmla="*/ 224060 w 385303"/>
                <a:gd name="connsiteY71" fmla="*/ 609341 h 674234"/>
                <a:gd name="connsiteX72" fmla="*/ 205185 w 385303"/>
                <a:gd name="connsiteY72" fmla="*/ 594534 h 674234"/>
                <a:gd name="connsiteX73" fmla="*/ 200517 w 385303"/>
                <a:gd name="connsiteY73" fmla="*/ 574480 h 674234"/>
                <a:gd name="connsiteX74" fmla="*/ 206809 w 385303"/>
                <a:gd name="connsiteY74" fmla="*/ 565623 h 674234"/>
                <a:gd name="connsiteX75" fmla="*/ 214562 w 385303"/>
                <a:gd name="connsiteY75" fmla="*/ 562280 h 674234"/>
                <a:gd name="connsiteX76" fmla="*/ 217322 w 385303"/>
                <a:gd name="connsiteY76" fmla="*/ 541491 h 674234"/>
                <a:gd name="connsiteX77" fmla="*/ 237048 w 385303"/>
                <a:gd name="connsiteY77" fmla="*/ 515722 h 674234"/>
                <a:gd name="connsiteX78" fmla="*/ 244598 w 385303"/>
                <a:gd name="connsiteY78" fmla="*/ 501784 h 674234"/>
                <a:gd name="connsiteX79" fmla="*/ 241879 w 385303"/>
                <a:gd name="connsiteY79" fmla="*/ 485673 h 674234"/>
                <a:gd name="connsiteX80" fmla="*/ 219148 w 385303"/>
                <a:gd name="connsiteY80" fmla="*/ 488782 h 674234"/>
                <a:gd name="connsiteX81" fmla="*/ 195728 w 385303"/>
                <a:gd name="connsiteY81" fmla="*/ 480092 h 674234"/>
                <a:gd name="connsiteX82" fmla="*/ 219473 w 385303"/>
                <a:gd name="connsiteY82" fmla="*/ 444663 h 674234"/>
                <a:gd name="connsiteX83" fmla="*/ 225927 w 385303"/>
                <a:gd name="connsiteY83" fmla="*/ 432831 h 674234"/>
                <a:gd name="connsiteX84" fmla="*/ 224262 w 385303"/>
                <a:gd name="connsiteY84" fmla="*/ 409434 h 674234"/>
                <a:gd name="connsiteX85" fmla="*/ 236724 w 385303"/>
                <a:gd name="connsiteY85" fmla="*/ 394327 h 674234"/>
                <a:gd name="connsiteX86" fmla="*/ 231934 w 385303"/>
                <a:gd name="connsiteY86" fmla="*/ 387174 h 674234"/>
                <a:gd name="connsiteX87" fmla="*/ 250199 w 385303"/>
                <a:gd name="connsiteY87" fmla="*/ 387408 h 674234"/>
                <a:gd name="connsiteX88" fmla="*/ 242447 w 385303"/>
                <a:gd name="connsiteY88" fmla="*/ 374908 h 674234"/>
                <a:gd name="connsiteX89" fmla="*/ 225358 w 385303"/>
                <a:gd name="connsiteY89" fmla="*/ 380256 h 674234"/>
                <a:gd name="connsiteX90" fmla="*/ 213181 w 385303"/>
                <a:gd name="connsiteY90" fmla="*/ 369226 h 674234"/>
                <a:gd name="connsiteX91" fmla="*/ 207418 w 385303"/>
                <a:gd name="connsiteY91" fmla="*/ 353149 h 674234"/>
                <a:gd name="connsiteX92" fmla="*/ 240255 w 385303"/>
                <a:gd name="connsiteY92" fmla="*/ 351913 h 674234"/>
                <a:gd name="connsiteX93" fmla="*/ 267572 w 385303"/>
                <a:gd name="connsiteY93" fmla="*/ 338877 h 674234"/>
                <a:gd name="connsiteX94" fmla="*/ 264609 w 385303"/>
                <a:gd name="connsiteY94" fmla="*/ 318422 h 674234"/>
                <a:gd name="connsiteX95" fmla="*/ 257100 w 385303"/>
                <a:gd name="connsiteY95" fmla="*/ 303482 h 674234"/>
                <a:gd name="connsiteX96" fmla="*/ 278815 w 385303"/>
                <a:gd name="connsiteY96" fmla="*/ 296329 h 674234"/>
                <a:gd name="connsiteX97" fmla="*/ 356626 w 385303"/>
                <a:gd name="connsiteY97" fmla="*/ 262337 h 674234"/>
                <a:gd name="connsiteX98" fmla="*/ 364744 w 385303"/>
                <a:gd name="connsiteY98" fmla="*/ 248567 h 674234"/>
                <a:gd name="connsiteX99" fmla="*/ 376921 w 385303"/>
                <a:gd name="connsiteY99" fmla="*/ 226808 h 674234"/>
                <a:gd name="connsiteX100" fmla="*/ 358168 w 385303"/>
                <a:gd name="connsiteY100" fmla="*/ 218419 h 674234"/>
                <a:gd name="connsiteX101" fmla="*/ 352323 w 385303"/>
                <a:gd name="connsiteY101" fmla="*/ 199935 h 674234"/>
                <a:gd name="connsiteX102" fmla="*/ 321800 w 385303"/>
                <a:gd name="connsiteY102" fmla="*/ 199501 h 674234"/>
                <a:gd name="connsiteX103" fmla="*/ 315062 w 385303"/>
                <a:gd name="connsiteY103" fmla="*/ 194153 h 674234"/>
                <a:gd name="connsiteX104" fmla="*/ 321516 w 385303"/>
                <a:gd name="connsiteY104" fmla="*/ 188605 h 674234"/>
                <a:gd name="connsiteX105" fmla="*/ 323707 w 385303"/>
                <a:gd name="connsiteY105" fmla="*/ 188872 h 674234"/>
                <a:gd name="connsiteX106" fmla="*/ 313966 w 385303"/>
                <a:gd name="connsiteY106" fmla="*/ 177608 h 674234"/>
                <a:gd name="connsiteX107" fmla="*/ 310800 w 385303"/>
                <a:gd name="connsiteY107" fmla="*/ 150569 h 674234"/>
                <a:gd name="connsiteX108" fmla="*/ 309217 w 385303"/>
                <a:gd name="connsiteY108" fmla="*/ 123395 h 674234"/>
                <a:gd name="connsiteX109" fmla="*/ 322652 w 385303"/>
                <a:gd name="connsiteY109" fmla="*/ 96122 h 674234"/>
                <a:gd name="connsiteX110" fmla="*/ 368315 w 385303"/>
                <a:gd name="connsiteY110" fmla="*/ 41273 h 674234"/>
                <a:gd name="connsiteX111" fmla="*/ 384551 w 385303"/>
                <a:gd name="connsiteY111" fmla="*/ 22623 h 674234"/>
                <a:gd name="connsiteX112" fmla="*/ 372374 w 385303"/>
                <a:gd name="connsiteY112" fmla="*/ 4775 h 674234"/>
                <a:gd name="connsiteX113" fmla="*/ 372943 w 385303"/>
                <a:gd name="connsiteY113" fmla="*/ 4474 h 67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85303" h="674234">
                  <a:moveTo>
                    <a:pt x="305767" y="647979"/>
                  </a:moveTo>
                  <a:cubicBezTo>
                    <a:pt x="289531" y="651989"/>
                    <a:pt x="268587" y="642664"/>
                    <a:pt x="254056" y="639222"/>
                  </a:cubicBezTo>
                  <a:cubicBezTo>
                    <a:pt x="250605" y="638386"/>
                    <a:pt x="247805" y="633907"/>
                    <a:pt x="244598" y="633673"/>
                  </a:cubicBezTo>
                  <a:cubicBezTo>
                    <a:pt x="242853" y="633673"/>
                    <a:pt x="235952" y="637584"/>
                    <a:pt x="235181" y="634709"/>
                  </a:cubicBezTo>
                  <a:cubicBezTo>
                    <a:pt x="233761" y="629529"/>
                    <a:pt x="247034" y="618733"/>
                    <a:pt x="227834" y="621039"/>
                  </a:cubicBezTo>
                  <a:cubicBezTo>
                    <a:pt x="229783" y="626520"/>
                    <a:pt x="244923" y="674851"/>
                    <a:pt x="251011" y="673882"/>
                  </a:cubicBezTo>
                  <a:cubicBezTo>
                    <a:pt x="258074" y="672746"/>
                    <a:pt x="265218" y="669069"/>
                    <a:pt x="272037" y="667197"/>
                  </a:cubicBezTo>
                  <a:cubicBezTo>
                    <a:pt x="278856" y="665325"/>
                    <a:pt x="288557" y="666495"/>
                    <a:pt x="294970" y="664122"/>
                  </a:cubicBezTo>
                  <a:cubicBezTo>
                    <a:pt x="298420" y="662852"/>
                    <a:pt x="300368" y="659108"/>
                    <a:pt x="304062" y="657437"/>
                  </a:cubicBezTo>
                  <a:cubicBezTo>
                    <a:pt x="308811" y="655365"/>
                    <a:pt x="313966" y="654095"/>
                    <a:pt x="318472" y="651488"/>
                  </a:cubicBezTo>
                  <a:cubicBezTo>
                    <a:pt x="334139" y="643032"/>
                    <a:pt x="311490" y="646475"/>
                    <a:pt x="305767" y="647979"/>
                  </a:cubicBezTo>
                  <a:close/>
                  <a:moveTo>
                    <a:pt x="372943" y="4508"/>
                  </a:moveTo>
                  <a:cubicBezTo>
                    <a:pt x="368031" y="4073"/>
                    <a:pt x="360969" y="6446"/>
                    <a:pt x="356342" y="7850"/>
                  </a:cubicBezTo>
                  <a:cubicBezTo>
                    <a:pt x="359995" y="19381"/>
                    <a:pt x="362958" y="29341"/>
                    <a:pt x="348833" y="38199"/>
                  </a:cubicBezTo>
                  <a:cubicBezTo>
                    <a:pt x="344774" y="40605"/>
                    <a:pt x="343150" y="44048"/>
                    <a:pt x="339335" y="46454"/>
                  </a:cubicBezTo>
                  <a:cubicBezTo>
                    <a:pt x="335519" y="48861"/>
                    <a:pt x="331907" y="48727"/>
                    <a:pt x="328416" y="51067"/>
                  </a:cubicBezTo>
                  <a:cubicBezTo>
                    <a:pt x="322165" y="55245"/>
                    <a:pt x="299232" y="61395"/>
                    <a:pt x="291235" y="60258"/>
                  </a:cubicBezTo>
                  <a:cubicBezTo>
                    <a:pt x="287542" y="59723"/>
                    <a:pt x="268059" y="65372"/>
                    <a:pt x="266882" y="62631"/>
                  </a:cubicBezTo>
                  <a:cubicBezTo>
                    <a:pt x="265583" y="59289"/>
                    <a:pt x="272849" y="54810"/>
                    <a:pt x="270941" y="49797"/>
                  </a:cubicBezTo>
                  <a:cubicBezTo>
                    <a:pt x="266882" y="38700"/>
                    <a:pt x="296472" y="22523"/>
                    <a:pt x="270941" y="21553"/>
                  </a:cubicBezTo>
                  <a:cubicBezTo>
                    <a:pt x="252878" y="20885"/>
                    <a:pt x="238469" y="20518"/>
                    <a:pt x="222233" y="16908"/>
                  </a:cubicBezTo>
                  <a:cubicBezTo>
                    <a:pt x="210503" y="14334"/>
                    <a:pt x="198691" y="19481"/>
                    <a:pt x="187164" y="18011"/>
                  </a:cubicBezTo>
                  <a:cubicBezTo>
                    <a:pt x="175068" y="16206"/>
                    <a:pt x="163175" y="13599"/>
                    <a:pt x="151566" y="10290"/>
                  </a:cubicBezTo>
                  <a:cubicBezTo>
                    <a:pt x="141500" y="7917"/>
                    <a:pt x="131961" y="4307"/>
                    <a:pt x="123153" y="-339"/>
                  </a:cubicBezTo>
                  <a:cubicBezTo>
                    <a:pt x="116050" y="1065"/>
                    <a:pt x="99814" y="2268"/>
                    <a:pt x="97663" y="8452"/>
                  </a:cubicBezTo>
                  <a:cubicBezTo>
                    <a:pt x="96973" y="10424"/>
                    <a:pt x="95674" y="21821"/>
                    <a:pt x="90316" y="21253"/>
                  </a:cubicBezTo>
                  <a:cubicBezTo>
                    <a:pt x="85811" y="20751"/>
                    <a:pt x="83660" y="17910"/>
                    <a:pt x="78464" y="17442"/>
                  </a:cubicBezTo>
                  <a:cubicBezTo>
                    <a:pt x="70793" y="17610"/>
                    <a:pt x="63162" y="18646"/>
                    <a:pt x="55815" y="20551"/>
                  </a:cubicBezTo>
                  <a:cubicBezTo>
                    <a:pt x="44572" y="22690"/>
                    <a:pt x="40959" y="17710"/>
                    <a:pt x="33937" y="27236"/>
                  </a:cubicBezTo>
                  <a:cubicBezTo>
                    <a:pt x="29919" y="32617"/>
                    <a:pt x="25223" y="37664"/>
                    <a:pt x="19893" y="42209"/>
                  </a:cubicBezTo>
                  <a:cubicBezTo>
                    <a:pt x="21428" y="46822"/>
                    <a:pt x="22471" y="51535"/>
                    <a:pt x="23019" y="56281"/>
                  </a:cubicBezTo>
                  <a:cubicBezTo>
                    <a:pt x="24602" y="70787"/>
                    <a:pt x="-3974" y="77070"/>
                    <a:pt x="4388" y="91275"/>
                  </a:cubicBezTo>
                  <a:cubicBezTo>
                    <a:pt x="7797" y="97058"/>
                    <a:pt x="4104" y="99498"/>
                    <a:pt x="10720" y="104912"/>
                  </a:cubicBezTo>
                  <a:cubicBezTo>
                    <a:pt x="16321" y="109525"/>
                    <a:pt x="10355" y="115206"/>
                    <a:pt x="13521" y="117914"/>
                  </a:cubicBezTo>
                  <a:cubicBezTo>
                    <a:pt x="20299" y="123763"/>
                    <a:pt x="21639" y="122994"/>
                    <a:pt x="11978" y="130648"/>
                  </a:cubicBezTo>
                  <a:cubicBezTo>
                    <a:pt x="3657" y="137333"/>
                    <a:pt x="16565" y="145422"/>
                    <a:pt x="6986" y="151939"/>
                  </a:cubicBezTo>
                  <a:cubicBezTo>
                    <a:pt x="-2594" y="158457"/>
                    <a:pt x="6133" y="165576"/>
                    <a:pt x="2439" y="172194"/>
                  </a:cubicBezTo>
                  <a:cubicBezTo>
                    <a:pt x="-1863" y="179848"/>
                    <a:pt x="-605" y="178879"/>
                    <a:pt x="6174" y="186131"/>
                  </a:cubicBezTo>
                  <a:cubicBezTo>
                    <a:pt x="13602" y="194020"/>
                    <a:pt x="897" y="206185"/>
                    <a:pt x="532" y="215444"/>
                  </a:cubicBezTo>
                  <a:cubicBezTo>
                    <a:pt x="166" y="224702"/>
                    <a:pt x="8284" y="227543"/>
                    <a:pt x="15997" y="232390"/>
                  </a:cubicBezTo>
                  <a:cubicBezTo>
                    <a:pt x="23708" y="237236"/>
                    <a:pt x="26144" y="244422"/>
                    <a:pt x="33653" y="249503"/>
                  </a:cubicBezTo>
                  <a:cubicBezTo>
                    <a:pt x="38280" y="252845"/>
                    <a:pt x="41081" y="266214"/>
                    <a:pt x="36576" y="270559"/>
                  </a:cubicBezTo>
                  <a:cubicBezTo>
                    <a:pt x="34708" y="276175"/>
                    <a:pt x="33816" y="281990"/>
                    <a:pt x="33978" y="287839"/>
                  </a:cubicBezTo>
                  <a:cubicBezTo>
                    <a:pt x="38280" y="298100"/>
                    <a:pt x="48306" y="299538"/>
                    <a:pt x="37468" y="310266"/>
                  </a:cubicBezTo>
                  <a:cubicBezTo>
                    <a:pt x="23749" y="323870"/>
                    <a:pt x="42421" y="333663"/>
                    <a:pt x="43395" y="346498"/>
                  </a:cubicBezTo>
                  <a:cubicBezTo>
                    <a:pt x="43679" y="350341"/>
                    <a:pt x="52081" y="349272"/>
                    <a:pt x="53055" y="353951"/>
                  </a:cubicBezTo>
                  <a:cubicBezTo>
                    <a:pt x="54232" y="359366"/>
                    <a:pt x="46480" y="359098"/>
                    <a:pt x="43151" y="362508"/>
                  </a:cubicBezTo>
                  <a:cubicBezTo>
                    <a:pt x="39823" y="365917"/>
                    <a:pt x="48184" y="371566"/>
                    <a:pt x="47900" y="375041"/>
                  </a:cubicBezTo>
                  <a:cubicBezTo>
                    <a:pt x="47900" y="377281"/>
                    <a:pt x="43841" y="378117"/>
                    <a:pt x="43232" y="380757"/>
                  </a:cubicBezTo>
                  <a:cubicBezTo>
                    <a:pt x="42542" y="385135"/>
                    <a:pt x="46114" y="388678"/>
                    <a:pt x="46033" y="392956"/>
                  </a:cubicBezTo>
                  <a:cubicBezTo>
                    <a:pt x="45789" y="400644"/>
                    <a:pt x="42421" y="401647"/>
                    <a:pt x="50539" y="407730"/>
                  </a:cubicBezTo>
                  <a:cubicBezTo>
                    <a:pt x="55166" y="411072"/>
                    <a:pt x="57926" y="417757"/>
                    <a:pt x="60077" y="422202"/>
                  </a:cubicBezTo>
                  <a:cubicBezTo>
                    <a:pt x="62228" y="426648"/>
                    <a:pt x="51959" y="444997"/>
                    <a:pt x="64380" y="446635"/>
                  </a:cubicBezTo>
                  <a:cubicBezTo>
                    <a:pt x="73066" y="447738"/>
                    <a:pt x="67505" y="455125"/>
                    <a:pt x="74040" y="457531"/>
                  </a:cubicBezTo>
                  <a:cubicBezTo>
                    <a:pt x="83091" y="460873"/>
                    <a:pt x="72173" y="468929"/>
                    <a:pt x="80818" y="471168"/>
                  </a:cubicBezTo>
                  <a:cubicBezTo>
                    <a:pt x="86826" y="472738"/>
                    <a:pt x="92183" y="465887"/>
                    <a:pt x="97257" y="470633"/>
                  </a:cubicBezTo>
                  <a:cubicBezTo>
                    <a:pt x="103995" y="476916"/>
                    <a:pt x="83132" y="477317"/>
                    <a:pt x="85080" y="480660"/>
                  </a:cubicBezTo>
                  <a:cubicBezTo>
                    <a:pt x="87029" y="484002"/>
                    <a:pt x="107729" y="484002"/>
                    <a:pt x="96364" y="491423"/>
                  </a:cubicBezTo>
                  <a:cubicBezTo>
                    <a:pt x="90682" y="495199"/>
                    <a:pt x="97379" y="504558"/>
                    <a:pt x="99977" y="508368"/>
                  </a:cubicBezTo>
                  <a:cubicBezTo>
                    <a:pt x="101316" y="510307"/>
                    <a:pt x="105903" y="513014"/>
                    <a:pt x="105497" y="515554"/>
                  </a:cubicBezTo>
                  <a:cubicBezTo>
                    <a:pt x="105091" y="518095"/>
                    <a:pt x="100789" y="518261"/>
                    <a:pt x="102493" y="521704"/>
                  </a:cubicBezTo>
                  <a:cubicBezTo>
                    <a:pt x="106552" y="530194"/>
                    <a:pt x="96324" y="530528"/>
                    <a:pt x="98434" y="538416"/>
                  </a:cubicBezTo>
                  <a:cubicBezTo>
                    <a:pt x="100545" y="546304"/>
                    <a:pt x="96324" y="545636"/>
                    <a:pt x="103752" y="552053"/>
                  </a:cubicBezTo>
                  <a:cubicBezTo>
                    <a:pt x="104929" y="553055"/>
                    <a:pt x="103386" y="566793"/>
                    <a:pt x="102290" y="568765"/>
                  </a:cubicBezTo>
                  <a:cubicBezTo>
                    <a:pt x="98637" y="575148"/>
                    <a:pt x="90114" y="575784"/>
                    <a:pt x="92549" y="584808"/>
                  </a:cubicBezTo>
                  <a:cubicBezTo>
                    <a:pt x="92833" y="587916"/>
                    <a:pt x="93401" y="590991"/>
                    <a:pt x="94172" y="594033"/>
                  </a:cubicBezTo>
                  <a:cubicBezTo>
                    <a:pt x="96324" y="599046"/>
                    <a:pt x="104076" y="599715"/>
                    <a:pt x="105253" y="605063"/>
                  </a:cubicBezTo>
                  <a:cubicBezTo>
                    <a:pt x="106715" y="611747"/>
                    <a:pt x="116781" y="607035"/>
                    <a:pt x="122504" y="605564"/>
                  </a:cubicBezTo>
                  <a:cubicBezTo>
                    <a:pt x="132855" y="602957"/>
                    <a:pt x="130825" y="608004"/>
                    <a:pt x="132814" y="613753"/>
                  </a:cubicBezTo>
                  <a:cubicBezTo>
                    <a:pt x="137279" y="626520"/>
                    <a:pt x="148522" y="630465"/>
                    <a:pt x="164433" y="624582"/>
                  </a:cubicBezTo>
                  <a:cubicBezTo>
                    <a:pt x="183592" y="617362"/>
                    <a:pt x="199421" y="616427"/>
                    <a:pt x="218864" y="615457"/>
                  </a:cubicBezTo>
                  <a:cubicBezTo>
                    <a:pt x="226130" y="615090"/>
                    <a:pt x="232583" y="613452"/>
                    <a:pt x="224060" y="609341"/>
                  </a:cubicBezTo>
                  <a:cubicBezTo>
                    <a:pt x="216104" y="606065"/>
                    <a:pt x="209528" y="600918"/>
                    <a:pt x="205185" y="594534"/>
                  </a:cubicBezTo>
                  <a:cubicBezTo>
                    <a:pt x="201126" y="589588"/>
                    <a:pt x="194957" y="580363"/>
                    <a:pt x="200517" y="574480"/>
                  </a:cubicBezTo>
                  <a:cubicBezTo>
                    <a:pt x="202953" y="571906"/>
                    <a:pt x="203927" y="567795"/>
                    <a:pt x="206809" y="565623"/>
                  </a:cubicBezTo>
                  <a:cubicBezTo>
                    <a:pt x="208879" y="563985"/>
                    <a:pt x="212289" y="564119"/>
                    <a:pt x="214562" y="562280"/>
                  </a:cubicBezTo>
                  <a:cubicBezTo>
                    <a:pt x="222680" y="555596"/>
                    <a:pt x="216104" y="548677"/>
                    <a:pt x="217322" y="541491"/>
                  </a:cubicBezTo>
                  <a:cubicBezTo>
                    <a:pt x="218905" y="532266"/>
                    <a:pt x="229499" y="523008"/>
                    <a:pt x="237048" y="515722"/>
                  </a:cubicBezTo>
                  <a:cubicBezTo>
                    <a:pt x="242528" y="510407"/>
                    <a:pt x="246952" y="507599"/>
                    <a:pt x="244598" y="501784"/>
                  </a:cubicBezTo>
                  <a:cubicBezTo>
                    <a:pt x="243380" y="498709"/>
                    <a:pt x="246546" y="486777"/>
                    <a:pt x="241879" y="485673"/>
                  </a:cubicBezTo>
                  <a:cubicBezTo>
                    <a:pt x="235019" y="484002"/>
                    <a:pt x="226211" y="488615"/>
                    <a:pt x="219148" y="488782"/>
                  </a:cubicBezTo>
                  <a:cubicBezTo>
                    <a:pt x="210178" y="488916"/>
                    <a:pt x="201573" y="485707"/>
                    <a:pt x="195728" y="480092"/>
                  </a:cubicBezTo>
                  <a:cubicBezTo>
                    <a:pt x="184322" y="467391"/>
                    <a:pt x="203846" y="451013"/>
                    <a:pt x="219473" y="444663"/>
                  </a:cubicBezTo>
                  <a:cubicBezTo>
                    <a:pt x="229904" y="440452"/>
                    <a:pt x="220163" y="437778"/>
                    <a:pt x="225927" y="432831"/>
                  </a:cubicBezTo>
                  <a:cubicBezTo>
                    <a:pt x="233842" y="426146"/>
                    <a:pt x="224669" y="416554"/>
                    <a:pt x="224262" y="409434"/>
                  </a:cubicBezTo>
                  <a:cubicBezTo>
                    <a:pt x="223978" y="404855"/>
                    <a:pt x="238672" y="395530"/>
                    <a:pt x="236724" y="394327"/>
                  </a:cubicBezTo>
                  <a:cubicBezTo>
                    <a:pt x="234775" y="393124"/>
                    <a:pt x="218540" y="392121"/>
                    <a:pt x="231934" y="387174"/>
                  </a:cubicBezTo>
                  <a:cubicBezTo>
                    <a:pt x="239809" y="384266"/>
                    <a:pt x="242772" y="392388"/>
                    <a:pt x="250199" y="387408"/>
                  </a:cubicBezTo>
                  <a:cubicBezTo>
                    <a:pt x="259657" y="381058"/>
                    <a:pt x="252756" y="367621"/>
                    <a:pt x="242447" y="374908"/>
                  </a:cubicBezTo>
                  <a:cubicBezTo>
                    <a:pt x="234329" y="380657"/>
                    <a:pt x="237130" y="381860"/>
                    <a:pt x="225358" y="380256"/>
                  </a:cubicBezTo>
                  <a:cubicBezTo>
                    <a:pt x="214846" y="378852"/>
                    <a:pt x="219676" y="374373"/>
                    <a:pt x="213181" y="369226"/>
                  </a:cubicBezTo>
                  <a:cubicBezTo>
                    <a:pt x="210056" y="366786"/>
                    <a:pt x="200234" y="356558"/>
                    <a:pt x="207418" y="353149"/>
                  </a:cubicBezTo>
                  <a:cubicBezTo>
                    <a:pt x="215536" y="349339"/>
                    <a:pt x="231366" y="352882"/>
                    <a:pt x="240255" y="351913"/>
                  </a:cubicBezTo>
                  <a:cubicBezTo>
                    <a:pt x="250605" y="350809"/>
                    <a:pt x="262620" y="346130"/>
                    <a:pt x="267572" y="338877"/>
                  </a:cubicBezTo>
                  <a:cubicBezTo>
                    <a:pt x="272889" y="331056"/>
                    <a:pt x="255395" y="326711"/>
                    <a:pt x="264609" y="318422"/>
                  </a:cubicBezTo>
                  <a:cubicBezTo>
                    <a:pt x="273011" y="310902"/>
                    <a:pt x="257708" y="310333"/>
                    <a:pt x="257100" y="303482"/>
                  </a:cubicBezTo>
                  <a:cubicBezTo>
                    <a:pt x="256491" y="296630"/>
                    <a:pt x="272564" y="298034"/>
                    <a:pt x="278815" y="296329"/>
                  </a:cubicBezTo>
                  <a:cubicBezTo>
                    <a:pt x="305321" y="289076"/>
                    <a:pt x="336980" y="277946"/>
                    <a:pt x="356626" y="262337"/>
                  </a:cubicBezTo>
                  <a:cubicBezTo>
                    <a:pt x="362674" y="257524"/>
                    <a:pt x="362268" y="254115"/>
                    <a:pt x="364744" y="248567"/>
                  </a:cubicBezTo>
                  <a:cubicBezTo>
                    <a:pt x="368031" y="241180"/>
                    <a:pt x="374120" y="234261"/>
                    <a:pt x="376921" y="226808"/>
                  </a:cubicBezTo>
                  <a:cubicBezTo>
                    <a:pt x="380980" y="216781"/>
                    <a:pt x="365596" y="219756"/>
                    <a:pt x="358168" y="218419"/>
                  </a:cubicBezTo>
                  <a:cubicBezTo>
                    <a:pt x="344043" y="215945"/>
                    <a:pt x="359467" y="203913"/>
                    <a:pt x="352323" y="199935"/>
                  </a:cubicBezTo>
                  <a:cubicBezTo>
                    <a:pt x="345179" y="195958"/>
                    <a:pt x="331136" y="200537"/>
                    <a:pt x="321800" y="199501"/>
                  </a:cubicBezTo>
                  <a:cubicBezTo>
                    <a:pt x="318147" y="199568"/>
                    <a:pt x="315143" y="197161"/>
                    <a:pt x="315062" y="194153"/>
                  </a:cubicBezTo>
                  <a:cubicBezTo>
                    <a:pt x="314981" y="191145"/>
                    <a:pt x="317863" y="188671"/>
                    <a:pt x="321516" y="188605"/>
                  </a:cubicBezTo>
                  <a:cubicBezTo>
                    <a:pt x="322287" y="188605"/>
                    <a:pt x="323018" y="188671"/>
                    <a:pt x="323707" y="188872"/>
                  </a:cubicBezTo>
                  <a:cubicBezTo>
                    <a:pt x="325331" y="178578"/>
                    <a:pt x="317944" y="184460"/>
                    <a:pt x="313966" y="177608"/>
                  </a:cubicBezTo>
                  <a:cubicBezTo>
                    <a:pt x="308973" y="169018"/>
                    <a:pt x="313722" y="159560"/>
                    <a:pt x="310800" y="150569"/>
                  </a:cubicBezTo>
                  <a:cubicBezTo>
                    <a:pt x="307878" y="141578"/>
                    <a:pt x="310435" y="132520"/>
                    <a:pt x="309217" y="123395"/>
                  </a:cubicBezTo>
                  <a:cubicBezTo>
                    <a:pt x="307878" y="113134"/>
                    <a:pt x="316036" y="105681"/>
                    <a:pt x="322652" y="96122"/>
                  </a:cubicBezTo>
                  <a:cubicBezTo>
                    <a:pt x="335763" y="77103"/>
                    <a:pt x="343678" y="56013"/>
                    <a:pt x="368315" y="41273"/>
                  </a:cubicBezTo>
                  <a:cubicBezTo>
                    <a:pt x="378423" y="35224"/>
                    <a:pt x="387921" y="31647"/>
                    <a:pt x="384551" y="22623"/>
                  </a:cubicBezTo>
                  <a:cubicBezTo>
                    <a:pt x="383293" y="18947"/>
                    <a:pt x="379518" y="5343"/>
                    <a:pt x="372374" y="4775"/>
                  </a:cubicBezTo>
                  <a:cubicBezTo>
                    <a:pt x="370142" y="4207"/>
                    <a:pt x="377976" y="4875"/>
                    <a:pt x="372943" y="4474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1DAD2CAF-E95F-4C91-B6FC-02F89C26DF4C}"/>
                </a:ext>
              </a:extLst>
            </p:cNvPr>
            <p:cNvSpPr/>
            <p:nvPr/>
          </p:nvSpPr>
          <p:spPr>
            <a:xfrm>
              <a:off x="4045753" y="5587942"/>
              <a:ext cx="366139" cy="526130"/>
            </a:xfrm>
            <a:custGeom>
              <a:avLst/>
              <a:gdLst>
                <a:gd name="connsiteX0" fmla="*/ 242469 w 375785"/>
                <a:gd name="connsiteY0" fmla="*/ 655867 h 720392"/>
                <a:gd name="connsiteX1" fmla="*/ 222174 w 375785"/>
                <a:gd name="connsiteY1" fmla="*/ 644670 h 720392"/>
                <a:gd name="connsiteX2" fmla="*/ 202975 w 375785"/>
                <a:gd name="connsiteY2" fmla="*/ 635077 h 720392"/>
                <a:gd name="connsiteX3" fmla="*/ 193193 w 375785"/>
                <a:gd name="connsiteY3" fmla="*/ 632470 h 720392"/>
                <a:gd name="connsiteX4" fmla="*/ 181016 w 375785"/>
                <a:gd name="connsiteY4" fmla="*/ 618065 h 720392"/>
                <a:gd name="connsiteX5" fmla="*/ 180326 w 375785"/>
                <a:gd name="connsiteY5" fmla="*/ 606333 h 720392"/>
                <a:gd name="connsiteX6" fmla="*/ 190352 w 375785"/>
                <a:gd name="connsiteY6" fmla="*/ 593699 h 720392"/>
                <a:gd name="connsiteX7" fmla="*/ 192828 w 375785"/>
                <a:gd name="connsiteY7" fmla="*/ 581566 h 720392"/>
                <a:gd name="connsiteX8" fmla="*/ 185238 w 375785"/>
                <a:gd name="connsiteY8" fmla="*/ 571806 h 720392"/>
                <a:gd name="connsiteX9" fmla="*/ 186293 w 375785"/>
                <a:gd name="connsiteY9" fmla="*/ 560743 h 720392"/>
                <a:gd name="connsiteX10" fmla="*/ 190352 w 375785"/>
                <a:gd name="connsiteY10" fmla="*/ 549379 h 720392"/>
                <a:gd name="connsiteX11" fmla="*/ 192544 w 375785"/>
                <a:gd name="connsiteY11" fmla="*/ 541157 h 720392"/>
                <a:gd name="connsiteX12" fmla="*/ 183249 w 375785"/>
                <a:gd name="connsiteY12" fmla="*/ 526551 h 720392"/>
                <a:gd name="connsiteX13" fmla="*/ 187064 w 375785"/>
                <a:gd name="connsiteY13" fmla="*/ 516290 h 720392"/>
                <a:gd name="connsiteX14" fmla="*/ 172939 w 375785"/>
                <a:gd name="connsiteY14" fmla="*/ 508335 h 720392"/>
                <a:gd name="connsiteX15" fmla="*/ 186293 w 375785"/>
                <a:gd name="connsiteY15" fmla="*/ 500146 h 720392"/>
                <a:gd name="connsiteX16" fmla="*/ 168677 w 375785"/>
                <a:gd name="connsiteY16" fmla="*/ 498809 h 720392"/>
                <a:gd name="connsiteX17" fmla="*/ 164983 w 375785"/>
                <a:gd name="connsiteY17" fmla="*/ 486442 h 720392"/>
                <a:gd name="connsiteX18" fmla="*/ 152238 w 375785"/>
                <a:gd name="connsiteY18" fmla="*/ 474276 h 720392"/>
                <a:gd name="connsiteX19" fmla="*/ 147936 w 375785"/>
                <a:gd name="connsiteY19" fmla="*/ 449844 h 720392"/>
                <a:gd name="connsiteX20" fmla="*/ 138397 w 375785"/>
                <a:gd name="connsiteY20" fmla="*/ 435371 h 720392"/>
                <a:gd name="connsiteX21" fmla="*/ 132877 w 375785"/>
                <a:gd name="connsiteY21" fmla="*/ 416253 h 720392"/>
                <a:gd name="connsiteX22" fmla="*/ 135759 w 375785"/>
                <a:gd name="connsiteY22" fmla="*/ 402683 h 720392"/>
                <a:gd name="connsiteX23" fmla="*/ 133080 w 375785"/>
                <a:gd name="connsiteY23" fmla="*/ 388846 h 720392"/>
                <a:gd name="connsiteX24" fmla="*/ 139412 w 375785"/>
                <a:gd name="connsiteY24" fmla="*/ 378651 h 720392"/>
                <a:gd name="connsiteX25" fmla="*/ 129467 w 375785"/>
                <a:gd name="connsiteY25" fmla="*/ 368825 h 720392"/>
                <a:gd name="connsiteX26" fmla="*/ 129792 w 375785"/>
                <a:gd name="connsiteY26" fmla="*/ 333797 h 720392"/>
                <a:gd name="connsiteX27" fmla="*/ 127438 w 375785"/>
                <a:gd name="connsiteY27" fmla="*/ 323101 h 720392"/>
                <a:gd name="connsiteX28" fmla="*/ 124434 w 375785"/>
                <a:gd name="connsiteY28" fmla="*/ 309331 h 720392"/>
                <a:gd name="connsiteX29" fmla="*/ 126139 w 375785"/>
                <a:gd name="connsiteY29" fmla="*/ 295092 h 720392"/>
                <a:gd name="connsiteX30" fmla="*/ 118264 w 375785"/>
                <a:gd name="connsiteY30" fmla="*/ 275239 h 720392"/>
                <a:gd name="connsiteX31" fmla="*/ 103855 w 375785"/>
                <a:gd name="connsiteY31" fmla="*/ 260031 h 720392"/>
                <a:gd name="connsiteX32" fmla="*/ 88390 w 375785"/>
                <a:gd name="connsiteY32" fmla="*/ 243086 h 720392"/>
                <a:gd name="connsiteX33" fmla="*/ 91638 w 375785"/>
                <a:gd name="connsiteY33" fmla="*/ 234295 h 720392"/>
                <a:gd name="connsiteX34" fmla="*/ 97685 w 375785"/>
                <a:gd name="connsiteY34" fmla="*/ 219555 h 720392"/>
                <a:gd name="connsiteX35" fmla="*/ 85508 w 375785"/>
                <a:gd name="connsiteY35" fmla="*/ 205083 h 720392"/>
                <a:gd name="connsiteX36" fmla="*/ 90217 w 375785"/>
                <a:gd name="connsiteY36" fmla="*/ 199835 h 720392"/>
                <a:gd name="connsiteX37" fmla="*/ 89162 w 375785"/>
                <a:gd name="connsiteY37" fmla="*/ 189808 h 720392"/>
                <a:gd name="connsiteX38" fmla="*/ 98132 w 375785"/>
                <a:gd name="connsiteY38" fmla="*/ 173297 h 720392"/>
                <a:gd name="connsiteX39" fmla="*/ 103814 w 375785"/>
                <a:gd name="connsiteY39" fmla="*/ 155081 h 720392"/>
                <a:gd name="connsiteX40" fmla="*/ 101298 w 375785"/>
                <a:gd name="connsiteY40" fmla="*/ 145488 h 720392"/>
                <a:gd name="connsiteX41" fmla="*/ 98497 w 375785"/>
                <a:gd name="connsiteY41" fmla="*/ 132487 h 720392"/>
                <a:gd name="connsiteX42" fmla="*/ 93667 w 375785"/>
                <a:gd name="connsiteY42" fmla="*/ 105982 h 720392"/>
                <a:gd name="connsiteX43" fmla="*/ 107671 w 375785"/>
                <a:gd name="connsiteY43" fmla="*/ 69784 h 720392"/>
                <a:gd name="connsiteX44" fmla="*/ 83682 w 375785"/>
                <a:gd name="connsiteY44" fmla="*/ 63300 h 720392"/>
                <a:gd name="connsiteX45" fmla="*/ 70937 w 375785"/>
                <a:gd name="connsiteY45" fmla="*/ 52939 h 720392"/>
                <a:gd name="connsiteX46" fmla="*/ 52956 w 375785"/>
                <a:gd name="connsiteY46" fmla="*/ 45753 h 720392"/>
                <a:gd name="connsiteX47" fmla="*/ 48450 w 375785"/>
                <a:gd name="connsiteY47" fmla="*/ 22356 h 720392"/>
                <a:gd name="connsiteX48" fmla="*/ 9606 w 375785"/>
                <a:gd name="connsiteY48" fmla="*/ -339 h 720392"/>
                <a:gd name="connsiteX49" fmla="*/ 3639 w 375785"/>
                <a:gd name="connsiteY49" fmla="*/ 16373 h 720392"/>
                <a:gd name="connsiteX50" fmla="*/ 7292 w 375785"/>
                <a:gd name="connsiteY50" fmla="*/ 36093 h 720392"/>
                <a:gd name="connsiteX51" fmla="*/ 25923 w 375785"/>
                <a:gd name="connsiteY51" fmla="*/ 75567 h 720392"/>
                <a:gd name="connsiteX52" fmla="*/ 26816 w 375785"/>
                <a:gd name="connsiteY52" fmla="*/ 102706 h 720392"/>
                <a:gd name="connsiteX53" fmla="*/ 33351 w 375785"/>
                <a:gd name="connsiteY53" fmla="*/ 112734 h 720392"/>
                <a:gd name="connsiteX54" fmla="*/ 40982 w 375785"/>
                <a:gd name="connsiteY54" fmla="*/ 132788 h 720392"/>
                <a:gd name="connsiteX55" fmla="*/ 45041 w 375785"/>
                <a:gd name="connsiteY55" fmla="*/ 160763 h 720392"/>
                <a:gd name="connsiteX56" fmla="*/ 46542 w 375785"/>
                <a:gd name="connsiteY56" fmla="*/ 180015 h 720392"/>
                <a:gd name="connsiteX57" fmla="*/ 47638 w 375785"/>
                <a:gd name="connsiteY57" fmla="*/ 202008 h 720392"/>
                <a:gd name="connsiteX58" fmla="*/ 49424 w 375785"/>
                <a:gd name="connsiteY58" fmla="*/ 216213 h 720392"/>
                <a:gd name="connsiteX59" fmla="*/ 58922 w 375785"/>
                <a:gd name="connsiteY59" fmla="*/ 232457 h 720392"/>
                <a:gd name="connsiteX60" fmla="*/ 73129 w 375785"/>
                <a:gd name="connsiteY60" fmla="*/ 273534 h 720392"/>
                <a:gd name="connsiteX61" fmla="*/ 75117 w 375785"/>
                <a:gd name="connsiteY61" fmla="*/ 306958 h 720392"/>
                <a:gd name="connsiteX62" fmla="*/ 76335 w 375785"/>
                <a:gd name="connsiteY62" fmla="*/ 332995 h 720392"/>
                <a:gd name="connsiteX63" fmla="*/ 72926 w 375785"/>
                <a:gd name="connsiteY63" fmla="*/ 359734 h 720392"/>
                <a:gd name="connsiteX64" fmla="*/ 71018 w 375785"/>
                <a:gd name="connsiteY64" fmla="*/ 369159 h 720392"/>
                <a:gd name="connsiteX65" fmla="*/ 64077 w 375785"/>
                <a:gd name="connsiteY65" fmla="*/ 374340 h 720392"/>
                <a:gd name="connsiteX66" fmla="*/ 70571 w 375785"/>
                <a:gd name="connsiteY66" fmla="*/ 383297 h 720392"/>
                <a:gd name="connsiteX67" fmla="*/ 78689 w 375785"/>
                <a:gd name="connsiteY67" fmla="*/ 399040 h 720392"/>
                <a:gd name="connsiteX68" fmla="*/ 91435 w 375785"/>
                <a:gd name="connsiteY68" fmla="*/ 418392 h 720392"/>
                <a:gd name="connsiteX69" fmla="*/ 91678 w 375785"/>
                <a:gd name="connsiteY69" fmla="*/ 442089 h 720392"/>
                <a:gd name="connsiteX70" fmla="*/ 102069 w 375785"/>
                <a:gd name="connsiteY70" fmla="*/ 461341 h 720392"/>
                <a:gd name="connsiteX71" fmla="*/ 96793 w 375785"/>
                <a:gd name="connsiteY71" fmla="*/ 464918 h 720392"/>
                <a:gd name="connsiteX72" fmla="*/ 95047 w 375785"/>
                <a:gd name="connsiteY72" fmla="*/ 475145 h 720392"/>
                <a:gd name="connsiteX73" fmla="*/ 101826 w 375785"/>
                <a:gd name="connsiteY73" fmla="*/ 494197 h 720392"/>
                <a:gd name="connsiteX74" fmla="*/ 115586 w 375785"/>
                <a:gd name="connsiteY74" fmla="*/ 488949 h 720392"/>
                <a:gd name="connsiteX75" fmla="*/ 108360 w 375785"/>
                <a:gd name="connsiteY75" fmla="*/ 460405 h 720392"/>
                <a:gd name="connsiteX76" fmla="*/ 118305 w 375785"/>
                <a:gd name="connsiteY76" fmla="*/ 450044 h 720392"/>
                <a:gd name="connsiteX77" fmla="*/ 121715 w 375785"/>
                <a:gd name="connsiteY77" fmla="*/ 454523 h 720392"/>
                <a:gd name="connsiteX78" fmla="*/ 130685 w 375785"/>
                <a:gd name="connsiteY78" fmla="*/ 456227 h 720392"/>
                <a:gd name="connsiteX79" fmla="*/ 127316 w 375785"/>
                <a:gd name="connsiteY79" fmla="*/ 464784 h 720392"/>
                <a:gd name="connsiteX80" fmla="*/ 132714 w 375785"/>
                <a:gd name="connsiteY80" fmla="*/ 472939 h 720392"/>
                <a:gd name="connsiteX81" fmla="*/ 130644 w 375785"/>
                <a:gd name="connsiteY81" fmla="*/ 483535 h 720392"/>
                <a:gd name="connsiteX82" fmla="*/ 134703 w 375785"/>
                <a:gd name="connsiteY82" fmla="*/ 495066 h 720392"/>
                <a:gd name="connsiteX83" fmla="*/ 140548 w 375785"/>
                <a:gd name="connsiteY83" fmla="*/ 512747 h 720392"/>
                <a:gd name="connsiteX84" fmla="*/ 141969 w 375785"/>
                <a:gd name="connsiteY84" fmla="*/ 521972 h 720392"/>
                <a:gd name="connsiteX85" fmla="*/ 140142 w 375785"/>
                <a:gd name="connsiteY85" fmla="*/ 531297 h 720392"/>
                <a:gd name="connsiteX86" fmla="*/ 139209 w 375785"/>
                <a:gd name="connsiteY86" fmla="*/ 545970 h 720392"/>
                <a:gd name="connsiteX87" fmla="*/ 131091 w 375785"/>
                <a:gd name="connsiteY87" fmla="*/ 524512 h 720392"/>
                <a:gd name="connsiteX88" fmla="*/ 120822 w 375785"/>
                <a:gd name="connsiteY88" fmla="*/ 527854 h 720392"/>
                <a:gd name="connsiteX89" fmla="*/ 118914 w 375785"/>
                <a:gd name="connsiteY89" fmla="*/ 540121 h 720392"/>
                <a:gd name="connsiteX90" fmla="*/ 113353 w 375785"/>
                <a:gd name="connsiteY90" fmla="*/ 556031 h 720392"/>
                <a:gd name="connsiteX91" fmla="*/ 108320 w 375785"/>
                <a:gd name="connsiteY91" fmla="*/ 563384 h 720392"/>
                <a:gd name="connsiteX92" fmla="*/ 109862 w 375785"/>
                <a:gd name="connsiteY92" fmla="*/ 573946 h 720392"/>
                <a:gd name="connsiteX93" fmla="*/ 116884 w 375785"/>
                <a:gd name="connsiteY93" fmla="*/ 566392 h 720392"/>
                <a:gd name="connsiteX94" fmla="*/ 129467 w 375785"/>
                <a:gd name="connsiteY94" fmla="*/ 566392 h 720392"/>
                <a:gd name="connsiteX95" fmla="*/ 135840 w 375785"/>
                <a:gd name="connsiteY95" fmla="*/ 580630 h 720392"/>
                <a:gd name="connsiteX96" fmla="*/ 162183 w 375785"/>
                <a:gd name="connsiteY96" fmla="*/ 579962 h 720392"/>
                <a:gd name="connsiteX97" fmla="*/ 162183 w 375785"/>
                <a:gd name="connsiteY97" fmla="*/ 585543 h 720392"/>
                <a:gd name="connsiteX98" fmla="*/ 143430 w 375785"/>
                <a:gd name="connsiteY98" fmla="*/ 591393 h 720392"/>
                <a:gd name="connsiteX99" fmla="*/ 120984 w 375785"/>
                <a:gd name="connsiteY99" fmla="*/ 603626 h 720392"/>
                <a:gd name="connsiteX100" fmla="*/ 142984 w 375785"/>
                <a:gd name="connsiteY100" fmla="*/ 602188 h 720392"/>
                <a:gd name="connsiteX101" fmla="*/ 150330 w 375785"/>
                <a:gd name="connsiteY101" fmla="*/ 597442 h 720392"/>
                <a:gd name="connsiteX102" fmla="*/ 145784 w 375785"/>
                <a:gd name="connsiteY102" fmla="*/ 608138 h 720392"/>
                <a:gd name="connsiteX103" fmla="*/ 137301 w 375785"/>
                <a:gd name="connsiteY103" fmla="*/ 623479 h 720392"/>
                <a:gd name="connsiteX104" fmla="*/ 147002 w 375785"/>
                <a:gd name="connsiteY104" fmla="*/ 627824 h 720392"/>
                <a:gd name="connsiteX105" fmla="*/ 149884 w 375785"/>
                <a:gd name="connsiteY105" fmla="*/ 631735 h 720392"/>
                <a:gd name="connsiteX106" fmla="*/ 156825 w 375785"/>
                <a:gd name="connsiteY106" fmla="*/ 623312 h 720392"/>
                <a:gd name="connsiteX107" fmla="*/ 166079 w 375785"/>
                <a:gd name="connsiteY107" fmla="*/ 618499 h 720392"/>
                <a:gd name="connsiteX108" fmla="*/ 165470 w 375785"/>
                <a:gd name="connsiteY108" fmla="*/ 642096 h 720392"/>
                <a:gd name="connsiteX109" fmla="*/ 156906 w 375785"/>
                <a:gd name="connsiteY109" fmla="*/ 652123 h 720392"/>
                <a:gd name="connsiteX110" fmla="*/ 161858 w 375785"/>
                <a:gd name="connsiteY110" fmla="*/ 653761 h 720392"/>
                <a:gd name="connsiteX111" fmla="*/ 161493 w 375785"/>
                <a:gd name="connsiteY111" fmla="*/ 660680 h 720392"/>
                <a:gd name="connsiteX112" fmla="*/ 173426 w 375785"/>
                <a:gd name="connsiteY112" fmla="*/ 656101 h 720392"/>
                <a:gd name="connsiteX113" fmla="*/ 193193 w 375785"/>
                <a:gd name="connsiteY113" fmla="*/ 652758 h 720392"/>
                <a:gd name="connsiteX114" fmla="*/ 185075 w 375785"/>
                <a:gd name="connsiteY114" fmla="*/ 667465 h 720392"/>
                <a:gd name="connsiteX115" fmla="*/ 191488 w 375785"/>
                <a:gd name="connsiteY115" fmla="*/ 664356 h 720392"/>
                <a:gd name="connsiteX116" fmla="*/ 201514 w 375785"/>
                <a:gd name="connsiteY116" fmla="*/ 666161 h 720392"/>
                <a:gd name="connsiteX117" fmla="*/ 207359 w 375785"/>
                <a:gd name="connsiteY117" fmla="*/ 657070 h 720392"/>
                <a:gd name="connsiteX118" fmla="*/ 221241 w 375785"/>
                <a:gd name="connsiteY118" fmla="*/ 661582 h 720392"/>
                <a:gd name="connsiteX119" fmla="*/ 200134 w 375785"/>
                <a:gd name="connsiteY119" fmla="*/ 672579 h 720392"/>
                <a:gd name="connsiteX120" fmla="*/ 206791 w 375785"/>
                <a:gd name="connsiteY120" fmla="*/ 683408 h 720392"/>
                <a:gd name="connsiteX121" fmla="*/ 223229 w 375785"/>
                <a:gd name="connsiteY121" fmla="*/ 669236 h 720392"/>
                <a:gd name="connsiteX122" fmla="*/ 242753 w 375785"/>
                <a:gd name="connsiteY122" fmla="*/ 664122 h 720392"/>
                <a:gd name="connsiteX123" fmla="*/ 245594 w 375785"/>
                <a:gd name="connsiteY123" fmla="*/ 668935 h 720392"/>
                <a:gd name="connsiteX124" fmla="*/ 234230 w 375785"/>
                <a:gd name="connsiteY124" fmla="*/ 676356 h 720392"/>
                <a:gd name="connsiteX125" fmla="*/ 217994 w 375785"/>
                <a:gd name="connsiteY125" fmla="*/ 681636 h 720392"/>
                <a:gd name="connsiteX126" fmla="*/ 227045 w 375785"/>
                <a:gd name="connsiteY126" fmla="*/ 687686 h 720392"/>
                <a:gd name="connsiteX127" fmla="*/ 259517 w 375785"/>
                <a:gd name="connsiteY127" fmla="*/ 670673 h 720392"/>
                <a:gd name="connsiteX128" fmla="*/ 252982 w 375785"/>
                <a:gd name="connsiteY128" fmla="*/ 681703 h 720392"/>
                <a:gd name="connsiteX129" fmla="*/ 238776 w 375785"/>
                <a:gd name="connsiteY129" fmla="*/ 693602 h 720392"/>
                <a:gd name="connsiteX130" fmla="*/ 217141 w 375785"/>
                <a:gd name="connsiteY130" fmla="*/ 706437 h 720392"/>
                <a:gd name="connsiteX131" fmla="*/ 237193 w 375785"/>
                <a:gd name="connsiteY131" fmla="*/ 705935 h 720392"/>
                <a:gd name="connsiteX132" fmla="*/ 259354 w 375785"/>
                <a:gd name="connsiteY132" fmla="*/ 702894 h 720392"/>
                <a:gd name="connsiteX133" fmla="*/ 249004 w 375785"/>
                <a:gd name="connsiteY133" fmla="*/ 698783 h 720392"/>
                <a:gd name="connsiteX134" fmla="*/ 270557 w 375785"/>
                <a:gd name="connsiteY134" fmla="*/ 689224 h 720392"/>
                <a:gd name="connsiteX135" fmla="*/ 267716 w 375785"/>
                <a:gd name="connsiteY135" fmla="*/ 671542 h 720392"/>
                <a:gd name="connsiteX136" fmla="*/ 286265 w 375785"/>
                <a:gd name="connsiteY136" fmla="*/ 655031 h 720392"/>
                <a:gd name="connsiteX137" fmla="*/ 282897 w 375785"/>
                <a:gd name="connsiteY137" fmla="*/ 665559 h 720392"/>
                <a:gd name="connsiteX138" fmla="*/ 287605 w 375785"/>
                <a:gd name="connsiteY138" fmla="*/ 676356 h 720392"/>
                <a:gd name="connsiteX139" fmla="*/ 303841 w 375785"/>
                <a:gd name="connsiteY139" fmla="*/ 670606 h 720392"/>
                <a:gd name="connsiteX140" fmla="*/ 296048 w 375785"/>
                <a:gd name="connsiteY140" fmla="*/ 679397 h 720392"/>
                <a:gd name="connsiteX141" fmla="*/ 302948 w 375785"/>
                <a:gd name="connsiteY141" fmla="*/ 689658 h 720392"/>
                <a:gd name="connsiteX142" fmla="*/ 292232 w 375785"/>
                <a:gd name="connsiteY142" fmla="*/ 688054 h 720392"/>
                <a:gd name="connsiteX143" fmla="*/ 288173 w 375785"/>
                <a:gd name="connsiteY143" fmla="*/ 696877 h 720392"/>
                <a:gd name="connsiteX144" fmla="*/ 269948 w 375785"/>
                <a:gd name="connsiteY144" fmla="*/ 693535 h 720392"/>
                <a:gd name="connsiteX145" fmla="*/ 271247 w 375785"/>
                <a:gd name="connsiteY145" fmla="*/ 703897 h 720392"/>
                <a:gd name="connsiteX146" fmla="*/ 265199 w 375785"/>
                <a:gd name="connsiteY146" fmla="*/ 713689 h 720392"/>
                <a:gd name="connsiteX147" fmla="*/ 286874 w 375785"/>
                <a:gd name="connsiteY147" fmla="*/ 710815 h 720392"/>
                <a:gd name="connsiteX148" fmla="*/ 299985 w 375785"/>
                <a:gd name="connsiteY148" fmla="*/ 718937 h 720392"/>
                <a:gd name="connsiteX149" fmla="*/ 297955 w 375785"/>
                <a:gd name="connsiteY149" fmla="*/ 706403 h 720392"/>
                <a:gd name="connsiteX150" fmla="*/ 328520 w 375785"/>
                <a:gd name="connsiteY150" fmla="*/ 714392 h 720392"/>
                <a:gd name="connsiteX151" fmla="*/ 326368 w 375785"/>
                <a:gd name="connsiteY151" fmla="*/ 707406 h 720392"/>
                <a:gd name="connsiteX152" fmla="*/ 340980 w 375785"/>
                <a:gd name="connsiteY152" fmla="*/ 709077 h 720392"/>
                <a:gd name="connsiteX153" fmla="*/ 356851 w 375785"/>
                <a:gd name="connsiteY153" fmla="*/ 711918 h 720392"/>
                <a:gd name="connsiteX154" fmla="*/ 344309 w 375785"/>
                <a:gd name="connsiteY154" fmla="*/ 701690 h 720392"/>
                <a:gd name="connsiteX155" fmla="*/ 364401 w 375785"/>
                <a:gd name="connsiteY155" fmla="*/ 699050 h 720392"/>
                <a:gd name="connsiteX156" fmla="*/ 375725 w 375785"/>
                <a:gd name="connsiteY156" fmla="*/ 691797 h 720392"/>
                <a:gd name="connsiteX157" fmla="*/ 336759 w 375785"/>
                <a:gd name="connsiteY157" fmla="*/ 698916 h 720392"/>
                <a:gd name="connsiteX158" fmla="*/ 320889 w 375785"/>
                <a:gd name="connsiteY158" fmla="*/ 662150 h 720392"/>
                <a:gd name="connsiteX159" fmla="*/ 315693 w 375785"/>
                <a:gd name="connsiteY159" fmla="*/ 648112 h 720392"/>
                <a:gd name="connsiteX160" fmla="*/ 294546 w 375785"/>
                <a:gd name="connsiteY160" fmla="*/ 650218 h 720392"/>
                <a:gd name="connsiteX161" fmla="*/ 290933 w 375785"/>
                <a:gd name="connsiteY161" fmla="*/ 643533 h 720392"/>
                <a:gd name="connsiteX162" fmla="*/ 272465 w 375785"/>
                <a:gd name="connsiteY162" fmla="*/ 644737 h 720392"/>
                <a:gd name="connsiteX163" fmla="*/ 242672 w 375785"/>
                <a:gd name="connsiteY163" fmla="*/ 655232 h 7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375785" h="720392">
                  <a:moveTo>
                    <a:pt x="242469" y="655867"/>
                  </a:moveTo>
                  <a:cubicBezTo>
                    <a:pt x="234717" y="659209"/>
                    <a:pt x="223920" y="648614"/>
                    <a:pt x="222174" y="644670"/>
                  </a:cubicBezTo>
                  <a:cubicBezTo>
                    <a:pt x="216979" y="633540"/>
                    <a:pt x="220713" y="630298"/>
                    <a:pt x="202975" y="635077"/>
                  </a:cubicBezTo>
                  <a:cubicBezTo>
                    <a:pt x="198104" y="636381"/>
                    <a:pt x="194127" y="636882"/>
                    <a:pt x="193193" y="632470"/>
                  </a:cubicBezTo>
                  <a:cubicBezTo>
                    <a:pt x="191813" y="626187"/>
                    <a:pt x="182315" y="625117"/>
                    <a:pt x="181016" y="618065"/>
                  </a:cubicBezTo>
                  <a:cubicBezTo>
                    <a:pt x="180123" y="614187"/>
                    <a:pt x="179880" y="610244"/>
                    <a:pt x="180326" y="606333"/>
                  </a:cubicBezTo>
                  <a:cubicBezTo>
                    <a:pt x="181422" y="600918"/>
                    <a:pt x="191001" y="598111"/>
                    <a:pt x="190352" y="593699"/>
                  </a:cubicBezTo>
                  <a:cubicBezTo>
                    <a:pt x="189703" y="589287"/>
                    <a:pt x="193234" y="585309"/>
                    <a:pt x="192828" y="581566"/>
                  </a:cubicBezTo>
                  <a:cubicBezTo>
                    <a:pt x="192422" y="577822"/>
                    <a:pt x="181381" y="576319"/>
                    <a:pt x="185238" y="571806"/>
                  </a:cubicBezTo>
                  <a:cubicBezTo>
                    <a:pt x="188566" y="567929"/>
                    <a:pt x="183533" y="564420"/>
                    <a:pt x="186293" y="560743"/>
                  </a:cubicBezTo>
                  <a:cubicBezTo>
                    <a:pt x="191001" y="554493"/>
                    <a:pt x="193924" y="556699"/>
                    <a:pt x="190352" y="549379"/>
                  </a:cubicBezTo>
                  <a:cubicBezTo>
                    <a:pt x="188566" y="545769"/>
                    <a:pt x="195223" y="544466"/>
                    <a:pt x="192544" y="541157"/>
                  </a:cubicBezTo>
                  <a:cubicBezTo>
                    <a:pt x="188728" y="536444"/>
                    <a:pt x="187105" y="531130"/>
                    <a:pt x="183249" y="526551"/>
                  </a:cubicBezTo>
                  <a:cubicBezTo>
                    <a:pt x="178784" y="521337"/>
                    <a:pt x="184791" y="521103"/>
                    <a:pt x="187064" y="516290"/>
                  </a:cubicBezTo>
                  <a:cubicBezTo>
                    <a:pt x="189986" y="510006"/>
                    <a:pt x="174887" y="511577"/>
                    <a:pt x="172939" y="508335"/>
                  </a:cubicBezTo>
                  <a:cubicBezTo>
                    <a:pt x="170990" y="505093"/>
                    <a:pt x="187348" y="504725"/>
                    <a:pt x="186293" y="500146"/>
                  </a:cubicBezTo>
                  <a:cubicBezTo>
                    <a:pt x="184507" y="492425"/>
                    <a:pt x="174116" y="500146"/>
                    <a:pt x="168677" y="498809"/>
                  </a:cubicBezTo>
                  <a:cubicBezTo>
                    <a:pt x="160194" y="496603"/>
                    <a:pt x="170625" y="489518"/>
                    <a:pt x="164983" y="486442"/>
                  </a:cubicBezTo>
                  <a:cubicBezTo>
                    <a:pt x="159341" y="483367"/>
                    <a:pt x="158448" y="475078"/>
                    <a:pt x="152238" y="474276"/>
                  </a:cubicBezTo>
                  <a:cubicBezTo>
                    <a:pt x="139777" y="472639"/>
                    <a:pt x="150249" y="454824"/>
                    <a:pt x="147936" y="449844"/>
                  </a:cubicBezTo>
                  <a:cubicBezTo>
                    <a:pt x="145622" y="444864"/>
                    <a:pt x="143024" y="438814"/>
                    <a:pt x="138397" y="435371"/>
                  </a:cubicBezTo>
                  <a:cubicBezTo>
                    <a:pt x="128574" y="428018"/>
                    <a:pt x="136773" y="424843"/>
                    <a:pt x="132877" y="416253"/>
                  </a:cubicBezTo>
                  <a:cubicBezTo>
                    <a:pt x="129589" y="408967"/>
                    <a:pt x="135353" y="408131"/>
                    <a:pt x="135759" y="402683"/>
                  </a:cubicBezTo>
                  <a:cubicBezTo>
                    <a:pt x="136043" y="398739"/>
                    <a:pt x="126098" y="392088"/>
                    <a:pt x="133080" y="388846"/>
                  </a:cubicBezTo>
                  <a:cubicBezTo>
                    <a:pt x="138438" y="386406"/>
                    <a:pt x="144242" y="383297"/>
                    <a:pt x="139412" y="378651"/>
                  </a:cubicBezTo>
                  <a:cubicBezTo>
                    <a:pt x="134582" y="374005"/>
                    <a:pt x="132633" y="374941"/>
                    <a:pt x="129467" y="368825"/>
                  </a:cubicBezTo>
                  <a:cubicBezTo>
                    <a:pt x="122567" y="355288"/>
                    <a:pt x="115180" y="347434"/>
                    <a:pt x="129792" y="333797"/>
                  </a:cubicBezTo>
                  <a:cubicBezTo>
                    <a:pt x="133851" y="329853"/>
                    <a:pt x="130198" y="326377"/>
                    <a:pt x="127438" y="323101"/>
                  </a:cubicBezTo>
                  <a:cubicBezTo>
                    <a:pt x="122202" y="316885"/>
                    <a:pt x="122526" y="315949"/>
                    <a:pt x="124434" y="309331"/>
                  </a:cubicBezTo>
                  <a:cubicBezTo>
                    <a:pt x="125652" y="305086"/>
                    <a:pt x="125327" y="299471"/>
                    <a:pt x="126139" y="295092"/>
                  </a:cubicBezTo>
                  <a:cubicBezTo>
                    <a:pt x="127397" y="287973"/>
                    <a:pt x="125692" y="279450"/>
                    <a:pt x="118264" y="275239"/>
                  </a:cubicBezTo>
                  <a:cubicBezTo>
                    <a:pt x="110836" y="271028"/>
                    <a:pt x="110674" y="264309"/>
                    <a:pt x="103855" y="260031"/>
                  </a:cubicBezTo>
                  <a:cubicBezTo>
                    <a:pt x="96143" y="255185"/>
                    <a:pt x="88066" y="251809"/>
                    <a:pt x="88390" y="243086"/>
                  </a:cubicBezTo>
                  <a:cubicBezTo>
                    <a:pt x="88390" y="239743"/>
                    <a:pt x="92125" y="238373"/>
                    <a:pt x="91638" y="234295"/>
                  </a:cubicBezTo>
                  <a:cubicBezTo>
                    <a:pt x="90988" y="228546"/>
                    <a:pt x="98538" y="223867"/>
                    <a:pt x="97685" y="219555"/>
                  </a:cubicBezTo>
                  <a:cubicBezTo>
                    <a:pt x="96549" y="213572"/>
                    <a:pt x="86483" y="210698"/>
                    <a:pt x="85508" y="205083"/>
                  </a:cubicBezTo>
                  <a:cubicBezTo>
                    <a:pt x="85143" y="202843"/>
                    <a:pt x="89121" y="201741"/>
                    <a:pt x="90217" y="199835"/>
                  </a:cubicBezTo>
                  <a:cubicBezTo>
                    <a:pt x="91759" y="197095"/>
                    <a:pt x="88877" y="192683"/>
                    <a:pt x="89162" y="189808"/>
                  </a:cubicBezTo>
                  <a:cubicBezTo>
                    <a:pt x="89770" y="183391"/>
                    <a:pt x="97685" y="179246"/>
                    <a:pt x="98132" y="173297"/>
                  </a:cubicBezTo>
                  <a:cubicBezTo>
                    <a:pt x="98822" y="164507"/>
                    <a:pt x="93789" y="163002"/>
                    <a:pt x="103814" y="155081"/>
                  </a:cubicBezTo>
                  <a:cubicBezTo>
                    <a:pt x="111161" y="149265"/>
                    <a:pt x="105763" y="149366"/>
                    <a:pt x="101298" y="145488"/>
                  </a:cubicBezTo>
                  <a:cubicBezTo>
                    <a:pt x="98132" y="142781"/>
                    <a:pt x="104099" y="137099"/>
                    <a:pt x="98497" y="132487"/>
                  </a:cubicBezTo>
                  <a:cubicBezTo>
                    <a:pt x="91313" y="126571"/>
                    <a:pt x="85427" y="113736"/>
                    <a:pt x="93667" y="105982"/>
                  </a:cubicBezTo>
                  <a:cubicBezTo>
                    <a:pt x="109456" y="91142"/>
                    <a:pt x="113272" y="87098"/>
                    <a:pt x="107671" y="69784"/>
                  </a:cubicBezTo>
                  <a:cubicBezTo>
                    <a:pt x="89933" y="85126"/>
                    <a:pt x="93626" y="70720"/>
                    <a:pt x="83682" y="63300"/>
                  </a:cubicBezTo>
                  <a:cubicBezTo>
                    <a:pt x="78568" y="59523"/>
                    <a:pt x="74468" y="57852"/>
                    <a:pt x="70937" y="52939"/>
                  </a:cubicBezTo>
                  <a:cubicBezTo>
                    <a:pt x="67406" y="48025"/>
                    <a:pt x="58395" y="49229"/>
                    <a:pt x="52956" y="45753"/>
                  </a:cubicBezTo>
                  <a:cubicBezTo>
                    <a:pt x="46299" y="41508"/>
                    <a:pt x="55959" y="23793"/>
                    <a:pt x="48450" y="22356"/>
                  </a:cubicBezTo>
                  <a:cubicBezTo>
                    <a:pt x="27303" y="18613"/>
                    <a:pt x="31483" y="3137"/>
                    <a:pt x="9606" y="-339"/>
                  </a:cubicBezTo>
                  <a:cubicBezTo>
                    <a:pt x="10296" y="-339"/>
                    <a:pt x="6156" y="14668"/>
                    <a:pt x="3639" y="16373"/>
                  </a:cubicBezTo>
                  <a:cubicBezTo>
                    <a:pt x="-4479" y="22356"/>
                    <a:pt x="2624" y="31080"/>
                    <a:pt x="7292" y="36093"/>
                  </a:cubicBezTo>
                  <a:cubicBezTo>
                    <a:pt x="17646" y="47658"/>
                    <a:pt x="24080" y="61295"/>
                    <a:pt x="25923" y="75567"/>
                  </a:cubicBezTo>
                  <a:cubicBezTo>
                    <a:pt x="27075" y="84591"/>
                    <a:pt x="27372" y="93648"/>
                    <a:pt x="26816" y="102706"/>
                  </a:cubicBezTo>
                  <a:cubicBezTo>
                    <a:pt x="26329" y="108756"/>
                    <a:pt x="34568" y="106784"/>
                    <a:pt x="33351" y="112734"/>
                  </a:cubicBezTo>
                  <a:cubicBezTo>
                    <a:pt x="31971" y="119418"/>
                    <a:pt x="38343" y="127005"/>
                    <a:pt x="40982" y="132788"/>
                  </a:cubicBezTo>
                  <a:cubicBezTo>
                    <a:pt x="45041" y="141478"/>
                    <a:pt x="44675" y="151438"/>
                    <a:pt x="45041" y="160763"/>
                  </a:cubicBezTo>
                  <a:cubicBezTo>
                    <a:pt x="45406" y="167080"/>
                    <a:pt x="47638" y="173598"/>
                    <a:pt x="46542" y="180015"/>
                  </a:cubicBezTo>
                  <a:cubicBezTo>
                    <a:pt x="45203" y="187636"/>
                    <a:pt x="51616" y="194521"/>
                    <a:pt x="47638" y="202008"/>
                  </a:cubicBezTo>
                  <a:cubicBezTo>
                    <a:pt x="43660" y="209495"/>
                    <a:pt x="40251" y="210899"/>
                    <a:pt x="49424" y="216213"/>
                  </a:cubicBezTo>
                  <a:cubicBezTo>
                    <a:pt x="57542" y="220992"/>
                    <a:pt x="62981" y="223900"/>
                    <a:pt x="58922" y="232457"/>
                  </a:cubicBezTo>
                  <a:cubicBezTo>
                    <a:pt x="53077" y="244857"/>
                    <a:pt x="69151" y="261836"/>
                    <a:pt x="73129" y="273534"/>
                  </a:cubicBezTo>
                  <a:cubicBezTo>
                    <a:pt x="76295" y="284464"/>
                    <a:pt x="76968" y="295828"/>
                    <a:pt x="75117" y="306958"/>
                  </a:cubicBezTo>
                  <a:cubicBezTo>
                    <a:pt x="74022" y="315681"/>
                    <a:pt x="77350" y="324104"/>
                    <a:pt x="76335" y="332995"/>
                  </a:cubicBezTo>
                  <a:cubicBezTo>
                    <a:pt x="75320" y="341885"/>
                    <a:pt x="73088" y="350943"/>
                    <a:pt x="72926" y="359734"/>
                  </a:cubicBezTo>
                  <a:cubicBezTo>
                    <a:pt x="72926" y="362307"/>
                    <a:pt x="73697" y="366686"/>
                    <a:pt x="71018" y="369159"/>
                  </a:cubicBezTo>
                  <a:cubicBezTo>
                    <a:pt x="68339" y="371633"/>
                    <a:pt x="64605" y="371165"/>
                    <a:pt x="64077" y="374340"/>
                  </a:cubicBezTo>
                  <a:cubicBezTo>
                    <a:pt x="63549" y="377515"/>
                    <a:pt x="67568" y="381024"/>
                    <a:pt x="70571" y="383297"/>
                  </a:cubicBezTo>
                  <a:cubicBezTo>
                    <a:pt x="76498" y="387509"/>
                    <a:pt x="74955" y="394060"/>
                    <a:pt x="78689" y="399040"/>
                  </a:cubicBezTo>
                  <a:cubicBezTo>
                    <a:pt x="85062" y="407296"/>
                    <a:pt x="91353" y="407663"/>
                    <a:pt x="91435" y="418392"/>
                  </a:cubicBezTo>
                  <a:cubicBezTo>
                    <a:pt x="91435" y="426380"/>
                    <a:pt x="91678" y="434101"/>
                    <a:pt x="91678" y="442089"/>
                  </a:cubicBezTo>
                  <a:cubicBezTo>
                    <a:pt x="91678" y="449376"/>
                    <a:pt x="103327" y="455459"/>
                    <a:pt x="102069" y="461341"/>
                  </a:cubicBezTo>
                  <a:cubicBezTo>
                    <a:pt x="101623" y="463480"/>
                    <a:pt x="98457" y="463547"/>
                    <a:pt x="96793" y="464918"/>
                  </a:cubicBezTo>
                  <a:cubicBezTo>
                    <a:pt x="93626" y="467558"/>
                    <a:pt x="94601" y="472304"/>
                    <a:pt x="95047" y="475145"/>
                  </a:cubicBezTo>
                  <a:cubicBezTo>
                    <a:pt x="95697" y="479424"/>
                    <a:pt x="96103" y="491857"/>
                    <a:pt x="101826" y="494197"/>
                  </a:cubicBezTo>
                  <a:cubicBezTo>
                    <a:pt x="105235" y="495634"/>
                    <a:pt x="114327" y="491590"/>
                    <a:pt x="115586" y="488949"/>
                  </a:cubicBezTo>
                  <a:cubicBezTo>
                    <a:pt x="119645" y="480025"/>
                    <a:pt x="102150" y="468093"/>
                    <a:pt x="108360" y="460405"/>
                  </a:cubicBezTo>
                  <a:cubicBezTo>
                    <a:pt x="109781" y="458601"/>
                    <a:pt x="114571" y="449777"/>
                    <a:pt x="118305" y="450044"/>
                  </a:cubicBezTo>
                  <a:cubicBezTo>
                    <a:pt x="120619" y="450044"/>
                    <a:pt x="120537" y="453386"/>
                    <a:pt x="121715" y="454523"/>
                  </a:cubicBezTo>
                  <a:cubicBezTo>
                    <a:pt x="123866" y="456328"/>
                    <a:pt x="128331" y="454189"/>
                    <a:pt x="130685" y="456227"/>
                  </a:cubicBezTo>
                  <a:cubicBezTo>
                    <a:pt x="133648" y="458801"/>
                    <a:pt x="127316" y="462010"/>
                    <a:pt x="127316" y="464784"/>
                  </a:cubicBezTo>
                  <a:cubicBezTo>
                    <a:pt x="127316" y="467558"/>
                    <a:pt x="131375" y="470165"/>
                    <a:pt x="132714" y="472939"/>
                  </a:cubicBezTo>
                  <a:cubicBezTo>
                    <a:pt x="134054" y="475714"/>
                    <a:pt x="131050" y="480192"/>
                    <a:pt x="130644" y="483535"/>
                  </a:cubicBezTo>
                  <a:cubicBezTo>
                    <a:pt x="129995" y="488214"/>
                    <a:pt x="136773" y="490721"/>
                    <a:pt x="134703" y="495066"/>
                  </a:cubicBezTo>
                  <a:cubicBezTo>
                    <a:pt x="132633" y="499411"/>
                    <a:pt x="136814" y="510106"/>
                    <a:pt x="140548" y="512747"/>
                  </a:cubicBezTo>
                  <a:cubicBezTo>
                    <a:pt x="144973" y="515855"/>
                    <a:pt x="136855" y="517660"/>
                    <a:pt x="141969" y="521972"/>
                  </a:cubicBezTo>
                  <a:cubicBezTo>
                    <a:pt x="149072" y="527988"/>
                    <a:pt x="148504" y="526618"/>
                    <a:pt x="140142" y="531297"/>
                  </a:cubicBezTo>
                  <a:cubicBezTo>
                    <a:pt x="131781" y="535976"/>
                    <a:pt x="150939" y="546170"/>
                    <a:pt x="139209" y="545970"/>
                  </a:cubicBezTo>
                  <a:cubicBezTo>
                    <a:pt x="114124" y="545569"/>
                    <a:pt x="139980" y="532601"/>
                    <a:pt x="131091" y="524512"/>
                  </a:cubicBezTo>
                  <a:cubicBezTo>
                    <a:pt x="123825" y="518028"/>
                    <a:pt x="106494" y="522841"/>
                    <a:pt x="120822" y="527854"/>
                  </a:cubicBezTo>
                  <a:cubicBezTo>
                    <a:pt x="140427" y="534907"/>
                    <a:pt x="115788" y="534773"/>
                    <a:pt x="118914" y="540121"/>
                  </a:cubicBezTo>
                  <a:cubicBezTo>
                    <a:pt x="122770" y="546605"/>
                    <a:pt x="100121" y="549981"/>
                    <a:pt x="113353" y="556031"/>
                  </a:cubicBezTo>
                  <a:cubicBezTo>
                    <a:pt x="116966" y="557702"/>
                    <a:pt x="109862" y="561512"/>
                    <a:pt x="108320" y="563384"/>
                  </a:cubicBezTo>
                  <a:cubicBezTo>
                    <a:pt x="106777" y="565255"/>
                    <a:pt x="103125" y="579226"/>
                    <a:pt x="109862" y="573946"/>
                  </a:cubicBezTo>
                  <a:cubicBezTo>
                    <a:pt x="112826" y="571606"/>
                    <a:pt x="108036" y="565456"/>
                    <a:pt x="116884" y="566392"/>
                  </a:cubicBezTo>
                  <a:cubicBezTo>
                    <a:pt x="124637" y="567227"/>
                    <a:pt x="121593" y="570469"/>
                    <a:pt x="129467" y="566392"/>
                  </a:cubicBezTo>
                  <a:cubicBezTo>
                    <a:pt x="148625" y="556565"/>
                    <a:pt x="135353" y="578357"/>
                    <a:pt x="135840" y="580630"/>
                  </a:cubicBezTo>
                  <a:cubicBezTo>
                    <a:pt x="138722" y="594267"/>
                    <a:pt x="153537" y="575650"/>
                    <a:pt x="162183" y="579962"/>
                  </a:cubicBezTo>
                  <a:cubicBezTo>
                    <a:pt x="163725" y="580730"/>
                    <a:pt x="166972" y="586947"/>
                    <a:pt x="162183" y="585543"/>
                  </a:cubicBezTo>
                  <a:cubicBezTo>
                    <a:pt x="149397" y="581700"/>
                    <a:pt x="151670" y="586914"/>
                    <a:pt x="143430" y="591393"/>
                  </a:cubicBezTo>
                  <a:cubicBezTo>
                    <a:pt x="135190" y="595871"/>
                    <a:pt x="123338" y="592161"/>
                    <a:pt x="120984" y="603626"/>
                  </a:cubicBezTo>
                  <a:cubicBezTo>
                    <a:pt x="119645" y="610310"/>
                    <a:pt x="140832" y="613887"/>
                    <a:pt x="142984" y="602188"/>
                  </a:cubicBezTo>
                  <a:cubicBezTo>
                    <a:pt x="143349" y="600083"/>
                    <a:pt x="146677" y="595504"/>
                    <a:pt x="150330" y="597442"/>
                  </a:cubicBezTo>
                  <a:cubicBezTo>
                    <a:pt x="158042" y="601720"/>
                    <a:pt x="149681" y="605063"/>
                    <a:pt x="145784" y="608138"/>
                  </a:cubicBezTo>
                  <a:cubicBezTo>
                    <a:pt x="141888" y="611213"/>
                    <a:pt x="140751" y="619469"/>
                    <a:pt x="137301" y="623479"/>
                  </a:cubicBezTo>
                  <a:cubicBezTo>
                    <a:pt x="129792" y="632270"/>
                    <a:pt x="145419" y="627523"/>
                    <a:pt x="147002" y="627824"/>
                  </a:cubicBezTo>
                  <a:cubicBezTo>
                    <a:pt x="148585" y="628125"/>
                    <a:pt x="148179" y="631167"/>
                    <a:pt x="149884" y="631735"/>
                  </a:cubicBezTo>
                  <a:cubicBezTo>
                    <a:pt x="156622" y="634543"/>
                    <a:pt x="160234" y="626655"/>
                    <a:pt x="156825" y="623312"/>
                  </a:cubicBezTo>
                  <a:cubicBezTo>
                    <a:pt x="148057" y="614722"/>
                    <a:pt x="168555" y="608238"/>
                    <a:pt x="166079" y="618499"/>
                  </a:cubicBezTo>
                  <a:cubicBezTo>
                    <a:pt x="164658" y="624382"/>
                    <a:pt x="170788" y="638119"/>
                    <a:pt x="165470" y="642096"/>
                  </a:cubicBezTo>
                  <a:cubicBezTo>
                    <a:pt x="166079" y="641662"/>
                    <a:pt x="159707" y="655131"/>
                    <a:pt x="156906" y="652123"/>
                  </a:cubicBezTo>
                  <a:cubicBezTo>
                    <a:pt x="158651" y="652424"/>
                    <a:pt x="160356" y="652959"/>
                    <a:pt x="161858" y="653761"/>
                  </a:cubicBezTo>
                  <a:cubicBezTo>
                    <a:pt x="163522" y="655733"/>
                    <a:pt x="161087" y="658507"/>
                    <a:pt x="161493" y="660680"/>
                  </a:cubicBezTo>
                  <a:cubicBezTo>
                    <a:pt x="162629" y="666462"/>
                    <a:pt x="170869" y="656201"/>
                    <a:pt x="173426" y="656101"/>
                  </a:cubicBezTo>
                  <a:cubicBezTo>
                    <a:pt x="178662" y="655833"/>
                    <a:pt x="190230" y="648748"/>
                    <a:pt x="193193" y="652758"/>
                  </a:cubicBezTo>
                  <a:cubicBezTo>
                    <a:pt x="194330" y="654296"/>
                    <a:pt x="180691" y="667732"/>
                    <a:pt x="185075" y="667465"/>
                  </a:cubicBezTo>
                  <a:cubicBezTo>
                    <a:pt x="187389" y="666696"/>
                    <a:pt x="189540" y="665660"/>
                    <a:pt x="191488" y="664356"/>
                  </a:cubicBezTo>
                  <a:cubicBezTo>
                    <a:pt x="197130" y="661515"/>
                    <a:pt x="197130" y="665192"/>
                    <a:pt x="201514" y="666161"/>
                  </a:cubicBezTo>
                  <a:cubicBezTo>
                    <a:pt x="207684" y="667532"/>
                    <a:pt x="202772" y="658374"/>
                    <a:pt x="207359" y="657070"/>
                  </a:cubicBezTo>
                  <a:cubicBezTo>
                    <a:pt x="211174" y="656000"/>
                    <a:pt x="222337" y="657070"/>
                    <a:pt x="221241" y="661582"/>
                  </a:cubicBezTo>
                  <a:cubicBezTo>
                    <a:pt x="219414" y="669036"/>
                    <a:pt x="205979" y="668835"/>
                    <a:pt x="200134" y="672579"/>
                  </a:cubicBezTo>
                  <a:cubicBezTo>
                    <a:pt x="194289" y="676322"/>
                    <a:pt x="199403" y="684778"/>
                    <a:pt x="206791" y="683408"/>
                  </a:cubicBezTo>
                  <a:cubicBezTo>
                    <a:pt x="214178" y="682037"/>
                    <a:pt x="216004" y="672378"/>
                    <a:pt x="223229" y="669236"/>
                  </a:cubicBezTo>
                  <a:cubicBezTo>
                    <a:pt x="229318" y="666596"/>
                    <a:pt x="235934" y="664858"/>
                    <a:pt x="242753" y="664122"/>
                  </a:cubicBezTo>
                  <a:cubicBezTo>
                    <a:pt x="249126" y="663487"/>
                    <a:pt x="253956" y="666462"/>
                    <a:pt x="245594" y="668935"/>
                  </a:cubicBezTo>
                  <a:cubicBezTo>
                    <a:pt x="238694" y="670941"/>
                    <a:pt x="239384" y="673080"/>
                    <a:pt x="234230" y="676356"/>
                  </a:cubicBezTo>
                  <a:cubicBezTo>
                    <a:pt x="227816" y="680433"/>
                    <a:pt x="222580" y="675720"/>
                    <a:pt x="217994" y="681636"/>
                  </a:cubicBezTo>
                  <a:cubicBezTo>
                    <a:pt x="210200" y="691229"/>
                    <a:pt x="219576" y="699852"/>
                    <a:pt x="227045" y="687686"/>
                  </a:cubicBezTo>
                  <a:cubicBezTo>
                    <a:pt x="228953" y="684544"/>
                    <a:pt x="256432" y="668568"/>
                    <a:pt x="259517" y="670673"/>
                  </a:cubicBezTo>
                  <a:cubicBezTo>
                    <a:pt x="264631" y="674283"/>
                    <a:pt x="257609" y="679932"/>
                    <a:pt x="252982" y="681703"/>
                  </a:cubicBezTo>
                  <a:cubicBezTo>
                    <a:pt x="245432" y="684578"/>
                    <a:pt x="232403" y="682305"/>
                    <a:pt x="238776" y="693602"/>
                  </a:cubicBezTo>
                  <a:cubicBezTo>
                    <a:pt x="242226" y="699652"/>
                    <a:pt x="194817" y="695440"/>
                    <a:pt x="217141" y="706437"/>
                  </a:cubicBezTo>
                  <a:cubicBezTo>
                    <a:pt x="226355" y="710982"/>
                    <a:pt x="228101" y="707640"/>
                    <a:pt x="237193" y="705935"/>
                  </a:cubicBezTo>
                  <a:cubicBezTo>
                    <a:pt x="242753" y="704899"/>
                    <a:pt x="260004" y="713322"/>
                    <a:pt x="259354" y="702894"/>
                  </a:cubicBezTo>
                  <a:cubicBezTo>
                    <a:pt x="259354" y="699752"/>
                    <a:pt x="248557" y="704097"/>
                    <a:pt x="249004" y="698783"/>
                  </a:cubicBezTo>
                  <a:cubicBezTo>
                    <a:pt x="249532" y="692666"/>
                    <a:pt x="266052" y="695140"/>
                    <a:pt x="270557" y="689224"/>
                  </a:cubicBezTo>
                  <a:cubicBezTo>
                    <a:pt x="275956" y="682104"/>
                    <a:pt x="266498" y="678160"/>
                    <a:pt x="267716" y="671542"/>
                  </a:cubicBezTo>
                  <a:cubicBezTo>
                    <a:pt x="268609" y="665794"/>
                    <a:pt x="278838" y="656769"/>
                    <a:pt x="286265" y="655031"/>
                  </a:cubicBezTo>
                  <a:cubicBezTo>
                    <a:pt x="293693" y="653293"/>
                    <a:pt x="284236" y="664624"/>
                    <a:pt x="282897" y="665559"/>
                  </a:cubicBezTo>
                  <a:cubicBezTo>
                    <a:pt x="276686" y="669905"/>
                    <a:pt x="276199" y="677525"/>
                    <a:pt x="287605" y="676356"/>
                  </a:cubicBezTo>
                  <a:cubicBezTo>
                    <a:pt x="293247" y="675754"/>
                    <a:pt x="297631" y="668601"/>
                    <a:pt x="303841" y="670606"/>
                  </a:cubicBezTo>
                  <a:cubicBezTo>
                    <a:pt x="310051" y="672612"/>
                    <a:pt x="297671" y="677626"/>
                    <a:pt x="296048" y="679397"/>
                  </a:cubicBezTo>
                  <a:cubicBezTo>
                    <a:pt x="291258" y="684544"/>
                    <a:pt x="303029" y="685480"/>
                    <a:pt x="302948" y="689658"/>
                  </a:cubicBezTo>
                  <a:cubicBezTo>
                    <a:pt x="302745" y="697980"/>
                    <a:pt x="293572" y="690126"/>
                    <a:pt x="292232" y="688054"/>
                  </a:cubicBezTo>
                  <a:cubicBezTo>
                    <a:pt x="280055" y="669270"/>
                    <a:pt x="281476" y="699016"/>
                    <a:pt x="288173" y="696877"/>
                  </a:cubicBezTo>
                  <a:cubicBezTo>
                    <a:pt x="282125" y="698783"/>
                    <a:pt x="275996" y="691329"/>
                    <a:pt x="269948" y="693535"/>
                  </a:cubicBezTo>
                  <a:cubicBezTo>
                    <a:pt x="259720" y="697145"/>
                    <a:pt x="276930" y="701590"/>
                    <a:pt x="271247" y="703897"/>
                  </a:cubicBezTo>
                  <a:cubicBezTo>
                    <a:pt x="267188" y="705434"/>
                    <a:pt x="257487" y="710147"/>
                    <a:pt x="265199" y="713689"/>
                  </a:cubicBezTo>
                  <a:cubicBezTo>
                    <a:pt x="271044" y="716363"/>
                    <a:pt x="279122" y="704331"/>
                    <a:pt x="286874" y="710815"/>
                  </a:cubicBezTo>
                  <a:cubicBezTo>
                    <a:pt x="287524" y="711316"/>
                    <a:pt x="299051" y="723783"/>
                    <a:pt x="299985" y="718937"/>
                  </a:cubicBezTo>
                  <a:cubicBezTo>
                    <a:pt x="301000" y="714726"/>
                    <a:pt x="295682" y="710715"/>
                    <a:pt x="297955" y="706403"/>
                  </a:cubicBezTo>
                  <a:cubicBezTo>
                    <a:pt x="300228" y="702092"/>
                    <a:pt x="317641" y="722346"/>
                    <a:pt x="328520" y="714392"/>
                  </a:cubicBezTo>
                  <a:cubicBezTo>
                    <a:pt x="329209" y="713890"/>
                    <a:pt x="324095" y="709879"/>
                    <a:pt x="326368" y="707406"/>
                  </a:cubicBezTo>
                  <a:cubicBezTo>
                    <a:pt x="329818" y="703662"/>
                    <a:pt x="337734" y="707707"/>
                    <a:pt x="340980" y="709077"/>
                  </a:cubicBezTo>
                  <a:cubicBezTo>
                    <a:pt x="343416" y="710113"/>
                    <a:pt x="353969" y="715595"/>
                    <a:pt x="356851" y="711918"/>
                  </a:cubicBezTo>
                  <a:cubicBezTo>
                    <a:pt x="360585" y="707272"/>
                    <a:pt x="345039" y="704365"/>
                    <a:pt x="344309" y="701690"/>
                  </a:cubicBezTo>
                  <a:cubicBezTo>
                    <a:pt x="343741" y="699585"/>
                    <a:pt x="362858" y="699217"/>
                    <a:pt x="364401" y="699050"/>
                  </a:cubicBezTo>
                  <a:cubicBezTo>
                    <a:pt x="371869" y="698181"/>
                    <a:pt x="370895" y="692031"/>
                    <a:pt x="375725" y="691797"/>
                  </a:cubicBezTo>
                  <a:cubicBezTo>
                    <a:pt x="366877" y="690326"/>
                    <a:pt x="340209" y="704231"/>
                    <a:pt x="336759" y="698916"/>
                  </a:cubicBezTo>
                  <a:cubicBezTo>
                    <a:pt x="329331" y="687619"/>
                    <a:pt x="325475" y="674350"/>
                    <a:pt x="320889" y="662150"/>
                  </a:cubicBezTo>
                  <a:cubicBezTo>
                    <a:pt x="319102" y="657471"/>
                    <a:pt x="317357" y="652792"/>
                    <a:pt x="315693" y="648112"/>
                  </a:cubicBezTo>
                  <a:cubicBezTo>
                    <a:pt x="310254" y="648781"/>
                    <a:pt x="298848" y="654998"/>
                    <a:pt x="294546" y="650218"/>
                  </a:cubicBezTo>
                  <a:cubicBezTo>
                    <a:pt x="290812" y="646040"/>
                    <a:pt x="299213" y="645038"/>
                    <a:pt x="290933" y="643533"/>
                  </a:cubicBezTo>
                  <a:cubicBezTo>
                    <a:pt x="284764" y="642531"/>
                    <a:pt x="278351" y="642932"/>
                    <a:pt x="272465" y="644737"/>
                  </a:cubicBezTo>
                  <a:cubicBezTo>
                    <a:pt x="262196" y="647577"/>
                    <a:pt x="252251" y="651087"/>
                    <a:pt x="242672" y="655232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285119B4-2AD8-4BED-8784-DA1A681719B7}"/>
                </a:ext>
              </a:extLst>
            </p:cNvPr>
            <p:cNvSpPr/>
            <p:nvPr/>
          </p:nvSpPr>
          <p:spPr>
            <a:xfrm>
              <a:off x="4251131" y="5555501"/>
              <a:ext cx="230768" cy="99008"/>
            </a:xfrm>
            <a:custGeom>
              <a:avLst/>
              <a:gdLst>
                <a:gd name="connsiteX0" fmla="*/ 225254 w 236848"/>
                <a:gd name="connsiteY0" fmla="*/ 49930 h 135565"/>
                <a:gd name="connsiteX1" fmla="*/ 205243 w 236848"/>
                <a:gd name="connsiteY1" fmla="*/ 57952 h 135565"/>
                <a:gd name="connsiteX2" fmla="*/ 191686 w 236848"/>
                <a:gd name="connsiteY2" fmla="*/ 47925 h 135565"/>
                <a:gd name="connsiteX3" fmla="*/ 162137 w 236848"/>
                <a:gd name="connsiteY3" fmla="*/ 34555 h 135565"/>
                <a:gd name="connsiteX4" fmla="*/ 125322 w 236848"/>
                <a:gd name="connsiteY4" fmla="*/ 36427 h 135565"/>
                <a:gd name="connsiteX5" fmla="*/ 121263 w 236848"/>
                <a:gd name="connsiteY5" fmla="*/ 19715 h 135565"/>
                <a:gd name="connsiteX6" fmla="*/ 110831 w 236848"/>
                <a:gd name="connsiteY6" fmla="*/ 9688 h 135565"/>
                <a:gd name="connsiteX7" fmla="*/ 107706 w 236848"/>
                <a:gd name="connsiteY7" fmla="*/ -339 h 135565"/>
                <a:gd name="connsiteX8" fmla="*/ 83352 w 236848"/>
                <a:gd name="connsiteY8" fmla="*/ 229 h 135565"/>
                <a:gd name="connsiteX9" fmla="*/ 48689 w 236848"/>
                <a:gd name="connsiteY9" fmla="*/ 10524 h 135565"/>
                <a:gd name="connsiteX10" fmla="*/ 23645 w 236848"/>
                <a:gd name="connsiteY10" fmla="*/ 19247 h 135565"/>
                <a:gd name="connsiteX11" fmla="*/ 8058 w 236848"/>
                <a:gd name="connsiteY11" fmla="*/ 48393 h 135565"/>
                <a:gd name="connsiteX12" fmla="*/ -60 w 236848"/>
                <a:gd name="connsiteY12" fmla="*/ 71555 h 135565"/>
                <a:gd name="connsiteX13" fmla="*/ 55548 w 236848"/>
                <a:gd name="connsiteY13" fmla="*/ 87766 h 135565"/>
                <a:gd name="connsiteX14" fmla="*/ 89116 w 236848"/>
                <a:gd name="connsiteY14" fmla="*/ 87766 h 135565"/>
                <a:gd name="connsiteX15" fmla="*/ 111765 w 236848"/>
                <a:gd name="connsiteY15" fmla="*/ 92311 h 135565"/>
                <a:gd name="connsiteX16" fmla="*/ 157428 w 236848"/>
                <a:gd name="connsiteY16" fmla="*/ 94283 h 135565"/>
                <a:gd name="connsiteX17" fmla="*/ 152395 w 236848"/>
                <a:gd name="connsiteY17" fmla="*/ 107653 h 135565"/>
                <a:gd name="connsiteX18" fmla="*/ 147890 w 236848"/>
                <a:gd name="connsiteY18" fmla="*/ 128208 h 135565"/>
                <a:gd name="connsiteX19" fmla="*/ 145333 w 236848"/>
                <a:gd name="connsiteY19" fmla="*/ 135227 h 135565"/>
                <a:gd name="connsiteX20" fmla="*/ 173299 w 236848"/>
                <a:gd name="connsiteY20" fmla="*/ 131651 h 135565"/>
                <a:gd name="connsiteX21" fmla="*/ 205000 w 236848"/>
                <a:gd name="connsiteY21" fmla="*/ 122894 h 135565"/>
                <a:gd name="connsiteX22" fmla="*/ 215918 w 236848"/>
                <a:gd name="connsiteY22" fmla="*/ 118282 h 135565"/>
                <a:gd name="connsiteX23" fmla="*/ 225416 w 236848"/>
                <a:gd name="connsiteY23" fmla="*/ 110026 h 135565"/>
                <a:gd name="connsiteX24" fmla="*/ 233534 w 236848"/>
                <a:gd name="connsiteY24" fmla="*/ 81315 h 135565"/>
                <a:gd name="connsiteX25" fmla="*/ 224889 w 236848"/>
                <a:gd name="connsiteY25" fmla="*/ 49763 h 135565"/>
                <a:gd name="connsiteX26" fmla="*/ 225254 w 236848"/>
                <a:gd name="connsiteY26" fmla="*/ 49930 h 13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6848" h="135565">
                  <a:moveTo>
                    <a:pt x="225254" y="49930"/>
                  </a:moveTo>
                  <a:cubicBezTo>
                    <a:pt x="215107" y="49128"/>
                    <a:pt x="213077" y="56047"/>
                    <a:pt x="205243" y="57952"/>
                  </a:cubicBezTo>
                  <a:cubicBezTo>
                    <a:pt x="201184" y="58921"/>
                    <a:pt x="193269" y="49529"/>
                    <a:pt x="191686" y="47925"/>
                  </a:cubicBezTo>
                  <a:cubicBezTo>
                    <a:pt x="185354" y="41641"/>
                    <a:pt x="176100" y="28272"/>
                    <a:pt x="162137" y="34555"/>
                  </a:cubicBezTo>
                  <a:cubicBezTo>
                    <a:pt x="156617" y="36995"/>
                    <a:pt x="127717" y="41240"/>
                    <a:pt x="125322" y="36427"/>
                  </a:cubicBezTo>
                  <a:cubicBezTo>
                    <a:pt x="122603" y="31046"/>
                    <a:pt x="125322" y="24929"/>
                    <a:pt x="121263" y="19715"/>
                  </a:cubicBezTo>
                  <a:cubicBezTo>
                    <a:pt x="119112" y="17041"/>
                    <a:pt x="110304" y="13031"/>
                    <a:pt x="110831" y="9688"/>
                  </a:cubicBezTo>
                  <a:cubicBezTo>
                    <a:pt x="111765" y="3973"/>
                    <a:pt x="117610" y="4040"/>
                    <a:pt x="107706" y="-339"/>
                  </a:cubicBezTo>
                  <a:cubicBezTo>
                    <a:pt x="101334" y="4675"/>
                    <a:pt x="90780" y="62"/>
                    <a:pt x="83352" y="229"/>
                  </a:cubicBezTo>
                  <a:cubicBezTo>
                    <a:pt x="70891" y="1132"/>
                    <a:pt x="58958" y="4675"/>
                    <a:pt x="48689" y="10524"/>
                  </a:cubicBezTo>
                  <a:cubicBezTo>
                    <a:pt x="41869" y="15036"/>
                    <a:pt x="31235" y="15537"/>
                    <a:pt x="23645" y="19247"/>
                  </a:cubicBezTo>
                  <a:cubicBezTo>
                    <a:pt x="11021" y="24929"/>
                    <a:pt x="4608" y="36895"/>
                    <a:pt x="8058" y="48393"/>
                  </a:cubicBezTo>
                  <a:cubicBezTo>
                    <a:pt x="10128" y="56816"/>
                    <a:pt x="16176" y="68447"/>
                    <a:pt x="-60" y="71555"/>
                  </a:cubicBezTo>
                  <a:cubicBezTo>
                    <a:pt x="15892" y="80914"/>
                    <a:pt x="36796" y="82150"/>
                    <a:pt x="55548" y="87766"/>
                  </a:cubicBezTo>
                  <a:cubicBezTo>
                    <a:pt x="67360" y="91309"/>
                    <a:pt x="76330" y="87766"/>
                    <a:pt x="89116" y="87766"/>
                  </a:cubicBezTo>
                  <a:cubicBezTo>
                    <a:pt x="98167" y="87766"/>
                    <a:pt x="103607" y="91409"/>
                    <a:pt x="111765" y="92311"/>
                  </a:cubicBezTo>
                  <a:cubicBezTo>
                    <a:pt x="126337" y="93949"/>
                    <a:pt x="143628" y="91142"/>
                    <a:pt x="157428" y="94283"/>
                  </a:cubicBezTo>
                  <a:cubicBezTo>
                    <a:pt x="163477" y="95654"/>
                    <a:pt x="154019" y="105313"/>
                    <a:pt x="152395" y="107653"/>
                  </a:cubicBezTo>
                  <a:cubicBezTo>
                    <a:pt x="147200" y="115374"/>
                    <a:pt x="151178" y="121022"/>
                    <a:pt x="147890" y="128208"/>
                  </a:cubicBezTo>
                  <a:cubicBezTo>
                    <a:pt x="147281" y="129478"/>
                    <a:pt x="140462" y="134893"/>
                    <a:pt x="145333" y="135227"/>
                  </a:cubicBezTo>
                  <a:cubicBezTo>
                    <a:pt x="154790" y="134893"/>
                    <a:pt x="164166" y="133690"/>
                    <a:pt x="173299" y="131651"/>
                  </a:cubicBezTo>
                  <a:cubicBezTo>
                    <a:pt x="183934" y="129144"/>
                    <a:pt x="196679" y="128309"/>
                    <a:pt x="205000" y="122894"/>
                  </a:cubicBezTo>
                  <a:cubicBezTo>
                    <a:pt x="208491" y="120554"/>
                    <a:pt x="212631" y="120320"/>
                    <a:pt x="215918" y="118282"/>
                  </a:cubicBezTo>
                  <a:cubicBezTo>
                    <a:pt x="219206" y="116243"/>
                    <a:pt x="221560" y="112432"/>
                    <a:pt x="225416" y="110026"/>
                  </a:cubicBezTo>
                  <a:cubicBezTo>
                    <a:pt x="236538" y="103508"/>
                    <a:pt x="240029" y="91208"/>
                    <a:pt x="233534" y="81315"/>
                  </a:cubicBezTo>
                  <a:cubicBezTo>
                    <a:pt x="230003" y="75466"/>
                    <a:pt x="237025" y="50766"/>
                    <a:pt x="224889" y="49763"/>
                  </a:cubicBezTo>
                  <a:cubicBezTo>
                    <a:pt x="215188" y="49161"/>
                    <a:pt x="235280" y="50766"/>
                    <a:pt x="225254" y="4993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B716DC66-557A-471C-93DB-90792D94EC72}"/>
                </a:ext>
              </a:extLst>
            </p:cNvPr>
            <p:cNvSpPr/>
            <p:nvPr/>
          </p:nvSpPr>
          <p:spPr>
            <a:xfrm>
              <a:off x="3424223" y="5343324"/>
              <a:ext cx="95028" cy="26161"/>
            </a:xfrm>
            <a:custGeom>
              <a:avLst/>
              <a:gdLst>
                <a:gd name="connsiteX0" fmla="*/ 95042 w 97531"/>
                <a:gd name="connsiteY0" fmla="*/ 20885 h 35821"/>
                <a:gd name="connsiteX1" fmla="*/ 87330 w 97531"/>
                <a:gd name="connsiteY1" fmla="*/ 8017 h 35821"/>
                <a:gd name="connsiteX2" fmla="*/ 57091 w 97531"/>
                <a:gd name="connsiteY2" fmla="*/ -339 h 35821"/>
                <a:gd name="connsiteX3" fmla="*/ -60 w 97531"/>
                <a:gd name="connsiteY3" fmla="*/ 15604 h 35821"/>
                <a:gd name="connsiteX4" fmla="*/ 15649 w 97531"/>
                <a:gd name="connsiteY4" fmla="*/ 33352 h 35821"/>
                <a:gd name="connsiteX5" fmla="*/ 41383 w 97531"/>
                <a:gd name="connsiteY5" fmla="*/ 27871 h 35821"/>
                <a:gd name="connsiteX6" fmla="*/ 58836 w 97531"/>
                <a:gd name="connsiteY6" fmla="*/ 25999 h 35821"/>
                <a:gd name="connsiteX7" fmla="*/ 71500 w 97531"/>
                <a:gd name="connsiteY7" fmla="*/ 33218 h 35821"/>
                <a:gd name="connsiteX8" fmla="*/ 95042 w 97531"/>
                <a:gd name="connsiteY8" fmla="*/ 20885 h 3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1" h="35821">
                  <a:moveTo>
                    <a:pt x="95042" y="20885"/>
                  </a:moveTo>
                  <a:cubicBezTo>
                    <a:pt x="88426" y="15537"/>
                    <a:pt x="98777" y="10691"/>
                    <a:pt x="87330" y="8017"/>
                  </a:cubicBezTo>
                  <a:cubicBezTo>
                    <a:pt x="77073" y="5684"/>
                    <a:pt x="66978" y="2897"/>
                    <a:pt x="57091" y="-339"/>
                  </a:cubicBezTo>
                  <a:cubicBezTo>
                    <a:pt x="40287" y="7249"/>
                    <a:pt x="17841" y="8051"/>
                    <a:pt x="-60" y="15604"/>
                  </a:cubicBezTo>
                  <a:cubicBezTo>
                    <a:pt x="7612" y="21253"/>
                    <a:pt x="-8746" y="36126"/>
                    <a:pt x="15649" y="33352"/>
                  </a:cubicBezTo>
                  <a:cubicBezTo>
                    <a:pt x="31276" y="31581"/>
                    <a:pt x="25025" y="24662"/>
                    <a:pt x="41383" y="27871"/>
                  </a:cubicBezTo>
                  <a:cubicBezTo>
                    <a:pt x="45442" y="28673"/>
                    <a:pt x="53803" y="25732"/>
                    <a:pt x="58836" y="25999"/>
                  </a:cubicBezTo>
                  <a:cubicBezTo>
                    <a:pt x="67401" y="26434"/>
                    <a:pt x="67482" y="29542"/>
                    <a:pt x="71500" y="33218"/>
                  </a:cubicBezTo>
                  <a:cubicBezTo>
                    <a:pt x="79212" y="40238"/>
                    <a:pt x="105514" y="29475"/>
                    <a:pt x="95042" y="2088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C8EA2B48-9418-455E-B41C-870E0B552D4C}"/>
                </a:ext>
              </a:extLst>
            </p:cNvPr>
            <p:cNvSpPr/>
            <p:nvPr/>
          </p:nvSpPr>
          <p:spPr>
            <a:xfrm>
              <a:off x="3514781" y="5322916"/>
              <a:ext cx="157591" cy="43158"/>
            </a:xfrm>
            <a:custGeom>
              <a:avLst/>
              <a:gdLst>
                <a:gd name="connsiteX0" fmla="*/ 139658 w 161743"/>
                <a:gd name="connsiteY0" fmla="*/ 1801 h 59093"/>
                <a:gd name="connsiteX1" fmla="*/ 72928 w 161743"/>
                <a:gd name="connsiteY1" fmla="*/ 14736 h 59093"/>
                <a:gd name="connsiteX2" fmla="*/ 38589 w 161743"/>
                <a:gd name="connsiteY2" fmla="*/ 37799 h 59093"/>
                <a:gd name="connsiteX3" fmla="*/ 1166 w 161743"/>
                <a:gd name="connsiteY3" fmla="*/ 37431 h 59093"/>
                <a:gd name="connsiteX4" fmla="*/ 3114 w 161743"/>
                <a:gd name="connsiteY4" fmla="*/ 58755 h 59093"/>
                <a:gd name="connsiteX5" fmla="*/ 42527 w 161743"/>
                <a:gd name="connsiteY5" fmla="*/ 55714 h 59093"/>
                <a:gd name="connsiteX6" fmla="*/ 76095 w 161743"/>
                <a:gd name="connsiteY6" fmla="*/ 55714 h 59093"/>
                <a:gd name="connsiteX7" fmla="*/ 76622 w 161743"/>
                <a:gd name="connsiteY7" fmla="*/ 41809 h 59093"/>
                <a:gd name="connsiteX8" fmla="*/ 84740 w 161743"/>
                <a:gd name="connsiteY8" fmla="*/ 24697 h 59093"/>
                <a:gd name="connsiteX9" fmla="*/ 111042 w 161743"/>
                <a:gd name="connsiteY9" fmla="*/ 11661 h 59093"/>
                <a:gd name="connsiteX10" fmla="*/ 130079 w 161743"/>
                <a:gd name="connsiteY10" fmla="*/ 26836 h 59093"/>
                <a:gd name="connsiteX11" fmla="*/ 148263 w 161743"/>
                <a:gd name="connsiteY11" fmla="*/ 31047 h 59093"/>
                <a:gd name="connsiteX12" fmla="*/ 158938 w 161743"/>
                <a:gd name="connsiteY12" fmla="*/ 17377 h 59093"/>
                <a:gd name="connsiteX13" fmla="*/ 139739 w 161743"/>
                <a:gd name="connsiteY13" fmla="*/ 1668 h 59093"/>
                <a:gd name="connsiteX14" fmla="*/ 139658 w 161743"/>
                <a:gd name="connsiteY14" fmla="*/ 1801 h 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743" h="59093">
                  <a:moveTo>
                    <a:pt x="139658" y="1801"/>
                  </a:moveTo>
                  <a:cubicBezTo>
                    <a:pt x="123787" y="-4248"/>
                    <a:pt x="86648" y="3305"/>
                    <a:pt x="72928" y="14736"/>
                  </a:cubicBezTo>
                  <a:cubicBezTo>
                    <a:pt x="61645" y="24128"/>
                    <a:pt x="57342" y="33988"/>
                    <a:pt x="38589" y="37799"/>
                  </a:cubicBezTo>
                  <a:cubicBezTo>
                    <a:pt x="26279" y="40299"/>
                    <a:pt x="13399" y="40172"/>
                    <a:pt x="1166" y="37431"/>
                  </a:cubicBezTo>
                  <a:cubicBezTo>
                    <a:pt x="-2406" y="44116"/>
                    <a:pt x="2952" y="52137"/>
                    <a:pt x="3114" y="58755"/>
                  </a:cubicBezTo>
                  <a:cubicBezTo>
                    <a:pt x="15697" y="55413"/>
                    <a:pt x="31527" y="52839"/>
                    <a:pt x="42527" y="55714"/>
                  </a:cubicBezTo>
                  <a:cubicBezTo>
                    <a:pt x="46910" y="56850"/>
                    <a:pt x="72360" y="57719"/>
                    <a:pt x="76095" y="55714"/>
                  </a:cubicBezTo>
                  <a:cubicBezTo>
                    <a:pt x="88799" y="49330"/>
                    <a:pt x="85958" y="44316"/>
                    <a:pt x="76622" y="41809"/>
                  </a:cubicBezTo>
                  <a:cubicBezTo>
                    <a:pt x="69235" y="39771"/>
                    <a:pt x="81615" y="29242"/>
                    <a:pt x="84740" y="24697"/>
                  </a:cubicBezTo>
                  <a:cubicBezTo>
                    <a:pt x="88799" y="18747"/>
                    <a:pt x="101828" y="12397"/>
                    <a:pt x="111042" y="11661"/>
                  </a:cubicBezTo>
                  <a:cubicBezTo>
                    <a:pt x="133204" y="9957"/>
                    <a:pt x="117212" y="22223"/>
                    <a:pt x="130079" y="26836"/>
                  </a:cubicBezTo>
                  <a:cubicBezTo>
                    <a:pt x="135952" y="28737"/>
                    <a:pt x="142045" y="30148"/>
                    <a:pt x="148263" y="31047"/>
                  </a:cubicBezTo>
                  <a:cubicBezTo>
                    <a:pt x="151713" y="26468"/>
                    <a:pt x="155123" y="21855"/>
                    <a:pt x="158938" y="17377"/>
                  </a:cubicBezTo>
                  <a:cubicBezTo>
                    <a:pt x="168436" y="6247"/>
                    <a:pt x="151145" y="6013"/>
                    <a:pt x="139739" y="1668"/>
                  </a:cubicBezTo>
                  <a:cubicBezTo>
                    <a:pt x="125776" y="-3413"/>
                    <a:pt x="149075" y="5445"/>
                    <a:pt x="139658" y="1801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76CDEBA7-0A13-4EDD-9A14-A5462434869A}"/>
                </a:ext>
              </a:extLst>
            </p:cNvPr>
            <p:cNvSpPr/>
            <p:nvPr/>
          </p:nvSpPr>
          <p:spPr>
            <a:xfrm>
              <a:off x="3658941" y="5242233"/>
              <a:ext cx="322259" cy="188159"/>
            </a:xfrm>
            <a:custGeom>
              <a:avLst/>
              <a:gdLst>
                <a:gd name="connsiteX0" fmla="*/ 75275 w 330749"/>
                <a:gd name="connsiteY0" fmla="*/ 244366 h 257633"/>
                <a:gd name="connsiteX1" fmla="*/ 100562 w 330749"/>
                <a:gd name="connsiteY1" fmla="*/ 236544 h 257633"/>
                <a:gd name="connsiteX2" fmla="*/ 118665 w 330749"/>
                <a:gd name="connsiteY2" fmla="*/ 240388 h 257633"/>
                <a:gd name="connsiteX3" fmla="*/ 132588 w 330749"/>
                <a:gd name="connsiteY3" fmla="*/ 235442 h 257633"/>
                <a:gd name="connsiteX4" fmla="*/ 154465 w 330749"/>
                <a:gd name="connsiteY4" fmla="*/ 239352 h 257633"/>
                <a:gd name="connsiteX5" fmla="*/ 184461 w 330749"/>
                <a:gd name="connsiteY5" fmla="*/ 243998 h 257633"/>
                <a:gd name="connsiteX6" fmla="*/ 222859 w 330749"/>
                <a:gd name="connsiteY6" fmla="*/ 250014 h 257633"/>
                <a:gd name="connsiteX7" fmla="*/ 276357 w 330749"/>
                <a:gd name="connsiteY7" fmla="*/ 233703 h 257633"/>
                <a:gd name="connsiteX8" fmla="*/ 288818 w 330749"/>
                <a:gd name="connsiteY8" fmla="*/ 256532 h 257633"/>
                <a:gd name="connsiteX9" fmla="*/ 303876 w 330749"/>
                <a:gd name="connsiteY9" fmla="*/ 250850 h 257633"/>
                <a:gd name="connsiteX10" fmla="*/ 299817 w 330749"/>
                <a:gd name="connsiteY10" fmla="*/ 230261 h 257633"/>
                <a:gd name="connsiteX11" fmla="*/ 296530 w 330749"/>
                <a:gd name="connsiteY11" fmla="*/ 209271 h 257633"/>
                <a:gd name="connsiteX12" fmla="*/ 277493 w 330749"/>
                <a:gd name="connsiteY12" fmla="*/ 195901 h 257633"/>
                <a:gd name="connsiteX13" fmla="*/ 270593 w 330749"/>
                <a:gd name="connsiteY13" fmla="*/ 180192 h 257633"/>
                <a:gd name="connsiteX14" fmla="*/ 274124 w 330749"/>
                <a:gd name="connsiteY14" fmla="*/ 169330 h 257633"/>
                <a:gd name="connsiteX15" fmla="*/ 266615 w 330749"/>
                <a:gd name="connsiteY15" fmla="*/ 160038 h 257633"/>
                <a:gd name="connsiteX16" fmla="*/ 295312 w 330749"/>
                <a:gd name="connsiteY16" fmla="*/ 150947 h 257633"/>
                <a:gd name="connsiteX17" fmla="*/ 322264 w 330749"/>
                <a:gd name="connsiteY17" fmla="*/ 127316 h 257633"/>
                <a:gd name="connsiteX18" fmla="*/ 315201 w 330749"/>
                <a:gd name="connsiteY18" fmla="*/ 109167 h 257633"/>
                <a:gd name="connsiteX19" fmla="*/ 294906 w 330749"/>
                <a:gd name="connsiteY19" fmla="*/ 96399 h 257633"/>
                <a:gd name="connsiteX20" fmla="*/ 296246 w 330749"/>
                <a:gd name="connsiteY20" fmla="*/ 74273 h 257633"/>
                <a:gd name="connsiteX21" fmla="*/ 273028 w 330749"/>
                <a:gd name="connsiteY21" fmla="*/ 74607 h 257633"/>
                <a:gd name="connsiteX22" fmla="*/ 233332 w 330749"/>
                <a:gd name="connsiteY22" fmla="*/ 82930 h 257633"/>
                <a:gd name="connsiteX23" fmla="*/ 202199 w 330749"/>
                <a:gd name="connsiteY23" fmla="*/ 80724 h 257633"/>
                <a:gd name="connsiteX24" fmla="*/ 146754 w 330749"/>
                <a:gd name="connsiteY24" fmla="*/ 82997 h 257633"/>
                <a:gd name="connsiteX25" fmla="*/ 134211 w 330749"/>
                <a:gd name="connsiteY25" fmla="*/ 71666 h 257633"/>
                <a:gd name="connsiteX26" fmla="*/ 124754 w 330749"/>
                <a:gd name="connsiteY26" fmla="*/ 67354 h 257633"/>
                <a:gd name="connsiteX27" fmla="*/ 110507 w 330749"/>
                <a:gd name="connsiteY27" fmla="*/ 69627 h 257633"/>
                <a:gd name="connsiteX28" fmla="*/ 115540 w 330749"/>
                <a:gd name="connsiteY28" fmla="*/ 58330 h 257633"/>
                <a:gd name="connsiteX29" fmla="*/ 112902 w 330749"/>
                <a:gd name="connsiteY29" fmla="*/ 48303 h 257633"/>
                <a:gd name="connsiteX30" fmla="*/ 131613 w 330749"/>
                <a:gd name="connsiteY30" fmla="*/ 19726 h 257633"/>
                <a:gd name="connsiteX31" fmla="*/ 149392 w 330749"/>
                <a:gd name="connsiteY31" fmla="*/ 774 h 257633"/>
                <a:gd name="connsiteX32" fmla="*/ 123577 w 330749"/>
                <a:gd name="connsiteY32" fmla="*/ 13008 h 257633"/>
                <a:gd name="connsiteX33" fmla="*/ 109857 w 330749"/>
                <a:gd name="connsiteY33" fmla="*/ 21096 h 257633"/>
                <a:gd name="connsiteX34" fmla="*/ 95894 w 330749"/>
                <a:gd name="connsiteY34" fmla="*/ 33563 h 257633"/>
                <a:gd name="connsiteX35" fmla="*/ 69876 w 330749"/>
                <a:gd name="connsiteY35" fmla="*/ 48871 h 257633"/>
                <a:gd name="connsiteX36" fmla="*/ 43290 w 330749"/>
                <a:gd name="connsiteY36" fmla="*/ 62241 h 257633"/>
                <a:gd name="connsiteX37" fmla="*/ 38257 w 330749"/>
                <a:gd name="connsiteY37" fmla="*/ 89347 h 257633"/>
                <a:gd name="connsiteX38" fmla="*/ 19951 w 330749"/>
                <a:gd name="connsiteY38" fmla="*/ 116487 h 257633"/>
                <a:gd name="connsiteX39" fmla="*/ 14431 w 330749"/>
                <a:gd name="connsiteY39" fmla="*/ 119228 h 257633"/>
                <a:gd name="connsiteX40" fmla="*/ 13091 w 330749"/>
                <a:gd name="connsiteY40" fmla="*/ 125444 h 257633"/>
                <a:gd name="connsiteX41" fmla="*/ -60 w 330749"/>
                <a:gd name="connsiteY41" fmla="*/ 141822 h 257633"/>
                <a:gd name="connsiteX42" fmla="*/ 16866 w 330749"/>
                <a:gd name="connsiteY42" fmla="*/ 146301 h 257633"/>
                <a:gd name="connsiteX43" fmla="*/ 22386 w 330749"/>
                <a:gd name="connsiteY43" fmla="*/ 154389 h 257633"/>
                <a:gd name="connsiteX44" fmla="*/ 26892 w 330749"/>
                <a:gd name="connsiteY44" fmla="*/ 168527 h 257633"/>
                <a:gd name="connsiteX45" fmla="*/ 39069 w 330749"/>
                <a:gd name="connsiteY45" fmla="*/ 183802 h 257633"/>
                <a:gd name="connsiteX46" fmla="*/ 44142 w 330749"/>
                <a:gd name="connsiteY46" fmla="*/ 201817 h 257633"/>
                <a:gd name="connsiteX47" fmla="*/ 23848 w 330749"/>
                <a:gd name="connsiteY47" fmla="*/ 221571 h 257633"/>
                <a:gd name="connsiteX48" fmla="*/ 16866 w 330749"/>
                <a:gd name="connsiteY48" fmla="*/ 236177 h 257633"/>
                <a:gd name="connsiteX49" fmla="*/ 41707 w 330749"/>
                <a:gd name="connsiteY49" fmla="*/ 243898 h 257633"/>
                <a:gd name="connsiteX50" fmla="*/ 75072 w 330749"/>
                <a:gd name="connsiteY50" fmla="*/ 244533 h 257633"/>
                <a:gd name="connsiteX51" fmla="*/ 75275 w 330749"/>
                <a:gd name="connsiteY51" fmla="*/ 244366 h 25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0749" h="257633">
                  <a:moveTo>
                    <a:pt x="75275" y="244366"/>
                  </a:moveTo>
                  <a:cubicBezTo>
                    <a:pt x="85747" y="244566"/>
                    <a:pt x="93337" y="236043"/>
                    <a:pt x="100562" y="236544"/>
                  </a:cubicBezTo>
                  <a:cubicBezTo>
                    <a:pt x="106756" y="237246"/>
                    <a:pt x="112828" y="238550"/>
                    <a:pt x="118665" y="240388"/>
                  </a:cubicBezTo>
                  <a:cubicBezTo>
                    <a:pt x="121953" y="241291"/>
                    <a:pt x="129016" y="236745"/>
                    <a:pt x="132588" y="235442"/>
                  </a:cubicBezTo>
                  <a:cubicBezTo>
                    <a:pt x="144562" y="231030"/>
                    <a:pt x="147849" y="234807"/>
                    <a:pt x="154465" y="239352"/>
                  </a:cubicBezTo>
                  <a:cubicBezTo>
                    <a:pt x="162299" y="244733"/>
                    <a:pt x="176628" y="237413"/>
                    <a:pt x="184461" y="243998"/>
                  </a:cubicBezTo>
                  <a:cubicBezTo>
                    <a:pt x="194203" y="252153"/>
                    <a:pt x="204513" y="256766"/>
                    <a:pt x="222859" y="250014"/>
                  </a:cubicBezTo>
                  <a:cubicBezTo>
                    <a:pt x="241206" y="243263"/>
                    <a:pt x="255737" y="233302"/>
                    <a:pt x="276357" y="233703"/>
                  </a:cubicBezTo>
                  <a:cubicBezTo>
                    <a:pt x="304445" y="234472"/>
                    <a:pt x="262921" y="255095"/>
                    <a:pt x="288818" y="256532"/>
                  </a:cubicBezTo>
                  <a:cubicBezTo>
                    <a:pt x="298275" y="257067"/>
                    <a:pt x="303065" y="259640"/>
                    <a:pt x="303876" y="250850"/>
                  </a:cubicBezTo>
                  <a:cubicBezTo>
                    <a:pt x="303949" y="243831"/>
                    <a:pt x="302578" y="236879"/>
                    <a:pt x="299817" y="230261"/>
                  </a:cubicBezTo>
                  <a:cubicBezTo>
                    <a:pt x="297577" y="223409"/>
                    <a:pt x="296469" y="216357"/>
                    <a:pt x="296530" y="209271"/>
                  </a:cubicBezTo>
                  <a:cubicBezTo>
                    <a:pt x="296773" y="201918"/>
                    <a:pt x="284921" y="199244"/>
                    <a:pt x="277493" y="195901"/>
                  </a:cubicBezTo>
                  <a:cubicBezTo>
                    <a:pt x="272582" y="193696"/>
                    <a:pt x="259999" y="184805"/>
                    <a:pt x="270593" y="180192"/>
                  </a:cubicBezTo>
                  <a:cubicBezTo>
                    <a:pt x="279726" y="176215"/>
                    <a:pt x="293607" y="166322"/>
                    <a:pt x="274124" y="169330"/>
                  </a:cubicBezTo>
                  <a:cubicBezTo>
                    <a:pt x="267265" y="170399"/>
                    <a:pt x="258903" y="163681"/>
                    <a:pt x="266615" y="160038"/>
                  </a:cubicBezTo>
                  <a:cubicBezTo>
                    <a:pt x="275817" y="156278"/>
                    <a:pt x="285424" y="153233"/>
                    <a:pt x="295312" y="150947"/>
                  </a:cubicBezTo>
                  <a:cubicBezTo>
                    <a:pt x="305297" y="148173"/>
                    <a:pt x="348728" y="131160"/>
                    <a:pt x="322264" y="127316"/>
                  </a:cubicBezTo>
                  <a:cubicBezTo>
                    <a:pt x="306515" y="125010"/>
                    <a:pt x="325429" y="113245"/>
                    <a:pt x="315201" y="109167"/>
                  </a:cubicBezTo>
                  <a:cubicBezTo>
                    <a:pt x="304972" y="105090"/>
                    <a:pt x="297504" y="105190"/>
                    <a:pt x="294906" y="96399"/>
                  </a:cubicBezTo>
                  <a:cubicBezTo>
                    <a:pt x="292645" y="89080"/>
                    <a:pt x="293112" y="81369"/>
                    <a:pt x="296246" y="74273"/>
                  </a:cubicBezTo>
                  <a:cubicBezTo>
                    <a:pt x="300670" y="64847"/>
                    <a:pt x="278751" y="72568"/>
                    <a:pt x="273028" y="74607"/>
                  </a:cubicBezTo>
                  <a:cubicBezTo>
                    <a:pt x="259593" y="79320"/>
                    <a:pt x="247619" y="84166"/>
                    <a:pt x="233332" y="82930"/>
                  </a:cubicBezTo>
                  <a:cubicBezTo>
                    <a:pt x="221926" y="81994"/>
                    <a:pt x="215188" y="76713"/>
                    <a:pt x="202199" y="80724"/>
                  </a:cubicBezTo>
                  <a:cubicBezTo>
                    <a:pt x="179875" y="87609"/>
                    <a:pt x="154222" y="102817"/>
                    <a:pt x="146754" y="82997"/>
                  </a:cubicBezTo>
                  <a:cubicBezTo>
                    <a:pt x="144480" y="77047"/>
                    <a:pt x="145049" y="72970"/>
                    <a:pt x="134211" y="71666"/>
                  </a:cubicBezTo>
                  <a:cubicBezTo>
                    <a:pt x="129503" y="71165"/>
                    <a:pt x="128732" y="67822"/>
                    <a:pt x="124754" y="67354"/>
                  </a:cubicBezTo>
                  <a:cubicBezTo>
                    <a:pt x="122318" y="67087"/>
                    <a:pt x="110913" y="71365"/>
                    <a:pt x="110507" y="69627"/>
                  </a:cubicBezTo>
                  <a:cubicBezTo>
                    <a:pt x="109654" y="66285"/>
                    <a:pt x="114566" y="61940"/>
                    <a:pt x="115540" y="58330"/>
                  </a:cubicBezTo>
                  <a:cubicBezTo>
                    <a:pt x="115710" y="54857"/>
                    <a:pt x="114801" y="51408"/>
                    <a:pt x="112902" y="48303"/>
                  </a:cubicBezTo>
                  <a:cubicBezTo>
                    <a:pt x="110304" y="41986"/>
                    <a:pt x="124429" y="25408"/>
                    <a:pt x="131613" y="19726"/>
                  </a:cubicBezTo>
                  <a:cubicBezTo>
                    <a:pt x="136119" y="16149"/>
                    <a:pt x="157916" y="3916"/>
                    <a:pt x="149392" y="774"/>
                  </a:cubicBezTo>
                  <a:cubicBezTo>
                    <a:pt x="136647" y="-3871"/>
                    <a:pt x="129868" y="7159"/>
                    <a:pt x="123577" y="13008"/>
                  </a:cubicBezTo>
                  <a:cubicBezTo>
                    <a:pt x="119518" y="16684"/>
                    <a:pt x="114728" y="18054"/>
                    <a:pt x="109857" y="21096"/>
                  </a:cubicBezTo>
                  <a:cubicBezTo>
                    <a:pt x="103850" y="24806"/>
                    <a:pt x="101455" y="29686"/>
                    <a:pt x="95894" y="33563"/>
                  </a:cubicBezTo>
                  <a:cubicBezTo>
                    <a:pt x="94108" y="34766"/>
                    <a:pt x="66183" y="48871"/>
                    <a:pt x="69876" y="48871"/>
                  </a:cubicBezTo>
                  <a:cubicBezTo>
                    <a:pt x="55995" y="48871"/>
                    <a:pt x="49582" y="53116"/>
                    <a:pt x="43290" y="62241"/>
                  </a:cubicBezTo>
                  <a:cubicBezTo>
                    <a:pt x="35822" y="73003"/>
                    <a:pt x="51408" y="78317"/>
                    <a:pt x="38257" y="89347"/>
                  </a:cubicBezTo>
                  <a:cubicBezTo>
                    <a:pt x="28191" y="97870"/>
                    <a:pt x="25836" y="107295"/>
                    <a:pt x="19951" y="116487"/>
                  </a:cubicBezTo>
                  <a:cubicBezTo>
                    <a:pt x="18904" y="118198"/>
                    <a:pt x="16757" y="119264"/>
                    <a:pt x="14431" y="119228"/>
                  </a:cubicBezTo>
                  <a:cubicBezTo>
                    <a:pt x="15015" y="121363"/>
                    <a:pt x="14532" y="123603"/>
                    <a:pt x="13091" y="125444"/>
                  </a:cubicBezTo>
                  <a:cubicBezTo>
                    <a:pt x="8184" y="130605"/>
                    <a:pt x="3784" y="136083"/>
                    <a:pt x="-60" y="141822"/>
                  </a:cubicBezTo>
                  <a:cubicBezTo>
                    <a:pt x="5582" y="142825"/>
                    <a:pt x="13010" y="143460"/>
                    <a:pt x="16866" y="146301"/>
                  </a:cubicBezTo>
                  <a:cubicBezTo>
                    <a:pt x="19870" y="148473"/>
                    <a:pt x="18977" y="152584"/>
                    <a:pt x="22386" y="154389"/>
                  </a:cubicBezTo>
                  <a:cubicBezTo>
                    <a:pt x="30504" y="158701"/>
                    <a:pt x="24457" y="162845"/>
                    <a:pt x="26892" y="168527"/>
                  </a:cubicBezTo>
                  <a:cubicBezTo>
                    <a:pt x="29429" y="174340"/>
                    <a:pt x="33601" y="179574"/>
                    <a:pt x="39069" y="183802"/>
                  </a:cubicBezTo>
                  <a:cubicBezTo>
                    <a:pt x="47512" y="190286"/>
                    <a:pt x="47187" y="191322"/>
                    <a:pt x="44142" y="201817"/>
                  </a:cubicBezTo>
                  <a:cubicBezTo>
                    <a:pt x="41058" y="212981"/>
                    <a:pt x="33792" y="213449"/>
                    <a:pt x="23848" y="221571"/>
                  </a:cubicBezTo>
                  <a:cubicBezTo>
                    <a:pt x="19789" y="224746"/>
                    <a:pt x="18571" y="232567"/>
                    <a:pt x="16866" y="236177"/>
                  </a:cubicBezTo>
                  <a:cubicBezTo>
                    <a:pt x="12239" y="246204"/>
                    <a:pt x="31560" y="244031"/>
                    <a:pt x="41707" y="243898"/>
                  </a:cubicBezTo>
                  <a:cubicBezTo>
                    <a:pt x="53641" y="243697"/>
                    <a:pt x="63382" y="244332"/>
                    <a:pt x="75072" y="244533"/>
                  </a:cubicBezTo>
                  <a:cubicBezTo>
                    <a:pt x="83839" y="244533"/>
                    <a:pt x="66710" y="244232"/>
                    <a:pt x="75275" y="24436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B3A25535-8576-45DB-8068-1538EDEE850E}"/>
                </a:ext>
              </a:extLst>
            </p:cNvPr>
            <p:cNvSpPr/>
            <p:nvPr/>
          </p:nvSpPr>
          <p:spPr>
            <a:xfrm>
              <a:off x="4013290" y="5472066"/>
              <a:ext cx="347186" cy="173078"/>
            </a:xfrm>
            <a:custGeom>
              <a:avLst/>
              <a:gdLst>
                <a:gd name="connsiteX0" fmla="*/ 350717 w 356333"/>
                <a:gd name="connsiteY0" fmla="*/ 79042 h 236983"/>
                <a:gd name="connsiteX1" fmla="*/ 329692 w 356333"/>
                <a:gd name="connsiteY1" fmla="*/ 66943 h 236983"/>
                <a:gd name="connsiteX2" fmla="*/ 311791 w 356333"/>
                <a:gd name="connsiteY2" fmla="*/ 62397 h 236983"/>
                <a:gd name="connsiteX3" fmla="*/ 278954 w 356333"/>
                <a:gd name="connsiteY3" fmla="*/ 66842 h 236983"/>
                <a:gd name="connsiteX4" fmla="*/ 264058 w 356333"/>
                <a:gd name="connsiteY4" fmla="*/ 52938 h 236983"/>
                <a:gd name="connsiteX5" fmla="*/ 266940 w 356333"/>
                <a:gd name="connsiteY5" fmla="*/ 46955 h 236983"/>
                <a:gd name="connsiteX6" fmla="*/ 258822 w 356333"/>
                <a:gd name="connsiteY6" fmla="*/ 41674 h 236983"/>
                <a:gd name="connsiteX7" fmla="*/ 240272 w 356333"/>
                <a:gd name="connsiteY7" fmla="*/ 30477 h 236983"/>
                <a:gd name="connsiteX8" fmla="*/ 215188 w 356333"/>
                <a:gd name="connsiteY8" fmla="*/ 35457 h 236983"/>
                <a:gd name="connsiteX9" fmla="*/ 194041 w 356333"/>
                <a:gd name="connsiteY9" fmla="*/ 32617 h 236983"/>
                <a:gd name="connsiteX10" fmla="*/ 176790 w 356333"/>
                <a:gd name="connsiteY10" fmla="*/ 30812 h 236983"/>
                <a:gd name="connsiteX11" fmla="*/ 152923 w 356333"/>
                <a:gd name="connsiteY11" fmla="*/ 34856 h 236983"/>
                <a:gd name="connsiteX12" fmla="*/ 103607 w 356333"/>
                <a:gd name="connsiteY12" fmla="*/ 12228 h 236983"/>
                <a:gd name="connsiteX13" fmla="*/ 96706 w 356333"/>
                <a:gd name="connsiteY13" fmla="*/ -239 h 236983"/>
                <a:gd name="connsiteX14" fmla="*/ 64641 w 356333"/>
                <a:gd name="connsiteY14" fmla="*/ 12596 h 236983"/>
                <a:gd name="connsiteX15" fmla="*/ 33102 w 356333"/>
                <a:gd name="connsiteY15" fmla="*/ 34956 h 236983"/>
                <a:gd name="connsiteX16" fmla="*/ -60 w 356333"/>
                <a:gd name="connsiteY16" fmla="*/ 49362 h 236983"/>
                <a:gd name="connsiteX17" fmla="*/ 28800 w 356333"/>
                <a:gd name="connsiteY17" fmla="*/ 72525 h 236983"/>
                <a:gd name="connsiteX18" fmla="*/ 35497 w 356333"/>
                <a:gd name="connsiteY18" fmla="*/ 97726 h 236983"/>
                <a:gd name="connsiteX19" fmla="*/ 35497 w 356333"/>
                <a:gd name="connsiteY19" fmla="*/ 107753 h 236983"/>
                <a:gd name="connsiteX20" fmla="*/ 38622 w 356333"/>
                <a:gd name="connsiteY20" fmla="*/ 117780 h 236983"/>
                <a:gd name="connsiteX21" fmla="*/ 39231 w 356333"/>
                <a:gd name="connsiteY21" fmla="*/ 131851 h 236983"/>
                <a:gd name="connsiteX22" fmla="*/ 48810 w 356333"/>
                <a:gd name="connsiteY22" fmla="*/ 140842 h 236983"/>
                <a:gd name="connsiteX23" fmla="*/ 56279 w 356333"/>
                <a:gd name="connsiteY23" fmla="*/ 163069 h 236983"/>
                <a:gd name="connsiteX24" fmla="*/ 69674 w 356333"/>
                <a:gd name="connsiteY24" fmla="*/ 178410 h 236983"/>
                <a:gd name="connsiteX25" fmla="*/ 81851 w 356333"/>
                <a:gd name="connsiteY25" fmla="*/ 181051 h 236983"/>
                <a:gd name="connsiteX26" fmla="*/ 82744 w 356333"/>
                <a:gd name="connsiteY26" fmla="*/ 187736 h 236983"/>
                <a:gd name="connsiteX27" fmla="*/ 83636 w 356333"/>
                <a:gd name="connsiteY27" fmla="*/ 202241 h 236983"/>
                <a:gd name="connsiteX28" fmla="*/ 101821 w 356333"/>
                <a:gd name="connsiteY28" fmla="*/ 209127 h 236983"/>
                <a:gd name="connsiteX29" fmla="*/ 117082 w 356333"/>
                <a:gd name="connsiteY29" fmla="*/ 222062 h 236983"/>
                <a:gd name="connsiteX30" fmla="*/ 126824 w 356333"/>
                <a:gd name="connsiteY30" fmla="*/ 236133 h 236983"/>
                <a:gd name="connsiteX31" fmla="*/ 158849 w 356333"/>
                <a:gd name="connsiteY31" fmla="*/ 209394 h 236983"/>
                <a:gd name="connsiteX32" fmla="*/ 204553 w 356333"/>
                <a:gd name="connsiteY32" fmla="*/ 204648 h 236983"/>
                <a:gd name="connsiteX33" fmla="*/ 221398 w 356333"/>
                <a:gd name="connsiteY33" fmla="*/ 191713 h 236983"/>
                <a:gd name="connsiteX34" fmla="*/ 254397 w 356333"/>
                <a:gd name="connsiteY34" fmla="*/ 181051 h 236983"/>
                <a:gd name="connsiteX35" fmla="*/ 250338 w 356333"/>
                <a:gd name="connsiteY35" fmla="*/ 156986 h 236983"/>
                <a:gd name="connsiteX36" fmla="*/ 284109 w 356333"/>
                <a:gd name="connsiteY36" fmla="*/ 128576 h 236983"/>
                <a:gd name="connsiteX37" fmla="*/ 313496 w 356333"/>
                <a:gd name="connsiteY37" fmla="*/ 117579 h 236983"/>
                <a:gd name="connsiteX38" fmla="*/ 343898 w 356333"/>
                <a:gd name="connsiteY38" fmla="*/ 116476 h 236983"/>
                <a:gd name="connsiteX39" fmla="*/ 350595 w 356333"/>
                <a:gd name="connsiteY39" fmla="*/ 79176 h 23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56333" h="236983">
                  <a:moveTo>
                    <a:pt x="350717" y="79042"/>
                  </a:moveTo>
                  <a:cubicBezTo>
                    <a:pt x="345197" y="73661"/>
                    <a:pt x="332330" y="73995"/>
                    <a:pt x="329692" y="66943"/>
                  </a:cubicBezTo>
                  <a:cubicBezTo>
                    <a:pt x="327297" y="60492"/>
                    <a:pt x="321574" y="59991"/>
                    <a:pt x="311791" y="62397"/>
                  </a:cubicBezTo>
                  <a:cubicBezTo>
                    <a:pt x="302010" y="64803"/>
                    <a:pt x="288493" y="70018"/>
                    <a:pt x="278954" y="66842"/>
                  </a:cubicBezTo>
                  <a:cubicBezTo>
                    <a:pt x="275139" y="65572"/>
                    <a:pt x="263733" y="55913"/>
                    <a:pt x="264058" y="52938"/>
                  </a:cubicBezTo>
                  <a:cubicBezTo>
                    <a:pt x="264302" y="50498"/>
                    <a:pt x="269740" y="49328"/>
                    <a:pt x="266940" y="46955"/>
                  </a:cubicBezTo>
                  <a:cubicBezTo>
                    <a:pt x="264139" y="44582"/>
                    <a:pt x="260892" y="43914"/>
                    <a:pt x="258822" y="41674"/>
                  </a:cubicBezTo>
                  <a:cubicBezTo>
                    <a:pt x="254235" y="36761"/>
                    <a:pt x="253343" y="29074"/>
                    <a:pt x="240272" y="30477"/>
                  </a:cubicBezTo>
                  <a:cubicBezTo>
                    <a:pt x="233250" y="31246"/>
                    <a:pt x="221723" y="37162"/>
                    <a:pt x="215188" y="35457"/>
                  </a:cubicBezTo>
                  <a:cubicBezTo>
                    <a:pt x="206583" y="33051"/>
                    <a:pt x="207070" y="29809"/>
                    <a:pt x="194041" y="32617"/>
                  </a:cubicBezTo>
                  <a:cubicBezTo>
                    <a:pt x="185639" y="34455"/>
                    <a:pt x="182838" y="28773"/>
                    <a:pt x="176790" y="30812"/>
                  </a:cubicBezTo>
                  <a:cubicBezTo>
                    <a:pt x="170742" y="32851"/>
                    <a:pt x="160270" y="33051"/>
                    <a:pt x="152923" y="34856"/>
                  </a:cubicBezTo>
                  <a:cubicBezTo>
                    <a:pt x="129138" y="40638"/>
                    <a:pt x="109086" y="24261"/>
                    <a:pt x="103607" y="12228"/>
                  </a:cubicBezTo>
                  <a:cubicBezTo>
                    <a:pt x="102470" y="9688"/>
                    <a:pt x="102551" y="-1509"/>
                    <a:pt x="96706" y="-239"/>
                  </a:cubicBezTo>
                  <a:cubicBezTo>
                    <a:pt x="85220" y="2535"/>
                    <a:pt x="74382" y="6881"/>
                    <a:pt x="64641" y="12596"/>
                  </a:cubicBezTo>
                  <a:cubicBezTo>
                    <a:pt x="53965" y="19548"/>
                    <a:pt x="42884" y="27503"/>
                    <a:pt x="33102" y="34956"/>
                  </a:cubicBezTo>
                  <a:cubicBezTo>
                    <a:pt x="20641" y="44449"/>
                    <a:pt x="17313" y="45819"/>
                    <a:pt x="-60" y="49362"/>
                  </a:cubicBezTo>
                  <a:cubicBezTo>
                    <a:pt x="5907" y="53774"/>
                    <a:pt x="34117" y="64570"/>
                    <a:pt x="28800" y="72525"/>
                  </a:cubicBezTo>
                  <a:cubicBezTo>
                    <a:pt x="22021" y="82552"/>
                    <a:pt x="29165" y="88802"/>
                    <a:pt x="35497" y="97726"/>
                  </a:cubicBezTo>
                  <a:cubicBezTo>
                    <a:pt x="37851" y="101068"/>
                    <a:pt x="36593" y="104043"/>
                    <a:pt x="35497" y="107753"/>
                  </a:cubicBezTo>
                  <a:cubicBezTo>
                    <a:pt x="33752" y="113167"/>
                    <a:pt x="39110" y="113468"/>
                    <a:pt x="38622" y="117780"/>
                  </a:cubicBezTo>
                  <a:cubicBezTo>
                    <a:pt x="38217" y="121624"/>
                    <a:pt x="32777" y="129812"/>
                    <a:pt x="39231" y="131851"/>
                  </a:cubicBezTo>
                  <a:cubicBezTo>
                    <a:pt x="47106" y="134358"/>
                    <a:pt x="51936" y="132687"/>
                    <a:pt x="48810" y="140842"/>
                  </a:cubicBezTo>
                  <a:cubicBezTo>
                    <a:pt x="44427" y="152139"/>
                    <a:pt x="34848" y="159893"/>
                    <a:pt x="56279" y="163069"/>
                  </a:cubicBezTo>
                  <a:cubicBezTo>
                    <a:pt x="66832" y="164673"/>
                    <a:pt x="60825" y="175269"/>
                    <a:pt x="69674" y="178410"/>
                  </a:cubicBezTo>
                  <a:cubicBezTo>
                    <a:pt x="73607" y="179647"/>
                    <a:pt x="77686" y="180549"/>
                    <a:pt x="81851" y="181051"/>
                  </a:cubicBezTo>
                  <a:cubicBezTo>
                    <a:pt x="87493" y="182087"/>
                    <a:pt x="82338" y="184694"/>
                    <a:pt x="82744" y="187736"/>
                  </a:cubicBezTo>
                  <a:cubicBezTo>
                    <a:pt x="83312" y="191446"/>
                    <a:pt x="81323" y="199501"/>
                    <a:pt x="83636" y="202241"/>
                  </a:cubicBezTo>
                  <a:cubicBezTo>
                    <a:pt x="87980" y="207389"/>
                    <a:pt x="96666" y="205751"/>
                    <a:pt x="101821" y="209127"/>
                  </a:cubicBezTo>
                  <a:cubicBezTo>
                    <a:pt x="106976" y="212503"/>
                    <a:pt x="111765" y="218117"/>
                    <a:pt x="117082" y="222062"/>
                  </a:cubicBezTo>
                  <a:cubicBezTo>
                    <a:pt x="122400" y="226005"/>
                    <a:pt x="121791" y="232389"/>
                    <a:pt x="126824" y="236133"/>
                  </a:cubicBezTo>
                  <a:cubicBezTo>
                    <a:pt x="133156" y="240846"/>
                    <a:pt x="156292" y="211533"/>
                    <a:pt x="158849" y="209394"/>
                  </a:cubicBezTo>
                  <a:cubicBezTo>
                    <a:pt x="163395" y="205283"/>
                    <a:pt x="198384" y="202709"/>
                    <a:pt x="204553" y="204648"/>
                  </a:cubicBezTo>
                  <a:cubicBezTo>
                    <a:pt x="224848" y="210363"/>
                    <a:pt x="208856" y="197963"/>
                    <a:pt x="221398" y="191713"/>
                  </a:cubicBezTo>
                  <a:cubicBezTo>
                    <a:pt x="228826" y="187936"/>
                    <a:pt x="253261" y="187936"/>
                    <a:pt x="254397" y="181051"/>
                  </a:cubicBezTo>
                  <a:cubicBezTo>
                    <a:pt x="255818" y="172862"/>
                    <a:pt x="254397" y="164539"/>
                    <a:pt x="250338" y="156986"/>
                  </a:cubicBezTo>
                  <a:cubicBezTo>
                    <a:pt x="242870" y="145688"/>
                    <a:pt x="271811" y="132052"/>
                    <a:pt x="284109" y="128576"/>
                  </a:cubicBezTo>
                  <a:cubicBezTo>
                    <a:pt x="294500" y="125634"/>
                    <a:pt x="302618" y="120353"/>
                    <a:pt x="313496" y="117579"/>
                  </a:cubicBezTo>
                  <a:cubicBezTo>
                    <a:pt x="326038" y="114237"/>
                    <a:pt x="332005" y="115741"/>
                    <a:pt x="343898" y="116476"/>
                  </a:cubicBezTo>
                  <a:cubicBezTo>
                    <a:pt x="362854" y="117713"/>
                    <a:pt x="355710" y="84156"/>
                    <a:pt x="350595" y="7917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844DE110-0442-4EC7-BE06-C627202D34DE}"/>
                </a:ext>
              </a:extLst>
            </p:cNvPr>
            <p:cNvSpPr/>
            <p:nvPr/>
          </p:nvSpPr>
          <p:spPr>
            <a:xfrm>
              <a:off x="3662123" y="5412742"/>
              <a:ext cx="399907" cy="190701"/>
            </a:xfrm>
            <a:custGeom>
              <a:avLst/>
              <a:gdLst>
                <a:gd name="connsiteX0" fmla="*/ 402206 w 410442"/>
                <a:gd name="connsiteY0" fmla="*/ 240486 h 261113"/>
                <a:gd name="connsiteX1" fmla="*/ 402206 w 410442"/>
                <a:gd name="connsiteY1" fmla="*/ 232465 h 261113"/>
                <a:gd name="connsiteX2" fmla="*/ 410324 w 410442"/>
                <a:gd name="connsiteY2" fmla="*/ 218360 h 261113"/>
                <a:gd name="connsiteX3" fmla="*/ 397498 w 410442"/>
                <a:gd name="connsiteY3" fmla="*/ 205291 h 261113"/>
                <a:gd name="connsiteX4" fmla="*/ 395996 w 410442"/>
                <a:gd name="connsiteY4" fmla="*/ 188847 h 261113"/>
                <a:gd name="connsiteX5" fmla="*/ 390476 w 410442"/>
                <a:gd name="connsiteY5" fmla="*/ 170598 h 261113"/>
                <a:gd name="connsiteX6" fmla="*/ 389461 w 410442"/>
                <a:gd name="connsiteY6" fmla="*/ 153552 h 261113"/>
                <a:gd name="connsiteX7" fmla="*/ 368639 w 410442"/>
                <a:gd name="connsiteY7" fmla="*/ 135670 h 261113"/>
                <a:gd name="connsiteX8" fmla="*/ 353783 w 410442"/>
                <a:gd name="connsiteY8" fmla="*/ 131960 h 261113"/>
                <a:gd name="connsiteX9" fmla="*/ 333488 w 410442"/>
                <a:gd name="connsiteY9" fmla="*/ 139280 h 261113"/>
                <a:gd name="connsiteX10" fmla="*/ 321554 w 410442"/>
                <a:gd name="connsiteY10" fmla="*/ 122000 h 261113"/>
                <a:gd name="connsiteX11" fmla="*/ 307713 w 410442"/>
                <a:gd name="connsiteY11" fmla="*/ 127214 h 261113"/>
                <a:gd name="connsiteX12" fmla="*/ 273537 w 410442"/>
                <a:gd name="connsiteY12" fmla="*/ 133899 h 261113"/>
                <a:gd name="connsiteX13" fmla="*/ 251740 w 410442"/>
                <a:gd name="connsiteY13" fmla="*/ 131058 h 261113"/>
                <a:gd name="connsiteX14" fmla="*/ 243622 w 410442"/>
                <a:gd name="connsiteY14" fmla="*/ 122534 h 261113"/>
                <a:gd name="connsiteX15" fmla="*/ 222028 w 410442"/>
                <a:gd name="connsiteY15" fmla="*/ 112507 h 261113"/>
                <a:gd name="connsiteX16" fmla="*/ 222475 w 410442"/>
                <a:gd name="connsiteY16" fmla="*/ 90815 h 261113"/>
                <a:gd name="connsiteX17" fmla="*/ 227792 w 410442"/>
                <a:gd name="connsiteY17" fmla="*/ 68689 h 261113"/>
                <a:gd name="connsiteX18" fmla="*/ 252146 w 410442"/>
                <a:gd name="connsiteY18" fmla="*/ 43956 h 261113"/>
                <a:gd name="connsiteX19" fmla="*/ 275201 w 410442"/>
                <a:gd name="connsiteY19" fmla="*/ 31455 h 261113"/>
                <a:gd name="connsiteX20" fmla="*/ 296105 w 410442"/>
                <a:gd name="connsiteY20" fmla="*/ 24136 h 261113"/>
                <a:gd name="connsiteX21" fmla="*/ 276743 w 410442"/>
                <a:gd name="connsiteY21" fmla="*/ 16682 h 261113"/>
                <a:gd name="connsiteX22" fmla="*/ 278042 w 410442"/>
                <a:gd name="connsiteY22" fmla="*/ -30 h 261113"/>
                <a:gd name="connsiteX23" fmla="*/ 219837 w 410442"/>
                <a:gd name="connsiteY23" fmla="*/ 16014 h 261113"/>
                <a:gd name="connsiteX24" fmla="*/ 178151 w 410442"/>
                <a:gd name="connsiteY24" fmla="*/ 8126 h 261113"/>
                <a:gd name="connsiteX25" fmla="*/ 148804 w 410442"/>
                <a:gd name="connsiteY25" fmla="*/ 3346 h 261113"/>
                <a:gd name="connsiteX26" fmla="*/ 117226 w 410442"/>
                <a:gd name="connsiteY26" fmla="*/ 6688 h 261113"/>
                <a:gd name="connsiteX27" fmla="*/ 126399 w 410442"/>
                <a:gd name="connsiteY27" fmla="*/ 22598 h 261113"/>
                <a:gd name="connsiteX28" fmla="*/ 100909 w 410442"/>
                <a:gd name="connsiteY28" fmla="*/ 57593 h 261113"/>
                <a:gd name="connsiteX29" fmla="*/ 69939 w 410442"/>
                <a:gd name="connsiteY29" fmla="*/ 83128 h 261113"/>
                <a:gd name="connsiteX30" fmla="*/ 53703 w 410442"/>
                <a:gd name="connsiteY30" fmla="*/ 112140 h 261113"/>
                <a:gd name="connsiteX31" fmla="*/ 36980 w 410442"/>
                <a:gd name="connsiteY31" fmla="*/ 112775 h 261113"/>
                <a:gd name="connsiteX32" fmla="*/ 21961 w 410442"/>
                <a:gd name="connsiteY32" fmla="*/ 109433 h 261113"/>
                <a:gd name="connsiteX33" fmla="*/ 10150 w 410442"/>
                <a:gd name="connsiteY33" fmla="*/ 102982 h 261113"/>
                <a:gd name="connsiteX34" fmla="*/ 408 w 410442"/>
                <a:gd name="connsiteY34" fmla="*/ 123871 h 261113"/>
                <a:gd name="connsiteX35" fmla="*/ 19120 w 410442"/>
                <a:gd name="connsiteY35" fmla="*/ 142522 h 261113"/>
                <a:gd name="connsiteX36" fmla="*/ 49928 w 410442"/>
                <a:gd name="connsiteY36" fmla="*/ 150243 h 261113"/>
                <a:gd name="connsiteX37" fmla="*/ 93724 w 410442"/>
                <a:gd name="connsiteY37" fmla="*/ 165684 h 261113"/>
                <a:gd name="connsiteX38" fmla="*/ 128428 w 410442"/>
                <a:gd name="connsiteY38" fmla="*/ 188814 h 261113"/>
                <a:gd name="connsiteX39" fmla="*/ 171007 w 410442"/>
                <a:gd name="connsiteY39" fmla="*/ 211675 h 261113"/>
                <a:gd name="connsiteX40" fmla="*/ 204169 w 410442"/>
                <a:gd name="connsiteY40" fmla="*/ 232765 h 261113"/>
                <a:gd name="connsiteX41" fmla="*/ 240943 w 410442"/>
                <a:gd name="connsiteY41" fmla="*/ 244765 h 261113"/>
                <a:gd name="connsiteX42" fmla="*/ 305034 w 410442"/>
                <a:gd name="connsiteY42" fmla="*/ 246904 h 261113"/>
                <a:gd name="connsiteX43" fmla="*/ 351916 w 410442"/>
                <a:gd name="connsiteY43" fmla="*/ 251249 h 261113"/>
                <a:gd name="connsiteX44" fmla="*/ 374037 w 410442"/>
                <a:gd name="connsiteY44" fmla="*/ 257198 h 261113"/>
                <a:gd name="connsiteX45" fmla="*/ 393317 w 410442"/>
                <a:gd name="connsiteY45" fmla="*/ 260774 h 261113"/>
                <a:gd name="connsiteX46" fmla="*/ 402409 w 410442"/>
                <a:gd name="connsiteY46" fmla="*/ 240720 h 26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10442" h="261113">
                  <a:moveTo>
                    <a:pt x="402206" y="240486"/>
                  </a:moveTo>
                  <a:cubicBezTo>
                    <a:pt x="403302" y="237879"/>
                    <a:pt x="398147" y="235439"/>
                    <a:pt x="402206" y="232465"/>
                  </a:cubicBezTo>
                  <a:cubicBezTo>
                    <a:pt x="406687" y="228621"/>
                    <a:pt x="409537" y="223674"/>
                    <a:pt x="410324" y="218360"/>
                  </a:cubicBezTo>
                  <a:cubicBezTo>
                    <a:pt x="411501" y="210706"/>
                    <a:pt x="394657" y="215619"/>
                    <a:pt x="397498" y="205291"/>
                  </a:cubicBezTo>
                  <a:cubicBezTo>
                    <a:pt x="399487" y="198205"/>
                    <a:pt x="393926" y="195264"/>
                    <a:pt x="395996" y="188847"/>
                  </a:cubicBezTo>
                  <a:cubicBezTo>
                    <a:pt x="398675" y="180792"/>
                    <a:pt x="394900" y="177282"/>
                    <a:pt x="390476" y="170598"/>
                  </a:cubicBezTo>
                  <a:cubicBezTo>
                    <a:pt x="385646" y="163245"/>
                    <a:pt x="384347" y="161239"/>
                    <a:pt x="389461" y="153552"/>
                  </a:cubicBezTo>
                  <a:cubicBezTo>
                    <a:pt x="394088" y="146633"/>
                    <a:pt x="374037" y="138979"/>
                    <a:pt x="368639" y="135670"/>
                  </a:cubicBezTo>
                  <a:cubicBezTo>
                    <a:pt x="363240" y="132361"/>
                    <a:pt x="363118" y="129520"/>
                    <a:pt x="353783" y="131960"/>
                  </a:cubicBezTo>
                  <a:cubicBezTo>
                    <a:pt x="349074" y="133197"/>
                    <a:pt x="337912" y="139280"/>
                    <a:pt x="333488" y="139280"/>
                  </a:cubicBezTo>
                  <a:cubicBezTo>
                    <a:pt x="325613" y="139280"/>
                    <a:pt x="323016" y="125710"/>
                    <a:pt x="321554" y="122000"/>
                  </a:cubicBezTo>
                  <a:cubicBezTo>
                    <a:pt x="316806" y="110101"/>
                    <a:pt x="312665" y="123470"/>
                    <a:pt x="307713" y="127214"/>
                  </a:cubicBezTo>
                  <a:cubicBezTo>
                    <a:pt x="301706" y="131692"/>
                    <a:pt x="279300" y="138778"/>
                    <a:pt x="273537" y="133899"/>
                  </a:cubicBezTo>
                  <a:cubicBezTo>
                    <a:pt x="266312" y="127749"/>
                    <a:pt x="258600" y="135670"/>
                    <a:pt x="251740" y="131058"/>
                  </a:cubicBezTo>
                  <a:cubicBezTo>
                    <a:pt x="247965" y="128517"/>
                    <a:pt x="248371" y="124874"/>
                    <a:pt x="243622" y="122534"/>
                  </a:cubicBezTo>
                  <a:cubicBezTo>
                    <a:pt x="236600" y="119192"/>
                    <a:pt x="228157" y="116786"/>
                    <a:pt x="222028" y="112507"/>
                  </a:cubicBezTo>
                  <a:cubicBezTo>
                    <a:pt x="215899" y="108229"/>
                    <a:pt x="216143" y="95796"/>
                    <a:pt x="222475" y="90815"/>
                  </a:cubicBezTo>
                  <a:cubicBezTo>
                    <a:pt x="228807" y="85835"/>
                    <a:pt x="226534" y="75608"/>
                    <a:pt x="227792" y="68689"/>
                  </a:cubicBezTo>
                  <a:cubicBezTo>
                    <a:pt x="229740" y="58662"/>
                    <a:pt x="238833" y="51977"/>
                    <a:pt x="252146" y="43956"/>
                  </a:cubicBezTo>
                  <a:cubicBezTo>
                    <a:pt x="259533" y="39443"/>
                    <a:pt x="269640" y="37271"/>
                    <a:pt x="275201" y="31455"/>
                  </a:cubicBezTo>
                  <a:cubicBezTo>
                    <a:pt x="280762" y="25639"/>
                    <a:pt x="287946" y="27010"/>
                    <a:pt x="296105" y="24136"/>
                  </a:cubicBezTo>
                  <a:cubicBezTo>
                    <a:pt x="289691" y="21562"/>
                    <a:pt x="273009" y="24871"/>
                    <a:pt x="276743" y="16682"/>
                  </a:cubicBezTo>
                  <a:cubicBezTo>
                    <a:pt x="279544" y="10632"/>
                    <a:pt x="291518" y="1474"/>
                    <a:pt x="278042" y="-30"/>
                  </a:cubicBezTo>
                  <a:cubicBezTo>
                    <a:pt x="255556" y="-2336"/>
                    <a:pt x="239522" y="8794"/>
                    <a:pt x="219837" y="16014"/>
                  </a:cubicBezTo>
                  <a:cubicBezTo>
                    <a:pt x="196173" y="24737"/>
                    <a:pt x="193453" y="14209"/>
                    <a:pt x="178151" y="8126"/>
                  </a:cubicBezTo>
                  <a:cubicBezTo>
                    <a:pt x="167638" y="3948"/>
                    <a:pt x="157369" y="10098"/>
                    <a:pt x="148804" y="3346"/>
                  </a:cubicBezTo>
                  <a:cubicBezTo>
                    <a:pt x="140240" y="-3405"/>
                    <a:pt x="129606" y="806"/>
                    <a:pt x="117226" y="6688"/>
                  </a:cubicBezTo>
                  <a:cubicBezTo>
                    <a:pt x="134395" y="11301"/>
                    <a:pt x="125831" y="12972"/>
                    <a:pt x="126399" y="22598"/>
                  </a:cubicBezTo>
                  <a:cubicBezTo>
                    <a:pt x="127129" y="34731"/>
                    <a:pt x="114912" y="48167"/>
                    <a:pt x="100909" y="57593"/>
                  </a:cubicBezTo>
                  <a:cubicBezTo>
                    <a:pt x="87960" y="66316"/>
                    <a:pt x="72942" y="70962"/>
                    <a:pt x="69939" y="83128"/>
                  </a:cubicBezTo>
                  <a:cubicBezTo>
                    <a:pt x="68356" y="89579"/>
                    <a:pt x="72212" y="117254"/>
                    <a:pt x="53703" y="112140"/>
                  </a:cubicBezTo>
                  <a:cubicBezTo>
                    <a:pt x="46924" y="110268"/>
                    <a:pt x="44407" y="109232"/>
                    <a:pt x="36980" y="112775"/>
                  </a:cubicBezTo>
                  <a:cubicBezTo>
                    <a:pt x="31500" y="115382"/>
                    <a:pt x="18633" y="114947"/>
                    <a:pt x="21961" y="109433"/>
                  </a:cubicBezTo>
                  <a:cubicBezTo>
                    <a:pt x="25290" y="103918"/>
                    <a:pt x="18390" y="95595"/>
                    <a:pt x="10150" y="102982"/>
                  </a:cubicBezTo>
                  <a:cubicBezTo>
                    <a:pt x="4345" y="108196"/>
                    <a:pt x="-1824" y="118256"/>
                    <a:pt x="408" y="123871"/>
                  </a:cubicBezTo>
                  <a:cubicBezTo>
                    <a:pt x="1870" y="127514"/>
                    <a:pt x="25452" y="140182"/>
                    <a:pt x="19120" y="142522"/>
                  </a:cubicBezTo>
                  <a:cubicBezTo>
                    <a:pt x="2316" y="148739"/>
                    <a:pt x="46762" y="149875"/>
                    <a:pt x="49928" y="150243"/>
                  </a:cubicBezTo>
                  <a:cubicBezTo>
                    <a:pt x="64499" y="151613"/>
                    <a:pt x="82400" y="160270"/>
                    <a:pt x="93724" y="165684"/>
                  </a:cubicBezTo>
                  <a:cubicBezTo>
                    <a:pt x="106956" y="171834"/>
                    <a:pt x="116576" y="181527"/>
                    <a:pt x="128428" y="188814"/>
                  </a:cubicBezTo>
                  <a:cubicBezTo>
                    <a:pt x="141868" y="197336"/>
                    <a:pt x="156102" y="204991"/>
                    <a:pt x="171007" y="211675"/>
                  </a:cubicBezTo>
                  <a:cubicBezTo>
                    <a:pt x="185863" y="218093"/>
                    <a:pt x="199420" y="220833"/>
                    <a:pt x="204169" y="232765"/>
                  </a:cubicBezTo>
                  <a:cubicBezTo>
                    <a:pt x="207781" y="242057"/>
                    <a:pt x="228523" y="243060"/>
                    <a:pt x="240943" y="244765"/>
                  </a:cubicBezTo>
                  <a:cubicBezTo>
                    <a:pt x="261238" y="247572"/>
                    <a:pt x="283806" y="246269"/>
                    <a:pt x="305034" y="246904"/>
                  </a:cubicBezTo>
                  <a:cubicBezTo>
                    <a:pt x="320256" y="247338"/>
                    <a:pt x="338602" y="247071"/>
                    <a:pt x="351916" y="251249"/>
                  </a:cubicBezTo>
                  <a:cubicBezTo>
                    <a:pt x="358921" y="254057"/>
                    <a:pt x="366366" y="256062"/>
                    <a:pt x="374037" y="257198"/>
                  </a:cubicBezTo>
                  <a:cubicBezTo>
                    <a:pt x="379720" y="257733"/>
                    <a:pt x="391328" y="256396"/>
                    <a:pt x="393317" y="260774"/>
                  </a:cubicBezTo>
                  <a:cubicBezTo>
                    <a:pt x="400989" y="252485"/>
                    <a:pt x="399121" y="249143"/>
                    <a:pt x="402409" y="24072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A3846FE3-14C2-4710-B92B-F42458B28FCD}"/>
                </a:ext>
              </a:extLst>
            </p:cNvPr>
            <p:cNvSpPr/>
            <p:nvPr/>
          </p:nvSpPr>
          <p:spPr>
            <a:xfrm>
              <a:off x="3767258" y="5210068"/>
              <a:ext cx="373849" cy="140879"/>
            </a:xfrm>
            <a:custGeom>
              <a:avLst/>
              <a:gdLst>
                <a:gd name="connsiteX0" fmla="*/ 17844 w 383698"/>
                <a:gd name="connsiteY0" fmla="*/ 66775 h 192895"/>
                <a:gd name="connsiteX1" fmla="*/ 3678 w 383698"/>
                <a:gd name="connsiteY1" fmla="*/ 84756 h 192895"/>
                <a:gd name="connsiteX2" fmla="*/ 4530 w 383698"/>
                <a:gd name="connsiteY2" fmla="*/ 102437 h 192895"/>
                <a:gd name="connsiteX3" fmla="*/ 8589 w 383698"/>
                <a:gd name="connsiteY3" fmla="*/ 112063 h 192895"/>
                <a:gd name="connsiteX4" fmla="*/ 27829 w 383698"/>
                <a:gd name="connsiteY4" fmla="*/ 116342 h 192895"/>
                <a:gd name="connsiteX5" fmla="*/ 46460 w 383698"/>
                <a:gd name="connsiteY5" fmla="*/ 137365 h 192895"/>
                <a:gd name="connsiteX6" fmla="*/ 100282 w 383698"/>
                <a:gd name="connsiteY6" fmla="*/ 123060 h 192895"/>
                <a:gd name="connsiteX7" fmla="*/ 129466 w 383698"/>
                <a:gd name="connsiteY7" fmla="*/ 127238 h 192895"/>
                <a:gd name="connsiteX8" fmla="*/ 162140 w 383698"/>
                <a:gd name="connsiteY8" fmla="*/ 118715 h 192895"/>
                <a:gd name="connsiteX9" fmla="*/ 182841 w 383698"/>
                <a:gd name="connsiteY9" fmla="*/ 129176 h 192895"/>
                <a:gd name="connsiteX10" fmla="*/ 186900 w 383698"/>
                <a:gd name="connsiteY10" fmla="*/ 146423 h 192895"/>
                <a:gd name="connsiteX11" fmla="*/ 207804 w 383698"/>
                <a:gd name="connsiteY11" fmla="*/ 155615 h 192895"/>
                <a:gd name="connsiteX12" fmla="*/ 211376 w 383698"/>
                <a:gd name="connsiteY12" fmla="*/ 171424 h 192895"/>
                <a:gd name="connsiteX13" fmla="*/ 216531 w 383698"/>
                <a:gd name="connsiteY13" fmla="*/ 180649 h 192895"/>
                <a:gd name="connsiteX14" fmla="*/ 250180 w 383698"/>
                <a:gd name="connsiteY14" fmla="*/ 192046 h 192895"/>
                <a:gd name="connsiteX15" fmla="*/ 261748 w 383698"/>
                <a:gd name="connsiteY15" fmla="*/ 190275 h 192895"/>
                <a:gd name="connsiteX16" fmla="*/ 281109 w 383698"/>
                <a:gd name="connsiteY16" fmla="*/ 183590 h 192895"/>
                <a:gd name="connsiteX17" fmla="*/ 307492 w 383698"/>
                <a:gd name="connsiteY17" fmla="*/ 163536 h 192895"/>
                <a:gd name="connsiteX18" fmla="*/ 324581 w 383698"/>
                <a:gd name="connsiteY18" fmla="*/ 143916 h 192895"/>
                <a:gd name="connsiteX19" fmla="*/ 307208 w 383698"/>
                <a:gd name="connsiteY19" fmla="*/ 147259 h 192895"/>
                <a:gd name="connsiteX20" fmla="*/ 292352 w 383698"/>
                <a:gd name="connsiteY20" fmla="*/ 133889 h 192895"/>
                <a:gd name="connsiteX21" fmla="*/ 275264 w 383698"/>
                <a:gd name="connsiteY21" fmla="*/ 126068 h 192895"/>
                <a:gd name="connsiteX22" fmla="*/ 299131 w 383698"/>
                <a:gd name="connsiteY22" fmla="*/ 120887 h 192895"/>
                <a:gd name="connsiteX23" fmla="*/ 324459 w 383698"/>
                <a:gd name="connsiteY23" fmla="*/ 121155 h 192895"/>
                <a:gd name="connsiteX24" fmla="*/ 338097 w 383698"/>
                <a:gd name="connsiteY24" fmla="*/ 108320 h 192895"/>
                <a:gd name="connsiteX25" fmla="*/ 366510 w 383698"/>
                <a:gd name="connsiteY25" fmla="*/ 96221 h 192895"/>
                <a:gd name="connsiteX26" fmla="*/ 374019 w 383698"/>
                <a:gd name="connsiteY26" fmla="*/ 76869 h 192895"/>
                <a:gd name="connsiteX27" fmla="*/ 360503 w 383698"/>
                <a:gd name="connsiteY27" fmla="*/ 65872 h 192895"/>
                <a:gd name="connsiteX28" fmla="*/ 370244 w 383698"/>
                <a:gd name="connsiteY28" fmla="*/ 52001 h 192895"/>
                <a:gd name="connsiteX29" fmla="*/ 367809 w 383698"/>
                <a:gd name="connsiteY29" fmla="*/ 40972 h 192895"/>
                <a:gd name="connsiteX30" fmla="*/ 383639 w 383698"/>
                <a:gd name="connsiteY30" fmla="*/ 18076 h 192895"/>
                <a:gd name="connsiteX31" fmla="*/ 339518 w 383698"/>
                <a:gd name="connsiteY31" fmla="*/ 26666 h 192895"/>
                <a:gd name="connsiteX32" fmla="*/ 340492 w 383698"/>
                <a:gd name="connsiteY32" fmla="*/ 8384 h 192895"/>
                <a:gd name="connsiteX33" fmla="*/ 299902 w 383698"/>
                <a:gd name="connsiteY33" fmla="*/ 12896 h 192895"/>
                <a:gd name="connsiteX34" fmla="*/ 303230 w 383698"/>
                <a:gd name="connsiteY34" fmla="*/ 730 h 192895"/>
                <a:gd name="connsiteX35" fmla="*/ 236338 w 383698"/>
                <a:gd name="connsiteY35" fmla="*/ 24561 h 192895"/>
                <a:gd name="connsiteX36" fmla="*/ 182963 w 383698"/>
                <a:gd name="connsiteY36" fmla="*/ 33852 h 192895"/>
                <a:gd name="connsiteX37" fmla="*/ 132307 w 383698"/>
                <a:gd name="connsiteY37" fmla="*/ 43879 h 192895"/>
                <a:gd name="connsiteX38" fmla="*/ 112459 w 383698"/>
                <a:gd name="connsiteY38" fmla="*/ 35858 h 192895"/>
                <a:gd name="connsiteX39" fmla="*/ 86035 w 383698"/>
                <a:gd name="connsiteY39" fmla="*/ 35557 h 192895"/>
                <a:gd name="connsiteX40" fmla="*/ 74710 w 383698"/>
                <a:gd name="connsiteY40" fmla="*/ 41740 h 192895"/>
                <a:gd name="connsiteX41" fmla="*/ 63142 w 383698"/>
                <a:gd name="connsiteY41" fmla="*/ 55110 h 192895"/>
                <a:gd name="connsiteX42" fmla="*/ 57865 w 383698"/>
                <a:gd name="connsiteY42" fmla="*/ 84589 h 192895"/>
                <a:gd name="connsiteX43" fmla="*/ 28925 w 383698"/>
                <a:gd name="connsiteY43" fmla="*/ 94015 h 192895"/>
                <a:gd name="connsiteX44" fmla="*/ 33390 w 383698"/>
                <a:gd name="connsiteY44" fmla="*/ 77971 h 192895"/>
                <a:gd name="connsiteX45" fmla="*/ 24947 w 383698"/>
                <a:gd name="connsiteY45" fmla="*/ 61494 h 192895"/>
                <a:gd name="connsiteX46" fmla="*/ 17966 w 383698"/>
                <a:gd name="connsiteY46" fmla="*/ 67176 h 192895"/>
                <a:gd name="connsiteX47" fmla="*/ 17844 w 383698"/>
                <a:gd name="connsiteY47" fmla="*/ 66775 h 1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3698" h="192895">
                  <a:moveTo>
                    <a:pt x="17844" y="66775"/>
                  </a:moveTo>
                  <a:cubicBezTo>
                    <a:pt x="14150" y="72958"/>
                    <a:pt x="7575" y="78606"/>
                    <a:pt x="3678" y="84756"/>
                  </a:cubicBezTo>
                  <a:cubicBezTo>
                    <a:pt x="-787" y="91809"/>
                    <a:pt x="6032" y="95887"/>
                    <a:pt x="4530" y="102437"/>
                  </a:cubicBezTo>
                  <a:cubicBezTo>
                    <a:pt x="3029" y="108989"/>
                    <a:pt x="-7078" y="116041"/>
                    <a:pt x="8589" y="112063"/>
                  </a:cubicBezTo>
                  <a:cubicBezTo>
                    <a:pt x="14272" y="110626"/>
                    <a:pt x="22227" y="115406"/>
                    <a:pt x="27829" y="116342"/>
                  </a:cubicBezTo>
                  <a:cubicBezTo>
                    <a:pt x="40696" y="118615"/>
                    <a:pt x="32659" y="134090"/>
                    <a:pt x="46460" y="137365"/>
                  </a:cubicBezTo>
                  <a:cubicBezTo>
                    <a:pt x="63223" y="141343"/>
                    <a:pt x="82990" y="123996"/>
                    <a:pt x="100282" y="123060"/>
                  </a:cubicBezTo>
                  <a:cubicBezTo>
                    <a:pt x="110876" y="122525"/>
                    <a:pt x="118425" y="127606"/>
                    <a:pt x="129466" y="127238"/>
                  </a:cubicBezTo>
                  <a:cubicBezTo>
                    <a:pt x="141318" y="126837"/>
                    <a:pt x="151303" y="122525"/>
                    <a:pt x="162140" y="118715"/>
                  </a:cubicBezTo>
                  <a:cubicBezTo>
                    <a:pt x="188402" y="109490"/>
                    <a:pt x="183653" y="115974"/>
                    <a:pt x="182841" y="129176"/>
                  </a:cubicBezTo>
                  <a:cubicBezTo>
                    <a:pt x="182042" y="135133"/>
                    <a:pt x="183458" y="141145"/>
                    <a:pt x="186900" y="146423"/>
                  </a:cubicBezTo>
                  <a:cubicBezTo>
                    <a:pt x="190959" y="151704"/>
                    <a:pt x="204394" y="150233"/>
                    <a:pt x="207804" y="155615"/>
                  </a:cubicBezTo>
                  <a:cubicBezTo>
                    <a:pt x="211213" y="160996"/>
                    <a:pt x="196967" y="169318"/>
                    <a:pt x="211376" y="171424"/>
                  </a:cubicBezTo>
                  <a:cubicBezTo>
                    <a:pt x="218033" y="172393"/>
                    <a:pt x="222863" y="176571"/>
                    <a:pt x="216531" y="180649"/>
                  </a:cubicBezTo>
                  <a:cubicBezTo>
                    <a:pt x="228708" y="183657"/>
                    <a:pt x="236826" y="189907"/>
                    <a:pt x="250180" y="192046"/>
                  </a:cubicBezTo>
                  <a:cubicBezTo>
                    <a:pt x="254149" y="193132"/>
                    <a:pt x="258517" y="192461"/>
                    <a:pt x="261748" y="190275"/>
                  </a:cubicBezTo>
                  <a:cubicBezTo>
                    <a:pt x="269338" y="184760"/>
                    <a:pt x="273925" y="187300"/>
                    <a:pt x="281109" y="183590"/>
                  </a:cubicBezTo>
                  <a:cubicBezTo>
                    <a:pt x="284437" y="181752"/>
                    <a:pt x="307289" y="165976"/>
                    <a:pt x="307492" y="163536"/>
                  </a:cubicBezTo>
                  <a:cubicBezTo>
                    <a:pt x="308061" y="156350"/>
                    <a:pt x="327787" y="148562"/>
                    <a:pt x="324581" y="143916"/>
                  </a:cubicBezTo>
                  <a:cubicBezTo>
                    <a:pt x="321212" y="138702"/>
                    <a:pt x="311795" y="149297"/>
                    <a:pt x="307208" y="147259"/>
                  </a:cubicBezTo>
                  <a:cubicBezTo>
                    <a:pt x="301047" y="143829"/>
                    <a:pt x="295957" y="139247"/>
                    <a:pt x="292352" y="133889"/>
                  </a:cubicBezTo>
                  <a:cubicBezTo>
                    <a:pt x="290891" y="131249"/>
                    <a:pt x="275386" y="125934"/>
                    <a:pt x="275264" y="126068"/>
                  </a:cubicBezTo>
                  <a:cubicBezTo>
                    <a:pt x="279729" y="120219"/>
                    <a:pt x="292596" y="121455"/>
                    <a:pt x="299131" y="120887"/>
                  </a:cubicBezTo>
                  <a:cubicBezTo>
                    <a:pt x="312444" y="119718"/>
                    <a:pt x="313662" y="118113"/>
                    <a:pt x="324459" y="121155"/>
                  </a:cubicBezTo>
                  <a:cubicBezTo>
                    <a:pt x="333348" y="123662"/>
                    <a:pt x="331278" y="111595"/>
                    <a:pt x="338097" y="108320"/>
                  </a:cubicBezTo>
                  <a:cubicBezTo>
                    <a:pt x="348082" y="103507"/>
                    <a:pt x="356890" y="102437"/>
                    <a:pt x="366510" y="96221"/>
                  </a:cubicBezTo>
                  <a:cubicBezTo>
                    <a:pt x="379052" y="88132"/>
                    <a:pt x="389849" y="83018"/>
                    <a:pt x="374019" y="76869"/>
                  </a:cubicBezTo>
                  <a:cubicBezTo>
                    <a:pt x="364643" y="73259"/>
                    <a:pt x="357336" y="73760"/>
                    <a:pt x="360503" y="65872"/>
                  </a:cubicBezTo>
                  <a:cubicBezTo>
                    <a:pt x="363344" y="58786"/>
                    <a:pt x="354455" y="56948"/>
                    <a:pt x="370244" y="52001"/>
                  </a:cubicBezTo>
                  <a:cubicBezTo>
                    <a:pt x="388753" y="46186"/>
                    <a:pt x="370244" y="44414"/>
                    <a:pt x="367809" y="40972"/>
                  </a:cubicBezTo>
                  <a:cubicBezTo>
                    <a:pt x="364237" y="35958"/>
                    <a:pt x="381244" y="23859"/>
                    <a:pt x="383639" y="18076"/>
                  </a:cubicBezTo>
                  <a:cubicBezTo>
                    <a:pt x="372680" y="18411"/>
                    <a:pt x="347798" y="28103"/>
                    <a:pt x="339518" y="26666"/>
                  </a:cubicBezTo>
                  <a:cubicBezTo>
                    <a:pt x="334363" y="25764"/>
                    <a:pt x="352628" y="10489"/>
                    <a:pt x="340492" y="8384"/>
                  </a:cubicBezTo>
                  <a:cubicBezTo>
                    <a:pt x="328356" y="6278"/>
                    <a:pt x="312444" y="11124"/>
                    <a:pt x="299902" y="12896"/>
                  </a:cubicBezTo>
                  <a:cubicBezTo>
                    <a:pt x="278633" y="15870"/>
                    <a:pt x="301038" y="-73"/>
                    <a:pt x="303230" y="730"/>
                  </a:cubicBezTo>
                  <a:cubicBezTo>
                    <a:pt x="286223" y="-5487"/>
                    <a:pt x="248515" y="17141"/>
                    <a:pt x="236338" y="24561"/>
                  </a:cubicBezTo>
                  <a:cubicBezTo>
                    <a:pt x="215151" y="37295"/>
                    <a:pt x="207439" y="32415"/>
                    <a:pt x="182963" y="33852"/>
                  </a:cubicBezTo>
                  <a:cubicBezTo>
                    <a:pt x="172572" y="34454"/>
                    <a:pt x="136325" y="55845"/>
                    <a:pt x="132307" y="43879"/>
                  </a:cubicBezTo>
                  <a:cubicBezTo>
                    <a:pt x="130359" y="38097"/>
                    <a:pt x="123215" y="33852"/>
                    <a:pt x="112459" y="35858"/>
                  </a:cubicBezTo>
                  <a:cubicBezTo>
                    <a:pt x="97887" y="38431"/>
                    <a:pt x="97725" y="38966"/>
                    <a:pt x="86035" y="35557"/>
                  </a:cubicBezTo>
                  <a:cubicBezTo>
                    <a:pt x="79621" y="33685"/>
                    <a:pt x="71706" y="37328"/>
                    <a:pt x="74710" y="41740"/>
                  </a:cubicBezTo>
                  <a:cubicBezTo>
                    <a:pt x="78769" y="47890"/>
                    <a:pt x="71382" y="50397"/>
                    <a:pt x="63142" y="55110"/>
                  </a:cubicBezTo>
                  <a:cubicBezTo>
                    <a:pt x="38788" y="69014"/>
                    <a:pt x="42563" y="73225"/>
                    <a:pt x="57865" y="84589"/>
                  </a:cubicBezTo>
                  <a:cubicBezTo>
                    <a:pt x="75725" y="97959"/>
                    <a:pt x="34486" y="105513"/>
                    <a:pt x="28925" y="94015"/>
                  </a:cubicBezTo>
                  <a:cubicBezTo>
                    <a:pt x="26652" y="89335"/>
                    <a:pt x="31198" y="82985"/>
                    <a:pt x="33390" y="77971"/>
                  </a:cubicBezTo>
                  <a:cubicBezTo>
                    <a:pt x="37043" y="69649"/>
                    <a:pt x="23648" y="69248"/>
                    <a:pt x="24947" y="61494"/>
                  </a:cubicBezTo>
                  <a:cubicBezTo>
                    <a:pt x="22065" y="62861"/>
                    <a:pt x="19658" y="64816"/>
                    <a:pt x="17966" y="67176"/>
                  </a:cubicBezTo>
                  <a:cubicBezTo>
                    <a:pt x="12689" y="75398"/>
                    <a:pt x="19102" y="64602"/>
                    <a:pt x="17844" y="6677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BD6E7A23-BD3A-4502-A449-0D89C2DDA326}"/>
                </a:ext>
              </a:extLst>
            </p:cNvPr>
            <p:cNvSpPr/>
            <p:nvPr/>
          </p:nvSpPr>
          <p:spPr>
            <a:xfrm>
              <a:off x="4217695" y="5225314"/>
              <a:ext cx="108143" cy="60499"/>
            </a:xfrm>
            <a:custGeom>
              <a:avLst/>
              <a:gdLst>
                <a:gd name="connsiteX0" fmla="*/ 14612 w 110992"/>
                <a:gd name="connsiteY0" fmla="*/ 29189 h 82837"/>
                <a:gd name="connsiteX1" fmla="*/ 4586 w 110992"/>
                <a:gd name="connsiteY1" fmla="*/ 40018 h 82837"/>
                <a:gd name="connsiteX2" fmla="*/ 162 w 110992"/>
                <a:gd name="connsiteY2" fmla="*/ 54290 h 82837"/>
                <a:gd name="connsiteX3" fmla="*/ 27844 w 110992"/>
                <a:gd name="connsiteY3" fmla="*/ 68160 h 82837"/>
                <a:gd name="connsiteX4" fmla="*/ 50696 w 110992"/>
                <a:gd name="connsiteY4" fmla="*/ 82499 h 82837"/>
                <a:gd name="connsiteX5" fmla="*/ 66932 w 110992"/>
                <a:gd name="connsiteY5" fmla="*/ 72472 h 82837"/>
                <a:gd name="connsiteX6" fmla="*/ 106426 w 110992"/>
                <a:gd name="connsiteY6" fmla="*/ 61409 h 82837"/>
                <a:gd name="connsiteX7" fmla="*/ 104234 w 110992"/>
                <a:gd name="connsiteY7" fmla="*/ 33634 h 82837"/>
                <a:gd name="connsiteX8" fmla="*/ 101190 w 110992"/>
                <a:gd name="connsiteY8" fmla="*/ 5023 h 82837"/>
                <a:gd name="connsiteX9" fmla="*/ 46678 w 110992"/>
                <a:gd name="connsiteY9" fmla="*/ 12477 h 82837"/>
                <a:gd name="connsiteX10" fmla="*/ 21309 w 110992"/>
                <a:gd name="connsiteY10" fmla="*/ 13513 h 82837"/>
                <a:gd name="connsiteX11" fmla="*/ 14734 w 110992"/>
                <a:gd name="connsiteY11" fmla="*/ 29356 h 82837"/>
                <a:gd name="connsiteX12" fmla="*/ 14612 w 110992"/>
                <a:gd name="connsiteY12" fmla="*/ 29189 h 8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992" h="82837">
                  <a:moveTo>
                    <a:pt x="14612" y="29189"/>
                  </a:moveTo>
                  <a:cubicBezTo>
                    <a:pt x="20741" y="33199"/>
                    <a:pt x="10553" y="38046"/>
                    <a:pt x="4586" y="40018"/>
                  </a:cubicBezTo>
                  <a:cubicBezTo>
                    <a:pt x="-2598" y="42424"/>
                    <a:pt x="892" y="50847"/>
                    <a:pt x="162" y="54290"/>
                  </a:cubicBezTo>
                  <a:cubicBezTo>
                    <a:pt x="-1989" y="64317"/>
                    <a:pt x="20132" y="61442"/>
                    <a:pt x="27844" y="68160"/>
                  </a:cubicBezTo>
                  <a:cubicBezTo>
                    <a:pt x="34866" y="73559"/>
                    <a:pt x="42497" y="78361"/>
                    <a:pt x="50696" y="82499"/>
                  </a:cubicBezTo>
                  <a:cubicBezTo>
                    <a:pt x="62426" y="81497"/>
                    <a:pt x="67460" y="79591"/>
                    <a:pt x="66932" y="72472"/>
                  </a:cubicBezTo>
                  <a:cubicBezTo>
                    <a:pt x="66161" y="64083"/>
                    <a:pt x="97902" y="58334"/>
                    <a:pt x="106426" y="61409"/>
                  </a:cubicBezTo>
                  <a:cubicBezTo>
                    <a:pt x="113002" y="50446"/>
                    <a:pt x="112474" y="43026"/>
                    <a:pt x="104234" y="33634"/>
                  </a:cubicBezTo>
                  <a:cubicBezTo>
                    <a:pt x="94452" y="22470"/>
                    <a:pt x="98836" y="17490"/>
                    <a:pt x="101190" y="5023"/>
                  </a:cubicBezTo>
                  <a:cubicBezTo>
                    <a:pt x="103910" y="-9616"/>
                    <a:pt x="56988" y="10104"/>
                    <a:pt x="46678" y="12477"/>
                  </a:cubicBezTo>
                  <a:cubicBezTo>
                    <a:pt x="36368" y="14850"/>
                    <a:pt x="31538" y="7664"/>
                    <a:pt x="21309" y="13513"/>
                  </a:cubicBezTo>
                  <a:cubicBezTo>
                    <a:pt x="14531" y="17390"/>
                    <a:pt x="8077" y="24977"/>
                    <a:pt x="14734" y="29356"/>
                  </a:cubicBezTo>
                  <a:cubicBezTo>
                    <a:pt x="20295" y="32765"/>
                    <a:pt x="11771" y="27183"/>
                    <a:pt x="14612" y="2918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53D4EB72-BE9F-4563-8354-1AC906A3AF95}"/>
                </a:ext>
              </a:extLst>
            </p:cNvPr>
            <p:cNvSpPr/>
            <p:nvPr/>
          </p:nvSpPr>
          <p:spPr>
            <a:xfrm>
              <a:off x="4115993" y="5223200"/>
              <a:ext cx="151154" cy="81565"/>
            </a:xfrm>
            <a:custGeom>
              <a:avLst/>
              <a:gdLst>
                <a:gd name="connsiteX0" fmla="*/ 18411 w 155136"/>
                <a:gd name="connsiteY0" fmla="*/ 10056 h 111681"/>
                <a:gd name="connsiteX1" fmla="*/ 16950 w 155136"/>
                <a:gd name="connsiteY1" fmla="*/ 24562 h 111681"/>
                <a:gd name="connsiteX2" fmla="*/ 2500 w 155136"/>
                <a:gd name="connsiteY2" fmla="*/ 37932 h 111681"/>
                <a:gd name="connsiteX3" fmla="*/ 65 w 155136"/>
                <a:gd name="connsiteY3" fmla="*/ 52437 h 111681"/>
                <a:gd name="connsiteX4" fmla="*/ 25798 w 155136"/>
                <a:gd name="connsiteY4" fmla="*/ 62465 h 111681"/>
                <a:gd name="connsiteX5" fmla="*/ 42805 w 155136"/>
                <a:gd name="connsiteY5" fmla="*/ 59790 h 111681"/>
                <a:gd name="connsiteX6" fmla="*/ 55551 w 155136"/>
                <a:gd name="connsiteY6" fmla="*/ 67812 h 111681"/>
                <a:gd name="connsiteX7" fmla="*/ 60990 w 155136"/>
                <a:gd name="connsiteY7" fmla="*/ 77401 h 111681"/>
                <a:gd name="connsiteX8" fmla="*/ 58838 w 155136"/>
                <a:gd name="connsiteY8" fmla="*/ 80179 h 111681"/>
                <a:gd name="connsiteX9" fmla="*/ 60137 w 155136"/>
                <a:gd name="connsiteY9" fmla="*/ 96657 h 111681"/>
                <a:gd name="connsiteX10" fmla="*/ 107100 w 155136"/>
                <a:gd name="connsiteY10" fmla="*/ 105915 h 111681"/>
                <a:gd name="connsiteX11" fmla="*/ 115542 w 155136"/>
                <a:gd name="connsiteY11" fmla="*/ 102238 h 111681"/>
                <a:gd name="connsiteX12" fmla="*/ 125609 w 155136"/>
                <a:gd name="connsiteY12" fmla="*/ 95153 h 111681"/>
                <a:gd name="connsiteX13" fmla="*/ 155077 w 155136"/>
                <a:gd name="connsiteY13" fmla="*/ 85326 h 111681"/>
                <a:gd name="connsiteX14" fmla="*/ 129465 w 155136"/>
                <a:gd name="connsiteY14" fmla="*/ 69283 h 111681"/>
                <a:gd name="connsiteX15" fmla="*/ 103122 w 155136"/>
                <a:gd name="connsiteY15" fmla="*/ 60960 h 111681"/>
                <a:gd name="connsiteX16" fmla="*/ 106126 w 155136"/>
                <a:gd name="connsiteY16" fmla="*/ 44683 h 111681"/>
                <a:gd name="connsiteX17" fmla="*/ 118992 w 155136"/>
                <a:gd name="connsiteY17" fmla="*/ 37998 h 111681"/>
                <a:gd name="connsiteX18" fmla="*/ 117369 w 155136"/>
                <a:gd name="connsiteY18" fmla="*/ 25598 h 111681"/>
                <a:gd name="connsiteX19" fmla="*/ 98251 w 155136"/>
                <a:gd name="connsiteY19" fmla="*/ 15571 h 111681"/>
                <a:gd name="connsiteX20" fmla="*/ 71381 w 155136"/>
                <a:gd name="connsiteY20" fmla="*/ 10792 h 111681"/>
                <a:gd name="connsiteX21" fmla="*/ 49381 w 155136"/>
                <a:gd name="connsiteY21" fmla="*/ 2736 h 111681"/>
                <a:gd name="connsiteX22" fmla="*/ 31927 w 155136"/>
                <a:gd name="connsiteY22" fmla="*/ -238 h 111681"/>
                <a:gd name="connsiteX23" fmla="*/ 18411 w 155136"/>
                <a:gd name="connsiteY23" fmla="*/ 10090 h 11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136" h="111681">
                  <a:moveTo>
                    <a:pt x="18411" y="10056"/>
                  </a:moveTo>
                  <a:cubicBezTo>
                    <a:pt x="8345" y="16941"/>
                    <a:pt x="7574" y="21053"/>
                    <a:pt x="16950" y="24562"/>
                  </a:cubicBezTo>
                  <a:cubicBezTo>
                    <a:pt x="29127" y="29175"/>
                    <a:pt x="6478" y="34589"/>
                    <a:pt x="2500" y="37932"/>
                  </a:cubicBezTo>
                  <a:cubicBezTo>
                    <a:pt x="552" y="39636"/>
                    <a:pt x="-423" y="50666"/>
                    <a:pt x="65" y="52437"/>
                  </a:cubicBezTo>
                  <a:cubicBezTo>
                    <a:pt x="957" y="55780"/>
                    <a:pt x="21415" y="60492"/>
                    <a:pt x="25798" y="62465"/>
                  </a:cubicBezTo>
                  <a:cubicBezTo>
                    <a:pt x="28518" y="55780"/>
                    <a:pt x="39640" y="54276"/>
                    <a:pt x="42805" y="59790"/>
                  </a:cubicBezTo>
                  <a:cubicBezTo>
                    <a:pt x="45972" y="65305"/>
                    <a:pt x="47717" y="65239"/>
                    <a:pt x="55551" y="67812"/>
                  </a:cubicBezTo>
                  <a:cubicBezTo>
                    <a:pt x="60259" y="69223"/>
                    <a:pt x="62695" y="73514"/>
                    <a:pt x="60990" y="77401"/>
                  </a:cubicBezTo>
                  <a:cubicBezTo>
                    <a:pt x="60543" y="78448"/>
                    <a:pt x="59813" y="79397"/>
                    <a:pt x="58838" y="80179"/>
                  </a:cubicBezTo>
                  <a:cubicBezTo>
                    <a:pt x="53318" y="84858"/>
                    <a:pt x="57459" y="92813"/>
                    <a:pt x="60137" y="96657"/>
                  </a:cubicBezTo>
                  <a:cubicBezTo>
                    <a:pt x="64440" y="102807"/>
                    <a:pt x="96668" y="120053"/>
                    <a:pt x="107100" y="105915"/>
                  </a:cubicBezTo>
                  <a:cubicBezTo>
                    <a:pt x="109454" y="104070"/>
                    <a:pt x="112376" y="102797"/>
                    <a:pt x="115542" y="102238"/>
                  </a:cubicBezTo>
                  <a:cubicBezTo>
                    <a:pt x="122199" y="100166"/>
                    <a:pt x="120941" y="97559"/>
                    <a:pt x="125609" y="95153"/>
                  </a:cubicBezTo>
                  <a:cubicBezTo>
                    <a:pt x="135350" y="90206"/>
                    <a:pt x="142616" y="86396"/>
                    <a:pt x="155077" y="85326"/>
                  </a:cubicBezTo>
                  <a:cubicBezTo>
                    <a:pt x="146350" y="80346"/>
                    <a:pt x="138841" y="73695"/>
                    <a:pt x="129465" y="69283"/>
                  </a:cubicBezTo>
                  <a:cubicBezTo>
                    <a:pt x="123254" y="66408"/>
                    <a:pt x="106044" y="65706"/>
                    <a:pt x="103122" y="60960"/>
                  </a:cubicBezTo>
                  <a:cubicBezTo>
                    <a:pt x="101823" y="58888"/>
                    <a:pt x="104177" y="47090"/>
                    <a:pt x="106126" y="44683"/>
                  </a:cubicBezTo>
                  <a:cubicBezTo>
                    <a:pt x="108602" y="41641"/>
                    <a:pt x="115623" y="40739"/>
                    <a:pt x="118992" y="37998"/>
                  </a:cubicBezTo>
                  <a:cubicBezTo>
                    <a:pt x="123336" y="34322"/>
                    <a:pt x="116801" y="29609"/>
                    <a:pt x="117369" y="25598"/>
                  </a:cubicBezTo>
                  <a:cubicBezTo>
                    <a:pt x="118221" y="19415"/>
                    <a:pt x="106937" y="18913"/>
                    <a:pt x="98251" y="15571"/>
                  </a:cubicBezTo>
                  <a:cubicBezTo>
                    <a:pt x="89565" y="12229"/>
                    <a:pt x="76170" y="16674"/>
                    <a:pt x="71381" y="10792"/>
                  </a:cubicBezTo>
                  <a:cubicBezTo>
                    <a:pt x="65414" y="3539"/>
                    <a:pt x="63953" y="3739"/>
                    <a:pt x="49381" y="2736"/>
                  </a:cubicBezTo>
                  <a:cubicBezTo>
                    <a:pt x="43009" y="2335"/>
                    <a:pt x="38097" y="330"/>
                    <a:pt x="31927" y="-238"/>
                  </a:cubicBezTo>
                  <a:cubicBezTo>
                    <a:pt x="20481" y="-1241"/>
                    <a:pt x="25190" y="5477"/>
                    <a:pt x="18411" y="1009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4FAF3CD9-86FA-45BD-8314-79EE929C9159}"/>
                </a:ext>
              </a:extLst>
            </p:cNvPr>
            <p:cNvSpPr/>
            <p:nvPr/>
          </p:nvSpPr>
          <p:spPr>
            <a:xfrm>
              <a:off x="3559825" y="5206443"/>
              <a:ext cx="59050" cy="11681"/>
            </a:xfrm>
            <a:custGeom>
              <a:avLst/>
              <a:gdLst>
                <a:gd name="connsiteX0" fmla="*/ 761 w 60606"/>
                <a:gd name="connsiteY0" fmla="*/ 14919 h 15994"/>
                <a:gd name="connsiteX1" fmla="*/ 60509 w 60606"/>
                <a:gd name="connsiteY1" fmla="*/ 1716 h 15994"/>
                <a:gd name="connsiteX2" fmla="*/ 761 w 60606"/>
                <a:gd name="connsiteY2" fmla="*/ 14919 h 1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606" h="15994">
                  <a:moveTo>
                    <a:pt x="761" y="14919"/>
                  </a:moveTo>
                  <a:cubicBezTo>
                    <a:pt x="8148" y="18261"/>
                    <a:pt x="58601" y="9604"/>
                    <a:pt x="60509" y="1716"/>
                  </a:cubicBezTo>
                  <a:cubicBezTo>
                    <a:pt x="62417" y="-6171"/>
                    <a:pt x="-8413" y="10908"/>
                    <a:pt x="761" y="1491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627F32CD-86F3-4F2C-AB36-1364913DAE93}"/>
                </a:ext>
              </a:extLst>
            </p:cNvPr>
            <p:cNvSpPr/>
            <p:nvPr/>
          </p:nvSpPr>
          <p:spPr>
            <a:xfrm>
              <a:off x="3871373" y="5134237"/>
              <a:ext cx="47798" cy="12855"/>
            </a:xfrm>
            <a:custGeom>
              <a:avLst/>
              <a:gdLst>
                <a:gd name="connsiteX0" fmla="*/ 2394 w 49057"/>
                <a:gd name="connsiteY0" fmla="*/ 15586 h 17601"/>
                <a:gd name="connsiteX1" fmla="*/ 48950 w 49057"/>
                <a:gd name="connsiteY1" fmla="*/ 2217 h 17601"/>
                <a:gd name="connsiteX2" fmla="*/ 2394 w 49057"/>
                <a:gd name="connsiteY2" fmla="*/ 15586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57" h="17601">
                  <a:moveTo>
                    <a:pt x="2394" y="15586"/>
                  </a:moveTo>
                  <a:cubicBezTo>
                    <a:pt x="17940" y="22271"/>
                    <a:pt x="47733" y="7130"/>
                    <a:pt x="48950" y="2217"/>
                  </a:cubicBezTo>
                  <a:cubicBezTo>
                    <a:pt x="50980" y="-6339"/>
                    <a:pt x="-13233" y="8768"/>
                    <a:pt x="2394" y="1558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673CBBF9-8114-4993-A23A-5E061AED335D}"/>
                </a:ext>
              </a:extLst>
            </p:cNvPr>
            <p:cNvSpPr/>
            <p:nvPr/>
          </p:nvSpPr>
          <p:spPr>
            <a:xfrm>
              <a:off x="3369172" y="5519398"/>
              <a:ext cx="3125" cy="9349"/>
            </a:xfrm>
            <a:custGeom>
              <a:avLst/>
              <a:gdLst>
                <a:gd name="connsiteX0" fmla="*/ 2092 w 3207"/>
                <a:gd name="connsiteY0" fmla="*/ 4207 h 12801"/>
                <a:gd name="connsiteX1" fmla="*/ 3148 w 3207"/>
                <a:gd name="connsiteY1" fmla="*/ -339 h 12801"/>
                <a:gd name="connsiteX2" fmla="*/ 2377 w 3207"/>
                <a:gd name="connsiteY2" fmla="*/ 12462 h 12801"/>
                <a:gd name="connsiteX3" fmla="*/ 2092 w 3207"/>
                <a:gd name="connsiteY3" fmla="*/ 4207 h 12801"/>
                <a:gd name="connsiteX4" fmla="*/ 2092 w 3207"/>
                <a:gd name="connsiteY4" fmla="*/ 4207 h 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7" h="12801">
                  <a:moveTo>
                    <a:pt x="2092" y="4207"/>
                  </a:moveTo>
                  <a:cubicBezTo>
                    <a:pt x="2417" y="2669"/>
                    <a:pt x="2783" y="1165"/>
                    <a:pt x="3148" y="-339"/>
                  </a:cubicBezTo>
                  <a:cubicBezTo>
                    <a:pt x="-818" y="3204"/>
                    <a:pt x="-1143" y="8586"/>
                    <a:pt x="2377" y="12462"/>
                  </a:cubicBezTo>
                  <a:cubicBezTo>
                    <a:pt x="2377" y="9722"/>
                    <a:pt x="2133" y="6947"/>
                    <a:pt x="2092" y="4207"/>
                  </a:cubicBezTo>
                  <a:cubicBezTo>
                    <a:pt x="2052" y="2669"/>
                    <a:pt x="2133" y="7014"/>
                    <a:pt x="2092" y="420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CF9D58B8-8157-4659-AE09-F836B917B30A}"/>
                </a:ext>
              </a:extLst>
            </p:cNvPr>
            <p:cNvSpPr/>
            <p:nvPr/>
          </p:nvSpPr>
          <p:spPr>
            <a:xfrm>
              <a:off x="3367432" y="5516273"/>
              <a:ext cx="7514" cy="15598"/>
            </a:xfrm>
            <a:custGeom>
              <a:avLst/>
              <a:gdLst>
                <a:gd name="connsiteX0" fmla="*/ 6151 w 7712"/>
                <a:gd name="connsiteY0" fmla="*/ 21019 h 21357"/>
                <a:gd name="connsiteX1" fmla="*/ 2620 w 7712"/>
                <a:gd name="connsiteY1" fmla="*/ 17677 h 21357"/>
                <a:gd name="connsiteX2" fmla="*/ 3594 w 7712"/>
                <a:gd name="connsiteY2" fmla="*/ 3539 h 21357"/>
                <a:gd name="connsiteX3" fmla="*/ 7653 w 7712"/>
                <a:gd name="connsiteY3" fmla="*/ -339 h 21357"/>
                <a:gd name="connsiteX4" fmla="*/ 5542 w 7712"/>
                <a:gd name="connsiteY4" fmla="*/ 8351 h 21357"/>
                <a:gd name="connsiteX5" fmla="*/ 5826 w 7712"/>
                <a:gd name="connsiteY5" fmla="*/ 16507 h 2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2" h="21357">
                  <a:moveTo>
                    <a:pt x="6151" y="21019"/>
                  </a:moveTo>
                  <a:lnTo>
                    <a:pt x="2620" y="17677"/>
                  </a:lnTo>
                  <a:cubicBezTo>
                    <a:pt x="-1293" y="13398"/>
                    <a:pt x="-879" y="7416"/>
                    <a:pt x="3594" y="3539"/>
                  </a:cubicBezTo>
                  <a:lnTo>
                    <a:pt x="7653" y="-339"/>
                  </a:lnTo>
                  <a:cubicBezTo>
                    <a:pt x="6963" y="2569"/>
                    <a:pt x="6273" y="5444"/>
                    <a:pt x="5542" y="8351"/>
                  </a:cubicBezTo>
                  <a:cubicBezTo>
                    <a:pt x="5542" y="11092"/>
                    <a:pt x="5542" y="13799"/>
                    <a:pt x="5826" y="1650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C4289716-15B8-4B62-BC85-4CDC18CF0321}"/>
                </a:ext>
              </a:extLst>
            </p:cNvPr>
            <p:cNvSpPr/>
            <p:nvPr/>
          </p:nvSpPr>
          <p:spPr>
            <a:xfrm>
              <a:off x="3644268" y="5415120"/>
              <a:ext cx="142448" cy="81672"/>
            </a:xfrm>
            <a:custGeom>
              <a:avLst/>
              <a:gdLst>
                <a:gd name="connsiteX0" fmla="*/ 133724 w 146201"/>
                <a:gd name="connsiteY0" fmla="*/ 3667 h 111827"/>
                <a:gd name="connsiteX1" fmla="*/ 110507 w 146201"/>
                <a:gd name="connsiteY1" fmla="*/ 1026 h 111827"/>
                <a:gd name="connsiteX2" fmla="*/ 84367 w 146201"/>
                <a:gd name="connsiteY2" fmla="*/ 7042 h 111827"/>
                <a:gd name="connsiteX3" fmla="*/ 32169 w 146201"/>
                <a:gd name="connsiteY3" fmla="*/ 5772 h 111827"/>
                <a:gd name="connsiteX4" fmla="*/ 17840 w 146201"/>
                <a:gd name="connsiteY4" fmla="*/ 19710 h 111827"/>
                <a:gd name="connsiteX5" fmla="*/ 14877 w 146201"/>
                <a:gd name="connsiteY5" fmla="*/ 34216 h 111827"/>
                <a:gd name="connsiteX6" fmla="*/ 8058 w 146201"/>
                <a:gd name="connsiteY6" fmla="*/ 51161 h 111827"/>
                <a:gd name="connsiteX7" fmla="*/ -60 w 146201"/>
                <a:gd name="connsiteY7" fmla="*/ 65834 h 111827"/>
                <a:gd name="connsiteX8" fmla="*/ 4933 w 146201"/>
                <a:gd name="connsiteY8" fmla="*/ 71249 h 111827"/>
                <a:gd name="connsiteX9" fmla="*/ 8505 w 146201"/>
                <a:gd name="connsiteY9" fmla="*/ 82279 h 111827"/>
                <a:gd name="connsiteX10" fmla="*/ 32534 w 146201"/>
                <a:gd name="connsiteY10" fmla="*/ 85321 h 111827"/>
                <a:gd name="connsiteX11" fmla="*/ 43453 w 146201"/>
                <a:gd name="connsiteY11" fmla="*/ 84551 h 111827"/>
                <a:gd name="connsiteX12" fmla="*/ 32615 w 146201"/>
                <a:gd name="connsiteY12" fmla="*/ 97219 h 111827"/>
                <a:gd name="connsiteX13" fmla="*/ 40733 w 146201"/>
                <a:gd name="connsiteY13" fmla="*/ 110355 h 111827"/>
                <a:gd name="connsiteX14" fmla="*/ 67360 w 146201"/>
                <a:gd name="connsiteY14" fmla="*/ 108149 h 111827"/>
                <a:gd name="connsiteX15" fmla="*/ 91024 w 146201"/>
                <a:gd name="connsiteY15" fmla="*/ 73388 h 111827"/>
                <a:gd name="connsiteX16" fmla="*/ 114079 w 146201"/>
                <a:gd name="connsiteY16" fmla="*/ 58214 h 111827"/>
                <a:gd name="connsiteX17" fmla="*/ 140016 w 146201"/>
                <a:gd name="connsiteY17" fmla="*/ 34283 h 111827"/>
                <a:gd name="connsiteX18" fmla="*/ 144602 w 146201"/>
                <a:gd name="connsiteY18" fmla="*/ 17002 h 111827"/>
                <a:gd name="connsiteX19" fmla="*/ 133846 w 146201"/>
                <a:gd name="connsiteY19" fmla="*/ 3633 h 1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201" h="111827">
                  <a:moveTo>
                    <a:pt x="133724" y="3667"/>
                  </a:moveTo>
                  <a:cubicBezTo>
                    <a:pt x="131857" y="3165"/>
                    <a:pt x="112902" y="-3018"/>
                    <a:pt x="110507" y="1026"/>
                  </a:cubicBezTo>
                  <a:cubicBezTo>
                    <a:pt x="106813" y="7310"/>
                    <a:pt x="90740" y="8145"/>
                    <a:pt x="84367" y="7042"/>
                  </a:cubicBezTo>
                  <a:cubicBezTo>
                    <a:pt x="68131" y="4235"/>
                    <a:pt x="49338" y="8045"/>
                    <a:pt x="32169" y="5772"/>
                  </a:cubicBezTo>
                  <a:cubicBezTo>
                    <a:pt x="34442" y="12256"/>
                    <a:pt x="27623" y="15799"/>
                    <a:pt x="17840" y="19710"/>
                  </a:cubicBezTo>
                  <a:cubicBezTo>
                    <a:pt x="8058" y="23620"/>
                    <a:pt x="12767" y="30038"/>
                    <a:pt x="14877" y="34216"/>
                  </a:cubicBezTo>
                  <a:cubicBezTo>
                    <a:pt x="17394" y="39263"/>
                    <a:pt x="6516" y="45245"/>
                    <a:pt x="8058" y="51161"/>
                  </a:cubicBezTo>
                  <a:cubicBezTo>
                    <a:pt x="9601" y="57077"/>
                    <a:pt x="-60" y="59885"/>
                    <a:pt x="-60" y="65834"/>
                  </a:cubicBezTo>
                  <a:cubicBezTo>
                    <a:pt x="78" y="68308"/>
                    <a:pt x="2063" y="70480"/>
                    <a:pt x="4933" y="71249"/>
                  </a:cubicBezTo>
                  <a:cubicBezTo>
                    <a:pt x="11224" y="73656"/>
                    <a:pt x="8383" y="77934"/>
                    <a:pt x="8505" y="82279"/>
                  </a:cubicBezTo>
                  <a:cubicBezTo>
                    <a:pt x="8505" y="85086"/>
                    <a:pt x="29206" y="85822"/>
                    <a:pt x="32534" y="85321"/>
                  </a:cubicBezTo>
                  <a:cubicBezTo>
                    <a:pt x="37242" y="84652"/>
                    <a:pt x="40652" y="78903"/>
                    <a:pt x="43453" y="84551"/>
                  </a:cubicBezTo>
                  <a:cubicBezTo>
                    <a:pt x="46253" y="90200"/>
                    <a:pt x="39069" y="93910"/>
                    <a:pt x="32615" y="97219"/>
                  </a:cubicBezTo>
                  <a:cubicBezTo>
                    <a:pt x="46456" y="100227"/>
                    <a:pt x="34036" y="107614"/>
                    <a:pt x="40733" y="110355"/>
                  </a:cubicBezTo>
                  <a:cubicBezTo>
                    <a:pt x="50962" y="114666"/>
                    <a:pt x="58471" y="105074"/>
                    <a:pt x="67360" y="108149"/>
                  </a:cubicBezTo>
                  <a:cubicBezTo>
                    <a:pt x="93419" y="117206"/>
                    <a:pt x="84611" y="83449"/>
                    <a:pt x="91024" y="73388"/>
                  </a:cubicBezTo>
                  <a:cubicBezTo>
                    <a:pt x="95083" y="67104"/>
                    <a:pt x="106651" y="62793"/>
                    <a:pt x="114079" y="58214"/>
                  </a:cubicBezTo>
                  <a:cubicBezTo>
                    <a:pt x="125200" y="51529"/>
                    <a:pt x="135064" y="43407"/>
                    <a:pt x="140016" y="34283"/>
                  </a:cubicBezTo>
                  <a:cubicBezTo>
                    <a:pt x="143506" y="27899"/>
                    <a:pt x="143182" y="23086"/>
                    <a:pt x="144602" y="17002"/>
                  </a:cubicBezTo>
                  <a:cubicBezTo>
                    <a:pt x="146794" y="7677"/>
                    <a:pt x="148905" y="7677"/>
                    <a:pt x="133846" y="3633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BBC39975-7AB0-498A-B8F9-9713833F99E8}"/>
                </a:ext>
              </a:extLst>
            </p:cNvPr>
            <p:cNvSpPr/>
            <p:nvPr/>
          </p:nvSpPr>
          <p:spPr>
            <a:xfrm>
              <a:off x="1116407" y="4003405"/>
              <a:ext cx="2982181" cy="1293533"/>
            </a:xfrm>
            <a:custGeom>
              <a:avLst/>
              <a:gdLst>
                <a:gd name="connsiteX0" fmla="*/ 886583 w 3060746"/>
                <a:gd name="connsiteY0" fmla="*/ 1692735 h 1771142"/>
                <a:gd name="connsiteX1" fmla="*/ 841934 w 3060746"/>
                <a:gd name="connsiteY1" fmla="*/ 1701793 h 1771142"/>
                <a:gd name="connsiteX2" fmla="*/ 799193 w 3060746"/>
                <a:gd name="connsiteY2" fmla="*/ 1703164 h 1771142"/>
                <a:gd name="connsiteX3" fmla="*/ 768264 w 3060746"/>
                <a:gd name="connsiteY3" fmla="*/ 1717870 h 1771142"/>
                <a:gd name="connsiteX4" fmla="*/ 731733 w 3060746"/>
                <a:gd name="connsiteY4" fmla="*/ 1730237 h 1771142"/>
                <a:gd name="connsiteX5" fmla="*/ 731733 w 3060746"/>
                <a:gd name="connsiteY5" fmla="*/ 1736921 h 1771142"/>
                <a:gd name="connsiteX6" fmla="*/ 751784 w 3060746"/>
                <a:gd name="connsiteY6" fmla="*/ 1736687 h 1771142"/>
                <a:gd name="connsiteX7" fmla="*/ 793714 w 3060746"/>
                <a:gd name="connsiteY7" fmla="*/ 1727663 h 1771142"/>
                <a:gd name="connsiteX8" fmla="*/ 814536 w 3060746"/>
                <a:gd name="connsiteY8" fmla="*/ 1722917 h 1771142"/>
                <a:gd name="connsiteX9" fmla="*/ 840027 w 3060746"/>
                <a:gd name="connsiteY9" fmla="*/ 1721246 h 1771142"/>
                <a:gd name="connsiteX10" fmla="*/ 855288 w 3060746"/>
                <a:gd name="connsiteY10" fmla="*/ 1720510 h 1771142"/>
                <a:gd name="connsiteX11" fmla="*/ 890804 w 3060746"/>
                <a:gd name="connsiteY11" fmla="*/ 1708678 h 1771142"/>
                <a:gd name="connsiteX12" fmla="*/ 904564 w 3060746"/>
                <a:gd name="connsiteY12" fmla="*/ 1700590 h 1771142"/>
                <a:gd name="connsiteX13" fmla="*/ 908867 w 3060746"/>
                <a:gd name="connsiteY13" fmla="*/ 1688825 h 1771142"/>
                <a:gd name="connsiteX14" fmla="*/ 886705 w 3060746"/>
                <a:gd name="connsiteY14" fmla="*/ 1692735 h 1771142"/>
                <a:gd name="connsiteX15" fmla="*/ 460309 w 3060746"/>
                <a:gd name="connsiteY15" fmla="*/ 1204250 h 1771142"/>
                <a:gd name="connsiteX16" fmla="*/ 507678 w 3060746"/>
                <a:gd name="connsiteY16" fmla="*/ 1205152 h 1771142"/>
                <a:gd name="connsiteX17" fmla="*/ 538201 w 3060746"/>
                <a:gd name="connsiteY17" fmla="*/ 1185399 h 1771142"/>
                <a:gd name="connsiteX18" fmla="*/ 558861 w 3060746"/>
                <a:gd name="connsiteY18" fmla="*/ 1168954 h 1771142"/>
                <a:gd name="connsiteX19" fmla="*/ 587274 w 3060746"/>
                <a:gd name="connsiteY19" fmla="*/ 1150037 h 1771142"/>
                <a:gd name="connsiteX20" fmla="*/ 585569 w 3060746"/>
                <a:gd name="connsiteY20" fmla="*/ 1130417 h 1771142"/>
                <a:gd name="connsiteX21" fmla="*/ 609923 w 3060746"/>
                <a:gd name="connsiteY21" fmla="*/ 1105583 h 1771142"/>
                <a:gd name="connsiteX22" fmla="*/ 610451 w 3060746"/>
                <a:gd name="connsiteY22" fmla="*/ 1092983 h 1771142"/>
                <a:gd name="connsiteX23" fmla="*/ 628432 w 3060746"/>
                <a:gd name="connsiteY23" fmla="*/ 1075936 h 1771142"/>
                <a:gd name="connsiteX24" fmla="*/ 687450 w 3060746"/>
                <a:gd name="connsiteY24" fmla="*/ 1028408 h 1771142"/>
                <a:gd name="connsiteX25" fmla="*/ 696177 w 3060746"/>
                <a:gd name="connsiteY25" fmla="*/ 1006616 h 1771142"/>
                <a:gd name="connsiteX26" fmla="*/ 594296 w 3060746"/>
                <a:gd name="connsiteY26" fmla="*/ 1039037 h 1771142"/>
                <a:gd name="connsiteX27" fmla="*/ 577005 w 3060746"/>
                <a:gd name="connsiteY27" fmla="*/ 1050535 h 1771142"/>
                <a:gd name="connsiteX28" fmla="*/ 566086 w 3060746"/>
                <a:gd name="connsiteY28" fmla="*/ 1051805 h 1771142"/>
                <a:gd name="connsiteX29" fmla="*/ 499194 w 3060746"/>
                <a:gd name="connsiteY29" fmla="*/ 1076739 h 1771142"/>
                <a:gd name="connsiteX30" fmla="*/ 405554 w 3060746"/>
                <a:gd name="connsiteY30" fmla="*/ 1136099 h 1771142"/>
                <a:gd name="connsiteX31" fmla="*/ 429908 w 3060746"/>
                <a:gd name="connsiteY31" fmla="*/ 1143419 h 1771142"/>
                <a:gd name="connsiteX32" fmla="*/ 420004 w 3060746"/>
                <a:gd name="connsiteY32" fmla="*/ 1175438 h 1771142"/>
                <a:gd name="connsiteX33" fmla="*/ 426782 w 3060746"/>
                <a:gd name="connsiteY33" fmla="*/ 1182457 h 1771142"/>
                <a:gd name="connsiteX34" fmla="*/ 412129 w 3060746"/>
                <a:gd name="connsiteY34" fmla="*/ 1213608 h 1771142"/>
                <a:gd name="connsiteX35" fmla="*/ 460391 w 3060746"/>
                <a:gd name="connsiteY35" fmla="*/ 1204250 h 1771142"/>
                <a:gd name="connsiteX36" fmla="*/ 460309 w 3060746"/>
                <a:gd name="connsiteY36" fmla="*/ 1204250 h 1771142"/>
                <a:gd name="connsiteX37" fmla="*/ 1200585 w 3060746"/>
                <a:gd name="connsiteY37" fmla="*/ 911125 h 1771142"/>
                <a:gd name="connsiteX38" fmla="*/ 1245924 w 3060746"/>
                <a:gd name="connsiteY38" fmla="*/ 890469 h 1771142"/>
                <a:gd name="connsiteX39" fmla="*/ 1169372 w 3060746"/>
                <a:gd name="connsiteY39" fmla="*/ 896385 h 1771142"/>
                <a:gd name="connsiteX40" fmla="*/ 1099761 w 3060746"/>
                <a:gd name="connsiteY40" fmla="*/ 902702 h 1771142"/>
                <a:gd name="connsiteX41" fmla="*/ 1094849 w 3060746"/>
                <a:gd name="connsiteY41" fmla="*/ 891071 h 1771142"/>
                <a:gd name="connsiteX42" fmla="*/ 1060226 w 3060746"/>
                <a:gd name="connsiteY42" fmla="*/ 883885 h 1771142"/>
                <a:gd name="connsiteX43" fmla="*/ 1052108 w 3060746"/>
                <a:gd name="connsiteY43" fmla="*/ 866137 h 1771142"/>
                <a:gd name="connsiteX44" fmla="*/ 1063433 w 3060746"/>
                <a:gd name="connsiteY44" fmla="*/ 842272 h 1771142"/>
                <a:gd name="connsiteX45" fmla="*/ 987530 w 3060746"/>
                <a:gd name="connsiteY45" fmla="*/ 870649 h 1771142"/>
                <a:gd name="connsiteX46" fmla="*/ 1031123 w 3060746"/>
                <a:gd name="connsiteY46" fmla="*/ 871685 h 1771142"/>
                <a:gd name="connsiteX47" fmla="*/ 1026334 w 3060746"/>
                <a:gd name="connsiteY47" fmla="*/ 875963 h 1771142"/>
                <a:gd name="connsiteX48" fmla="*/ 989072 w 3060746"/>
                <a:gd name="connsiteY48" fmla="*/ 883417 h 1771142"/>
                <a:gd name="connsiteX49" fmla="*/ 955342 w 3060746"/>
                <a:gd name="connsiteY49" fmla="*/ 910456 h 1771142"/>
                <a:gd name="connsiteX50" fmla="*/ 1002304 w 3060746"/>
                <a:gd name="connsiteY50" fmla="*/ 931814 h 1771142"/>
                <a:gd name="connsiteX51" fmla="*/ 977951 w 3060746"/>
                <a:gd name="connsiteY51" fmla="*/ 946253 h 1771142"/>
                <a:gd name="connsiteX52" fmla="*/ 957453 w 3060746"/>
                <a:gd name="connsiteY52" fmla="*/ 936593 h 1771142"/>
                <a:gd name="connsiteX53" fmla="*/ 885893 w 3060746"/>
                <a:gd name="connsiteY53" fmla="*/ 941206 h 1771142"/>
                <a:gd name="connsiteX54" fmla="*/ 905985 w 3060746"/>
                <a:gd name="connsiteY54" fmla="*/ 947189 h 1771142"/>
                <a:gd name="connsiteX55" fmla="*/ 887923 w 3060746"/>
                <a:gd name="connsiteY55" fmla="*/ 958987 h 1771142"/>
                <a:gd name="connsiteX56" fmla="*/ 859875 w 3060746"/>
                <a:gd name="connsiteY56" fmla="*/ 975331 h 1771142"/>
                <a:gd name="connsiteX57" fmla="*/ 842381 w 3060746"/>
                <a:gd name="connsiteY57" fmla="*/ 967109 h 1771142"/>
                <a:gd name="connsiteX58" fmla="*/ 792009 w 3060746"/>
                <a:gd name="connsiteY58" fmla="*/ 987765 h 1771142"/>
                <a:gd name="connsiteX59" fmla="*/ 767655 w 3060746"/>
                <a:gd name="connsiteY59" fmla="*/ 1018047 h 1771142"/>
                <a:gd name="connsiteX60" fmla="*/ 771349 w 3060746"/>
                <a:gd name="connsiteY60" fmla="*/ 998862 h 1771142"/>
                <a:gd name="connsiteX61" fmla="*/ 710464 w 3060746"/>
                <a:gd name="connsiteY61" fmla="*/ 1019517 h 1771142"/>
                <a:gd name="connsiteX62" fmla="*/ 635901 w 3060746"/>
                <a:gd name="connsiteY62" fmla="*/ 1083022 h 1771142"/>
                <a:gd name="connsiteX63" fmla="*/ 636672 w 3060746"/>
                <a:gd name="connsiteY63" fmla="*/ 1088170 h 1771142"/>
                <a:gd name="connsiteX64" fmla="*/ 629650 w 3060746"/>
                <a:gd name="connsiteY64" fmla="*/ 1113772 h 1771142"/>
                <a:gd name="connsiteX65" fmla="*/ 665409 w 3060746"/>
                <a:gd name="connsiteY65" fmla="*/ 1105917 h 1771142"/>
                <a:gd name="connsiteX66" fmla="*/ 680306 w 3060746"/>
                <a:gd name="connsiteY66" fmla="*/ 1105917 h 1771142"/>
                <a:gd name="connsiteX67" fmla="*/ 745250 w 3060746"/>
                <a:gd name="connsiteY67" fmla="*/ 1066678 h 1771142"/>
                <a:gd name="connsiteX68" fmla="*/ 718582 w 3060746"/>
                <a:gd name="connsiteY68" fmla="*/ 1088069 h 1771142"/>
                <a:gd name="connsiteX69" fmla="*/ 673933 w 3060746"/>
                <a:gd name="connsiteY69" fmla="*/ 1122495 h 1771142"/>
                <a:gd name="connsiteX70" fmla="*/ 838281 w 3060746"/>
                <a:gd name="connsiteY70" fmla="*/ 1053643 h 1771142"/>
                <a:gd name="connsiteX71" fmla="*/ 884107 w 3060746"/>
                <a:gd name="connsiteY71" fmla="*/ 1042680 h 1771142"/>
                <a:gd name="connsiteX72" fmla="*/ 792496 w 3060746"/>
                <a:gd name="connsiteY72" fmla="*/ 1089105 h 1771142"/>
                <a:gd name="connsiteX73" fmla="*/ 722235 w 3060746"/>
                <a:gd name="connsiteY73" fmla="*/ 1135397 h 1771142"/>
                <a:gd name="connsiteX74" fmla="*/ 775002 w 3060746"/>
                <a:gd name="connsiteY74" fmla="*/ 1129782 h 1771142"/>
                <a:gd name="connsiteX75" fmla="*/ 826916 w 3060746"/>
                <a:gd name="connsiteY75" fmla="*/ 1106920 h 1771142"/>
                <a:gd name="connsiteX76" fmla="*/ 852488 w 3060746"/>
                <a:gd name="connsiteY76" fmla="*/ 1100737 h 1771142"/>
                <a:gd name="connsiteX77" fmla="*/ 912763 w 3060746"/>
                <a:gd name="connsiteY77" fmla="*/ 1090008 h 1771142"/>
                <a:gd name="connsiteX78" fmla="*/ 987124 w 3060746"/>
                <a:gd name="connsiteY78" fmla="*/ 1047493 h 1771142"/>
                <a:gd name="connsiteX79" fmla="*/ 1041230 w 3060746"/>
                <a:gd name="connsiteY79" fmla="*/ 1015473 h 1771142"/>
                <a:gd name="connsiteX80" fmla="*/ 1080683 w 3060746"/>
                <a:gd name="connsiteY80" fmla="*/ 984055 h 1771142"/>
                <a:gd name="connsiteX81" fmla="*/ 1133978 w 3060746"/>
                <a:gd name="connsiteY81" fmla="*/ 972825 h 1771142"/>
                <a:gd name="connsiteX82" fmla="*/ 1233098 w 3060746"/>
                <a:gd name="connsiteY82" fmla="*/ 918411 h 1771142"/>
                <a:gd name="connsiteX83" fmla="*/ 1211098 w 3060746"/>
                <a:gd name="connsiteY83" fmla="*/ 918411 h 1771142"/>
                <a:gd name="connsiteX84" fmla="*/ 1190397 w 3060746"/>
                <a:gd name="connsiteY84" fmla="*/ 934087 h 1771142"/>
                <a:gd name="connsiteX85" fmla="*/ 1200870 w 3060746"/>
                <a:gd name="connsiteY85" fmla="*/ 911058 h 1771142"/>
                <a:gd name="connsiteX86" fmla="*/ 1200585 w 3060746"/>
                <a:gd name="connsiteY86" fmla="*/ 911225 h 1771142"/>
                <a:gd name="connsiteX87" fmla="*/ 545873 w 3060746"/>
                <a:gd name="connsiteY87" fmla="*/ 1010393 h 1771142"/>
                <a:gd name="connsiteX88" fmla="*/ 584392 w 3060746"/>
                <a:gd name="connsiteY88" fmla="*/ 969850 h 1771142"/>
                <a:gd name="connsiteX89" fmla="*/ 545873 w 3060746"/>
                <a:gd name="connsiteY89" fmla="*/ 1010393 h 1771142"/>
                <a:gd name="connsiteX90" fmla="*/ 414565 w 3060746"/>
                <a:gd name="connsiteY90" fmla="*/ 1055013 h 1771142"/>
                <a:gd name="connsiteX91" fmla="*/ 426174 w 3060746"/>
                <a:gd name="connsiteY91" fmla="*/ 1059659 h 1771142"/>
                <a:gd name="connsiteX92" fmla="*/ 442856 w 3060746"/>
                <a:gd name="connsiteY92" fmla="*/ 1048128 h 1771142"/>
                <a:gd name="connsiteX93" fmla="*/ 465180 w 3060746"/>
                <a:gd name="connsiteY93" fmla="*/ 1036697 h 1771142"/>
                <a:gd name="connsiteX94" fmla="*/ 473298 w 3060746"/>
                <a:gd name="connsiteY94" fmla="*/ 1022526 h 1771142"/>
                <a:gd name="connsiteX95" fmla="*/ 494973 w 3060746"/>
                <a:gd name="connsiteY95" fmla="*/ 1025099 h 1771142"/>
                <a:gd name="connsiteX96" fmla="*/ 513766 w 3060746"/>
                <a:gd name="connsiteY96" fmla="*/ 1004677 h 1771142"/>
                <a:gd name="connsiteX97" fmla="*/ 539784 w 3060746"/>
                <a:gd name="connsiteY97" fmla="*/ 985960 h 1771142"/>
                <a:gd name="connsiteX98" fmla="*/ 548186 w 3060746"/>
                <a:gd name="connsiteY98" fmla="*/ 956313 h 1771142"/>
                <a:gd name="connsiteX99" fmla="*/ 574813 w 3060746"/>
                <a:gd name="connsiteY99" fmla="*/ 964168 h 1771142"/>
                <a:gd name="connsiteX100" fmla="*/ 598924 w 3060746"/>
                <a:gd name="connsiteY100" fmla="*/ 941005 h 1771142"/>
                <a:gd name="connsiteX101" fmla="*/ 615159 w 3060746"/>
                <a:gd name="connsiteY101" fmla="*/ 920116 h 1771142"/>
                <a:gd name="connsiteX102" fmla="*/ 606311 w 3060746"/>
                <a:gd name="connsiteY102" fmla="*/ 911994 h 1771142"/>
                <a:gd name="connsiteX103" fmla="*/ 623156 w 3060746"/>
                <a:gd name="connsiteY103" fmla="*/ 897555 h 1771142"/>
                <a:gd name="connsiteX104" fmla="*/ 584514 w 3060746"/>
                <a:gd name="connsiteY104" fmla="*/ 905677 h 1771142"/>
                <a:gd name="connsiteX105" fmla="*/ 568481 w 3060746"/>
                <a:gd name="connsiteY105" fmla="*/ 926901 h 1771142"/>
                <a:gd name="connsiteX106" fmla="*/ 515715 w 3060746"/>
                <a:gd name="connsiteY106" fmla="*/ 950631 h 1771142"/>
                <a:gd name="connsiteX107" fmla="*/ 473298 w 3060746"/>
                <a:gd name="connsiteY107" fmla="*/ 996121 h 1771142"/>
                <a:gd name="connsiteX108" fmla="*/ 460634 w 3060746"/>
                <a:gd name="connsiteY108" fmla="*/ 1014069 h 1771142"/>
                <a:gd name="connsiteX109" fmla="*/ 435590 w 3060746"/>
                <a:gd name="connsiteY109" fmla="*/ 1029945 h 1771142"/>
                <a:gd name="connsiteX110" fmla="*/ 414240 w 3060746"/>
                <a:gd name="connsiteY110" fmla="*/ 1055013 h 1771142"/>
                <a:gd name="connsiteX111" fmla="*/ 633750 w 3060746"/>
                <a:gd name="connsiteY111" fmla="*/ 935691 h 1771142"/>
                <a:gd name="connsiteX112" fmla="*/ 631071 w 3060746"/>
                <a:gd name="connsiteY112" fmla="*/ 948425 h 1771142"/>
                <a:gd name="connsiteX113" fmla="*/ 665978 w 3060746"/>
                <a:gd name="connsiteY113" fmla="*/ 935056 h 1771142"/>
                <a:gd name="connsiteX114" fmla="*/ 614672 w 3060746"/>
                <a:gd name="connsiteY114" fmla="*/ 971822 h 1771142"/>
                <a:gd name="connsiteX115" fmla="*/ 664314 w 3060746"/>
                <a:gd name="connsiteY115" fmla="*/ 948425 h 1771142"/>
                <a:gd name="connsiteX116" fmla="*/ 610370 w 3060746"/>
                <a:gd name="connsiteY116" fmla="*/ 985994 h 1771142"/>
                <a:gd name="connsiteX117" fmla="*/ 626403 w 3060746"/>
                <a:gd name="connsiteY117" fmla="*/ 984423 h 1771142"/>
                <a:gd name="connsiteX118" fmla="*/ 683228 w 3060746"/>
                <a:gd name="connsiteY118" fmla="*/ 963399 h 1771142"/>
                <a:gd name="connsiteX119" fmla="*/ 708354 w 3060746"/>
                <a:gd name="connsiteY119" fmla="*/ 934555 h 1771142"/>
                <a:gd name="connsiteX120" fmla="*/ 720165 w 3060746"/>
                <a:gd name="connsiteY120" fmla="*/ 935089 h 1771142"/>
                <a:gd name="connsiteX121" fmla="*/ 794729 w 3060746"/>
                <a:gd name="connsiteY121" fmla="*/ 898825 h 1771142"/>
                <a:gd name="connsiteX122" fmla="*/ 787666 w 3060746"/>
                <a:gd name="connsiteY122" fmla="*/ 910323 h 1771142"/>
                <a:gd name="connsiteX123" fmla="*/ 743910 w 3060746"/>
                <a:gd name="connsiteY123" fmla="*/ 939000 h 1771142"/>
                <a:gd name="connsiteX124" fmla="*/ 757914 w 3060746"/>
                <a:gd name="connsiteY124" fmla="*/ 951133 h 1771142"/>
                <a:gd name="connsiteX125" fmla="*/ 833167 w 3060746"/>
                <a:gd name="connsiteY125" fmla="*/ 902368 h 1771142"/>
                <a:gd name="connsiteX126" fmla="*/ 855451 w 3060746"/>
                <a:gd name="connsiteY126" fmla="*/ 881378 h 1771142"/>
                <a:gd name="connsiteX127" fmla="*/ 895675 w 3060746"/>
                <a:gd name="connsiteY127" fmla="*/ 862259 h 1771142"/>
                <a:gd name="connsiteX128" fmla="*/ 936265 w 3060746"/>
                <a:gd name="connsiteY128" fmla="*/ 839164 h 1771142"/>
                <a:gd name="connsiteX129" fmla="*/ 981441 w 3060746"/>
                <a:gd name="connsiteY129" fmla="*/ 815366 h 1771142"/>
                <a:gd name="connsiteX130" fmla="*/ 964191 w 3060746"/>
                <a:gd name="connsiteY130" fmla="*/ 786187 h 1771142"/>
                <a:gd name="connsiteX131" fmla="*/ 937117 w 3060746"/>
                <a:gd name="connsiteY131" fmla="*/ 805172 h 1771142"/>
                <a:gd name="connsiteX132" fmla="*/ 898719 w 3060746"/>
                <a:gd name="connsiteY132" fmla="*/ 813361 h 1771142"/>
                <a:gd name="connsiteX133" fmla="*/ 867668 w 3060746"/>
                <a:gd name="connsiteY133" fmla="*/ 806509 h 1771142"/>
                <a:gd name="connsiteX134" fmla="*/ 836577 w 3060746"/>
                <a:gd name="connsiteY134" fmla="*/ 817739 h 1771142"/>
                <a:gd name="connsiteX135" fmla="*/ 817215 w 3060746"/>
                <a:gd name="connsiteY135" fmla="*/ 839966 h 1771142"/>
                <a:gd name="connsiteX136" fmla="*/ 840676 w 3060746"/>
                <a:gd name="connsiteY136" fmla="*/ 836624 h 1771142"/>
                <a:gd name="connsiteX137" fmla="*/ 836617 w 3060746"/>
                <a:gd name="connsiteY137" fmla="*/ 849391 h 1771142"/>
                <a:gd name="connsiteX138" fmla="*/ 854720 w 3060746"/>
                <a:gd name="connsiteY138" fmla="*/ 848890 h 1771142"/>
                <a:gd name="connsiteX139" fmla="*/ 843111 w 3060746"/>
                <a:gd name="connsiteY139" fmla="*/ 863229 h 1771142"/>
                <a:gd name="connsiteX140" fmla="*/ 784094 w 3060746"/>
                <a:gd name="connsiteY140" fmla="*/ 877801 h 1771142"/>
                <a:gd name="connsiteX141" fmla="*/ 739445 w 3060746"/>
                <a:gd name="connsiteY141" fmla="*/ 885723 h 1771142"/>
                <a:gd name="connsiteX142" fmla="*/ 712088 w 3060746"/>
                <a:gd name="connsiteY142" fmla="*/ 895382 h 1771142"/>
                <a:gd name="connsiteX143" fmla="*/ 691793 w 3060746"/>
                <a:gd name="connsiteY143" fmla="*/ 905978 h 1771142"/>
                <a:gd name="connsiteX144" fmla="*/ 661635 w 3060746"/>
                <a:gd name="connsiteY144" fmla="*/ 909320 h 1771142"/>
                <a:gd name="connsiteX145" fmla="*/ 633871 w 3060746"/>
                <a:gd name="connsiteY145" fmla="*/ 935691 h 1771142"/>
                <a:gd name="connsiteX146" fmla="*/ 674339 w 3060746"/>
                <a:gd name="connsiteY146" fmla="*/ 851631 h 1771142"/>
                <a:gd name="connsiteX147" fmla="*/ 628026 w 3060746"/>
                <a:gd name="connsiteY147" fmla="*/ 869379 h 1771142"/>
                <a:gd name="connsiteX148" fmla="*/ 674542 w 3060746"/>
                <a:gd name="connsiteY148" fmla="*/ 851664 h 1771142"/>
                <a:gd name="connsiteX149" fmla="*/ 793105 w 3060746"/>
                <a:gd name="connsiteY149" fmla="*/ 789797 h 1771142"/>
                <a:gd name="connsiteX150" fmla="*/ 791968 w 3060746"/>
                <a:gd name="connsiteY150" fmla="*/ 783112 h 1771142"/>
                <a:gd name="connsiteX151" fmla="*/ 748781 w 3060746"/>
                <a:gd name="connsiteY151" fmla="*/ 804704 h 1771142"/>
                <a:gd name="connsiteX152" fmla="*/ 693863 w 3060746"/>
                <a:gd name="connsiteY152" fmla="*/ 845882 h 1771142"/>
                <a:gd name="connsiteX153" fmla="*/ 762581 w 3060746"/>
                <a:gd name="connsiteY153" fmla="*/ 829170 h 1771142"/>
                <a:gd name="connsiteX154" fmla="*/ 789208 w 3060746"/>
                <a:gd name="connsiteY154" fmla="*/ 804470 h 1771142"/>
                <a:gd name="connsiteX155" fmla="*/ 775286 w 3060746"/>
                <a:gd name="connsiteY155" fmla="*/ 804470 h 1771142"/>
                <a:gd name="connsiteX156" fmla="*/ 793105 w 3060746"/>
                <a:gd name="connsiteY156" fmla="*/ 789730 h 1771142"/>
                <a:gd name="connsiteX157" fmla="*/ 793105 w 3060746"/>
                <a:gd name="connsiteY157" fmla="*/ 789797 h 1771142"/>
                <a:gd name="connsiteX158" fmla="*/ 712737 w 3060746"/>
                <a:gd name="connsiteY158" fmla="*/ 811857 h 1771142"/>
                <a:gd name="connsiteX159" fmla="*/ 754382 w 3060746"/>
                <a:gd name="connsiteY159" fmla="*/ 790299 h 1771142"/>
                <a:gd name="connsiteX160" fmla="*/ 793308 w 3060746"/>
                <a:gd name="connsiteY160" fmla="*/ 775124 h 1771142"/>
                <a:gd name="connsiteX161" fmla="*/ 799275 w 3060746"/>
                <a:gd name="connsiteY161" fmla="*/ 758646 h 1771142"/>
                <a:gd name="connsiteX162" fmla="*/ 754626 w 3060746"/>
                <a:gd name="connsiteY162" fmla="*/ 771448 h 1771142"/>
                <a:gd name="connsiteX163" fmla="*/ 691509 w 3060746"/>
                <a:gd name="connsiteY163" fmla="*/ 810553 h 1771142"/>
                <a:gd name="connsiteX164" fmla="*/ 667520 w 3060746"/>
                <a:gd name="connsiteY164" fmla="*/ 828435 h 1771142"/>
                <a:gd name="connsiteX165" fmla="*/ 712818 w 3060746"/>
                <a:gd name="connsiteY165" fmla="*/ 811723 h 1771142"/>
                <a:gd name="connsiteX166" fmla="*/ 712737 w 3060746"/>
                <a:gd name="connsiteY166" fmla="*/ 811756 h 1771142"/>
                <a:gd name="connsiteX167" fmla="*/ 944545 w 3060746"/>
                <a:gd name="connsiteY167" fmla="*/ 676157 h 1771142"/>
                <a:gd name="connsiteX168" fmla="*/ 983024 w 3060746"/>
                <a:gd name="connsiteY168" fmla="*/ 674185 h 1771142"/>
                <a:gd name="connsiteX169" fmla="*/ 956600 w 3060746"/>
                <a:gd name="connsiteY169" fmla="*/ 694640 h 1771142"/>
                <a:gd name="connsiteX170" fmla="*/ 1010422 w 3060746"/>
                <a:gd name="connsiteY170" fmla="*/ 668369 h 1771142"/>
                <a:gd name="connsiteX171" fmla="*/ 1084945 w 3060746"/>
                <a:gd name="connsiteY171" fmla="*/ 647513 h 1771142"/>
                <a:gd name="connsiteX172" fmla="*/ 1144977 w 3060746"/>
                <a:gd name="connsiteY172" fmla="*/ 629397 h 1771142"/>
                <a:gd name="connsiteX173" fmla="*/ 1134221 w 3060746"/>
                <a:gd name="connsiteY173" fmla="*/ 616596 h 1771142"/>
                <a:gd name="connsiteX174" fmla="*/ 1118554 w 3060746"/>
                <a:gd name="connsiteY174" fmla="*/ 608608 h 1771142"/>
                <a:gd name="connsiteX175" fmla="*/ 1067816 w 3060746"/>
                <a:gd name="connsiteY175" fmla="*/ 621977 h 1771142"/>
                <a:gd name="connsiteX176" fmla="*/ 1035710 w 3060746"/>
                <a:gd name="connsiteY176" fmla="*/ 624417 h 1771142"/>
                <a:gd name="connsiteX177" fmla="*/ 1018378 w 3060746"/>
                <a:gd name="connsiteY177" fmla="*/ 636483 h 1771142"/>
                <a:gd name="connsiteX178" fmla="*/ 1008718 w 3060746"/>
                <a:gd name="connsiteY178" fmla="*/ 631536 h 1771142"/>
                <a:gd name="connsiteX179" fmla="*/ 922992 w 3060746"/>
                <a:gd name="connsiteY179" fmla="*/ 663590 h 1771142"/>
                <a:gd name="connsiteX180" fmla="*/ 944545 w 3060746"/>
                <a:gd name="connsiteY180" fmla="*/ 676123 h 1771142"/>
                <a:gd name="connsiteX181" fmla="*/ 944545 w 3060746"/>
                <a:gd name="connsiteY181" fmla="*/ 676157 h 1771142"/>
                <a:gd name="connsiteX182" fmla="*/ 991873 w 3060746"/>
                <a:gd name="connsiteY182" fmla="*/ 727261 h 1771142"/>
                <a:gd name="connsiteX183" fmla="*/ 929852 w 3060746"/>
                <a:gd name="connsiteY183" fmla="*/ 732074 h 1771142"/>
                <a:gd name="connsiteX184" fmla="*/ 991873 w 3060746"/>
                <a:gd name="connsiteY184" fmla="*/ 727195 h 1771142"/>
                <a:gd name="connsiteX185" fmla="*/ 1129432 w 3060746"/>
                <a:gd name="connsiteY185" fmla="*/ 555097 h 1771142"/>
                <a:gd name="connsiteX186" fmla="*/ 1079547 w 3060746"/>
                <a:gd name="connsiteY186" fmla="*/ 566996 h 1771142"/>
                <a:gd name="connsiteX187" fmla="*/ 1129432 w 3060746"/>
                <a:gd name="connsiteY187" fmla="*/ 555030 h 1771142"/>
                <a:gd name="connsiteX188" fmla="*/ 1058805 w 3060746"/>
                <a:gd name="connsiteY188" fmla="*/ 779770 h 1771142"/>
                <a:gd name="connsiteX189" fmla="*/ 1023330 w 3060746"/>
                <a:gd name="connsiteY189" fmla="*/ 786187 h 1771142"/>
                <a:gd name="connsiteX190" fmla="*/ 1058805 w 3060746"/>
                <a:gd name="connsiteY190" fmla="*/ 779770 h 1771142"/>
                <a:gd name="connsiteX191" fmla="*/ 1195187 w 3060746"/>
                <a:gd name="connsiteY191" fmla="*/ 660615 h 1771142"/>
                <a:gd name="connsiteX192" fmla="*/ 1125251 w 3060746"/>
                <a:gd name="connsiteY192" fmla="*/ 692367 h 1771142"/>
                <a:gd name="connsiteX193" fmla="*/ 1152121 w 3060746"/>
                <a:gd name="connsiteY193" fmla="*/ 698484 h 1771142"/>
                <a:gd name="connsiteX194" fmla="*/ 1088720 w 3060746"/>
                <a:gd name="connsiteY194" fmla="*/ 712722 h 1771142"/>
                <a:gd name="connsiteX195" fmla="*/ 1111410 w 3060746"/>
                <a:gd name="connsiteY195" fmla="*/ 723384 h 1771142"/>
                <a:gd name="connsiteX196" fmla="*/ 1063636 w 3060746"/>
                <a:gd name="connsiteY196" fmla="*/ 728431 h 1771142"/>
                <a:gd name="connsiteX197" fmla="*/ 1003319 w 3060746"/>
                <a:gd name="connsiteY197" fmla="*/ 739695 h 1771142"/>
                <a:gd name="connsiteX198" fmla="*/ 1030190 w 3060746"/>
                <a:gd name="connsiteY198" fmla="*/ 754201 h 1771142"/>
                <a:gd name="connsiteX199" fmla="*/ 1101749 w 3060746"/>
                <a:gd name="connsiteY199" fmla="*/ 742703 h 1771142"/>
                <a:gd name="connsiteX200" fmla="*/ 1165394 w 3060746"/>
                <a:gd name="connsiteY200" fmla="*/ 711686 h 1771142"/>
                <a:gd name="connsiteX201" fmla="*/ 1165394 w 3060746"/>
                <a:gd name="connsiteY201" fmla="*/ 730637 h 1771142"/>
                <a:gd name="connsiteX202" fmla="*/ 1223153 w 3060746"/>
                <a:gd name="connsiteY202" fmla="*/ 713758 h 1771142"/>
                <a:gd name="connsiteX203" fmla="*/ 1252013 w 3060746"/>
                <a:gd name="connsiteY203" fmla="*/ 698584 h 1771142"/>
                <a:gd name="connsiteX204" fmla="*/ 1257371 w 3060746"/>
                <a:gd name="connsiteY204" fmla="*/ 685215 h 1771142"/>
                <a:gd name="connsiteX205" fmla="*/ 1248725 w 3060746"/>
                <a:gd name="connsiteY205" fmla="*/ 673984 h 1771142"/>
                <a:gd name="connsiteX206" fmla="*/ 1247101 w 3060746"/>
                <a:gd name="connsiteY206" fmla="*/ 661918 h 1771142"/>
                <a:gd name="connsiteX207" fmla="*/ 1227821 w 3060746"/>
                <a:gd name="connsiteY207" fmla="*/ 655234 h 1771142"/>
                <a:gd name="connsiteX208" fmla="*/ 1195350 w 3060746"/>
                <a:gd name="connsiteY208" fmla="*/ 660481 h 1771142"/>
                <a:gd name="connsiteX209" fmla="*/ 1233341 w 3060746"/>
                <a:gd name="connsiteY209" fmla="*/ 594670 h 1771142"/>
                <a:gd name="connsiteX210" fmla="*/ 1294754 w 3060746"/>
                <a:gd name="connsiteY210" fmla="*/ 562283 h 1771142"/>
                <a:gd name="connsiteX211" fmla="*/ 1286636 w 3060746"/>
                <a:gd name="connsiteY211" fmla="*/ 552523 h 1771142"/>
                <a:gd name="connsiteX212" fmla="*/ 1241013 w 3060746"/>
                <a:gd name="connsiteY212" fmla="*/ 563285 h 1771142"/>
                <a:gd name="connsiteX213" fmla="*/ 1169494 w 3060746"/>
                <a:gd name="connsiteY213" fmla="*/ 582203 h 1771142"/>
                <a:gd name="connsiteX214" fmla="*/ 1233341 w 3060746"/>
                <a:gd name="connsiteY214" fmla="*/ 594670 h 1771142"/>
                <a:gd name="connsiteX215" fmla="*/ 1357140 w 3060746"/>
                <a:gd name="connsiteY215" fmla="*/ 548579 h 1771142"/>
                <a:gd name="connsiteX216" fmla="*/ 1262810 w 3060746"/>
                <a:gd name="connsiteY216" fmla="*/ 596876 h 1771142"/>
                <a:gd name="connsiteX217" fmla="*/ 1357181 w 3060746"/>
                <a:gd name="connsiteY217" fmla="*/ 548579 h 1771142"/>
                <a:gd name="connsiteX218" fmla="*/ 1399232 w 3060746"/>
                <a:gd name="connsiteY218" fmla="*/ 654532 h 1771142"/>
                <a:gd name="connsiteX219" fmla="*/ 1367572 w 3060746"/>
                <a:gd name="connsiteY219" fmla="*/ 635246 h 1771142"/>
                <a:gd name="connsiteX220" fmla="*/ 1302101 w 3060746"/>
                <a:gd name="connsiteY220" fmla="*/ 668068 h 1771142"/>
                <a:gd name="connsiteX221" fmla="*/ 1311923 w 3060746"/>
                <a:gd name="connsiteY221" fmla="*/ 681204 h 1771142"/>
                <a:gd name="connsiteX222" fmla="*/ 1399232 w 3060746"/>
                <a:gd name="connsiteY222" fmla="*/ 654465 h 1771142"/>
                <a:gd name="connsiteX223" fmla="*/ 1269345 w 3060746"/>
                <a:gd name="connsiteY223" fmla="*/ 826663 h 1771142"/>
                <a:gd name="connsiteX224" fmla="*/ 1305875 w 3060746"/>
                <a:gd name="connsiteY224" fmla="*/ 803969 h 1771142"/>
                <a:gd name="connsiteX225" fmla="*/ 1336967 w 3060746"/>
                <a:gd name="connsiteY225" fmla="*/ 786555 h 1771142"/>
                <a:gd name="connsiteX226" fmla="*/ 1347033 w 3060746"/>
                <a:gd name="connsiteY226" fmla="*/ 766501 h 1771142"/>
                <a:gd name="connsiteX227" fmla="*/ 1337373 w 3060746"/>
                <a:gd name="connsiteY227" fmla="*/ 734648 h 1771142"/>
                <a:gd name="connsiteX228" fmla="*/ 1328078 w 3060746"/>
                <a:gd name="connsiteY228" fmla="*/ 756039 h 1771142"/>
                <a:gd name="connsiteX229" fmla="*/ 1313790 w 3060746"/>
                <a:gd name="connsiteY229" fmla="*/ 752329 h 1771142"/>
                <a:gd name="connsiteX230" fmla="*/ 1292115 w 3060746"/>
                <a:gd name="connsiteY230" fmla="*/ 760451 h 1771142"/>
                <a:gd name="connsiteX231" fmla="*/ 1280344 w 3060746"/>
                <a:gd name="connsiteY231" fmla="*/ 753766 h 1771142"/>
                <a:gd name="connsiteX232" fmla="*/ 1308514 w 3060746"/>
                <a:gd name="connsiteY232" fmla="*/ 727027 h 1771142"/>
                <a:gd name="connsiteX233" fmla="*/ 1276651 w 3060746"/>
                <a:gd name="connsiteY233" fmla="*/ 728498 h 1771142"/>
                <a:gd name="connsiteX234" fmla="*/ 1265529 w 3060746"/>
                <a:gd name="connsiteY234" fmla="*/ 726225 h 1771142"/>
                <a:gd name="connsiteX235" fmla="*/ 1235330 w 3060746"/>
                <a:gd name="connsiteY235" fmla="*/ 743238 h 1771142"/>
                <a:gd name="connsiteX236" fmla="*/ 1248035 w 3060746"/>
                <a:gd name="connsiteY236" fmla="*/ 747383 h 1771142"/>
                <a:gd name="connsiteX237" fmla="*/ 1197460 w 3060746"/>
                <a:gd name="connsiteY237" fmla="*/ 765398 h 1771142"/>
                <a:gd name="connsiteX238" fmla="*/ 1187597 w 3060746"/>
                <a:gd name="connsiteY238" fmla="*/ 790365 h 1771142"/>
                <a:gd name="connsiteX239" fmla="*/ 1217593 w 3060746"/>
                <a:gd name="connsiteY239" fmla="*/ 780773 h 1771142"/>
                <a:gd name="connsiteX240" fmla="*/ 1194051 w 3060746"/>
                <a:gd name="connsiteY240" fmla="*/ 810085 h 1771142"/>
                <a:gd name="connsiteX241" fmla="*/ 1153055 w 3060746"/>
                <a:gd name="connsiteY241" fmla="*/ 816202 h 1771142"/>
                <a:gd name="connsiteX242" fmla="*/ 1148428 w 3060746"/>
                <a:gd name="connsiteY242" fmla="*/ 835019 h 1771142"/>
                <a:gd name="connsiteX243" fmla="*/ 1212072 w 3060746"/>
                <a:gd name="connsiteY243" fmla="*/ 824992 h 1771142"/>
                <a:gd name="connsiteX244" fmla="*/ 1269263 w 3060746"/>
                <a:gd name="connsiteY244" fmla="*/ 826697 h 1771142"/>
                <a:gd name="connsiteX245" fmla="*/ 1269507 w 3060746"/>
                <a:gd name="connsiteY245" fmla="*/ 826563 h 1771142"/>
                <a:gd name="connsiteX246" fmla="*/ 1443150 w 3060746"/>
                <a:gd name="connsiteY246" fmla="*/ 620273 h 1771142"/>
                <a:gd name="connsiteX247" fmla="*/ 1471319 w 3060746"/>
                <a:gd name="connsiteY247" fmla="*/ 618635 h 1771142"/>
                <a:gd name="connsiteX248" fmla="*/ 1514831 w 3060746"/>
                <a:gd name="connsiteY248" fmla="*/ 610613 h 1771142"/>
                <a:gd name="connsiteX249" fmla="*/ 1554406 w 3060746"/>
                <a:gd name="connsiteY249" fmla="*/ 586481 h 1771142"/>
                <a:gd name="connsiteX250" fmla="*/ 1576203 w 3060746"/>
                <a:gd name="connsiteY250" fmla="*/ 584008 h 1771142"/>
                <a:gd name="connsiteX251" fmla="*/ 1651984 w 3060746"/>
                <a:gd name="connsiteY251" fmla="*/ 561982 h 1771142"/>
                <a:gd name="connsiteX252" fmla="*/ 1737223 w 3060746"/>
                <a:gd name="connsiteY252" fmla="*/ 524481 h 1771142"/>
                <a:gd name="connsiteX253" fmla="*/ 1767097 w 3060746"/>
                <a:gd name="connsiteY253" fmla="*/ 513718 h 1771142"/>
                <a:gd name="connsiteX254" fmla="*/ 1857003 w 3060746"/>
                <a:gd name="connsiteY254" fmla="*/ 480863 h 1771142"/>
                <a:gd name="connsiteX255" fmla="*/ 1858464 w 3060746"/>
                <a:gd name="connsiteY255" fmla="*/ 451383 h 1771142"/>
                <a:gd name="connsiteX256" fmla="*/ 1793886 w 3060746"/>
                <a:gd name="connsiteY256" fmla="*/ 466758 h 1771142"/>
                <a:gd name="connsiteX257" fmla="*/ 1714817 w 3060746"/>
                <a:gd name="connsiteY257" fmla="*/ 492661 h 1771142"/>
                <a:gd name="connsiteX258" fmla="*/ 1655800 w 3060746"/>
                <a:gd name="connsiteY258" fmla="*/ 520804 h 1771142"/>
                <a:gd name="connsiteX259" fmla="*/ 1569019 w 3060746"/>
                <a:gd name="connsiteY259" fmla="*/ 553893 h 1771142"/>
                <a:gd name="connsiteX260" fmla="*/ 1547709 w 3060746"/>
                <a:gd name="connsiteY260" fmla="*/ 557236 h 1771142"/>
                <a:gd name="connsiteX261" fmla="*/ 1499326 w 3060746"/>
                <a:gd name="connsiteY261" fmla="*/ 568633 h 1771142"/>
                <a:gd name="connsiteX262" fmla="*/ 1515034 w 3060746"/>
                <a:gd name="connsiteY262" fmla="*/ 544401 h 1771142"/>
                <a:gd name="connsiteX263" fmla="*/ 1435803 w 3060746"/>
                <a:gd name="connsiteY263" fmla="*/ 561514 h 1771142"/>
                <a:gd name="connsiteX264" fmla="*/ 1390465 w 3060746"/>
                <a:gd name="connsiteY264" fmla="*/ 579262 h 1771142"/>
                <a:gd name="connsiteX265" fmla="*/ 1336155 w 3060746"/>
                <a:gd name="connsiteY265" fmla="*/ 588687 h 1771142"/>
                <a:gd name="connsiteX266" fmla="*/ 1259928 w 3060746"/>
                <a:gd name="connsiteY266" fmla="*/ 620273 h 1771142"/>
                <a:gd name="connsiteX267" fmla="*/ 1364041 w 3060746"/>
                <a:gd name="connsiteY267" fmla="*/ 605098 h 1771142"/>
                <a:gd name="connsiteX268" fmla="*/ 1379708 w 3060746"/>
                <a:gd name="connsiteY268" fmla="*/ 594503 h 1771142"/>
                <a:gd name="connsiteX269" fmla="*/ 1415955 w 3060746"/>
                <a:gd name="connsiteY269" fmla="*/ 595205 h 1771142"/>
                <a:gd name="connsiteX270" fmla="*/ 1435722 w 3060746"/>
                <a:gd name="connsiteY270" fmla="*/ 603227 h 1771142"/>
                <a:gd name="connsiteX271" fmla="*/ 1443312 w 3060746"/>
                <a:gd name="connsiteY271" fmla="*/ 620139 h 1771142"/>
                <a:gd name="connsiteX272" fmla="*/ 1473430 w 3060746"/>
                <a:gd name="connsiteY272" fmla="*/ 509774 h 1771142"/>
                <a:gd name="connsiteX273" fmla="*/ 1446843 w 3060746"/>
                <a:gd name="connsiteY273" fmla="*/ 534240 h 1771142"/>
                <a:gd name="connsiteX274" fmla="*/ 1473592 w 3060746"/>
                <a:gd name="connsiteY274" fmla="*/ 509774 h 1771142"/>
                <a:gd name="connsiteX275" fmla="*/ 1210530 w 3060746"/>
                <a:gd name="connsiteY275" fmla="*/ 520236 h 1771142"/>
                <a:gd name="connsiteX276" fmla="*/ 1244098 w 3060746"/>
                <a:gd name="connsiteY276" fmla="*/ 524113 h 1771142"/>
                <a:gd name="connsiteX277" fmla="*/ 1282739 w 3060746"/>
                <a:gd name="connsiteY277" fmla="*/ 512381 h 1771142"/>
                <a:gd name="connsiteX278" fmla="*/ 1354705 w 3060746"/>
                <a:gd name="connsiteY278" fmla="*/ 484005 h 1771142"/>
                <a:gd name="connsiteX279" fmla="*/ 1330351 w 3060746"/>
                <a:gd name="connsiteY279" fmla="*/ 518230 h 1771142"/>
                <a:gd name="connsiteX280" fmla="*/ 1359616 w 3060746"/>
                <a:gd name="connsiteY280" fmla="*/ 516827 h 1771142"/>
                <a:gd name="connsiteX281" fmla="*/ 1369966 w 3060746"/>
                <a:gd name="connsiteY281" fmla="*/ 518832 h 1771142"/>
                <a:gd name="connsiteX282" fmla="*/ 1439578 w 3060746"/>
                <a:gd name="connsiteY282" fmla="*/ 501118 h 1771142"/>
                <a:gd name="connsiteX283" fmla="*/ 1463607 w 3060746"/>
                <a:gd name="connsiteY283" fmla="*/ 485709 h 1771142"/>
                <a:gd name="connsiteX284" fmla="*/ 1504197 w 3060746"/>
                <a:gd name="connsiteY284" fmla="*/ 472607 h 1771142"/>
                <a:gd name="connsiteX285" fmla="*/ 1510610 w 3060746"/>
                <a:gd name="connsiteY285" fmla="*/ 455595 h 1771142"/>
                <a:gd name="connsiteX286" fmla="*/ 1527414 w 3060746"/>
                <a:gd name="connsiteY286" fmla="*/ 445033 h 1771142"/>
                <a:gd name="connsiteX287" fmla="*/ 1541905 w 3060746"/>
                <a:gd name="connsiteY287" fmla="*/ 425246 h 1771142"/>
                <a:gd name="connsiteX288" fmla="*/ 1585985 w 3060746"/>
                <a:gd name="connsiteY288" fmla="*/ 401448 h 1771142"/>
                <a:gd name="connsiteX289" fmla="*/ 1599096 w 3060746"/>
                <a:gd name="connsiteY289" fmla="*/ 388079 h 1771142"/>
                <a:gd name="connsiteX290" fmla="*/ 1553919 w 3060746"/>
                <a:gd name="connsiteY290" fmla="*/ 399878 h 1771142"/>
                <a:gd name="connsiteX291" fmla="*/ 1522381 w 3060746"/>
                <a:gd name="connsiteY291" fmla="*/ 401849 h 1771142"/>
                <a:gd name="connsiteX292" fmla="*/ 1513411 w 3060746"/>
                <a:gd name="connsiteY292" fmla="*/ 393527 h 1771142"/>
                <a:gd name="connsiteX293" fmla="*/ 1500868 w 3060746"/>
                <a:gd name="connsiteY293" fmla="*/ 389449 h 1771142"/>
                <a:gd name="connsiteX294" fmla="*/ 1484389 w 3060746"/>
                <a:gd name="connsiteY294" fmla="*/ 387277 h 1771142"/>
                <a:gd name="connsiteX295" fmla="*/ 1476271 w 3060746"/>
                <a:gd name="connsiteY295" fmla="*/ 398039 h 1771142"/>
                <a:gd name="connsiteX296" fmla="*/ 1447858 w 3060746"/>
                <a:gd name="connsiteY296" fmla="*/ 403688 h 1771142"/>
                <a:gd name="connsiteX297" fmla="*/ 1425250 w 3060746"/>
                <a:gd name="connsiteY297" fmla="*/ 400914 h 1771142"/>
                <a:gd name="connsiteX298" fmla="*/ 1375771 w 3060746"/>
                <a:gd name="connsiteY298" fmla="*/ 410038 h 1771142"/>
                <a:gd name="connsiteX299" fmla="*/ 1267153 w 3060746"/>
                <a:gd name="connsiteY299" fmla="*/ 424878 h 1771142"/>
                <a:gd name="connsiteX300" fmla="*/ 1243814 w 3060746"/>
                <a:gd name="connsiteY300" fmla="*/ 438248 h 1771142"/>
                <a:gd name="connsiteX301" fmla="*/ 1273241 w 3060746"/>
                <a:gd name="connsiteY301" fmla="*/ 435373 h 1771142"/>
                <a:gd name="connsiteX302" fmla="*/ 1240079 w 3060746"/>
                <a:gd name="connsiteY302" fmla="*/ 458469 h 1771142"/>
                <a:gd name="connsiteX303" fmla="*/ 1200504 w 3060746"/>
                <a:gd name="connsiteY303" fmla="*/ 488818 h 1771142"/>
                <a:gd name="connsiteX304" fmla="*/ 1248968 w 3060746"/>
                <a:gd name="connsiteY304" fmla="*/ 492394 h 1771142"/>
                <a:gd name="connsiteX305" fmla="*/ 1208379 w 3060746"/>
                <a:gd name="connsiteY305" fmla="*/ 510142 h 1771142"/>
                <a:gd name="connsiteX306" fmla="*/ 1211058 w 3060746"/>
                <a:gd name="connsiteY306" fmla="*/ 520169 h 1771142"/>
                <a:gd name="connsiteX307" fmla="*/ 1210692 w 3060746"/>
                <a:gd name="connsiteY307" fmla="*/ 520236 h 1771142"/>
                <a:gd name="connsiteX308" fmla="*/ 1356166 w 3060746"/>
                <a:gd name="connsiteY308" fmla="*/ 378687 h 1771142"/>
                <a:gd name="connsiteX309" fmla="*/ 1371915 w 3060746"/>
                <a:gd name="connsiteY309" fmla="*/ 377116 h 1771142"/>
                <a:gd name="connsiteX310" fmla="*/ 1403900 w 3060746"/>
                <a:gd name="connsiteY310" fmla="*/ 370431 h 1771142"/>
                <a:gd name="connsiteX311" fmla="*/ 1405442 w 3060746"/>
                <a:gd name="connsiteY311" fmla="*/ 387711 h 1771142"/>
                <a:gd name="connsiteX312" fmla="*/ 1429268 w 3060746"/>
                <a:gd name="connsiteY312" fmla="*/ 386174 h 1771142"/>
                <a:gd name="connsiteX313" fmla="*/ 1464825 w 3060746"/>
                <a:gd name="connsiteY313" fmla="*/ 378821 h 1771142"/>
                <a:gd name="connsiteX314" fmla="*/ 1527779 w 3060746"/>
                <a:gd name="connsiteY314" fmla="*/ 346266 h 1771142"/>
                <a:gd name="connsiteX315" fmla="*/ 1532245 w 3060746"/>
                <a:gd name="connsiteY315" fmla="*/ 357797 h 1771142"/>
                <a:gd name="connsiteX316" fmla="*/ 1560089 w 3060746"/>
                <a:gd name="connsiteY316" fmla="*/ 352784 h 1771142"/>
                <a:gd name="connsiteX317" fmla="*/ 1627671 w 3060746"/>
                <a:gd name="connsiteY317" fmla="*/ 329020 h 1771142"/>
                <a:gd name="connsiteX318" fmla="*/ 1643907 w 3060746"/>
                <a:gd name="connsiteY318" fmla="*/ 315650 h 1771142"/>
                <a:gd name="connsiteX319" fmla="*/ 1684497 w 3060746"/>
                <a:gd name="connsiteY319" fmla="*/ 304152 h 1771142"/>
                <a:gd name="connsiteX320" fmla="*/ 1755001 w 3060746"/>
                <a:gd name="connsiteY320" fmla="*/ 269826 h 1771142"/>
                <a:gd name="connsiteX321" fmla="*/ 1787473 w 3060746"/>
                <a:gd name="connsiteY321" fmla="*/ 252413 h 1771142"/>
                <a:gd name="connsiteX322" fmla="*/ 1720378 w 3060746"/>
                <a:gd name="connsiteY322" fmla="*/ 297534 h 1771142"/>
                <a:gd name="connsiteX323" fmla="*/ 1676257 w 3060746"/>
                <a:gd name="connsiteY323" fmla="*/ 326646 h 1771142"/>
                <a:gd name="connsiteX324" fmla="*/ 1726142 w 3060746"/>
                <a:gd name="connsiteY324" fmla="*/ 329488 h 1771142"/>
                <a:gd name="connsiteX325" fmla="*/ 1640213 w 3060746"/>
                <a:gd name="connsiteY325" fmla="*/ 338345 h 1771142"/>
                <a:gd name="connsiteX326" fmla="*/ 1545558 w 3060746"/>
                <a:gd name="connsiteY326" fmla="*/ 366253 h 1771142"/>
                <a:gd name="connsiteX327" fmla="*/ 1552052 w 3060746"/>
                <a:gd name="connsiteY327" fmla="*/ 392290 h 1771142"/>
                <a:gd name="connsiteX328" fmla="*/ 1587649 w 3060746"/>
                <a:gd name="connsiteY328" fmla="*/ 383266 h 1771142"/>
                <a:gd name="connsiteX329" fmla="*/ 1635302 w 3060746"/>
                <a:gd name="connsiteY329" fmla="*/ 385706 h 1771142"/>
                <a:gd name="connsiteX330" fmla="*/ 1677109 w 3060746"/>
                <a:gd name="connsiteY330" fmla="*/ 384570 h 1771142"/>
                <a:gd name="connsiteX331" fmla="*/ 1711489 w 3060746"/>
                <a:gd name="connsiteY331" fmla="*/ 379289 h 1771142"/>
                <a:gd name="connsiteX332" fmla="*/ 1653811 w 3060746"/>
                <a:gd name="connsiteY332" fmla="*/ 396869 h 1771142"/>
                <a:gd name="connsiteX333" fmla="*/ 1563458 w 3060746"/>
                <a:gd name="connsiteY333" fmla="*/ 428054 h 1771142"/>
                <a:gd name="connsiteX334" fmla="*/ 1549049 w 3060746"/>
                <a:gd name="connsiteY334" fmla="*/ 459071 h 1771142"/>
                <a:gd name="connsiteX335" fmla="*/ 1590328 w 3060746"/>
                <a:gd name="connsiteY335" fmla="*/ 443662 h 1771142"/>
                <a:gd name="connsiteX336" fmla="*/ 1632745 w 3060746"/>
                <a:gd name="connsiteY336" fmla="*/ 417458 h 1771142"/>
                <a:gd name="connsiteX337" fmla="*/ 1618741 w 3060746"/>
                <a:gd name="connsiteY337" fmla="*/ 444197 h 1771142"/>
                <a:gd name="connsiteX338" fmla="*/ 1665176 w 3060746"/>
                <a:gd name="connsiteY338" fmla="*/ 449946 h 1771142"/>
                <a:gd name="connsiteX339" fmla="*/ 1610420 w 3060746"/>
                <a:gd name="connsiteY339" fmla="*/ 455962 h 1771142"/>
                <a:gd name="connsiteX340" fmla="*/ 1530499 w 3060746"/>
                <a:gd name="connsiteY340" fmla="*/ 483370 h 1771142"/>
                <a:gd name="connsiteX341" fmla="*/ 1578152 w 3060746"/>
                <a:gd name="connsiteY341" fmla="*/ 485141 h 1771142"/>
                <a:gd name="connsiteX342" fmla="*/ 1543001 w 3060746"/>
                <a:gd name="connsiteY342" fmla="*/ 502455 h 1771142"/>
                <a:gd name="connsiteX343" fmla="*/ 1501680 w 3060746"/>
                <a:gd name="connsiteY343" fmla="*/ 525851 h 1771142"/>
                <a:gd name="connsiteX344" fmla="*/ 1533178 w 3060746"/>
                <a:gd name="connsiteY344" fmla="*/ 529193 h 1771142"/>
                <a:gd name="connsiteX345" fmla="*/ 1611963 w 3060746"/>
                <a:gd name="connsiteY345" fmla="*/ 500616 h 1771142"/>
                <a:gd name="connsiteX346" fmla="*/ 1679098 w 3060746"/>
                <a:gd name="connsiteY346" fmla="*/ 476585 h 1771142"/>
                <a:gd name="connsiteX347" fmla="*/ 1724153 w 3060746"/>
                <a:gd name="connsiteY347" fmla="*/ 458135 h 1771142"/>
                <a:gd name="connsiteX348" fmla="*/ 1783251 w 3060746"/>
                <a:gd name="connsiteY348" fmla="*/ 441022 h 1771142"/>
                <a:gd name="connsiteX349" fmla="*/ 1823841 w 3060746"/>
                <a:gd name="connsiteY349" fmla="*/ 436577 h 1771142"/>
                <a:gd name="connsiteX350" fmla="*/ 1864674 w 3060746"/>
                <a:gd name="connsiteY350" fmla="*/ 411810 h 1771142"/>
                <a:gd name="connsiteX351" fmla="*/ 1903072 w 3060746"/>
                <a:gd name="connsiteY351" fmla="*/ 395332 h 1771142"/>
                <a:gd name="connsiteX352" fmla="*/ 1888582 w 3060746"/>
                <a:gd name="connsiteY352" fmla="*/ 382698 h 1771142"/>
                <a:gd name="connsiteX353" fmla="*/ 1861630 w 3060746"/>
                <a:gd name="connsiteY353" fmla="*/ 396067 h 1771142"/>
                <a:gd name="connsiteX354" fmla="*/ 1841132 w 3060746"/>
                <a:gd name="connsiteY354" fmla="*/ 394697 h 1771142"/>
                <a:gd name="connsiteX355" fmla="*/ 1753905 w 3060746"/>
                <a:gd name="connsiteY355" fmla="*/ 419865 h 1771142"/>
                <a:gd name="connsiteX356" fmla="*/ 1818078 w 3060746"/>
                <a:gd name="connsiteY356" fmla="*/ 393527 h 1771142"/>
                <a:gd name="connsiteX357" fmla="*/ 1876040 w 3060746"/>
                <a:gd name="connsiteY357" fmla="*/ 368292 h 1771142"/>
                <a:gd name="connsiteX358" fmla="*/ 1866664 w 3060746"/>
                <a:gd name="connsiteY358" fmla="*/ 355157 h 1771142"/>
                <a:gd name="connsiteX359" fmla="*/ 1941755 w 3060746"/>
                <a:gd name="connsiteY359" fmla="*/ 326780 h 1771142"/>
                <a:gd name="connsiteX360" fmla="*/ 1985023 w 3060746"/>
                <a:gd name="connsiteY360" fmla="*/ 276645 h 1771142"/>
                <a:gd name="connsiteX361" fmla="*/ 1920526 w 3060746"/>
                <a:gd name="connsiteY361" fmla="*/ 286505 h 1771142"/>
                <a:gd name="connsiteX362" fmla="*/ 1893737 w 3060746"/>
                <a:gd name="connsiteY362" fmla="*/ 289112 h 1771142"/>
                <a:gd name="connsiteX363" fmla="*/ 1950563 w 3060746"/>
                <a:gd name="connsiteY363" fmla="*/ 266417 h 1771142"/>
                <a:gd name="connsiteX364" fmla="*/ 1995739 w 3060746"/>
                <a:gd name="connsiteY364" fmla="*/ 249939 h 1771142"/>
                <a:gd name="connsiteX365" fmla="*/ 2008444 w 3060746"/>
                <a:gd name="connsiteY365" fmla="*/ 229885 h 1771142"/>
                <a:gd name="connsiteX366" fmla="*/ 2084184 w 3060746"/>
                <a:gd name="connsiteY366" fmla="*/ 200907 h 1771142"/>
                <a:gd name="connsiteX367" fmla="*/ 2121811 w 3060746"/>
                <a:gd name="connsiteY367" fmla="*/ 176341 h 1771142"/>
                <a:gd name="connsiteX368" fmla="*/ 2212894 w 3060746"/>
                <a:gd name="connsiteY368" fmla="*/ 120757 h 1771142"/>
                <a:gd name="connsiteX369" fmla="*/ 2299919 w 3060746"/>
                <a:gd name="connsiteY369" fmla="*/ 80147 h 1771142"/>
                <a:gd name="connsiteX370" fmla="*/ 2271506 w 3060746"/>
                <a:gd name="connsiteY370" fmla="*/ 79145 h 1771142"/>
                <a:gd name="connsiteX371" fmla="*/ 2198120 w 3060746"/>
                <a:gd name="connsiteY371" fmla="*/ 101906 h 1771142"/>
                <a:gd name="connsiteX372" fmla="*/ 2228115 w 3060746"/>
                <a:gd name="connsiteY372" fmla="*/ 85362 h 1771142"/>
                <a:gd name="connsiteX373" fmla="*/ 2292004 w 3060746"/>
                <a:gd name="connsiteY373" fmla="*/ 66110 h 1771142"/>
                <a:gd name="connsiteX374" fmla="*/ 2371438 w 3060746"/>
                <a:gd name="connsiteY374" fmla="*/ 30346 h 1771142"/>
                <a:gd name="connsiteX375" fmla="*/ 2407238 w 3060746"/>
                <a:gd name="connsiteY375" fmla="*/ 265 h 1771142"/>
                <a:gd name="connsiteX376" fmla="*/ 2329833 w 3060746"/>
                <a:gd name="connsiteY376" fmla="*/ 15406 h 1771142"/>
                <a:gd name="connsiteX377" fmla="*/ 2311527 w 3060746"/>
                <a:gd name="connsiteY377" fmla="*/ 10860 h 1771142"/>
                <a:gd name="connsiteX378" fmla="*/ 2280557 w 3060746"/>
                <a:gd name="connsiteY378" fmla="*/ 18147 h 1771142"/>
                <a:gd name="connsiteX379" fmla="*/ 2192193 w 3060746"/>
                <a:gd name="connsiteY379" fmla="*/ 50200 h 1771142"/>
                <a:gd name="connsiteX380" fmla="*/ 2212245 w 3060746"/>
                <a:gd name="connsiteY380" fmla="*/ 31182 h 1771142"/>
                <a:gd name="connsiteX381" fmla="*/ 2100663 w 3060746"/>
                <a:gd name="connsiteY381" fmla="*/ 59826 h 1771142"/>
                <a:gd name="connsiteX382" fmla="*/ 2046233 w 3060746"/>
                <a:gd name="connsiteY382" fmla="*/ 76103 h 1771142"/>
                <a:gd name="connsiteX383" fmla="*/ 1978488 w 3060746"/>
                <a:gd name="connsiteY383" fmla="*/ 92548 h 1771142"/>
                <a:gd name="connsiteX384" fmla="*/ 1956813 w 3060746"/>
                <a:gd name="connsiteY384" fmla="*/ 105516 h 1771142"/>
                <a:gd name="connsiteX385" fmla="*/ 1949142 w 3060746"/>
                <a:gd name="connsiteY385" fmla="*/ 115877 h 1771142"/>
                <a:gd name="connsiteX386" fmla="*/ 1907131 w 3060746"/>
                <a:gd name="connsiteY386" fmla="*/ 120256 h 1771142"/>
                <a:gd name="connsiteX387" fmla="*/ 1850306 w 3060746"/>
                <a:gd name="connsiteY387" fmla="*/ 140811 h 1771142"/>
                <a:gd name="connsiteX388" fmla="*/ 1819823 w 3060746"/>
                <a:gd name="connsiteY388" fmla="*/ 152576 h 1771142"/>
                <a:gd name="connsiteX389" fmla="*/ 1802247 w 3060746"/>
                <a:gd name="connsiteY389" fmla="*/ 164107 h 1771142"/>
                <a:gd name="connsiteX390" fmla="*/ 1718957 w 3060746"/>
                <a:gd name="connsiteY390" fmla="*/ 187504 h 1771142"/>
                <a:gd name="connsiteX391" fmla="*/ 1725289 w 3060746"/>
                <a:gd name="connsiteY391" fmla="*/ 189610 h 1771142"/>
                <a:gd name="connsiteX392" fmla="*/ 1696268 w 3060746"/>
                <a:gd name="connsiteY392" fmla="*/ 200205 h 1771142"/>
                <a:gd name="connsiteX393" fmla="*/ 1686932 w 3060746"/>
                <a:gd name="connsiteY393" fmla="*/ 215379 h 1771142"/>
                <a:gd name="connsiteX394" fmla="*/ 1630675 w 3060746"/>
                <a:gd name="connsiteY394" fmla="*/ 237974 h 1771142"/>
                <a:gd name="connsiteX395" fmla="*/ 1600273 w 3060746"/>
                <a:gd name="connsiteY395" fmla="*/ 258663 h 1771142"/>
                <a:gd name="connsiteX396" fmla="*/ 1553108 w 3060746"/>
                <a:gd name="connsiteY396" fmla="*/ 265983 h 1771142"/>
                <a:gd name="connsiteX397" fmla="*/ 1524005 w 3060746"/>
                <a:gd name="connsiteY397" fmla="*/ 277647 h 1771142"/>
                <a:gd name="connsiteX398" fmla="*/ 1523477 w 3060746"/>
                <a:gd name="connsiteY398" fmla="*/ 284867 h 1771142"/>
                <a:gd name="connsiteX399" fmla="*/ 1496282 w 3060746"/>
                <a:gd name="connsiteY399" fmla="*/ 297434 h 1771142"/>
                <a:gd name="connsiteX400" fmla="*/ 1505009 w 3060746"/>
                <a:gd name="connsiteY400" fmla="*/ 303417 h 1771142"/>
                <a:gd name="connsiteX401" fmla="*/ 1447574 w 3060746"/>
                <a:gd name="connsiteY401" fmla="*/ 321232 h 1771142"/>
                <a:gd name="connsiteX402" fmla="*/ 1411044 w 3060746"/>
                <a:gd name="connsiteY402" fmla="*/ 348505 h 1771142"/>
                <a:gd name="connsiteX403" fmla="*/ 1375690 w 3060746"/>
                <a:gd name="connsiteY403" fmla="*/ 360337 h 1771142"/>
                <a:gd name="connsiteX404" fmla="*/ 1317768 w 3060746"/>
                <a:gd name="connsiteY404" fmla="*/ 392792 h 1771142"/>
                <a:gd name="connsiteX405" fmla="*/ 1356044 w 3060746"/>
                <a:gd name="connsiteY405" fmla="*/ 378319 h 1771142"/>
                <a:gd name="connsiteX406" fmla="*/ 2051915 w 3060746"/>
                <a:gd name="connsiteY406" fmla="*/ 839264 h 1771142"/>
                <a:gd name="connsiteX407" fmla="*/ 2047450 w 3060746"/>
                <a:gd name="connsiteY407" fmla="*/ 820313 h 1771142"/>
                <a:gd name="connsiteX408" fmla="*/ 2051915 w 3060746"/>
                <a:gd name="connsiteY408" fmla="*/ 839264 h 1771142"/>
                <a:gd name="connsiteX409" fmla="*/ 1918294 w 3060746"/>
                <a:gd name="connsiteY409" fmla="*/ 867741 h 1771142"/>
                <a:gd name="connsiteX410" fmla="*/ 1963592 w 3060746"/>
                <a:gd name="connsiteY410" fmla="*/ 830975 h 1771142"/>
                <a:gd name="connsiteX411" fmla="*/ 1918294 w 3060746"/>
                <a:gd name="connsiteY411" fmla="*/ 867741 h 1771142"/>
                <a:gd name="connsiteX412" fmla="*/ 2001827 w 3060746"/>
                <a:gd name="connsiteY412" fmla="*/ 793307 h 1771142"/>
                <a:gd name="connsiteX413" fmla="*/ 1949061 w 3060746"/>
                <a:gd name="connsiteY413" fmla="*/ 792872 h 1771142"/>
                <a:gd name="connsiteX414" fmla="*/ 1879530 w 3060746"/>
                <a:gd name="connsiteY414" fmla="*/ 795212 h 1771142"/>
                <a:gd name="connsiteX415" fmla="*/ 1833867 w 3060746"/>
                <a:gd name="connsiteY415" fmla="*/ 799390 h 1771142"/>
                <a:gd name="connsiteX416" fmla="*/ 1810244 w 3060746"/>
                <a:gd name="connsiteY416" fmla="*/ 798053 h 1771142"/>
                <a:gd name="connsiteX417" fmla="*/ 1797620 w 3060746"/>
                <a:gd name="connsiteY417" fmla="*/ 823588 h 1771142"/>
                <a:gd name="connsiteX418" fmla="*/ 1799569 w 3060746"/>
                <a:gd name="connsiteY418" fmla="*/ 843642 h 1771142"/>
                <a:gd name="connsiteX419" fmla="*/ 1790477 w 3060746"/>
                <a:gd name="connsiteY419" fmla="*/ 863697 h 1771142"/>
                <a:gd name="connsiteX420" fmla="*/ 1793561 w 3060746"/>
                <a:gd name="connsiteY420" fmla="*/ 873924 h 1771142"/>
                <a:gd name="connsiteX421" fmla="*/ 1832162 w 3060746"/>
                <a:gd name="connsiteY421" fmla="*/ 859385 h 1771142"/>
                <a:gd name="connsiteX422" fmla="*/ 1852457 w 3060746"/>
                <a:gd name="connsiteY422" fmla="*/ 863095 h 1771142"/>
                <a:gd name="connsiteX423" fmla="*/ 1888988 w 3060746"/>
                <a:gd name="connsiteY423" fmla="*/ 837158 h 1771142"/>
                <a:gd name="connsiteX424" fmla="*/ 1917401 w 3060746"/>
                <a:gd name="connsiteY424" fmla="*/ 817104 h 1771142"/>
                <a:gd name="connsiteX425" fmla="*/ 2001868 w 3060746"/>
                <a:gd name="connsiteY425" fmla="*/ 793106 h 1771142"/>
                <a:gd name="connsiteX426" fmla="*/ 2451724 w 3060746"/>
                <a:gd name="connsiteY426" fmla="*/ 581301 h 1771142"/>
                <a:gd name="connsiteX427" fmla="*/ 2526166 w 3060746"/>
                <a:gd name="connsiteY427" fmla="*/ 591328 h 1771142"/>
                <a:gd name="connsiteX428" fmla="*/ 2543173 w 3060746"/>
                <a:gd name="connsiteY428" fmla="*/ 581735 h 1771142"/>
                <a:gd name="connsiteX429" fmla="*/ 2564077 w 3060746"/>
                <a:gd name="connsiteY429" fmla="*/ 565625 h 1771142"/>
                <a:gd name="connsiteX430" fmla="*/ 2575077 w 3060746"/>
                <a:gd name="connsiteY430" fmla="*/ 551621 h 1771142"/>
                <a:gd name="connsiteX431" fmla="*/ 2603774 w 3060746"/>
                <a:gd name="connsiteY431" fmla="*/ 528425 h 1771142"/>
                <a:gd name="connsiteX432" fmla="*/ 2551007 w 3060746"/>
                <a:gd name="connsiteY432" fmla="*/ 527255 h 1771142"/>
                <a:gd name="connsiteX433" fmla="*/ 2532539 w 3060746"/>
                <a:gd name="connsiteY433" fmla="*/ 519701 h 1771142"/>
                <a:gd name="connsiteX434" fmla="*/ 2507373 w 3060746"/>
                <a:gd name="connsiteY434" fmla="*/ 516125 h 1771142"/>
                <a:gd name="connsiteX435" fmla="*/ 2424692 w 3060746"/>
                <a:gd name="connsiteY435" fmla="*/ 525550 h 1771142"/>
                <a:gd name="connsiteX436" fmla="*/ 2349844 w 3060746"/>
                <a:gd name="connsiteY436" fmla="*/ 523244 h 1771142"/>
                <a:gd name="connsiteX437" fmla="*/ 2392747 w 3060746"/>
                <a:gd name="connsiteY437" fmla="*/ 501853 h 1771142"/>
                <a:gd name="connsiteX438" fmla="*/ 2353132 w 3060746"/>
                <a:gd name="connsiteY438" fmla="*/ 501853 h 1771142"/>
                <a:gd name="connsiteX439" fmla="*/ 2362995 w 3060746"/>
                <a:gd name="connsiteY439" fmla="*/ 487481 h 1771142"/>
                <a:gd name="connsiteX440" fmla="*/ 2329833 w 3060746"/>
                <a:gd name="connsiteY440" fmla="*/ 493831 h 1771142"/>
                <a:gd name="connsiteX441" fmla="*/ 2319523 w 3060746"/>
                <a:gd name="connsiteY441" fmla="*/ 488450 h 1771142"/>
                <a:gd name="connsiteX442" fmla="*/ 2306251 w 3060746"/>
                <a:gd name="connsiteY442" fmla="*/ 481498 h 1771142"/>
                <a:gd name="connsiteX443" fmla="*/ 2266432 w 3060746"/>
                <a:gd name="connsiteY443" fmla="*/ 491525 h 1771142"/>
                <a:gd name="connsiteX444" fmla="*/ 2237086 w 3060746"/>
                <a:gd name="connsiteY444" fmla="*/ 489820 h 1771142"/>
                <a:gd name="connsiteX445" fmla="*/ 2177703 w 3060746"/>
                <a:gd name="connsiteY445" fmla="*/ 511746 h 1771142"/>
                <a:gd name="connsiteX446" fmla="*/ 2206116 w 3060746"/>
                <a:gd name="connsiteY446" fmla="*/ 492361 h 1771142"/>
                <a:gd name="connsiteX447" fmla="*/ 2181762 w 3060746"/>
                <a:gd name="connsiteY447" fmla="*/ 487381 h 1771142"/>
                <a:gd name="connsiteX448" fmla="*/ 2131146 w 3060746"/>
                <a:gd name="connsiteY448" fmla="*/ 507134 h 1771142"/>
                <a:gd name="connsiteX449" fmla="*/ 2108457 w 3060746"/>
                <a:gd name="connsiteY449" fmla="*/ 499680 h 1771142"/>
                <a:gd name="connsiteX450" fmla="*/ 2080531 w 3060746"/>
                <a:gd name="connsiteY450" fmla="*/ 503691 h 1771142"/>
                <a:gd name="connsiteX451" fmla="*/ 2040834 w 3060746"/>
                <a:gd name="connsiteY451" fmla="*/ 498076 h 1771142"/>
                <a:gd name="connsiteX452" fmla="*/ 1960954 w 3060746"/>
                <a:gd name="connsiteY452" fmla="*/ 522609 h 1771142"/>
                <a:gd name="connsiteX453" fmla="*/ 1949954 w 3060746"/>
                <a:gd name="connsiteY453" fmla="*/ 534842 h 1771142"/>
                <a:gd name="connsiteX454" fmla="*/ 1950644 w 3060746"/>
                <a:gd name="connsiteY454" fmla="*/ 542362 h 1771142"/>
                <a:gd name="connsiteX455" fmla="*/ 1926290 w 3060746"/>
                <a:gd name="connsiteY455" fmla="*/ 540490 h 1771142"/>
                <a:gd name="connsiteX456" fmla="*/ 1874538 w 3060746"/>
                <a:gd name="connsiteY456" fmla="*/ 569101 h 1771142"/>
                <a:gd name="connsiteX457" fmla="*/ 1860453 w 3060746"/>
                <a:gd name="connsiteY457" fmla="*/ 539922 h 1771142"/>
                <a:gd name="connsiteX458" fmla="*/ 1787067 w 3060746"/>
                <a:gd name="connsiteY458" fmla="*/ 539922 h 1771142"/>
                <a:gd name="connsiteX459" fmla="*/ 1762307 w 3060746"/>
                <a:gd name="connsiteY459" fmla="*/ 557069 h 1771142"/>
                <a:gd name="connsiteX460" fmla="*/ 1724802 w 3060746"/>
                <a:gd name="connsiteY460" fmla="*/ 576454 h 1771142"/>
                <a:gd name="connsiteX461" fmla="*/ 1696024 w 3060746"/>
                <a:gd name="connsiteY461" fmla="*/ 603427 h 1771142"/>
                <a:gd name="connsiteX462" fmla="*/ 1725127 w 3060746"/>
                <a:gd name="connsiteY462" fmla="*/ 612752 h 1771142"/>
                <a:gd name="connsiteX463" fmla="*/ 1727603 w 3060746"/>
                <a:gd name="connsiteY463" fmla="*/ 631804 h 1771142"/>
                <a:gd name="connsiteX464" fmla="*/ 1724478 w 3060746"/>
                <a:gd name="connsiteY464" fmla="*/ 642900 h 1771142"/>
                <a:gd name="connsiteX465" fmla="*/ 1670331 w 3060746"/>
                <a:gd name="connsiteY465" fmla="*/ 623682 h 1771142"/>
                <a:gd name="connsiteX466" fmla="*/ 1680844 w 3060746"/>
                <a:gd name="connsiteY466" fmla="*/ 596274 h 1771142"/>
                <a:gd name="connsiteX467" fmla="*/ 1707755 w 3060746"/>
                <a:gd name="connsiteY467" fmla="*/ 569903 h 1771142"/>
                <a:gd name="connsiteX468" fmla="*/ 1658519 w 3060746"/>
                <a:gd name="connsiteY468" fmla="*/ 585211 h 1771142"/>
                <a:gd name="connsiteX469" fmla="*/ 1578070 w 3060746"/>
                <a:gd name="connsiteY469" fmla="*/ 640293 h 1771142"/>
                <a:gd name="connsiteX470" fmla="*/ 1572428 w 3060746"/>
                <a:gd name="connsiteY470" fmla="*/ 690429 h 1771142"/>
                <a:gd name="connsiteX471" fmla="*/ 1619106 w 3060746"/>
                <a:gd name="connsiteY471" fmla="*/ 690763 h 1771142"/>
                <a:gd name="connsiteX472" fmla="*/ 1665947 w 3060746"/>
                <a:gd name="connsiteY472" fmla="*/ 677594 h 1771142"/>
                <a:gd name="connsiteX473" fmla="*/ 1653040 w 3060746"/>
                <a:gd name="connsiteY473" fmla="*/ 688858 h 1771142"/>
                <a:gd name="connsiteX474" fmla="*/ 1620568 w 3060746"/>
                <a:gd name="connsiteY474" fmla="*/ 712455 h 1771142"/>
                <a:gd name="connsiteX475" fmla="*/ 1664608 w 3060746"/>
                <a:gd name="connsiteY475" fmla="*/ 705770 h 1771142"/>
                <a:gd name="connsiteX476" fmla="*/ 1700083 w 3060746"/>
                <a:gd name="connsiteY476" fmla="*/ 690562 h 1771142"/>
                <a:gd name="connsiteX477" fmla="*/ 1733245 w 3060746"/>
                <a:gd name="connsiteY477" fmla="*/ 689058 h 1771142"/>
                <a:gd name="connsiteX478" fmla="*/ 1801355 w 3060746"/>
                <a:gd name="connsiteY478" fmla="*/ 666497 h 1771142"/>
                <a:gd name="connsiteX479" fmla="*/ 1889191 w 3060746"/>
                <a:gd name="connsiteY479" fmla="*/ 633575 h 1771142"/>
                <a:gd name="connsiteX480" fmla="*/ 1958762 w 3060746"/>
                <a:gd name="connsiteY480" fmla="*/ 615292 h 1771142"/>
                <a:gd name="connsiteX481" fmla="*/ 1951253 w 3060746"/>
                <a:gd name="connsiteY481" fmla="*/ 597545 h 1771142"/>
                <a:gd name="connsiteX482" fmla="*/ 1990990 w 3060746"/>
                <a:gd name="connsiteY482" fmla="*/ 590860 h 1771142"/>
                <a:gd name="connsiteX483" fmla="*/ 2007550 w 3060746"/>
                <a:gd name="connsiteY483" fmla="*/ 592598 h 1771142"/>
                <a:gd name="connsiteX484" fmla="*/ 2026019 w 3060746"/>
                <a:gd name="connsiteY484" fmla="*/ 592932 h 1771142"/>
                <a:gd name="connsiteX485" fmla="*/ 2082601 w 3060746"/>
                <a:gd name="connsiteY485" fmla="*/ 592698 h 1771142"/>
                <a:gd name="connsiteX486" fmla="*/ 2058004 w 3060746"/>
                <a:gd name="connsiteY486" fmla="*/ 616696 h 1771142"/>
                <a:gd name="connsiteX487" fmla="*/ 2084834 w 3060746"/>
                <a:gd name="connsiteY487" fmla="*/ 608808 h 1771142"/>
                <a:gd name="connsiteX488" fmla="*/ 2118604 w 3060746"/>
                <a:gd name="connsiteY488" fmla="*/ 592966 h 1771142"/>
                <a:gd name="connsiteX489" fmla="*/ 2138899 w 3060746"/>
                <a:gd name="connsiteY489" fmla="*/ 600820 h 1771142"/>
                <a:gd name="connsiteX490" fmla="*/ 2174537 w 3060746"/>
                <a:gd name="connsiteY490" fmla="*/ 593634 h 1771142"/>
                <a:gd name="connsiteX491" fmla="*/ 2217278 w 3060746"/>
                <a:gd name="connsiteY491" fmla="*/ 606068 h 1771142"/>
                <a:gd name="connsiteX492" fmla="*/ 2218617 w 3060746"/>
                <a:gd name="connsiteY492" fmla="*/ 627158 h 1771142"/>
                <a:gd name="connsiteX493" fmla="*/ 2251657 w 3060746"/>
                <a:gd name="connsiteY493" fmla="*/ 618769 h 1771142"/>
                <a:gd name="connsiteX494" fmla="*/ 2300771 w 3060746"/>
                <a:gd name="connsiteY494" fmla="*/ 601656 h 1771142"/>
                <a:gd name="connsiteX495" fmla="*/ 2319239 w 3060746"/>
                <a:gd name="connsiteY495" fmla="*/ 617766 h 1771142"/>
                <a:gd name="connsiteX496" fmla="*/ 2294601 w 3060746"/>
                <a:gd name="connsiteY496" fmla="*/ 629731 h 1771142"/>
                <a:gd name="connsiteX497" fmla="*/ 2284251 w 3060746"/>
                <a:gd name="connsiteY497" fmla="*/ 628027 h 1771142"/>
                <a:gd name="connsiteX498" fmla="*/ 2180544 w 3060746"/>
                <a:gd name="connsiteY498" fmla="*/ 663356 h 1771142"/>
                <a:gd name="connsiteX499" fmla="*/ 2192315 w 3060746"/>
                <a:gd name="connsiteY499" fmla="*/ 680970 h 1771142"/>
                <a:gd name="connsiteX500" fmla="*/ 2102531 w 3060746"/>
                <a:gd name="connsiteY500" fmla="*/ 708912 h 1771142"/>
                <a:gd name="connsiteX501" fmla="*/ 2077243 w 3060746"/>
                <a:gd name="connsiteY501" fmla="*/ 725056 h 1771142"/>
                <a:gd name="connsiteX502" fmla="*/ 2094940 w 3060746"/>
                <a:gd name="connsiteY502" fmla="*/ 745644 h 1771142"/>
                <a:gd name="connsiteX503" fmla="*/ 2138168 w 3060746"/>
                <a:gd name="connsiteY503" fmla="*/ 728933 h 1771142"/>
                <a:gd name="connsiteX504" fmla="*/ 2172548 w 3060746"/>
                <a:gd name="connsiteY504" fmla="*/ 719541 h 1771142"/>
                <a:gd name="connsiteX505" fmla="*/ 2178961 w 3060746"/>
                <a:gd name="connsiteY505" fmla="*/ 710015 h 1771142"/>
                <a:gd name="connsiteX506" fmla="*/ 2218901 w 3060746"/>
                <a:gd name="connsiteY506" fmla="*/ 697281 h 1771142"/>
                <a:gd name="connsiteX507" fmla="*/ 2272196 w 3060746"/>
                <a:gd name="connsiteY507" fmla="*/ 700255 h 1771142"/>
                <a:gd name="connsiteX508" fmla="*/ 2305114 w 3060746"/>
                <a:gd name="connsiteY508" fmla="*/ 715396 h 1771142"/>
                <a:gd name="connsiteX509" fmla="*/ 2373224 w 3060746"/>
                <a:gd name="connsiteY509" fmla="*/ 703163 h 1771142"/>
                <a:gd name="connsiteX510" fmla="*/ 2434474 w 3060746"/>
                <a:gd name="connsiteY510" fmla="*/ 703531 h 1771142"/>
                <a:gd name="connsiteX511" fmla="*/ 2383818 w 3060746"/>
                <a:gd name="connsiteY511" fmla="*/ 674887 h 1771142"/>
                <a:gd name="connsiteX512" fmla="*/ 2434352 w 3060746"/>
                <a:gd name="connsiteY512" fmla="*/ 664559 h 1771142"/>
                <a:gd name="connsiteX513" fmla="*/ 2511838 w 3060746"/>
                <a:gd name="connsiteY513" fmla="*/ 656203 h 1771142"/>
                <a:gd name="connsiteX514" fmla="*/ 2527221 w 3060746"/>
                <a:gd name="connsiteY514" fmla="*/ 632038 h 1771142"/>
                <a:gd name="connsiteX515" fmla="*/ 2494750 w 3060746"/>
                <a:gd name="connsiteY515" fmla="*/ 617666 h 1771142"/>
                <a:gd name="connsiteX516" fmla="*/ 2396887 w 3060746"/>
                <a:gd name="connsiteY516" fmla="*/ 612151 h 1771142"/>
                <a:gd name="connsiteX517" fmla="*/ 2405290 w 3060746"/>
                <a:gd name="connsiteY517" fmla="*/ 601823 h 1771142"/>
                <a:gd name="connsiteX518" fmla="*/ 2397983 w 3060746"/>
                <a:gd name="connsiteY518" fmla="*/ 591027 h 1771142"/>
                <a:gd name="connsiteX519" fmla="*/ 2451440 w 3060746"/>
                <a:gd name="connsiteY519" fmla="*/ 581301 h 1771142"/>
                <a:gd name="connsiteX520" fmla="*/ 2124205 w 3060746"/>
                <a:gd name="connsiteY520" fmla="*/ 641697 h 1771142"/>
                <a:gd name="connsiteX521" fmla="*/ 2118604 w 3060746"/>
                <a:gd name="connsiteY521" fmla="*/ 619136 h 1771142"/>
                <a:gd name="connsiteX522" fmla="*/ 2058612 w 3060746"/>
                <a:gd name="connsiteY522" fmla="*/ 636817 h 1771142"/>
                <a:gd name="connsiteX523" fmla="*/ 2067826 w 3060746"/>
                <a:gd name="connsiteY523" fmla="*/ 663556 h 1771142"/>
                <a:gd name="connsiteX524" fmla="*/ 2124205 w 3060746"/>
                <a:gd name="connsiteY524" fmla="*/ 641530 h 1771142"/>
                <a:gd name="connsiteX525" fmla="*/ 1848195 w 3060746"/>
                <a:gd name="connsiteY525" fmla="*/ 521372 h 1771142"/>
                <a:gd name="connsiteX526" fmla="*/ 1871981 w 3060746"/>
                <a:gd name="connsiteY526" fmla="*/ 529528 h 1771142"/>
                <a:gd name="connsiteX527" fmla="*/ 1913423 w 3060746"/>
                <a:gd name="connsiteY527" fmla="*/ 534708 h 1771142"/>
                <a:gd name="connsiteX528" fmla="*/ 1961035 w 3060746"/>
                <a:gd name="connsiteY528" fmla="*/ 512047 h 1771142"/>
                <a:gd name="connsiteX529" fmla="*/ 2008200 w 3060746"/>
                <a:gd name="connsiteY529" fmla="*/ 495770 h 1771142"/>
                <a:gd name="connsiteX530" fmla="*/ 1943581 w 3060746"/>
                <a:gd name="connsiteY530" fmla="*/ 492428 h 1771142"/>
                <a:gd name="connsiteX531" fmla="*/ 1895604 w 3060746"/>
                <a:gd name="connsiteY531" fmla="*/ 505797 h 1771142"/>
                <a:gd name="connsiteX532" fmla="*/ 1848195 w 3060746"/>
                <a:gd name="connsiteY532" fmla="*/ 521305 h 1771142"/>
                <a:gd name="connsiteX533" fmla="*/ 1848236 w 3060746"/>
                <a:gd name="connsiteY533" fmla="*/ 521439 h 1771142"/>
                <a:gd name="connsiteX534" fmla="*/ 2668920 w 3060746"/>
                <a:gd name="connsiteY534" fmla="*/ 954308 h 1771142"/>
                <a:gd name="connsiteX535" fmla="*/ 2761668 w 3060746"/>
                <a:gd name="connsiteY535" fmla="*/ 945885 h 1771142"/>
                <a:gd name="connsiteX536" fmla="*/ 2668961 w 3060746"/>
                <a:gd name="connsiteY536" fmla="*/ 954375 h 1771142"/>
                <a:gd name="connsiteX537" fmla="*/ 3040560 w 3060746"/>
                <a:gd name="connsiteY537" fmla="*/ 906880 h 1771142"/>
                <a:gd name="connsiteX538" fmla="*/ 3032117 w 3060746"/>
                <a:gd name="connsiteY538" fmla="*/ 902334 h 1771142"/>
                <a:gd name="connsiteX539" fmla="*/ 3027652 w 3060746"/>
                <a:gd name="connsiteY539" fmla="*/ 895014 h 1771142"/>
                <a:gd name="connsiteX540" fmla="*/ 3019007 w 3060746"/>
                <a:gd name="connsiteY540" fmla="*/ 879974 h 1771142"/>
                <a:gd name="connsiteX541" fmla="*/ 3002162 w 3060746"/>
                <a:gd name="connsiteY541" fmla="*/ 879172 h 1771142"/>
                <a:gd name="connsiteX542" fmla="*/ 2990432 w 3060746"/>
                <a:gd name="connsiteY542" fmla="*/ 885856 h 1771142"/>
                <a:gd name="connsiteX543" fmla="*/ 2945336 w 3060746"/>
                <a:gd name="connsiteY543" fmla="*/ 884486 h 1771142"/>
                <a:gd name="connsiteX544" fmla="*/ 2939045 w 3060746"/>
                <a:gd name="connsiteY544" fmla="*/ 879707 h 1771142"/>
                <a:gd name="connsiteX545" fmla="*/ 2919887 w 3060746"/>
                <a:gd name="connsiteY545" fmla="*/ 888029 h 1771142"/>
                <a:gd name="connsiteX546" fmla="*/ 2913717 w 3060746"/>
                <a:gd name="connsiteY546" fmla="*/ 884185 h 1771142"/>
                <a:gd name="connsiteX547" fmla="*/ 2927639 w 3060746"/>
                <a:gd name="connsiteY547" fmla="*/ 858683 h 1771142"/>
                <a:gd name="connsiteX548" fmla="*/ 2932551 w 3060746"/>
                <a:gd name="connsiteY548" fmla="*/ 845982 h 1771142"/>
                <a:gd name="connsiteX549" fmla="*/ 2909374 w 3060746"/>
                <a:gd name="connsiteY549" fmla="*/ 856009 h 1771142"/>
                <a:gd name="connsiteX550" fmla="*/ 2880352 w 3060746"/>
                <a:gd name="connsiteY550" fmla="*/ 893410 h 1771142"/>
                <a:gd name="connsiteX551" fmla="*/ 2864360 w 3060746"/>
                <a:gd name="connsiteY551" fmla="*/ 920517 h 1771142"/>
                <a:gd name="connsiteX552" fmla="*/ 2856729 w 3060746"/>
                <a:gd name="connsiteY552" fmla="*/ 932716 h 1771142"/>
                <a:gd name="connsiteX553" fmla="*/ 2852670 w 3060746"/>
                <a:gd name="connsiteY553" fmla="*/ 944080 h 1771142"/>
                <a:gd name="connsiteX554" fmla="*/ 2885791 w 3060746"/>
                <a:gd name="connsiteY554" fmla="*/ 946921 h 1771142"/>
                <a:gd name="connsiteX555" fmla="*/ 2926381 w 3060746"/>
                <a:gd name="connsiteY555" fmla="*/ 936894 h 1771142"/>
                <a:gd name="connsiteX556" fmla="*/ 2958609 w 3060746"/>
                <a:gd name="connsiteY556" fmla="*/ 923892 h 1771142"/>
                <a:gd name="connsiteX557" fmla="*/ 2974561 w 3060746"/>
                <a:gd name="connsiteY557" fmla="*/ 932750 h 1771142"/>
                <a:gd name="connsiteX558" fmla="*/ 2982922 w 3060746"/>
                <a:gd name="connsiteY558" fmla="*/ 935491 h 1771142"/>
                <a:gd name="connsiteX559" fmla="*/ 3016612 w 3060746"/>
                <a:gd name="connsiteY559" fmla="*/ 921185 h 1771142"/>
                <a:gd name="connsiteX560" fmla="*/ 3024162 w 3060746"/>
                <a:gd name="connsiteY560" fmla="*/ 928438 h 1771142"/>
                <a:gd name="connsiteX561" fmla="*/ 3048962 w 3060746"/>
                <a:gd name="connsiteY561" fmla="*/ 924795 h 1771142"/>
                <a:gd name="connsiteX562" fmla="*/ 3040357 w 3060746"/>
                <a:gd name="connsiteY562" fmla="*/ 906980 h 1771142"/>
                <a:gd name="connsiteX563" fmla="*/ 3040601 w 3060746"/>
                <a:gd name="connsiteY563" fmla="*/ 906947 h 1771142"/>
                <a:gd name="connsiteX564" fmla="*/ 543965 w 3060746"/>
                <a:gd name="connsiteY564" fmla="*/ 1751661 h 1771142"/>
                <a:gd name="connsiteX565" fmla="*/ 607366 w 3060746"/>
                <a:gd name="connsiteY565" fmla="*/ 1760117 h 1771142"/>
                <a:gd name="connsiteX566" fmla="*/ 592186 w 3060746"/>
                <a:gd name="connsiteY566" fmla="*/ 1747884 h 1771142"/>
                <a:gd name="connsiteX567" fmla="*/ 543965 w 3060746"/>
                <a:gd name="connsiteY567" fmla="*/ 1751661 h 1771142"/>
                <a:gd name="connsiteX568" fmla="*/ 543965 w 3060746"/>
                <a:gd name="connsiteY568" fmla="*/ 1751661 h 1771142"/>
                <a:gd name="connsiteX569" fmla="*/ 2829493 w 3060746"/>
                <a:gd name="connsiteY569" fmla="*/ 994015 h 1771142"/>
                <a:gd name="connsiteX570" fmla="*/ 2816626 w 3060746"/>
                <a:gd name="connsiteY570" fmla="*/ 984456 h 1771142"/>
                <a:gd name="connsiteX571" fmla="*/ 2794180 w 3060746"/>
                <a:gd name="connsiteY571" fmla="*/ 1006649 h 1771142"/>
                <a:gd name="connsiteX572" fmla="*/ 2792962 w 3060746"/>
                <a:gd name="connsiteY572" fmla="*/ 1014838 h 1771142"/>
                <a:gd name="connsiteX573" fmla="*/ 2779811 w 3060746"/>
                <a:gd name="connsiteY573" fmla="*/ 1020420 h 1771142"/>
                <a:gd name="connsiteX574" fmla="*/ 2734716 w 3060746"/>
                <a:gd name="connsiteY574" fmla="*/ 1030012 h 1771142"/>
                <a:gd name="connsiteX575" fmla="*/ 2703218 w 3060746"/>
                <a:gd name="connsiteY575" fmla="*/ 1026971 h 1771142"/>
                <a:gd name="connsiteX576" fmla="*/ 2672857 w 3060746"/>
                <a:gd name="connsiteY576" fmla="*/ 1015908 h 1771142"/>
                <a:gd name="connsiteX577" fmla="*/ 2677200 w 3060746"/>
                <a:gd name="connsiteY577" fmla="*/ 1001201 h 1771142"/>
                <a:gd name="connsiteX578" fmla="*/ 2659057 w 3060746"/>
                <a:gd name="connsiteY578" fmla="*/ 1006950 h 1771142"/>
                <a:gd name="connsiteX579" fmla="*/ 2646677 w 3060746"/>
                <a:gd name="connsiteY579" fmla="*/ 1009624 h 1771142"/>
                <a:gd name="connsiteX580" fmla="*/ 2662588 w 3060746"/>
                <a:gd name="connsiteY580" fmla="*/ 996756 h 1771142"/>
                <a:gd name="connsiteX581" fmla="*/ 2647895 w 3060746"/>
                <a:gd name="connsiteY581" fmla="*/ 973861 h 1771142"/>
                <a:gd name="connsiteX582" fmla="*/ 2554538 w 3060746"/>
                <a:gd name="connsiteY582" fmla="*/ 1016242 h 1771142"/>
                <a:gd name="connsiteX583" fmla="*/ 2496454 w 3060746"/>
                <a:gd name="connsiteY583" fmla="*/ 1069152 h 1771142"/>
                <a:gd name="connsiteX584" fmla="*/ 2495034 w 3060746"/>
                <a:gd name="connsiteY584" fmla="*/ 1063336 h 1771142"/>
                <a:gd name="connsiteX585" fmla="*/ 2507982 w 3060746"/>
                <a:gd name="connsiteY585" fmla="*/ 1051236 h 1771142"/>
                <a:gd name="connsiteX586" fmla="*/ 2511066 w 3060746"/>
                <a:gd name="connsiteY586" fmla="*/ 1038368 h 1771142"/>
                <a:gd name="connsiteX587" fmla="*/ 2519631 w 3060746"/>
                <a:gd name="connsiteY587" fmla="*/ 1035260 h 1771142"/>
                <a:gd name="connsiteX588" fmla="*/ 2528723 w 3060746"/>
                <a:gd name="connsiteY588" fmla="*/ 1026135 h 1771142"/>
                <a:gd name="connsiteX589" fmla="*/ 2549018 w 3060746"/>
                <a:gd name="connsiteY589" fmla="*/ 1003708 h 1771142"/>
                <a:gd name="connsiteX590" fmla="*/ 2579501 w 3060746"/>
                <a:gd name="connsiteY590" fmla="*/ 989236 h 1771142"/>
                <a:gd name="connsiteX591" fmla="*/ 2597442 w 3060746"/>
                <a:gd name="connsiteY591" fmla="*/ 967577 h 1771142"/>
                <a:gd name="connsiteX592" fmla="*/ 2639371 w 3060746"/>
                <a:gd name="connsiteY592" fmla="*/ 951768 h 1771142"/>
                <a:gd name="connsiteX593" fmla="*/ 2716735 w 3060746"/>
                <a:gd name="connsiteY593" fmla="*/ 929040 h 1771142"/>
                <a:gd name="connsiteX594" fmla="*/ 2831441 w 3060746"/>
                <a:gd name="connsiteY594" fmla="*/ 887160 h 1771142"/>
                <a:gd name="connsiteX595" fmla="*/ 2853888 w 3060746"/>
                <a:gd name="connsiteY595" fmla="*/ 867106 h 1771142"/>
                <a:gd name="connsiteX596" fmla="*/ 2898009 w 3060746"/>
                <a:gd name="connsiteY596" fmla="*/ 853970 h 1771142"/>
                <a:gd name="connsiteX597" fmla="*/ 2923215 w 3060746"/>
                <a:gd name="connsiteY597" fmla="*/ 834184 h 1771142"/>
                <a:gd name="connsiteX598" fmla="*/ 2902920 w 3060746"/>
                <a:gd name="connsiteY598" fmla="*/ 827298 h 1771142"/>
                <a:gd name="connsiteX599" fmla="*/ 2921104 w 3060746"/>
                <a:gd name="connsiteY599" fmla="*/ 815199 h 1771142"/>
                <a:gd name="connsiteX600" fmla="*/ 2914366 w 3060746"/>
                <a:gd name="connsiteY600" fmla="*/ 805606 h 1771142"/>
                <a:gd name="connsiteX601" fmla="*/ 2884898 w 3060746"/>
                <a:gd name="connsiteY601" fmla="*/ 803467 h 1771142"/>
                <a:gd name="connsiteX602" fmla="*/ 2863589 w 3060746"/>
                <a:gd name="connsiteY602" fmla="*/ 813494 h 1771142"/>
                <a:gd name="connsiteX603" fmla="*/ 2840777 w 3060746"/>
                <a:gd name="connsiteY603" fmla="*/ 804136 h 1771142"/>
                <a:gd name="connsiteX604" fmla="*/ 2779893 w 3060746"/>
                <a:gd name="connsiteY604" fmla="*/ 837559 h 1771142"/>
                <a:gd name="connsiteX605" fmla="*/ 2772343 w 3060746"/>
                <a:gd name="connsiteY605" fmla="*/ 831944 h 1771142"/>
                <a:gd name="connsiteX606" fmla="*/ 2794018 w 3060746"/>
                <a:gd name="connsiteY606" fmla="*/ 818575 h 1771142"/>
                <a:gd name="connsiteX607" fmla="*/ 2818372 w 3060746"/>
                <a:gd name="connsiteY607" fmla="*/ 808013 h 1771142"/>
                <a:gd name="connsiteX608" fmla="*/ 2851574 w 3060746"/>
                <a:gd name="connsiteY608" fmla="*/ 792170 h 1771142"/>
                <a:gd name="connsiteX609" fmla="*/ 2825150 w 3060746"/>
                <a:gd name="connsiteY609" fmla="*/ 790499 h 1771142"/>
                <a:gd name="connsiteX610" fmla="*/ 2798117 w 3060746"/>
                <a:gd name="connsiteY610" fmla="*/ 790700 h 1771142"/>
                <a:gd name="connsiteX611" fmla="*/ 2779081 w 3060746"/>
                <a:gd name="connsiteY611" fmla="*/ 794677 h 1771142"/>
                <a:gd name="connsiteX612" fmla="*/ 2754727 w 3060746"/>
                <a:gd name="connsiteY612" fmla="*/ 799490 h 1771142"/>
                <a:gd name="connsiteX613" fmla="*/ 2732484 w 3060746"/>
                <a:gd name="connsiteY613" fmla="*/ 790766 h 1771142"/>
                <a:gd name="connsiteX614" fmla="*/ 2698185 w 3060746"/>
                <a:gd name="connsiteY614" fmla="*/ 786722 h 1771142"/>
                <a:gd name="connsiteX615" fmla="*/ 2666485 w 3060746"/>
                <a:gd name="connsiteY615" fmla="*/ 786722 h 1771142"/>
                <a:gd name="connsiteX616" fmla="*/ 2691447 w 3060746"/>
                <a:gd name="connsiteY616" fmla="*/ 778868 h 1771142"/>
                <a:gd name="connsiteX617" fmla="*/ 2678783 w 3060746"/>
                <a:gd name="connsiteY617" fmla="*/ 756741 h 1771142"/>
                <a:gd name="connsiteX618" fmla="*/ 2655769 w 3060746"/>
                <a:gd name="connsiteY618" fmla="*/ 751828 h 1771142"/>
                <a:gd name="connsiteX619" fmla="*/ 2635474 w 3060746"/>
                <a:gd name="connsiteY619" fmla="*/ 742603 h 1771142"/>
                <a:gd name="connsiteX620" fmla="*/ 2595980 w 3060746"/>
                <a:gd name="connsiteY620" fmla="*/ 727061 h 1771142"/>
                <a:gd name="connsiteX621" fmla="*/ 2556324 w 3060746"/>
                <a:gd name="connsiteY621" fmla="*/ 717903 h 1771142"/>
                <a:gd name="connsiteX622" fmla="*/ 2544878 w 3060746"/>
                <a:gd name="connsiteY622" fmla="*/ 735918 h 1771142"/>
                <a:gd name="connsiteX623" fmla="*/ 2548206 w 3060746"/>
                <a:gd name="connsiteY623" fmla="*/ 745945 h 1771142"/>
                <a:gd name="connsiteX624" fmla="*/ 2541671 w 3060746"/>
                <a:gd name="connsiteY624" fmla="*/ 760217 h 1771142"/>
                <a:gd name="connsiteX625" fmla="*/ 2535096 w 3060746"/>
                <a:gd name="connsiteY625" fmla="*/ 770244 h 1771142"/>
                <a:gd name="connsiteX626" fmla="*/ 2513827 w 3060746"/>
                <a:gd name="connsiteY626" fmla="*/ 776495 h 1771142"/>
                <a:gd name="connsiteX627" fmla="*/ 2490122 w 3060746"/>
                <a:gd name="connsiteY627" fmla="*/ 793574 h 1771142"/>
                <a:gd name="connsiteX628" fmla="*/ 2468326 w 3060746"/>
                <a:gd name="connsiteY628" fmla="*/ 791502 h 1771142"/>
                <a:gd name="connsiteX629" fmla="*/ 2459964 w 3060746"/>
                <a:gd name="connsiteY629" fmla="*/ 794042 h 1771142"/>
                <a:gd name="connsiteX630" fmla="*/ 2447787 w 3060746"/>
                <a:gd name="connsiteY630" fmla="*/ 789764 h 1771142"/>
                <a:gd name="connsiteX631" fmla="*/ 2423433 w 3060746"/>
                <a:gd name="connsiteY631" fmla="*/ 789998 h 1771142"/>
                <a:gd name="connsiteX632" fmla="*/ 2404640 w 3060746"/>
                <a:gd name="connsiteY632" fmla="*/ 784616 h 1771142"/>
                <a:gd name="connsiteX633" fmla="*/ 2406751 w 3060746"/>
                <a:gd name="connsiteY633" fmla="*/ 777932 h 1771142"/>
                <a:gd name="connsiteX634" fmla="*/ 2397253 w 3060746"/>
                <a:gd name="connsiteY634" fmla="*/ 769743 h 1771142"/>
                <a:gd name="connsiteX635" fmla="*/ 2393194 w 3060746"/>
                <a:gd name="connsiteY635" fmla="*/ 758346 h 1771142"/>
                <a:gd name="connsiteX636" fmla="*/ 2398917 w 3060746"/>
                <a:gd name="connsiteY636" fmla="*/ 749054 h 1771142"/>
                <a:gd name="connsiteX637" fmla="*/ 2370504 w 3060746"/>
                <a:gd name="connsiteY637" fmla="*/ 754936 h 1771142"/>
                <a:gd name="connsiteX638" fmla="*/ 2338844 w 3060746"/>
                <a:gd name="connsiteY638" fmla="*/ 761387 h 1771142"/>
                <a:gd name="connsiteX639" fmla="*/ 2312988 w 3060746"/>
                <a:gd name="connsiteY639" fmla="*/ 757711 h 1771142"/>
                <a:gd name="connsiteX640" fmla="*/ 2300284 w 3060746"/>
                <a:gd name="connsiteY640" fmla="*/ 755972 h 1771142"/>
                <a:gd name="connsiteX641" fmla="*/ 2283764 w 3060746"/>
                <a:gd name="connsiteY641" fmla="*/ 756507 h 1771142"/>
                <a:gd name="connsiteX642" fmla="*/ 2276052 w 3060746"/>
                <a:gd name="connsiteY642" fmla="*/ 751728 h 1771142"/>
                <a:gd name="connsiteX643" fmla="*/ 2259004 w 3060746"/>
                <a:gd name="connsiteY643" fmla="*/ 753967 h 1771142"/>
                <a:gd name="connsiteX644" fmla="*/ 2218942 w 3060746"/>
                <a:gd name="connsiteY644" fmla="*/ 764195 h 1771142"/>
                <a:gd name="connsiteX645" fmla="*/ 2158869 w 3060746"/>
                <a:gd name="connsiteY645" fmla="*/ 780405 h 1771142"/>
                <a:gd name="connsiteX646" fmla="*/ 2098756 w 3060746"/>
                <a:gd name="connsiteY646" fmla="*/ 805606 h 1771142"/>
                <a:gd name="connsiteX647" fmla="*/ 2117224 w 3060746"/>
                <a:gd name="connsiteY647" fmla="*/ 814698 h 1771142"/>
                <a:gd name="connsiteX648" fmla="*/ 2120715 w 3060746"/>
                <a:gd name="connsiteY648" fmla="*/ 829471 h 1771142"/>
                <a:gd name="connsiteX649" fmla="*/ 2124368 w 3060746"/>
                <a:gd name="connsiteY649" fmla="*/ 839799 h 1771142"/>
                <a:gd name="connsiteX650" fmla="*/ 2149087 w 3060746"/>
                <a:gd name="connsiteY650" fmla="*/ 852500 h 1771142"/>
                <a:gd name="connsiteX651" fmla="*/ 2137641 w 3060746"/>
                <a:gd name="connsiteY651" fmla="*/ 866838 h 1771142"/>
                <a:gd name="connsiteX652" fmla="*/ 2136098 w 3060746"/>
                <a:gd name="connsiteY652" fmla="*/ 878403 h 1771142"/>
                <a:gd name="connsiteX653" fmla="*/ 2128873 w 3060746"/>
                <a:gd name="connsiteY653" fmla="*/ 895616 h 1771142"/>
                <a:gd name="connsiteX654" fmla="*/ 2162928 w 3060746"/>
                <a:gd name="connsiteY654" fmla="*/ 896686 h 1771142"/>
                <a:gd name="connsiteX655" fmla="*/ 2199459 w 3060746"/>
                <a:gd name="connsiteY655" fmla="*/ 905142 h 1771142"/>
                <a:gd name="connsiteX656" fmla="*/ 2194953 w 3060746"/>
                <a:gd name="connsiteY656" fmla="*/ 955845 h 1771142"/>
                <a:gd name="connsiteX657" fmla="*/ 2161345 w 3060746"/>
                <a:gd name="connsiteY657" fmla="*/ 983721 h 1771142"/>
                <a:gd name="connsiteX658" fmla="*/ 2136991 w 3060746"/>
                <a:gd name="connsiteY658" fmla="*/ 996422 h 1771142"/>
                <a:gd name="connsiteX659" fmla="*/ 2165404 w 3060746"/>
                <a:gd name="connsiteY659" fmla="*/ 1009190 h 1771142"/>
                <a:gd name="connsiteX660" fmla="*/ 2184887 w 3060746"/>
                <a:gd name="connsiteY660" fmla="*/ 1031249 h 1771142"/>
                <a:gd name="connsiteX661" fmla="*/ 2194548 w 3060746"/>
                <a:gd name="connsiteY661" fmla="*/ 1044953 h 1771142"/>
                <a:gd name="connsiteX662" fmla="*/ 2195968 w 3060746"/>
                <a:gd name="connsiteY662" fmla="*/ 1053676 h 1771142"/>
                <a:gd name="connsiteX663" fmla="*/ 2184887 w 3060746"/>
                <a:gd name="connsiteY663" fmla="*/ 1059693 h 1771142"/>
                <a:gd name="connsiteX664" fmla="*/ 2172710 w 3060746"/>
                <a:gd name="connsiteY664" fmla="*/ 1075335 h 1771142"/>
                <a:gd name="connsiteX665" fmla="*/ 2155703 w 3060746"/>
                <a:gd name="connsiteY665" fmla="*/ 1078209 h 1771142"/>
                <a:gd name="connsiteX666" fmla="*/ 2138493 w 3060746"/>
                <a:gd name="connsiteY666" fmla="*/ 1075669 h 1771142"/>
                <a:gd name="connsiteX667" fmla="*/ 2106508 w 3060746"/>
                <a:gd name="connsiteY667" fmla="*/ 1072327 h 1771142"/>
                <a:gd name="connsiteX668" fmla="*/ 2083129 w 3060746"/>
                <a:gd name="connsiteY668" fmla="*/ 1066143 h 1771142"/>
                <a:gd name="connsiteX669" fmla="*/ 2056948 w 3060746"/>
                <a:gd name="connsiteY669" fmla="*/ 1039404 h 1771142"/>
                <a:gd name="connsiteX670" fmla="*/ 2050576 w 3060746"/>
                <a:gd name="connsiteY670" fmla="*/ 1020821 h 1771142"/>
                <a:gd name="connsiteX671" fmla="*/ 2004141 w 3060746"/>
                <a:gd name="connsiteY671" fmla="*/ 1030313 h 1771142"/>
                <a:gd name="connsiteX672" fmla="*/ 1959492 w 3060746"/>
                <a:gd name="connsiteY672" fmla="*/ 1045254 h 1771142"/>
                <a:gd name="connsiteX673" fmla="*/ 1927426 w 3060746"/>
                <a:gd name="connsiteY673" fmla="*/ 1047092 h 1771142"/>
                <a:gd name="connsiteX674" fmla="*/ 1883589 w 3060746"/>
                <a:gd name="connsiteY674" fmla="*/ 1054378 h 1771142"/>
                <a:gd name="connsiteX675" fmla="*/ 1857977 w 3060746"/>
                <a:gd name="connsiteY675" fmla="*/ 1051972 h 1771142"/>
                <a:gd name="connsiteX676" fmla="*/ 1791897 w 3060746"/>
                <a:gd name="connsiteY676" fmla="*/ 1063403 h 1771142"/>
                <a:gd name="connsiteX677" fmla="*/ 1763484 w 3060746"/>
                <a:gd name="connsiteY677" fmla="*/ 1067480 h 1771142"/>
                <a:gd name="connsiteX678" fmla="*/ 1730160 w 3060746"/>
                <a:gd name="connsiteY678" fmla="*/ 1079479 h 1771142"/>
                <a:gd name="connsiteX679" fmla="*/ 1705522 w 3060746"/>
                <a:gd name="connsiteY679" fmla="*/ 1094921 h 1771142"/>
                <a:gd name="connsiteX680" fmla="*/ 1702681 w 3060746"/>
                <a:gd name="connsiteY680" fmla="*/ 1085395 h 1771142"/>
                <a:gd name="connsiteX681" fmla="*/ 1653973 w 3060746"/>
                <a:gd name="connsiteY681" fmla="*/ 1066478 h 1771142"/>
                <a:gd name="connsiteX682" fmla="*/ 1600719 w 3060746"/>
                <a:gd name="connsiteY682" fmla="*/ 1069820 h 1771142"/>
                <a:gd name="connsiteX683" fmla="*/ 1596214 w 3060746"/>
                <a:gd name="connsiteY683" fmla="*/ 1029411 h 1771142"/>
                <a:gd name="connsiteX684" fmla="*/ 1597837 w 3060746"/>
                <a:gd name="connsiteY684" fmla="*/ 1012900 h 1771142"/>
                <a:gd name="connsiteX685" fmla="*/ 1618822 w 3060746"/>
                <a:gd name="connsiteY685" fmla="*/ 992578 h 1771142"/>
                <a:gd name="connsiteX686" fmla="*/ 1626940 w 3060746"/>
                <a:gd name="connsiteY686" fmla="*/ 978172 h 1771142"/>
                <a:gd name="connsiteX687" fmla="*/ 1630512 w 3060746"/>
                <a:gd name="connsiteY687" fmla="*/ 969315 h 1771142"/>
                <a:gd name="connsiteX688" fmla="*/ 1638630 w 3060746"/>
                <a:gd name="connsiteY688" fmla="*/ 962263 h 1771142"/>
                <a:gd name="connsiteX689" fmla="*/ 1631405 w 3060746"/>
                <a:gd name="connsiteY689" fmla="*/ 959422 h 1771142"/>
                <a:gd name="connsiteX690" fmla="*/ 1647885 w 3060746"/>
                <a:gd name="connsiteY690" fmla="*/ 951200 h 1771142"/>
                <a:gd name="connsiteX691" fmla="*/ 1679423 w 3060746"/>
                <a:gd name="connsiteY691" fmla="*/ 932014 h 1771142"/>
                <a:gd name="connsiteX692" fmla="*/ 1629254 w 3060746"/>
                <a:gd name="connsiteY692" fmla="*/ 936760 h 1771142"/>
                <a:gd name="connsiteX693" fmla="*/ 1579937 w 3060746"/>
                <a:gd name="connsiteY693" fmla="*/ 944615 h 1771142"/>
                <a:gd name="connsiteX694" fmla="*/ 1574742 w 3060746"/>
                <a:gd name="connsiteY694" fmla="*/ 942409 h 1771142"/>
                <a:gd name="connsiteX695" fmla="*/ 1616184 w 3060746"/>
                <a:gd name="connsiteY695" fmla="*/ 929541 h 1771142"/>
                <a:gd name="connsiteX696" fmla="*/ 1691519 w 3060746"/>
                <a:gd name="connsiteY696" fmla="*/ 907949 h 1771142"/>
                <a:gd name="connsiteX697" fmla="*/ 1687135 w 3060746"/>
                <a:gd name="connsiteY697" fmla="*/ 894145 h 1771142"/>
                <a:gd name="connsiteX698" fmla="*/ 1724640 w 3060746"/>
                <a:gd name="connsiteY698" fmla="*/ 884319 h 1771142"/>
                <a:gd name="connsiteX699" fmla="*/ 1770222 w 3060746"/>
                <a:gd name="connsiteY699" fmla="*/ 839866 h 1771142"/>
                <a:gd name="connsiteX700" fmla="*/ 1700042 w 3060746"/>
                <a:gd name="connsiteY700" fmla="*/ 852767 h 1771142"/>
                <a:gd name="connsiteX701" fmla="*/ 1666637 w 3060746"/>
                <a:gd name="connsiteY701" fmla="*/ 850093 h 1771142"/>
                <a:gd name="connsiteX702" fmla="*/ 1700083 w 3060746"/>
                <a:gd name="connsiteY702" fmla="*/ 840868 h 1771142"/>
                <a:gd name="connsiteX703" fmla="*/ 1771927 w 3060746"/>
                <a:gd name="connsiteY703" fmla="*/ 819043 h 1771142"/>
                <a:gd name="connsiteX704" fmla="*/ 1792222 w 3060746"/>
                <a:gd name="connsiteY704" fmla="*/ 797418 h 1771142"/>
                <a:gd name="connsiteX705" fmla="*/ 1766447 w 3060746"/>
                <a:gd name="connsiteY705" fmla="*/ 798120 h 1771142"/>
                <a:gd name="connsiteX706" fmla="*/ 1788975 w 3060746"/>
                <a:gd name="connsiteY706" fmla="*/ 783614 h 1771142"/>
                <a:gd name="connsiteX707" fmla="*/ 1829077 w 3060746"/>
                <a:gd name="connsiteY707" fmla="*/ 777765 h 1771142"/>
                <a:gd name="connsiteX708" fmla="*/ 1846369 w 3060746"/>
                <a:gd name="connsiteY708" fmla="*/ 764195 h 1771142"/>
                <a:gd name="connsiteX709" fmla="*/ 1815723 w 3060746"/>
                <a:gd name="connsiteY709" fmla="*/ 761220 h 1771142"/>
                <a:gd name="connsiteX710" fmla="*/ 1843487 w 3060746"/>
                <a:gd name="connsiteY710" fmla="*/ 758346 h 1771142"/>
                <a:gd name="connsiteX711" fmla="*/ 1877420 w 3060746"/>
                <a:gd name="connsiteY711" fmla="*/ 753399 h 1771142"/>
                <a:gd name="connsiteX712" fmla="*/ 1907497 w 3060746"/>
                <a:gd name="connsiteY712" fmla="*/ 728398 h 1771142"/>
                <a:gd name="connsiteX713" fmla="*/ 1924504 w 3060746"/>
                <a:gd name="connsiteY713" fmla="*/ 710884 h 1771142"/>
                <a:gd name="connsiteX714" fmla="*/ 1889921 w 3060746"/>
                <a:gd name="connsiteY714" fmla="*/ 700222 h 1771142"/>
                <a:gd name="connsiteX715" fmla="*/ 1879124 w 3060746"/>
                <a:gd name="connsiteY715" fmla="*/ 690195 h 1771142"/>
                <a:gd name="connsiteX716" fmla="*/ 1909445 w 3060746"/>
                <a:gd name="connsiteY716" fmla="*/ 671110 h 1771142"/>
                <a:gd name="connsiteX717" fmla="*/ 1893209 w 3060746"/>
                <a:gd name="connsiteY717" fmla="*/ 669071 h 1771142"/>
                <a:gd name="connsiteX718" fmla="*/ 1897715 w 3060746"/>
                <a:gd name="connsiteY718" fmla="*/ 660448 h 1771142"/>
                <a:gd name="connsiteX719" fmla="*/ 1873361 w 3060746"/>
                <a:gd name="connsiteY719" fmla="*/ 665963 h 1771142"/>
                <a:gd name="connsiteX720" fmla="*/ 1839509 w 3060746"/>
                <a:gd name="connsiteY720" fmla="*/ 664726 h 1771142"/>
                <a:gd name="connsiteX721" fmla="*/ 1758330 w 3060746"/>
                <a:gd name="connsiteY721" fmla="*/ 689292 h 1771142"/>
                <a:gd name="connsiteX722" fmla="*/ 1761820 w 3060746"/>
                <a:gd name="connsiteY722" fmla="*/ 702896 h 1771142"/>
                <a:gd name="connsiteX723" fmla="*/ 1783576 w 3060746"/>
                <a:gd name="connsiteY723" fmla="*/ 707007 h 1771142"/>
                <a:gd name="connsiteX724" fmla="*/ 1777325 w 3060746"/>
                <a:gd name="connsiteY724" fmla="*/ 717234 h 1771142"/>
                <a:gd name="connsiteX725" fmla="*/ 1765149 w 3060746"/>
                <a:gd name="connsiteY725" fmla="*/ 735116 h 1771142"/>
                <a:gd name="connsiteX726" fmla="*/ 1752972 w 3060746"/>
                <a:gd name="connsiteY726" fmla="*/ 753934 h 1771142"/>
                <a:gd name="connsiteX727" fmla="*/ 1736736 w 3060746"/>
                <a:gd name="connsiteY727" fmla="*/ 747817 h 1771142"/>
                <a:gd name="connsiteX728" fmla="*/ 1757031 w 3060746"/>
                <a:gd name="connsiteY728" fmla="*/ 768707 h 1771142"/>
                <a:gd name="connsiteX729" fmla="*/ 1745138 w 3060746"/>
                <a:gd name="connsiteY729" fmla="*/ 775592 h 1771142"/>
                <a:gd name="connsiteX730" fmla="*/ 1735315 w 3060746"/>
                <a:gd name="connsiteY730" fmla="*/ 785887 h 1771142"/>
                <a:gd name="connsiteX731" fmla="*/ 1699921 w 3060746"/>
                <a:gd name="connsiteY731" fmla="*/ 781241 h 1771142"/>
                <a:gd name="connsiteX732" fmla="*/ 1689733 w 3060746"/>
                <a:gd name="connsiteY732" fmla="*/ 765331 h 1771142"/>
                <a:gd name="connsiteX733" fmla="*/ 1685308 w 3060746"/>
                <a:gd name="connsiteY733" fmla="*/ 750190 h 1771142"/>
                <a:gd name="connsiteX734" fmla="*/ 1643866 w 3060746"/>
                <a:gd name="connsiteY734" fmla="*/ 750424 h 1771142"/>
                <a:gd name="connsiteX735" fmla="*/ 1625520 w 3060746"/>
                <a:gd name="connsiteY735" fmla="*/ 770478 h 1771142"/>
                <a:gd name="connsiteX736" fmla="*/ 1603642 w 3060746"/>
                <a:gd name="connsiteY736" fmla="*/ 785753 h 1771142"/>
                <a:gd name="connsiteX737" fmla="*/ 1588096 w 3060746"/>
                <a:gd name="connsiteY737" fmla="*/ 777397 h 1771142"/>
                <a:gd name="connsiteX738" fmla="*/ 1602262 w 3060746"/>
                <a:gd name="connsiteY738" fmla="*/ 759148 h 1771142"/>
                <a:gd name="connsiteX739" fmla="*/ 1561672 w 3060746"/>
                <a:gd name="connsiteY739" fmla="*/ 766601 h 1771142"/>
                <a:gd name="connsiteX740" fmla="*/ 1533706 w 3060746"/>
                <a:gd name="connsiteY740" fmla="*/ 778767 h 1771142"/>
                <a:gd name="connsiteX741" fmla="*/ 1535492 w 3060746"/>
                <a:gd name="connsiteY741" fmla="*/ 762624 h 1771142"/>
                <a:gd name="connsiteX742" fmla="*/ 1538252 w 3060746"/>
                <a:gd name="connsiteY742" fmla="*/ 753466 h 1771142"/>
                <a:gd name="connsiteX743" fmla="*/ 1515806 w 3060746"/>
                <a:gd name="connsiteY743" fmla="*/ 751694 h 1771142"/>
                <a:gd name="connsiteX744" fmla="*/ 1485485 w 3060746"/>
                <a:gd name="connsiteY744" fmla="*/ 756307 h 1771142"/>
                <a:gd name="connsiteX745" fmla="*/ 1479437 w 3060746"/>
                <a:gd name="connsiteY745" fmla="*/ 742068 h 1771142"/>
                <a:gd name="connsiteX746" fmla="*/ 1440471 w 3060746"/>
                <a:gd name="connsiteY746" fmla="*/ 743205 h 1771142"/>
                <a:gd name="connsiteX747" fmla="*/ 1417091 w 3060746"/>
                <a:gd name="connsiteY747" fmla="*/ 745644 h 1771142"/>
                <a:gd name="connsiteX748" fmla="*/ 1434058 w 3060746"/>
                <a:gd name="connsiteY748" fmla="*/ 730571 h 1771142"/>
                <a:gd name="connsiteX749" fmla="*/ 1438117 w 3060746"/>
                <a:gd name="connsiteY749" fmla="*/ 712622 h 1771142"/>
                <a:gd name="connsiteX750" fmla="*/ 1451146 w 3060746"/>
                <a:gd name="connsiteY750" fmla="*/ 702194 h 1771142"/>
                <a:gd name="connsiteX751" fmla="*/ 1503913 w 3060746"/>
                <a:gd name="connsiteY751" fmla="*/ 667834 h 1771142"/>
                <a:gd name="connsiteX752" fmla="*/ 1499854 w 3060746"/>
                <a:gd name="connsiteY752" fmla="*/ 638288 h 1771142"/>
                <a:gd name="connsiteX753" fmla="*/ 1451471 w 3060746"/>
                <a:gd name="connsiteY753" fmla="*/ 655000 h 1771142"/>
                <a:gd name="connsiteX754" fmla="*/ 1410069 w 3060746"/>
                <a:gd name="connsiteY754" fmla="*/ 667266 h 1771142"/>
                <a:gd name="connsiteX755" fmla="*/ 1367572 w 3060746"/>
                <a:gd name="connsiteY755" fmla="*/ 687855 h 1771142"/>
                <a:gd name="connsiteX756" fmla="*/ 1369885 w 3060746"/>
                <a:gd name="connsiteY756" fmla="*/ 698785 h 1771142"/>
                <a:gd name="connsiteX757" fmla="*/ 1349591 w 3060746"/>
                <a:gd name="connsiteY757" fmla="*/ 708177 h 1771142"/>
                <a:gd name="connsiteX758" fmla="*/ 1357709 w 3060746"/>
                <a:gd name="connsiteY758" fmla="*/ 721011 h 1771142"/>
                <a:gd name="connsiteX759" fmla="*/ 1374797 w 3060746"/>
                <a:gd name="connsiteY759" fmla="*/ 736921 h 1771142"/>
                <a:gd name="connsiteX760" fmla="*/ 1399151 w 3060746"/>
                <a:gd name="connsiteY760" fmla="*/ 752898 h 1771142"/>
                <a:gd name="connsiteX761" fmla="*/ 1384011 w 3060746"/>
                <a:gd name="connsiteY761" fmla="*/ 770044 h 1771142"/>
                <a:gd name="connsiteX762" fmla="*/ 1399719 w 3060746"/>
                <a:gd name="connsiteY762" fmla="*/ 775024 h 1771142"/>
                <a:gd name="connsiteX763" fmla="*/ 1371996 w 3060746"/>
                <a:gd name="connsiteY763" fmla="*/ 784717 h 1771142"/>
                <a:gd name="connsiteX764" fmla="*/ 1375528 w 3060746"/>
                <a:gd name="connsiteY764" fmla="*/ 803969 h 1771142"/>
                <a:gd name="connsiteX765" fmla="*/ 1382387 w 3060746"/>
                <a:gd name="connsiteY765" fmla="*/ 816703 h 1771142"/>
                <a:gd name="connsiteX766" fmla="*/ 1413925 w 3060746"/>
                <a:gd name="connsiteY766" fmla="*/ 823388 h 1771142"/>
                <a:gd name="connsiteX767" fmla="*/ 1463810 w 3060746"/>
                <a:gd name="connsiteY767" fmla="*/ 810520 h 1771142"/>
                <a:gd name="connsiteX768" fmla="*/ 1472375 w 3060746"/>
                <a:gd name="connsiteY768" fmla="*/ 816135 h 1771142"/>
                <a:gd name="connsiteX769" fmla="*/ 1477651 w 3060746"/>
                <a:gd name="connsiteY769" fmla="*/ 822385 h 1771142"/>
                <a:gd name="connsiteX770" fmla="*/ 1471603 w 3060746"/>
                <a:gd name="connsiteY770" fmla="*/ 831543 h 1771142"/>
                <a:gd name="connsiteX771" fmla="*/ 1484511 w 3060746"/>
                <a:gd name="connsiteY771" fmla="*/ 822151 h 1771142"/>
                <a:gd name="connsiteX772" fmla="*/ 1503953 w 3060746"/>
                <a:gd name="connsiteY772" fmla="*/ 824858 h 1771142"/>
                <a:gd name="connsiteX773" fmla="*/ 1496282 w 3060746"/>
                <a:gd name="connsiteY773" fmla="*/ 834150 h 1771142"/>
                <a:gd name="connsiteX774" fmla="*/ 1479031 w 3060746"/>
                <a:gd name="connsiteY774" fmla="*/ 852867 h 1771142"/>
                <a:gd name="connsiteX775" fmla="*/ 1453703 w 3060746"/>
                <a:gd name="connsiteY775" fmla="*/ 868476 h 1771142"/>
                <a:gd name="connsiteX776" fmla="*/ 1472375 w 3060746"/>
                <a:gd name="connsiteY776" fmla="*/ 880709 h 1771142"/>
                <a:gd name="connsiteX777" fmla="*/ 1439497 w 3060746"/>
                <a:gd name="connsiteY777" fmla="*/ 892174 h 1771142"/>
                <a:gd name="connsiteX778" fmla="*/ 1432881 w 3060746"/>
                <a:gd name="connsiteY778" fmla="*/ 870782 h 1771142"/>
                <a:gd name="connsiteX779" fmla="*/ 1403413 w 3060746"/>
                <a:gd name="connsiteY779" fmla="*/ 879105 h 1771142"/>
                <a:gd name="connsiteX780" fmla="*/ 1386730 w 3060746"/>
                <a:gd name="connsiteY780" fmla="*/ 876999 h 1771142"/>
                <a:gd name="connsiteX781" fmla="*/ 1418187 w 3060746"/>
                <a:gd name="connsiteY781" fmla="*/ 863128 h 1771142"/>
                <a:gd name="connsiteX782" fmla="*/ 1446600 w 3060746"/>
                <a:gd name="connsiteY782" fmla="*/ 848054 h 1771142"/>
                <a:gd name="connsiteX783" fmla="*/ 1453216 w 3060746"/>
                <a:gd name="connsiteY783" fmla="*/ 830674 h 1771142"/>
                <a:gd name="connsiteX784" fmla="*/ 1420744 w 3060746"/>
                <a:gd name="connsiteY784" fmla="*/ 840935 h 1771142"/>
                <a:gd name="connsiteX785" fmla="*/ 1414859 w 3060746"/>
                <a:gd name="connsiteY785" fmla="*/ 836690 h 1771142"/>
                <a:gd name="connsiteX786" fmla="*/ 1417457 w 3060746"/>
                <a:gd name="connsiteY786" fmla="*/ 828903 h 1771142"/>
                <a:gd name="connsiteX787" fmla="*/ 1370819 w 3060746"/>
                <a:gd name="connsiteY787" fmla="*/ 843743 h 1771142"/>
                <a:gd name="connsiteX788" fmla="*/ 1340214 w 3060746"/>
                <a:gd name="connsiteY788" fmla="*/ 851330 h 1771142"/>
                <a:gd name="connsiteX789" fmla="*/ 1331569 w 3060746"/>
                <a:gd name="connsiteY789" fmla="*/ 874726 h 1771142"/>
                <a:gd name="connsiteX790" fmla="*/ 1308757 w 3060746"/>
                <a:gd name="connsiteY790" fmla="*/ 890669 h 1771142"/>
                <a:gd name="connsiteX791" fmla="*/ 1351174 w 3060746"/>
                <a:gd name="connsiteY791" fmla="*/ 880642 h 1771142"/>
                <a:gd name="connsiteX792" fmla="*/ 1372686 w 3060746"/>
                <a:gd name="connsiteY792" fmla="*/ 881912 h 1771142"/>
                <a:gd name="connsiteX793" fmla="*/ 1366841 w 3060746"/>
                <a:gd name="connsiteY793" fmla="*/ 888965 h 1771142"/>
                <a:gd name="connsiteX794" fmla="*/ 1352351 w 3060746"/>
                <a:gd name="connsiteY794" fmla="*/ 894379 h 1771142"/>
                <a:gd name="connsiteX795" fmla="*/ 1349793 w 3060746"/>
                <a:gd name="connsiteY795" fmla="*/ 901733 h 1771142"/>
                <a:gd name="connsiteX796" fmla="*/ 1353852 w 3060746"/>
                <a:gd name="connsiteY796" fmla="*/ 912395 h 1771142"/>
                <a:gd name="connsiteX797" fmla="*/ 1317322 w 3060746"/>
                <a:gd name="connsiteY797" fmla="*/ 927268 h 1771142"/>
                <a:gd name="connsiteX798" fmla="*/ 1270684 w 3060746"/>
                <a:gd name="connsiteY798" fmla="*/ 951266 h 1771142"/>
                <a:gd name="connsiteX799" fmla="*/ 1173269 w 3060746"/>
                <a:gd name="connsiteY799" fmla="*/ 983320 h 1771142"/>
                <a:gd name="connsiteX800" fmla="*/ 1140797 w 3060746"/>
                <a:gd name="connsiteY800" fmla="*/ 989403 h 1771142"/>
                <a:gd name="connsiteX801" fmla="*/ 1118513 w 3060746"/>
                <a:gd name="connsiteY801" fmla="*/ 986562 h 1771142"/>
                <a:gd name="connsiteX802" fmla="*/ 1054584 w 3060746"/>
                <a:gd name="connsiteY802" fmla="*/ 1017445 h 1771142"/>
                <a:gd name="connsiteX803" fmla="*/ 1025238 w 3060746"/>
                <a:gd name="connsiteY803" fmla="*/ 1040842 h 1771142"/>
                <a:gd name="connsiteX804" fmla="*/ 1043584 w 3060746"/>
                <a:gd name="connsiteY804" fmla="*/ 1040541 h 1771142"/>
                <a:gd name="connsiteX805" fmla="*/ 1062499 w 3060746"/>
                <a:gd name="connsiteY805" fmla="*/ 1025400 h 1771142"/>
                <a:gd name="connsiteX806" fmla="*/ 1100491 w 3060746"/>
                <a:gd name="connsiteY806" fmla="*/ 999931 h 1771142"/>
                <a:gd name="connsiteX807" fmla="*/ 1105849 w 3060746"/>
                <a:gd name="connsiteY807" fmla="*/ 1004577 h 1771142"/>
                <a:gd name="connsiteX808" fmla="*/ 1075001 w 3060746"/>
                <a:gd name="connsiteY808" fmla="*/ 1027974 h 1771142"/>
                <a:gd name="connsiteX809" fmla="*/ 1092008 w 3060746"/>
                <a:gd name="connsiteY809" fmla="*/ 1055448 h 1771142"/>
                <a:gd name="connsiteX810" fmla="*/ 1072971 w 3060746"/>
                <a:gd name="connsiteY810" fmla="*/ 1074399 h 1771142"/>
                <a:gd name="connsiteX811" fmla="*/ 1060226 w 3060746"/>
                <a:gd name="connsiteY811" fmla="*/ 1072861 h 1771142"/>
                <a:gd name="connsiteX812" fmla="*/ 1034452 w 3060746"/>
                <a:gd name="connsiteY812" fmla="*/ 1066177 h 1771142"/>
                <a:gd name="connsiteX813" fmla="*/ 1027470 w 3060746"/>
                <a:gd name="connsiteY813" fmla="*/ 1064305 h 1771142"/>
                <a:gd name="connsiteX814" fmla="*/ 1013101 w 3060746"/>
                <a:gd name="connsiteY814" fmla="*/ 1070689 h 1771142"/>
                <a:gd name="connsiteX815" fmla="*/ 975921 w 3060746"/>
                <a:gd name="connsiteY815" fmla="*/ 1082253 h 1771142"/>
                <a:gd name="connsiteX816" fmla="*/ 887679 w 3060746"/>
                <a:gd name="connsiteY816" fmla="*/ 1132990 h 1771142"/>
                <a:gd name="connsiteX817" fmla="*/ 823994 w 3060746"/>
                <a:gd name="connsiteY817" fmla="*/ 1155284 h 1771142"/>
                <a:gd name="connsiteX818" fmla="*/ 842300 w 3060746"/>
                <a:gd name="connsiteY818" fmla="*/ 1135430 h 1771142"/>
                <a:gd name="connsiteX819" fmla="*/ 850986 w 3060746"/>
                <a:gd name="connsiteY819" fmla="*/ 1122830 h 1771142"/>
                <a:gd name="connsiteX820" fmla="*/ 805363 w 3060746"/>
                <a:gd name="connsiteY820" fmla="*/ 1130150 h 1771142"/>
                <a:gd name="connsiteX821" fmla="*/ 779507 w 3060746"/>
                <a:gd name="connsiteY821" fmla="*/ 1142884 h 1771142"/>
                <a:gd name="connsiteX822" fmla="*/ 698044 w 3060746"/>
                <a:gd name="connsiteY822" fmla="*/ 1175004 h 1771142"/>
                <a:gd name="connsiteX823" fmla="*/ 659727 w 3060746"/>
                <a:gd name="connsiteY823" fmla="*/ 1190813 h 1771142"/>
                <a:gd name="connsiteX824" fmla="*/ 607894 w 3060746"/>
                <a:gd name="connsiteY824" fmla="*/ 1204550 h 1771142"/>
                <a:gd name="connsiteX825" fmla="*/ 543681 w 3060746"/>
                <a:gd name="connsiteY825" fmla="*/ 1246798 h 1771142"/>
                <a:gd name="connsiteX826" fmla="*/ 510113 w 3060746"/>
                <a:gd name="connsiteY826" fmla="*/ 1269526 h 1771142"/>
                <a:gd name="connsiteX827" fmla="*/ 509910 w 3060746"/>
                <a:gd name="connsiteY827" fmla="*/ 1258061 h 1771142"/>
                <a:gd name="connsiteX828" fmla="*/ 494039 w 3060746"/>
                <a:gd name="connsiteY828" fmla="*/ 1251043 h 1771142"/>
                <a:gd name="connsiteX829" fmla="*/ 481132 w 3060746"/>
                <a:gd name="connsiteY829" fmla="*/ 1268256 h 1771142"/>
                <a:gd name="connsiteX830" fmla="*/ 372554 w 3060746"/>
                <a:gd name="connsiteY830" fmla="*/ 1300008 h 1771142"/>
                <a:gd name="connsiteX831" fmla="*/ 385868 w 3060746"/>
                <a:gd name="connsiteY831" fmla="*/ 1307595 h 1771142"/>
                <a:gd name="connsiteX832" fmla="*/ 373691 w 3060746"/>
                <a:gd name="connsiteY832" fmla="*/ 1318759 h 1771142"/>
                <a:gd name="connsiteX833" fmla="*/ 366872 w 3060746"/>
                <a:gd name="connsiteY833" fmla="*/ 1338211 h 1771142"/>
                <a:gd name="connsiteX834" fmla="*/ 346009 w 3060746"/>
                <a:gd name="connsiteY834" fmla="*/ 1345331 h 1771142"/>
                <a:gd name="connsiteX835" fmla="*/ 312076 w 3060746"/>
                <a:gd name="connsiteY835" fmla="*/ 1382732 h 1771142"/>
                <a:gd name="connsiteX836" fmla="*/ 303633 w 3060746"/>
                <a:gd name="connsiteY836" fmla="*/ 1383868 h 1771142"/>
                <a:gd name="connsiteX837" fmla="*/ 286951 w 3060746"/>
                <a:gd name="connsiteY837" fmla="*/ 1398641 h 1771142"/>
                <a:gd name="connsiteX838" fmla="*/ 272014 w 3060746"/>
                <a:gd name="connsiteY838" fmla="*/ 1424210 h 1771142"/>
                <a:gd name="connsiteX839" fmla="*/ 256305 w 3060746"/>
                <a:gd name="connsiteY839" fmla="*/ 1428087 h 1771142"/>
                <a:gd name="connsiteX840" fmla="*/ 292349 w 3060746"/>
                <a:gd name="connsiteY840" fmla="*/ 1385773 h 1771142"/>
                <a:gd name="connsiteX841" fmla="*/ 335212 w 3060746"/>
                <a:gd name="connsiteY841" fmla="*/ 1347904 h 1771142"/>
                <a:gd name="connsiteX842" fmla="*/ 307043 w 3060746"/>
                <a:gd name="connsiteY842" fmla="*/ 1356628 h 1771142"/>
                <a:gd name="connsiteX843" fmla="*/ 251800 w 3060746"/>
                <a:gd name="connsiteY843" fmla="*/ 1406228 h 1771142"/>
                <a:gd name="connsiteX844" fmla="*/ 237025 w 3060746"/>
                <a:gd name="connsiteY844" fmla="*/ 1424578 h 1771142"/>
                <a:gd name="connsiteX845" fmla="*/ 223103 w 3060746"/>
                <a:gd name="connsiteY845" fmla="*/ 1436477 h 1771142"/>
                <a:gd name="connsiteX846" fmla="*/ 215472 w 3060746"/>
                <a:gd name="connsiteY846" fmla="*/ 1433134 h 1771142"/>
                <a:gd name="connsiteX847" fmla="*/ 191118 w 3060746"/>
                <a:gd name="connsiteY847" fmla="*/ 1453188 h 1771142"/>
                <a:gd name="connsiteX848" fmla="*/ 165384 w 3060746"/>
                <a:gd name="connsiteY848" fmla="*/ 1474078 h 1771142"/>
                <a:gd name="connsiteX849" fmla="*/ 185679 w 3060746"/>
                <a:gd name="connsiteY849" fmla="*/ 1477420 h 1771142"/>
                <a:gd name="connsiteX850" fmla="*/ 153938 w 3060746"/>
                <a:gd name="connsiteY850" fmla="*/ 1494801 h 1771142"/>
                <a:gd name="connsiteX851" fmla="*/ 93987 w 3060746"/>
                <a:gd name="connsiteY851" fmla="*/ 1522977 h 1771142"/>
                <a:gd name="connsiteX852" fmla="*/ 54899 w 3060746"/>
                <a:gd name="connsiteY852" fmla="*/ 1531567 h 1771142"/>
                <a:gd name="connsiteX853" fmla="*/ -60 w 3060746"/>
                <a:gd name="connsiteY853" fmla="*/ 1564456 h 1771142"/>
                <a:gd name="connsiteX854" fmla="*/ 172609 w 3060746"/>
                <a:gd name="connsiteY854" fmla="*/ 1746514 h 1771142"/>
                <a:gd name="connsiteX855" fmla="*/ 195218 w 3060746"/>
                <a:gd name="connsiteY855" fmla="*/ 1770345 h 1771142"/>
                <a:gd name="connsiteX856" fmla="*/ 241246 w 3060746"/>
                <a:gd name="connsiteY856" fmla="*/ 1738325 h 1771142"/>
                <a:gd name="connsiteX857" fmla="*/ 263855 w 3060746"/>
                <a:gd name="connsiteY857" fmla="*/ 1738526 h 1771142"/>
                <a:gd name="connsiteX858" fmla="*/ 309924 w 3060746"/>
                <a:gd name="connsiteY858" fmla="*/ 1733479 h 1771142"/>
                <a:gd name="connsiteX859" fmla="*/ 339271 w 3060746"/>
                <a:gd name="connsiteY859" fmla="*/ 1717201 h 1771142"/>
                <a:gd name="connsiteX860" fmla="*/ 348931 w 3060746"/>
                <a:gd name="connsiteY860" fmla="*/ 1696646 h 1771142"/>
                <a:gd name="connsiteX861" fmla="*/ 373650 w 3060746"/>
                <a:gd name="connsiteY861" fmla="*/ 1679332 h 1771142"/>
                <a:gd name="connsiteX862" fmla="*/ 394595 w 3060746"/>
                <a:gd name="connsiteY862" fmla="*/ 1679332 h 1771142"/>
                <a:gd name="connsiteX863" fmla="*/ 465789 w 3060746"/>
                <a:gd name="connsiteY863" fmla="*/ 1672882 h 1771142"/>
                <a:gd name="connsiteX864" fmla="*/ 532356 w 3060746"/>
                <a:gd name="connsiteY864" fmla="*/ 1679566 h 1771142"/>
                <a:gd name="connsiteX865" fmla="*/ 594986 w 3060746"/>
                <a:gd name="connsiteY865" fmla="*/ 1667901 h 1771142"/>
                <a:gd name="connsiteX866" fmla="*/ 607853 w 3060746"/>
                <a:gd name="connsiteY866" fmla="*/ 1674954 h 1771142"/>
                <a:gd name="connsiteX867" fmla="*/ 598802 w 3060746"/>
                <a:gd name="connsiteY867" fmla="*/ 1699387 h 1771142"/>
                <a:gd name="connsiteX868" fmla="*/ 617514 w 3060746"/>
                <a:gd name="connsiteY868" fmla="*/ 1703230 h 1771142"/>
                <a:gd name="connsiteX869" fmla="*/ 621248 w 3060746"/>
                <a:gd name="connsiteY869" fmla="*/ 1713257 h 1771142"/>
                <a:gd name="connsiteX870" fmla="*/ 652502 w 3060746"/>
                <a:gd name="connsiteY870" fmla="*/ 1702395 h 1771142"/>
                <a:gd name="connsiteX871" fmla="*/ 669712 w 3060746"/>
                <a:gd name="connsiteY871" fmla="*/ 1711386 h 1771142"/>
                <a:gd name="connsiteX872" fmla="*/ 692118 w 3060746"/>
                <a:gd name="connsiteY872" fmla="*/ 1699888 h 1771142"/>
                <a:gd name="connsiteX873" fmla="*/ 720530 w 3060746"/>
                <a:gd name="connsiteY873" fmla="*/ 1698351 h 1771142"/>
                <a:gd name="connsiteX874" fmla="*/ 716877 w 3060746"/>
                <a:gd name="connsiteY874" fmla="*/ 1713124 h 1771142"/>
                <a:gd name="connsiteX875" fmla="*/ 728364 w 3060746"/>
                <a:gd name="connsiteY875" fmla="*/ 1711352 h 1771142"/>
                <a:gd name="connsiteX876" fmla="*/ 738512 w 3060746"/>
                <a:gd name="connsiteY876" fmla="*/ 1717135 h 1771142"/>
                <a:gd name="connsiteX877" fmla="*/ 770983 w 3060746"/>
                <a:gd name="connsiteY877" fmla="*/ 1705135 h 1771142"/>
                <a:gd name="connsiteX878" fmla="*/ 806865 w 3060746"/>
                <a:gd name="connsiteY878" fmla="*/ 1698752 h 1771142"/>
                <a:gd name="connsiteX879" fmla="*/ 833492 w 3060746"/>
                <a:gd name="connsiteY879" fmla="*/ 1688725 h 1771142"/>
                <a:gd name="connsiteX880" fmla="*/ 863366 w 3060746"/>
                <a:gd name="connsiteY880" fmla="*/ 1682574 h 1771142"/>
                <a:gd name="connsiteX881" fmla="*/ 892225 w 3060746"/>
                <a:gd name="connsiteY881" fmla="*/ 1673784 h 1771142"/>
                <a:gd name="connsiteX882" fmla="*/ 916254 w 3060746"/>
                <a:gd name="connsiteY882" fmla="*/ 1678798 h 1771142"/>
                <a:gd name="connsiteX883" fmla="*/ 924697 w 3060746"/>
                <a:gd name="connsiteY883" fmla="*/ 1674219 h 1771142"/>
                <a:gd name="connsiteX884" fmla="*/ 977220 w 3060746"/>
                <a:gd name="connsiteY884" fmla="*/ 1645942 h 1771142"/>
                <a:gd name="connsiteX885" fmla="*/ 1183578 w 3060746"/>
                <a:gd name="connsiteY885" fmla="*/ 1539655 h 1771142"/>
                <a:gd name="connsiteX886" fmla="*/ 1657586 w 3060746"/>
                <a:gd name="connsiteY886" fmla="*/ 1322402 h 1771142"/>
                <a:gd name="connsiteX887" fmla="*/ 1712828 w 3060746"/>
                <a:gd name="connsiteY887" fmla="*/ 1299440 h 1771142"/>
                <a:gd name="connsiteX888" fmla="*/ 1721596 w 3060746"/>
                <a:gd name="connsiteY888" fmla="*/ 1295797 h 1771142"/>
                <a:gd name="connsiteX889" fmla="*/ 1720581 w 3060746"/>
                <a:gd name="connsiteY889" fmla="*/ 1289112 h 1771142"/>
                <a:gd name="connsiteX890" fmla="*/ 1741688 w 3060746"/>
                <a:gd name="connsiteY890" fmla="*/ 1291552 h 1771142"/>
                <a:gd name="connsiteX891" fmla="*/ 1779599 w 3060746"/>
                <a:gd name="connsiteY891" fmla="*/ 1282728 h 1771142"/>
                <a:gd name="connsiteX892" fmla="*/ 1817428 w 3060746"/>
                <a:gd name="connsiteY892" fmla="*/ 1273737 h 1771142"/>
                <a:gd name="connsiteX893" fmla="*/ 1849575 w 3060746"/>
                <a:gd name="connsiteY893" fmla="*/ 1269091 h 1771142"/>
                <a:gd name="connsiteX894" fmla="*/ 1861509 w 3060746"/>
                <a:gd name="connsiteY894" fmla="*/ 1259967 h 1771142"/>
                <a:gd name="connsiteX895" fmla="*/ 1884929 w 3060746"/>
                <a:gd name="connsiteY895" fmla="*/ 1252380 h 1771142"/>
                <a:gd name="connsiteX896" fmla="*/ 1914519 w 3060746"/>
                <a:gd name="connsiteY896" fmla="*/ 1234264 h 1771142"/>
                <a:gd name="connsiteX897" fmla="*/ 1937005 w 3060746"/>
                <a:gd name="connsiteY897" fmla="*/ 1213374 h 1771142"/>
                <a:gd name="connsiteX898" fmla="*/ 2005156 w 3060746"/>
                <a:gd name="connsiteY898" fmla="*/ 1204584 h 1771142"/>
                <a:gd name="connsiteX899" fmla="*/ 2040915 w 3060746"/>
                <a:gd name="connsiteY899" fmla="*/ 1202378 h 1771142"/>
                <a:gd name="connsiteX900" fmla="*/ 2079029 w 3060746"/>
                <a:gd name="connsiteY900" fmla="*/ 1220025 h 1771142"/>
                <a:gd name="connsiteX901" fmla="*/ 2141172 w 3060746"/>
                <a:gd name="connsiteY901" fmla="*/ 1206923 h 1771142"/>
                <a:gd name="connsiteX902" fmla="*/ 2196821 w 3060746"/>
                <a:gd name="connsiteY902" fmla="*/ 1193086 h 1771142"/>
                <a:gd name="connsiteX903" fmla="*/ 2228481 w 3060746"/>
                <a:gd name="connsiteY903" fmla="*/ 1210500 h 1771142"/>
                <a:gd name="connsiteX904" fmla="*/ 2182776 w 3060746"/>
                <a:gd name="connsiteY904" fmla="*/ 1218689 h 1771142"/>
                <a:gd name="connsiteX905" fmla="*/ 2179732 w 3060746"/>
                <a:gd name="connsiteY905" fmla="*/ 1238743 h 1771142"/>
                <a:gd name="connsiteX906" fmla="*/ 2170112 w 3060746"/>
                <a:gd name="connsiteY906" fmla="*/ 1270696 h 1771142"/>
                <a:gd name="connsiteX907" fmla="*/ 2181356 w 3060746"/>
                <a:gd name="connsiteY907" fmla="*/ 1281291 h 1771142"/>
                <a:gd name="connsiteX908" fmla="*/ 2234123 w 3060746"/>
                <a:gd name="connsiteY908" fmla="*/ 1254251 h 1771142"/>
                <a:gd name="connsiteX909" fmla="*/ 2258476 w 3060746"/>
                <a:gd name="connsiteY909" fmla="*/ 1242185 h 1771142"/>
                <a:gd name="connsiteX910" fmla="*/ 2270248 w 3060746"/>
                <a:gd name="connsiteY910" fmla="*/ 1238843 h 1771142"/>
                <a:gd name="connsiteX911" fmla="*/ 2272399 w 3060746"/>
                <a:gd name="connsiteY911" fmla="*/ 1226209 h 1771142"/>
                <a:gd name="connsiteX912" fmla="*/ 2252753 w 3060746"/>
                <a:gd name="connsiteY912" fmla="*/ 1231724 h 1771142"/>
                <a:gd name="connsiteX913" fmla="*/ 2268218 w 3060746"/>
                <a:gd name="connsiteY913" fmla="*/ 1212137 h 1771142"/>
                <a:gd name="connsiteX914" fmla="*/ 2320538 w 3060746"/>
                <a:gd name="connsiteY914" fmla="*/ 1191047 h 1771142"/>
                <a:gd name="connsiteX915" fmla="*/ 2341888 w 3060746"/>
                <a:gd name="connsiteY915" fmla="*/ 1181355 h 1771142"/>
                <a:gd name="connsiteX916" fmla="*/ 2364253 w 3060746"/>
                <a:gd name="connsiteY916" fmla="*/ 1163707 h 1771142"/>
                <a:gd name="connsiteX917" fmla="*/ 2426234 w 3060746"/>
                <a:gd name="connsiteY917" fmla="*/ 1137168 h 1771142"/>
                <a:gd name="connsiteX918" fmla="*/ 2486591 w 3060746"/>
                <a:gd name="connsiteY918" fmla="*/ 1117114 h 1771142"/>
                <a:gd name="connsiteX919" fmla="*/ 2512284 w 3060746"/>
                <a:gd name="connsiteY919" fmla="*/ 1089907 h 1771142"/>
                <a:gd name="connsiteX920" fmla="*/ 2520767 w 3060746"/>
                <a:gd name="connsiteY920" fmla="*/ 1061731 h 1771142"/>
                <a:gd name="connsiteX921" fmla="*/ 2545933 w 3060746"/>
                <a:gd name="connsiteY921" fmla="*/ 1046357 h 1771142"/>
                <a:gd name="connsiteX922" fmla="*/ 2584696 w 3060746"/>
                <a:gd name="connsiteY922" fmla="*/ 1042680 h 1771142"/>
                <a:gd name="connsiteX923" fmla="*/ 2595493 w 3060746"/>
                <a:gd name="connsiteY923" fmla="*/ 1060829 h 1771142"/>
                <a:gd name="connsiteX924" fmla="*/ 2614205 w 3060746"/>
                <a:gd name="connsiteY924" fmla="*/ 1072193 h 1771142"/>
                <a:gd name="connsiteX925" fmla="*/ 2645013 w 3060746"/>
                <a:gd name="connsiteY925" fmla="*/ 1067346 h 1771142"/>
                <a:gd name="connsiteX926" fmla="*/ 2687267 w 3060746"/>
                <a:gd name="connsiteY926" fmla="*/ 1040875 h 1771142"/>
                <a:gd name="connsiteX927" fmla="*/ 2695912 w 3060746"/>
                <a:gd name="connsiteY927" fmla="*/ 1035561 h 1771142"/>
                <a:gd name="connsiteX928" fmla="*/ 2691610 w 3060746"/>
                <a:gd name="connsiteY928" fmla="*/ 1045588 h 1771142"/>
                <a:gd name="connsiteX929" fmla="*/ 2731469 w 3060746"/>
                <a:gd name="connsiteY929" fmla="*/ 1040240 h 1771142"/>
                <a:gd name="connsiteX930" fmla="*/ 2693152 w 3060746"/>
                <a:gd name="connsiteY930" fmla="*/ 1054077 h 1771142"/>
                <a:gd name="connsiteX931" fmla="*/ 2659828 w 3060746"/>
                <a:gd name="connsiteY931" fmla="*/ 1082354 h 1771142"/>
                <a:gd name="connsiteX932" fmla="*/ 2684507 w 3060746"/>
                <a:gd name="connsiteY932" fmla="*/ 1091378 h 1771142"/>
                <a:gd name="connsiteX933" fmla="*/ 2723879 w 3060746"/>
                <a:gd name="connsiteY933" fmla="*/ 1060161 h 1771142"/>
                <a:gd name="connsiteX934" fmla="*/ 2767634 w 3060746"/>
                <a:gd name="connsiteY934" fmla="*/ 1042045 h 1771142"/>
                <a:gd name="connsiteX935" fmla="*/ 2810213 w 3060746"/>
                <a:gd name="connsiteY935" fmla="*/ 1020453 h 1771142"/>
                <a:gd name="connsiteX936" fmla="*/ 2805342 w 3060746"/>
                <a:gd name="connsiteY936" fmla="*/ 1014638 h 1771142"/>
                <a:gd name="connsiteX937" fmla="*/ 2822674 w 3060746"/>
                <a:gd name="connsiteY937" fmla="*/ 1006649 h 1771142"/>
                <a:gd name="connsiteX938" fmla="*/ 2842969 w 3060746"/>
                <a:gd name="connsiteY938" fmla="*/ 997324 h 1771142"/>
                <a:gd name="connsiteX939" fmla="*/ 2828681 w 3060746"/>
                <a:gd name="connsiteY939" fmla="*/ 993982 h 1771142"/>
                <a:gd name="connsiteX940" fmla="*/ 781861 w 3060746"/>
                <a:gd name="connsiteY940" fmla="*/ 1236637 h 1771142"/>
                <a:gd name="connsiteX941" fmla="*/ 754342 w 3060746"/>
                <a:gd name="connsiteY941" fmla="*/ 1266050 h 1771142"/>
                <a:gd name="connsiteX942" fmla="*/ 736645 w 3060746"/>
                <a:gd name="connsiteY942" fmla="*/ 1285001 h 1771142"/>
                <a:gd name="connsiteX943" fmla="*/ 715984 w 3060746"/>
                <a:gd name="connsiteY943" fmla="*/ 1308397 h 1771142"/>
                <a:gd name="connsiteX944" fmla="*/ 695365 w 3060746"/>
                <a:gd name="connsiteY944" fmla="*/ 1324240 h 1771142"/>
                <a:gd name="connsiteX945" fmla="*/ 706973 w 3060746"/>
                <a:gd name="connsiteY945" fmla="*/ 1302849 h 1771142"/>
                <a:gd name="connsiteX946" fmla="*/ 686476 w 3060746"/>
                <a:gd name="connsiteY946" fmla="*/ 1308832 h 1771142"/>
                <a:gd name="connsiteX947" fmla="*/ 673933 w 3060746"/>
                <a:gd name="connsiteY947" fmla="*/ 1332529 h 1771142"/>
                <a:gd name="connsiteX948" fmla="*/ 632288 w 3060746"/>
                <a:gd name="connsiteY948" fmla="*/ 1350244 h 1771142"/>
                <a:gd name="connsiteX949" fmla="*/ 638864 w 3060746"/>
                <a:gd name="connsiteY949" fmla="*/ 1344462 h 1771142"/>
                <a:gd name="connsiteX950" fmla="*/ 640934 w 3060746"/>
                <a:gd name="connsiteY950" fmla="*/ 1335203 h 1771142"/>
                <a:gd name="connsiteX951" fmla="*/ 643247 w 3060746"/>
                <a:gd name="connsiteY951" fmla="*/ 1322770 h 1771142"/>
                <a:gd name="connsiteX952" fmla="*/ 671417 w 3060746"/>
                <a:gd name="connsiteY952" fmla="*/ 1301980 h 1771142"/>
                <a:gd name="connsiteX953" fmla="*/ 628432 w 3060746"/>
                <a:gd name="connsiteY953" fmla="*/ 1314213 h 1771142"/>
                <a:gd name="connsiteX954" fmla="*/ 606676 w 3060746"/>
                <a:gd name="connsiteY954" fmla="*/ 1334501 h 1771142"/>
                <a:gd name="connsiteX955" fmla="*/ 572378 w 3060746"/>
                <a:gd name="connsiteY955" fmla="*/ 1350912 h 1771142"/>
                <a:gd name="connsiteX956" fmla="*/ 702752 w 3060746"/>
                <a:gd name="connsiteY956" fmla="*/ 1252981 h 1771142"/>
                <a:gd name="connsiteX957" fmla="*/ 725158 w 3060746"/>
                <a:gd name="connsiteY957" fmla="*/ 1264813 h 1771142"/>
                <a:gd name="connsiteX958" fmla="*/ 761688 w 3060746"/>
                <a:gd name="connsiteY958" fmla="*/ 1236537 h 1771142"/>
                <a:gd name="connsiteX959" fmla="*/ 781780 w 3060746"/>
                <a:gd name="connsiteY959" fmla="*/ 1236804 h 1771142"/>
                <a:gd name="connsiteX960" fmla="*/ 781861 w 3060746"/>
                <a:gd name="connsiteY960" fmla="*/ 1236637 h 1771142"/>
                <a:gd name="connsiteX961" fmla="*/ 1030393 w 3060746"/>
                <a:gd name="connsiteY961" fmla="*/ 1254385 h 1771142"/>
                <a:gd name="connsiteX962" fmla="*/ 1004253 w 3060746"/>
                <a:gd name="connsiteY962" fmla="*/ 1277447 h 1771142"/>
                <a:gd name="connsiteX963" fmla="*/ 990290 w 3060746"/>
                <a:gd name="connsiteY963" fmla="*/ 1297501 h 1771142"/>
                <a:gd name="connsiteX964" fmla="*/ 907162 w 3060746"/>
                <a:gd name="connsiteY964" fmla="*/ 1339949 h 1771142"/>
                <a:gd name="connsiteX965" fmla="*/ 905904 w 3060746"/>
                <a:gd name="connsiteY965" fmla="*/ 1334836 h 1771142"/>
                <a:gd name="connsiteX966" fmla="*/ 923642 w 3060746"/>
                <a:gd name="connsiteY966" fmla="*/ 1314347 h 1771142"/>
                <a:gd name="connsiteX967" fmla="*/ 945154 w 3060746"/>
                <a:gd name="connsiteY967" fmla="*/ 1290649 h 1771142"/>
                <a:gd name="connsiteX968" fmla="*/ 911911 w 3060746"/>
                <a:gd name="connsiteY968" fmla="*/ 1289146 h 1771142"/>
                <a:gd name="connsiteX969" fmla="*/ 970076 w 3060746"/>
                <a:gd name="connsiteY969" fmla="*/ 1267387 h 1771142"/>
                <a:gd name="connsiteX970" fmla="*/ 1039647 w 3060746"/>
                <a:gd name="connsiteY970" fmla="*/ 1228281 h 1771142"/>
                <a:gd name="connsiteX971" fmla="*/ 1088355 w 3060746"/>
                <a:gd name="connsiteY971" fmla="*/ 1197197 h 1771142"/>
                <a:gd name="connsiteX972" fmla="*/ 1030271 w 3060746"/>
                <a:gd name="connsiteY972" fmla="*/ 1254385 h 1771142"/>
                <a:gd name="connsiteX973" fmla="*/ 1030393 w 3060746"/>
                <a:gd name="connsiteY973" fmla="*/ 1254385 h 1771142"/>
                <a:gd name="connsiteX974" fmla="*/ 1658722 w 3060746"/>
                <a:gd name="connsiteY974" fmla="*/ 1284901 h 1771142"/>
                <a:gd name="connsiteX975" fmla="*/ 1644191 w 3060746"/>
                <a:gd name="connsiteY975" fmla="*/ 1277848 h 1771142"/>
                <a:gd name="connsiteX976" fmla="*/ 1608431 w 3060746"/>
                <a:gd name="connsiteY976" fmla="*/ 1269225 h 1771142"/>
                <a:gd name="connsiteX977" fmla="*/ 1553189 w 3060746"/>
                <a:gd name="connsiteY977" fmla="*/ 1243923 h 1771142"/>
                <a:gd name="connsiteX978" fmla="*/ 1620121 w 3060746"/>
                <a:gd name="connsiteY978" fmla="*/ 1247266 h 1771142"/>
                <a:gd name="connsiteX979" fmla="*/ 1658722 w 3060746"/>
                <a:gd name="connsiteY979" fmla="*/ 1284800 h 1771142"/>
                <a:gd name="connsiteX980" fmla="*/ 1658560 w 3060746"/>
                <a:gd name="connsiteY980" fmla="*/ 1284968 h 177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</a:cxnLst>
              <a:rect l="l" t="t" r="r" b="b"/>
              <a:pathLst>
                <a:path w="3060746" h="1771142">
                  <a:moveTo>
                    <a:pt x="886583" y="1692735"/>
                  </a:moveTo>
                  <a:cubicBezTo>
                    <a:pt x="870591" y="1692735"/>
                    <a:pt x="857318" y="1704567"/>
                    <a:pt x="841934" y="1701793"/>
                  </a:cubicBezTo>
                  <a:cubicBezTo>
                    <a:pt x="833248" y="1700189"/>
                    <a:pt x="811289" y="1695877"/>
                    <a:pt x="799193" y="1703164"/>
                  </a:cubicBezTo>
                  <a:cubicBezTo>
                    <a:pt x="789809" y="1709280"/>
                    <a:pt x="779390" y="1714233"/>
                    <a:pt x="768264" y="1717870"/>
                  </a:cubicBezTo>
                  <a:cubicBezTo>
                    <a:pt x="756087" y="1721379"/>
                    <a:pt x="742327" y="1720878"/>
                    <a:pt x="731733" y="1730237"/>
                  </a:cubicBezTo>
                  <a:cubicBezTo>
                    <a:pt x="727228" y="1734147"/>
                    <a:pt x="723250" y="1738994"/>
                    <a:pt x="731733" y="1736921"/>
                  </a:cubicBezTo>
                  <a:cubicBezTo>
                    <a:pt x="740216" y="1734849"/>
                    <a:pt x="743910" y="1739629"/>
                    <a:pt x="751784" y="1736687"/>
                  </a:cubicBezTo>
                  <a:cubicBezTo>
                    <a:pt x="764919" y="1731470"/>
                    <a:pt x="779158" y="1728405"/>
                    <a:pt x="793714" y="1727663"/>
                  </a:cubicBezTo>
                  <a:cubicBezTo>
                    <a:pt x="802075" y="1727663"/>
                    <a:pt x="806459" y="1724320"/>
                    <a:pt x="814536" y="1722917"/>
                  </a:cubicBezTo>
                  <a:cubicBezTo>
                    <a:pt x="825049" y="1721212"/>
                    <a:pt x="827931" y="1727529"/>
                    <a:pt x="840027" y="1721246"/>
                  </a:cubicBezTo>
                  <a:cubicBezTo>
                    <a:pt x="846521" y="1717903"/>
                    <a:pt x="849281" y="1720945"/>
                    <a:pt x="855288" y="1720510"/>
                  </a:cubicBezTo>
                  <a:cubicBezTo>
                    <a:pt x="869414" y="1719507"/>
                    <a:pt x="875827" y="1716566"/>
                    <a:pt x="890804" y="1708678"/>
                  </a:cubicBezTo>
                  <a:cubicBezTo>
                    <a:pt x="895553" y="1706175"/>
                    <a:pt x="900144" y="1703474"/>
                    <a:pt x="904564" y="1700590"/>
                  </a:cubicBezTo>
                  <a:cubicBezTo>
                    <a:pt x="914468" y="1694106"/>
                    <a:pt x="907812" y="1695075"/>
                    <a:pt x="908867" y="1688825"/>
                  </a:cubicBezTo>
                  <a:cubicBezTo>
                    <a:pt x="909719" y="1683845"/>
                    <a:pt x="891738" y="1692702"/>
                    <a:pt x="886705" y="1692735"/>
                  </a:cubicBezTo>
                  <a:close/>
                  <a:moveTo>
                    <a:pt x="460309" y="1204250"/>
                  </a:moveTo>
                  <a:cubicBezTo>
                    <a:pt x="480280" y="1195961"/>
                    <a:pt x="493918" y="1203548"/>
                    <a:pt x="507678" y="1205152"/>
                  </a:cubicBezTo>
                  <a:cubicBezTo>
                    <a:pt x="528419" y="1207592"/>
                    <a:pt x="523711" y="1193220"/>
                    <a:pt x="538201" y="1185399"/>
                  </a:cubicBezTo>
                  <a:cubicBezTo>
                    <a:pt x="548146" y="1180017"/>
                    <a:pt x="550378" y="1174402"/>
                    <a:pt x="558861" y="1168954"/>
                  </a:cubicBezTo>
                  <a:cubicBezTo>
                    <a:pt x="568847" y="1162504"/>
                    <a:pt x="581105" y="1158560"/>
                    <a:pt x="587274" y="1150037"/>
                  </a:cubicBezTo>
                  <a:cubicBezTo>
                    <a:pt x="593444" y="1141513"/>
                    <a:pt x="584189" y="1137803"/>
                    <a:pt x="585569" y="1130417"/>
                  </a:cubicBezTo>
                  <a:cubicBezTo>
                    <a:pt x="587437" y="1120624"/>
                    <a:pt x="601805" y="1114574"/>
                    <a:pt x="609923" y="1105583"/>
                  </a:cubicBezTo>
                  <a:cubicBezTo>
                    <a:pt x="614388" y="1100503"/>
                    <a:pt x="609923" y="1097160"/>
                    <a:pt x="610451" y="1092983"/>
                  </a:cubicBezTo>
                  <a:cubicBezTo>
                    <a:pt x="611344" y="1086966"/>
                    <a:pt x="621248" y="1081251"/>
                    <a:pt x="628432" y="1075936"/>
                  </a:cubicBezTo>
                  <a:cubicBezTo>
                    <a:pt x="649174" y="1060528"/>
                    <a:pt x="668657" y="1044418"/>
                    <a:pt x="687450" y="1028408"/>
                  </a:cubicBezTo>
                  <a:cubicBezTo>
                    <a:pt x="698044" y="1019384"/>
                    <a:pt x="720774" y="1003140"/>
                    <a:pt x="696177" y="1006616"/>
                  </a:cubicBezTo>
                  <a:cubicBezTo>
                    <a:pt x="667114" y="1010760"/>
                    <a:pt x="619908" y="1017479"/>
                    <a:pt x="594296" y="1039037"/>
                  </a:cubicBezTo>
                  <a:cubicBezTo>
                    <a:pt x="591536" y="1041376"/>
                    <a:pt x="581795" y="1053710"/>
                    <a:pt x="577005" y="1050535"/>
                  </a:cubicBezTo>
                  <a:cubicBezTo>
                    <a:pt x="574042" y="1048596"/>
                    <a:pt x="572175" y="1046524"/>
                    <a:pt x="566086" y="1051805"/>
                  </a:cubicBezTo>
                  <a:cubicBezTo>
                    <a:pt x="552002" y="1064004"/>
                    <a:pt x="516161" y="1074232"/>
                    <a:pt x="499194" y="1076739"/>
                  </a:cubicBezTo>
                  <a:cubicBezTo>
                    <a:pt x="473907" y="1080415"/>
                    <a:pt x="428122" y="1122261"/>
                    <a:pt x="405554" y="1136099"/>
                  </a:cubicBezTo>
                  <a:cubicBezTo>
                    <a:pt x="379536" y="1151942"/>
                    <a:pt x="423657" y="1141513"/>
                    <a:pt x="429908" y="1143419"/>
                  </a:cubicBezTo>
                  <a:cubicBezTo>
                    <a:pt x="439893" y="1146360"/>
                    <a:pt x="419476" y="1168319"/>
                    <a:pt x="420004" y="1175438"/>
                  </a:cubicBezTo>
                  <a:cubicBezTo>
                    <a:pt x="420247" y="1179215"/>
                    <a:pt x="427878" y="1176742"/>
                    <a:pt x="426782" y="1182457"/>
                  </a:cubicBezTo>
                  <a:cubicBezTo>
                    <a:pt x="424956" y="1192083"/>
                    <a:pt x="417568" y="1203381"/>
                    <a:pt x="412129" y="1213608"/>
                  </a:cubicBezTo>
                  <a:cubicBezTo>
                    <a:pt x="400683" y="1235200"/>
                    <a:pt x="446387" y="1209998"/>
                    <a:pt x="460391" y="1204250"/>
                  </a:cubicBezTo>
                  <a:cubicBezTo>
                    <a:pt x="487099" y="1193220"/>
                    <a:pt x="433480" y="1215446"/>
                    <a:pt x="460309" y="1204250"/>
                  </a:cubicBezTo>
                  <a:close/>
                  <a:moveTo>
                    <a:pt x="1200585" y="911125"/>
                  </a:moveTo>
                  <a:cubicBezTo>
                    <a:pt x="1206471" y="902167"/>
                    <a:pt x="1251039" y="901365"/>
                    <a:pt x="1245924" y="890469"/>
                  </a:cubicBezTo>
                  <a:cubicBezTo>
                    <a:pt x="1240567" y="878904"/>
                    <a:pt x="1188165" y="893176"/>
                    <a:pt x="1169372" y="896385"/>
                  </a:cubicBezTo>
                  <a:cubicBezTo>
                    <a:pt x="1150579" y="899593"/>
                    <a:pt x="1103657" y="915737"/>
                    <a:pt x="1099761" y="902702"/>
                  </a:cubicBezTo>
                  <a:cubicBezTo>
                    <a:pt x="1098543" y="898491"/>
                    <a:pt x="1103008" y="892040"/>
                    <a:pt x="1094849" y="891071"/>
                  </a:cubicBezTo>
                  <a:cubicBezTo>
                    <a:pt x="1080967" y="889399"/>
                    <a:pt x="1069278" y="890135"/>
                    <a:pt x="1060226" y="883885"/>
                  </a:cubicBezTo>
                  <a:cubicBezTo>
                    <a:pt x="1054259" y="879807"/>
                    <a:pt x="1049064" y="873857"/>
                    <a:pt x="1052108" y="866137"/>
                  </a:cubicBezTo>
                  <a:cubicBezTo>
                    <a:pt x="1055152" y="858416"/>
                    <a:pt x="1065381" y="849425"/>
                    <a:pt x="1063433" y="842272"/>
                  </a:cubicBezTo>
                  <a:cubicBezTo>
                    <a:pt x="1058562" y="824290"/>
                    <a:pt x="998895" y="859753"/>
                    <a:pt x="987530" y="870649"/>
                  </a:cubicBezTo>
                  <a:cubicBezTo>
                    <a:pt x="977098" y="880676"/>
                    <a:pt x="1022518" y="871317"/>
                    <a:pt x="1031123" y="871685"/>
                  </a:cubicBezTo>
                  <a:cubicBezTo>
                    <a:pt x="1041027" y="872086"/>
                    <a:pt x="1033112" y="875027"/>
                    <a:pt x="1026334" y="875963"/>
                  </a:cubicBezTo>
                  <a:cubicBezTo>
                    <a:pt x="1015699" y="877434"/>
                    <a:pt x="1000113" y="877835"/>
                    <a:pt x="989072" y="883417"/>
                  </a:cubicBezTo>
                  <a:cubicBezTo>
                    <a:pt x="971091" y="892474"/>
                    <a:pt x="941014" y="898424"/>
                    <a:pt x="955342" y="910456"/>
                  </a:cubicBezTo>
                  <a:cubicBezTo>
                    <a:pt x="960822" y="915035"/>
                    <a:pt x="1005633" y="925697"/>
                    <a:pt x="1002304" y="931814"/>
                  </a:cubicBezTo>
                  <a:cubicBezTo>
                    <a:pt x="1000194" y="935658"/>
                    <a:pt x="983796" y="946587"/>
                    <a:pt x="977951" y="946253"/>
                  </a:cubicBezTo>
                  <a:cubicBezTo>
                    <a:pt x="968696" y="945651"/>
                    <a:pt x="963176" y="939836"/>
                    <a:pt x="957453" y="936593"/>
                  </a:cubicBezTo>
                  <a:cubicBezTo>
                    <a:pt x="941542" y="927569"/>
                    <a:pt x="915158" y="930243"/>
                    <a:pt x="885893" y="941206"/>
                  </a:cubicBezTo>
                  <a:cubicBezTo>
                    <a:pt x="851879" y="953940"/>
                    <a:pt x="903712" y="945651"/>
                    <a:pt x="905985" y="947189"/>
                  </a:cubicBezTo>
                  <a:cubicBezTo>
                    <a:pt x="914387" y="952670"/>
                    <a:pt x="894823" y="956915"/>
                    <a:pt x="887923" y="958987"/>
                  </a:cubicBezTo>
                  <a:cubicBezTo>
                    <a:pt x="878668" y="961695"/>
                    <a:pt x="861458" y="978841"/>
                    <a:pt x="859875" y="975331"/>
                  </a:cubicBezTo>
                  <a:cubicBezTo>
                    <a:pt x="856953" y="968914"/>
                    <a:pt x="857764" y="964402"/>
                    <a:pt x="842381" y="967109"/>
                  </a:cubicBezTo>
                  <a:cubicBezTo>
                    <a:pt x="823908" y="970766"/>
                    <a:pt x="806686" y="977828"/>
                    <a:pt x="792009" y="987765"/>
                  </a:cubicBezTo>
                  <a:cubicBezTo>
                    <a:pt x="772120" y="1002070"/>
                    <a:pt x="804511" y="1004477"/>
                    <a:pt x="767655" y="1018047"/>
                  </a:cubicBezTo>
                  <a:cubicBezTo>
                    <a:pt x="734737" y="1030313"/>
                    <a:pt x="781050" y="1004510"/>
                    <a:pt x="771349" y="998862"/>
                  </a:cubicBezTo>
                  <a:cubicBezTo>
                    <a:pt x="752150" y="987731"/>
                    <a:pt x="731611" y="1002538"/>
                    <a:pt x="710464" y="1019517"/>
                  </a:cubicBezTo>
                  <a:cubicBezTo>
                    <a:pt x="685258" y="1039839"/>
                    <a:pt x="654004" y="1061030"/>
                    <a:pt x="635901" y="1083022"/>
                  </a:cubicBezTo>
                  <a:cubicBezTo>
                    <a:pt x="632045" y="1087735"/>
                    <a:pt x="631071" y="1088704"/>
                    <a:pt x="636672" y="1088170"/>
                  </a:cubicBezTo>
                  <a:cubicBezTo>
                    <a:pt x="648443" y="1087066"/>
                    <a:pt x="624941" y="1110162"/>
                    <a:pt x="629650" y="1113772"/>
                  </a:cubicBezTo>
                  <a:cubicBezTo>
                    <a:pt x="637768" y="1120089"/>
                    <a:pt x="658753" y="1103244"/>
                    <a:pt x="665409" y="1105917"/>
                  </a:cubicBezTo>
                  <a:cubicBezTo>
                    <a:pt x="670402" y="1107956"/>
                    <a:pt x="669915" y="1112335"/>
                    <a:pt x="680306" y="1105917"/>
                  </a:cubicBezTo>
                  <a:cubicBezTo>
                    <a:pt x="696826" y="1095690"/>
                    <a:pt x="724630" y="1069686"/>
                    <a:pt x="745250" y="1066678"/>
                  </a:cubicBezTo>
                  <a:cubicBezTo>
                    <a:pt x="753368" y="1065475"/>
                    <a:pt x="720896" y="1086431"/>
                    <a:pt x="718582" y="1088069"/>
                  </a:cubicBezTo>
                  <a:cubicBezTo>
                    <a:pt x="707704" y="1095155"/>
                    <a:pt x="674989" y="1113471"/>
                    <a:pt x="673933" y="1122495"/>
                  </a:cubicBezTo>
                  <a:cubicBezTo>
                    <a:pt x="671052" y="1141814"/>
                    <a:pt x="821964" y="1059693"/>
                    <a:pt x="838281" y="1053643"/>
                  </a:cubicBezTo>
                  <a:cubicBezTo>
                    <a:pt x="841731" y="1052206"/>
                    <a:pt x="895959" y="1032586"/>
                    <a:pt x="884107" y="1042680"/>
                  </a:cubicBezTo>
                  <a:cubicBezTo>
                    <a:pt x="862919" y="1060662"/>
                    <a:pt x="819163" y="1075067"/>
                    <a:pt x="792496" y="1089105"/>
                  </a:cubicBezTo>
                  <a:cubicBezTo>
                    <a:pt x="771876" y="1099934"/>
                    <a:pt x="733113" y="1119822"/>
                    <a:pt x="722235" y="1135397"/>
                  </a:cubicBezTo>
                  <a:cubicBezTo>
                    <a:pt x="713062" y="1148499"/>
                    <a:pt x="770578" y="1130851"/>
                    <a:pt x="775002" y="1129782"/>
                  </a:cubicBezTo>
                  <a:cubicBezTo>
                    <a:pt x="793470" y="1125136"/>
                    <a:pt x="810396" y="1116145"/>
                    <a:pt x="826916" y="1106920"/>
                  </a:cubicBezTo>
                  <a:cubicBezTo>
                    <a:pt x="835521" y="1102141"/>
                    <a:pt x="848835" y="1094286"/>
                    <a:pt x="852488" y="1100737"/>
                  </a:cubicBezTo>
                  <a:cubicBezTo>
                    <a:pt x="859956" y="1113872"/>
                    <a:pt x="893078" y="1098798"/>
                    <a:pt x="912763" y="1090008"/>
                  </a:cubicBezTo>
                  <a:cubicBezTo>
                    <a:pt x="939622" y="1078470"/>
                    <a:pt x="964609" y="1064185"/>
                    <a:pt x="987124" y="1047493"/>
                  </a:cubicBezTo>
                  <a:cubicBezTo>
                    <a:pt x="1004699" y="1034291"/>
                    <a:pt x="1022437" y="1027205"/>
                    <a:pt x="1041230" y="1015473"/>
                  </a:cubicBezTo>
                  <a:cubicBezTo>
                    <a:pt x="1054422" y="1007251"/>
                    <a:pt x="1062662" y="980512"/>
                    <a:pt x="1080683" y="984055"/>
                  </a:cubicBezTo>
                  <a:cubicBezTo>
                    <a:pt x="1095133" y="986929"/>
                    <a:pt x="1116118" y="974797"/>
                    <a:pt x="1133978" y="972825"/>
                  </a:cubicBezTo>
                  <a:cubicBezTo>
                    <a:pt x="1152974" y="970485"/>
                    <a:pt x="1253474" y="928906"/>
                    <a:pt x="1233098" y="918411"/>
                  </a:cubicBezTo>
                  <a:cubicBezTo>
                    <a:pt x="1228430" y="915971"/>
                    <a:pt x="1219257" y="916005"/>
                    <a:pt x="1211098" y="918411"/>
                  </a:cubicBezTo>
                  <a:cubicBezTo>
                    <a:pt x="1198921" y="921987"/>
                    <a:pt x="1200870" y="929508"/>
                    <a:pt x="1190397" y="934087"/>
                  </a:cubicBezTo>
                  <a:cubicBezTo>
                    <a:pt x="1155774" y="949194"/>
                    <a:pt x="1199611" y="912896"/>
                    <a:pt x="1200870" y="911058"/>
                  </a:cubicBezTo>
                  <a:cubicBezTo>
                    <a:pt x="1206146" y="902802"/>
                    <a:pt x="1195065" y="919681"/>
                    <a:pt x="1200585" y="911225"/>
                  </a:cubicBezTo>
                  <a:close/>
                  <a:moveTo>
                    <a:pt x="545873" y="1010393"/>
                  </a:moveTo>
                  <a:cubicBezTo>
                    <a:pt x="572337" y="998327"/>
                    <a:pt x="590156" y="974897"/>
                    <a:pt x="584392" y="969850"/>
                  </a:cubicBezTo>
                  <a:cubicBezTo>
                    <a:pt x="578629" y="964803"/>
                    <a:pt x="532600" y="1016375"/>
                    <a:pt x="545873" y="1010393"/>
                  </a:cubicBezTo>
                  <a:close/>
                  <a:moveTo>
                    <a:pt x="414565" y="1055013"/>
                  </a:moveTo>
                  <a:cubicBezTo>
                    <a:pt x="422358" y="1052640"/>
                    <a:pt x="422683" y="1057954"/>
                    <a:pt x="426174" y="1059659"/>
                  </a:cubicBezTo>
                  <a:cubicBezTo>
                    <a:pt x="429664" y="1061364"/>
                    <a:pt x="439609" y="1050367"/>
                    <a:pt x="442856" y="1048128"/>
                  </a:cubicBezTo>
                  <a:cubicBezTo>
                    <a:pt x="449797" y="1043315"/>
                    <a:pt x="459092" y="1042346"/>
                    <a:pt x="465180" y="1036697"/>
                  </a:cubicBezTo>
                  <a:cubicBezTo>
                    <a:pt x="470376" y="1031884"/>
                    <a:pt x="470295" y="1027238"/>
                    <a:pt x="473298" y="1022526"/>
                  </a:cubicBezTo>
                  <a:cubicBezTo>
                    <a:pt x="475571" y="1019183"/>
                    <a:pt x="490955" y="1025467"/>
                    <a:pt x="494973" y="1025099"/>
                  </a:cubicBezTo>
                  <a:cubicBezTo>
                    <a:pt x="512508" y="1023495"/>
                    <a:pt x="512508" y="1010961"/>
                    <a:pt x="513766" y="1004677"/>
                  </a:cubicBezTo>
                  <a:cubicBezTo>
                    <a:pt x="515877" y="994182"/>
                    <a:pt x="537349" y="997759"/>
                    <a:pt x="539784" y="985960"/>
                  </a:cubicBezTo>
                  <a:cubicBezTo>
                    <a:pt x="541732" y="976702"/>
                    <a:pt x="530854" y="967410"/>
                    <a:pt x="548186" y="956313"/>
                  </a:cubicBezTo>
                  <a:cubicBezTo>
                    <a:pt x="561134" y="948058"/>
                    <a:pt x="562149" y="965839"/>
                    <a:pt x="574813" y="964168"/>
                  </a:cubicBezTo>
                  <a:cubicBezTo>
                    <a:pt x="595108" y="961461"/>
                    <a:pt x="590278" y="947456"/>
                    <a:pt x="598924" y="941005"/>
                  </a:cubicBezTo>
                  <a:cubicBezTo>
                    <a:pt x="615443" y="928906"/>
                    <a:pt x="615565" y="931647"/>
                    <a:pt x="615159" y="920116"/>
                  </a:cubicBezTo>
                  <a:cubicBezTo>
                    <a:pt x="615159" y="916372"/>
                    <a:pt x="602577" y="916339"/>
                    <a:pt x="606311" y="911994"/>
                  </a:cubicBezTo>
                  <a:cubicBezTo>
                    <a:pt x="610654" y="906880"/>
                    <a:pt x="619381" y="902903"/>
                    <a:pt x="623156" y="897555"/>
                  </a:cubicBezTo>
                  <a:cubicBezTo>
                    <a:pt x="625226" y="894547"/>
                    <a:pt x="591293" y="903471"/>
                    <a:pt x="584514" y="905677"/>
                  </a:cubicBezTo>
                  <a:cubicBezTo>
                    <a:pt x="567223" y="911225"/>
                    <a:pt x="583905" y="919514"/>
                    <a:pt x="568481" y="926901"/>
                  </a:cubicBezTo>
                  <a:cubicBezTo>
                    <a:pt x="550987" y="935257"/>
                    <a:pt x="529393" y="938265"/>
                    <a:pt x="515715" y="950631"/>
                  </a:cubicBezTo>
                  <a:cubicBezTo>
                    <a:pt x="499933" y="964706"/>
                    <a:pt x="485739" y="979934"/>
                    <a:pt x="473298" y="996121"/>
                  </a:cubicBezTo>
                  <a:cubicBezTo>
                    <a:pt x="469239" y="1002003"/>
                    <a:pt x="466844" y="1008187"/>
                    <a:pt x="460634" y="1014069"/>
                  </a:cubicBezTo>
                  <a:cubicBezTo>
                    <a:pt x="454424" y="1019952"/>
                    <a:pt x="443465" y="1024364"/>
                    <a:pt x="435590" y="1029945"/>
                  </a:cubicBezTo>
                  <a:cubicBezTo>
                    <a:pt x="432871" y="1031784"/>
                    <a:pt x="402185" y="1058656"/>
                    <a:pt x="414240" y="1055013"/>
                  </a:cubicBezTo>
                  <a:close/>
                  <a:moveTo>
                    <a:pt x="633750" y="935691"/>
                  </a:moveTo>
                  <a:cubicBezTo>
                    <a:pt x="624333" y="940872"/>
                    <a:pt x="616661" y="951133"/>
                    <a:pt x="631071" y="948425"/>
                  </a:cubicBezTo>
                  <a:cubicBezTo>
                    <a:pt x="633709" y="947924"/>
                    <a:pt x="666343" y="934321"/>
                    <a:pt x="665978" y="935056"/>
                  </a:cubicBezTo>
                  <a:cubicBezTo>
                    <a:pt x="661350" y="945685"/>
                    <a:pt x="616539" y="955511"/>
                    <a:pt x="614672" y="971822"/>
                  </a:cubicBezTo>
                  <a:cubicBezTo>
                    <a:pt x="613495" y="981649"/>
                    <a:pt x="656967" y="947623"/>
                    <a:pt x="664314" y="948425"/>
                  </a:cubicBezTo>
                  <a:cubicBezTo>
                    <a:pt x="664679" y="948425"/>
                    <a:pt x="614388" y="982284"/>
                    <a:pt x="610370" y="985994"/>
                  </a:cubicBezTo>
                  <a:cubicBezTo>
                    <a:pt x="600953" y="994517"/>
                    <a:pt x="622547" y="985994"/>
                    <a:pt x="626403" y="984423"/>
                  </a:cubicBezTo>
                  <a:cubicBezTo>
                    <a:pt x="643816" y="977237"/>
                    <a:pt x="667195" y="972758"/>
                    <a:pt x="683228" y="963399"/>
                  </a:cubicBezTo>
                  <a:cubicBezTo>
                    <a:pt x="697029" y="955311"/>
                    <a:pt x="700479" y="943679"/>
                    <a:pt x="708354" y="934555"/>
                  </a:cubicBezTo>
                  <a:cubicBezTo>
                    <a:pt x="718420" y="922890"/>
                    <a:pt x="717730" y="930410"/>
                    <a:pt x="720165" y="935089"/>
                  </a:cubicBezTo>
                  <a:cubicBezTo>
                    <a:pt x="723615" y="941774"/>
                    <a:pt x="784053" y="902100"/>
                    <a:pt x="794729" y="898825"/>
                  </a:cubicBezTo>
                  <a:cubicBezTo>
                    <a:pt x="805404" y="895549"/>
                    <a:pt x="789452" y="908852"/>
                    <a:pt x="787666" y="910323"/>
                  </a:cubicBezTo>
                  <a:cubicBezTo>
                    <a:pt x="774227" y="921011"/>
                    <a:pt x="759574" y="930614"/>
                    <a:pt x="743910" y="939000"/>
                  </a:cubicBezTo>
                  <a:cubicBezTo>
                    <a:pt x="706365" y="959321"/>
                    <a:pt x="725117" y="965304"/>
                    <a:pt x="757914" y="951133"/>
                  </a:cubicBezTo>
                  <a:cubicBezTo>
                    <a:pt x="786042" y="939033"/>
                    <a:pt x="812426" y="919247"/>
                    <a:pt x="833167" y="902368"/>
                  </a:cubicBezTo>
                  <a:cubicBezTo>
                    <a:pt x="841553" y="896101"/>
                    <a:pt x="849029" y="889058"/>
                    <a:pt x="855451" y="881378"/>
                  </a:cubicBezTo>
                  <a:cubicBezTo>
                    <a:pt x="864421" y="869111"/>
                    <a:pt x="882321" y="870649"/>
                    <a:pt x="895675" y="862259"/>
                  </a:cubicBezTo>
                  <a:cubicBezTo>
                    <a:pt x="910612" y="852934"/>
                    <a:pt x="918040" y="846751"/>
                    <a:pt x="936265" y="839164"/>
                  </a:cubicBezTo>
                  <a:cubicBezTo>
                    <a:pt x="950999" y="833081"/>
                    <a:pt x="972025" y="825393"/>
                    <a:pt x="981441" y="815366"/>
                  </a:cubicBezTo>
                  <a:cubicBezTo>
                    <a:pt x="992847" y="803267"/>
                    <a:pt x="989559" y="780338"/>
                    <a:pt x="964191" y="786187"/>
                  </a:cubicBezTo>
                  <a:cubicBezTo>
                    <a:pt x="946899" y="790232"/>
                    <a:pt x="946737" y="797016"/>
                    <a:pt x="937117" y="805172"/>
                  </a:cubicBezTo>
                  <a:cubicBezTo>
                    <a:pt x="924940" y="815466"/>
                    <a:pt x="909882" y="814263"/>
                    <a:pt x="898719" y="813361"/>
                  </a:cubicBezTo>
                  <a:cubicBezTo>
                    <a:pt x="885041" y="812258"/>
                    <a:pt x="876314" y="811756"/>
                    <a:pt x="867668" y="806509"/>
                  </a:cubicBezTo>
                  <a:cubicBezTo>
                    <a:pt x="859023" y="801261"/>
                    <a:pt x="846196" y="809550"/>
                    <a:pt x="836577" y="817739"/>
                  </a:cubicBezTo>
                  <a:cubicBezTo>
                    <a:pt x="828865" y="824424"/>
                    <a:pt x="819001" y="833281"/>
                    <a:pt x="817215" y="839966"/>
                  </a:cubicBezTo>
                  <a:cubicBezTo>
                    <a:pt x="815308" y="847286"/>
                    <a:pt x="834588" y="837225"/>
                    <a:pt x="840676" y="836624"/>
                  </a:cubicBezTo>
                  <a:cubicBezTo>
                    <a:pt x="851798" y="835220"/>
                    <a:pt x="841163" y="845748"/>
                    <a:pt x="836617" y="849391"/>
                  </a:cubicBezTo>
                  <a:cubicBezTo>
                    <a:pt x="829230" y="855207"/>
                    <a:pt x="851960" y="849391"/>
                    <a:pt x="854720" y="848890"/>
                  </a:cubicBezTo>
                  <a:cubicBezTo>
                    <a:pt x="883417" y="843108"/>
                    <a:pt x="857074" y="857146"/>
                    <a:pt x="843111" y="863229"/>
                  </a:cubicBezTo>
                  <a:cubicBezTo>
                    <a:pt x="818758" y="873857"/>
                    <a:pt x="804064" y="878303"/>
                    <a:pt x="784094" y="877801"/>
                  </a:cubicBezTo>
                  <a:cubicBezTo>
                    <a:pt x="771227" y="877467"/>
                    <a:pt x="754017" y="881578"/>
                    <a:pt x="739445" y="885723"/>
                  </a:cubicBezTo>
                  <a:cubicBezTo>
                    <a:pt x="730000" y="888280"/>
                    <a:pt x="720847" y="891512"/>
                    <a:pt x="712088" y="895382"/>
                  </a:cubicBezTo>
                  <a:cubicBezTo>
                    <a:pt x="705350" y="898424"/>
                    <a:pt x="698815" y="904039"/>
                    <a:pt x="691793" y="905978"/>
                  </a:cubicBezTo>
                  <a:cubicBezTo>
                    <a:pt x="679616" y="909320"/>
                    <a:pt x="676328" y="902635"/>
                    <a:pt x="661635" y="909320"/>
                  </a:cubicBezTo>
                  <a:cubicBezTo>
                    <a:pt x="643816" y="917542"/>
                    <a:pt x="649783" y="926934"/>
                    <a:pt x="633871" y="935691"/>
                  </a:cubicBezTo>
                  <a:close/>
                  <a:moveTo>
                    <a:pt x="674339" y="851631"/>
                  </a:moveTo>
                  <a:cubicBezTo>
                    <a:pt x="675922" y="840200"/>
                    <a:pt x="621573" y="869011"/>
                    <a:pt x="628026" y="869379"/>
                  </a:cubicBezTo>
                  <a:cubicBezTo>
                    <a:pt x="642679" y="870014"/>
                    <a:pt x="672959" y="862995"/>
                    <a:pt x="674542" y="851664"/>
                  </a:cubicBezTo>
                  <a:close/>
                  <a:moveTo>
                    <a:pt x="793105" y="789797"/>
                  </a:moveTo>
                  <a:cubicBezTo>
                    <a:pt x="802116" y="784683"/>
                    <a:pt x="804348" y="779202"/>
                    <a:pt x="791968" y="783112"/>
                  </a:cubicBezTo>
                  <a:cubicBezTo>
                    <a:pt x="776910" y="787691"/>
                    <a:pt x="762216" y="797384"/>
                    <a:pt x="748781" y="804704"/>
                  </a:cubicBezTo>
                  <a:cubicBezTo>
                    <a:pt x="735346" y="812024"/>
                    <a:pt x="686597" y="835855"/>
                    <a:pt x="693863" y="845882"/>
                  </a:cubicBezTo>
                  <a:cubicBezTo>
                    <a:pt x="702914" y="858315"/>
                    <a:pt x="743179" y="841437"/>
                    <a:pt x="762581" y="829170"/>
                  </a:cubicBezTo>
                  <a:cubicBezTo>
                    <a:pt x="773703" y="822185"/>
                    <a:pt x="785312" y="812458"/>
                    <a:pt x="789208" y="804470"/>
                  </a:cubicBezTo>
                  <a:cubicBezTo>
                    <a:pt x="793673" y="795145"/>
                    <a:pt x="778046" y="807177"/>
                    <a:pt x="775286" y="804470"/>
                  </a:cubicBezTo>
                  <a:cubicBezTo>
                    <a:pt x="772526" y="801763"/>
                    <a:pt x="789858" y="791602"/>
                    <a:pt x="793105" y="789730"/>
                  </a:cubicBezTo>
                  <a:cubicBezTo>
                    <a:pt x="811208" y="779335"/>
                    <a:pt x="775042" y="800092"/>
                    <a:pt x="793105" y="789797"/>
                  </a:cubicBezTo>
                  <a:close/>
                  <a:moveTo>
                    <a:pt x="712737" y="811857"/>
                  </a:moveTo>
                  <a:cubicBezTo>
                    <a:pt x="730394" y="807044"/>
                    <a:pt x="735549" y="794042"/>
                    <a:pt x="754382" y="790299"/>
                  </a:cubicBezTo>
                  <a:cubicBezTo>
                    <a:pt x="768329" y="787140"/>
                    <a:pt x="781500" y="782003"/>
                    <a:pt x="793308" y="775124"/>
                  </a:cubicBezTo>
                  <a:cubicBezTo>
                    <a:pt x="803415" y="769141"/>
                    <a:pt x="810315" y="759983"/>
                    <a:pt x="799275" y="758646"/>
                  </a:cubicBezTo>
                  <a:cubicBezTo>
                    <a:pt x="787544" y="757243"/>
                    <a:pt x="767574" y="765498"/>
                    <a:pt x="754626" y="771448"/>
                  </a:cubicBezTo>
                  <a:cubicBezTo>
                    <a:pt x="731652" y="781943"/>
                    <a:pt x="712128" y="797718"/>
                    <a:pt x="691509" y="810553"/>
                  </a:cubicBezTo>
                  <a:cubicBezTo>
                    <a:pt x="685136" y="814531"/>
                    <a:pt x="668981" y="823321"/>
                    <a:pt x="667520" y="828435"/>
                  </a:cubicBezTo>
                  <a:cubicBezTo>
                    <a:pt x="664922" y="837593"/>
                    <a:pt x="708394" y="813027"/>
                    <a:pt x="712818" y="811723"/>
                  </a:cubicBezTo>
                  <a:cubicBezTo>
                    <a:pt x="729217" y="807278"/>
                    <a:pt x="696298" y="816269"/>
                    <a:pt x="712737" y="811756"/>
                  </a:cubicBezTo>
                  <a:close/>
                  <a:moveTo>
                    <a:pt x="944545" y="676157"/>
                  </a:moveTo>
                  <a:cubicBezTo>
                    <a:pt x="964150" y="657807"/>
                    <a:pt x="1015618" y="658676"/>
                    <a:pt x="983024" y="674185"/>
                  </a:cubicBezTo>
                  <a:cubicBezTo>
                    <a:pt x="975109" y="677895"/>
                    <a:pt x="920679" y="700122"/>
                    <a:pt x="956600" y="694640"/>
                  </a:cubicBezTo>
                  <a:cubicBezTo>
                    <a:pt x="975840" y="691732"/>
                    <a:pt x="993984" y="676692"/>
                    <a:pt x="1010422" y="668369"/>
                  </a:cubicBezTo>
                  <a:cubicBezTo>
                    <a:pt x="1032905" y="656654"/>
                    <a:pt x="1058448" y="649505"/>
                    <a:pt x="1084945" y="647513"/>
                  </a:cubicBezTo>
                  <a:cubicBezTo>
                    <a:pt x="1103089" y="646477"/>
                    <a:pt x="1130243" y="643335"/>
                    <a:pt x="1144977" y="629397"/>
                  </a:cubicBezTo>
                  <a:cubicBezTo>
                    <a:pt x="1157845" y="617265"/>
                    <a:pt x="1149036" y="616028"/>
                    <a:pt x="1134221" y="616596"/>
                  </a:cubicBezTo>
                  <a:cubicBezTo>
                    <a:pt x="1121760" y="617164"/>
                    <a:pt x="1130162" y="608207"/>
                    <a:pt x="1118554" y="608608"/>
                  </a:cubicBezTo>
                  <a:cubicBezTo>
                    <a:pt x="1101668" y="609209"/>
                    <a:pt x="1083200" y="621008"/>
                    <a:pt x="1067816" y="621977"/>
                  </a:cubicBezTo>
                  <a:cubicBezTo>
                    <a:pt x="1059698" y="622546"/>
                    <a:pt x="1045289" y="617432"/>
                    <a:pt x="1035710" y="624417"/>
                  </a:cubicBezTo>
                  <a:cubicBezTo>
                    <a:pt x="1032341" y="626891"/>
                    <a:pt x="1023939" y="635648"/>
                    <a:pt x="1018378" y="636483"/>
                  </a:cubicBezTo>
                  <a:cubicBezTo>
                    <a:pt x="1012817" y="637319"/>
                    <a:pt x="1013913" y="631770"/>
                    <a:pt x="1008718" y="631536"/>
                  </a:cubicBezTo>
                  <a:cubicBezTo>
                    <a:pt x="987570" y="630534"/>
                    <a:pt x="942922" y="652861"/>
                    <a:pt x="922992" y="663590"/>
                  </a:cubicBezTo>
                  <a:cubicBezTo>
                    <a:pt x="886461" y="683076"/>
                    <a:pt x="929974" y="689727"/>
                    <a:pt x="944545" y="676123"/>
                  </a:cubicBezTo>
                  <a:cubicBezTo>
                    <a:pt x="959117" y="662520"/>
                    <a:pt x="930258" y="689526"/>
                    <a:pt x="944545" y="676157"/>
                  </a:cubicBezTo>
                  <a:close/>
                  <a:moveTo>
                    <a:pt x="991873" y="727261"/>
                  </a:moveTo>
                  <a:cubicBezTo>
                    <a:pt x="999301" y="715229"/>
                    <a:pt x="926158" y="720577"/>
                    <a:pt x="929852" y="732074"/>
                  </a:cubicBezTo>
                  <a:cubicBezTo>
                    <a:pt x="933546" y="743572"/>
                    <a:pt x="984080" y="739829"/>
                    <a:pt x="991873" y="727195"/>
                  </a:cubicBezTo>
                  <a:close/>
                  <a:moveTo>
                    <a:pt x="1129432" y="555097"/>
                  </a:moveTo>
                  <a:cubicBezTo>
                    <a:pt x="1134952" y="542463"/>
                    <a:pt x="1056735" y="567798"/>
                    <a:pt x="1079547" y="566996"/>
                  </a:cubicBezTo>
                  <a:cubicBezTo>
                    <a:pt x="1092657" y="566394"/>
                    <a:pt x="1123749" y="567564"/>
                    <a:pt x="1129432" y="555030"/>
                  </a:cubicBezTo>
                  <a:close/>
                  <a:moveTo>
                    <a:pt x="1058805" y="779770"/>
                  </a:moveTo>
                  <a:cubicBezTo>
                    <a:pt x="1065584" y="769743"/>
                    <a:pt x="1025928" y="773085"/>
                    <a:pt x="1023330" y="786187"/>
                  </a:cubicBezTo>
                  <a:cubicBezTo>
                    <a:pt x="1020732" y="799289"/>
                    <a:pt x="1052108" y="789797"/>
                    <a:pt x="1058805" y="779770"/>
                  </a:cubicBezTo>
                  <a:close/>
                  <a:moveTo>
                    <a:pt x="1195187" y="660615"/>
                  </a:moveTo>
                  <a:cubicBezTo>
                    <a:pt x="1199246" y="671645"/>
                    <a:pt x="1084499" y="683811"/>
                    <a:pt x="1125251" y="692367"/>
                  </a:cubicBezTo>
                  <a:cubicBezTo>
                    <a:pt x="1130284" y="693403"/>
                    <a:pt x="1171889" y="692902"/>
                    <a:pt x="1152121" y="698484"/>
                  </a:cubicBezTo>
                  <a:cubicBezTo>
                    <a:pt x="1139944" y="701826"/>
                    <a:pt x="1094890" y="704567"/>
                    <a:pt x="1088720" y="712722"/>
                  </a:cubicBezTo>
                  <a:cubicBezTo>
                    <a:pt x="1080156" y="723953"/>
                    <a:pt x="1108163" y="718939"/>
                    <a:pt x="1111410" y="723384"/>
                  </a:cubicBezTo>
                  <a:cubicBezTo>
                    <a:pt x="1119000" y="733813"/>
                    <a:pt x="1066761" y="728933"/>
                    <a:pt x="1063636" y="728431"/>
                  </a:cubicBezTo>
                  <a:cubicBezTo>
                    <a:pt x="1049876" y="726192"/>
                    <a:pt x="1019596" y="724588"/>
                    <a:pt x="1003319" y="739695"/>
                  </a:cubicBezTo>
                  <a:cubicBezTo>
                    <a:pt x="991142" y="750859"/>
                    <a:pt x="1020408" y="753934"/>
                    <a:pt x="1030190" y="754201"/>
                  </a:cubicBezTo>
                  <a:cubicBezTo>
                    <a:pt x="1054714" y="754137"/>
                    <a:pt x="1078995" y="750237"/>
                    <a:pt x="1101749" y="742703"/>
                  </a:cubicBezTo>
                  <a:cubicBezTo>
                    <a:pt x="1123993" y="734448"/>
                    <a:pt x="1142989" y="718271"/>
                    <a:pt x="1165394" y="711686"/>
                  </a:cubicBezTo>
                  <a:cubicBezTo>
                    <a:pt x="1179398" y="707542"/>
                    <a:pt x="1164217" y="726961"/>
                    <a:pt x="1165394" y="730637"/>
                  </a:cubicBezTo>
                  <a:cubicBezTo>
                    <a:pt x="1168763" y="743171"/>
                    <a:pt x="1212316" y="719206"/>
                    <a:pt x="1223153" y="713758"/>
                  </a:cubicBezTo>
                  <a:cubicBezTo>
                    <a:pt x="1231880" y="709346"/>
                    <a:pt x="1245518" y="704333"/>
                    <a:pt x="1252013" y="698584"/>
                  </a:cubicBezTo>
                  <a:cubicBezTo>
                    <a:pt x="1257290" y="693905"/>
                    <a:pt x="1254286" y="689894"/>
                    <a:pt x="1257371" y="685215"/>
                  </a:cubicBezTo>
                  <a:cubicBezTo>
                    <a:pt x="1266422" y="671845"/>
                    <a:pt x="1255300" y="681638"/>
                    <a:pt x="1248725" y="673984"/>
                  </a:cubicBezTo>
                  <a:cubicBezTo>
                    <a:pt x="1245884" y="670642"/>
                    <a:pt x="1249821" y="665361"/>
                    <a:pt x="1247101" y="661918"/>
                  </a:cubicBezTo>
                  <a:cubicBezTo>
                    <a:pt x="1243854" y="657774"/>
                    <a:pt x="1235817" y="656036"/>
                    <a:pt x="1227821" y="655234"/>
                  </a:cubicBezTo>
                  <a:cubicBezTo>
                    <a:pt x="1225224" y="654966"/>
                    <a:pt x="1193157" y="654498"/>
                    <a:pt x="1195350" y="660481"/>
                  </a:cubicBezTo>
                  <a:close/>
                  <a:moveTo>
                    <a:pt x="1233341" y="594670"/>
                  </a:moveTo>
                  <a:cubicBezTo>
                    <a:pt x="1253636" y="586281"/>
                    <a:pt x="1280101" y="574616"/>
                    <a:pt x="1294754" y="562283"/>
                  </a:cubicBezTo>
                  <a:cubicBezTo>
                    <a:pt x="1298001" y="559575"/>
                    <a:pt x="1282577" y="558940"/>
                    <a:pt x="1286636" y="552523"/>
                  </a:cubicBezTo>
                  <a:cubicBezTo>
                    <a:pt x="1297352" y="535811"/>
                    <a:pt x="1246046" y="562149"/>
                    <a:pt x="1241013" y="563285"/>
                  </a:cubicBezTo>
                  <a:cubicBezTo>
                    <a:pt x="1230703" y="565458"/>
                    <a:pt x="1168926" y="572009"/>
                    <a:pt x="1169494" y="582203"/>
                  </a:cubicBezTo>
                  <a:cubicBezTo>
                    <a:pt x="1170184" y="593534"/>
                    <a:pt x="1210287" y="604229"/>
                    <a:pt x="1233341" y="594670"/>
                  </a:cubicBezTo>
                  <a:close/>
                  <a:moveTo>
                    <a:pt x="1357140" y="548579"/>
                  </a:moveTo>
                  <a:cubicBezTo>
                    <a:pt x="1351579" y="545504"/>
                    <a:pt x="1241378" y="598013"/>
                    <a:pt x="1262810" y="596876"/>
                  </a:cubicBezTo>
                  <a:cubicBezTo>
                    <a:pt x="1298894" y="594637"/>
                    <a:pt x="1362498" y="551420"/>
                    <a:pt x="1357181" y="548579"/>
                  </a:cubicBezTo>
                  <a:close/>
                  <a:moveTo>
                    <a:pt x="1399232" y="654532"/>
                  </a:moveTo>
                  <a:cubicBezTo>
                    <a:pt x="1435194" y="639023"/>
                    <a:pt x="1380155" y="634478"/>
                    <a:pt x="1367572" y="635246"/>
                  </a:cubicBezTo>
                  <a:cubicBezTo>
                    <a:pt x="1343705" y="636450"/>
                    <a:pt x="1316469" y="655301"/>
                    <a:pt x="1302101" y="668068"/>
                  </a:cubicBezTo>
                  <a:cubicBezTo>
                    <a:pt x="1285865" y="682374"/>
                    <a:pt x="1286555" y="687020"/>
                    <a:pt x="1311923" y="681204"/>
                  </a:cubicBezTo>
                  <a:cubicBezTo>
                    <a:pt x="1339930" y="674853"/>
                    <a:pt x="1372280" y="666197"/>
                    <a:pt x="1399232" y="654465"/>
                  </a:cubicBezTo>
                  <a:close/>
                  <a:moveTo>
                    <a:pt x="1269345" y="826663"/>
                  </a:moveTo>
                  <a:cubicBezTo>
                    <a:pt x="1295322" y="824324"/>
                    <a:pt x="1291831" y="815366"/>
                    <a:pt x="1305875" y="803969"/>
                  </a:cubicBezTo>
                  <a:cubicBezTo>
                    <a:pt x="1314765" y="796816"/>
                    <a:pt x="1328524" y="793942"/>
                    <a:pt x="1336967" y="786555"/>
                  </a:cubicBezTo>
                  <a:cubicBezTo>
                    <a:pt x="1343234" y="781134"/>
                    <a:pt x="1346826" y="773984"/>
                    <a:pt x="1347033" y="766501"/>
                  </a:cubicBezTo>
                  <a:cubicBezTo>
                    <a:pt x="1347439" y="759816"/>
                    <a:pt x="1349956" y="734982"/>
                    <a:pt x="1337373" y="734648"/>
                  </a:cubicBezTo>
                  <a:cubicBezTo>
                    <a:pt x="1306565" y="733879"/>
                    <a:pt x="1331122" y="754702"/>
                    <a:pt x="1328078" y="756039"/>
                  </a:cubicBezTo>
                  <a:cubicBezTo>
                    <a:pt x="1324019" y="757944"/>
                    <a:pt x="1319229" y="751494"/>
                    <a:pt x="1313790" y="752329"/>
                  </a:cubicBezTo>
                  <a:cubicBezTo>
                    <a:pt x="1306647" y="753432"/>
                    <a:pt x="1298894" y="757811"/>
                    <a:pt x="1292115" y="760451"/>
                  </a:cubicBezTo>
                  <a:cubicBezTo>
                    <a:pt x="1276123" y="766735"/>
                    <a:pt x="1267518" y="763225"/>
                    <a:pt x="1280344" y="753766"/>
                  </a:cubicBezTo>
                  <a:cubicBezTo>
                    <a:pt x="1289883" y="746681"/>
                    <a:pt x="1310827" y="734682"/>
                    <a:pt x="1308514" y="727027"/>
                  </a:cubicBezTo>
                  <a:cubicBezTo>
                    <a:pt x="1306444" y="720176"/>
                    <a:pt x="1283673" y="730838"/>
                    <a:pt x="1276651" y="728498"/>
                  </a:cubicBezTo>
                  <a:cubicBezTo>
                    <a:pt x="1271009" y="726626"/>
                    <a:pt x="1280710" y="719775"/>
                    <a:pt x="1265529" y="726225"/>
                  </a:cubicBezTo>
                  <a:cubicBezTo>
                    <a:pt x="1254631" y="730825"/>
                    <a:pt x="1244487" y="736543"/>
                    <a:pt x="1235330" y="743238"/>
                  </a:cubicBezTo>
                  <a:cubicBezTo>
                    <a:pt x="1222788" y="752764"/>
                    <a:pt x="1244828" y="744408"/>
                    <a:pt x="1248035" y="747383"/>
                  </a:cubicBezTo>
                  <a:cubicBezTo>
                    <a:pt x="1253149" y="752062"/>
                    <a:pt x="1204685" y="761989"/>
                    <a:pt x="1197460" y="765398"/>
                  </a:cubicBezTo>
                  <a:cubicBezTo>
                    <a:pt x="1175014" y="775893"/>
                    <a:pt x="1143922" y="807812"/>
                    <a:pt x="1187597" y="790365"/>
                  </a:cubicBezTo>
                  <a:cubicBezTo>
                    <a:pt x="1193726" y="787925"/>
                    <a:pt x="1212965" y="777765"/>
                    <a:pt x="1217593" y="780773"/>
                  </a:cubicBezTo>
                  <a:cubicBezTo>
                    <a:pt x="1224858" y="785586"/>
                    <a:pt x="1208663" y="806074"/>
                    <a:pt x="1194051" y="810085"/>
                  </a:cubicBezTo>
                  <a:cubicBezTo>
                    <a:pt x="1179438" y="814096"/>
                    <a:pt x="1167830" y="810586"/>
                    <a:pt x="1153055" y="816202"/>
                  </a:cubicBezTo>
                  <a:cubicBezTo>
                    <a:pt x="1133572" y="823655"/>
                    <a:pt x="1134140" y="833716"/>
                    <a:pt x="1148428" y="835019"/>
                  </a:cubicBezTo>
                  <a:cubicBezTo>
                    <a:pt x="1167911" y="836791"/>
                    <a:pt x="1191047" y="826764"/>
                    <a:pt x="1212072" y="824992"/>
                  </a:cubicBezTo>
                  <a:cubicBezTo>
                    <a:pt x="1233098" y="823221"/>
                    <a:pt x="1247913" y="828669"/>
                    <a:pt x="1269263" y="826697"/>
                  </a:cubicBezTo>
                  <a:cubicBezTo>
                    <a:pt x="1307661" y="823221"/>
                    <a:pt x="1231393" y="830173"/>
                    <a:pt x="1269507" y="826563"/>
                  </a:cubicBezTo>
                  <a:close/>
                  <a:moveTo>
                    <a:pt x="1443150" y="620273"/>
                  </a:moveTo>
                  <a:cubicBezTo>
                    <a:pt x="1451268" y="624551"/>
                    <a:pt x="1458087" y="624183"/>
                    <a:pt x="1471319" y="618635"/>
                  </a:cubicBezTo>
                  <a:cubicBezTo>
                    <a:pt x="1485566" y="612686"/>
                    <a:pt x="1500219" y="614223"/>
                    <a:pt x="1514831" y="610613"/>
                  </a:cubicBezTo>
                  <a:cubicBezTo>
                    <a:pt x="1536709" y="605232"/>
                    <a:pt x="1542798" y="597678"/>
                    <a:pt x="1554406" y="586481"/>
                  </a:cubicBezTo>
                  <a:cubicBezTo>
                    <a:pt x="1562037" y="579162"/>
                    <a:pt x="1567639" y="584710"/>
                    <a:pt x="1576203" y="584008"/>
                  </a:cubicBezTo>
                  <a:cubicBezTo>
                    <a:pt x="1599299" y="582069"/>
                    <a:pt x="1629376" y="569836"/>
                    <a:pt x="1651984" y="561982"/>
                  </a:cubicBezTo>
                  <a:cubicBezTo>
                    <a:pt x="1678855" y="552590"/>
                    <a:pt x="1719404" y="541426"/>
                    <a:pt x="1737223" y="524481"/>
                  </a:cubicBezTo>
                  <a:cubicBezTo>
                    <a:pt x="1747289" y="514855"/>
                    <a:pt x="1749806" y="517161"/>
                    <a:pt x="1767097" y="513718"/>
                  </a:cubicBezTo>
                  <a:cubicBezTo>
                    <a:pt x="1791451" y="508838"/>
                    <a:pt x="1840848" y="495469"/>
                    <a:pt x="1857003" y="480863"/>
                  </a:cubicBezTo>
                  <a:cubicBezTo>
                    <a:pt x="1864390" y="474178"/>
                    <a:pt x="1877298" y="449679"/>
                    <a:pt x="1858464" y="451383"/>
                  </a:cubicBezTo>
                  <a:cubicBezTo>
                    <a:pt x="1838169" y="453255"/>
                    <a:pt x="1814100" y="460876"/>
                    <a:pt x="1793886" y="466758"/>
                  </a:cubicBezTo>
                  <a:cubicBezTo>
                    <a:pt x="1767259" y="474479"/>
                    <a:pt x="1740713" y="483069"/>
                    <a:pt x="1714817" y="492661"/>
                  </a:cubicBezTo>
                  <a:cubicBezTo>
                    <a:pt x="1691681" y="501251"/>
                    <a:pt x="1676582" y="511111"/>
                    <a:pt x="1655800" y="520804"/>
                  </a:cubicBezTo>
                  <a:cubicBezTo>
                    <a:pt x="1626940" y="534174"/>
                    <a:pt x="1596295" y="538218"/>
                    <a:pt x="1569019" y="553893"/>
                  </a:cubicBezTo>
                  <a:cubicBezTo>
                    <a:pt x="1561185" y="558406"/>
                    <a:pt x="1554934" y="557236"/>
                    <a:pt x="1547709" y="557236"/>
                  </a:cubicBezTo>
                  <a:cubicBezTo>
                    <a:pt x="1530783" y="557236"/>
                    <a:pt x="1516090" y="565959"/>
                    <a:pt x="1499326" y="568633"/>
                  </a:cubicBezTo>
                  <a:cubicBezTo>
                    <a:pt x="1482563" y="571307"/>
                    <a:pt x="1521569" y="545738"/>
                    <a:pt x="1515034" y="544401"/>
                  </a:cubicBezTo>
                  <a:cubicBezTo>
                    <a:pt x="1498555" y="541059"/>
                    <a:pt x="1455043" y="554695"/>
                    <a:pt x="1435803" y="561514"/>
                  </a:cubicBezTo>
                  <a:cubicBezTo>
                    <a:pt x="1420054" y="567029"/>
                    <a:pt x="1406944" y="575151"/>
                    <a:pt x="1390465" y="579262"/>
                  </a:cubicBezTo>
                  <a:cubicBezTo>
                    <a:pt x="1371956" y="583908"/>
                    <a:pt x="1354542" y="584409"/>
                    <a:pt x="1336155" y="588687"/>
                  </a:cubicBezTo>
                  <a:cubicBezTo>
                    <a:pt x="1312776" y="594102"/>
                    <a:pt x="1277584" y="606769"/>
                    <a:pt x="1259928" y="620273"/>
                  </a:cubicBezTo>
                  <a:cubicBezTo>
                    <a:pt x="1236548" y="638021"/>
                    <a:pt x="1349428" y="610947"/>
                    <a:pt x="1364041" y="605098"/>
                  </a:cubicBezTo>
                  <a:cubicBezTo>
                    <a:pt x="1371103" y="602190"/>
                    <a:pt x="1373985" y="596442"/>
                    <a:pt x="1379708" y="594503"/>
                  </a:cubicBezTo>
                  <a:cubicBezTo>
                    <a:pt x="1391885" y="590425"/>
                    <a:pt x="1407106" y="593968"/>
                    <a:pt x="1415955" y="595205"/>
                  </a:cubicBezTo>
                  <a:cubicBezTo>
                    <a:pt x="1424803" y="596442"/>
                    <a:pt x="1436250" y="596408"/>
                    <a:pt x="1435722" y="603227"/>
                  </a:cubicBezTo>
                  <a:cubicBezTo>
                    <a:pt x="1435194" y="610045"/>
                    <a:pt x="1435316" y="615961"/>
                    <a:pt x="1443312" y="620139"/>
                  </a:cubicBezTo>
                  <a:close/>
                  <a:moveTo>
                    <a:pt x="1473430" y="509774"/>
                  </a:moveTo>
                  <a:cubicBezTo>
                    <a:pt x="1442663" y="514052"/>
                    <a:pt x="1416036" y="540390"/>
                    <a:pt x="1446843" y="534240"/>
                  </a:cubicBezTo>
                  <a:cubicBezTo>
                    <a:pt x="1473430" y="529093"/>
                    <a:pt x="1504359" y="505697"/>
                    <a:pt x="1473592" y="509774"/>
                  </a:cubicBezTo>
                  <a:close/>
                  <a:moveTo>
                    <a:pt x="1210530" y="520236"/>
                  </a:moveTo>
                  <a:cubicBezTo>
                    <a:pt x="1227172" y="517495"/>
                    <a:pt x="1229891" y="524848"/>
                    <a:pt x="1244098" y="524113"/>
                  </a:cubicBezTo>
                  <a:cubicBezTo>
                    <a:pt x="1257005" y="523411"/>
                    <a:pt x="1270197" y="517963"/>
                    <a:pt x="1282739" y="512381"/>
                  </a:cubicBezTo>
                  <a:cubicBezTo>
                    <a:pt x="1294023" y="507301"/>
                    <a:pt x="1344841" y="479158"/>
                    <a:pt x="1354705" y="484005"/>
                  </a:cubicBezTo>
                  <a:cubicBezTo>
                    <a:pt x="1373214" y="492962"/>
                    <a:pt x="1246655" y="529193"/>
                    <a:pt x="1330351" y="518230"/>
                  </a:cubicBezTo>
                  <a:cubicBezTo>
                    <a:pt x="1337535" y="517294"/>
                    <a:pt x="1356004" y="513585"/>
                    <a:pt x="1359616" y="516827"/>
                  </a:cubicBezTo>
                  <a:cubicBezTo>
                    <a:pt x="1362295" y="519233"/>
                    <a:pt x="1361849" y="519902"/>
                    <a:pt x="1369966" y="518832"/>
                  </a:cubicBezTo>
                  <a:cubicBezTo>
                    <a:pt x="1390546" y="516158"/>
                    <a:pt x="1419283" y="510075"/>
                    <a:pt x="1439578" y="501118"/>
                  </a:cubicBezTo>
                  <a:cubicBezTo>
                    <a:pt x="1450010" y="496539"/>
                    <a:pt x="1450781" y="490489"/>
                    <a:pt x="1463607" y="485709"/>
                  </a:cubicBezTo>
                  <a:cubicBezTo>
                    <a:pt x="1474566" y="481632"/>
                    <a:pt x="1497459" y="479927"/>
                    <a:pt x="1504197" y="472607"/>
                  </a:cubicBezTo>
                  <a:cubicBezTo>
                    <a:pt x="1509392" y="466858"/>
                    <a:pt x="1508986" y="460976"/>
                    <a:pt x="1510610" y="455595"/>
                  </a:cubicBezTo>
                  <a:cubicBezTo>
                    <a:pt x="1513451" y="446136"/>
                    <a:pt x="1519256" y="450915"/>
                    <a:pt x="1527414" y="445033"/>
                  </a:cubicBezTo>
                  <a:cubicBezTo>
                    <a:pt x="1535573" y="439150"/>
                    <a:pt x="1534355" y="431663"/>
                    <a:pt x="1541905" y="425246"/>
                  </a:cubicBezTo>
                  <a:cubicBezTo>
                    <a:pt x="1552702" y="416121"/>
                    <a:pt x="1571535" y="408701"/>
                    <a:pt x="1585985" y="401448"/>
                  </a:cubicBezTo>
                  <a:cubicBezTo>
                    <a:pt x="1592804" y="398106"/>
                    <a:pt x="1606524" y="391187"/>
                    <a:pt x="1599096" y="388079"/>
                  </a:cubicBezTo>
                  <a:cubicBezTo>
                    <a:pt x="1588705" y="383901"/>
                    <a:pt x="1565853" y="395532"/>
                    <a:pt x="1553919" y="399878"/>
                  </a:cubicBezTo>
                  <a:cubicBezTo>
                    <a:pt x="1544787" y="403220"/>
                    <a:pt x="1520839" y="410372"/>
                    <a:pt x="1522381" y="401849"/>
                  </a:cubicBezTo>
                  <a:cubicBezTo>
                    <a:pt x="1523518" y="395466"/>
                    <a:pt x="1527414" y="392558"/>
                    <a:pt x="1513411" y="393527"/>
                  </a:cubicBezTo>
                  <a:cubicBezTo>
                    <a:pt x="1507160" y="393995"/>
                    <a:pt x="1493847" y="395833"/>
                    <a:pt x="1500868" y="389449"/>
                  </a:cubicBezTo>
                  <a:cubicBezTo>
                    <a:pt x="1508986" y="382029"/>
                    <a:pt x="1491127" y="385104"/>
                    <a:pt x="1484389" y="387277"/>
                  </a:cubicBezTo>
                  <a:cubicBezTo>
                    <a:pt x="1470589" y="391689"/>
                    <a:pt x="1476271" y="393327"/>
                    <a:pt x="1476271" y="398039"/>
                  </a:cubicBezTo>
                  <a:cubicBezTo>
                    <a:pt x="1476271" y="403955"/>
                    <a:pt x="1451268" y="403989"/>
                    <a:pt x="1447858" y="403688"/>
                  </a:cubicBezTo>
                  <a:cubicBezTo>
                    <a:pt x="1438685" y="402886"/>
                    <a:pt x="1436615" y="399476"/>
                    <a:pt x="1425250" y="400914"/>
                  </a:cubicBezTo>
                  <a:cubicBezTo>
                    <a:pt x="1409014" y="402986"/>
                    <a:pt x="1392129" y="407064"/>
                    <a:pt x="1375771" y="410038"/>
                  </a:cubicBezTo>
                  <a:cubicBezTo>
                    <a:pt x="1340174" y="416723"/>
                    <a:pt x="1302709" y="412512"/>
                    <a:pt x="1267153" y="424878"/>
                  </a:cubicBezTo>
                  <a:cubicBezTo>
                    <a:pt x="1261998" y="426683"/>
                    <a:pt x="1242799" y="434036"/>
                    <a:pt x="1243814" y="438248"/>
                  </a:cubicBezTo>
                  <a:cubicBezTo>
                    <a:pt x="1244828" y="442459"/>
                    <a:pt x="1275149" y="428455"/>
                    <a:pt x="1273241" y="435373"/>
                  </a:cubicBezTo>
                  <a:cubicBezTo>
                    <a:pt x="1272145" y="439083"/>
                    <a:pt x="1195471" y="468062"/>
                    <a:pt x="1240079" y="458469"/>
                  </a:cubicBezTo>
                  <a:cubicBezTo>
                    <a:pt x="1282415" y="449411"/>
                    <a:pt x="1203548" y="481197"/>
                    <a:pt x="1200504" y="488818"/>
                  </a:cubicBezTo>
                  <a:cubicBezTo>
                    <a:pt x="1193076" y="506599"/>
                    <a:pt x="1257330" y="483670"/>
                    <a:pt x="1248968" y="492394"/>
                  </a:cubicBezTo>
                  <a:cubicBezTo>
                    <a:pt x="1239876" y="501719"/>
                    <a:pt x="1221773" y="505396"/>
                    <a:pt x="1208379" y="510142"/>
                  </a:cubicBezTo>
                  <a:cubicBezTo>
                    <a:pt x="1186217" y="517896"/>
                    <a:pt x="1193320" y="523211"/>
                    <a:pt x="1211058" y="520169"/>
                  </a:cubicBezTo>
                  <a:cubicBezTo>
                    <a:pt x="1236102" y="516025"/>
                    <a:pt x="1183173" y="524848"/>
                    <a:pt x="1210692" y="520236"/>
                  </a:cubicBezTo>
                  <a:close/>
                  <a:moveTo>
                    <a:pt x="1356166" y="378687"/>
                  </a:moveTo>
                  <a:cubicBezTo>
                    <a:pt x="1370981" y="366788"/>
                    <a:pt x="1391723" y="360170"/>
                    <a:pt x="1371915" y="377116"/>
                  </a:cubicBezTo>
                  <a:cubicBezTo>
                    <a:pt x="1357709" y="389316"/>
                    <a:pt x="1400734" y="370866"/>
                    <a:pt x="1403900" y="370431"/>
                  </a:cubicBezTo>
                  <a:cubicBezTo>
                    <a:pt x="1401667" y="370732"/>
                    <a:pt x="1373335" y="396635"/>
                    <a:pt x="1405442" y="387711"/>
                  </a:cubicBezTo>
                  <a:cubicBezTo>
                    <a:pt x="1418471" y="384135"/>
                    <a:pt x="1420663" y="384068"/>
                    <a:pt x="1429268" y="386174"/>
                  </a:cubicBezTo>
                  <a:cubicBezTo>
                    <a:pt x="1437873" y="388280"/>
                    <a:pt x="1455205" y="381996"/>
                    <a:pt x="1464825" y="378821"/>
                  </a:cubicBezTo>
                  <a:cubicBezTo>
                    <a:pt x="1471644" y="376514"/>
                    <a:pt x="1533462" y="347202"/>
                    <a:pt x="1527779" y="346266"/>
                  </a:cubicBezTo>
                  <a:cubicBezTo>
                    <a:pt x="1534558" y="347403"/>
                    <a:pt x="1527090" y="356293"/>
                    <a:pt x="1532245" y="357797"/>
                  </a:cubicBezTo>
                  <a:cubicBezTo>
                    <a:pt x="1537399" y="359301"/>
                    <a:pt x="1553270" y="354622"/>
                    <a:pt x="1560089" y="352784"/>
                  </a:cubicBezTo>
                  <a:cubicBezTo>
                    <a:pt x="1581277" y="347102"/>
                    <a:pt x="1609284" y="339414"/>
                    <a:pt x="1627671" y="329020"/>
                  </a:cubicBezTo>
                  <a:cubicBezTo>
                    <a:pt x="1636154" y="324207"/>
                    <a:pt x="1631730" y="319594"/>
                    <a:pt x="1643907" y="315650"/>
                  </a:cubicBezTo>
                  <a:cubicBezTo>
                    <a:pt x="1657748" y="310937"/>
                    <a:pt x="1670858" y="309667"/>
                    <a:pt x="1684497" y="304152"/>
                  </a:cubicBezTo>
                  <a:cubicBezTo>
                    <a:pt x="1709106" y="294329"/>
                    <a:pt x="1732689" y="282848"/>
                    <a:pt x="1755001" y="269826"/>
                  </a:cubicBezTo>
                  <a:cubicBezTo>
                    <a:pt x="1765798" y="263442"/>
                    <a:pt x="1778502" y="243422"/>
                    <a:pt x="1787473" y="252413"/>
                  </a:cubicBezTo>
                  <a:cubicBezTo>
                    <a:pt x="1800705" y="265481"/>
                    <a:pt x="1740713" y="289178"/>
                    <a:pt x="1720378" y="297534"/>
                  </a:cubicBezTo>
                  <a:cubicBezTo>
                    <a:pt x="1707268" y="302815"/>
                    <a:pt x="1639198" y="327148"/>
                    <a:pt x="1676257" y="326646"/>
                  </a:cubicBezTo>
                  <a:cubicBezTo>
                    <a:pt x="1682467" y="326479"/>
                    <a:pt x="1747086" y="322669"/>
                    <a:pt x="1726142" y="329488"/>
                  </a:cubicBezTo>
                  <a:cubicBezTo>
                    <a:pt x="1692858" y="340317"/>
                    <a:pt x="1670128" y="334568"/>
                    <a:pt x="1640213" y="338345"/>
                  </a:cubicBezTo>
                  <a:cubicBezTo>
                    <a:pt x="1609162" y="342289"/>
                    <a:pt x="1575270" y="354421"/>
                    <a:pt x="1545558" y="366253"/>
                  </a:cubicBezTo>
                  <a:cubicBezTo>
                    <a:pt x="1520555" y="376281"/>
                    <a:pt x="1533381" y="393159"/>
                    <a:pt x="1552052" y="392290"/>
                  </a:cubicBezTo>
                  <a:cubicBezTo>
                    <a:pt x="1562321" y="391822"/>
                    <a:pt x="1576406" y="385071"/>
                    <a:pt x="1587649" y="383266"/>
                  </a:cubicBezTo>
                  <a:cubicBezTo>
                    <a:pt x="1603532" y="380796"/>
                    <a:pt x="1619914" y="381635"/>
                    <a:pt x="1635302" y="385706"/>
                  </a:cubicBezTo>
                  <a:cubicBezTo>
                    <a:pt x="1646667" y="388614"/>
                    <a:pt x="1661685" y="387444"/>
                    <a:pt x="1677109" y="384570"/>
                  </a:cubicBezTo>
                  <a:cubicBezTo>
                    <a:pt x="1685755" y="382932"/>
                    <a:pt x="1705116" y="376882"/>
                    <a:pt x="1711489" y="379289"/>
                  </a:cubicBezTo>
                  <a:cubicBezTo>
                    <a:pt x="1723057" y="383567"/>
                    <a:pt x="1658276" y="396000"/>
                    <a:pt x="1653811" y="396869"/>
                  </a:cubicBezTo>
                  <a:cubicBezTo>
                    <a:pt x="1620487" y="403554"/>
                    <a:pt x="1591790" y="410974"/>
                    <a:pt x="1563458" y="428054"/>
                  </a:cubicBezTo>
                  <a:cubicBezTo>
                    <a:pt x="1551687" y="435106"/>
                    <a:pt x="1515034" y="464820"/>
                    <a:pt x="1549049" y="459071"/>
                  </a:cubicBezTo>
                  <a:cubicBezTo>
                    <a:pt x="1563011" y="456798"/>
                    <a:pt x="1578273" y="449812"/>
                    <a:pt x="1590328" y="443662"/>
                  </a:cubicBezTo>
                  <a:cubicBezTo>
                    <a:pt x="1602383" y="437512"/>
                    <a:pt x="1620446" y="421035"/>
                    <a:pt x="1632745" y="417458"/>
                  </a:cubicBezTo>
                  <a:cubicBezTo>
                    <a:pt x="1633435" y="417224"/>
                    <a:pt x="1609162" y="443362"/>
                    <a:pt x="1618741" y="444197"/>
                  </a:cubicBezTo>
                  <a:cubicBezTo>
                    <a:pt x="1626859" y="444999"/>
                    <a:pt x="1679626" y="437011"/>
                    <a:pt x="1665176" y="449946"/>
                  </a:cubicBezTo>
                  <a:cubicBezTo>
                    <a:pt x="1646424" y="466658"/>
                    <a:pt x="1623693" y="458369"/>
                    <a:pt x="1610420" y="455962"/>
                  </a:cubicBezTo>
                  <a:cubicBezTo>
                    <a:pt x="1594185" y="452921"/>
                    <a:pt x="1531067" y="468162"/>
                    <a:pt x="1530499" y="483370"/>
                  </a:cubicBezTo>
                  <a:cubicBezTo>
                    <a:pt x="1530012" y="495569"/>
                    <a:pt x="1585214" y="474412"/>
                    <a:pt x="1578152" y="485141"/>
                  </a:cubicBezTo>
                  <a:cubicBezTo>
                    <a:pt x="1573727" y="491826"/>
                    <a:pt x="1552702" y="497875"/>
                    <a:pt x="1543001" y="502455"/>
                  </a:cubicBezTo>
                  <a:cubicBezTo>
                    <a:pt x="1528210" y="508955"/>
                    <a:pt x="1514348" y="516803"/>
                    <a:pt x="1501680" y="525851"/>
                  </a:cubicBezTo>
                  <a:cubicBezTo>
                    <a:pt x="1478828" y="543432"/>
                    <a:pt x="1518403" y="534274"/>
                    <a:pt x="1533178" y="529193"/>
                  </a:cubicBezTo>
                  <a:cubicBezTo>
                    <a:pt x="1556639" y="521005"/>
                    <a:pt x="1587812" y="503992"/>
                    <a:pt x="1611963" y="500616"/>
                  </a:cubicBezTo>
                  <a:cubicBezTo>
                    <a:pt x="1641309" y="496472"/>
                    <a:pt x="1658681" y="493430"/>
                    <a:pt x="1679098" y="476585"/>
                  </a:cubicBezTo>
                  <a:cubicBezTo>
                    <a:pt x="1689164" y="468296"/>
                    <a:pt x="1710271" y="462680"/>
                    <a:pt x="1724153" y="458135"/>
                  </a:cubicBezTo>
                  <a:cubicBezTo>
                    <a:pt x="1742905" y="451951"/>
                    <a:pt x="1764053" y="442860"/>
                    <a:pt x="1783251" y="441022"/>
                  </a:cubicBezTo>
                  <a:cubicBezTo>
                    <a:pt x="1797945" y="439618"/>
                    <a:pt x="1807605" y="442392"/>
                    <a:pt x="1823841" y="436577"/>
                  </a:cubicBezTo>
                  <a:cubicBezTo>
                    <a:pt x="1842431" y="429892"/>
                    <a:pt x="1851239" y="420868"/>
                    <a:pt x="1864674" y="411810"/>
                  </a:cubicBezTo>
                  <a:cubicBezTo>
                    <a:pt x="1875553" y="404490"/>
                    <a:pt x="1892519" y="402652"/>
                    <a:pt x="1903072" y="395332"/>
                  </a:cubicBezTo>
                  <a:cubicBezTo>
                    <a:pt x="1913626" y="388012"/>
                    <a:pt x="1902261" y="379021"/>
                    <a:pt x="1888582" y="382698"/>
                  </a:cubicBezTo>
                  <a:cubicBezTo>
                    <a:pt x="1877663" y="385639"/>
                    <a:pt x="1871534" y="392457"/>
                    <a:pt x="1861630" y="396067"/>
                  </a:cubicBezTo>
                  <a:cubicBezTo>
                    <a:pt x="1857206" y="397705"/>
                    <a:pt x="1847749" y="393761"/>
                    <a:pt x="1841132" y="394697"/>
                  </a:cubicBezTo>
                  <a:cubicBezTo>
                    <a:pt x="1825830" y="396836"/>
                    <a:pt x="1757802" y="426817"/>
                    <a:pt x="1753905" y="419865"/>
                  </a:cubicBezTo>
                  <a:cubicBezTo>
                    <a:pt x="1747817" y="408969"/>
                    <a:pt x="1807768" y="397070"/>
                    <a:pt x="1818078" y="393527"/>
                  </a:cubicBezTo>
                  <a:cubicBezTo>
                    <a:pt x="1836708" y="386842"/>
                    <a:pt x="1861062" y="378018"/>
                    <a:pt x="1876040" y="368292"/>
                  </a:cubicBezTo>
                  <a:cubicBezTo>
                    <a:pt x="1889028" y="359869"/>
                    <a:pt x="1869018" y="359903"/>
                    <a:pt x="1866664" y="355157"/>
                  </a:cubicBezTo>
                  <a:cubicBezTo>
                    <a:pt x="1863497" y="348706"/>
                    <a:pt x="1932094" y="331760"/>
                    <a:pt x="1941755" y="326780"/>
                  </a:cubicBezTo>
                  <a:cubicBezTo>
                    <a:pt x="1965094" y="314413"/>
                    <a:pt x="1989366" y="290014"/>
                    <a:pt x="1985023" y="276645"/>
                  </a:cubicBezTo>
                  <a:cubicBezTo>
                    <a:pt x="1981330" y="265348"/>
                    <a:pt x="1934530" y="281859"/>
                    <a:pt x="1920526" y="286505"/>
                  </a:cubicBezTo>
                  <a:cubicBezTo>
                    <a:pt x="1905102" y="291552"/>
                    <a:pt x="1853999" y="308898"/>
                    <a:pt x="1893737" y="289112"/>
                  </a:cubicBezTo>
                  <a:cubicBezTo>
                    <a:pt x="1911868" y="280244"/>
                    <a:pt x="1930881" y="272651"/>
                    <a:pt x="1950563" y="266417"/>
                  </a:cubicBezTo>
                  <a:cubicBezTo>
                    <a:pt x="1964688" y="261838"/>
                    <a:pt x="1984455" y="257593"/>
                    <a:pt x="1995739" y="249939"/>
                  </a:cubicBezTo>
                  <a:cubicBezTo>
                    <a:pt x="2007023" y="242285"/>
                    <a:pt x="1987174" y="235935"/>
                    <a:pt x="2008444" y="229885"/>
                  </a:cubicBezTo>
                  <a:cubicBezTo>
                    <a:pt x="2029713" y="223836"/>
                    <a:pt x="2085564" y="218588"/>
                    <a:pt x="2084184" y="200907"/>
                  </a:cubicBezTo>
                  <a:cubicBezTo>
                    <a:pt x="2083575" y="192685"/>
                    <a:pt x="2109228" y="183961"/>
                    <a:pt x="2121811" y="176341"/>
                  </a:cubicBezTo>
                  <a:cubicBezTo>
                    <a:pt x="2152253" y="157857"/>
                    <a:pt x="2180382" y="138238"/>
                    <a:pt x="2212894" y="120757"/>
                  </a:cubicBezTo>
                  <a:cubicBezTo>
                    <a:pt x="2238060" y="107187"/>
                    <a:pt x="2279055" y="94988"/>
                    <a:pt x="2299919" y="80147"/>
                  </a:cubicBezTo>
                  <a:cubicBezTo>
                    <a:pt x="2317859" y="67380"/>
                    <a:pt x="2279624" y="76805"/>
                    <a:pt x="2271506" y="79145"/>
                  </a:cubicBezTo>
                  <a:cubicBezTo>
                    <a:pt x="2247801" y="86097"/>
                    <a:pt x="2222433" y="97060"/>
                    <a:pt x="2198120" y="101906"/>
                  </a:cubicBezTo>
                  <a:cubicBezTo>
                    <a:pt x="2182614" y="104948"/>
                    <a:pt x="2224543" y="86732"/>
                    <a:pt x="2228115" y="85362"/>
                  </a:cubicBezTo>
                  <a:cubicBezTo>
                    <a:pt x="2249953" y="76872"/>
                    <a:pt x="2269842" y="72594"/>
                    <a:pt x="2292004" y="66110"/>
                  </a:cubicBezTo>
                  <a:cubicBezTo>
                    <a:pt x="2321066" y="57620"/>
                    <a:pt x="2347733" y="42713"/>
                    <a:pt x="2371438" y="30346"/>
                  </a:cubicBezTo>
                  <a:cubicBezTo>
                    <a:pt x="2375010" y="28374"/>
                    <a:pt x="2438654" y="-5216"/>
                    <a:pt x="2407238" y="265"/>
                  </a:cubicBezTo>
                  <a:cubicBezTo>
                    <a:pt x="2382437" y="4610"/>
                    <a:pt x="2352604" y="20787"/>
                    <a:pt x="2329833" y="15406"/>
                  </a:cubicBezTo>
                  <a:cubicBezTo>
                    <a:pt x="2321269" y="13401"/>
                    <a:pt x="2326586" y="7117"/>
                    <a:pt x="2311527" y="10860"/>
                  </a:cubicBezTo>
                  <a:cubicBezTo>
                    <a:pt x="2306778" y="11997"/>
                    <a:pt x="2283114" y="20887"/>
                    <a:pt x="2280557" y="18147"/>
                  </a:cubicBezTo>
                  <a:cubicBezTo>
                    <a:pt x="2273779" y="10359"/>
                    <a:pt x="2199905" y="46657"/>
                    <a:pt x="2192193" y="50200"/>
                  </a:cubicBezTo>
                  <a:cubicBezTo>
                    <a:pt x="2164105" y="62634"/>
                    <a:pt x="2211149" y="29812"/>
                    <a:pt x="2212245" y="31182"/>
                  </a:cubicBezTo>
                  <a:cubicBezTo>
                    <a:pt x="2210743" y="29243"/>
                    <a:pt x="2110770" y="57486"/>
                    <a:pt x="2100663" y="59826"/>
                  </a:cubicBezTo>
                  <a:cubicBezTo>
                    <a:pt x="2076878" y="64973"/>
                    <a:pt x="2067583" y="64037"/>
                    <a:pt x="2046233" y="76103"/>
                  </a:cubicBezTo>
                  <a:cubicBezTo>
                    <a:pt x="2024882" y="88169"/>
                    <a:pt x="2003857" y="82186"/>
                    <a:pt x="1978488" y="92548"/>
                  </a:cubicBezTo>
                  <a:cubicBezTo>
                    <a:pt x="1970655" y="95723"/>
                    <a:pt x="1959979" y="100670"/>
                    <a:pt x="1956813" y="105516"/>
                  </a:cubicBezTo>
                  <a:cubicBezTo>
                    <a:pt x="1953647" y="110362"/>
                    <a:pt x="1968016" y="113371"/>
                    <a:pt x="1949142" y="115877"/>
                  </a:cubicBezTo>
                  <a:cubicBezTo>
                    <a:pt x="1933596" y="117916"/>
                    <a:pt x="1923733" y="115242"/>
                    <a:pt x="1907131" y="120256"/>
                  </a:cubicBezTo>
                  <a:cubicBezTo>
                    <a:pt x="1887648" y="126172"/>
                    <a:pt x="1869789" y="134728"/>
                    <a:pt x="1850306" y="140811"/>
                  </a:cubicBezTo>
                  <a:cubicBezTo>
                    <a:pt x="1839631" y="144154"/>
                    <a:pt x="1827332" y="146293"/>
                    <a:pt x="1819823" y="152576"/>
                  </a:cubicBezTo>
                  <a:cubicBezTo>
                    <a:pt x="1814343" y="157155"/>
                    <a:pt x="1812233" y="161333"/>
                    <a:pt x="1802247" y="164107"/>
                  </a:cubicBezTo>
                  <a:cubicBezTo>
                    <a:pt x="1798838" y="164943"/>
                    <a:pt x="1712098" y="182758"/>
                    <a:pt x="1718957" y="187504"/>
                  </a:cubicBezTo>
                  <a:cubicBezTo>
                    <a:pt x="1720540" y="188574"/>
                    <a:pt x="1728983" y="185833"/>
                    <a:pt x="1725289" y="189610"/>
                  </a:cubicBezTo>
                  <a:cubicBezTo>
                    <a:pt x="1719282" y="195793"/>
                    <a:pt x="1705441" y="197397"/>
                    <a:pt x="1696268" y="200205"/>
                  </a:cubicBezTo>
                  <a:cubicBezTo>
                    <a:pt x="1671224" y="207859"/>
                    <a:pt x="1692209" y="209463"/>
                    <a:pt x="1686932" y="215379"/>
                  </a:cubicBezTo>
                  <a:cubicBezTo>
                    <a:pt x="1678327" y="224738"/>
                    <a:pt x="1636154" y="227278"/>
                    <a:pt x="1630675" y="237974"/>
                  </a:cubicBezTo>
                  <a:cubicBezTo>
                    <a:pt x="1625966" y="247232"/>
                    <a:pt x="1624180" y="255287"/>
                    <a:pt x="1600273" y="258663"/>
                  </a:cubicBezTo>
                  <a:cubicBezTo>
                    <a:pt x="1583428" y="261036"/>
                    <a:pt x="1571048" y="261069"/>
                    <a:pt x="1553108" y="265983"/>
                  </a:cubicBezTo>
                  <a:cubicBezTo>
                    <a:pt x="1549049" y="267052"/>
                    <a:pt x="1523152" y="274004"/>
                    <a:pt x="1524005" y="277647"/>
                  </a:cubicBezTo>
                  <a:cubicBezTo>
                    <a:pt x="1524857" y="281291"/>
                    <a:pt x="1539510" y="277447"/>
                    <a:pt x="1523477" y="284867"/>
                  </a:cubicBezTo>
                  <a:cubicBezTo>
                    <a:pt x="1514831" y="288911"/>
                    <a:pt x="1503791" y="292554"/>
                    <a:pt x="1496282" y="297434"/>
                  </a:cubicBezTo>
                  <a:cubicBezTo>
                    <a:pt x="1489382" y="301880"/>
                    <a:pt x="1507566" y="298771"/>
                    <a:pt x="1505009" y="303417"/>
                  </a:cubicBezTo>
                  <a:cubicBezTo>
                    <a:pt x="1496526" y="318825"/>
                    <a:pt x="1464419" y="315951"/>
                    <a:pt x="1447574" y="321232"/>
                  </a:cubicBezTo>
                  <a:cubicBezTo>
                    <a:pt x="1425209" y="328217"/>
                    <a:pt x="1419973" y="337008"/>
                    <a:pt x="1411044" y="348505"/>
                  </a:cubicBezTo>
                  <a:cubicBezTo>
                    <a:pt x="1406091" y="354889"/>
                    <a:pt x="1386690" y="355792"/>
                    <a:pt x="1375690" y="360337"/>
                  </a:cubicBezTo>
                  <a:cubicBezTo>
                    <a:pt x="1359454" y="367022"/>
                    <a:pt x="1325074" y="382263"/>
                    <a:pt x="1317768" y="392792"/>
                  </a:cubicBezTo>
                  <a:cubicBezTo>
                    <a:pt x="1312126" y="400847"/>
                    <a:pt x="1352229" y="381327"/>
                    <a:pt x="1356044" y="378319"/>
                  </a:cubicBezTo>
                  <a:close/>
                  <a:moveTo>
                    <a:pt x="2051915" y="839264"/>
                  </a:moveTo>
                  <a:cubicBezTo>
                    <a:pt x="2061575" y="835153"/>
                    <a:pt x="2072941" y="810854"/>
                    <a:pt x="2047450" y="820313"/>
                  </a:cubicBezTo>
                  <a:cubicBezTo>
                    <a:pt x="2021960" y="829772"/>
                    <a:pt x="2037019" y="845648"/>
                    <a:pt x="2051915" y="839264"/>
                  </a:cubicBezTo>
                  <a:close/>
                  <a:moveTo>
                    <a:pt x="1918294" y="867741"/>
                  </a:moveTo>
                  <a:cubicBezTo>
                    <a:pt x="1944718" y="866538"/>
                    <a:pt x="1969274" y="835721"/>
                    <a:pt x="1963592" y="830975"/>
                  </a:cubicBezTo>
                  <a:cubicBezTo>
                    <a:pt x="1957909" y="826229"/>
                    <a:pt x="1886228" y="869178"/>
                    <a:pt x="1918294" y="867741"/>
                  </a:cubicBezTo>
                  <a:close/>
                  <a:moveTo>
                    <a:pt x="2001827" y="793307"/>
                  </a:moveTo>
                  <a:cubicBezTo>
                    <a:pt x="2001056" y="784249"/>
                    <a:pt x="1957179" y="798454"/>
                    <a:pt x="1949061" y="792872"/>
                  </a:cubicBezTo>
                  <a:cubicBezTo>
                    <a:pt x="1935626" y="783313"/>
                    <a:pt x="1904412" y="792137"/>
                    <a:pt x="1879530" y="795212"/>
                  </a:cubicBezTo>
                  <a:cubicBezTo>
                    <a:pt x="1865527" y="796950"/>
                    <a:pt x="1845841" y="801228"/>
                    <a:pt x="1833867" y="799390"/>
                  </a:cubicBezTo>
                  <a:cubicBezTo>
                    <a:pt x="1824450" y="797952"/>
                    <a:pt x="1825384" y="788895"/>
                    <a:pt x="1810244" y="798053"/>
                  </a:cubicBezTo>
                  <a:cubicBezTo>
                    <a:pt x="1795104" y="807211"/>
                    <a:pt x="1797011" y="814764"/>
                    <a:pt x="1797620" y="823588"/>
                  </a:cubicBezTo>
                  <a:cubicBezTo>
                    <a:pt x="1798229" y="831777"/>
                    <a:pt x="1790558" y="837760"/>
                    <a:pt x="1799569" y="843642"/>
                  </a:cubicBezTo>
                  <a:cubicBezTo>
                    <a:pt x="1806997" y="848656"/>
                    <a:pt x="1798310" y="856745"/>
                    <a:pt x="1790477" y="863697"/>
                  </a:cubicBezTo>
                  <a:cubicBezTo>
                    <a:pt x="1786174" y="867473"/>
                    <a:pt x="1775783" y="881043"/>
                    <a:pt x="1793561" y="873924"/>
                  </a:cubicBezTo>
                  <a:cubicBezTo>
                    <a:pt x="1800786" y="870983"/>
                    <a:pt x="1827779" y="852366"/>
                    <a:pt x="1832162" y="859385"/>
                  </a:cubicBezTo>
                  <a:cubicBezTo>
                    <a:pt x="1835653" y="864967"/>
                    <a:pt x="1836789" y="870114"/>
                    <a:pt x="1852457" y="863095"/>
                  </a:cubicBezTo>
                  <a:cubicBezTo>
                    <a:pt x="1866594" y="856524"/>
                    <a:pt x="1879011" y="847707"/>
                    <a:pt x="1888988" y="837158"/>
                  </a:cubicBezTo>
                  <a:cubicBezTo>
                    <a:pt x="1897106" y="828702"/>
                    <a:pt x="1898973" y="821015"/>
                    <a:pt x="1917401" y="817104"/>
                  </a:cubicBezTo>
                  <a:cubicBezTo>
                    <a:pt x="1929984" y="814430"/>
                    <a:pt x="2003289" y="810419"/>
                    <a:pt x="2001868" y="793106"/>
                  </a:cubicBezTo>
                  <a:close/>
                  <a:moveTo>
                    <a:pt x="2451724" y="581301"/>
                  </a:moveTo>
                  <a:cubicBezTo>
                    <a:pt x="2476484" y="575385"/>
                    <a:pt x="2501609" y="592197"/>
                    <a:pt x="2526166" y="591328"/>
                  </a:cubicBezTo>
                  <a:cubicBezTo>
                    <a:pt x="2536800" y="590927"/>
                    <a:pt x="2541834" y="587150"/>
                    <a:pt x="2543173" y="581735"/>
                  </a:cubicBezTo>
                  <a:cubicBezTo>
                    <a:pt x="2545243" y="573078"/>
                    <a:pt x="2548287" y="570806"/>
                    <a:pt x="2564077" y="565625"/>
                  </a:cubicBezTo>
                  <a:cubicBezTo>
                    <a:pt x="2578892" y="560745"/>
                    <a:pt x="2571383" y="558272"/>
                    <a:pt x="2575077" y="551621"/>
                  </a:cubicBezTo>
                  <a:cubicBezTo>
                    <a:pt x="2579663" y="543432"/>
                    <a:pt x="2592124" y="534909"/>
                    <a:pt x="2603774" y="528425"/>
                  </a:cubicBezTo>
                  <a:cubicBezTo>
                    <a:pt x="2637788" y="509173"/>
                    <a:pt x="2560627" y="526453"/>
                    <a:pt x="2551007" y="527255"/>
                  </a:cubicBezTo>
                  <a:cubicBezTo>
                    <a:pt x="2540535" y="528024"/>
                    <a:pt x="2534446" y="524447"/>
                    <a:pt x="2532539" y="519701"/>
                  </a:cubicBezTo>
                  <a:cubicBezTo>
                    <a:pt x="2530956" y="515690"/>
                    <a:pt x="2513867" y="516125"/>
                    <a:pt x="2507373" y="516125"/>
                  </a:cubicBezTo>
                  <a:cubicBezTo>
                    <a:pt x="2479528" y="516125"/>
                    <a:pt x="2453307" y="524380"/>
                    <a:pt x="2424692" y="525550"/>
                  </a:cubicBezTo>
                  <a:cubicBezTo>
                    <a:pt x="2403057" y="526386"/>
                    <a:pt x="2351955" y="540758"/>
                    <a:pt x="2349844" y="523244"/>
                  </a:cubicBezTo>
                  <a:cubicBezTo>
                    <a:pt x="2349032" y="516760"/>
                    <a:pt x="2407400" y="505496"/>
                    <a:pt x="2392747" y="501853"/>
                  </a:cubicBezTo>
                  <a:cubicBezTo>
                    <a:pt x="2390515" y="501251"/>
                    <a:pt x="2334217" y="512983"/>
                    <a:pt x="2353132" y="501853"/>
                  </a:cubicBezTo>
                  <a:cubicBezTo>
                    <a:pt x="2362102" y="496539"/>
                    <a:pt x="2377486" y="491024"/>
                    <a:pt x="2362995" y="487481"/>
                  </a:cubicBezTo>
                  <a:cubicBezTo>
                    <a:pt x="2349479" y="484138"/>
                    <a:pt x="2339412" y="484439"/>
                    <a:pt x="2329833" y="493831"/>
                  </a:cubicBezTo>
                  <a:cubicBezTo>
                    <a:pt x="2318468" y="505028"/>
                    <a:pt x="2315911" y="494332"/>
                    <a:pt x="2319523" y="488450"/>
                  </a:cubicBezTo>
                  <a:cubicBezTo>
                    <a:pt x="2324273" y="480696"/>
                    <a:pt x="2320822" y="479760"/>
                    <a:pt x="2306251" y="481498"/>
                  </a:cubicBezTo>
                  <a:cubicBezTo>
                    <a:pt x="2292353" y="482838"/>
                    <a:pt x="2278865" y="486237"/>
                    <a:pt x="2266432" y="491525"/>
                  </a:cubicBezTo>
                  <a:cubicBezTo>
                    <a:pt x="2244473" y="502321"/>
                    <a:pt x="2248694" y="491859"/>
                    <a:pt x="2237086" y="489820"/>
                  </a:cubicBezTo>
                  <a:cubicBezTo>
                    <a:pt x="2221864" y="487147"/>
                    <a:pt x="2186876" y="521573"/>
                    <a:pt x="2177703" y="511746"/>
                  </a:cubicBezTo>
                  <a:cubicBezTo>
                    <a:pt x="2175957" y="509875"/>
                    <a:pt x="2203153" y="496940"/>
                    <a:pt x="2206116" y="492361"/>
                  </a:cubicBezTo>
                  <a:cubicBezTo>
                    <a:pt x="2212935" y="482334"/>
                    <a:pt x="2193939" y="484038"/>
                    <a:pt x="2181762" y="487381"/>
                  </a:cubicBezTo>
                  <a:cubicBezTo>
                    <a:pt x="2157408" y="494065"/>
                    <a:pt x="2155825" y="509707"/>
                    <a:pt x="2131146" y="507134"/>
                  </a:cubicBezTo>
                  <a:cubicBezTo>
                    <a:pt x="2123028" y="506265"/>
                    <a:pt x="2110852" y="504393"/>
                    <a:pt x="2108457" y="499680"/>
                  </a:cubicBezTo>
                  <a:cubicBezTo>
                    <a:pt x="2106508" y="495536"/>
                    <a:pt x="2086132" y="502354"/>
                    <a:pt x="2080531" y="503691"/>
                  </a:cubicBezTo>
                  <a:cubicBezTo>
                    <a:pt x="2056177" y="509574"/>
                    <a:pt x="2064782" y="495135"/>
                    <a:pt x="2040834" y="498076"/>
                  </a:cubicBezTo>
                  <a:cubicBezTo>
                    <a:pt x="2016886" y="501017"/>
                    <a:pt x="1979949" y="509473"/>
                    <a:pt x="1960954" y="522609"/>
                  </a:cubicBezTo>
                  <a:cubicBezTo>
                    <a:pt x="1955636" y="526219"/>
                    <a:pt x="1950278" y="530865"/>
                    <a:pt x="1949954" y="534842"/>
                  </a:cubicBezTo>
                  <a:cubicBezTo>
                    <a:pt x="1949954" y="537014"/>
                    <a:pt x="1954784" y="539622"/>
                    <a:pt x="1950644" y="542362"/>
                  </a:cubicBezTo>
                  <a:cubicBezTo>
                    <a:pt x="1940090" y="549348"/>
                    <a:pt x="1931932" y="541259"/>
                    <a:pt x="1926290" y="540490"/>
                  </a:cubicBezTo>
                  <a:cubicBezTo>
                    <a:pt x="1910825" y="538352"/>
                    <a:pt x="1888257" y="570171"/>
                    <a:pt x="1874538" y="569101"/>
                  </a:cubicBezTo>
                  <a:cubicBezTo>
                    <a:pt x="1860819" y="568032"/>
                    <a:pt x="1874538" y="544100"/>
                    <a:pt x="1860453" y="539922"/>
                  </a:cubicBezTo>
                  <a:cubicBezTo>
                    <a:pt x="1837642" y="533238"/>
                    <a:pt x="1821771" y="523211"/>
                    <a:pt x="1787067" y="539922"/>
                  </a:cubicBezTo>
                  <a:cubicBezTo>
                    <a:pt x="1775499" y="545471"/>
                    <a:pt x="1770831" y="550651"/>
                    <a:pt x="1762307" y="557069"/>
                  </a:cubicBezTo>
                  <a:cubicBezTo>
                    <a:pt x="1752485" y="564522"/>
                    <a:pt x="1736817" y="570204"/>
                    <a:pt x="1724802" y="576454"/>
                  </a:cubicBezTo>
                  <a:cubicBezTo>
                    <a:pt x="1711083" y="583574"/>
                    <a:pt x="1694157" y="594603"/>
                    <a:pt x="1696024" y="603427"/>
                  </a:cubicBezTo>
                  <a:cubicBezTo>
                    <a:pt x="1698094" y="612886"/>
                    <a:pt x="1720378" y="607237"/>
                    <a:pt x="1725127" y="612752"/>
                  </a:cubicBezTo>
                  <a:cubicBezTo>
                    <a:pt x="1730282" y="619069"/>
                    <a:pt x="1685592" y="639825"/>
                    <a:pt x="1727603" y="631804"/>
                  </a:cubicBezTo>
                  <a:cubicBezTo>
                    <a:pt x="1762672" y="625119"/>
                    <a:pt x="1760075" y="639224"/>
                    <a:pt x="1724478" y="642900"/>
                  </a:cubicBezTo>
                  <a:cubicBezTo>
                    <a:pt x="1688880" y="646577"/>
                    <a:pt x="1689246" y="632873"/>
                    <a:pt x="1670331" y="623682"/>
                  </a:cubicBezTo>
                  <a:cubicBezTo>
                    <a:pt x="1660467" y="618869"/>
                    <a:pt x="1674390" y="604029"/>
                    <a:pt x="1680844" y="596274"/>
                  </a:cubicBezTo>
                  <a:cubicBezTo>
                    <a:pt x="1685999" y="590125"/>
                    <a:pt x="1710637" y="575251"/>
                    <a:pt x="1707755" y="569903"/>
                  </a:cubicBezTo>
                  <a:cubicBezTo>
                    <a:pt x="1704873" y="564555"/>
                    <a:pt x="1663593" y="582872"/>
                    <a:pt x="1658519" y="585211"/>
                  </a:cubicBezTo>
                  <a:cubicBezTo>
                    <a:pt x="1625804" y="600118"/>
                    <a:pt x="1594956" y="619571"/>
                    <a:pt x="1578070" y="640293"/>
                  </a:cubicBezTo>
                  <a:cubicBezTo>
                    <a:pt x="1562687" y="659144"/>
                    <a:pt x="1561834" y="677059"/>
                    <a:pt x="1572428" y="690429"/>
                  </a:cubicBezTo>
                  <a:cubicBezTo>
                    <a:pt x="1582129" y="702628"/>
                    <a:pt x="1590815" y="700623"/>
                    <a:pt x="1619106" y="690763"/>
                  </a:cubicBezTo>
                  <a:cubicBezTo>
                    <a:pt x="1633881" y="685616"/>
                    <a:pt x="1650848" y="679198"/>
                    <a:pt x="1665947" y="677594"/>
                  </a:cubicBezTo>
                  <a:cubicBezTo>
                    <a:pt x="1684456" y="675589"/>
                    <a:pt x="1659331" y="687020"/>
                    <a:pt x="1653040" y="688858"/>
                  </a:cubicBezTo>
                  <a:cubicBezTo>
                    <a:pt x="1635545" y="693905"/>
                    <a:pt x="1577421" y="712990"/>
                    <a:pt x="1620568" y="712455"/>
                  </a:cubicBezTo>
                  <a:cubicBezTo>
                    <a:pt x="1635598" y="712271"/>
                    <a:pt x="1650486" y="710012"/>
                    <a:pt x="1664608" y="705770"/>
                  </a:cubicBezTo>
                  <a:cubicBezTo>
                    <a:pt x="1676541" y="702094"/>
                    <a:pt x="1688150" y="692401"/>
                    <a:pt x="1700083" y="690562"/>
                  </a:cubicBezTo>
                  <a:cubicBezTo>
                    <a:pt x="1713072" y="688557"/>
                    <a:pt x="1717943" y="693370"/>
                    <a:pt x="1733245" y="689058"/>
                  </a:cubicBezTo>
                  <a:cubicBezTo>
                    <a:pt x="1756259" y="682574"/>
                    <a:pt x="1778137" y="672848"/>
                    <a:pt x="1801355" y="666497"/>
                  </a:cubicBezTo>
                  <a:cubicBezTo>
                    <a:pt x="1826277" y="659646"/>
                    <a:pt x="1878800" y="653128"/>
                    <a:pt x="1889191" y="633575"/>
                  </a:cubicBezTo>
                  <a:cubicBezTo>
                    <a:pt x="1892519" y="627158"/>
                    <a:pt x="1949061" y="617833"/>
                    <a:pt x="1958762" y="615292"/>
                  </a:cubicBezTo>
                  <a:cubicBezTo>
                    <a:pt x="2000041" y="604196"/>
                    <a:pt x="1941064" y="607003"/>
                    <a:pt x="1951253" y="597545"/>
                  </a:cubicBezTo>
                  <a:cubicBezTo>
                    <a:pt x="1956692" y="592531"/>
                    <a:pt x="1983724" y="591395"/>
                    <a:pt x="1990990" y="590860"/>
                  </a:cubicBezTo>
                  <a:cubicBezTo>
                    <a:pt x="1997200" y="590392"/>
                    <a:pt x="2003979" y="590359"/>
                    <a:pt x="2007550" y="592598"/>
                  </a:cubicBezTo>
                  <a:cubicBezTo>
                    <a:pt x="2012299" y="595639"/>
                    <a:pt x="2019727" y="592096"/>
                    <a:pt x="2026019" y="592932"/>
                  </a:cubicBezTo>
                  <a:cubicBezTo>
                    <a:pt x="2043594" y="595272"/>
                    <a:pt x="2063848" y="591228"/>
                    <a:pt x="2082601" y="592698"/>
                  </a:cubicBezTo>
                  <a:cubicBezTo>
                    <a:pt x="2101353" y="594169"/>
                    <a:pt x="2058612" y="611349"/>
                    <a:pt x="2058004" y="616696"/>
                  </a:cubicBezTo>
                  <a:cubicBezTo>
                    <a:pt x="2057111" y="624016"/>
                    <a:pt x="2082357" y="610446"/>
                    <a:pt x="2084834" y="608808"/>
                  </a:cubicBezTo>
                  <a:cubicBezTo>
                    <a:pt x="2092667" y="603661"/>
                    <a:pt x="2106590" y="592096"/>
                    <a:pt x="2118604" y="592966"/>
                  </a:cubicBezTo>
                  <a:cubicBezTo>
                    <a:pt x="2127818" y="593668"/>
                    <a:pt x="2131633" y="598648"/>
                    <a:pt x="2138899" y="600820"/>
                  </a:cubicBezTo>
                  <a:cubicBezTo>
                    <a:pt x="2147017" y="603193"/>
                    <a:pt x="2162238" y="593233"/>
                    <a:pt x="2174537" y="593634"/>
                  </a:cubicBezTo>
                  <a:cubicBezTo>
                    <a:pt x="2190773" y="594169"/>
                    <a:pt x="2211352" y="598414"/>
                    <a:pt x="2217278" y="606068"/>
                  </a:cubicBezTo>
                  <a:cubicBezTo>
                    <a:pt x="2221946" y="612084"/>
                    <a:pt x="2213828" y="621844"/>
                    <a:pt x="2218617" y="627158"/>
                  </a:cubicBezTo>
                  <a:cubicBezTo>
                    <a:pt x="2222351" y="631269"/>
                    <a:pt x="2246665" y="620841"/>
                    <a:pt x="2251657" y="618769"/>
                  </a:cubicBezTo>
                  <a:cubicBezTo>
                    <a:pt x="2269314" y="611248"/>
                    <a:pt x="2280070" y="601188"/>
                    <a:pt x="2300771" y="601656"/>
                  </a:cubicBezTo>
                  <a:cubicBezTo>
                    <a:pt x="2323177" y="602157"/>
                    <a:pt x="2343715" y="603461"/>
                    <a:pt x="2319239" y="617766"/>
                  </a:cubicBezTo>
                  <a:cubicBezTo>
                    <a:pt x="2311483" y="622358"/>
                    <a:pt x="2303235" y="626366"/>
                    <a:pt x="2294601" y="629731"/>
                  </a:cubicBezTo>
                  <a:cubicBezTo>
                    <a:pt x="2284048" y="633742"/>
                    <a:pt x="2288553" y="630367"/>
                    <a:pt x="2284251" y="628027"/>
                  </a:cubicBezTo>
                  <a:cubicBezTo>
                    <a:pt x="2260912" y="615226"/>
                    <a:pt x="2154364" y="645975"/>
                    <a:pt x="2180544" y="663356"/>
                  </a:cubicBezTo>
                  <a:cubicBezTo>
                    <a:pt x="2188378" y="668536"/>
                    <a:pt x="2208957" y="670040"/>
                    <a:pt x="2192315" y="680970"/>
                  </a:cubicBezTo>
                  <a:cubicBezTo>
                    <a:pt x="2164633" y="699186"/>
                    <a:pt x="2133419" y="698049"/>
                    <a:pt x="2102531" y="708912"/>
                  </a:cubicBezTo>
                  <a:cubicBezTo>
                    <a:pt x="2094413" y="711853"/>
                    <a:pt x="2085036" y="720777"/>
                    <a:pt x="2077243" y="725056"/>
                  </a:cubicBezTo>
                  <a:cubicBezTo>
                    <a:pt x="2052889" y="738425"/>
                    <a:pt x="2066081" y="754669"/>
                    <a:pt x="2094940" y="745644"/>
                  </a:cubicBezTo>
                  <a:cubicBezTo>
                    <a:pt x="2109918" y="740999"/>
                    <a:pt x="2123353" y="734147"/>
                    <a:pt x="2138168" y="728933"/>
                  </a:cubicBezTo>
                  <a:cubicBezTo>
                    <a:pt x="2149574" y="724855"/>
                    <a:pt x="2161061" y="722950"/>
                    <a:pt x="2172548" y="719541"/>
                  </a:cubicBezTo>
                  <a:cubicBezTo>
                    <a:pt x="2180666" y="717168"/>
                    <a:pt x="2176039" y="713324"/>
                    <a:pt x="2178961" y="710015"/>
                  </a:cubicBezTo>
                  <a:cubicBezTo>
                    <a:pt x="2185293" y="702729"/>
                    <a:pt x="2208308" y="699319"/>
                    <a:pt x="2218901" y="697281"/>
                  </a:cubicBezTo>
                  <a:cubicBezTo>
                    <a:pt x="2242484" y="692735"/>
                    <a:pt x="2249871" y="705637"/>
                    <a:pt x="2272196" y="700255"/>
                  </a:cubicBezTo>
                  <a:cubicBezTo>
                    <a:pt x="2295291" y="694707"/>
                    <a:pt x="2285631" y="715196"/>
                    <a:pt x="2305114" y="715396"/>
                  </a:cubicBezTo>
                  <a:cubicBezTo>
                    <a:pt x="2326424" y="715630"/>
                    <a:pt x="2351143" y="705001"/>
                    <a:pt x="2373224" y="703163"/>
                  </a:cubicBezTo>
                  <a:cubicBezTo>
                    <a:pt x="2393762" y="701492"/>
                    <a:pt x="2413448" y="704734"/>
                    <a:pt x="2434474" y="703531"/>
                  </a:cubicBezTo>
                  <a:cubicBezTo>
                    <a:pt x="2588715" y="695041"/>
                    <a:pt x="2391327" y="666096"/>
                    <a:pt x="2383818" y="674887"/>
                  </a:cubicBezTo>
                  <a:cubicBezTo>
                    <a:pt x="2390150" y="667400"/>
                    <a:pt x="2425503" y="664559"/>
                    <a:pt x="2434352" y="664559"/>
                  </a:cubicBezTo>
                  <a:cubicBezTo>
                    <a:pt x="2459802" y="664559"/>
                    <a:pt x="2484561" y="667066"/>
                    <a:pt x="2511838" y="656203"/>
                  </a:cubicBezTo>
                  <a:cubicBezTo>
                    <a:pt x="2524015" y="651357"/>
                    <a:pt x="2550520" y="631871"/>
                    <a:pt x="2527221" y="632038"/>
                  </a:cubicBezTo>
                  <a:cubicBezTo>
                    <a:pt x="2503923" y="632205"/>
                    <a:pt x="2509199" y="623949"/>
                    <a:pt x="2494750" y="617666"/>
                  </a:cubicBezTo>
                  <a:cubicBezTo>
                    <a:pt x="2472750" y="608107"/>
                    <a:pt x="2412230" y="629665"/>
                    <a:pt x="2396887" y="612151"/>
                  </a:cubicBezTo>
                  <a:cubicBezTo>
                    <a:pt x="2393803" y="608608"/>
                    <a:pt x="2405005" y="605666"/>
                    <a:pt x="2405290" y="601823"/>
                  </a:cubicBezTo>
                  <a:cubicBezTo>
                    <a:pt x="2405290" y="597311"/>
                    <a:pt x="2396238" y="596274"/>
                    <a:pt x="2397983" y="591027"/>
                  </a:cubicBezTo>
                  <a:cubicBezTo>
                    <a:pt x="2403504" y="574315"/>
                    <a:pt x="2435854" y="585044"/>
                    <a:pt x="2451440" y="581301"/>
                  </a:cubicBezTo>
                  <a:close/>
                  <a:moveTo>
                    <a:pt x="2124205" y="641697"/>
                  </a:moveTo>
                  <a:cubicBezTo>
                    <a:pt x="2143607" y="633609"/>
                    <a:pt x="2128873" y="621643"/>
                    <a:pt x="2118604" y="619136"/>
                  </a:cubicBezTo>
                  <a:cubicBezTo>
                    <a:pt x="2103343" y="615092"/>
                    <a:pt x="2070505" y="627091"/>
                    <a:pt x="2058612" y="636817"/>
                  </a:cubicBezTo>
                  <a:cubicBezTo>
                    <a:pt x="2044568" y="648282"/>
                    <a:pt x="2041808" y="665562"/>
                    <a:pt x="2067826" y="663556"/>
                  </a:cubicBezTo>
                  <a:cubicBezTo>
                    <a:pt x="2088365" y="662119"/>
                    <a:pt x="2106630" y="648850"/>
                    <a:pt x="2124205" y="641530"/>
                  </a:cubicBezTo>
                  <a:close/>
                  <a:moveTo>
                    <a:pt x="1848195" y="521372"/>
                  </a:moveTo>
                  <a:cubicBezTo>
                    <a:pt x="1844907" y="530397"/>
                    <a:pt x="1862808" y="527355"/>
                    <a:pt x="1871981" y="529528"/>
                  </a:cubicBezTo>
                  <a:cubicBezTo>
                    <a:pt x="1887121" y="533104"/>
                    <a:pt x="1886187" y="544067"/>
                    <a:pt x="1913423" y="534708"/>
                  </a:cubicBezTo>
                  <a:cubicBezTo>
                    <a:pt x="1930998" y="528692"/>
                    <a:pt x="1942566" y="518331"/>
                    <a:pt x="1961035" y="512047"/>
                  </a:cubicBezTo>
                  <a:cubicBezTo>
                    <a:pt x="1975850" y="506967"/>
                    <a:pt x="1994968" y="502822"/>
                    <a:pt x="2008200" y="495770"/>
                  </a:cubicBezTo>
                  <a:cubicBezTo>
                    <a:pt x="2032554" y="482835"/>
                    <a:pt x="1951050" y="490957"/>
                    <a:pt x="1943581" y="492428"/>
                  </a:cubicBezTo>
                  <a:cubicBezTo>
                    <a:pt x="1926655" y="495536"/>
                    <a:pt x="1912205" y="502455"/>
                    <a:pt x="1895604" y="505797"/>
                  </a:cubicBezTo>
                  <a:cubicBezTo>
                    <a:pt x="1883427" y="508270"/>
                    <a:pt x="1851808" y="511278"/>
                    <a:pt x="1848195" y="521305"/>
                  </a:cubicBezTo>
                  <a:cubicBezTo>
                    <a:pt x="1843812" y="533639"/>
                    <a:pt x="1852619" y="509273"/>
                    <a:pt x="1848236" y="521439"/>
                  </a:cubicBezTo>
                  <a:close/>
                  <a:moveTo>
                    <a:pt x="2668920" y="954308"/>
                  </a:moveTo>
                  <a:cubicBezTo>
                    <a:pt x="2674116" y="959121"/>
                    <a:pt x="2761992" y="954308"/>
                    <a:pt x="2761668" y="945885"/>
                  </a:cubicBezTo>
                  <a:cubicBezTo>
                    <a:pt x="2761343" y="937462"/>
                    <a:pt x="2664536" y="949963"/>
                    <a:pt x="2668961" y="954375"/>
                  </a:cubicBezTo>
                  <a:close/>
                  <a:moveTo>
                    <a:pt x="3040560" y="906880"/>
                  </a:moveTo>
                  <a:cubicBezTo>
                    <a:pt x="3036907" y="913331"/>
                    <a:pt x="3030291" y="905677"/>
                    <a:pt x="3032117" y="902334"/>
                  </a:cubicBezTo>
                  <a:cubicBezTo>
                    <a:pt x="3034390" y="898223"/>
                    <a:pt x="3045715" y="888965"/>
                    <a:pt x="3027652" y="895014"/>
                  </a:cubicBezTo>
                  <a:cubicBezTo>
                    <a:pt x="3001026" y="904039"/>
                    <a:pt x="3017464" y="887260"/>
                    <a:pt x="3019007" y="879974"/>
                  </a:cubicBezTo>
                  <a:cubicBezTo>
                    <a:pt x="3019616" y="876966"/>
                    <a:pt x="3004963" y="878771"/>
                    <a:pt x="3002162" y="879172"/>
                  </a:cubicBezTo>
                  <a:cubicBezTo>
                    <a:pt x="2992015" y="880676"/>
                    <a:pt x="2994247" y="881846"/>
                    <a:pt x="2990432" y="885856"/>
                  </a:cubicBezTo>
                  <a:cubicBezTo>
                    <a:pt x="2981461" y="895115"/>
                    <a:pt x="2953048" y="886157"/>
                    <a:pt x="2945336" y="884486"/>
                  </a:cubicBezTo>
                  <a:cubicBezTo>
                    <a:pt x="2939613" y="883216"/>
                    <a:pt x="2949395" y="878537"/>
                    <a:pt x="2939045" y="879707"/>
                  </a:cubicBezTo>
                  <a:cubicBezTo>
                    <a:pt x="2932713" y="880375"/>
                    <a:pt x="2920374" y="883450"/>
                    <a:pt x="2919887" y="888029"/>
                  </a:cubicBezTo>
                  <a:cubicBezTo>
                    <a:pt x="2919278" y="893778"/>
                    <a:pt x="2913555" y="886024"/>
                    <a:pt x="2913717" y="884185"/>
                  </a:cubicBezTo>
                  <a:cubicBezTo>
                    <a:pt x="2914447" y="876832"/>
                    <a:pt x="2923864" y="866471"/>
                    <a:pt x="2927639" y="858683"/>
                  </a:cubicBezTo>
                  <a:cubicBezTo>
                    <a:pt x="2929303" y="855341"/>
                    <a:pt x="2946879" y="844979"/>
                    <a:pt x="2932551" y="845982"/>
                  </a:cubicBezTo>
                  <a:cubicBezTo>
                    <a:pt x="2923568" y="846804"/>
                    <a:pt x="2915292" y="850384"/>
                    <a:pt x="2909374" y="856009"/>
                  </a:cubicBezTo>
                  <a:cubicBezTo>
                    <a:pt x="2896803" y="866782"/>
                    <a:pt x="2886940" y="879493"/>
                    <a:pt x="2880352" y="893410"/>
                  </a:cubicBezTo>
                  <a:cubicBezTo>
                    <a:pt x="2874832" y="906345"/>
                    <a:pt x="2889607" y="910791"/>
                    <a:pt x="2864360" y="920517"/>
                  </a:cubicBezTo>
                  <a:cubicBezTo>
                    <a:pt x="2857987" y="922990"/>
                    <a:pt x="2844958" y="931480"/>
                    <a:pt x="2856729" y="932716"/>
                  </a:cubicBezTo>
                  <a:cubicBezTo>
                    <a:pt x="2863751" y="933485"/>
                    <a:pt x="2854740" y="941707"/>
                    <a:pt x="2852670" y="944080"/>
                  </a:cubicBezTo>
                  <a:cubicBezTo>
                    <a:pt x="2838748" y="961093"/>
                    <a:pt x="2869352" y="952470"/>
                    <a:pt x="2885791" y="946921"/>
                  </a:cubicBezTo>
                  <a:cubicBezTo>
                    <a:pt x="2899105" y="942409"/>
                    <a:pt x="2913149" y="940905"/>
                    <a:pt x="2926381" y="936894"/>
                  </a:cubicBezTo>
                  <a:cubicBezTo>
                    <a:pt x="2935879" y="933920"/>
                    <a:pt x="2948949" y="922422"/>
                    <a:pt x="2958609" y="923892"/>
                  </a:cubicBezTo>
                  <a:cubicBezTo>
                    <a:pt x="2977240" y="926733"/>
                    <a:pt x="2984221" y="919180"/>
                    <a:pt x="2974561" y="932750"/>
                  </a:cubicBezTo>
                  <a:cubicBezTo>
                    <a:pt x="2970786" y="938031"/>
                    <a:pt x="2974886" y="940738"/>
                    <a:pt x="2982922" y="935491"/>
                  </a:cubicBezTo>
                  <a:cubicBezTo>
                    <a:pt x="2990959" y="930243"/>
                    <a:pt x="3003217" y="919113"/>
                    <a:pt x="3016612" y="921185"/>
                  </a:cubicBezTo>
                  <a:cubicBezTo>
                    <a:pt x="3023959" y="922322"/>
                    <a:pt x="3015435" y="927870"/>
                    <a:pt x="3024162" y="928438"/>
                  </a:cubicBezTo>
                  <a:cubicBezTo>
                    <a:pt x="3032657" y="928786"/>
                    <a:pt x="3041136" y="927539"/>
                    <a:pt x="3048962" y="924795"/>
                  </a:cubicBezTo>
                  <a:cubicBezTo>
                    <a:pt x="3078511" y="914768"/>
                    <a:pt x="3043239" y="901967"/>
                    <a:pt x="3040357" y="906980"/>
                  </a:cubicBezTo>
                  <a:cubicBezTo>
                    <a:pt x="3036826" y="913464"/>
                    <a:pt x="3044375" y="900329"/>
                    <a:pt x="3040601" y="906947"/>
                  </a:cubicBezTo>
                  <a:close/>
                  <a:moveTo>
                    <a:pt x="543965" y="1751661"/>
                  </a:moveTo>
                  <a:cubicBezTo>
                    <a:pt x="526227" y="1771448"/>
                    <a:pt x="592673" y="1765298"/>
                    <a:pt x="607366" y="1760117"/>
                  </a:cubicBezTo>
                  <a:cubicBezTo>
                    <a:pt x="626565" y="1753232"/>
                    <a:pt x="595758" y="1748720"/>
                    <a:pt x="592186" y="1747884"/>
                  </a:cubicBezTo>
                  <a:cubicBezTo>
                    <a:pt x="576843" y="1744107"/>
                    <a:pt x="566979" y="1726192"/>
                    <a:pt x="543965" y="1751661"/>
                  </a:cubicBezTo>
                  <a:cubicBezTo>
                    <a:pt x="526593" y="1771013"/>
                    <a:pt x="561378" y="1732342"/>
                    <a:pt x="543965" y="1751661"/>
                  </a:cubicBezTo>
                  <a:close/>
                  <a:moveTo>
                    <a:pt x="2829493" y="994015"/>
                  </a:moveTo>
                  <a:cubicBezTo>
                    <a:pt x="2815409" y="998895"/>
                    <a:pt x="2833836" y="975231"/>
                    <a:pt x="2816626" y="984456"/>
                  </a:cubicBezTo>
                  <a:cubicBezTo>
                    <a:pt x="2806276" y="989971"/>
                    <a:pt x="2800918" y="999898"/>
                    <a:pt x="2794180" y="1006649"/>
                  </a:cubicBezTo>
                  <a:cubicBezTo>
                    <a:pt x="2791663" y="1009223"/>
                    <a:pt x="2797387" y="1012866"/>
                    <a:pt x="2792962" y="1014838"/>
                  </a:cubicBezTo>
                  <a:cubicBezTo>
                    <a:pt x="2788538" y="1016810"/>
                    <a:pt x="2783870" y="1018749"/>
                    <a:pt x="2779811" y="1020420"/>
                  </a:cubicBezTo>
                  <a:cubicBezTo>
                    <a:pt x="2765593" y="1025804"/>
                    <a:pt x="2750323" y="1029053"/>
                    <a:pt x="2734716" y="1030012"/>
                  </a:cubicBezTo>
                  <a:cubicBezTo>
                    <a:pt x="2724163" y="1030614"/>
                    <a:pt x="2714786" y="1026904"/>
                    <a:pt x="2703218" y="1026971"/>
                  </a:cubicBezTo>
                  <a:cubicBezTo>
                    <a:pt x="2691042" y="1026971"/>
                    <a:pt x="2677403" y="1021957"/>
                    <a:pt x="2672857" y="1015908"/>
                  </a:cubicBezTo>
                  <a:cubicBezTo>
                    <a:pt x="2669570" y="1011496"/>
                    <a:pt x="2681543" y="1005179"/>
                    <a:pt x="2677200" y="1001201"/>
                  </a:cubicBezTo>
                  <a:cubicBezTo>
                    <a:pt x="2672857" y="997224"/>
                    <a:pt x="2661857" y="1004276"/>
                    <a:pt x="2659057" y="1006950"/>
                  </a:cubicBezTo>
                  <a:cubicBezTo>
                    <a:pt x="2656256" y="1009624"/>
                    <a:pt x="2648625" y="1013635"/>
                    <a:pt x="2646677" y="1009624"/>
                  </a:cubicBezTo>
                  <a:cubicBezTo>
                    <a:pt x="2644241" y="1004845"/>
                    <a:pt x="2656418" y="999898"/>
                    <a:pt x="2662588" y="996756"/>
                  </a:cubicBezTo>
                  <a:cubicBezTo>
                    <a:pt x="2691407" y="982183"/>
                    <a:pt x="2684222" y="963934"/>
                    <a:pt x="2647895" y="973861"/>
                  </a:cubicBezTo>
                  <a:cubicBezTo>
                    <a:pt x="2614165" y="983119"/>
                    <a:pt x="2581246" y="1000332"/>
                    <a:pt x="2554538" y="1016242"/>
                  </a:cubicBezTo>
                  <a:cubicBezTo>
                    <a:pt x="2527830" y="1032152"/>
                    <a:pt x="2519834" y="1052440"/>
                    <a:pt x="2496454" y="1069152"/>
                  </a:cubicBezTo>
                  <a:cubicBezTo>
                    <a:pt x="2484277" y="1077942"/>
                    <a:pt x="2490893" y="1067246"/>
                    <a:pt x="2495034" y="1063336"/>
                  </a:cubicBezTo>
                  <a:cubicBezTo>
                    <a:pt x="2499174" y="1059425"/>
                    <a:pt x="2503923" y="1055314"/>
                    <a:pt x="2507982" y="1051236"/>
                  </a:cubicBezTo>
                  <a:cubicBezTo>
                    <a:pt x="2512650" y="1046524"/>
                    <a:pt x="2507982" y="1041544"/>
                    <a:pt x="2511066" y="1038368"/>
                  </a:cubicBezTo>
                  <a:cubicBezTo>
                    <a:pt x="2513993" y="1037476"/>
                    <a:pt x="2516855" y="1036436"/>
                    <a:pt x="2519631" y="1035260"/>
                  </a:cubicBezTo>
                  <a:cubicBezTo>
                    <a:pt x="2523049" y="1032496"/>
                    <a:pt x="2526097" y="1029438"/>
                    <a:pt x="2528723" y="1026135"/>
                  </a:cubicBezTo>
                  <a:cubicBezTo>
                    <a:pt x="2535096" y="1018715"/>
                    <a:pt x="2540413" y="1010727"/>
                    <a:pt x="2549018" y="1003708"/>
                  </a:cubicBezTo>
                  <a:cubicBezTo>
                    <a:pt x="2554173" y="999430"/>
                    <a:pt x="2579420" y="993213"/>
                    <a:pt x="2579501" y="989236"/>
                  </a:cubicBezTo>
                  <a:cubicBezTo>
                    <a:pt x="2579501" y="983052"/>
                    <a:pt x="2589486" y="972825"/>
                    <a:pt x="2597442" y="967577"/>
                  </a:cubicBezTo>
                  <a:cubicBezTo>
                    <a:pt x="2607751" y="960892"/>
                    <a:pt x="2626463" y="955879"/>
                    <a:pt x="2639371" y="951768"/>
                  </a:cubicBezTo>
                  <a:cubicBezTo>
                    <a:pt x="2664861" y="943646"/>
                    <a:pt x="2690757" y="936226"/>
                    <a:pt x="2716735" y="929040"/>
                  </a:cubicBezTo>
                  <a:cubicBezTo>
                    <a:pt x="2759029" y="917375"/>
                    <a:pt x="2801973" y="911058"/>
                    <a:pt x="2831441" y="887160"/>
                  </a:cubicBezTo>
                  <a:cubicBezTo>
                    <a:pt x="2839235" y="880843"/>
                    <a:pt x="2842807" y="872253"/>
                    <a:pt x="2853888" y="867106"/>
                  </a:cubicBezTo>
                  <a:cubicBezTo>
                    <a:pt x="2867607" y="860923"/>
                    <a:pt x="2884858" y="860421"/>
                    <a:pt x="2898009" y="853970"/>
                  </a:cubicBezTo>
                  <a:cubicBezTo>
                    <a:pt x="2909414" y="848221"/>
                    <a:pt x="2913839" y="840601"/>
                    <a:pt x="2923215" y="834184"/>
                  </a:cubicBezTo>
                  <a:cubicBezTo>
                    <a:pt x="2943510" y="820413"/>
                    <a:pt x="2900079" y="832947"/>
                    <a:pt x="2902920" y="827298"/>
                  </a:cubicBezTo>
                  <a:cubicBezTo>
                    <a:pt x="2904665" y="823956"/>
                    <a:pt x="2918425" y="821015"/>
                    <a:pt x="2921104" y="815199"/>
                  </a:cubicBezTo>
                  <a:cubicBezTo>
                    <a:pt x="2923783" y="809383"/>
                    <a:pt x="2923905" y="806776"/>
                    <a:pt x="2914366" y="805606"/>
                  </a:cubicBezTo>
                  <a:cubicBezTo>
                    <a:pt x="2906249" y="804604"/>
                    <a:pt x="2894924" y="797819"/>
                    <a:pt x="2884898" y="803467"/>
                  </a:cubicBezTo>
                  <a:cubicBezTo>
                    <a:pt x="2880027" y="806241"/>
                    <a:pt x="2871666" y="814798"/>
                    <a:pt x="2863589" y="813494"/>
                  </a:cubicBezTo>
                  <a:cubicBezTo>
                    <a:pt x="2852751" y="811656"/>
                    <a:pt x="2876861" y="791903"/>
                    <a:pt x="2840777" y="804136"/>
                  </a:cubicBezTo>
                  <a:cubicBezTo>
                    <a:pt x="2817885" y="811957"/>
                    <a:pt x="2798807" y="827365"/>
                    <a:pt x="2779893" y="837559"/>
                  </a:cubicBezTo>
                  <a:cubicBezTo>
                    <a:pt x="2771775" y="842005"/>
                    <a:pt x="2770963" y="834518"/>
                    <a:pt x="2772343" y="831944"/>
                  </a:cubicBezTo>
                  <a:cubicBezTo>
                    <a:pt x="2774169" y="828602"/>
                    <a:pt x="2789025" y="821549"/>
                    <a:pt x="2794018" y="818575"/>
                  </a:cubicBezTo>
                  <a:cubicBezTo>
                    <a:pt x="2801040" y="814230"/>
                    <a:pt x="2811106" y="812993"/>
                    <a:pt x="2818372" y="808013"/>
                  </a:cubicBezTo>
                  <a:cubicBezTo>
                    <a:pt x="2825637" y="803033"/>
                    <a:pt x="2847637" y="797986"/>
                    <a:pt x="2851574" y="792170"/>
                  </a:cubicBezTo>
                  <a:cubicBezTo>
                    <a:pt x="2857297" y="783781"/>
                    <a:pt x="2831482" y="788059"/>
                    <a:pt x="2825150" y="790499"/>
                  </a:cubicBezTo>
                  <a:cubicBezTo>
                    <a:pt x="2815571" y="794142"/>
                    <a:pt x="2806235" y="791602"/>
                    <a:pt x="2798117" y="790700"/>
                  </a:cubicBezTo>
                  <a:cubicBezTo>
                    <a:pt x="2789999" y="789797"/>
                    <a:pt x="2784236" y="795412"/>
                    <a:pt x="2779081" y="794677"/>
                  </a:cubicBezTo>
                  <a:cubicBezTo>
                    <a:pt x="2766904" y="793006"/>
                    <a:pt x="2765930" y="799457"/>
                    <a:pt x="2754727" y="799490"/>
                  </a:cubicBezTo>
                  <a:cubicBezTo>
                    <a:pt x="2744336" y="799490"/>
                    <a:pt x="2740561" y="792805"/>
                    <a:pt x="2732484" y="790766"/>
                  </a:cubicBezTo>
                  <a:cubicBezTo>
                    <a:pt x="2721313" y="788193"/>
                    <a:pt x="2709782" y="786836"/>
                    <a:pt x="2698185" y="786722"/>
                  </a:cubicBezTo>
                  <a:cubicBezTo>
                    <a:pt x="2691772" y="786722"/>
                    <a:pt x="2669773" y="789530"/>
                    <a:pt x="2666485" y="786722"/>
                  </a:cubicBezTo>
                  <a:cubicBezTo>
                    <a:pt x="2662426" y="783380"/>
                    <a:pt x="2688403" y="780739"/>
                    <a:pt x="2691447" y="778868"/>
                  </a:cubicBezTo>
                  <a:cubicBezTo>
                    <a:pt x="2720834" y="760953"/>
                    <a:pt x="2678702" y="768306"/>
                    <a:pt x="2678783" y="756741"/>
                  </a:cubicBezTo>
                  <a:cubicBezTo>
                    <a:pt x="2678783" y="752597"/>
                    <a:pt x="2660680" y="753132"/>
                    <a:pt x="2655769" y="751828"/>
                  </a:cubicBezTo>
                  <a:cubicBezTo>
                    <a:pt x="2648536" y="749508"/>
                    <a:pt x="2641713" y="746407"/>
                    <a:pt x="2635474" y="742603"/>
                  </a:cubicBezTo>
                  <a:cubicBezTo>
                    <a:pt x="2622830" y="736567"/>
                    <a:pt x="2609627" y="731373"/>
                    <a:pt x="2595980" y="727061"/>
                  </a:cubicBezTo>
                  <a:cubicBezTo>
                    <a:pt x="2588715" y="724454"/>
                    <a:pt x="2560708" y="703664"/>
                    <a:pt x="2556324" y="717903"/>
                  </a:cubicBezTo>
                  <a:cubicBezTo>
                    <a:pt x="2554092" y="725256"/>
                    <a:pt x="2553564" y="729000"/>
                    <a:pt x="2544878" y="735918"/>
                  </a:cubicBezTo>
                  <a:cubicBezTo>
                    <a:pt x="2539682" y="740096"/>
                    <a:pt x="2555269" y="739662"/>
                    <a:pt x="2548206" y="745945"/>
                  </a:cubicBezTo>
                  <a:cubicBezTo>
                    <a:pt x="2543214" y="750324"/>
                    <a:pt x="2548206" y="758346"/>
                    <a:pt x="2541671" y="760217"/>
                  </a:cubicBezTo>
                  <a:cubicBezTo>
                    <a:pt x="2536638" y="761621"/>
                    <a:pt x="2534284" y="770244"/>
                    <a:pt x="2535096" y="770244"/>
                  </a:cubicBezTo>
                  <a:cubicBezTo>
                    <a:pt x="2529819" y="770244"/>
                    <a:pt x="2510011" y="767403"/>
                    <a:pt x="2513827" y="776495"/>
                  </a:cubicBezTo>
                  <a:cubicBezTo>
                    <a:pt x="2516140" y="781943"/>
                    <a:pt x="2498078" y="790532"/>
                    <a:pt x="2490122" y="793574"/>
                  </a:cubicBezTo>
                  <a:cubicBezTo>
                    <a:pt x="2477012" y="798554"/>
                    <a:pt x="2477945" y="789931"/>
                    <a:pt x="2468326" y="791502"/>
                  </a:cubicBezTo>
                  <a:cubicBezTo>
                    <a:pt x="2464672" y="792070"/>
                    <a:pt x="2463780" y="795212"/>
                    <a:pt x="2459964" y="794042"/>
                  </a:cubicBezTo>
                  <a:cubicBezTo>
                    <a:pt x="2456149" y="792872"/>
                    <a:pt x="2453713" y="789630"/>
                    <a:pt x="2447787" y="789764"/>
                  </a:cubicBezTo>
                  <a:cubicBezTo>
                    <a:pt x="2439953" y="789764"/>
                    <a:pt x="2421566" y="799323"/>
                    <a:pt x="2423433" y="789998"/>
                  </a:cubicBezTo>
                  <a:cubicBezTo>
                    <a:pt x="2424651" y="783647"/>
                    <a:pt x="2406548" y="788627"/>
                    <a:pt x="2404640" y="784616"/>
                  </a:cubicBezTo>
                  <a:cubicBezTo>
                    <a:pt x="2403666" y="782611"/>
                    <a:pt x="2408496" y="780338"/>
                    <a:pt x="2406751" y="777932"/>
                  </a:cubicBezTo>
                  <a:cubicBezTo>
                    <a:pt x="2403853" y="775000"/>
                    <a:pt x="2400675" y="772263"/>
                    <a:pt x="2397253" y="769743"/>
                  </a:cubicBezTo>
                  <a:cubicBezTo>
                    <a:pt x="2393446" y="766855"/>
                    <a:pt x="2391883" y="762470"/>
                    <a:pt x="2393194" y="758346"/>
                  </a:cubicBezTo>
                  <a:cubicBezTo>
                    <a:pt x="2394412" y="755538"/>
                    <a:pt x="2400054" y="751661"/>
                    <a:pt x="2398917" y="749054"/>
                  </a:cubicBezTo>
                  <a:cubicBezTo>
                    <a:pt x="2396400" y="743305"/>
                    <a:pt x="2379231" y="756741"/>
                    <a:pt x="2370504" y="754936"/>
                  </a:cubicBezTo>
                  <a:cubicBezTo>
                    <a:pt x="2362670" y="753332"/>
                    <a:pt x="2347896" y="759682"/>
                    <a:pt x="2338844" y="761387"/>
                  </a:cubicBezTo>
                  <a:cubicBezTo>
                    <a:pt x="2322121" y="764462"/>
                    <a:pt x="2324800" y="757644"/>
                    <a:pt x="2312988" y="757711"/>
                  </a:cubicBezTo>
                  <a:cubicBezTo>
                    <a:pt x="2307509" y="757711"/>
                    <a:pt x="2303734" y="758245"/>
                    <a:pt x="2300284" y="755972"/>
                  </a:cubicBezTo>
                  <a:cubicBezTo>
                    <a:pt x="2294926" y="752430"/>
                    <a:pt x="2290299" y="756908"/>
                    <a:pt x="2283764" y="756507"/>
                  </a:cubicBezTo>
                  <a:cubicBezTo>
                    <a:pt x="2279705" y="756240"/>
                    <a:pt x="2280760" y="752196"/>
                    <a:pt x="2276052" y="751728"/>
                  </a:cubicBezTo>
                  <a:cubicBezTo>
                    <a:pt x="2270572" y="751159"/>
                    <a:pt x="2264687" y="753900"/>
                    <a:pt x="2259004" y="753967"/>
                  </a:cubicBezTo>
                  <a:cubicBezTo>
                    <a:pt x="2242322" y="754268"/>
                    <a:pt x="2233879" y="754936"/>
                    <a:pt x="2218942" y="764195"/>
                  </a:cubicBezTo>
                  <a:cubicBezTo>
                    <a:pt x="2202706" y="774222"/>
                    <a:pt x="2177946" y="778500"/>
                    <a:pt x="2158869" y="780405"/>
                  </a:cubicBezTo>
                  <a:cubicBezTo>
                    <a:pt x="2133866" y="782912"/>
                    <a:pt x="2108051" y="790232"/>
                    <a:pt x="2098756" y="805606"/>
                  </a:cubicBezTo>
                  <a:cubicBezTo>
                    <a:pt x="2093560" y="814297"/>
                    <a:pt x="2106427" y="815199"/>
                    <a:pt x="2117224" y="814698"/>
                  </a:cubicBezTo>
                  <a:cubicBezTo>
                    <a:pt x="2131146" y="814029"/>
                    <a:pt x="2124693" y="823455"/>
                    <a:pt x="2120715" y="829471"/>
                  </a:cubicBezTo>
                  <a:cubicBezTo>
                    <a:pt x="2115316" y="837593"/>
                    <a:pt x="2113936" y="836390"/>
                    <a:pt x="2124368" y="839799"/>
                  </a:cubicBezTo>
                  <a:cubicBezTo>
                    <a:pt x="2132486" y="842506"/>
                    <a:pt x="2145028" y="847486"/>
                    <a:pt x="2149087" y="852500"/>
                  </a:cubicBezTo>
                  <a:cubicBezTo>
                    <a:pt x="2156596" y="861791"/>
                    <a:pt x="2138655" y="859920"/>
                    <a:pt x="2137641" y="866838"/>
                  </a:cubicBezTo>
                  <a:cubicBezTo>
                    <a:pt x="2136951" y="871417"/>
                    <a:pt x="2140563" y="872922"/>
                    <a:pt x="2136098" y="878403"/>
                  </a:cubicBezTo>
                  <a:cubicBezTo>
                    <a:pt x="2132039" y="883250"/>
                    <a:pt x="2124652" y="891772"/>
                    <a:pt x="2128873" y="895616"/>
                  </a:cubicBezTo>
                  <a:cubicBezTo>
                    <a:pt x="2133095" y="899460"/>
                    <a:pt x="2154688" y="896619"/>
                    <a:pt x="2162928" y="896686"/>
                  </a:cubicBezTo>
                  <a:cubicBezTo>
                    <a:pt x="2178393" y="896686"/>
                    <a:pt x="2191341" y="898758"/>
                    <a:pt x="2199459" y="905142"/>
                  </a:cubicBezTo>
                  <a:cubicBezTo>
                    <a:pt x="2217440" y="919079"/>
                    <a:pt x="2219754" y="936192"/>
                    <a:pt x="2194953" y="955845"/>
                  </a:cubicBezTo>
                  <a:cubicBezTo>
                    <a:pt x="2183507" y="965003"/>
                    <a:pt x="2176363" y="975900"/>
                    <a:pt x="2161345" y="983721"/>
                  </a:cubicBezTo>
                  <a:cubicBezTo>
                    <a:pt x="2155906" y="986562"/>
                    <a:pt x="2135124" y="992010"/>
                    <a:pt x="2136991" y="996422"/>
                  </a:cubicBezTo>
                  <a:cubicBezTo>
                    <a:pt x="2140563" y="1004410"/>
                    <a:pt x="2160777" y="1002204"/>
                    <a:pt x="2165404" y="1009190"/>
                  </a:cubicBezTo>
                  <a:cubicBezTo>
                    <a:pt x="2170031" y="1016175"/>
                    <a:pt x="2176404" y="1025534"/>
                    <a:pt x="2184887" y="1031249"/>
                  </a:cubicBezTo>
                  <a:cubicBezTo>
                    <a:pt x="2191625" y="1035795"/>
                    <a:pt x="2202990" y="1035694"/>
                    <a:pt x="2194548" y="1044953"/>
                  </a:cubicBezTo>
                  <a:cubicBezTo>
                    <a:pt x="2186430" y="1053643"/>
                    <a:pt x="2187039" y="1051337"/>
                    <a:pt x="2195968" y="1053676"/>
                  </a:cubicBezTo>
                  <a:cubicBezTo>
                    <a:pt x="2210946" y="1057620"/>
                    <a:pt x="2191463" y="1059793"/>
                    <a:pt x="2184887" y="1059693"/>
                  </a:cubicBezTo>
                  <a:cubicBezTo>
                    <a:pt x="2173522" y="1059693"/>
                    <a:pt x="2170884" y="1071926"/>
                    <a:pt x="2172710" y="1075335"/>
                  </a:cubicBezTo>
                  <a:cubicBezTo>
                    <a:pt x="2174131" y="1078176"/>
                    <a:pt x="2157205" y="1078176"/>
                    <a:pt x="2155703" y="1078209"/>
                  </a:cubicBezTo>
                  <a:cubicBezTo>
                    <a:pt x="2144622" y="1078610"/>
                    <a:pt x="2143932" y="1080281"/>
                    <a:pt x="2138493" y="1075669"/>
                  </a:cubicBezTo>
                  <a:cubicBezTo>
                    <a:pt x="2132039" y="1070188"/>
                    <a:pt x="2117346" y="1073196"/>
                    <a:pt x="2106508" y="1072327"/>
                  </a:cubicBezTo>
                  <a:cubicBezTo>
                    <a:pt x="2097498" y="1071524"/>
                    <a:pt x="2093885" y="1066812"/>
                    <a:pt x="2083129" y="1066143"/>
                  </a:cubicBezTo>
                  <a:cubicBezTo>
                    <a:pt x="2060683" y="1064840"/>
                    <a:pt x="2072860" y="1045187"/>
                    <a:pt x="2056948" y="1039404"/>
                  </a:cubicBezTo>
                  <a:cubicBezTo>
                    <a:pt x="2045867" y="1035527"/>
                    <a:pt x="2060398" y="1024364"/>
                    <a:pt x="2050576" y="1020821"/>
                  </a:cubicBezTo>
                  <a:cubicBezTo>
                    <a:pt x="2039657" y="1016910"/>
                    <a:pt x="2017170" y="1026336"/>
                    <a:pt x="2004141" y="1030313"/>
                  </a:cubicBezTo>
                  <a:cubicBezTo>
                    <a:pt x="1989285" y="1034825"/>
                    <a:pt x="1974632" y="1042279"/>
                    <a:pt x="1959492" y="1045254"/>
                  </a:cubicBezTo>
                  <a:cubicBezTo>
                    <a:pt x="1948777" y="1047359"/>
                    <a:pt x="1938020" y="1045955"/>
                    <a:pt x="1927426" y="1047092"/>
                  </a:cubicBezTo>
                  <a:cubicBezTo>
                    <a:pt x="1912895" y="1048629"/>
                    <a:pt x="1897958" y="1052974"/>
                    <a:pt x="1883589" y="1054378"/>
                  </a:cubicBezTo>
                  <a:cubicBezTo>
                    <a:pt x="1872184" y="1055515"/>
                    <a:pt x="1867354" y="1052039"/>
                    <a:pt x="1857977" y="1051972"/>
                  </a:cubicBezTo>
                  <a:cubicBezTo>
                    <a:pt x="1840361" y="1051771"/>
                    <a:pt x="1809919" y="1054612"/>
                    <a:pt x="1791897" y="1063403"/>
                  </a:cubicBezTo>
                  <a:cubicBezTo>
                    <a:pt x="1784307" y="1067113"/>
                    <a:pt x="1771034" y="1066745"/>
                    <a:pt x="1763484" y="1067480"/>
                  </a:cubicBezTo>
                  <a:cubicBezTo>
                    <a:pt x="1749846" y="1068984"/>
                    <a:pt x="1741566" y="1072661"/>
                    <a:pt x="1730160" y="1079479"/>
                  </a:cubicBezTo>
                  <a:cubicBezTo>
                    <a:pt x="1721758" y="1084526"/>
                    <a:pt x="1713924" y="1089874"/>
                    <a:pt x="1705522" y="1094921"/>
                  </a:cubicBezTo>
                  <a:cubicBezTo>
                    <a:pt x="1696105" y="1100570"/>
                    <a:pt x="1703899" y="1086799"/>
                    <a:pt x="1702681" y="1085395"/>
                  </a:cubicBezTo>
                  <a:cubicBezTo>
                    <a:pt x="1697607" y="1079513"/>
                    <a:pt x="1668261" y="1062901"/>
                    <a:pt x="1653973" y="1066478"/>
                  </a:cubicBezTo>
                  <a:cubicBezTo>
                    <a:pt x="1626250" y="1073162"/>
                    <a:pt x="1611395" y="1085262"/>
                    <a:pt x="1600719" y="1069820"/>
                  </a:cubicBezTo>
                  <a:cubicBezTo>
                    <a:pt x="1591993" y="1057219"/>
                    <a:pt x="1591018" y="1045788"/>
                    <a:pt x="1596214" y="1029411"/>
                  </a:cubicBezTo>
                  <a:cubicBezTo>
                    <a:pt x="1598081" y="1023595"/>
                    <a:pt x="1596214" y="1018414"/>
                    <a:pt x="1597837" y="1012900"/>
                  </a:cubicBezTo>
                  <a:cubicBezTo>
                    <a:pt x="1600232" y="1005212"/>
                    <a:pt x="1619837" y="999530"/>
                    <a:pt x="1618822" y="992578"/>
                  </a:cubicBezTo>
                  <a:cubicBezTo>
                    <a:pt x="1617727" y="985125"/>
                    <a:pt x="1616265" y="985626"/>
                    <a:pt x="1626940" y="978172"/>
                  </a:cubicBezTo>
                  <a:cubicBezTo>
                    <a:pt x="1630037" y="975996"/>
                    <a:pt x="1631413" y="972584"/>
                    <a:pt x="1630512" y="969315"/>
                  </a:cubicBezTo>
                  <a:cubicBezTo>
                    <a:pt x="1630512" y="965739"/>
                    <a:pt x="1638102" y="964569"/>
                    <a:pt x="1638630" y="962263"/>
                  </a:cubicBezTo>
                  <a:cubicBezTo>
                    <a:pt x="1639158" y="959956"/>
                    <a:pt x="1629457" y="962463"/>
                    <a:pt x="1631405" y="959422"/>
                  </a:cubicBezTo>
                  <a:cubicBezTo>
                    <a:pt x="1633353" y="956380"/>
                    <a:pt x="1644353" y="952737"/>
                    <a:pt x="1647885" y="951200"/>
                  </a:cubicBezTo>
                  <a:cubicBezTo>
                    <a:pt x="1658966" y="946854"/>
                    <a:pt x="1675080" y="939568"/>
                    <a:pt x="1679423" y="932014"/>
                  </a:cubicBezTo>
                  <a:cubicBezTo>
                    <a:pt x="1690220" y="913264"/>
                    <a:pt x="1637453" y="938699"/>
                    <a:pt x="1629254" y="936760"/>
                  </a:cubicBezTo>
                  <a:cubicBezTo>
                    <a:pt x="1614560" y="933418"/>
                    <a:pt x="1599299" y="939902"/>
                    <a:pt x="1579937" y="944615"/>
                  </a:cubicBezTo>
                  <a:cubicBezTo>
                    <a:pt x="1575878" y="945618"/>
                    <a:pt x="1566096" y="946687"/>
                    <a:pt x="1574742" y="942409"/>
                  </a:cubicBezTo>
                  <a:cubicBezTo>
                    <a:pt x="1586919" y="936393"/>
                    <a:pt x="1603155" y="932817"/>
                    <a:pt x="1616184" y="929541"/>
                  </a:cubicBezTo>
                  <a:cubicBezTo>
                    <a:pt x="1635667" y="924628"/>
                    <a:pt x="1676298" y="920550"/>
                    <a:pt x="1691519" y="907949"/>
                  </a:cubicBezTo>
                  <a:cubicBezTo>
                    <a:pt x="1698378" y="902268"/>
                    <a:pt x="1686486" y="898725"/>
                    <a:pt x="1687135" y="894145"/>
                  </a:cubicBezTo>
                  <a:cubicBezTo>
                    <a:pt x="1687703" y="890201"/>
                    <a:pt x="1719972" y="885556"/>
                    <a:pt x="1724640" y="884319"/>
                  </a:cubicBezTo>
                  <a:cubicBezTo>
                    <a:pt x="1755529" y="875996"/>
                    <a:pt x="1753946" y="853770"/>
                    <a:pt x="1770222" y="839866"/>
                  </a:cubicBezTo>
                  <a:cubicBezTo>
                    <a:pt x="1788691" y="824023"/>
                    <a:pt x="1710149" y="851497"/>
                    <a:pt x="1700042" y="852767"/>
                  </a:cubicBezTo>
                  <a:cubicBezTo>
                    <a:pt x="1693508" y="853469"/>
                    <a:pt x="1662700" y="856778"/>
                    <a:pt x="1666637" y="850093"/>
                  </a:cubicBezTo>
                  <a:cubicBezTo>
                    <a:pt x="1670574" y="843408"/>
                    <a:pt x="1692899" y="841503"/>
                    <a:pt x="1700083" y="840868"/>
                  </a:cubicBezTo>
                  <a:cubicBezTo>
                    <a:pt x="1731215" y="837994"/>
                    <a:pt x="1750983" y="840267"/>
                    <a:pt x="1771927" y="819043"/>
                  </a:cubicBezTo>
                  <a:cubicBezTo>
                    <a:pt x="1777041" y="813862"/>
                    <a:pt x="1791166" y="802598"/>
                    <a:pt x="1792222" y="797418"/>
                  </a:cubicBezTo>
                  <a:cubicBezTo>
                    <a:pt x="1793074" y="793273"/>
                    <a:pt x="1770872" y="798186"/>
                    <a:pt x="1766447" y="798120"/>
                  </a:cubicBezTo>
                  <a:cubicBezTo>
                    <a:pt x="1755610" y="797919"/>
                    <a:pt x="1785930" y="784750"/>
                    <a:pt x="1788975" y="783614"/>
                  </a:cubicBezTo>
                  <a:cubicBezTo>
                    <a:pt x="1806875" y="776929"/>
                    <a:pt x="1810487" y="786956"/>
                    <a:pt x="1829077" y="777765"/>
                  </a:cubicBezTo>
                  <a:cubicBezTo>
                    <a:pt x="1836221" y="774222"/>
                    <a:pt x="1858383" y="766735"/>
                    <a:pt x="1846369" y="764195"/>
                  </a:cubicBezTo>
                  <a:cubicBezTo>
                    <a:pt x="1841092" y="763058"/>
                    <a:pt x="1809838" y="767236"/>
                    <a:pt x="1815723" y="761220"/>
                  </a:cubicBezTo>
                  <a:cubicBezTo>
                    <a:pt x="1821609" y="755204"/>
                    <a:pt x="1836384" y="758880"/>
                    <a:pt x="1843487" y="758346"/>
                  </a:cubicBezTo>
                  <a:cubicBezTo>
                    <a:pt x="1861427" y="756942"/>
                    <a:pt x="1860088" y="765431"/>
                    <a:pt x="1877420" y="753399"/>
                  </a:cubicBezTo>
                  <a:cubicBezTo>
                    <a:pt x="1890084" y="744608"/>
                    <a:pt x="1899216" y="738258"/>
                    <a:pt x="1907497" y="728398"/>
                  </a:cubicBezTo>
                  <a:cubicBezTo>
                    <a:pt x="1913139" y="721713"/>
                    <a:pt x="1927102" y="719240"/>
                    <a:pt x="1924504" y="710884"/>
                  </a:cubicBezTo>
                  <a:cubicBezTo>
                    <a:pt x="1921500" y="701091"/>
                    <a:pt x="1893453" y="708879"/>
                    <a:pt x="1889921" y="700222"/>
                  </a:cubicBezTo>
                  <a:cubicBezTo>
                    <a:pt x="1888785" y="697348"/>
                    <a:pt x="1854527" y="696244"/>
                    <a:pt x="1879124" y="690195"/>
                  </a:cubicBezTo>
                  <a:cubicBezTo>
                    <a:pt x="1887973" y="688022"/>
                    <a:pt x="1914722" y="677460"/>
                    <a:pt x="1909445" y="671110"/>
                  </a:cubicBezTo>
                  <a:cubicBezTo>
                    <a:pt x="1907659" y="669004"/>
                    <a:pt x="1891423" y="672079"/>
                    <a:pt x="1893209" y="669071"/>
                  </a:cubicBezTo>
                  <a:cubicBezTo>
                    <a:pt x="1894995" y="666063"/>
                    <a:pt x="1905386" y="661217"/>
                    <a:pt x="1897715" y="660448"/>
                  </a:cubicBezTo>
                  <a:cubicBezTo>
                    <a:pt x="1890043" y="659679"/>
                    <a:pt x="1881032" y="664124"/>
                    <a:pt x="1873361" y="665963"/>
                  </a:cubicBezTo>
                  <a:cubicBezTo>
                    <a:pt x="1855785" y="670141"/>
                    <a:pt x="1854933" y="660013"/>
                    <a:pt x="1839509" y="664726"/>
                  </a:cubicBezTo>
                  <a:cubicBezTo>
                    <a:pt x="1811989" y="673149"/>
                    <a:pt x="1785240" y="678096"/>
                    <a:pt x="1758330" y="689292"/>
                  </a:cubicBezTo>
                  <a:cubicBezTo>
                    <a:pt x="1749927" y="692835"/>
                    <a:pt x="1758613" y="701559"/>
                    <a:pt x="1761820" y="702896"/>
                  </a:cubicBezTo>
                  <a:cubicBezTo>
                    <a:pt x="1764296" y="703932"/>
                    <a:pt x="1798107" y="698216"/>
                    <a:pt x="1783576" y="707007"/>
                  </a:cubicBezTo>
                  <a:cubicBezTo>
                    <a:pt x="1774281" y="712622"/>
                    <a:pt x="1791248" y="713090"/>
                    <a:pt x="1777325" y="717234"/>
                  </a:cubicBezTo>
                  <a:cubicBezTo>
                    <a:pt x="1761090" y="722081"/>
                    <a:pt x="1763728" y="728599"/>
                    <a:pt x="1765149" y="735116"/>
                  </a:cubicBezTo>
                  <a:cubicBezTo>
                    <a:pt x="1766001" y="739394"/>
                    <a:pt x="1765149" y="750290"/>
                    <a:pt x="1752972" y="753934"/>
                  </a:cubicBezTo>
                  <a:cubicBezTo>
                    <a:pt x="1744367" y="756474"/>
                    <a:pt x="1747857" y="743238"/>
                    <a:pt x="1736736" y="747817"/>
                  </a:cubicBezTo>
                  <a:cubicBezTo>
                    <a:pt x="1708120" y="759448"/>
                    <a:pt x="1760724" y="762256"/>
                    <a:pt x="1757031" y="768707"/>
                  </a:cubicBezTo>
                  <a:cubicBezTo>
                    <a:pt x="1755650" y="771180"/>
                    <a:pt x="1748222" y="773854"/>
                    <a:pt x="1745138" y="775592"/>
                  </a:cubicBezTo>
                  <a:cubicBezTo>
                    <a:pt x="1738725" y="779235"/>
                    <a:pt x="1739739" y="782277"/>
                    <a:pt x="1735315" y="785887"/>
                  </a:cubicBezTo>
                  <a:cubicBezTo>
                    <a:pt x="1734584" y="786455"/>
                    <a:pt x="1702843" y="781675"/>
                    <a:pt x="1699921" y="781241"/>
                  </a:cubicBezTo>
                  <a:cubicBezTo>
                    <a:pt x="1690545" y="779703"/>
                    <a:pt x="1676013" y="774222"/>
                    <a:pt x="1689733" y="765331"/>
                  </a:cubicBezTo>
                  <a:cubicBezTo>
                    <a:pt x="1700205" y="758646"/>
                    <a:pt x="1694806" y="753533"/>
                    <a:pt x="1685308" y="750190"/>
                  </a:cubicBezTo>
                  <a:cubicBezTo>
                    <a:pt x="1679220" y="748051"/>
                    <a:pt x="1652309" y="748753"/>
                    <a:pt x="1643866" y="750424"/>
                  </a:cubicBezTo>
                  <a:cubicBezTo>
                    <a:pt x="1622151" y="754702"/>
                    <a:pt x="1630431" y="763092"/>
                    <a:pt x="1625520" y="770478"/>
                  </a:cubicBezTo>
                  <a:cubicBezTo>
                    <a:pt x="1619188" y="780138"/>
                    <a:pt x="1615535" y="800994"/>
                    <a:pt x="1603642" y="785753"/>
                  </a:cubicBezTo>
                  <a:cubicBezTo>
                    <a:pt x="1599583" y="780305"/>
                    <a:pt x="1596173" y="779737"/>
                    <a:pt x="1588096" y="777397"/>
                  </a:cubicBezTo>
                  <a:cubicBezTo>
                    <a:pt x="1578436" y="774589"/>
                    <a:pt x="1613302" y="760184"/>
                    <a:pt x="1602262" y="759148"/>
                  </a:cubicBezTo>
                  <a:cubicBezTo>
                    <a:pt x="1595889" y="758546"/>
                    <a:pt x="1570602" y="765164"/>
                    <a:pt x="1561672" y="766601"/>
                  </a:cubicBezTo>
                  <a:cubicBezTo>
                    <a:pt x="1552742" y="768038"/>
                    <a:pt x="1541824" y="784616"/>
                    <a:pt x="1533706" y="778767"/>
                  </a:cubicBezTo>
                  <a:cubicBezTo>
                    <a:pt x="1530986" y="776729"/>
                    <a:pt x="1527739" y="764963"/>
                    <a:pt x="1535492" y="762624"/>
                  </a:cubicBezTo>
                  <a:cubicBezTo>
                    <a:pt x="1548967" y="758546"/>
                    <a:pt x="1554082" y="750859"/>
                    <a:pt x="1538252" y="753466"/>
                  </a:cubicBezTo>
                  <a:cubicBezTo>
                    <a:pt x="1525588" y="755571"/>
                    <a:pt x="1525669" y="751293"/>
                    <a:pt x="1515806" y="751694"/>
                  </a:cubicBezTo>
                  <a:cubicBezTo>
                    <a:pt x="1509433" y="751928"/>
                    <a:pt x="1488813" y="758880"/>
                    <a:pt x="1485485" y="756307"/>
                  </a:cubicBezTo>
                  <a:cubicBezTo>
                    <a:pt x="1480655" y="752630"/>
                    <a:pt x="1488976" y="743505"/>
                    <a:pt x="1479437" y="742068"/>
                  </a:cubicBezTo>
                  <a:cubicBezTo>
                    <a:pt x="1466477" y="740407"/>
                    <a:pt x="1453253" y="740791"/>
                    <a:pt x="1440471" y="743205"/>
                  </a:cubicBezTo>
                  <a:cubicBezTo>
                    <a:pt x="1432028" y="744809"/>
                    <a:pt x="1420176" y="751794"/>
                    <a:pt x="1417091" y="745644"/>
                  </a:cubicBezTo>
                  <a:cubicBezTo>
                    <a:pt x="1416320" y="744040"/>
                    <a:pt x="1431582" y="733645"/>
                    <a:pt x="1434058" y="730571"/>
                  </a:cubicBezTo>
                  <a:cubicBezTo>
                    <a:pt x="1437427" y="726359"/>
                    <a:pt x="1454353" y="708945"/>
                    <a:pt x="1438117" y="712622"/>
                  </a:cubicBezTo>
                  <a:cubicBezTo>
                    <a:pt x="1414615" y="717903"/>
                    <a:pt x="1442176" y="704834"/>
                    <a:pt x="1451146" y="702194"/>
                  </a:cubicBezTo>
                  <a:cubicBezTo>
                    <a:pt x="1486135" y="692167"/>
                    <a:pt x="1492020" y="687956"/>
                    <a:pt x="1503913" y="667834"/>
                  </a:cubicBezTo>
                  <a:cubicBezTo>
                    <a:pt x="1510813" y="656136"/>
                    <a:pt x="1539591" y="623214"/>
                    <a:pt x="1499854" y="638288"/>
                  </a:cubicBezTo>
                  <a:cubicBezTo>
                    <a:pt x="1483171" y="644672"/>
                    <a:pt x="1469046" y="651824"/>
                    <a:pt x="1451471" y="655000"/>
                  </a:cubicBezTo>
                  <a:cubicBezTo>
                    <a:pt x="1437082" y="657590"/>
                    <a:pt x="1423163" y="661715"/>
                    <a:pt x="1410069" y="667266"/>
                  </a:cubicBezTo>
                  <a:cubicBezTo>
                    <a:pt x="1395355" y="673333"/>
                    <a:pt x="1381157" y="680211"/>
                    <a:pt x="1367572" y="687855"/>
                  </a:cubicBezTo>
                  <a:cubicBezTo>
                    <a:pt x="1350727" y="697515"/>
                    <a:pt x="1360387" y="696044"/>
                    <a:pt x="1369885" y="698785"/>
                  </a:cubicBezTo>
                  <a:cubicBezTo>
                    <a:pt x="1380033" y="701693"/>
                    <a:pt x="1352188" y="706338"/>
                    <a:pt x="1349591" y="708177"/>
                  </a:cubicBezTo>
                  <a:cubicBezTo>
                    <a:pt x="1344801" y="711753"/>
                    <a:pt x="1356491" y="718939"/>
                    <a:pt x="1357709" y="721011"/>
                  </a:cubicBezTo>
                  <a:cubicBezTo>
                    <a:pt x="1361768" y="727228"/>
                    <a:pt x="1361768" y="735684"/>
                    <a:pt x="1374797" y="736921"/>
                  </a:cubicBezTo>
                  <a:cubicBezTo>
                    <a:pt x="1391033" y="738459"/>
                    <a:pt x="1394158" y="744475"/>
                    <a:pt x="1399151" y="752898"/>
                  </a:cubicBezTo>
                  <a:cubicBezTo>
                    <a:pt x="1403209" y="759582"/>
                    <a:pt x="1391033" y="763560"/>
                    <a:pt x="1384011" y="770044"/>
                  </a:cubicBezTo>
                  <a:cubicBezTo>
                    <a:pt x="1381900" y="772016"/>
                    <a:pt x="1399759" y="771648"/>
                    <a:pt x="1399719" y="775024"/>
                  </a:cubicBezTo>
                  <a:cubicBezTo>
                    <a:pt x="1399719" y="780539"/>
                    <a:pt x="1377760" y="781074"/>
                    <a:pt x="1371996" y="784717"/>
                  </a:cubicBezTo>
                  <a:cubicBezTo>
                    <a:pt x="1361970" y="791000"/>
                    <a:pt x="1364812" y="804136"/>
                    <a:pt x="1375528" y="803969"/>
                  </a:cubicBezTo>
                  <a:cubicBezTo>
                    <a:pt x="1393225" y="803735"/>
                    <a:pt x="1384254" y="807110"/>
                    <a:pt x="1382387" y="816703"/>
                  </a:cubicBezTo>
                  <a:cubicBezTo>
                    <a:pt x="1380398" y="827064"/>
                    <a:pt x="1398623" y="826496"/>
                    <a:pt x="1413925" y="823388"/>
                  </a:cubicBezTo>
                  <a:cubicBezTo>
                    <a:pt x="1430527" y="819845"/>
                    <a:pt x="1447250" y="813361"/>
                    <a:pt x="1463810" y="810520"/>
                  </a:cubicBezTo>
                  <a:cubicBezTo>
                    <a:pt x="1487109" y="806342"/>
                    <a:pt x="1470710" y="811489"/>
                    <a:pt x="1472375" y="816135"/>
                  </a:cubicBezTo>
                  <a:cubicBezTo>
                    <a:pt x="1473389" y="818909"/>
                    <a:pt x="1479275" y="818341"/>
                    <a:pt x="1477651" y="822385"/>
                  </a:cubicBezTo>
                  <a:cubicBezTo>
                    <a:pt x="1476393" y="825427"/>
                    <a:pt x="1472659" y="828535"/>
                    <a:pt x="1471603" y="831543"/>
                  </a:cubicBezTo>
                  <a:cubicBezTo>
                    <a:pt x="1467747" y="842840"/>
                    <a:pt x="1482968" y="826095"/>
                    <a:pt x="1484511" y="822151"/>
                  </a:cubicBezTo>
                  <a:cubicBezTo>
                    <a:pt x="1489219" y="809985"/>
                    <a:pt x="1502452" y="821516"/>
                    <a:pt x="1503953" y="824858"/>
                  </a:cubicBezTo>
                  <a:cubicBezTo>
                    <a:pt x="1505455" y="828201"/>
                    <a:pt x="1501599" y="830808"/>
                    <a:pt x="1496282" y="834150"/>
                  </a:cubicBezTo>
                  <a:cubicBezTo>
                    <a:pt x="1486825" y="840133"/>
                    <a:pt x="1486825" y="846651"/>
                    <a:pt x="1479031" y="852867"/>
                  </a:cubicBezTo>
                  <a:cubicBezTo>
                    <a:pt x="1472050" y="858449"/>
                    <a:pt x="1449441" y="862460"/>
                    <a:pt x="1453703" y="868476"/>
                  </a:cubicBezTo>
                  <a:cubicBezTo>
                    <a:pt x="1456910" y="873055"/>
                    <a:pt x="1472983" y="875161"/>
                    <a:pt x="1472375" y="880709"/>
                  </a:cubicBezTo>
                  <a:cubicBezTo>
                    <a:pt x="1471684" y="887394"/>
                    <a:pt x="1445829" y="891873"/>
                    <a:pt x="1439497" y="892174"/>
                  </a:cubicBezTo>
                  <a:cubicBezTo>
                    <a:pt x="1419202" y="893109"/>
                    <a:pt x="1435803" y="878035"/>
                    <a:pt x="1432881" y="870782"/>
                  </a:cubicBezTo>
                  <a:cubicBezTo>
                    <a:pt x="1431419" y="867173"/>
                    <a:pt x="1409258" y="877467"/>
                    <a:pt x="1403413" y="879105"/>
                  </a:cubicBezTo>
                  <a:cubicBezTo>
                    <a:pt x="1399638" y="880074"/>
                    <a:pt x="1374269" y="882046"/>
                    <a:pt x="1386730" y="876999"/>
                  </a:cubicBezTo>
                  <a:cubicBezTo>
                    <a:pt x="1392900" y="874526"/>
                    <a:pt x="1419730" y="868276"/>
                    <a:pt x="1418187" y="863128"/>
                  </a:cubicBezTo>
                  <a:cubicBezTo>
                    <a:pt x="1415792" y="854940"/>
                    <a:pt x="1434788" y="852867"/>
                    <a:pt x="1446600" y="848054"/>
                  </a:cubicBezTo>
                  <a:cubicBezTo>
                    <a:pt x="1461415" y="841971"/>
                    <a:pt x="1465799" y="832513"/>
                    <a:pt x="1453216" y="830674"/>
                  </a:cubicBezTo>
                  <a:cubicBezTo>
                    <a:pt x="1439862" y="828736"/>
                    <a:pt x="1433408" y="834618"/>
                    <a:pt x="1420744" y="840935"/>
                  </a:cubicBezTo>
                  <a:cubicBezTo>
                    <a:pt x="1408080" y="847252"/>
                    <a:pt x="1400449" y="842138"/>
                    <a:pt x="1414859" y="836690"/>
                  </a:cubicBezTo>
                  <a:cubicBezTo>
                    <a:pt x="1430364" y="830774"/>
                    <a:pt x="1442135" y="820781"/>
                    <a:pt x="1417457" y="828903"/>
                  </a:cubicBezTo>
                  <a:cubicBezTo>
                    <a:pt x="1398907" y="835019"/>
                    <a:pt x="1390383" y="844979"/>
                    <a:pt x="1370819" y="843743"/>
                  </a:cubicBezTo>
                  <a:cubicBezTo>
                    <a:pt x="1362336" y="843208"/>
                    <a:pt x="1348048" y="844578"/>
                    <a:pt x="1340214" y="851330"/>
                  </a:cubicBezTo>
                  <a:cubicBezTo>
                    <a:pt x="1330229" y="859987"/>
                    <a:pt x="1341960" y="866304"/>
                    <a:pt x="1331569" y="874726"/>
                  </a:cubicBezTo>
                  <a:cubicBezTo>
                    <a:pt x="1326292" y="879072"/>
                    <a:pt x="1305672" y="885255"/>
                    <a:pt x="1308757" y="890669"/>
                  </a:cubicBezTo>
                  <a:cubicBezTo>
                    <a:pt x="1312370" y="896886"/>
                    <a:pt x="1343299" y="882681"/>
                    <a:pt x="1351174" y="880642"/>
                  </a:cubicBezTo>
                  <a:cubicBezTo>
                    <a:pt x="1354299" y="879773"/>
                    <a:pt x="1383077" y="877534"/>
                    <a:pt x="1372686" y="881912"/>
                  </a:cubicBezTo>
                  <a:cubicBezTo>
                    <a:pt x="1367450" y="884085"/>
                    <a:pt x="1368059" y="886391"/>
                    <a:pt x="1366841" y="888965"/>
                  </a:cubicBezTo>
                  <a:cubicBezTo>
                    <a:pt x="1365218" y="892307"/>
                    <a:pt x="1355841" y="892976"/>
                    <a:pt x="1352351" y="894379"/>
                  </a:cubicBezTo>
                  <a:cubicBezTo>
                    <a:pt x="1345410" y="897120"/>
                    <a:pt x="1343299" y="901064"/>
                    <a:pt x="1349793" y="901733"/>
                  </a:cubicBezTo>
                  <a:cubicBezTo>
                    <a:pt x="1358723" y="902669"/>
                    <a:pt x="1350686" y="908852"/>
                    <a:pt x="1353852" y="912395"/>
                  </a:cubicBezTo>
                  <a:cubicBezTo>
                    <a:pt x="1357018" y="915938"/>
                    <a:pt x="1322355" y="925163"/>
                    <a:pt x="1317322" y="927268"/>
                  </a:cubicBezTo>
                  <a:cubicBezTo>
                    <a:pt x="1301212" y="934501"/>
                    <a:pt x="1285641" y="942513"/>
                    <a:pt x="1270684" y="951266"/>
                  </a:cubicBezTo>
                  <a:cubicBezTo>
                    <a:pt x="1235127" y="971321"/>
                    <a:pt x="1208257" y="967611"/>
                    <a:pt x="1173269" y="983320"/>
                  </a:cubicBezTo>
                  <a:cubicBezTo>
                    <a:pt x="1161376" y="988634"/>
                    <a:pt x="1153582" y="983821"/>
                    <a:pt x="1140797" y="989403"/>
                  </a:cubicBezTo>
                  <a:cubicBezTo>
                    <a:pt x="1127199" y="995219"/>
                    <a:pt x="1122856" y="991275"/>
                    <a:pt x="1118513" y="986562"/>
                  </a:cubicBezTo>
                  <a:cubicBezTo>
                    <a:pt x="1108447" y="975666"/>
                    <a:pt x="1065259" y="1010627"/>
                    <a:pt x="1054584" y="1017445"/>
                  </a:cubicBezTo>
                  <a:cubicBezTo>
                    <a:pt x="1043909" y="1024264"/>
                    <a:pt x="1026861" y="1032486"/>
                    <a:pt x="1025238" y="1040842"/>
                  </a:cubicBezTo>
                  <a:cubicBezTo>
                    <a:pt x="1023614" y="1049198"/>
                    <a:pt x="1033802" y="1045086"/>
                    <a:pt x="1043584" y="1040541"/>
                  </a:cubicBezTo>
                  <a:cubicBezTo>
                    <a:pt x="1052189" y="1036497"/>
                    <a:pt x="1053691" y="1029912"/>
                    <a:pt x="1062499" y="1025400"/>
                  </a:cubicBezTo>
                  <a:cubicBezTo>
                    <a:pt x="1080034" y="1016476"/>
                    <a:pt x="1085838" y="1010025"/>
                    <a:pt x="1100491" y="999931"/>
                  </a:cubicBezTo>
                  <a:cubicBezTo>
                    <a:pt x="1110963" y="992712"/>
                    <a:pt x="1110517" y="999931"/>
                    <a:pt x="1105849" y="1004577"/>
                  </a:cubicBezTo>
                  <a:cubicBezTo>
                    <a:pt x="1096501" y="1013173"/>
                    <a:pt x="1086171" y="1021008"/>
                    <a:pt x="1075001" y="1027974"/>
                  </a:cubicBezTo>
                  <a:cubicBezTo>
                    <a:pt x="1037090" y="1052707"/>
                    <a:pt x="1075610" y="1045320"/>
                    <a:pt x="1092008" y="1055448"/>
                  </a:cubicBezTo>
                  <a:cubicBezTo>
                    <a:pt x="1094687" y="1057119"/>
                    <a:pt x="1077842" y="1072995"/>
                    <a:pt x="1072971" y="1074399"/>
                  </a:cubicBezTo>
                  <a:cubicBezTo>
                    <a:pt x="1069602" y="1075402"/>
                    <a:pt x="1051499" y="1078878"/>
                    <a:pt x="1060226" y="1072861"/>
                  </a:cubicBezTo>
                  <a:cubicBezTo>
                    <a:pt x="1078289" y="1060461"/>
                    <a:pt x="1046385" y="1060762"/>
                    <a:pt x="1034452" y="1066177"/>
                  </a:cubicBezTo>
                  <a:cubicBezTo>
                    <a:pt x="1027511" y="1069319"/>
                    <a:pt x="1031894" y="1064071"/>
                    <a:pt x="1027470" y="1064305"/>
                  </a:cubicBezTo>
                  <a:cubicBezTo>
                    <a:pt x="1023980" y="1064506"/>
                    <a:pt x="1016552" y="1069452"/>
                    <a:pt x="1013101" y="1070689"/>
                  </a:cubicBezTo>
                  <a:cubicBezTo>
                    <a:pt x="998002" y="1075970"/>
                    <a:pt x="989519" y="1070288"/>
                    <a:pt x="975921" y="1082253"/>
                  </a:cubicBezTo>
                  <a:cubicBezTo>
                    <a:pt x="955910" y="1099834"/>
                    <a:pt x="914428" y="1119554"/>
                    <a:pt x="887679" y="1132990"/>
                  </a:cubicBezTo>
                  <a:cubicBezTo>
                    <a:pt x="880901" y="1136333"/>
                    <a:pt x="823750" y="1165445"/>
                    <a:pt x="823994" y="1155284"/>
                  </a:cubicBezTo>
                  <a:cubicBezTo>
                    <a:pt x="823994" y="1149635"/>
                    <a:pt x="835237" y="1140611"/>
                    <a:pt x="842300" y="1135430"/>
                  </a:cubicBezTo>
                  <a:cubicBezTo>
                    <a:pt x="850702" y="1129214"/>
                    <a:pt x="866856" y="1124167"/>
                    <a:pt x="850986" y="1122830"/>
                  </a:cubicBezTo>
                  <a:cubicBezTo>
                    <a:pt x="837429" y="1121693"/>
                    <a:pt x="821437" y="1124935"/>
                    <a:pt x="805363" y="1130150"/>
                  </a:cubicBezTo>
                  <a:cubicBezTo>
                    <a:pt x="802846" y="1130985"/>
                    <a:pt x="776382" y="1139909"/>
                    <a:pt x="779507" y="1142884"/>
                  </a:cubicBezTo>
                  <a:cubicBezTo>
                    <a:pt x="783566" y="1146895"/>
                    <a:pt x="707217" y="1172364"/>
                    <a:pt x="698044" y="1175004"/>
                  </a:cubicBezTo>
                  <a:cubicBezTo>
                    <a:pt x="685014" y="1178547"/>
                    <a:pt x="672594" y="1185833"/>
                    <a:pt x="659727" y="1190813"/>
                  </a:cubicBezTo>
                  <a:cubicBezTo>
                    <a:pt x="641056" y="1198133"/>
                    <a:pt x="625956" y="1200239"/>
                    <a:pt x="607894" y="1204550"/>
                  </a:cubicBezTo>
                  <a:cubicBezTo>
                    <a:pt x="578182" y="1211636"/>
                    <a:pt x="553747" y="1228749"/>
                    <a:pt x="543681" y="1246798"/>
                  </a:cubicBezTo>
                  <a:cubicBezTo>
                    <a:pt x="539906" y="1253482"/>
                    <a:pt x="520301" y="1266852"/>
                    <a:pt x="510113" y="1269526"/>
                  </a:cubicBezTo>
                  <a:cubicBezTo>
                    <a:pt x="503822" y="1271063"/>
                    <a:pt x="511006" y="1259866"/>
                    <a:pt x="509910" y="1258061"/>
                  </a:cubicBezTo>
                  <a:cubicBezTo>
                    <a:pt x="505149" y="1254990"/>
                    <a:pt x="499779" y="1252617"/>
                    <a:pt x="494039" y="1251043"/>
                  </a:cubicBezTo>
                  <a:cubicBezTo>
                    <a:pt x="483202" y="1251344"/>
                    <a:pt x="481863" y="1264947"/>
                    <a:pt x="481132" y="1268256"/>
                  </a:cubicBezTo>
                  <a:cubicBezTo>
                    <a:pt x="468022" y="1323939"/>
                    <a:pt x="416473" y="1277648"/>
                    <a:pt x="372554" y="1300008"/>
                  </a:cubicBezTo>
                  <a:cubicBezTo>
                    <a:pt x="358795" y="1307027"/>
                    <a:pt x="384731" y="1305590"/>
                    <a:pt x="385868" y="1307595"/>
                  </a:cubicBezTo>
                  <a:cubicBezTo>
                    <a:pt x="387491" y="1310135"/>
                    <a:pt x="374381" y="1315316"/>
                    <a:pt x="373691" y="1318759"/>
                  </a:cubicBezTo>
                  <a:cubicBezTo>
                    <a:pt x="372230" y="1326145"/>
                    <a:pt x="376248" y="1328786"/>
                    <a:pt x="366872" y="1338211"/>
                  </a:cubicBezTo>
                  <a:cubicBezTo>
                    <a:pt x="359200" y="1346066"/>
                    <a:pt x="356806" y="1338211"/>
                    <a:pt x="346009" y="1345331"/>
                  </a:cubicBezTo>
                  <a:cubicBezTo>
                    <a:pt x="331356" y="1354923"/>
                    <a:pt x="330990" y="1376615"/>
                    <a:pt x="312076" y="1382732"/>
                  </a:cubicBezTo>
                  <a:cubicBezTo>
                    <a:pt x="308301" y="1383935"/>
                    <a:pt x="307367" y="1381528"/>
                    <a:pt x="303633" y="1383868"/>
                  </a:cubicBezTo>
                  <a:cubicBezTo>
                    <a:pt x="297378" y="1388230"/>
                    <a:pt x="291777" y="1393186"/>
                    <a:pt x="286951" y="1398641"/>
                  </a:cubicBezTo>
                  <a:cubicBezTo>
                    <a:pt x="276560" y="1409337"/>
                    <a:pt x="270715" y="1415888"/>
                    <a:pt x="272014" y="1424210"/>
                  </a:cubicBezTo>
                  <a:cubicBezTo>
                    <a:pt x="273394" y="1434237"/>
                    <a:pt x="232195" y="1454024"/>
                    <a:pt x="256305" y="1428087"/>
                  </a:cubicBezTo>
                  <a:cubicBezTo>
                    <a:pt x="269335" y="1414049"/>
                    <a:pt x="278183" y="1399677"/>
                    <a:pt x="292349" y="1385773"/>
                  </a:cubicBezTo>
                  <a:cubicBezTo>
                    <a:pt x="305663" y="1372705"/>
                    <a:pt x="323278" y="1361608"/>
                    <a:pt x="335212" y="1347904"/>
                  </a:cubicBezTo>
                  <a:cubicBezTo>
                    <a:pt x="351448" y="1329220"/>
                    <a:pt x="315445" y="1350912"/>
                    <a:pt x="307043" y="1356628"/>
                  </a:cubicBezTo>
                  <a:cubicBezTo>
                    <a:pt x="285571" y="1371167"/>
                    <a:pt x="272298" y="1390586"/>
                    <a:pt x="251800" y="1406228"/>
                  </a:cubicBezTo>
                  <a:cubicBezTo>
                    <a:pt x="236822" y="1417659"/>
                    <a:pt x="253423" y="1416255"/>
                    <a:pt x="237025" y="1424578"/>
                  </a:cubicBezTo>
                  <a:cubicBezTo>
                    <a:pt x="227852" y="1429291"/>
                    <a:pt x="229516" y="1431831"/>
                    <a:pt x="223103" y="1436477"/>
                  </a:cubicBezTo>
                  <a:cubicBezTo>
                    <a:pt x="213767" y="1443161"/>
                    <a:pt x="219572" y="1432265"/>
                    <a:pt x="215472" y="1433134"/>
                  </a:cubicBezTo>
                  <a:cubicBezTo>
                    <a:pt x="195664" y="1436711"/>
                    <a:pt x="202646" y="1444331"/>
                    <a:pt x="191118" y="1453188"/>
                  </a:cubicBezTo>
                  <a:cubicBezTo>
                    <a:pt x="181742" y="1460207"/>
                    <a:pt x="171067" y="1465589"/>
                    <a:pt x="165384" y="1474078"/>
                  </a:cubicBezTo>
                  <a:cubicBezTo>
                    <a:pt x="157835" y="1485442"/>
                    <a:pt x="177845" y="1477822"/>
                    <a:pt x="185679" y="1477420"/>
                  </a:cubicBezTo>
                  <a:cubicBezTo>
                    <a:pt x="205040" y="1476284"/>
                    <a:pt x="155196" y="1494132"/>
                    <a:pt x="153938" y="1494801"/>
                  </a:cubicBezTo>
                  <a:cubicBezTo>
                    <a:pt x="132507" y="1504460"/>
                    <a:pt x="116798" y="1515423"/>
                    <a:pt x="93987" y="1522977"/>
                  </a:cubicBezTo>
                  <a:cubicBezTo>
                    <a:pt x="79902" y="1527623"/>
                    <a:pt x="67279" y="1528124"/>
                    <a:pt x="54899" y="1531567"/>
                  </a:cubicBezTo>
                  <a:cubicBezTo>
                    <a:pt x="39150" y="1535945"/>
                    <a:pt x="14796" y="1555999"/>
                    <a:pt x="-60" y="1564456"/>
                  </a:cubicBezTo>
                  <a:lnTo>
                    <a:pt x="172609" y="1746514"/>
                  </a:lnTo>
                  <a:cubicBezTo>
                    <a:pt x="180159" y="1754469"/>
                    <a:pt x="187696" y="1762413"/>
                    <a:pt x="195218" y="1770345"/>
                  </a:cubicBezTo>
                  <a:cubicBezTo>
                    <a:pt x="199764" y="1775158"/>
                    <a:pt x="237756" y="1740598"/>
                    <a:pt x="241246" y="1738325"/>
                  </a:cubicBezTo>
                  <a:cubicBezTo>
                    <a:pt x="253626" y="1730036"/>
                    <a:pt x="256427" y="1738091"/>
                    <a:pt x="263855" y="1738526"/>
                  </a:cubicBezTo>
                  <a:cubicBezTo>
                    <a:pt x="277331" y="1739328"/>
                    <a:pt x="295637" y="1733211"/>
                    <a:pt x="309924" y="1733479"/>
                  </a:cubicBezTo>
                  <a:cubicBezTo>
                    <a:pt x="325470" y="1733779"/>
                    <a:pt x="328799" y="1728198"/>
                    <a:pt x="339271" y="1717201"/>
                  </a:cubicBezTo>
                  <a:cubicBezTo>
                    <a:pt x="348282" y="1707743"/>
                    <a:pt x="343533" y="1704133"/>
                    <a:pt x="348931" y="1696646"/>
                  </a:cubicBezTo>
                  <a:cubicBezTo>
                    <a:pt x="353680" y="1689961"/>
                    <a:pt x="365167" y="1683276"/>
                    <a:pt x="373650" y="1679332"/>
                  </a:cubicBezTo>
                  <a:cubicBezTo>
                    <a:pt x="385827" y="1674051"/>
                    <a:pt x="385827" y="1679332"/>
                    <a:pt x="394595" y="1679332"/>
                  </a:cubicBezTo>
                  <a:cubicBezTo>
                    <a:pt x="416878" y="1679332"/>
                    <a:pt x="443302" y="1672213"/>
                    <a:pt x="465789" y="1672882"/>
                  </a:cubicBezTo>
                  <a:cubicBezTo>
                    <a:pt x="488276" y="1673550"/>
                    <a:pt x="506622" y="1684246"/>
                    <a:pt x="532356" y="1679566"/>
                  </a:cubicBezTo>
                  <a:cubicBezTo>
                    <a:pt x="547375" y="1676826"/>
                    <a:pt x="590359" y="1656571"/>
                    <a:pt x="594986" y="1667901"/>
                  </a:cubicBezTo>
                  <a:cubicBezTo>
                    <a:pt x="597340" y="1673584"/>
                    <a:pt x="597381" y="1675322"/>
                    <a:pt x="607853" y="1674954"/>
                  </a:cubicBezTo>
                  <a:cubicBezTo>
                    <a:pt x="623277" y="1674419"/>
                    <a:pt x="604281" y="1692067"/>
                    <a:pt x="598802" y="1699387"/>
                  </a:cubicBezTo>
                  <a:cubicBezTo>
                    <a:pt x="602536" y="1702361"/>
                    <a:pt x="625226" y="1695576"/>
                    <a:pt x="617514" y="1703230"/>
                  </a:cubicBezTo>
                  <a:cubicBezTo>
                    <a:pt x="608422" y="1712255"/>
                    <a:pt x="617717" y="1707709"/>
                    <a:pt x="621248" y="1713257"/>
                  </a:cubicBezTo>
                  <a:cubicBezTo>
                    <a:pt x="626849" y="1722215"/>
                    <a:pt x="645358" y="1712990"/>
                    <a:pt x="652502" y="1702395"/>
                  </a:cubicBezTo>
                  <a:cubicBezTo>
                    <a:pt x="660620" y="1690162"/>
                    <a:pt x="667764" y="1711352"/>
                    <a:pt x="669712" y="1711386"/>
                  </a:cubicBezTo>
                  <a:cubicBezTo>
                    <a:pt x="679738" y="1711386"/>
                    <a:pt x="680874" y="1701359"/>
                    <a:pt x="692118" y="1699888"/>
                  </a:cubicBezTo>
                  <a:cubicBezTo>
                    <a:pt x="699302" y="1698986"/>
                    <a:pt x="715660" y="1696345"/>
                    <a:pt x="720530" y="1698351"/>
                  </a:cubicBezTo>
                  <a:cubicBezTo>
                    <a:pt x="725401" y="1700356"/>
                    <a:pt x="707663" y="1709480"/>
                    <a:pt x="716877" y="1713124"/>
                  </a:cubicBezTo>
                  <a:cubicBezTo>
                    <a:pt x="720936" y="1714694"/>
                    <a:pt x="723737" y="1711453"/>
                    <a:pt x="728364" y="1711352"/>
                  </a:cubicBezTo>
                  <a:cubicBezTo>
                    <a:pt x="734412" y="1711352"/>
                    <a:pt x="733032" y="1717235"/>
                    <a:pt x="738512" y="1717135"/>
                  </a:cubicBezTo>
                  <a:cubicBezTo>
                    <a:pt x="750502" y="1715761"/>
                    <a:pt x="761766" y="1711596"/>
                    <a:pt x="770983" y="1705135"/>
                  </a:cubicBezTo>
                  <a:cubicBezTo>
                    <a:pt x="782714" y="1695509"/>
                    <a:pt x="795053" y="1702127"/>
                    <a:pt x="806865" y="1698752"/>
                  </a:cubicBezTo>
                  <a:cubicBezTo>
                    <a:pt x="818676" y="1695376"/>
                    <a:pt x="824684" y="1685382"/>
                    <a:pt x="833492" y="1688725"/>
                  </a:cubicBezTo>
                  <a:cubicBezTo>
                    <a:pt x="846846" y="1693738"/>
                    <a:pt x="845669" y="1693437"/>
                    <a:pt x="863366" y="1682574"/>
                  </a:cubicBezTo>
                  <a:cubicBezTo>
                    <a:pt x="872758" y="1679159"/>
                    <a:pt x="882394" y="1676224"/>
                    <a:pt x="892225" y="1673784"/>
                  </a:cubicBezTo>
                  <a:cubicBezTo>
                    <a:pt x="896852" y="1673416"/>
                    <a:pt x="913454" y="1680469"/>
                    <a:pt x="916254" y="1678798"/>
                  </a:cubicBezTo>
                  <a:lnTo>
                    <a:pt x="924697" y="1674219"/>
                  </a:lnTo>
                  <a:cubicBezTo>
                    <a:pt x="942151" y="1664726"/>
                    <a:pt x="959657" y="1655301"/>
                    <a:pt x="977220" y="1645942"/>
                  </a:cubicBezTo>
                  <a:cubicBezTo>
                    <a:pt x="1045464" y="1609554"/>
                    <a:pt x="1114251" y="1574125"/>
                    <a:pt x="1183578" y="1539655"/>
                  </a:cubicBezTo>
                  <a:cubicBezTo>
                    <a:pt x="1339066" y="1462336"/>
                    <a:pt x="1497065" y="1389918"/>
                    <a:pt x="1657586" y="1322402"/>
                  </a:cubicBezTo>
                  <a:cubicBezTo>
                    <a:pt x="1675961" y="1314671"/>
                    <a:pt x="1694372" y="1307017"/>
                    <a:pt x="1712828" y="1299440"/>
                  </a:cubicBezTo>
                  <a:lnTo>
                    <a:pt x="1721596" y="1295797"/>
                  </a:lnTo>
                  <a:cubicBezTo>
                    <a:pt x="1721060" y="1293591"/>
                    <a:pt x="1720719" y="1291358"/>
                    <a:pt x="1720581" y="1289112"/>
                  </a:cubicBezTo>
                  <a:cubicBezTo>
                    <a:pt x="1722894" y="1277982"/>
                    <a:pt x="1739496" y="1291084"/>
                    <a:pt x="1741688" y="1291552"/>
                  </a:cubicBezTo>
                  <a:cubicBezTo>
                    <a:pt x="1750333" y="1293357"/>
                    <a:pt x="1771805" y="1288845"/>
                    <a:pt x="1779599" y="1282728"/>
                  </a:cubicBezTo>
                  <a:cubicBezTo>
                    <a:pt x="1794495" y="1271063"/>
                    <a:pt x="1801842" y="1279185"/>
                    <a:pt x="1817428" y="1273737"/>
                  </a:cubicBezTo>
                  <a:cubicBezTo>
                    <a:pt x="1830052" y="1269325"/>
                    <a:pt x="1837723" y="1273136"/>
                    <a:pt x="1849575" y="1269091"/>
                  </a:cubicBezTo>
                  <a:cubicBezTo>
                    <a:pt x="1856678" y="1266685"/>
                    <a:pt x="1856557" y="1263175"/>
                    <a:pt x="1861509" y="1259967"/>
                  </a:cubicBezTo>
                  <a:cubicBezTo>
                    <a:pt x="1867719" y="1255923"/>
                    <a:pt x="1877745" y="1253917"/>
                    <a:pt x="1884929" y="1252380"/>
                  </a:cubicBezTo>
                  <a:cubicBezTo>
                    <a:pt x="1904980" y="1248101"/>
                    <a:pt x="1906360" y="1247333"/>
                    <a:pt x="1914519" y="1234264"/>
                  </a:cubicBezTo>
                  <a:cubicBezTo>
                    <a:pt x="1919390" y="1226476"/>
                    <a:pt x="1923408" y="1218221"/>
                    <a:pt x="1937005" y="1213374"/>
                  </a:cubicBezTo>
                  <a:cubicBezTo>
                    <a:pt x="1954865" y="1206957"/>
                    <a:pt x="1995739" y="1193320"/>
                    <a:pt x="2005156" y="1204584"/>
                  </a:cubicBezTo>
                  <a:cubicBezTo>
                    <a:pt x="2012949" y="1213876"/>
                    <a:pt x="2030484" y="1197899"/>
                    <a:pt x="2040915" y="1202378"/>
                  </a:cubicBezTo>
                  <a:cubicBezTo>
                    <a:pt x="2052037" y="1207024"/>
                    <a:pt x="2063848" y="1220259"/>
                    <a:pt x="2079029" y="1220025"/>
                  </a:cubicBezTo>
                  <a:cubicBezTo>
                    <a:pt x="2099324" y="1219725"/>
                    <a:pt x="2118807" y="1210299"/>
                    <a:pt x="2141172" y="1206923"/>
                  </a:cubicBezTo>
                  <a:cubicBezTo>
                    <a:pt x="2158788" y="1204216"/>
                    <a:pt x="2180463" y="1189443"/>
                    <a:pt x="2196821" y="1193086"/>
                  </a:cubicBezTo>
                  <a:cubicBezTo>
                    <a:pt x="2202219" y="1194256"/>
                    <a:pt x="2236680" y="1205319"/>
                    <a:pt x="2228481" y="1210500"/>
                  </a:cubicBezTo>
                  <a:cubicBezTo>
                    <a:pt x="2213503" y="1219892"/>
                    <a:pt x="2196739" y="1212706"/>
                    <a:pt x="2182776" y="1218689"/>
                  </a:cubicBezTo>
                  <a:cubicBezTo>
                    <a:pt x="2181112" y="1219357"/>
                    <a:pt x="2178961" y="1237072"/>
                    <a:pt x="2179732" y="1238743"/>
                  </a:cubicBezTo>
                  <a:cubicBezTo>
                    <a:pt x="2181721" y="1242586"/>
                    <a:pt x="2185212" y="1268824"/>
                    <a:pt x="2170112" y="1270696"/>
                  </a:cubicBezTo>
                  <a:cubicBezTo>
                    <a:pt x="2170234" y="1276010"/>
                    <a:pt x="2174979" y="1280479"/>
                    <a:pt x="2181356" y="1281291"/>
                  </a:cubicBezTo>
                  <a:cubicBezTo>
                    <a:pt x="2196861" y="1267186"/>
                    <a:pt x="2207577" y="1257527"/>
                    <a:pt x="2234123" y="1254251"/>
                  </a:cubicBezTo>
                  <a:cubicBezTo>
                    <a:pt x="2246300" y="1252747"/>
                    <a:pt x="2251211" y="1248870"/>
                    <a:pt x="2258476" y="1242185"/>
                  </a:cubicBezTo>
                  <a:cubicBezTo>
                    <a:pt x="2260060" y="1240782"/>
                    <a:pt x="2272642" y="1231724"/>
                    <a:pt x="2270248" y="1238843"/>
                  </a:cubicBezTo>
                  <a:cubicBezTo>
                    <a:pt x="2278366" y="1232961"/>
                    <a:pt x="2277919" y="1230520"/>
                    <a:pt x="2272399" y="1226209"/>
                  </a:cubicBezTo>
                  <a:cubicBezTo>
                    <a:pt x="2267000" y="1228549"/>
                    <a:pt x="2258517" y="1233128"/>
                    <a:pt x="2252753" y="1231724"/>
                  </a:cubicBezTo>
                  <a:cubicBezTo>
                    <a:pt x="2239278" y="1228381"/>
                    <a:pt x="2260019" y="1216583"/>
                    <a:pt x="2268218" y="1212137"/>
                  </a:cubicBezTo>
                  <a:cubicBezTo>
                    <a:pt x="2284900" y="1203013"/>
                    <a:pt x="2303653" y="1199069"/>
                    <a:pt x="2320538" y="1191047"/>
                  </a:cubicBezTo>
                  <a:cubicBezTo>
                    <a:pt x="2326627" y="1188173"/>
                    <a:pt x="2334542" y="1182424"/>
                    <a:pt x="2341888" y="1181355"/>
                  </a:cubicBezTo>
                  <a:cubicBezTo>
                    <a:pt x="2350980" y="1180051"/>
                    <a:pt x="2358124" y="1169422"/>
                    <a:pt x="2364253" y="1163707"/>
                  </a:cubicBezTo>
                  <a:cubicBezTo>
                    <a:pt x="2380002" y="1149335"/>
                    <a:pt x="2402083" y="1144889"/>
                    <a:pt x="2426234" y="1137168"/>
                  </a:cubicBezTo>
                  <a:cubicBezTo>
                    <a:pt x="2441171" y="1132355"/>
                    <a:pt x="2475754" y="1125437"/>
                    <a:pt x="2486591" y="1117114"/>
                  </a:cubicBezTo>
                  <a:cubicBezTo>
                    <a:pt x="2497428" y="1108792"/>
                    <a:pt x="2508753" y="1099166"/>
                    <a:pt x="2512284" y="1089907"/>
                  </a:cubicBezTo>
                  <a:cubicBezTo>
                    <a:pt x="2515816" y="1080649"/>
                    <a:pt x="2515450" y="1071491"/>
                    <a:pt x="2520767" y="1061731"/>
                  </a:cubicBezTo>
                  <a:cubicBezTo>
                    <a:pt x="2526085" y="1051972"/>
                    <a:pt x="2529779" y="1047727"/>
                    <a:pt x="2545933" y="1046357"/>
                  </a:cubicBezTo>
                  <a:cubicBezTo>
                    <a:pt x="2556324" y="1045488"/>
                    <a:pt x="2582464" y="1034792"/>
                    <a:pt x="2584696" y="1042680"/>
                  </a:cubicBezTo>
                  <a:cubicBezTo>
                    <a:pt x="2586275" y="1049412"/>
                    <a:pt x="2590001" y="1055675"/>
                    <a:pt x="2595493" y="1060829"/>
                  </a:cubicBezTo>
                  <a:cubicBezTo>
                    <a:pt x="2600916" y="1065448"/>
                    <a:pt x="2607240" y="1069292"/>
                    <a:pt x="2614205" y="1072193"/>
                  </a:cubicBezTo>
                  <a:cubicBezTo>
                    <a:pt x="2629751" y="1078878"/>
                    <a:pt x="2628330" y="1076772"/>
                    <a:pt x="2645013" y="1067346"/>
                  </a:cubicBezTo>
                  <a:cubicBezTo>
                    <a:pt x="2661695" y="1057921"/>
                    <a:pt x="2677200" y="1054311"/>
                    <a:pt x="2687267" y="1040875"/>
                  </a:cubicBezTo>
                  <a:cubicBezTo>
                    <a:pt x="2688647" y="1039037"/>
                    <a:pt x="2690879" y="1032853"/>
                    <a:pt x="2695912" y="1035561"/>
                  </a:cubicBezTo>
                  <a:cubicBezTo>
                    <a:pt x="2703178" y="1039505"/>
                    <a:pt x="2692340" y="1041911"/>
                    <a:pt x="2691610" y="1045588"/>
                  </a:cubicBezTo>
                  <a:cubicBezTo>
                    <a:pt x="2690636" y="1050468"/>
                    <a:pt x="2731388" y="1040708"/>
                    <a:pt x="2731469" y="1040240"/>
                  </a:cubicBezTo>
                  <a:cubicBezTo>
                    <a:pt x="2731022" y="1044719"/>
                    <a:pt x="2698997" y="1051938"/>
                    <a:pt x="2693152" y="1054077"/>
                  </a:cubicBezTo>
                  <a:cubicBezTo>
                    <a:pt x="2677809" y="1059592"/>
                    <a:pt x="2664739" y="1073530"/>
                    <a:pt x="2659828" y="1082354"/>
                  </a:cubicBezTo>
                  <a:cubicBezTo>
                    <a:pt x="2654917" y="1091178"/>
                    <a:pt x="2671640" y="1094420"/>
                    <a:pt x="2684507" y="1091378"/>
                  </a:cubicBezTo>
                  <a:cubicBezTo>
                    <a:pt x="2708333" y="1085729"/>
                    <a:pt x="2711986" y="1070722"/>
                    <a:pt x="2723879" y="1060161"/>
                  </a:cubicBezTo>
                  <a:cubicBezTo>
                    <a:pt x="2730982" y="1053910"/>
                    <a:pt x="2756959" y="1046791"/>
                    <a:pt x="2767634" y="1042045"/>
                  </a:cubicBezTo>
                  <a:cubicBezTo>
                    <a:pt x="2774007" y="1039104"/>
                    <a:pt x="2810213" y="1024999"/>
                    <a:pt x="2810213" y="1020453"/>
                  </a:cubicBezTo>
                  <a:cubicBezTo>
                    <a:pt x="2810213" y="1018147"/>
                    <a:pt x="2802095" y="1017779"/>
                    <a:pt x="2805342" y="1014638"/>
                  </a:cubicBezTo>
                  <a:cubicBezTo>
                    <a:pt x="2808590" y="1011496"/>
                    <a:pt x="2817519" y="1008688"/>
                    <a:pt x="2822674" y="1006649"/>
                  </a:cubicBezTo>
                  <a:cubicBezTo>
                    <a:pt x="2829895" y="1004266"/>
                    <a:pt x="2836714" y="1001131"/>
                    <a:pt x="2842969" y="997324"/>
                  </a:cubicBezTo>
                  <a:cubicBezTo>
                    <a:pt x="2853157" y="990038"/>
                    <a:pt x="2835419" y="991575"/>
                    <a:pt x="2828681" y="993982"/>
                  </a:cubicBezTo>
                  <a:close/>
                  <a:moveTo>
                    <a:pt x="781861" y="1236637"/>
                  </a:moveTo>
                  <a:cubicBezTo>
                    <a:pt x="776585" y="1247099"/>
                    <a:pt x="771430" y="1258128"/>
                    <a:pt x="754342" y="1266050"/>
                  </a:cubicBezTo>
                  <a:cubicBezTo>
                    <a:pt x="740866" y="1272266"/>
                    <a:pt x="713752" y="1285736"/>
                    <a:pt x="736645" y="1285001"/>
                  </a:cubicBezTo>
                  <a:cubicBezTo>
                    <a:pt x="750689" y="1284533"/>
                    <a:pt x="720165" y="1304186"/>
                    <a:pt x="715984" y="1308397"/>
                  </a:cubicBezTo>
                  <a:cubicBezTo>
                    <a:pt x="714604" y="1309667"/>
                    <a:pt x="691387" y="1333231"/>
                    <a:pt x="695365" y="1324240"/>
                  </a:cubicBezTo>
                  <a:cubicBezTo>
                    <a:pt x="698490" y="1317188"/>
                    <a:pt x="704416" y="1309835"/>
                    <a:pt x="706973" y="1302849"/>
                  </a:cubicBezTo>
                  <a:cubicBezTo>
                    <a:pt x="711276" y="1290917"/>
                    <a:pt x="692889" y="1302047"/>
                    <a:pt x="686476" y="1308832"/>
                  </a:cubicBezTo>
                  <a:cubicBezTo>
                    <a:pt x="678845" y="1316887"/>
                    <a:pt x="680752" y="1326179"/>
                    <a:pt x="673933" y="1332529"/>
                  </a:cubicBezTo>
                  <a:cubicBezTo>
                    <a:pt x="670159" y="1335872"/>
                    <a:pt x="631111" y="1358332"/>
                    <a:pt x="632288" y="1350244"/>
                  </a:cubicBezTo>
                  <a:cubicBezTo>
                    <a:pt x="634399" y="1348305"/>
                    <a:pt x="636591" y="1346367"/>
                    <a:pt x="638864" y="1344462"/>
                  </a:cubicBezTo>
                  <a:cubicBezTo>
                    <a:pt x="641137" y="1341119"/>
                    <a:pt x="638864" y="1338713"/>
                    <a:pt x="640934" y="1335203"/>
                  </a:cubicBezTo>
                  <a:cubicBezTo>
                    <a:pt x="645521" y="1327783"/>
                    <a:pt x="654044" y="1324574"/>
                    <a:pt x="643247" y="1322770"/>
                  </a:cubicBezTo>
                  <a:cubicBezTo>
                    <a:pt x="629488" y="1320497"/>
                    <a:pt x="668332" y="1306994"/>
                    <a:pt x="671417" y="1301980"/>
                  </a:cubicBezTo>
                  <a:cubicBezTo>
                    <a:pt x="677749" y="1291686"/>
                    <a:pt x="634886" y="1306827"/>
                    <a:pt x="628432" y="1314213"/>
                  </a:cubicBezTo>
                  <a:cubicBezTo>
                    <a:pt x="622149" y="1321640"/>
                    <a:pt x="614847" y="1328448"/>
                    <a:pt x="606676" y="1334501"/>
                  </a:cubicBezTo>
                  <a:cubicBezTo>
                    <a:pt x="602617" y="1337509"/>
                    <a:pt x="576356" y="1353553"/>
                    <a:pt x="572378" y="1350912"/>
                  </a:cubicBezTo>
                  <a:cubicBezTo>
                    <a:pt x="573190" y="1351414"/>
                    <a:pt x="690088" y="1258830"/>
                    <a:pt x="702752" y="1252981"/>
                  </a:cubicBezTo>
                  <a:cubicBezTo>
                    <a:pt x="735467" y="1236470"/>
                    <a:pt x="677992" y="1285068"/>
                    <a:pt x="725158" y="1264813"/>
                  </a:cubicBezTo>
                  <a:cubicBezTo>
                    <a:pt x="744316" y="1256591"/>
                    <a:pt x="752231" y="1248101"/>
                    <a:pt x="761688" y="1236537"/>
                  </a:cubicBezTo>
                  <a:cubicBezTo>
                    <a:pt x="771917" y="1224137"/>
                    <a:pt x="787869" y="1224805"/>
                    <a:pt x="781780" y="1236804"/>
                  </a:cubicBezTo>
                  <a:cubicBezTo>
                    <a:pt x="771917" y="1256290"/>
                    <a:pt x="791847" y="1216984"/>
                    <a:pt x="781861" y="1236637"/>
                  </a:cubicBezTo>
                  <a:close/>
                  <a:moveTo>
                    <a:pt x="1030393" y="1254385"/>
                  </a:moveTo>
                  <a:cubicBezTo>
                    <a:pt x="1023955" y="1263630"/>
                    <a:pt x="1015009" y="1271521"/>
                    <a:pt x="1004253" y="1277447"/>
                  </a:cubicBezTo>
                  <a:cubicBezTo>
                    <a:pt x="987246" y="1287207"/>
                    <a:pt x="996663" y="1288109"/>
                    <a:pt x="990290" y="1297501"/>
                  </a:cubicBezTo>
                  <a:cubicBezTo>
                    <a:pt x="981401" y="1310570"/>
                    <a:pt x="925346" y="1334067"/>
                    <a:pt x="907162" y="1339949"/>
                  </a:cubicBezTo>
                  <a:cubicBezTo>
                    <a:pt x="892631" y="1344629"/>
                    <a:pt x="895513" y="1340885"/>
                    <a:pt x="905904" y="1334836"/>
                  </a:cubicBezTo>
                  <a:cubicBezTo>
                    <a:pt x="921531" y="1325744"/>
                    <a:pt x="920638" y="1324307"/>
                    <a:pt x="923642" y="1314347"/>
                  </a:cubicBezTo>
                  <a:cubicBezTo>
                    <a:pt x="925996" y="1306726"/>
                    <a:pt x="946737" y="1295396"/>
                    <a:pt x="945154" y="1290649"/>
                  </a:cubicBezTo>
                  <a:cubicBezTo>
                    <a:pt x="942516" y="1282628"/>
                    <a:pt x="912682" y="1293658"/>
                    <a:pt x="911911" y="1289146"/>
                  </a:cubicBezTo>
                  <a:cubicBezTo>
                    <a:pt x="910003" y="1276578"/>
                    <a:pt x="961431" y="1267153"/>
                    <a:pt x="970076" y="1267387"/>
                  </a:cubicBezTo>
                  <a:cubicBezTo>
                    <a:pt x="1007135" y="1268055"/>
                    <a:pt x="1017363" y="1247767"/>
                    <a:pt x="1039647" y="1228281"/>
                  </a:cubicBezTo>
                  <a:cubicBezTo>
                    <a:pt x="1043381" y="1224939"/>
                    <a:pt x="1083849" y="1190646"/>
                    <a:pt x="1088355" y="1197197"/>
                  </a:cubicBezTo>
                  <a:cubicBezTo>
                    <a:pt x="1095012" y="1206756"/>
                    <a:pt x="1039647" y="1242319"/>
                    <a:pt x="1030271" y="1254385"/>
                  </a:cubicBezTo>
                  <a:cubicBezTo>
                    <a:pt x="1015537" y="1273503"/>
                    <a:pt x="1044924" y="1235434"/>
                    <a:pt x="1030393" y="1254385"/>
                  </a:cubicBezTo>
                  <a:close/>
                  <a:moveTo>
                    <a:pt x="1658722" y="1284901"/>
                  </a:moveTo>
                  <a:cubicBezTo>
                    <a:pt x="1650239" y="1289012"/>
                    <a:pt x="1646302" y="1280221"/>
                    <a:pt x="1644191" y="1277848"/>
                  </a:cubicBezTo>
                  <a:cubicBezTo>
                    <a:pt x="1636479" y="1269125"/>
                    <a:pt x="1626859" y="1268022"/>
                    <a:pt x="1608431" y="1269225"/>
                  </a:cubicBezTo>
                  <a:cubicBezTo>
                    <a:pt x="1588948" y="1270462"/>
                    <a:pt x="1533259" y="1264746"/>
                    <a:pt x="1553189" y="1243923"/>
                  </a:cubicBezTo>
                  <a:cubicBezTo>
                    <a:pt x="1576974" y="1219190"/>
                    <a:pt x="1607376" y="1240748"/>
                    <a:pt x="1620121" y="1247266"/>
                  </a:cubicBezTo>
                  <a:cubicBezTo>
                    <a:pt x="1628239" y="1251344"/>
                    <a:pt x="1684821" y="1272099"/>
                    <a:pt x="1658722" y="1284800"/>
                  </a:cubicBezTo>
                  <a:cubicBezTo>
                    <a:pt x="1644435" y="1291819"/>
                    <a:pt x="1670168" y="1279286"/>
                    <a:pt x="1658560" y="128496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A9F36B9E-2F7F-4124-9354-0302F5BFE29C}"/>
                </a:ext>
              </a:extLst>
            </p:cNvPr>
            <p:cNvSpPr/>
            <p:nvPr/>
          </p:nvSpPr>
          <p:spPr>
            <a:xfrm>
              <a:off x="1960043" y="4762484"/>
              <a:ext cx="1719107" cy="623569"/>
            </a:xfrm>
            <a:custGeom>
              <a:avLst/>
              <a:gdLst>
                <a:gd name="connsiteX0" fmla="*/ 1718592 w 1764396"/>
                <a:gd name="connsiteY0" fmla="*/ 1121 h 853808"/>
                <a:gd name="connsiteX1" fmla="*/ 1668342 w 1764396"/>
                <a:gd name="connsiteY1" fmla="*/ 8274 h 853808"/>
                <a:gd name="connsiteX2" fmla="*/ 1648493 w 1764396"/>
                <a:gd name="connsiteY2" fmla="*/ 41430 h 853808"/>
                <a:gd name="connsiteX3" fmla="*/ 1598162 w 1764396"/>
                <a:gd name="connsiteY3" fmla="*/ 86184 h 853808"/>
                <a:gd name="connsiteX4" fmla="*/ 1544746 w 1764396"/>
                <a:gd name="connsiteY4" fmla="*/ 103164 h 853808"/>
                <a:gd name="connsiteX5" fmla="*/ 1507809 w 1764396"/>
                <a:gd name="connsiteY5" fmla="*/ 116934 h 853808"/>
                <a:gd name="connsiteX6" fmla="*/ 1484876 w 1764396"/>
                <a:gd name="connsiteY6" fmla="*/ 138158 h 853808"/>
                <a:gd name="connsiteX7" fmla="*/ 1484389 w 1764396"/>
                <a:gd name="connsiteY7" fmla="*/ 149823 h 853808"/>
                <a:gd name="connsiteX8" fmla="*/ 1407268 w 1764396"/>
                <a:gd name="connsiteY8" fmla="*/ 186990 h 853808"/>
                <a:gd name="connsiteX9" fmla="*/ 1334491 w 1764396"/>
                <a:gd name="connsiteY9" fmla="*/ 253202 h 853808"/>
                <a:gd name="connsiteX10" fmla="*/ 1283186 w 1764396"/>
                <a:gd name="connsiteY10" fmla="*/ 255809 h 853808"/>
                <a:gd name="connsiteX11" fmla="*/ 1298123 w 1764396"/>
                <a:gd name="connsiteY11" fmla="*/ 246852 h 853808"/>
                <a:gd name="connsiteX12" fmla="*/ 1316023 w 1764396"/>
                <a:gd name="connsiteY12" fmla="*/ 241938 h 853808"/>
                <a:gd name="connsiteX13" fmla="*/ 1283145 w 1764396"/>
                <a:gd name="connsiteY13" fmla="*/ 215199 h 853808"/>
                <a:gd name="connsiteX14" fmla="*/ 1256802 w 1764396"/>
                <a:gd name="connsiteY14" fmla="*/ 231243 h 853808"/>
                <a:gd name="connsiteX15" fmla="*/ 1256802 w 1764396"/>
                <a:gd name="connsiteY15" fmla="*/ 215400 h 853808"/>
                <a:gd name="connsiteX16" fmla="*/ 1243327 w 1764396"/>
                <a:gd name="connsiteY16" fmla="*/ 195112 h 853808"/>
                <a:gd name="connsiteX17" fmla="*/ 1204644 w 1764396"/>
                <a:gd name="connsiteY17" fmla="*/ 204370 h 853808"/>
                <a:gd name="connsiteX18" fmla="*/ 1200058 w 1764396"/>
                <a:gd name="connsiteY18" fmla="*/ 214899 h 853808"/>
                <a:gd name="connsiteX19" fmla="*/ 1183051 w 1764396"/>
                <a:gd name="connsiteY19" fmla="*/ 226898 h 853808"/>
                <a:gd name="connsiteX20" fmla="*/ 1178789 w 1764396"/>
                <a:gd name="connsiteY20" fmla="*/ 258416 h 853808"/>
                <a:gd name="connsiteX21" fmla="*/ 1193442 w 1764396"/>
                <a:gd name="connsiteY21" fmla="*/ 281812 h 853808"/>
                <a:gd name="connsiteX22" fmla="*/ 1170671 w 1764396"/>
                <a:gd name="connsiteY22" fmla="*/ 304875 h 853808"/>
                <a:gd name="connsiteX23" fmla="*/ 1139579 w 1764396"/>
                <a:gd name="connsiteY23" fmla="*/ 258750 h 853808"/>
                <a:gd name="connsiteX24" fmla="*/ 1137509 w 1764396"/>
                <a:gd name="connsiteY24" fmla="*/ 249659 h 853808"/>
                <a:gd name="connsiteX25" fmla="*/ 1127605 w 1764396"/>
                <a:gd name="connsiteY25" fmla="*/ 249893 h 853808"/>
                <a:gd name="connsiteX26" fmla="*/ 1143841 w 1764396"/>
                <a:gd name="connsiteY26" fmla="*/ 228335 h 853808"/>
                <a:gd name="connsiteX27" fmla="*/ 1190722 w 1764396"/>
                <a:gd name="connsiteY27" fmla="*/ 201362 h 853808"/>
                <a:gd name="connsiteX28" fmla="*/ 1218567 w 1764396"/>
                <a:gd name="connsiteY28" fmla="*/ 189363 h 853808"/>
                <a:gd name="connsiteX29" fmla="*/ 1228024 w 1764396"/>
                <a:gd name="connsiteY29" fmla="*/ 180840 h 853808"/>
                <a:gd name="connsiteX30" fmla="*/ 1205132 w 1764396"/>
                <a:gd name="connsiteY30" fmla="*/ 184583 h 853808"/>
                <a:gd name="connsiteX31" fmla="*/ 1190032 w 1764396"/>
                <a:gd name="connsiteY31" fmla="*/ 186221 h 853808"/>
                <a:gd name="connsiteX32" fmla="*/ 1133491 w 1764396"/>
                <a:gd name="connsiteY32" fmla="*/ 211055 h 853808"/>
                <a:gd name="connsiteX33" fmla="*/ 1108082 w 1764396"/>
                <a:gd name="connsiteY33" fmla="*/ 214197 h 853808"/>
                <a:gd name="connsiteX34" fmla="*/ 1088882 w 1764396"/>
                <a:gd name="connsiteY34" fmla="*/ 214598 h 853808"/>
                <a:gd name="connsiteX35" fmla="*/ 1076705 w 1764396"/>
                <a:gd name="connsiteY35" fmla="*/ 209551 h 853808"/>
                <a:gd name="connsiteX36" fmla="*/ 1031367 w 1764396"/>
                <a:gd name="connsiteY36" fmla="*/ 246317 h 853808"/>
                <a:gd name="connsiteX37" fmla="*/ 1009327 w 1764396"/>
                <a:gd name="connsiteY37" fmla="*/ 250495 h 853808"/>
                <a:gd name="connsiteX38" fmla="*/ 981726 w 1764396"/>
                <a:gd name="connsiteY38" fmla="*/ 261491 h 853808"/>
                <a:gd name="connsiteX39" fmla="*/ 986556 w 1764396"/>
                <a:gd name="connsiteY39" fmla="*/ 242740 h 853808"/>
                <a:gd name="connsiteX40" fmla="*/ 1038592 w 1764396"/>
                <a:gd name="connsiteY40" fmla="*/ 209584 h 853808"/>
                <a:gd name="connsiteX41" fmla="*/ 1000559 w 1764396"/>
                <a:gd name="connsiteY41" fmla="*/ 218542 h 853808"/>
                <a:gd name="connsiteX42" fmla="*/ 972146 w 1764396"/>
                <a:gd name="connsiteY42" fmla="*/ 231543 h 853808"/>
                <a:gd name="connsiteX43" fmla="*/ 938660 w 1764396"/>
                <a:gd name="connsiteY43" fmla="*/ 235788 h 853808"/>
                <a:gd name="connsiteX44" fmla="*/ 899369 w 1764396"/>
                <a:gd name="connsiteY44" fmla="*/ 249759 h 853808"/>
                <a:gd name="connsiteX45" fmla="*/ 868196 w 1764396"/>
                <a:gd name="connsiteY45" fmla="*/ 246183 h 853808"/>
                <a:gd name="connsiteX46" fmla="*/ 855735 w 1764396"/>
                <a:gd name="connsiteY46" fmla="*/ 254338 h 853808"/>
                <a:gd name="connsiteX47" fmla="*/ 850986 w 1764396"/>
                <a:gd name="connsiteY47" fmla="*/ 258750 h 853808"/>
                <a:gd name="connsiteX48" fmla="*/ 711276 w 1764396"/>
                <a:gd name="connsiteY48" fmla="*/ 317743 h 853808"/>
                <a:gd name="connsiteX49" fmla="*/ 214782 w 1764396"/>
                <a:gd name="connsiteY49" fmla="*/ 552610 h 853808"/>
                <a:gd name="connsiteX50" fmla="*/ 50881 w 1764396"/>
                <a:gd name="connsiteY50" fmla="*/ 639512 h 853808"/>
                <a:gd name="connsiteX51" fmla="*/ 74747 w 1764396"/>
                <a:gd name="connsiteY51" fmla="*/ 671331 h 853808"/>
                <a:gd name="connsiteX52" fmla="*/ 66629 w 1764396"/>
                <a:gd name="connsiteY52" fmla="*/ 662841 h 853808"/>
                <a:gd name="connsiteX53" fmla="*/ 44589 w 1764396"/>
                <a:gd name="connsiteY53" fmla="*/ 657093 h 853808"/>
                <a:gd name="connsiteX54" fmla="*/ -60 w 1764396"/>
                <a:gd name="connsiteY54" fmla="*/ 681525 h 853808"/>
                <a:gd name="connsiteX55" fmla="*/ 23848 w 1764396"/>
                <a:gd name="connsiteY55" fmla="*/ 692288 h 853808"/>
                <a:gd name="connsiteX56" fmla="*/ 54290 w 1764396"/>
                <a:gd name="connsiteY56" fmla="*/ 699641 h 853808"/>
                <a:gd name="connsiteX57" fmla="*/ 54290 w 1764396"/>
                <a:gd name="connsiteY57" fmla="*/ 707395 h 853808"/>
                <a:gd name="connsiteX58" fmla="*/ 66102 w 1764396"/>
                <a:gd name="connsiteY58" fmla="*/ 726513 h 853808"/>
                <a:gd name="connsiteX59" fmla="*/ 87898 w 1764396"/>
                <a:gd name="connsiteY59" fmla="*/ 765619 h 853808"/>
                <a:gd name="connsiteX60" fmla="*/ 103728 w 1764396"/>
                <a:gd name="connsiteY60" fmla="*/ 785105 h 853808"/>
                <a:gd name="connsiteX61" fmla="*/ 128975 w 1764396"/>
                <a:gd name="connsiteY61" fmla="*/ 811476 h 853808"/>
                <a:gd name="connsiteX62" fmla="*/ 154303 w 1764396"/>
                <a:gd name="connsiteY62" fmla="*/ 825715 h 853808"/>
                <a:gd name="connsiteX63" fmla="*/ 181052 w 1764396"/>
                <a:gd name="connsiteY63" fmla="*/ 831731 h 853808"/>
                <a:gd name="connsiteX64" fmla="*/ 217583 w 1764396"/>
                <a:gd name="connsiteY64" fmla="*/ 834037 h 853808"/>
                <a:gd name="connsiteX65" fmla="*/ 244169 w 1764396"/>
                <a:gd name="connsiteY65" fmla="*/ 838048 h 853808"/>
                <a:gd name="connsiteX66" fmla="*/ 258457 w 1764396"/>
                <a:gd name="connsiteY66" fmla="*/ 848075 h 853808"/>
                <a:gd name="connsiteX67" fmla="*/ 301360 w 1764396"/>
                <a:gd name="connsiteY67" fmla="*/ 848810 h 853808"/>
                <a:gd name="connsiteX68" fmla="*/ 320640 w 1764396"/>
                <a:gd name="connsiteY68" fmla="*/ 849813 h 853808"/>
                <a:gd name="connsiteX69" fmla="*/ 369672 w 1764396"/>
                <a:gd name="connsiteY69" fmla="*/ 837179 h 853808"/>
                <a:gd name="connsiteX70" fmla="*/ 428649 w 1764396"/>
                <a:gd name="connsiteY70" fmla="*/ 842059 h 853808"/>
                <a:gd name="connsiteX71" fmla="*/ 471431 w 1764396"/>
                <a:gd name="connsiteY71" fmla="*/ 816022 h 853808"/>
                <a:gd name="connsiteX72" fmla="*/ 508205 w 1764396"/>
                <a:gd name="connsiteY72" fmla="*/ 803187 h 853808"/>
                <a:gd name="connsiteX73" fmla="*/ 569902 w 1764396"/>
                <a:gd name="connsiteY73" fmla="*/ 786977 h 853808"/>
                <a:gd name="connsiteX74" fmla="*/ 607123 w 1764396"/>
                <a:gd name="connsiteY74" fmla="*/ 777117 h 853808"/>
                <a:gd name="connsiteX75" fmla="*/ 658996 w 1764396"/>
                <a:gd name="connsiteY75" fmla="*/ 752049 h 853808"/>
                <a:gd name="connsiteX76" fmla="*/ 686922 w 1764396"/>
                <a:gd name="connsiteY76" fmla="*/ 733365 h 853808"/>
                <a:gd name="connsiteX77" fmla="*/ 729298 w 1764396"/>
                <a:gd name="connsiteY77" fmla="*/ 710804 h 853808"/>
                <a:gd name="connsiteX78" fmla="*/ 799437 w 1764396"/>
                <a:gd name="connsiteY78" fmla="*/ 713980 h 853808"/>
                <a:gd name="connsiteX79" fmla="*/ 847657 w 1764396"/>
                <a:gd name="connsiteY79" fmla="*/ 715216 h 853808"/>
                <a:gd name="connsiteX80" fmla="*/ 862838 w 1764396"/>
                <a:gd name="connsiteY80" fmla="*/ 692154 h 853808"/>
                <a:gd name="connsiteX81" fmla="*/ 913251 w 1764396"/>
                <a:gd name="connsiteY81" fmla="*/ 680924 h 853808"/>
                <a:gd name="connsiteX82" fmla="*/ 961958 w 1764396"/>
                <a:gd name="connsiteY82" fmla="*/ 692990 h 853808"/>
                <a:gd name="connsiteX83" fmla="*/ 994998 w 1764396"/>
                <a:gd name="connsiteY83" fmla="*/ 707027 h 853808"/>
                <a:gd name="connsiteX84" fmla="*/ 1049104 w 1764396"/>
                <a:gd name="connsiteY84" fmla="*/ 696432 h 853808"/>
                <a:gd name="connsiteX85" fmla="*/ 1026983 w 1764396"/>
                <a:gd name="connsiteY85" fmla="*/ 683063 h 853808"/>
                <a:gd name="connsiteX86" fmla="*/ 1030068 w 1764396"/>
                <a:gd name="connsiteY86" fmla="*/ 668891 h 853808"/>
                <a:gd name="connsiteX87" fmla="*/ 1035223 w 1764396"/>
                <a:gd name="connsiteY87" fmla="*/ 655221 h 853808"/>
                <a:gd name="connsiteX88" fmla="*/ 1041352 w 1764396"/>
                <a:gd name="connsiteY88" fmla="*/ 642085 h 853808"/>
                <a:gd name="connsiteX89" fmla="*/ 1064244 w 1764396"/>
                <a:gd name="connsiteY89" fmla="*/ 629919 h 853808"/>
                <a:gd name="connsiteX90" fmla="*/ 1075975 w 1764396"/>
                <a:gd name="connsiteY90" fmla="*/ 615447 h 853808"/>
                <a:gd name="connsiteX91" fmla="*/ 1077396 w 1764396"/>
                <a:gd name="connsiteY91" fmla="*/ 605821 h 853808"/>
                <a:gd name="connsiteX92" fmla="*/ 1095499 w 1764396"/>
                <a:gd name="connsiteY92" fmla="*/ 597665 h 853808"/>
                <a:gd name="connsiteX93" fmla="*/ 1109827 w 1764396"/>
                <a:gd name="connsiteY93" fmla="*/ 587638 h 853808"/>
                <a:gd name="connsiteX94" fmla="*/ 1120786 w 1764396"/>
                <a:gd name="connsiteY94" fmla="*/ 580018 h 853808"/>
                <a:gd name="connsiteX95" fmla="*/ 1146966 w 1764396"/>
                <a:gd name="connsiteY95" fmla="*/ 578313 h 853808"/>
                <a:gd name="connsiteX96" fmla="*/ 1156302 w 1764396"/>
                <a:gd name="connsiteY96" fmla="*/ 568286 h 853808"/>
                <a:gd name="connsiteX97" fmla="*/ 1187110 w 1764396"/>
                <a:gd name="connsiteY97" fmla="*/ 568520 h 853808"/>
                <a:gd name="connsiteX98" fmla="*/ 1208582 w 1764396"/>
                <a:gd name="connsiteY98" fmla="*/ 560699 h 853808"/>
                <a:gd name="connsiteX99" fmla="*/ 1212641 w 1764396"/>
                <a:gd name="connsiteY99" fmla="*/ 551574 h 853808"/>
                <a:gd name="connsiteX100" fmla="*/ 1238009 w 1764396"/>
                <a:gd name="connsiteY100" fmla="*/ 553546 h 853808"/>
                <a:gd name="connsiteX101" fmla="*/ 1232205 w 1764396"/>
                <a:gd name="connsiteY101" fmla="*/ 547129 h 853808"/>
                <a:gd name="connsiteX102" fmla="*/ 1219500 w 1764396"/>
                <a:gd name="connsiteY102" fmla="*/ 537637 h 853808"/>
                <a:gd name="connsiteX103" fmla="*/ 1256599 w 1764396"/>
                <a:gd name="connsiteY103" fmla="*/ 520022 h 853808"/>
                <a:gd name="connsiteX104" fmla="*/ 1272470 w 1764396"/>
                <a:gd name="connsiteY104" fmla="*/ 511566 h 853808"/>
                <a:gd name="connsiteX105" fmla="*/ 1294997 w 1764396"/>
                <a:gd name="connsiteY105" fmla="*/ 506185 h 853808"/>
                <a:gd name="connsiteX106" fmla="*/ 1331772 w 1764396"/>
                <a:gd name="connsiteY106" fmla="*/ 494754 h 853808"/>
                <a:gd name="connsiteX107" fmla="*/ 1364852 w 1764396"/>
                <a:gd name="connsiteY107" fmla="*/ 492882 h 853808"/>
                <a:gd name="connsiteX108" fmla="*/ 1403250 w 1764396"/>
                <a:gd name="connsiteY108" fmla="*/ 481051 h 853808"/>
                <a:gd name="connsiteX109" fmla="*/ 1433895 w 1764396"/>
                <a:gd name="connsiteY109" fmla="*/ 494186 h 853808"/>
                <a:gd name="connsiteX110" fmla="*/ 1445504 w 1764396"/>
                <a:gd name="connsiteY110" fmla="*/ 510898 h 853808"/>
                <a:gd name="connsiteX111" fmla="*/ 1462146 w 1764396"/>
                <a:gd name="connsiteY111" fmla="*/ 515310 h 853808"/>
                <a:gd name="connsiteX112" fmla="*/ 1470629 w 1764396"/>
                <a:gd name="connsiteY112" fmla="*/ 525337 h 853808"/>
                <a:gd name="connsiteX113" fmla="*/ 1497378 w 1764396"/>
                <a:gd name="connsiteY113" fmla="*/ 529983 h 853808"/>
                <a:gd name="connsiteX114" fmla="*/ 1518525 w 1764396"/>
                <a:gd name="connsiteY114" fmla="*/ 533960 h 853808"/>
                <a:gd name="connsiteX115" fmla="*/ 1527982 w 1764396"/>
                <a:gd name="connsiteY115" fmla="*/ 514240 h 853808"/>
                <a:gd name="connsiteX116" fmla="*/ 1518444 w 1764396"/>
                <a:gd name="connsiteY116" fmla="*/ 492749 h 853808"/>
                <a:gd name="connsiteX117" fmla="*/ 1497053 w 1764396"/>
                <a:gd name="connsiteY117" fmla="*/ 479079 h 853808"/>
                <a:gd name="connsiteX118" fmla="*/ 1475947 w 1764396"/>
                <a:gd name="connsiteY118" fmla="*/ 465208 h 853808"/>
                <a:gd name="connsiteX119" fmla="*/ 1453216 w 1764396"/>
                <a:gd name="connsiteY119" fmla="*/ 418883 h 853808"/>
                <a:gd name="connsiteX120" fmla="*/ 1466854 w 1764396"/>
                <a:gd name="connsiteY120" fmla="*/ 397224 h 853808"/>
                <a:gd name="connsiteX121" fmla="*/ 1489382 w 1764396"/>
                <a:gd name="connsiteY121" fmla="*/ 376769 h 853808"/>
                <a:gd name="connsiteX122" fmla="*/ 1512315 w 1764396"/>
                <a:gd name="connsiteY122" fmla="*/ 357818 h 853808"/>
                <a:gd name="connsiteX123" fmla="*/ 1533827 w 1764396"/>
                <a:gd name="connsiteY123" fmla="*/ 336059 h 853808"/>
                <a:gd name="connsiteX124" fmla="*/ 1552620 w 1764396"/>
                <a:gd name="connsiteY124" fmla="*/ 319581 h 853808"/>
                <a:gd name="connsiteX125" fmla="*/ 1542676 w 1764396"/>
                <a:gd name="connsiteY125" fmla="*/ 314334 h 853808"/>
                <a:gd name="connsiteX126" fmla="*/ 1549901 w 1764396"/>
                <a:gd name="connsiteY126" fmla="*/ 308986 h 853808"/>
                <a:gd name="connsiteX127" fmla="*/ 1576934 w 1764396"/>
                <a:gd name="connsiteY127" fmla="*/ 297020 h 853808"/>
                <a:gd name="connsiteX128" fmla="*/ 1558100 w 1764396"/>
                <a:gd name="connsiteY128" fmla="*/ 292976 h 853808"/>
                <a:gd name="connsiteX129" fmla="*/ 1557004 w 1764396"/>
                <a:gd name="connsiteY129" fmla="*/ 281010 h 853808"/>
                <a:gd name="connsiteX130" fmla="*/ 1541377 w 1764396"/>
                <a:gd name="connsiteY130" fmla="*/ 273958 h 853808"/>
                <a:gd name="connsiteX131" fmla="*/ 1515765 w 1764396"/>
                <a:gd name="connsiteY131" fmla="*/ 266839 h 853808"/>
                <a:gd name="connsiteX132" fmla="*/ 1526643 w 1764396"/>
                <a:gd name="connsiteY132" fmla="*/ 253937 h 853808"/>
                <a:gd name="connsiteX133" fmla="*/ 1526156 w 1764396"/>
                <a:gd name="connsiteY133" fmla="*/ 229571 h 853808"/>
                <a:gd name="connsiteX134" fmla="*/ 1526805 w 1764396"/>
                <a:gd name="connsiteY134" fmla="*/ 239197 h 853808"/>
                <a:gd name="connsiteX135" fmla="*/ 1544989 w 1764396"/>
                <a:gd name="connsiteY135" fmla="*/ 252366 h 853808"/>
                <a:gd name="connsiteX136" fmla="*/ 1560292 w 1764396"/>
                <a:gd name="connsiteY136" fmla="*/ 261057 h 853808"/>
                <a:gd name="connsiteX137" fmla="*/ 1553879 w 1764396"/>
                <a:gd name="connsiteY137" fmla="*/ 233148 h 853808"/>
                <a:gd name="connsiteX138" fmla="*/ 1551606 w 1764396"/>
                <a:gd name="connsiteY138" fmla="*/ 226062 h 853808"/>
                <a:gd name="connsiteX139" fmla="*/ 1571901 w 1764396"/>
                <a:gd name="connsiteY139" fmla="*/ 223689 h 853808"/>
                <a:gd name="connsiteX140" fmla="*/ 1585173 w 1764396"/>
                <a:gd name="connsiteY140" fmla="*/ 204905 h 853808"/>
                <a:gd name="connsiteX141" fmla="*/ 1586919 w 1764396"/>
                <a:gd name="connsiteY141" fmla="*/ 197217 h 853808"/>
                <a:gd name="connsiteX142" fmla="*/ 1579856 w 1764396"/>
                <a:gd name="connsiteY142" fmla="*/ 192939 h 853808"/>
                <a:gd name="connsiteX143" fmla="*/ 1630796 w 1764396"/>
                <a:gd name="connsiteY143" fmla="*/ 169543 h 853808"/>
                <a:gd name="connsiteX144" fmla="*/ 1626169 w 1764396"/>
                <a:gd name="connsiteY144" fmla="*/ 165398 h 853808"/>
                <a:gd name="connsiteX145" fmla="*/ 1593251 w 1764396"/>
                <a:gd name="connsiteY145" fmla="*/ 178066 h 853808"/>
                <a:gd name="connsiteX146" fmla="*/ 1626859 w 1764396"/>
                <a:gd name="connsiteY146" fmla="*/ 158312 h 853808"/>
                <a:gd name="connsiteX147" fmla="*/ 1644678 w 1764396"/>
                <a:gd name="connsiteY147" fmla="*/ 150023 h 853808"/>
                <a:gd name="connsiteX148" fmla="*/ 1646992 w 1764396"/>
                <a:gd name="connsiteY148" fmla="*/ 142570 h 853808"/>
                <a:gd name="connsiteX149" fmla="*/ 1669478 w 1764396"/>
                <a:gd name="connsiteY149" fmla="*/ 140030 h 853808"/>
                <a:gd name="connsiteX150" fmla="*/ 1671832 w 1764396"/>
                <a:gd name="connsiteY150" fmla="*/ 126961 h 853808"/>
                <a:gd name="connsiteX151" fmla="*/ 1658194 w 1764396"/>
                <a:gd name="connsiteY151" fmla="*/ 125123 h 853808"/>
                <a:gd name="connsiteX152" fmla="*/ 1660833 w 1764396"/>
                <a:gd name="connsiteY152" fmla="*/ 115530 h 853808"/>
                <a:gd name="connsiteX153" fmla="*/ 1663674 w 1764396"/>
                <a:gd name="connsiteY153" fmla="*/ 102729 h 853808"/>
                <a:gd name="connsiteX154" fmla="*/ 1681615 w 1764396"/>
                <a:gd name="connsiteY154" fmla="*/ 88390 h 853808"/>
                <a:gd name="connsiteX155" fmla="*/ 1694563 w 1764396"/>
                <a:gd name="connsiteY155" fmla="*/ 80201 h 853808"/>
                <a:gd name="connsiteX156" fmla="*/ 1709906 w 1764396"/>
                <a:gd name="connsiteY156" fmla="*/ 61986 h 853808"/>
                <a:gd name="connsiteX157" fmla="*/ 1735112 w 1764396"/>
                <a:gd name="connsiteY157" fmla="*/ 59111 h 853808"/>
                <a:gd name="connsiteX158" fmla="*/ 1764337 w 1764396"/>
                <a:gd name="connsiteY158" fmla="*/ 38088 h 853808"/>
                <a:gd name="connsiteX159" fmla="*/ 1719120 w 1764396"/>
                <a:gd name="connsiteY159" fmla="*/ 854 h 853808"/>
                <a:gd name="connsiteX160" fmla="*/ 1718592 w 1764396"/>
                <a:gd name="connsiteY160" fmla="*/ 1121 h 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764396" h="853808">
                  <a:moveTo>
                    <a:pt x="1718592" y="1121"/>
                  </a:moveTo>
                  <a:cubicBezTo>
                    <a:pt x="1717456" y="-650"/>
                    <a:pt x="1671914" y="6536"/>
                    <a:pt x="1668342" y="8274"/>
                  </a:cubicBezTo>
                  <a:cubicBezTo>
                    <a:pt x="1653527" y="15259"/>
                    <a:pt x="1650198" y="33041"/>
                    <a:pt x="1648493" y="41430"/>
                  </a:cubicBezTo>
                  <a:cubicBezTo>
                    <a:pt x="1644434" y="60983"/>
                    <a:pt x="1630188" y="76124"/>
                    <a:pt x="1598162" y="86184"/>
                  </a:cubicBezTo>
                  <a:cubicBezTo>
                    <a:pt x="1580331" y="91756"/>
                    <a:pt x="1562524" y="97415"/>
                    <a:pt x="1544746" y="103164"/>
                  </a:cubicBezTo>
                  <a:cubicBezTo>
                    <a:pt x="1533381" y="106773"/>
                    <a:pt x="1516333" y="110383"/>
                    <a:pt x="1507809" y="116934"/>
                  </a:cubicBezTo>
                  <a:cubicBezTo>
                    <a:pt x="1499622" y="123599"/>
                    <a:pt x="1491963" y="130688"/>
                    <a:pt x="1484876" y="138158"/>
                  </a:cubicBezTo>
                  <a:cubicBezTo>
                    <a:pt x="1478098" y="144843"/>
                    <a:pt x="1489463" y="142971"/>
                    <a:pt x="1484389" y="149823"/>
                  </a:cubicBezTo>
                  <a:cubicBezTo>
                    <a:pt x="1472212" y="166267"/>
                    <a:pt x="1429877" y="177297"/>
                    <a:pt x="1407268" y="186990"/>
                  </a:cubicBezTo>
                  <a:cubicBezTo>
                    <a:pt x="1422612" y="199022"/>
                    <a:pt x="1355273" y="242607"/>
                    <a:pt x="1334491" y="253202"/>
                  </a:cubicBezTo>
                  <a:cubicBezTo>
                    <a:pt x="1319270" y="260823"/>
                    <a:pt x="1282820" y="271685"/>
                    <a:pt x="1283186" y="255809"/>
                  </a:cubicBezTo>
                  <a:cubicBezTo>
                    <a:pt x="1283186" y="251029"/>
                    <a:pt x="1290532" y="247119"/>
                    <a:pt x="1298123" y="246852"/>
                  </a:cubicBezTo>
                  <a:cubicBezTo>
                    <a:pt x="1308148" y="246484"/>
                    <a:pt x="1307174" y="249960"/>
                    <a:pt x="1316023" y="241938"/>
                  </a:cubicBezTo>
                  <a:cubicBezTo>
                    <a:pt x="1299787" y="239933"/>
                    <a:pt x="1303359" y="211857"/>
                    <a:pt x="1283145" y="215199"/>
                  </a:cubicBezTo>
                  <a:cubicBezTo>
                    <a:pt x="1270441" y="217272"/>
                    <a:pt x="1265570" y="225995"/>
                    <a:pt x="1256802" y="231243"/>
                  </a:cubicBezTo>
                  <a:cubicBezTo>
                    <a:pt x="1249253" y="235755"/>
                    <a:pt x="1256031" y="216737"/>
                    <a:pt x="1256802" y="215400"/>
                  </a:cubicBezTo>
                  <a:cubicBezTo>
                    <a:pt x="1261430" y="204972"/>
                    <a:pt x="1258832" y="197585"/>
                    <a:pt x="1243327" y="195112"/>
                  </a:cubicBezTo>
                  <a:cubicBezTo>
                    <a:pt x="1232164" y="193340"/>
                    <a:pt x="1213493" y="195446"/>
                    <a:pt x="1204644" y="204370"/>
                  </a:cubicBezTo>
                  <a:cubicBezTo>
                    <a:pt x="1200870" y="208180"/>
                    <a:pt x="1202412" y="211055"/>
                    <a:pt x="1200058" y="214899"/>
                  </a:cubicBezTo>
                  <a:cubicBezTo>
                    <a:pt x="1196932" y="219879"/>
                    <a:pt x="1188936" y="222987"/>
                    <a:pt x="1183051" y="226898"/>
                  </a:cubicBezTo>
                  <a:cubicBezTo>
                    <a:pt x="1169981" y="235688"/>
                    <a:pt x="1175704" y="251096"/>
                    <a:pt x="1178789" y="258416"/>
                  </a:cubicBezTo>
                  <a:cubicBezTo>
                    <a:pt x="1182198" y="266471"/>
                    <a:pt x="1195025" y="272287"/>
                    <a:pt x="1193442" y="281812"/>
                  </a:cubicBezTo>
                  <a:cubicBezTo>
                    <a:pt x="1192346" y="288497"/>
                    <a:pt x="1181874" y="300797"/>
                    <a:pt x="1170671" y="304875"/>
                  </a:cubicBezTo>
                  <a:cubicBezTo>
                    <a:pt x="1137306" y="317075"/>
                    <a:pt x="1139295" y="267574"/>
                    <a:pt x="1139579" y="258750"/>
                  </a:cubicBezTo>
                  <a:cubicBezTo>
                    <a:pt x="1139579" y="255909"/>
                    <a:pt x="1140229" y="251698"/>
                    <a:pt x="1137509" y="249659"/>
                  </a:cubicBezTo>
                  <a:cubicBezTo>
                    <a:pt x="1134789" y="247620"/>
                    <a:pt x="1129066" y="251665"/>
                    <a:pt x="1127605" y="249893"/>
                  </a:cubicBezTo>
                  <a:cubicBezTo>
                    <a:pt x="1123952" y="245481"/>
                    <a:pt x="1138808" y="232713"/>
                    <a:pt x="1143841" y="228335"/>
                  </a:cubicBezTo>
                  <a:cubicBezTo>
                    <a:pt x="1156586" y="217104"/>
                    <a:pt x="1172619" y="209116"/>
                    <a:pt x="1190722" y="201362"/>
                  </a:cubicBezTo>
                  <a:cubicBezTo>
                    <a:pt x="1199977" y="197418"/>
                    <a:pt x="1209637" y="193741"/>
                    <a:pt x="1218567" y="189363"/>
                  </a:cubicBezTo>
                  <a:cubicBezTo>
                    <a:pt x="1225264" y="186021"/>
                    <a:pt x="1223032" y="183781"/>
                    <a:pt x="1228024" y="180840"/>
                  </a:cubicBezTo>
                  <a:cubicBezTo>
                    <a:pt x="1217430" y="180405"/>
                    <a:pt x="1211788" y="178801"/>
                    <a:pt x="1205132" y="184583"/>
                  </a:cubicBezTo>
                  <a:cubicBezTo>
                    <a:pt x="1199774" y="189363"/>
                    <a:pt x="1195228" y="186890"/>
                    <a:pt x="1190032" y="186221"/>
                  </a:cubicBezTo>
                  <a:cubicBezTo>
                    <a:pt x="1169737" y="183614"/>
                    <a:pt x="1150051" y="203367"/>
                    <a:pt x="1133491" y="211055"/>
                  </a:cubicBezTo>
                  <a:cubicBezTo>
                    <a:pt x="1125089" y="214932"/>
                    <a:pt x="1115022" y="216336"/>
                    <a:pt x="1108082" y="214197"/>
                  </a:cubicBezTo>
                  <a:cubicBezTo>
                    <a:pt x="1099639" y="211589"/>
                    <a:pt x="1098908" y="213829"/>
                    <a:pt x="1088882" y="214598"/>
                  </a:cubicBezTo>
                  <a:cubicBezTo>
                    <a:pt x="1079709" y="215300"/>
                    <a:pt x="1092617" y="197084"/>
                    <a:pt x="1076705" y="209551"/>
                  </a:cubicBezTo>
                  <a:cubicBezTo>
                    <a:pt x="1061931" y="221282"/>
                    <a:pt x="1050403" y="236290"/>
                    <a:pt x="1031367" y="246317"/>
                  </a:cubicBezTo>
                  <a:cubicBezTo>
                    <a:pt x="1022437" y="250929"/>
                    <a:pt x="1018216" y="249057"/>
                    <a:pt x="1009327" y="250495"/>
                  </a:cubicBezTo>
                  <a:cubicBezTo>
                    <a:pt x="998773" y="252199"/>
                    <a:pt x="991792" y="259486"/>
                    <a:pt x="981726" y="261491"/>
                  </a:cubicBezTo>
                  <a:cubicBezTo>
                    <a:pt x="962567" y="265301"/>
                    <a:pt x="981726" y="247019"/>
                    <a:pt x="986556" y="242740"/>
                  </a:cubicBezTo>
                  <a:cubicBezTo>
                    <a:pt x="1000559" y="230440"/>
                    <a:pt x="1027389" y="221082"/>
                    <a:pt x="1038592" y="209584"/>
                  </a:cubicBezTo>
                  <a:cubicBezTo>
                    <a:pt x="1026415" y="211723"/>
                    <a:pt x="1012411" y="213628"/>
                    <a:pt x="1000559" y="218542"/>
                  </a:cubicBezTo>
                  <a:cubicBezTo>
                    <a:pt x="988707" y="223455"/>
                    <a:pt x="988626" y="231911"/>
                    <a:pt x="972146" y="231543"/>
                  </a:cubicBezTo>
                  <a:cubicBezTo>
                    <a:pt x="960659" y="231209"/>
                    <a:pt x="948929" y="237292"/>
                    <a:pt x="938660" y="235788"/>
                  </a:cubicBezTo>
                  <a:cubicBezTo>
                    <a:pt x="921409" y="233215"/>
                    <a:pt x="915524" y="247487"/>
                    <a:pt x="899369" y="249759"/>
                  </a:cubicBezTo>
                  <a:cubicBezTo>
                    <a:pt x="879074" y="252634"/>
                    <a:pt x="880048" y="251230"/>
                    <a:pt x="868196" y="246183"/>
                  </a:cubicBezTo>
                  <a:cubicBezTo>
                    <a:pt x="858820" y="242206"/>
                    <a:pt x="854314" y="249759"/>
                    <a:pt x="855735" y="254338"/>
                  </a:cubicBezTo>
                  <a:cubicBezTo>
                    <a:pt x="856628" y="257246"/>
                    <a:pt x="856019" y="256678"/>
                    <a:pt x="850986" y="258750"/>
                  </a:cubicBezTo>
                  <a:cubicBezTo>
                    <a:pt x="804226" y="278002"/>
                    <a:pt x="757658" y="297665"/>
                    <a:pt x="711276" y="317743"/>
                  </a:cubicBezTo>
                  <a:cubicBezTo>
                    <a:pt x="542962" y="390516"/>
                    <a:pt x="377466" y="468807"/>
                    <a:pt x="214782" y="552610"/>
                  </a:cubicBezTo>
                  <a:cubicBezTo>
                    <a:pt x="159771" y="580887"/>
                    <a:pt x="105137" y="609855"/>
                    <a:pt x="50881" y="639512"/>
                  </a:cubicBezTo>
                  <a:cubicBezTo>
                    <a:pt x="59810" y="640682"/>
                    <a:pt x="94961" y="660402"/>
                    <a:pt x="74747" y="671331"/>
                  </a:cubicBezTo>
                  <a:cubicBezTo>
                    <a:pt x="58511" y="680021"/>
                    <a:pt x="66629" y="666251"/>
                    <a:pt x="66629" y="662841"/>
                  </a:cubicBezTo>
                  <a:cubicBezTo>
                    <a:pt x="67035" y="653349"/>
                    <a:pt x="48851" y="663042"/>
                    <a:pt x="44589" y="657093"/>
                  </a:cubicBezTo>
                  <a:cubicBezTo>
                    <a:pt x="31682" y="667120"/>
                    <a:pt x="15121" y="674339"/>
                    <a:pt x="-60" y="681525"/>
                  </a:cubicBezTo>
                  <a:cubicBezTo>
                    <a:pt x="8667" y="684634"/>
                    <a:pt x="13376" y="690249"/>
                    <a:pt x="23848" y="692288"/>
                  </a:cubicBezTo>
                  <a:cubicBezTo>
                    <a:pt x="31073" y="693691"/>
                    <a:pt x="45401" y="701680"/>
                    <a:pt x="54290" y="699641"/>
                  </a:cubicBezTo>
                  <a:cubicBezTo>
                    <a:pt x="75275" y="694861"/>
                    <a:pt x="54655" y="704253"/>
                    <a:pt x="54290" y="707395"/>
                  </a:cubicBezTo>
                  <a:cubicBezTo>
                    <a:pt x="53478" y="713478"/>
                    <a:pt x="63220" y="721567"/>
                    <a:pt x="66102" y="726513"/>
                  </a:cubicBezTo>
                  <a:cubicBezTo>
                    <a:pt x="73489" y="739114"/>
                    <a:pt x="87533" y="749910"/>
                    <a:pt x="87898" y="765619"/>
                  </a:cubicBezTo>
                  <a:cubicBezTo>
                    <a:pt x="88223" y="776849"/>
                    <a:pt x="90171" y="781662"/>
                    <a:pt x="103728" y="785105"/>
                  </a:cubicBezTo>
                  <a:cubicBezTo>
                    <a:pt x="122115" y="789784"/>
                    <a:pt x="120776" y="800847"/>
                    <a:pt x="128975" y="811476"/>
                  </a:cubicBezTo>
                  <a:cubicBezTo>
                    <a:pt x="134374" y="818495"/>
                    <a:pt x="147890" y="819130"/>
                    <a:pt x="154303" y="825715"/>
                  </a:cubicBezTo>
                  <a:cubicBezTo>
                    <a:pt x="161894" y="833435"/>
                    <a:pt x="166480" y="831062"/>
                    <a:pt x="181052" y="831731"/>
                  </a:cubicBezTo>
                  <a:cubicBezTo>
                    <a:pt x="188805" y="832065"/>
                    <a:pt x="213524" y="830594"/>
                    <a:pt x="217583" y="834037"/>
                  </a:cubicBezTo>
                  <a:cubicBezTo>
                    <a:pt x="224442" y="840053"/>
                    <a:pt x="239339" y="833268"/>
                    <a:pt x="244169" y="838048"/>
                  </a:cubicBezTo>
                  <a:cubicBezTo>
                    <a:pt x="249527" y="843362"/>
                    <a:pt x="246158" y="848075"/>
                    <a:pt x="258457" y="848075"/>
                  </a:cubicBezTo>
                  <a:cubicBezTo>
                    <a:pt x="271486" y="848342"/>
                    <a:pt x="292024" y="843964"/>
                    <a:pt x="301360" y="848810"/>
                  </a:cubicBezTo>
                  <a:cubicBezTo>
                    <a:pt x="310696" y="853657"/>
                    <a:pt x="304810" y="855829"/>
                    <a:pt x="320640" y="849813"/>
                  </a:cubicBezTo>
                  <a:cubicBezTo>
                    <a:pt x="336470" y="843797"/>
                    <a:pt x="354573" y="845401"/>
                    <a:pt x="369672" y="837179"/>
                  </a:cubicBezTo>
                  <a:cubicBezTo>
                    <a:pt x="395122" y="823308"/>
                    <a:pt x="412982" y="836778"/>
                    <a:pt x="428649" y="842059"/>
                  </a:cubicBezTo>
                  <a:cubicBezTo>
                    <a:pt x="437133" y="840822"/>
                    <a:pt x="463759" y="820634"/>
                    <a:pt x="471431" y="816022"/>
                  </a:cubicBezTo>
                  <a:cubicBezTo>
                    <a:pt x="488113" y="805995"/>
                    <a:pt x="489088" y="806396"/>
                    <a:pt x="508205" y="803187"/>
                  </a:cubicBezTo>
                  <a:cubicBezTo>
                    <a:pt x="528135" y="799845"/>
                    <a:pt x="549810" y="792191"/>
                    <a:pt x="569902" y="786977"/>
                  </a:cubicBezTo>
                  <a:cubicBezTo>
                    <a:pt x="580618" y="784169"/>
                    <a:pt x="597016" y="782063"/>
                    <a:pt x="607123" y="777117"/>
                  </a:cubicBezTo>
                  <a:cubicBezTo>
                    <a:pt x="624414" y="768694"/>
                    <a:pt x="641705" y="760338"/>
                    <a:pt x="658996" y="752049"/>
                  </a:cubicBezTo>
                  <a:cubicBezTo>
                    <a:pt x="672959" y="745364"/>
                    <a:pt x="682417" y="743292"/>
                    <a:pt x="686922" y="733365"/>
                  </a:cubicBezTo>
                  <a:cubicBezTo>
                    <a:pt x="690981" y="724775"/>
                    <a:pt x="717689" y="716119"/>
                    <a:pt x="729298" y="710804"/>
                  </a:cubicBezTo>
                  <a:cubicBezTo>
                    <a:pt x="738268" y="706626"/>
                    <a:pt x="795946" y="708565"/>
                    <a:pt x="799437" y="713980"/>
                  </a:cubicBezTo>
                  <a:cubicBezTo>
                    <a:pt x="805688" y="723338"/>
                    <a:pt x="831909" y="717857"/>
                    <a:pt x="847657" y="715216"/>
                  </a:cubicBezTo>
                  <a:cubicBezTo>
                    <a:pt x="860971" y="712977"/>
                    <a:pt x="854030" y="699006"/>
                    <a:pt x="862838" y="692154"/>
                  </a:cubicBezTo>
                  <a:cubicBezTo>
                    <a:pt x="873391" y="683965"/>
                    <a:pt x="901845" y="680556"/>
                    <a:pt x="913251" y="680924"/>
                  </a:cubicBezTo>
                  <a:cubicBezTo>
                    <a:pt x="931881" y="681525"/>
                    <a:pt x="941988" y="692254"/>
                    <a:pt x="961958" y="692990"/>
                  </a:cubicBezTo>
                  <a:cubicBezTo>
                    <a:pt x="975596" y="693491"/>
                    <a:pt x="979453" y="710370"/>
                    <a:pt x="994998" y="707027"/>
                  </a:cubicBezTo>
                  <a:cubicBezTo>
                    <a:pt x="1010544" y="703685"/>
                    <a:pt x="1034127" y="697401"/>
                    <a:pt x="1049104" y="696432"/>
                  </a:cubicBezTo>
                  <a:cubicBezTo>
                    <a:pt x="1046588" y="691251"/>
                    <a:pt x="1024426" y="688377"/>
                    <a:pt x="1026983" y="683063"/>
                  </a:cubicBezTo>
                  <a:cubicBezTo>
                    <a:pt x="1029540" y="677748"/>
                    <a:pt x="1035710" y="673036"/>
                    <a:pt x="1030068" y="668891"/>
                  </a:cubicBezTo>
                  <a:cubicBezTo>
                    <a:pt x="1023695" y="664111"/>
                    <a:pt x="1027917" y="662006"/>
                    <a:pt x="1035223" y="655221"/>
                  </a:cubicBezTo>
                  <a:cubicBezTo>
                    <a:pt x="1041880" y="649071"/>
                    <a:pt x="1038551" y="647534"/>
                    <a:pt x="1041352" y="642085"/>
                  </a:cubicBezTo>
                  <a:cubicBezTo>
                    <a:pt x="1044153" y="636637"/>
                    <a:pt x="1058521" y="634565"/>
                    <a:pt x="1064244" y="629919"/>
                  </a:cubicBezTo>
                  <a:cubicBezTo>
                    <a:pt x="1069387" y="625855"/>
                    <a:pt x="1073393" y="620918"/>
                    <a:pt x="1075975" y="615447"/>
                  </a:cubicBezTo>
                  <a:cubicBezTo>
                    <a:pt x="1077314" y="612305"/>
                    <a:pt x="1072281" y="608428"/>
                    <a:pt x="1077396" y="605821"/>
                  </a:cubicBezTo>
                  <a:cubicBezTo>
                    <a:pt x="1083159" y="602913"/>
                    <a:pt x="1092333" y="602478"/>
                    <a:pt x="1095499" y="597665"/>
                  </a:cubicBezTo>
                  <a:cubicBezTo>
                    <a:pt x="1099964" y="590713"/>
                    <a:pt x="1096473" y="589945"/>
                    <a:pt x="1109827" y="587638"/>
                  </a:cubicBezTo>
                  <a:cubicBezTo>
                    <a:pt x="1120746" y="585833"/>
                    <a:pt x="1112749" y="582190"/>
                    <a:pt x="1120786" y="580018"/>
                  </a:cubicBezTo>
                  <a:cubicBezTo>
                    <a:pt x="1130406" y="577444"/>
                    <a:pt x="1136291" y="582057"/>
                    <a:pt x="1146966" y="578313"/>
                  </a:cubicBezTo>
                  <a:cubicBezTo>
                    <a:pt x="1156667" y="574971"/>
                    <a:pt x="1151025" y="571294"/>
                    <a:pt x="1156302" y="568286"/>
                  </a:cubicBezTo>
                  <a:cubicBezTo>
                    <a:pt x="1164420" y="563674"/>
                    <a:pt x="1178139" y="570325"/>
                    <a:pt x="1187110" y="568520"/>
                  </a:cubicBezTo>
                  <a:cubicBezTo>
                    <a:pt x="1194623" y="566635"/>
                    <a:pt x="1201832" y="564008"/>
                    <a:pt x="1208582" y="560699"/>
                  </a:cubicBezTo>
                  <a:cubicBezTo>
                    <a:pt x="1215522" y="557357"/>
                    <a:pt x="1210084" y="552811"/>
                    <a:pt x="1212641" y="551574"/>
                  </a:cubicBezTo>
                  <a:cubicBezTo>
                    <a:pt x="1216700" y="549602"/>
                    <a:pt x="1232935" y="554014"/>
                    <a:pt x="1238009" y="553546"/>
                  </a:cubicBezTo>
                  <a:cubicBezTo>
                    <a:pt x="1257858" y="551775"/>
                    <a:pt x="1239105" y="547396"/>
                    <a:pt x="1232205" y="547129"/>
                  </a:cubicBezTo>
                  <a:cubicBezTo>
                    <a:pt x="1228958" y="547129"/>
                    <a:pt x="1218161" y="539442"/>
                    <a:pt x="1219500" y="537637"/>
                  </a:cubicBezTo>
                  <a:cubicBezTo>
                    <a:pt x="1226725" y="528077"/>
                    <a:pt x="1244219" y="524936"/>
                    <a:pt x="1256599" y="520022"/>
                  </a:cubicBezTo>
                  <a:cubicBezTo>
                    <a:pt x="1262931" y="517516"/>
                    <a:pt x="1263094" y="505684"/>
                    <a:pt x="1272470" y="511566"/>
                  </a:cubicBezTo>
                  <a:cubicBezTo>
                    <a:pt x="1280141" y="516379"/>
                    <a:pt x="1283876" y="512469"/>
                    <a:pt x="1294997" y="506185"/>
                  </a:cubicBezTo>
                  <a:cubicBezTo>
                    <a:pt x="1306119" y="499901"/>
                    <a:pt x="1317930" y="494086"/>
                    <a:pt x="1331772" y="494754"/>
                  </a:cubicBezTo>
                  <a:cubicBezTo>
                    <a:pt x="1343949" y="495389"/>
                    <a:pt x="1352432" y="506686"/>
                    <a:pt x="1364852" y="492882"/>
                  </a:cubicBezTo>
                  <a:cubicBezTo>
                    <a:pt x="1377273" y="479079"/>
                    <a:pt x="1383848" y="476973"/>
                    <a:pt x="1403250" y="481051"/>
                  </a:cubicBezTo>
                  <a:cubicBezTo>
                    <a:pt x="1415711" y="483658"/>
                    <a:pt x="1434667" y="483658"/>
                    <a:pt x="1433895" y="494186"/>
                  </a:cubicBezTo>
                  <a:cubicBezTo>
                    <a:pt x="1433327" y="501706"/>
                    <a:pt x="1439456" y="505750"/>
                    <a:pt x="1445504" y="510898"/>
                  </a:cubicBezTo>
                  <a:cubicBezTo>
                    <a:pt x="1449563" y="514441"/>
                    <a:pt x="1456666" y="513237"/>
                    <a:pt x="1462146" y="515310"/>
                  </a:cubicBezTo>
                  <a:cubicBezTo>
                    <a:pt x="1467625" y="517382"/>
                    <a:pt x="1467625" y="521995"/>
                    <a:pt x="1470629" y="525337"/>
                  </a:cubicBezTo>
                  <a:cubicBezTo>
                    <a:pt x="1473633" y="528679"/>
                    <a:pt x="1490924" y="527075"/>
                    <a:pt x="1497378" y="529983"/>
                  </a:cubicBezTo>
                  <a:cubicBezTo>
                    <a:pt x="1503832" y="532890"/>
                    <a:pt x="1506957" y="536667"/>
                    <a:pt x="1518525" y="533960"/>
                  </a:cubicBezTo>
                  <a:cubicBezTo>
                    <a:pt x="1530093" y="531253"/>
                    <a:pt x="1526643" y="519488"/>
                    <a:pt x="1527982" y="514240"/>
                  </a:cubicBezTo>
                  <a:cubicBezTo>
                    <a:pt x="1530702" y="504714"/>
                    <a:pt x="1525750" y="499266"/>
                    <a:pt x="1518444" y="492749"/>
                  </a:cubicBezTo>
                  <a:cubicBezTo>
                    <a:pt x="1512741" y="486853"/>
                    <a:pt x="1505407" y="482167"/>
                    <a:pt x="1497053" y="479079"/>
                  </a:cubicBezTo>
                  <a:cubicBezTo>
                    <a:pt x="1488123" y="476405"/>
                    <a:pt x="1484876" y="468784"/>
                    <a:pt x="1475947" y="465208"/>
                  </a:cubicBezTo>
                  <a:cubicBezTo>
                    <a:pt x="1452161" y="455749"/>
                    <a:pt x="1444124" y="439171"/>
                    <a:pt x="1453216" y="418883"/>
                  </a:cubicBezTo>
                  <a:cubicBezTo>
                    <a:pt x="1456455" y="411155"/>
                    <a:pt x="1461050" y="403859"/>
                    <a:pt x="1466854" y="397224"/>
                  </a:cubicBezTo>
                  <a:cubicBezTo>
                    <a:pt x="1475662" y="387732"/>
                    <a:pt x="1485526" y="387197"/>
                    <a:pt x="1489382" y="376769"/>
                  </a:cubicBezTo>
                  <a:cubicBezTo>
                    <a:pt x="1492966" y="367828"/>
                    <a:pt x="1501469" y="360802"/>
                    <a:pt x="1512315" y="357818"/>
                  </a:cubicBezTo>
                  <a:cubicBezTo>
                    <a:pt x="1525506" y="353640"/>
                    <a:pt x="1523396" y="343278"/>
                    <a:pt x="1533827" y="336059"/>
                  </a:cubicBezTo>
                  <a:cubicBezTo>
                    <a:pt x="1540119" y="331681"/>
                    <a:pt x="1563458" y="324127"/>
                    <a:pt x="1552620" y="319581"/>
                  </a:cubicBezTo>
                  <a:cubicBezTo>
                    <a:pt x="1549252" y="318177"/>
                    <a:pt x="1543447" y="317375"/>
                    <a:pt x="1542676" y="314334"/>
                  </a:cubicBezTo>
                  <a:cubicBezTo>
                    <a:pt x="1542270" y="312696"/>
                    <a:pt x="1545233" y="307248"/>
                    <a:pt x="1549901" y="308986"/>
                  </a:cubicBezTo>
                  <a:cubicBezTo>
                    <a:pt x="1559602" y="312663"/>
                    <a:pt x="1572307" y="302101"/>
                    <a:pt x="1576934" y="297020"/>
                  </a:cubicBezTo>
                  <a:cubicBezTo>
                    <a:pt x="1589395" y="283250"/>
                    <a:pt x="1562606" y="297589"/>
                    <a:pt x="1558100" y="292976"/>
                  </a:cubicBezTo>
                  <a:cubicBezTo>
                    <a:pt x="1554650" y="289366"/>
                    <a:pt x="1571901" y="283818"/>
                    <a:pt x="1557004" y="281010"/>
                  </a:cubicBezTo>
                  <a:cubicBezTo>
                    <a:pt x="1546207" y="278938"/>
                    <a:pt x="1530215" y="286893"/>
                    <a:pt x="1541377" y="273958"/>
                  </a:cubicBezTo>
                  <a:cubicBezTo>
                    <a:pt x="1547587" y="266772"/>
                    <a:pt x="1521610" y="267039"/>
                    <a:pt x="1515765" y="266839"/>
                  </a:cubicBezTo>
                  <a:cubicBezTo>
                    <a:pt x="1504278" y="266471"/>
                    <a:pt x="1526968" y="257514"/>
                    <a:pt x="1526643" y="253937"/>
                  </a:cubicBezTo>
                  <a:cubicBezTo>
                    <a:pt x="1526156" y="248823"/>
                    <a:pt x="1511138" y="234485"/>
                    <a:pt x="1526156" y="229571"/>
                  </a:cubicBezTo>
                  <a:cubicBezTo>
                    <a:pt x="1533503" y="227198"/>
                    <a:pt x="1527049" y="237693"/>
                    <a:pt x="1526805" y="239197"/>
                  </a:cubicBezTo>
                  <a:cubicBezTo>
                    <a:pt x="1525547" y="247921"/>
                    <a:pt x="1538049" y="247520"/>
                    <a:pt x="1544989" y="252366"/>
                  </a:cubicBezTo>
                  <a:cubicBezTo>
                    <a:pt x="1550916" y="256544"/>
                    <a:pt x="1551768" y="279941"/>
                    <a:pt x="1560292" y="261057"/>
                  </a:cubicBezTo>
                  <a:cubicBezTo>
                    <a:pt x="1566056" y="248289"/>
                    <a:pt x="1568410" y="238462"/>
                    <a:pt x="1553879" y="233148"/>
                  </a:cubicBezTo>
                  <a:cubicBezTo>
                    <a:pt x="1552499" y="232646"/>
                    <a:pt x="1546248" y="227232"/>
                    <a:pt x="1551606" y="226062"/>
                  </a:cubicBezTo>
                  <a:cubicBezTo>
                    <a:pt x="1560373" y="224090"/>
                    <a:pt x="1563377" y="231711"/>
                    <a:pt x="1571901" y="223689"/>
                  </a:cubicBezTo>
                  <a:cubicBezTo>
                    <a:pt x="1577681" y="218147"/>
                    <a:pt x="1582182" y="211780"/>
                    <a:pt x="1585173" y="204905"/>
                  </a:cubicBezTo>
                  <a:cubicBezTo>
                    <a:pt x="1586387" y="202468"/>
                    <a:pt x="1586980" y="199851"/>
                    <a:pt x="1586919" y="197217"/>
                  </a:cubicBezTo>
                  <a:cubicBezTo>
                    <a:pt x="1586554" y="194276"/>
                    <a:pt x="1580140" y="194878"/>
                    <a:pt x="1579856" y="192939"/>
                  </a:cubicBezTo>
                  <a:cubicBezTo>
                    <a:pt x="1579410" y="189597"/>
                    <a:pt x="1624099" y="173219"/>
                    <a:pt x="1630796" y="169543"/>
                  </a:cubicBezTo>
                  <a:cubicBezTo>
                    <a:pt x="1642973" y="162858"/>
                    <a:pt x="1638914" y="160418"/>
                    <a:pt x="1626169" y="165398"/>
                  </a:cubicBezTo>
                  <a:cubicBezTo>
                    <a:pt x="1618985" y="168172"/>
                    <a:pt x="1601044" y="178400"/>
                    <a:pt x="1593251" y="178066"/>
                  </a:cubicBezTo>
                  <a:cubicBezTo>
                    <a:pt x="1586269" y="177732"/>
                    <a:pt x="1624099" y="159382"/>
                    <a:pt x="1626859" y="158312"/>
                  </a:cubicBezTo>
                  <a:cubicBezTo>
                    <a:pt x="1632379" y="156106"/>
                    <a:pt x="1641756" y="153934"/>
                    <a:pt x="1644678" y="150023"/>
                  </a:cubicBezTo>
                  <a:cubicBezTo>
                    <a:pt x="1645368" y="149121"/>
                    <a:pt x="1645855" y="142570"/>
                    <a:pt x="1646992" y="142570"/>
                  </a:cubicBezTo>
                  <a:cubicBezTo>
                    <a:pt x="1656084" y="142570"/>
                    <a:pt x="1659453" y="145177"/>
                    <a:pt x="1669478" y="140030"/>
                  </a:cubicBezTo>
                  <a:cubicBezTo>
                    <a:pt x="1679504" y="134883"/>
                    <a:pt x="1680762" y="129668"/>
                    <a:pt x="1671832" y="126961"/>
                  </a:cubicBezTo>
                  <a:cubicBezTo>
                    <a:pt x="1669357" y="126192"/>
                    <a:pt x="1657098" y="127295"/>
                    <a:pt x="1658194" y="125123"/>
                  </a:cubicBezTo>
                  <a:cubicBezTo>
                    <a:pt x="1660711" y="120243"/>
                    <a:pt x="1662903" y="119775"/>
                    <a:pt x="1660833" y="115530"/>
                  </a:cubicBezTo>
                  <a:cubicBezTo>
                    <a:pt x="1659087" y="111921"/>
                    <a:pt x="1661117" y="106840"/>
                    <a:pt x="1663674" y="102729"/>
                  </a:cubicBezTo>
                  <a:cubicBezTo>
                    <a:pt x="1667490" y="96746"/>
                    <a:pt x="1678246" y="93638"/>
                    <a:pt x="1681615" y="88390"/>
                  </a:cubicBezTo>
                  <a:cubicBezTo>
                    <a:pt x="1684984" y="83143"/>
                    <a:pt x="1688921" y="84045"/>
                    <a:pt x="1694563" y="80201"/>
                  </a:cubicBezTo>
                  <a:cubicBezTo>
                    <a:pt x="1702031" y="75121"/>
                    <a:pt x="1700245" y="66063"/>
                    <a:pt x="1709906" y="61986"/>
                  </a:cubicBezTo>
                  <a:cubicBezTo>
                    <a:pt x="1717537" y="58643"/>
                    <a:pt x="1727035" y="61183"/>
                    <a:pt x="1735112" y="59111"/>
                  </a:cubicBezTo>
                  <a:cubicBezTo>
                    <a:pt x="1746802" y="56170"/>
                    <a:pt x="1756543" y="43703"/>
                    <a:pt x="1764337" y="38088"/>
                  </a:cubicBezTo>
                  <a:cubicBezTo>
                    <a:pt x="1735924" y="29230"/>
                    <a:pt x="1729957" y="17365"/>
                    <a:pt x="1719120" y="854"/>
                  </a:cubicBezTo>
                  <a:cubicBezTo>
                    <a:pt x="1715629" y="-3358"/>
                    <a:pt x="1721311" y="5266"/>
                    <a:pt x="1718592" y="1121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D91F911A-0B00-435E-901F-A764A51A070A}"/>
                </a:ext>
              </a:extLst>
            </p:cNvPr>
            <p:cNvSpPr/>
            <p:nvPr/>
          </p:nvSpPr>
          <p:spPr>
            <a:xfrm>
              <a:off x="787854" y="5691594"/>
              <a:ext cx="32658" cy="27710"/>
            </a:xfrm>
            <a:custGeom>
              <a:avLst/>
              <a:gdLst>
                <a:gd name="connsiteX0" fmla="*/ 28830 w 33518"/>
                <a:gd name="connsiteY0" fmla="*/ 1025 h 37941"/>
                <a:gd name="connsiteX1" fmla="*/ 417 w 33518"/>
                <a:gd name="connsiteY1" fmla="*/ 37557 h 37941"/>
                <a:gd name="connsiteX2" fmla="*/ 28830 w 33518"/>
                <a:gd name="connsiteY2" fmla="*/ 1025 h 3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18" h="37941">
                  <a:moveTo>
                    <a:pt x="28830" y="1025"/>
                  </a:moveTo>
                  <a:cubicBezTo>
                    <a:pt x="19291" y="5905"/>
                    <a:pt x="-3642" y="31775"/>
                    <a:pt x="417" y="37557"/>
                  </a:cubicBezTo>
                  <a:cubicBezTo>
                    <a:pt x="1756" y="39295"/>
                    <a:pt x="47948" y="-8969"/>
                    <a:pt x="28830" y="102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5BA0178F-99CB-414E-B85A-374AAA9C4ACF}"/>
                </a:ext>
              </a:extLst>
            </p:cNvPr>
            <p:cNvSpPr/>
            <p:nvPr/>
          </p:nvSpPr>
          <p:spPr>
            <a:xfrm>
              <a:off x="786104" y="5688294"/>
              <a:ext cx="39982" cy="32124"/>
            </a:xfrm>
            <a:custGeom>
              <a:avLst/>
              <a:gdLst>
                <a:gd name="connsiteX0" fmla="*/ 5257 w 41035"/>
                <a:gd name="connsiteY0" fmla="*/ 41808 h 43985"/>
                <a:gd name="connsiteX1" fmla="*/ 5257 w 41035"/>
                <a:gd name="connsiteY1" fmla="*/ 41808 h 43985"/>
                <a:gd name="connsiteX2" fmla="*/ 1969 w 41035"/>
                <a:gd name="connsiteY2" fmla="*/ 43647 h 43985"/>
                <a:gd name="connsiteX3" fmla="*/ 1117 w 41035"/>
                <a:gd name="connsiteY3" fmla="*/ 43647 h 43985"/>
                <a:gd name="connsiteX4" fmla="*/ 630 w 41035"/>
                <a:gd name="connsiteY4" fmla="*/ 43179 h 43985"/>
                <a:gd name="connsiteX5" fmla="*/ 24172 w 41035"/>
                <a:gd name="connsiteY5" fmla="*/ 8452 h 43985"/>
                <a:gd name="connsiteX6" fmla="*/ 24415 w 41035"/>
                <a:gd name="connsiteY6" fmla="*/ 7917 h 43985"/>
                <a:gd name="connsiteX7" fmla="*/ 25958 w 41035"/>
                <a:gd name="connsiteY7" fmla="*/ 6513 h 43985"/>
                <a:gd name="connsiteX8" fmla="*/ 25958 w 41035"/>
                <a:gd name="connsiteY8" fmla="*/ 6513 h 43985"/>
                <a:gd name="connsiteX9" fmla="*/ 26404 w 41035"/>
                <a:gd name="connsiteY9" fmla="*/ 6280 h 43985"/>
                <a:gd name="connsiteX10" fmla="*/ 34522 w 41035"/>
                <a:gd name="connsiteY10" fmla="*/ 2001 h 43985"/>
                <a:gd name="connsiteX11" fmla="*/ 34522 w 41035"/>
                <a:gd name="connsiteY11" fmla="*/ 2001 h 43985"/>
                <a:gd name="connsiteX12" fmla="*/ 34969 w 41035"/>
                <a:gd name="connsiteY12" fmla="*/ 1800 h 43985"/>
                <a:gd name="connsiteX13" fmla="*/ 40976 w 41035"/>
                <a:gd name="connsiteY13" fmla="*/ -339 h 43985"/>
                <a:gd name="connsiteX14" fmla="*/ 36917 w 41035"/>
                <a:gd name="connsiteY14" fmla="*/ 3004 h 43985"/>
                <a:gd name="connsiteX15" fmla="*/ 36917 w 41035"/>
                <a:gd name="connsiteY15" fmla="*/ 3004 h 43985"/>
                <a:gd name="connsiteX16" fmla="*/ 5257 w 41035"/>
                <a:gd name="connsiteY16" fmla="*/ 41808 h 43985"/>
                <a:gd name="connsiteX17" fmla="*/ 26891 w 41035"/>
                <a:gd name="connsiteY17" fmla="*/ 9488 h 43985"/>
                <a:gd name="connsiteX18" fmla="*/ 3796 w 41035"/>
                <a:gd name="connsiteY18" fmla="*/ 39870 h 43985"/>
                <a:gd name="connsiteX19" fmla="*/ 33386 w 41035"/>
                <a:gd name="connsiteY19" fmla="*/ 5711 h 43985"/>
                <a:gd name="connsiteX20" fmla="*/ 33386 w 41035"/>
                <a:gd name="connsiteY20" fmla="*/ 5711 h 43985"/>
                <a:gd name="connsiteX21" fmla="*/ 30910 w 41035"/>
                <a:gd name="connsiteY21" fmla="*/ 6747 h 43985"/>
                <a:gd name="connsiteX22" fmla="*/ 26891 w 41035"/>
                <a:gd name="connsiteY22" fmla="*/ 9488 h 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035" h="43985">
                  <a:moveTo>
                    <a:pt x="5257" y="41808"/>
                  </a:moveTo>
                  <a:lnTo>
                    <a:pt x="5257" y="41808"/>
                  </a:lnTo>
                  <a:cubicBezTo>
                    <a:pt x="4364" y="42644"/>
                    <a:pt x="3232" y="43279"/>
                    <a:pt x="1969" y="43647"/>
                  </a:cubicBezTo>
                  <a:lnTo>
                    <a:pt x="1117" y="43647"/>
                  </a:lnTo>
                  <a:lnTo>
                    <a:pt x="630" y="43179"/>
                  </a:lnTo>
                  <a:cubicBezTo>
                    <a:pt x="-3673" y="37597"/>
                    <a:pt x="13132" y="17510"/>
                    <a:pt x="24172" y="8452"/>
                  </a:cubicBezTo>
                  <a:lnTo>
                    <a:pt x="24415" y="7917"/>
                  </a:lnTo>
                  <a:cubicBezTo>
                    <a:pt x="24793" y="7349"/>
                    <a:pt x="25321" y="6881"/>
                    <a:pt x="25958" y="6513"/>
                  </a:cubicBezTo>
                  <a:lnTo>
                    <a:pt x="25958" y="6513"/>
                  </a:lnTo>
                  <a:lnTo>
                    <a:pt x="26404" y="6280"/>
                  </a:lnTo>
                  <a:cubicBezTo>
                    <a:pt x="28986" y="4708"/>
                    <a:pt x="31697" y="3271"/>
                    <a:pt x="34522" y="2001"/>
                  </a:cubicBezTo>
                  <a:lnTo>
                    <a:pt x="34522" y="2001"/>
                  </a:lnTo>
                  <a:lnTo>
                    <a:pt x="34969" y="1800"/>
                  </a:lnTo>
                  <a:lnTo>
                    <a:pt x="40976" y="-339"/>
                  </a:lnTo>
                  <a:lnTo>
                    <a:pt x="36917" y="3004"/>
                  </a:lnTo>
                  <a:lnTo>
                    <a:pt x="36917" y="3004"/>
                  </a:lnTo>
                  <a:cubicBezTo>
                    <a:pt x="39718" y="7750"/>
                    <a:pt x="11670" y="36595"/>
                    <a:pt x="5257" y="41808"/>
                  </a:cubicBezTo>
                  <a:close/>
                  <a:moveTo>
                    <a:pt x="26891" y="9488"/>
                  </a:moveTo>
                  <a:cubicBezTo>
                    <a:pt x="16866" y="17409"/>
                    <a:pt x="2862" y="34355"/>
                    <a:pt x="3796" y="39870"/>
                  </a:cubicBezTo>
                  <a:cubicBezTo>
                    <a:pt x="12726" y="32417"/>
                    <a:pt x="34563" y="7917"/>
                    <a:pt x="33386" y="5711"/>
                  </a:cubicBezTo>
                  <a:lnTo>
                    <a:pt x="33386" y="5711"/>
                  </a:lnTo>
                  <a:cubicBezTo>
                    <a:pt x="32513" y="5978"/>
                    <a:pt x="31681" y="6313"/>
                    <a:pt x="30910" y="6747"/>
                  </a:cubicBezTo>
                  <a:cubicBezTo>
                    <a:pt x="29469" y="7549"/>
                    <a:pt x="28125" y="8485"/>
                    <a:pt x="26891" y="948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37491B83-3DC7-4961-832B-9BA6DEB8BE50}"/>
                </a:ext>
              </a:extLst>
            </p:cNvPr>
            <p:cNvSpPr/>
            <p:nvPr/>
          </p:nvSpPr>
          <p:spPr>
            <a:xfrm>
              <a:off x="744520" y="5752550"/>
              <a:ext cx="13854" cy="16485"/>
            </a:xfrm>
            <a:custGeom>
              <a:avLst/>
              <a:gdLst>
                <a:gd name="connsiteX0" fmla="*/ 5316 w 14219"/>
                <a:gd name="connsiteY0" fmla="*/ 19907 h 22572"/>
                <a:gd name="connsiteX1" fmla="*/ 7873 w 14219"/>
                <a:gd name="connsiteY1" fmla="*/ -147 h 22572"/>
                <a:gd name="connsiteX2" fmla="*/ 5316 w 14219"/>
                <a:gd name="connsiteY2" fmla="*/ 19907 h 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9" h="22572">
                  <a:moveTo>
                    <a:pt x="5316" y="19907"/>
                  </a:moveTo>
                  <a:cubicBezTo>
                    <a:pt x="15626" y="6136"/>
                    <a:pt x="17493" y="-1685"/>
                    <a:pt x="7873" y="-147"/>
                  </a:cubicBezTo>
                  <a:cubicBezTo>
                    <a:pt x="-1747" y="1390"/>
                    <a:pt x="-2639" y="30536"/>
                    <a:pt x="5316" y="1990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04A30D17-65F9-40D7-A5D4-B9BE9F4267A9}"/>
                </a:ext>
              </a:extLst>
            </p:cNvPr>
            <p:cNvSpPr/>
            <p:nvPr/>
          </p:nvSpPr>
          <p:spPr>
            <a:xfrm>
              <a:off x="742685" y="5752885"/>
              <a:ext cx="7943" cy="17283"/>
            </a:xfrm>
            <a:custGeom>
              <a:avLst/>
              <a:gdLst>
                <a:gd name="connsiteX0" fmla="*/ 6673 w 8152"/>
                <a:gd name="connsiteY0" fmla="*/ 21855 h 23664"/>
                <a:gd name="connsiteX1" fmla="*/ 1640 w 8152"/>
                <a:gd name="connsiteY1" fmla="*/ 22790 h 23664"/>
                <a:gd name="connsiteX2" fmla="*/ 259 w 8152"/>
                <a:gd name="connsiteY2" fmla="*/ 12329 h 23664"/>
                <a:gd name="connsiteX3" fmla="*/ 6186 w 8152"/>
                <a:gd name="connsiteY3" fmla="*/ -339 h 23664"/>
                <a:gd name="connsiteX4" fmla="*/ 8093 w 8152"/>
                <a:gd name="connsiteY4" fmla="*/ 1232 h 23664"/>
                <a:gd name="connsiteX5" fmla="*/ 4034 w 8152"/>
                <a:gd name="connsiteY5" fmla="*/ 11058 h 23664"/>
                <a:gd name="connsiteX6" fmla="*/ 4968 w 8152"/>
                <a:gd name="connsiteY6" fmla="*/ 20083 h 23664"/>
                <a:gd name="connsiteX7" fmla="*/ 4724 w 8152"/>
                <a:gd name="connsiteY7" fmla="*/ 20317 h 23664"/>
                <a:gd name="connsiteX8" fmla="*/ 6673 w 8152"/>
                <a:gd name="connsiteY8" fmla="*/ 21855 h 2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52" h="23664">
                  <a:moveTo>
                    <a:pt x="6673" y="21855"/>
                  </a:moveTo>
                  <a:cubicBezTo>
                    <a:pt x="4806" y="23392"/>
                    <a:pt x="2817" y="23760"/>
                    <a:pt x="1640" y="22790"/>
                  </a:cubicBezTo>
                  <a:cubicBezTo>
                    <a:pt x="-268" y="21186"/>
                    <a:pt x="-309" y="16105"/>
                    <a:pt x="259" y="12329"/>
                  </a:cubicBezTo>
                  <a:cubicBezTo>
                    <a:pt x="609" y="7716"/>
                    <a:pt x="2679" y="3271"/>
                    <a:pt x="6186" y="-339"/>
                  </a:cubicBezTo>
                  <a:lnTo>
                    <a:pt x="8093" y="1232"/>
                  </a:lnTo>
                  <a:cubicBezTo>
                    <a:pt x="5646" y="4140"/>
                    <a:pt x="4237" y="7549"/>
                    <a:pt x="4034" y="11058"/>
                  </a:cubicBezTo>
                  <a:cubicBezTo>
                    <a:pt x="3194" y="14067"/>
                    <a:pt x="3519" y="17242"/>
                    <a:pt x="4968" y="20083"/>
                  </a:cubicBezTo>
                  <a:cubicBezTo>
                    <a:pt x="4968" y="20083"/>
                    <a:pt x="4968" y="20083"/>
                    <a:pt x="4724" y="20317"/>
                  </a:cubicBezTo>
                  <a:cubicBezTo>
                    <a:pt x="5496" y="20852"/>
                    <a:pt x="5983" y="21353"/>
                    <a:pt x="6673" y="2185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56B1E470-133E-4729-A8B8-59D412C9AFC3}"/>
                </a:ext>
              </a:extLst>
            </p:cNvPr>
            <p:cNvSpPr/>
            <p:nvPr/>
          </p:nvSpPr>
          <p:spPr>
            <a:xfrm>
              <a:off x="612539" y="5655721"/>
              <a:ext cx="47955" cy="27778"/>
            </a:xfrm>
            <a:custGeom>
              <a:avLst/>
              <a:gdLst>
                <a:gd name="connsiteX0" fmla="*/ 20508 w 49218"/>
                <a:gd name="connsiteY0" fmla="*/ 14748 h 38034"/>
                <a:gd name="connsiteX1" fmla="*/ 213 w 49218"/>
                <a:gd name="connsiteY1" fmla="*/ 33499 h 38034"/>
                <a:gd name="connsiteX2" fmla="*/ 29275 w 49218"/>
                <a:gd name="connsiteY2" fmla="*/ 25276 h 38034"/>
                <a:gd name="connsiteX3" fmla="*/ 44496 w 49218"/>
                <a:gd name="connsiteY3" fmla="*/ -259 h 38034"/>
                <a:gd name="connsiteX4" fmla="*/ 20386 w 49218"/>
                <a:gd name="connsiteY4" fmla="*/ 14748 h 3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18" h="38034">
                  <a:moveTo>
                    <a:pt x="20508" y="14748"/>
                  </a:moveTo>
                  <a:cubicBezTo>
                    <a:pt x="14094" y="11406"/>
                    <a:pt x="1430" y="29354"/>
                    <a:pt x="213" y="33499"/>
                  </a:cubicBezTo>
                  <a:cubicBezTo>
                    <a:pt x="-2994" y="45096"/>
                    <a:pt x="23065" y="29421"/>
                    <a:pt x="29275" y="25276"/>
                  </a:cubicBezTo>
                  <a:cubicBezTo>
                    <a:pt x="38408" y="19127"/>
                    <a:pt x="58134" y="1579"/>
                    <a:pt x="44496" y="-259"/>
                  </a:cubicBezTo>
                  <a:cubicBezTo>
                    <a:pt x="33618" y="-1730"/>
                    <a:pt x="25987" y="17723"/>
                    <a:pt x="20386" y="1474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EB85DD42-09E7-4FE2-9685-662BAD5F9DD7}"/>
                </a:ext>
              </a:extLst>
            </p:cNvPr>
            <p:cNvSpPr/>
            <p:nvPr/>
          </p:nvSpPr>
          <p:spPr>
            <a:xfrm>
              <a:off x="610762" y="5654741"/>
              <a:ext cx="51635" cy="29941"/>
            </a:xfrm>
            <a:custGeom>
              <a:avLst/>
              <a:gdLst>
                <a:gd name="connsiteX0" fmla="*/ 37755 w 52995"/>
                <a:gd name="connsiteY0" fmla="*/ 23276 h 40996"/>
                <a:gd name="connsiteX1" fmla="*/ 31870 w 52995"/>
                <a:gd name="connsiteY1" fmla="*/ 27655 h 40996"/>
                <a:gd name="connsiteX2" fmla="*/ 2524 w 52995"/>
                <a:gd name="connsiteY2" fmla="*/ 40556 h 40996"/>
                <a:gd name="connsiteX3" fmla="*/ 251 w 52995"/>
                <a:gd name="connsiteY3" fmla="*/ 35409 h 40996"/>
                <a:gd name="connsiteX4" fmla="*/ 13483 w 52995"/>
                <a:gd name="connsiteY4" fmla="*/ 17795 h 40996"/>
                <a:gd name="connsiteX5" fmla="*/ 19490 w 52995"/>
                <a:gd name="connsiteY5" fmla="*/ 14452 h 40996"/>
                <a:gd name="connsiteX6" fmla="*/ 19490 w 52995"/>
                <a:gd name="connsiteY6" fmla="*/ 14452 h 40996"/>
                <a:gd name="connsiteX7" fmla="*/ 21966 w 52995"/>
                <a:gd name="connsiteY7" fmla="*/ 13817 h 40996"/>
                <a:gd name="connsiteX8" fmla="*/ 21966 w 52995"/>
                <a:gd name="connsiteY8" fmla="*/ 13817 h 40996"/>
                <a:gd name="connsiteX9" fmla="*/ 22981 w 52995"/>
                <a:gd name="connsiteY9" fmla="*/ 14352 h 40996"/>
                <a:gd name="connsiteX10" fmla="*/ 23914 w 52995"/>
                <a:gd name="connsiteY10" fmla="*/ 14820 h 40996"/>
                <a:gd name="connsiteX11" fmla="*/ 25781 w 52995"/>
                <a:gd name="connsiteY11" fmla="*/ 14252 h 40996"/>
                <a:gd name="connsiteX12" fmla="*/ 29840 w 52995"/>
                <a:gd name="connsiteY12" fmla="*/ 10141 h 40996"/>
                <a:gd name="connsiteX13" fmla="*/ 36254 w 52995"/>
                <a:gd name="connsiteY13" fmla="*/ 3757 h 40996"/>
                <a:gd name="connsiteX14" fmla="*/ 47538 w 52995"/>
                <a:gd name="connsiteY14" fmla="*/ -321 h 40996"/>
                <a:gd name="connsiteX15" fmla="*/ 52895 w 52995"/>
                <a:gd name="connsiteY15" fmla="*/ 4826 h 40996"/>
                <a:gd name="connsiteX16" fmla="*/ 37755 w 52995"/>
                <a:gd name="connsiteY16" fmla="*/ 23276 h 40996"/>
                <a:gd name="connsiteX17" fmla="*/ 15390 w 52995"/>
                <a:gd name="connsiteY17" fmla="*/ 19366 h 40996"/>
                <a:gd name="connsiteX18" fmla="*/ 4025 w 52995"/>
                <a:gd name="connsiteY18" fmla="*/ 34373 h 40996"/>
                <a:gd name="connsiteX19" fmla="*/ 5081 w 52995"/>
                <a:gd name="connsiteY19" fmla="*/ 37414 h 40996"/>
                <a:gd name="connsiteX20" fmla="*/ 30571 w 52995"/>
                <a:gd name="connsiteY20" fmla="*/ 25649 h 40996"/>
                <a:gd name="connsiteX21" fmla="*/ 49161 w 52995"/>
                <a:gd name="connsiteY21" fmla="*/ 6097 h 40996"/>
                <a:gd name="connsiteX22" fmla="*/ 45102 w 52995"/>
                <a:gd name="connsiteY22" fmla="*/ 2754 h 40996"/>
                <a:gd name="connsiteX23" fmla="*/ 38121 w 52995"/>
                <a:gd name="connsiteY23" fmla="*/ 5294 h 40996"/>
                <a:gd name="connsiteX24" fmla="*/ 32519 w 52995"/>
                <a:gd name="connsiteY24" fmla="*/ 10876 h 40996"/>
                <a:gd name="connsiteX25" fmla="*/ 25822 w 52995"/>
                <a:gd name="connsiteY25" fmla="*/ 17026 h 40996"/>
                <a:gd name="connsiteX26" fmla="*/ 25335 w 52995"/>
                <a:gd name="connsiteY26" fmla="*/ 17627 h 40996"/>
                <a:gd name="connsiteX27" fmla="*/ 24686 w 52995"/>
                <a:gd name="connsiteY27" fmla="*/ 18296 h 40996"/>
                <a:gd name="connsiteX28" fmla="*/ 23833 w 52995"/>
                <a:gd name="connsiteY28" fmla="*/ 18597 h 40996"/>
                <a:gd name="connsiteX29" fmla="*/ 22453 w 52995"/>
                <a:gd name="connsiteY29" fmla="*/ 18597 h 40996"/>
                <a:gd name="connsiteX30" fmla="*/ 22453 w 52995"/>
                <a:gd name="connsiteY30" fmla="*/ 18597 h 40996"/>
                <a:gd name="connsiteX31" fmla="*/ 21641 w 52995"/>
                <a:gd name="connsiteY31" fmla="*/ 18162 h 40996"/>
                <a:gd name="connsiteX32" fmla="*/ 20627 w 52995"/>
                <a:gd name="connsiteY32" fmla="*/ 17661 h 40996"/>
                <a:gd name="connsiteX33" fmla="*/ 20627 w 52995"/>
                <a:gd name="connsiteY33" fmla="*/ 17661 h 40996"/>
                <a:gd name="connsiteX34" fmla="*/ 15390 w 52995"/>
                <a:gd name="connsiteY34" fmla="*/ 19432 h 4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995" h="40996">
                  <a:moveTo>
                    <a:pt x="37755" y="23276"/>
                  </a:moveTo>
                  <a:cubicBezTo>
                    <a:pt x="35726" y="24947"/>
                    <a:pt x="33696" y="26451"/>
                    <a:pt x="31870" y="27655"/>
                  </a:cubicBezTo>
                  <a:cubicBezTo>
                    <a:pt x="31870" y="27655"/>
                    <a:pt x="10195" y="41993"/>
                    <a:pt x="2524" y="40556"/>
                  </a:cubicBezTo>
                  <a:cubicBezTo>
                    <a:pt x="900" y="40255"/>
                    <a:pt x="-764" y="39119"/>
                    <a:pt x="251" y="35409"/>
                  </a:cubicBezTo>
                  <a:cubicBezTo>
                    <a:pt x="3157" y="28858"/>
                    <a:pt x="7662" y="22875"/>
                    <a:pt x="13483" y="17795"/>
                  </a:cubicBezTo>
                  <a:cubicBezTo>
                    <a:pt x="15175" y="16357"/>
                    <a:pt x="17221" y="15188"/>
                    <a:pt x="19490" y="14452"/>
                  </a:cubicBezTo>
                  <a:lnTo>
                    <a:pt x="19490" y="14452"/>
                  </a:lnTo>
                  <a:cubicBezTo>
                    <a:pt x="20505" y="13617"/>
                    <a:pt x="20911" y="13416"/>
                    <a:pt x="21966" y="13817"/>
                  </a:cubicBezTo>
                  <a:lnTo>
                    <a:pt x="21966" y="13817"/>
                  </a:lnTo>
                  <a:lnTo>
                    <a:pt x="22981" y="14352"/>
                  </a:lnTo>
                  <a:lnTo>
                    <a:pt x="23914" y="14820"/>
                  </a:lnTo>
                  <a:cubicBezTo>
                    <a:pt x="24483" y="15087"/>
                    <a:pt x="24807" y="15021"/>
                    <a:pt x="25781" y="14252"/>
                  </a:cubicBezTo>
                  <a:cubicBezTo>
                    <a:pt x="27222" y="12949"/>
                    <a:pt x="28578" y="11578"/>
                    <a:pt x="29840" y="10141"/>
                  </a:cubicBezTo>
                  <a:cubicBezTo>
                    <a:pt x="31768" y="7868"/>
                    <a:pt x="33912" y="5729"/>
                    <a:pt x="36254" y="3757"/>
                  </a:cubicBezTo>
                  <a:cubicBezTo>
                    <a:pt x="39006" y="983"/>
                    <a:pt x="43199" y="-521"/>
                    <a:pt x="47538" y="-321"/>
                  </a:cubicBezTo>
                  <a:cubicBezTo>
                    <a:pt x="51597" y="214"/>
                    <a:pt x="53220" y="1952"/>
                    <a:pt x="52895" y="4826"/>
                  </a:cubicBezTo>
                  <a:cubicBezTo>
                    <a:pt x="52287" y="11077"/>
                    <a:pt x="41165" y="20502"/>
                    <a:pt x="37755" y="23276"/>
                  </a:cubicBezTo>
                  <a:close/>
                  <a:moveTo>
                    <a:pt x="15390" y="19366"/>
                  </a:moveTo>
                  <a:cubicBezTo>
                    <a:pt x="10471" y="23711"/>
                    <a:pt x="6615" y="28825"/>
                    <a:pt x="4025" y="34373"/>
                  </a:cubicBezTo>
                  <a:cubicBezTo>
                    <a:pt x="3295" y="37080"/>
                    <a:pt x="4634" y="37347"/>
                    <a:pt x="5081" y="37414"/>
                  </a:cubicBezTo>
                  <a:cubicBezTo>
                    <a:pt x="9464" y="38250"/>
                    <a:pt x="24077" y="30028"/>
                    <a:pt x="30571" y="25649"/>
                  </a:cubicBezTo>
                  <a:cubicBezTo>
                    <a:pt x="37065" y="21271"/>
                    <a:pt x="48552" y="11244"/>
                    <a:pt x="49161" y="6097"/>
                  </a:cubicBezTo>
                  <a:cubicBezTo>
                    <a:pt x="49161" y="4191"/>
                    <a:pt x="48106" y="3088"/>
                    <a:pt x="45102" y="2754"/>
                  </a:cubicBezTo>
                  <a:cubicBezTo>
                    <a:pt x="42407" y="2587"/>
                    <a:pt x="39789" y="3556"/>
                    <a:pt x="38121" y="5294"/>
                  </a:cubicBezTo>
                  <a:cubicBezTo>
                    <a:pt x="36112" y="7066"/>
                    <a:pt x="34240" y="8904"/>
                    <a:pt x="32519" y="10876"/>
                  </a:cubicBezTo>
                  <a:cubicBezTo>
                    <a:pt x="30648" y="13182"/>
                    <a:pt x="28395" y="15255"/>
                    <a:pt x="25822" y="17026"/>
                  </a:cubicBezTo>
                  <a:lnTo>
                    <a:pt x="25335" y="17627"/>
                  </a:lnTo>
                  <a:cubicBezTo>
                    <a:pt x="25096" y="17828"/>
                    <a:pt x="24880" y="18062"/>
                    <a:pt x="24686" y="18296"/>
                  </a:cubicBezTo>
                  <a:lnTo>
                    <a:pt x="23833" y="18597"/>
                  </a:lnTo>
                  <a:cubicBezTo>
                    <a:pt x="23411" y="18831"/>
                    <a:pt x="22875" y="18831"/>
                    <a:pt x="22453" y="18597"/>
                  </a:cubicBezTo>
                  <a:lnTo>
                    <a:pt x="22453" y="18597"/>
                  </a:lnTo>
                  <a:cubicBezTo>
                    <a:pt x="22169" y="18463"/>
                    <a:pt x="21897" y="18330"/>
                    <a:pt x="21641" y="18162"/>
                  </a:cubicBezTo>
                  <a:lnTo>
                    <a:pt x="20627" y="17661"/>
                  </a:lnTo>
                  <a:lnTo>
                    <a:pt x="20627" y="17661"/>
                  </a:lnTo>
                  <a:cubicBezTo>
                    <a:pt x="19815" y="17093"/>
                    <a:pt x="18435" y="16892"/>
                    <a:pt x="15390" y="19432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3E537C54-47E9-46A3-839D-DC23E7CD2542}"/>
                </a:ext>
              </a:extLst>
            </p:cNvPr>
            <p:cNvSpPr/>
            <p:nvPr/>
          </p:nvSpPr>
          <p:spPr>
            <a:xfrm>
              <a:off x="438475" y="5146146"/>
              <a:ext cx="1276650" cy="536312"/>
            </a:xfrm>
            <a:custGeom>
              <a:avLst/>
              <a:gdLst>
                <a:gd name="connsiteX0" fmla="*/ 1291630 w 1310283"/>
                <a:gd name="connsiteY0" fmla="*/ 107239 h 734334"/>
                <a:gd name="connsiteX1" fmla="*/ 1238620 w 1310283"/>
                <a:gd name="connsiteY1" fmla="*/ 112353 h 734334"/>
                <a:gd name="connsiteX2" fmla="*/ 1175625 w 1310283"/>
                <a:gd name="connsiteY2" fmla="*/ 109211 h 734334"/>
                <a:gd name="connsiteX3" fmla="*/ 1098504 w 1310283"/>
                <a:gd name="connsiteY3" fmla="*/ 113957 h 734334"/>
                <a:gd name="connsiteX4" fmla="*/ 1050771 w 1310283"/>
                <a:gd name="connsiteY4" fmla="*/ 125889 h 734334"/>
                <a:gd name="connsiteX5" fmla="*/ 1043099 w 1310283"/>
                <a:gd name="connsiteY5" fmla="*/ 142902 h 734334"/>
                <a:gd name="connsiteX6" fmla="*/ 1017649 w 1310283"/>
                <a:gd name="connsiteY6" fmla="*/ 167769 h 734334"/>
                <a:gd name="connsiteX7" fmla="*/ 977628 w 1310283"/>
                <a:gd name="connsiteY7" fmla="*/ 171111 h 734334"/>
                <a:gd name="connsiteX8" fmla="*/ 947510 w 1310283"/>
                <a:gd name="connsiteY8" fmla="*/ 169674 h 734334"/>
                <a:gd name="connsiteX9" fmla="*/ 891253 w 1310283"/>
                <a:gd name="connsiteY9" fmla="*/ 205504 h 734334"/>
                <a:gd name="connsiteX10" fmla="*/ 885530 w 1310283"/>
                <a:gd name="connsiteY10" fmla="*/ 199454 h 734334"/>
                <a:gd name="connsiteX11" fmla="*/ 702470 w 1310283"/>
                <a:gd name="connsiteY11" fmla="*/ 6433 h 734334"/>
                <a:gd name="connsiteX12" fmla="*/ 696016 w 1310283"/>
                <a:gd name="connsiteY12" fmla="*/ -252 h 734334"/>
                <a:gd name="connsiteX13" fmla="*/ 611874 w 1310283"/>
                <a:gd name="connsiteY13" fmla="*/ 39857 h 734334"/>
                <a:gd name="connsiteX14" fmla="*/ 539421 w 1310283"/>
                <a:gd name="connsiteY14" fmla="*/ 85346 h 734334"/>
                <a:gd name="connsiteX15" fmla="*/ 495624 w 1310283"/>
                <a:gd name="connsiteY15" fmla="*/ 114391 h 734334"/>
                <a:gd name="connsiteX16" fmla="*/ 439083 w 1310283"/>
                <a:gd name="connsiteY16" fmla="*/ 139760 h 734334"/>
                <a:gd name="connsiteX17" fmla="*/ 368091 w 1310283"/>
                <a:gd name="connsiteY17" fmla="*/ 193639 h 734334"/>
                <a:gd name="connsiteX18" fmla="*/ 356158 w 1310283"/>
                <a:gd name="connsiteY18" fmla="*/ 198184 h 734334"/>
                <a:gd name="connsiteX19" fmla="*/ 340977 w 1310283"/>
                <a:gd name="connsiteY19" fmla="*/ 206373 h 734334"/>
                <a:gd name="connsiteX20" fmla="*/ 316624 w 1310283"/>
                <a:gd name="connsiteY20" fmla="*/ 209080 h 734334"/>
                <a:gd name="connsiteX21" fmla="*/ 284598 w 1310283"/>
                <a:gd name="connsiteY21" fmla="*/ 235819 h 734334"/>
                <a:gd name="connsiteX22" fmla="*/ 267956 w 1310283"/>
                <a:gd name="connsiteY22" fmla="*/ 245846 h 734334"/>
                <a:gd name="connsiteX23" fmla="*/ 258743 w 1310283"/>
                <a:gd name="connsiteY23" fmla="*/ 243674 h 734334"/>
                <a:gd name="connsiteX24" fmla="*/ 238772 w 1310283"/>
                <a:gd name="connsiteY24" fmla="*/ 269176 h 734334"/>
                <a:gd name="connsiteX25" fmla="*/ 233861 w 1310283"/>
                <a:gd name="connsiteY25" fmla="*/ 260218 h 734334"/>
                <a:gd name="connsiteX26" fmla="*/ 205976 w 1310283"/>
                <a:gd name="connsiteY26" fmla="*/ 272218 h 734334"/>
                <a:gd name="connsiteX27" fmla="*/ 185438 w 1310283"/>
                <a:gd name="connsiteY27" fmla="*/ 302299 h 734334"/>
                <a:gd name="connsiteX28" fmla="*/ 151504 w 1310283"/>
                <a:gd name="connsiteY28" fmla="*/ 335990 h 734334"/>
                <a:gd name="connsiteX29" fmla="*/ 127151 w 1310283"/>
                <a:gd name="connsiteY29" fmla="*/ 363665 h 734334"/>
                <a:gd name="connsiteX30" fmla="*/ 138029 w 1310283"/>
                <a:gd name="connsiteY30" fmla="*/ 361392 h 734334"/>
                <a:gd name="connsiteX31" fmla="*/ 131940 w 1310283"/>
                <a:gd name="connsiteY31" fmla="*/ 370984 h 734334"/>
                <a:gd name="connsiteX32" fmla="*/ 113675 w 1310283"/>
                <a:gd name="connsiteY32" fmla="*/ 383886 h 734334"/>
                <a:gd name="connsiteX33" fmla="*/ 85749 w 1310283"/>
                <a:gd name="connsiteY33" fmla="*/ 409990 h 734334"/>
                <a:gd name="connsiteX34" fmla="*/ 66956 w 1310283"/>
                <a:gd name="connsiteY34" fmla="*/ 435057 h 734334"/>
                <a:gd name="connsiteX35" fmla="*/ 60624 w 1310283"/>
                <a:gd name="connsiteY35" fmla="*/ 456148 h 734334"/>
                <a:gd name="connsiteX36" fmla="*/ 63952 w 1310283"/>
                <a:gd name="connsiteY36" fmla="*/ 474698 h 734334"/>
                <a:gd name="connsiteX37" fmla="*/ 7614 w 1310283"/>
                <a:gd name="connsiteY37" fmla="*/ 532019 h 734334"/>
                <a:gd name="connsiteX38" fmla="*/ 18938 w 1310283"/>
                <a:gd name="connsiteY38" fmla="*/ 548196 h 734334"/>
                <a:gd name="connsiteX39" fmla="*/ 105151 w 1310283"/>
                <a:gd name="connsiteY39" fmla="*/ 518917 h 734334"/>
                <a:gd name="connsiteX40" fmla="*/ 156294 w 1310283"/>
                <a:gd name="connsiteY40" fmla="*/ 487065 h 734334"/>
                <a:gd name="connsiteX41" fmla="*/ 174438 w 1310283"/>
                <a:gd name="connsiteY41" fmla="*/ 487867 h 734334"/>
                <a:gd name="connsiteX42" fmla="*/ 210197 w 1310283"/>
                <a:gd name="connsiteY42" fmla="*/ 468280 h 734334"/>
                <a:gd name="connsiteX43" fmla="*/ 200293 w 1310283"/>
                <a:gd name="connsiteY43" fmla="*/ 482352 h 734334"/>
                <a:gd name="connsiteX44" fmla="*/ 175128 w 1310283"/>
                <a:gd name="connsiteY44" fmla="*/ 514405 h 734334"/>
                <a:gd name="connsiteX45" fmla="*/ 162707 w 1310283"/>
                <a:gd name="connsiteY45" fmla="*/ 519485 h 734334"/>
                <a:gd name="connsiteX46" fmla="*/ 146471 w 1310283"/>
                <a:gd name="connsiteY46" fmla="*/ 531184 h 734334"/>
                <a:gd name="connsiteX47" fmla="*/ 122808 w 1310283"/>
                <a:gd name="connsiteY47" fmla="*/ 542313 h 734334"/>
                <a:gd name="connsiteX48" fmla="*/ 79295 w 1310283"/>
                <a:gd name="connsiteY48" fmla="*/ 578712 h 734334"/>
                <a:gd name="connsiteX49" fmla="*/ 79295 w 1310283"/>
                <a:gd name="connsiteY49" fmla="*/ 588271 h 734334"/>
                <a:gd name="connsiteX50" fmla="*/ 46823 w 1310283"/>
                <a:gd name="connsiteY50" fmla="*/ 622463 h 734334"/>
                <a:gd name="connsiteX51" fmla="*/ 72476 w 1310283"/>
                <a:gd name="connsiteY51" fmla="*/ 624335 h 734334"/>
                <a:gd name="connsiteX52" fmla="*/ 85100 w 1310283"/>
                <a:gd name="connsiteY52" fmla="*/ 620525 h 734334"/>
                <a:gd name="connsiteX53" fmla="*/ 93218 w 1310283"/>
                <a:gd name="connsiteY53" fmla="*/ 624803 h 734334"/>
                <a:gd name="connsiteX54" fmla="*/ 161165 w 1310283"/>
                <a:gd name="connsiteY54" fmla="*/ 584695 h 734334"/>
                <a:gd name="connsiteX55" fmla="*/ 190511 w 1310283"/>
                <a:gd name="connsiteY55" fmla="*/ 564941 h 734334"/>
                <a:gd name="connsiteX56" fmla="*/ 209670 w 1310283"/>
                <a:gd name="connsiteY56" fmla="*/ 535094 h 734334"/>
                <a:gd name="connsiteX57" fmla="*/ 237636 w 1310283"/>
                <a:gd name="connsiteY57" fmla="*/ 511497 h 734334"/>
                <a:gd name="connsiteX58" fmla="*/ 239868 w 1310283"/>
                <a:gd name="connsiteY58" fmla="*/ 520421 h 734334"/>
                <a:gd name="connsiteX59" fmla="*/ 248960 w 1310283"/>
                <a:gd name="connsiteY59" fmla="*/ 554480 h 734334"/>
                <a:gd name="connsiteX60" fmla="*/ 228219 w 1310283"/>
                <a:gd name="connsiteY60" fmla="*/ 574868 h 734334"/>
                <a:gd name="connsiteX61" fmla="*/ 216042 w 1310283"/>
                <a:gd name="connsiteY61" fmla="*/ 598264 h 734334"/>
                <a:gd name="connsiteX62" fmla="*/ 192622 w 1310283"/>
                <a:gd name="connsiteY62" fmla="*/ 631889 h 734334"/>
                <a:gd name="connsiteX63" fmla="*/ 181135 w 1310283"/>
                <a:gd name="connsiteY63" fmla="*/ 646428 h 734334"/>
                <a:gd name="connsiteX64" fmla="*/ 176630 w 1310283"/>
                <a:gd name="connsiteY64" fmla="*/ 669824 h 734334"/>
                <a:gd name="connsiteX65" fmla="*/ 167375 w 1310283"/>
                <a:gd name="connsiteY65" fmla="*/ 683194 h 734334"/>
                <a:gd name="connsiteX66" fmla="*/ 198751 w 1310283"/>
                <a:gd name="connsiteY66" fmla="*/ 676710 h 734334"/>
                <a:gd name="connsiteX67" fmla="*/ 217057 w 1310283"/>
                <a:gd name="connsiteY67" fmla="*/ 684731 h 734334"/>
                <a:gd name="connsiteX68" fmla="*/ 277252 w 1310283"/>
                <a:gd name="connsiteY68" fmla="*/ 669490 h 734334"/>
                <a:gd name="connsiteX69" fmla="*/ 303716 w 1310283"/>
                <a:gd name="connsiteY69" fmla="*/ 631722 h 734334"/>
                <a:gd name="connsiteX70" fmla="*/ 324011 w 1310283"/>
                <a:gd name="connsiteY70" fmla="*/ 628145 h 734334"/>
                <a:gd name="connsiteX71" fmla="*/ 336188 w 1310283"/>
                <a:gd name="connsiteY71" fmla="*/ 641849 h 734334"/>
                <a:gd name="connsiteX72" fmla="*/ 369066 w 1310283"/>
                <a:gd name="connsiteY72" fmla="*/ 633359 h 734334"/>
                <a:gd name="connsiteX73" fmla="*/ 374708 w 1310283"/>
                <a:gd name="connsiteY73" fmla="*/ 619990 h 734334"/>
                <a:gd name="connsiteX74" fmla="*/ 404785 w 1310283"/>
                <a:gd name="connsiteY74" fmla="*/ 599936 h 734334"/>
                <a:gd name="connsiteX75" fmla="*/ 432548 w 1310283"/>
                <a:gd name="connsiteY75" fmla="*/ 592449 h 734334"/>
                <a:gd name="connsiteX76" fmla="*/ 431817 w 1310283"/>
                <a:gd name="connsiteY76" fmla="*/ 572963 h 734334"/>
                <a:gd name="connsiteX77" fmla="*/ 449149 w 1310283"/>
                <a:gd name="connsiteY77" fmla="*/ 569621 h 734334"/>
                <a:gd name="connsiteX78" fmla="*/ 475248 w 1310283"/>
                <a:gd name="connsiteY78" fmla="*/ 543584 h 734334"/>
                <a:gd name="connsiteX79" fmla="*/ 473300 w 1310283"/>
                <a:gd name="connsiteY79" fmla="*/ 567916 h 734334"/>
                <a:gd name="connsiteX80" fmla="*/ 486898 w 1310283"/>
                <a:gd name="connsiteY80" fmla="*/ 583057 h 734334"/>
                <a:gd name="connsiteX81" fmla="*/ 478333 w 1310283"/>
                <a:gd name="connsiteY81" fmla="*/ 605284 h 734334"/>
                <a:gd name="connsiteX82" fmla="*/ 458566 w 1310283"/>
                <a:gd name="connsiteY82" fmla="*/ 634830 h 734334"/>
                <a:gd name="connsiteX83" fmla="*/ 438758 w 1310283"/>
                <a:gd name="connsiteY83" fmla="*/ 677645 h 734334"/>
                <a:gd name="connsiteX84" fmla="*/ 412253 w 1310283"/>
                <a:gd name="connsiteY84" fmla="*/ 695661 h 734334"/>
                <a:gd name="connsiteX85" fmla="*/ 401619 w 1310283"/>
                <a:gd name="connsiteY85" fmla="*/ 721464 h 734334"/>
                <a:gd name="connsiteX86" fmla="*/ 419559 w 1310283"/>
                <a:gd name="connsiteY86" fmla="*/ 712306 h 734334"/>
                <a:gd name="connsiteX87" fmla="*/ 431127 w 1310283"/>
                <a:gd name="connsiteY87" fmla="*/ 696196 h 734334"/>
                <a:gd name="connsiteX88" fmla="*/ 456780 w 1310283"/>
                <a:gd name="connsiteY88" fmla="*/ 667351 h 734334"/>
                <a:gd name="connsiteX89" fmla="*/ 494285 w 1310283"/>
                <a:gd name="connsiteY89" fmla="*/ 623533 h 734334"/>
                <a:gd name="connsiteX90" fmla="*/ 522292 w 1310283"/>
                <a:gd name="connsiteY90" fmla="*/ 573865 h 734334"/>
                <a:gd name="connsiteX91" fmla="*/ 527244 w 1310283"/>
                <a:gd name="connsiteY91" fmla="*/ 557655 h 734334"/>
                <a:gd name="connsiteX92" fmla="*/ 538487 w 1310283"/>
                <a:gd name="connsiteY92" fmla="*/ 544286 h 734334"/>
                <a:gd name="connsiteX93" fmla="*/ 550136 w 1310283"/>
                <a:gd name="connsiteY93" fmla="*/ 523697 h 734334"/>
                <a:gd name="connsiteX94" fmla="*/ 568199 w 1310283"/>
                <a:gd name="connsiteY94" fmla="*/ 501904 h 734334"/>
                <a:gd name="connsiteX95" fmla="*/ 564424 w 1310283"/>
                <a:gd name="connsiteY95" fmla="*/ 494217 h 734334"/>
                <a:gd name="connsiteX96" fmla="*/ 573516 w 1310283"/>
                <a:gd name="connsiteY96" fmla="*/ 479343 h 734334"/>
                <a:gd name="connsiteX97" fmla="*/ 546280 w 1310283"/>
                <a:gd name="connsiteY97" fmla="*/ 475734 h 734334"/>
                <a:gd name="connsiteX98" fmla="*/ 562516 w 1310283"/>
                <a:gd name="connsiteY98" fmla="*/ 454142 h 734334"/>
                <a:gd name="connsiteX99" fmla="*/ 571000 w 1310283"/>
                <a:gd name="connsiteY99" fmla="*/ 424963 h 734334"/>
                <a:gd name="connsiteX100" fmla="*/ 582649 w 1310283"/>
                <a:gd name="connsiteY100" fmla="*/ 396587 h 734334"/>
                <a:gd name="connsiteX101" fmla="*/ 600914 w 1310283"/>
                <a:gd name="connsiteY101" fmla="*/ 369179 h 734334"/>
                <a:gd name="connsiteX102" fmla="*/ 607043 w 1310283"/>
                <a:gd name="connsiteY102" fmla="*/ 368812 h 734334"/>
                <a:gd name="connsiteX103" fmla="*/ 624740 w 1310283"/>
                <a:gd name="connsiteY103" fmla="*/ 359787 h 734334"/>
                <a:gd name="connsiteX104" fmla="*/ 633345 w 1310283"/>
                <a:gd name="connsiteY104" fmla="*/ 360055 h 734334"/>
                <a:gd name="connsiteX105" fmla="*/ 616095 w 1310283"/>
                <a:gd name="connsiteY105" fmla="*/ 371385 h 734334"/>
                <a:gd name="connsiteX106" fmla="*/ 596612 w 1310283"/>
                <a:gd name="connsiteY106" fmla="*/ 399829 h 734334"/>
                <a:gd name="connsiteX107" fmla="*/ 600955 w 1310283"/>
                <a:gd name="connsiteY107" fmla="*/ 422022 h 734334"/>
                <a:gd name="connsiteX108" fmla="*/ 612036 w 1310283"/>
                <a:gd name="connsiteY108" fmla="*/ 425732 h 734334"/>
                <a:gd name="connsiteX109" fmla="*/ 627135 w 1310283"/>
                <a:gd name="connsiteY109" fmla="*/ 423860 h 734334"/>
                <a:gd name="connsiteX110" fmla="*/ 662245 w 1310283"/>
                <a:gd name="connsiteY110" fmla="*/ 375363 h 734334"/>
                <a:gd name="connsiteX111" fmla="*/ 701902 w 1310283"/>
                <a:gd name="connsiteY111" fmla="*/ 344947 h 734334"/>
                <a:gd name="connsiteX112" fmla="*/ 685666 w 1310283"/>
                <a:gd name="connsiteY112" fmla="*/ 340034 h 734334"/>
                <a:gd name="connsiteX113" fmla="*/ 677954 w 1310283"/>
                <a:gd name="connsiteY113" fmla="*/ 323656 h 734334"/>
                <a:gd name="connsiteX114" fmla="*/ 716392 w 1310283"/>
                <a:gd name="connsiteY114" fmla="*/ 306042 h 734334"/>
                <a:gd name="connsiteX115" fmla="*/ 746226 w 1310283"/>
                <a:gd name="connsiteY115" fmla="*/ 294511 h 734334"/>
                <a:gd name="connsiteX116" fmla="*/ 729381 w 1310283"/>
                <a:gd name="connsiteY116" fmla="*/ 310120 h 734334"/>
                <a:gd name="connsiteX117" fmla="*/ 737255 w 1310283"/>
                <a:gd name="connsiteY117" fmla="*/ 312393 h 734334"/>
                <a:gd name="connsiteX118" fmla="*/ 753491 w 1310283"/>
                <a:gd name="connsiteY118" fmla="*/ 294110 h 734334"/>
                <a:gd name="connsiteX119" fmla="*/ 768509 w 1310283"/>
                <a:gd name="connsiteY119" fmla="*/ 289464 h 734334"/>
                <a:gd name="connsiteX120" fmla="*/ 779347 w 1310283"/>
                <a:gd name="connsiteY120" fmla="*/ 275393 h 734334"/>
                <a:gd name="connsiteX121" fmla="*/ 796395 w 1310283"/>
                <a:gd name="connsiteY121" fmla="*/ 274724 h 734334"/>
                <a:gd name="connsiteX122" fmla="*/ 834427 w 1310283"/>
                <a:gd name="connsiteY122" fmla="*/ 253734 h 734334"/>
                <a:gd name="connsiteX123" fmla="*/ 888127 w 1310283"/>
                <a:gd name="connsiteY123" fmla="*/ 218272 h 734334"/>
                <a:gd name="connsiteX124" fmla="*/ 932776 w 1310283"/>
                <a:gd name="connsiteY124" fmla="*/ 194006 h 734334"/>
                <a:gd name="connsiteX125" fmla="*/ 950311 w 1310283"/>
                <a:gd name="connsiteY125" fmla="*/ 184882 h 734334"/>
                <a:gd name="connsiteX126" fmla="*/ 957252 w 1310283"/>
                <a:gd name="connsiteY126" fmla="*/ 195945 h 734334"/>
                <a:gd name="connsiteX127" fmla="*/ 1019922 w 1310283"/>
                <a:gd name="connsiteY127" fmla="*/ 178431 h 734334"/>
                <a:gd name="connsiteX128" fmla="*/ 1056818 w 1310283"/>
                <a:gd name="connsiteY128" fmla="*/ 162087 h 734334"/>
                <a:gd name="connsiteX129" fmla="*/ 1078047 w 1310283"/>
                <a:gd name="connsiteY129" fmla="*/ 148918 h 734334"/>
                <a:gd name="connsiteX130" fmla="*/ 1097165 w 1310283"/>
                <a:gd name="connsiteY130" fmla="*/ 142400 h 734334"/>
                <a:gd name="connsiteX131" fmla="*/ 1075409 w 1310283"/>
                <a:gd name="connsiteY131" fmla="*/ 129900 h 734334"/>
                <a:gd name="connsiteX132" fmla="*/ 1093187 w 1310283"/>
                <a:gd name="connsiteY132" fmla="*/ 127861 h 734334"/>
                <a:gd name="connsiteX133" fmla="*/ 1111168 w 1310283"/>
                <a:gd name="connsiteY133" fmla="*/ 144573 h 734334"/>
                <a:gd name="connsiteX134" fmla="*/ 1089980 w 1310283"/>
                <a:gd name="connsiteY134" fmla="*/ 156338 h 734334"/>
                <a:gd name="connsiteX135" fmla="*/ 1072892 w 1310283"/>
                <a:gd name="connsiteY135" fmla="*/ 164025 h 734334"/>
                <a:gd name="connsiteX136" fmla="*/ 1116485 w 1310283"/>
                <a:gd name="connsiteY136" fmla="*/ 169841 h 734334"/>
                <a:gd name="connsiteX137" fmla="*/ 1141123 w 1310283"/>
                <a:gd name="connsiteY137" fmla="*/ 164594 h 734334"/>
                <a:gd name="connsiteX138" fmla="*/ 1120220 w 1310283"/>
                <a:gd name="connsiteY138" fmla="*/ 155636 h 734334"/>
                <a:gd name="connsiteX139" fmla="*/ 1132397 w 1310283"/>
                <a:gd name="connsiteY139" fmla="*/ 151291 h 734334"/>
                <a:gd name="connsiteX140" fmla="*/ 1149769 w 1310283"/>
                <a:gd name="connsiteY140" fmla="*/ 139894 h 734334"/>
                <a:gd name="connsiteX141" fmla="*/ 1137592 w 1310283"/>
                <a:gd name="connsiteY141" fmla="*/ 127126 h 734334"/>
                <a:gd name="connsiteX142" fmla="*/ 1166005 w 1310283"/>
                <a:gd name="connsiteY142" fmla="*/ 128630 h 734334"/>
                <a:gd name="connsiteX143" fmla="*/ 1161946 w 1310283"/>
                <a:gd name="connsiteY143" fmla="*/ 143771 h 734334"/>
                <a:gd name="connsiteX144" fmla="*/ 1150216 w 1310283"/>
                <a:gd name="connsiteY144" fmla="*/ 158778 h 734334"/>
                <a:gd name="connsiteX145" fmla="*/ 1165274 w 1310283"/>
                <a:gd name="connsiteY145" fmla="*/ 167134 h 734334"/>
                <a:gd name="connsiteX146" fmla="*/ 1168440 w 1310283"/>
                <a:gd name="connsiteY146" fmla="*/ 155837 h 734334"/>
                <a:gd name="connsiteX147" fmla="*/ 1180617 w 1310283"/>
                <a:gd name="connsiteY147" fmla="*/ 149152 h 734334"/>
                <a:gd name="connsiteX148" fmla="*/ 1199491 w 1310283"/>
                <a:gd name="connsiteY148" fmla="*/ 143637 h 734334"/>
                <a:gd name="connsiteX149" fmla="*/ 1219502 w 1310283"/>
                <a:gd name="connsiteY149" fmla="*/ 134078 h 734334"/>
                <a:gd name="connsiteX150" fmla="*/ 1193647 w 1310283"/>
                <a:gd name="connsiteY150" fmla="*/ 135983 h 734334"/>
                <a:gd name="connsiteX151" fmla="*/ 1216702 w 1310283"/>
                <a:gd name="connsiteY151" fmla="*/ 126324 h 734334"/>
                <a:gd name="connsiteX152" fmla="*/ 1227823 w 1310283"/>
                <a:gd name="connsiteY152" fmla="*/ 139192 h 734334"/>
                <a:gd name="connsiteX153" fmla="*/ 1202414 w 1310283"/>
                <a:gd name="connsiteY153" fmla="*/ 151993 h 734334"/>
                <a:gd name="connsiteX154" fmla="*/ 1201886 w 1310283"/>
                <a:gd name="connsiteY154" fmla="*/ 162020 h 734334"/>
                <a:gd name="connsiteX155" fmla="*/ 1214063 w 1310283"/>
                <a:gd name="connsiteY155" fmla="*/ 176492 h 734334"/>
                <a:gd name="connsiteX156" fmla="*/ 1224617 w 1310283"/>
                <a:gd name="connsiteY156" fmla="*/ 166031 h 734334"/>
                <a:gd name="connsiteX157" fmla="*/ 1245561 w 1310283"/>
                <a:gd name="connsiteY157" fmla="*/ 152895 h 734334"/>
                <a:gd name="connsiteX158" fmla="*/ 1259037 w 1310283"/>
                <a:gd name="connsiteY158" fmla="*/ 141899 h 734334"/>
                <a:gd name="connsiteX159" fmla="*/ 1269347 w 1310283"/>
                <a:gd name="connsiteY159" fmla="*/ 130702 h 734334"/>
                <a:gd name="connsiteX160" fmla="*/ 1282213 w 1310283"/>
                <a:gd name="connsiteY160" fmla="*/ 139492 h 734334"/>
                <a:gd name="connsiteX161" fmla="*/ 1294390 w 1310283"/>
                <a:gd name="connsiteY161" fmla="*/ 134579 h 734334"/>
                <a:gd name="connsiteX162" fmla="*/ 1309611 w 1310283"/>
                <a:gd name="connsiteY162" fmla="*/ 110949 h 734334"/>
                <a:gd name="connsiteX163" fmla="*/ 1291265 w 1310283"/>
                <a:gd name="connsiteY163" fmla="*/ 107205 h 734334"/>
                <a:gd name="connsiteX164" fmla="*/ 1291630 w 1310283"/>
                <a:gd name="connsiteY164" fmla="*/ 107239 h 73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310283" h="734334">
                  <a:moveTo>
                    <a:pt x="1291630" y="107239"/>
                  </a:moveTo>
                  <a:cubicBezTo>
                    <a:pt x="1290940" y="91229"/>
                    <a:pt x="1256398" y="107239"/>
                    <a:pt x="1238620" y="112353"/>
                  </a:cubicBezTo>
                  <a:cubicBezTo>
                    <a:pt x="1212561" y="119672"/>
                    <a:pt x="1195189" y="112085"/>
                    <a:pt x="1175625" y="109211"/>
                  </a:cubicBezTo>
                  <a:cubicBezTo>
                    <a:pt x="1152489" y="105868"/>
                    <a:pt x="1125293" y="111116"/>
                    <a:pt x="1098504" y="113957"/>
                  </a:cubicBezTo>
                  <a:cubicBezTo>
                    <a:pt x="1078940" y="116063"/>
                    <a:pt x="1073866" y="107272"/>
                    <a:pt x="1050771" y="125889"/>
                  </a:cubicBezTo>
                  <a:cubicBezTo>
                    <a:pt x="1040339" y="134312"/>
                    <a:pt x="1047970" y="135181"/>
                    <a:pt x="1043099" y="142902"/>
                  </a:cubicBezTo>
                  <a:cubicBezTo>
                    <a:pt x="1039649" y="148316"/>
                    <a:pt x="1026214" y="165496"/>
                    <a:pt x="1017649" y="167769"/>
                  </a:cubicBezTo>
                  <a:cubicBezTo>
                    <a:pt x="1004417" y="171111"/>
                    <a:pt x="991063" y="168805"/>
                    <a:pt x="977628" y="171111"/>
                  </a:cubicBezTo>
                  <a:cubicBezTo>
                    <a:pt x="962163" y="173952"/>
                    <a:pt x="959971" y="169072"/>
                    <a:pt x="947510" y="169674"/>
                  </a:cubicBezTo>
                  <a:cubicBezTo>
                    <a:pt x="929570" y="170576"/>
                    <a:pt x="908625" y="206440"/>
                    <a:pt x="891253" y="205504"/>
                  </a:cubicBezTo>
                  <a:cubicBezTo>
                    <a:pt x="888817" y="205504"/>
                    <a:pt x="886666" y="200658"/>
                    <a:pt x="885530" y="199454"/>
                  </a:cubicBezTo>
                  <a:lnTo>
                    <a:pt x="702470" y="6433"/>
                  </a:lnTo>
                  <a:lnTo>
                    <a:pt x="696016" y="-252"/>
                  </a:lnTo>
                  <a:cubicBezTo>
                    <a:pt x="694149" y="-2324"/>
                    <a:pt x="619383" y="33172"/>
                    <a:pt x="611874" y="39857"/>
                  </a:cubicBezTo>
                  <a:cubicBezTo>
                    <a:pt x="587195" y="60579"/>
                    <a:pt x="567793" y="70740"/>
                    <a:pt x="539421" y="85346"/>
                  </a:cubicBezTo>
                  <a:cubicBezTo>
                    <a:pt x="523185" y="93702"/>
                    <a:pt x="511211" y="105768"/>
                    <a:pt x="495624" y="114391"/>
                  </a:cubicBezTo>
                  <a:cubicBezTo>
                    <a:pt x="477237" y="124418"/>
                    <a:pt x="457714" y="129900"/>
                    <a:pt x="439083" y="139760"/>
                  </a:cubicBezTo>
                  <a:cubicBezTo>
                    <a:pt x="412180" y="154593"/>
                    <a:pt x="388232" y="172766"/>
                    <a:pt x="368091" y="193639"/>
                  </a:cubicBezTo>
                  <a:cubicBezTo>
                    <a:pt x="364032" y="197984"/>
                    <a:pt x="360420" y="197616"/>
                    <a:pt x="356158" y="198184"/>
                  </a:cubicBezTo>
                  <a:cubicBezTo>
                    <a:pt x="349664" y="199120"/>
                    <a:pt x="346822" y="203532"/>
                    <a:pt x="340977" y="206373"/>
                  </a:cubicBezTo>
                  <a:cubicBezTo>
                    <a:pt x="332859" y="210384"/>
                    <a:pt x="332454" y="198218"/>
                    <a:pt x="316624" y="209080"/>
                  </a:cubicBezTo>
                  <a:cubicBezTo>
                    <a:pt x="305283" y="217436"/>
                    <a:pt x="294587" y="226364"/>
                    <a:pt x="284598" y="235819"/>
                  </a:cubicBezTo>
                  <a:cubicBezTo>
                    <a:pt x="279930" y="239897"/>
                    <a:pt x="274004" y="244944"/>
                    <a:pt x="267956" y="245846"/>
                  </a:cubicBezTo>
                  <a:cubicBezTo>
                    <a:pt x="264263" y="246481"/>
                    <a:pt x="262274" y="242237"/>
                    <a:pt x="258743" y="243674"/>
                  </a:cubicBezTo>
                  <a:cubicBezTo>
                    <a:pt x="248352" y="247852"/>
                    <a:pt x="248352" y="262124"/>
                    <a:pt x="238772" y="269176"/>
                  </a:cubicBezTo>
                  <a:cubicBezTo>
                    <a:pt x="217097" y="285219"/>
                    <a:pt x="235525" y="262491"/>
                    <a:pt x="233861" y="260218"/>
                  </a:cubicBezTo>
                  <a:cubicBezTo>
                    <a:pt x="231263" y="256542"/>
                    <a:pt x="210928" y="269577"/>
                    <a:pt x="205976" y="272218"/>
                  </a:cubicBezTo>
                  <a:cubicBezTo>
                    <a:pt x="194692" y="278200"/>
                    <a:pt x="188725" y="295614"/>
                    <a:pt x="185438" y="302299"/>
                  </a:cubicBezTo>
                  <a:cubicBezTo>
                    <a:pt x="179593" y="314431"/>
                    <a:pt x="165427" y="326230"/>
                    <a:pt x="151504" y="335990"/>
                  </a:cubicBezTo>
                  <a:cubicBezTo>
                    <a:pt x="147811" y="338530"/>
                    <a:pt x="109453" y="367542"/>
                    <a:pt x="127151" y="363665"/>
                  </a:cubicBezTo>
                  <a:cubicBezTo>
                    <a:pt x="129911" y="363029"/>
                    <a:pt x="136852" y="359319"/>
                    <a:pt x="138029" y="361392"/>
                  </a:cubicBezTo>
                  <a:cubicBezTo>
                    <a:pt x="139206" y="363464"/>
                    <a:pt x="136527" y="368979"/>
                    <a:pt x="131940" y="370984"/>
                  </a:cubicBezTo>
                  <a:cubicBezTo>
                    <a:pt x="119520" y="376432"/>
                    <a:pt x="121143" y="372756"/>
                    <a:pt x="113675" y="383886"/>
                  </a:cubicBezTo>
                  <a:cubicBezTo>
                    <a:pt x="107546" y="393010"/>
                    <a:pt x="95856" y="402436"/>
                    <a:pt x="85749" y="409990"/>
                  </a:cubicBezTo>
                  <a:cubicBezTo>
                    <a:pt x="73937" y="418813"/>
                    <a:pt x="71258" y="424696"/>
                    <a:pt x="66956" y="435057"/>
                  </a:cubicBezTo>
                  <a:cubicBezTo>
                    <a:pt x="64724" y="440371"/>
                    <a:pt x="57458" y="452872"/>
                    <a:pt x="60624" y="456148"/>
                  </a:cubicBezTo>
                  <a:cubicBezTo>
                    <a:pt x="65495" y="461228"/>
                    <a:pt x="67281" y="465005"/>
                    <a:pt x="63952" y="474698"/>
                  </a:cubicBezTo>
                  <a:cubicBezTo>
                    <a:pt x="57377" y="493682"/>
                    <a:pt x="27787" y="516243"/>
                    <a:pt x="7614" y="532019"/>
                  </a:cubicBezTo>
                  <a:cubicBezTo>
                    <a:pt x="-7892" y="544185"/>
                    <a:pt x="2256" y="556285"/>
                    <a:pt x="18938" y="548196"/>
                  </a:cubicBezTo>
                  <a:cubicBezTo>
                    <a:pt x="53196" y="531484"/>
                    <a:pt x="74343" y="518516"/>
                    <a:pt x="105151" y="518917"/>
                  </a:cubicBezTo>
                  <a:cubicBezTo>
                    <a:pt x="125730" y="519218"/>
                    <a:pt x="136527" y="502473"/>
                    <a:pt x="156294" y="487065"/>
                  </a:cubicBezTo>
                  <a:cubicBezTo>
                    <a:pt x="168917" y="477037"/>
                    <a:pt x="169120" y="484491"/>
                    <a:pt x="174438" y="487867"/>
                  </a:cubicBezTo>
                  <a:cubicBezTo>
                    <a:pt x="183002" y="493348"/>
                    <a:pt x="199847" y="472224"/>
                    <a:pt x="210197" y="468280"/>
                  </a:cubicBezTo>
                  <a:cubicBezTo>
                    <a:pt x="225703" y="462298"/>
                    <a:pt x="202079" y="480847"/>
                    <a:pt x="200293" y="482352"/>
                  </a:cubicBezTo>
                  <a:cubicBezTo>
                    <a:pt x="186858" y="493348"/>
                    <a:pt x="186371" y="503809"/>
                    <a:pt x="175128" y="514405"/>
                  </a:cubicBezTo>
                  <a:cubicBezTo>
                    <a:pt x="170703" y="518549"/>
                    <a:pt x="167334" y="517313"/>
                    <a:pt x="162707" y="519485"/>
                  </a:cubicBezTo>
                  <a:cubicBezTo>
                    <a:pt x="156683" y="522761"/>
                    <a:pt x="151222" y="526705"/>
                    <a:pt x="146471" y="531184"/>
                  </a:cubicBezTo>
                  <a:cubicBezTo>
                    <a:pt x="136527" y="539840"/>
                    <a:pt x="124999" y="554346"/>
                    <a:pt x="122808" y="542313"/>
                  </a:cubicBezTo>
                  <a:cubicBezTo>
                    <a:pt x="119073" y="521858"/>
                    <a:pt x="83232" y="568117"/>
                    <a:pt x="79295" y="578712"/>
                  </a:cubicBezTo>
                  <a:cubicBezTo>
                    <a:pt x="78037" y="582054"/>
                    <a:pt x="86804" y="583625"/>
                    <a:pt x="79295" y="588271"/>
                  </a:cubicBezTo>
                  <a:cubicBezTo>
                    <a:pt x="61761" y="599067"/>
                    <a:pt x="57417" y="607890"/>
                    <a:pt x="46823" y="622463"/>
                  </a:cubicBezTo>
                  <a:cubicBezTo>
                    <a:pt x="23931" y="653547"/>
                    <a:pt x="47919" y="640278"/>
                    <a:pt x="72476" y="624335"/>
                  </a:cubicBezTo>
                  <a:cubicBezTo>
                    <a:pt x="77509" y="620993"/>
                    <a:pt x="90214" y="611199"/>
                    <a:pt x="85100" y="620525"/>
                  </a:cubicBezTo>
                  <a:cubicBezTo>
                    <a:pt x="78483" y="632557"/>
                    <a:pt x="84166" y="625371"/>
                    <a:pt x="93218" y="624803"/>
                  </a:cubicBezTo>
                  <a:cubicBezTo>
                    <a:pt x="119479" y="623065"/>
                    <a:pt x="139003" y="604949"/>
                    <a:pt x="161165" y="584695"/>
                  </a:cubicBezTo>
                  <a:cubicBezTo>
                    <a:pt x="171596" y="575102"/>
                    <a:pt x="178172" y="571960"/>
                    <a:pt x="190511" y="564941"/>
                  </a:cubicBezTo>
                  <a:cubicBezTo>
                    <a:pt x="200456" y="559326"/>
                    <a:pt x="204636" y="542548"/>
                    <a:pt x="209670" y="535094"/>
                  </a:cubicBezTo>
                  <a:cubicBezTo>
                    <a:pt x="215474" y="526471"/>
                    <a:pt x="225378" y="514472"/>
                    <a:pt x="237636" y="511497"/>
                  </a:cubicBezTo>
                  <a:cubicBezTo>
                    <a:pt x="247824" y="509024"/>
                    <a:pt x="244861" y="514104"/>
                    <a:pt x="239868" y="520421"/>
                  </a:cubicBezTo>
                  <a:cubicBezTo>
                    <a:pt x="230046" y="532922"/>
                    <a:pt x="291904" y="520421"/>
                    <a:pt x="248960" y="554480"/>
                  </a:cubicBezTo>
                  <a:cubicBezTo>
                    <a:pt x="238935" y="562468"/>
                    <a:pt x="225094" y="566312"/>
                    <a:pt x="228219" y="574868"/>
                  </a:cubicBezTo>
                  <a:cubicBezTo>
                    <a:pt x="231564" y="584059"/>
                    <a:pt x="226437" y="593920"/>
                    <a:pt x="216042" y="598264"/>
                  </a:cubicBezTo>
                  <a:cubicBezTo>
                    <a:pt x="187021" y="611166"/>
                    <a:pt x="174356" y="619689"/>
                    <a:pt x="192622" y="631889"/>
                  </a:cubicBezTo>
                  <a:cubicBezTo>
                    <a:pt x="195991" y="634128"/>
                    <a:pt x="183936" y="643219"/>
                    <a:pt x="181135" y="646428"/>
                  </a:cubicBezTo>
                  <a:cubicBezTo>
                    <a:pt x="171637" y="657458"/>
                    <a:pt x="180770" y="660566"/>
                    <a:pt x="176630" y="669824"/>
                  </a:cubicBezTo>
                  <a:cubicBezTo>
                    <a:pt x="175371" y="672732"/>
                    <a:pt x="164453" y="682325"/>
                    <a:pt x="167375" y="683194"/>
                  </a:cubicBezTo>
                  <a:cubicBezTo>
                    <a:pt x="173301" y="685099"/>
                    <a:pt x="190105" y="683595"/>
                    <a:pt x="198751" y="676710"/>
                  </a:cubicBezTo>
                  <a:cubicBezTo>
                    <a:pt x="220101" y="659664"/>
                    <a:pt x="213282" y="679818"/>
                    <a:pt x="217057" y="684731"/>
                  </a:cubicBezTo>
                  <a:cubicBezTo>
                    <a:pt x="217057" y="684397"/>
                    <a:pt x="273111" y="671964"/>
                    <a:pt x="277252" y="669490"/>
                  </a:cubicBezTo>
                  <a:cubicBezTo>
                    <a:pt x="293487" y="659463"/>
                    <a:pt x="303107" y="641314"/>
                    <a:pt x="303716" y="631722"/>
                  </a:cubicBezTo>
                  <a:cubicBezTo>
                    <a:pt x="303960" y="627778"/>
                    <a:pt x="322469" y="628012"/>
                    <a:pt x="324011" y="628145"/>
                  </a:cubicBezTo>
                  <a:cubicBezTo>
                    <a:pt x="337284" y="629181"/>
                    <a:pt x="329937" y="636401"/>
                    <a:pt x="336188" y="641849"/>
                  </a:cubicBezTo>
                  <a:cubicBezTo>
                    <a:pt x="345726" y="650071"/>
                    <a:pt x="353154" y="651876"/>
                    <a:pt x="369066" y="633359"/>
                  </a:cubicBezTo>
                  <a:cubicBezTo>
                    <a:pt x="374139" y="627510"/>
                    <a:pt x="371095" y="625204"/>
                    <a:pt x="374708" y="619990"/>
                  </a:cubicBezTo>
                  <a:cubicBezTo>
                    <a:pt x="382010" y="610932"/>
                    <a:pt x="392506" y="603947"/>
                    <a:pt x="404785" y="599936"/>
                  </a:cubicBezTo>
                  <a:cubicBezTo>
                    <a:pt x="408844" y="598666"/>
                    <a:pt x="429626" y="597229"/>
                    <a:pt x="432548" y="592449"/>
                  </a:cubicBezTo>
                  <a:cubicBezTo>
                    <a:pt x="434537" y="589106"/>
                    <a:pt x="420696" y="578277"/>
                    <a:pt x="431817" y="572963"/>
                  </a:cubicBezTo>
                  <a:cubicBezTo>
                    <a:pt x="438555" y="569621"/>
                    <a:pt x="438718" y="577308"/>
                    <a:pt x="449149" y="569621"/>
                  </a:cubicBezTo>
                  <a:cubicBezTo>
                    <a:pt x="452883" y="566780"/>
                    <a:pt x="474599" y="543082"/>
                    <a:pt x="475248" y="543584"/>
                  </a:cubicBezTo>
                  <a:cubicBezTo>
                    <a:pt x="479835" y="546926"/>
                    <a:pt x="470540" y="562368"/>
                    <a:pt x="473300" y="567916"/>
                  </a:cubicBezTo>
                  <a:cubicBezTo>
                    <a:pt x="475735" y="572863"/>
                    <a:pt x="488399" y="576305"/>
                    <a:pt x="486898" y="583057"/>
                  </a:cubicBezTo>
                  <a:cubicBezTo>
                    <a:pt x="485558" y="589274"/>
                    <a:pt x="480079" y="598331"/>
                    <a:pt x="478333" y="605284"/>
                  </a:cubicBezTo>
                  <a:cubicBezTo>
                    <a:pt x="475451" y="616481"/>
                    <a:pt x="465507" y="623834"/>
                    <a:pt x="458566" y="634830"/>
                  </a:cubicBezTo>
                  <a:cubicBezTo>
                    <a:pt x="452559" y="644356"/>
                    <a:pt x="448540" y="670292"/>
                    <a:pt x="438758" y="677645"/>
                  </a:cubicBezTo>
                  <a:cubicBezTo>
                    <a:pt x="430234" y="684063"/>
                    <a:pt x="420615" y="689010"/>
                    <a:pt x="412253" y="695661"/>
                  </a:cubicBezTo>
                  <a:cubicBezTo>
                    <a:pt x="400076" y="705320"/>
                    <a:pt x="404866" y="711938"/>
                    <a:pt x="401619" y="721464"/>
                  </a:cubicBezTo>
                  <a:cubicBezTo>
                    <a:pt x="393014" y="746699"/>
                    <a:pt x="410711" y="728683"/>
                    <a:pt x="419559" y="712306"/>
                  </a:cubicBezTo>
                  <a:cubicBezTo>
                    <a:pt x="423618" y="704953"/>
                    <a:pt x="417854" y="698201"/>
                    <a:pt x="431127" y="696196"/>
                  </a:cubicBezTo>
                  <a:cubicBezTo>
                    <a:pt x="442614" y="694458"/>
                    <a:pt x="448824" y="673601"/>
                    <a:pt x="456780" y="667351"/>
                  </a:cubicBezTo>
                  <a:cubicBezTo>
                    <a:pt x="467861" y="658561"/>
                    <a:pt x="497167" y="632023"/>
                    <a:pt x="494285" y="623533"/>
                  </a:cubicBezTo>
                  <a:cubicBezTo>
                    <a:pt x="489942" y="610966"/>
                    <a:pt x="509384" y="589173"/>
                    <a:pt x="522292" y="573865"/>
                  </a:cubicBezTo>
                  <a:cubicBezTo>
                    <a:pt x="529679" y="565075"/>
                    <a:pt x="524687" y="565142"/>
                    <a:pt x="527244" y="557655"/>
                  </a:cubicBezTo>
                  <a:cubicBezTo>
                    <a:pt x="528421" y="554313"/>
                    <a:pt x="536133" y="547828"/>
                    <a:pt x="538487" y="544286"/>
                  </a:cubicBezTo>
                  <a:cubicBezTo>
                    <a:pt x="542818" y="537601"/>
                    <a:pt x="546707" y="530716"/>
                    <a:pt x="550136" y="523697"/>
                  </a:cubicBezTo>
                  <a:cubicBezTo>
                    <a:pt x="553343" y="517513"/>
                    <a:pt x="567590" y="506985"/>
                    <a:pt x="568199" y="501904"/>
                  </a:cubicBezTo>
                  <a:cubicBezTo>
                    <a:pt x="568564" y="498562"/>
                    <a:pt x="565601" y="496757"/>
                    <a:pt x="564424" y="494217"/>
                  </a:cubicBezTo>
                  <a:cubicBezTo>
                    <a:pt x="562476" y="490005"/>
                    <a:pt x="571324" y="484558"/>
                    <a:pt x="573516" y="479343"/>
                  </a:cubicBezTo>
                  <a:cubicBezTo>
                    <a:pt x="582933" y="456649"/>
                    <a:pt x="538487" y="496055"/>
                    <a:pt x="546280" y="475734"/>
                  </a:cubicBezTo>
                  <a:cubicBezTo>
                    <a:pt x="549609" y="467010"/>
                    <a:pt x="554723" y="462097"/>
                    <a:pt x="562516" y="454142"/>
                  </a:cubicBezTo>
                  <a:cubicBezTo>
                    <a:pt x="574693" y="441675"/>
                    <a:pt x="564018" y="436461"/>
                    <a:pt x="571000" y="424963"/>
                  </a:cubicBezTo>
                  <a:cubicBezTo>
                    <a:pt x="575546" y="417476"/>
                    <a:pt x="575059" y="402570"/>
                    <a:pt x="582649" y="396587"/>
                  </a:cubicBezTo>
                  <a:cubicBezTo>
                    <a:pt x="593486" y="388164"/>
                    <a:pt x="590767" y="377201"/>
                    <a:pt x="600914" y="369179"/>
                  </a:cubicBezTo>
                  <a:cubicBezTo>
                    <a:pt x="602700" y="367809"/>
                    <a:pt x="605663" y="369012"/>
                    <a:pt x="607043" y="368812"/>
                  </a:cubicBezTo>
                  <a:cubicBezTo>
                    <a:pt x="613091" y="367943"/>
                    <a:pt x="618896" y="362394"/>
                    <a:pt x="624740" y="359787"/>
                  </a:cubicBezTo>
                  <a:cubicBezTo>
                    <a:pt x="628191" y="358250"/>
                    <a:pt x="633305" y="357180"/>
                    <a:pt x="633345" y="360055"/>
                  </a:cubicBezTo>
                  <a:cubicBezTo>
                    <a:pt x="633345" y="365202"/>
                    <a:pt x="620438" y="369213"/>
                    <a:pt x="616095" y="371385"/>
                  </a:cubicBezTo>
                  <a:cubicBezTo>
                    <a:pt x="603431" y="377636"/>
                    <a:pt x="592959" y="393044"/>
                    <a:pt x="596612" y="399829"/>
                  </a:cubicBezTo>
                  <a:cubicBezTo>
                    <a:pt x="599331" y="404909"/>
                    <a:pt x="594095" y="420585"/>
                    <a:pt x="600955" y="422022"/>
                  </a:cubicBezTo>
                  <a:cubicBezTo>
                    <a:pt x="607815" y="423459"/>
                    <a:pt x="626161" y="408653"/>
                    <a:pt x="612036" y="425732"/>
                  </a:cubicBezTo>
                  <a:cubicBezTo>
                    <a:pt x="597911" y="442811"/>
                    <a:pt x="615040" y="435458"/>
                    <a:pt x="627135" y="423860"/>
                  </a:cubicBezTo>
                  <a:cubicBezTo>
                    <a:pt x="642925" y="408686"/>
                    <a:pt x="649541" y="391038"/>
                    <a:pt x="662245" y="375363"/>
                  </a:cubicBezTo>
                  <a:cubicBezTo>
                    <a:pt x="665533" y="371285"/>
                    <a:pt x="701820" y="344880"/>
                    <a:pt x="701902" y="344947"/>
                  </a:cubicBezTo>
                  <a:cubicBezTo>
                    <a:pt x="697315" y="340101"/>
                    <a:pt x="695854" y="337828"/>
                    <a:pt x="685666" y="340034"/>
                  </a:cubicBezTo>
                  <a:cubicBezTo>
                    <a:pt x="668659" y="343711"/>
                    <a:pt x="672230" y="333817"/>
                    <a:pt x="677954" y="323656"/>
                  </a:cubicBezTo>
                  <a:cubicBezTo>
                    <a:pt x="680227" y="319579"/>
                    <a:pt x="712130" y="305340"/>
                    <a:pt x="716392" y="306042"/>
                  </a:cubicBezTo>
                  <a:cubicBezTo>
                    <a:pt x="718543" y="306343"/>
                    <a:pt x="750244" y="288328"/>
                    <a:pt x="746226" y="294511"/>
                  </a:cubicBezTo>
                  <a:cubicBezTo>
                    <a:pt x="742613" y="300026"/>
                    <a:pt x="732100" y="304304"/>
                    <a:pt x="729381" y="310120"/>
                  </a:cubicBezTo>
                  <a:cubicBezTo>
                    <a:pt x="727798" y="313462"/>
                    <a:pt x="732222" y="316270"/>
                    <a:pt x="737255" y="312393"/>
                  </a:cubicBezTo>
                  <a:cubicBezTo>
                    <a:pt x="744683" y="306744"/>
                    <a:pt x="743100" y="299291"/>
                    <a:pt x="753491" y="294110"/>
                  </a:cubicBezTo>
                  <a:cubicBezTo>
                    <a:pt x="758524" y="292506"/>
                    <a:pt x="763517" y="290935"/>
                    <a:pt x="768509" y="289464"/>
                  </a:cubicBezTo>
                  <a:cubicBezTo>
                    <a:pt x="775328" y="285788"/>
                    <a:pt x="773705" y="278000"/>
                    <a:pt x="779347" y="275393"/>
                  </a:cubicBezTo>
                  <a:cubicBezTo>
                    <a:pt x="784136" y="273187"/>
                    <a:pt x="786207" y="279638"/>
                    <a:pt x="796395" y="274724"/>
                  </a:cubicBezTo>
                  <a:cubicBezTo>
                    <a:pt x="809598" y="268397"/>
                    <a:pt x="822303" y="261385"/>
                    <a:pt x="834427" y="253734"/>
                  </a:cubicBezTo>
                  <a:cubicBezTo>
                    <a:pt x="844575" y="247050"/>
                    <a:pt x="877452" y="218873"/>
                    <a:pt x="888127" y="218272"/>
                  </a:cubicBezTo>
                  <a:cubicBezTo>
                    <a:pt x="907489" y="217135"/>
                    <a:pt x="923075" y="210852"/>
                    <a:pt x="932776" y="194006"/>
                  </a:cubicBezTo>
                  <a:cubicBezTo>
                    <a:pt x="935861" y="188725"/>
                    <a:pt x="943532" y="181773"/>
                    <a:pt x="950311" y="184882"/>
                  </a:cubicBezTo>
                  <a:cubicBezTo>
                    <a:pt x="957089" y="187990"/>
                    <a:pt x="933426" y="206507"/>
                    <a:pt x="957252" y="195945"/>
                  </a:cubicBezTo>
                  <a:cubicBezTo>
                    <a:pt x="976532" y="186757"/>
                    <a:pt x="997833" y="180804"/>
                    <a:pt x="1019922" y="178431"/>
                  </a:cubicBezTo>
                  <a:cubicBezTo>
                    <a:pt x="1028974" y="177462"/>
                    <a:pt x="1067494" y="171479"/>
                    <a:pt x="1056818" y="162087"/>
                  </a:cubicBezTo>
                  <a:cubicBezTo>
                    <a:pt x="1048701" y="155101"/>
                    <a:pt x="1067047" y="153397"/>
                    <a:pt x="1078047" y="148918"/>
                  </a:cubicBezTo>
                  <a:cubicBezTo>
                    <a:pt x="1081091" y="147715"/>
                    <a:pt x="1099438" y="146311"/>
                    <a:pt x="1097165" y="142400"/>
                  </a:cubicBezTo>
                  <a:cubicBezTo>
                    <a:pt x="1094202" y="137153"/>
                    <a:pt x="1074232" y="136418"/>
                    <a:pt x="1075409" y="129900"/>
                  </a:cubicBezTo>
                  <a:cubicBezTo>
                    <a:pt x="1075896" y="126992"/>
                    <a:pt x="1091969" y="127761"/>
                    <a:pt x="1093187" y="127861"/>
                  </a:cubicBezTo>
                  <a:cubicBezTo>
                    <a:pt x="1104268" y="128763"/>
                    <a:pt x="1110072" y="137086"/>
                    <a:pt x="1111168" y="144573"/>
                  </a:cubicBezTo>
                  <a:cubicBezTo>
                    <a:pt x="1112061" y="150790"/>
                    <a:pt x="1096272" y="157541"/>
                    <a:pt x="1089980" y="156338"/>
                  </a:cubicBezTo>
                  <a:cubicBezTo>
                    <a:pt x="1083689" y="155135"/>
                    <a:pt x="1079427" y="156338"/>
                    <a:pt x="1072892" y="164025"/>
                  </a:cubicBezTo>
                  <a:cubicBezTo>
                    <a:pt x="1057671" y="182275"/>
                    <a:pt x="1112183" y="165496"/>
                    <a:pt x="1116485" y="169841"/>
                  </a:cubicBezTo>
                  <a:cubicBezTo>
                    <a:pt x="1120788" y="174186"/>
                    <a:pt x="1155614" y="176526"/>
                    <a:pt x="1141123" y="164594"/>
                  </a:cubicBezTo>
                  <a:cubicBezTo>
                    <a:pt x="1135847" y="160215"/>
                    <a:pt x="1124076" y="160683"/>
                    <a:pt x="1120220" y="155636"/>
                  </a:cubicBezTo>
                  <a:cubicBezTo>
                    <a:pt x="1115146" y="148951"/>
                    <a:pt x="1129068" y="144874"/>
                    <a:pt x="1132397" y="151291"/>
                  </a:cubicBezTo>
                  <a:cubicBezTo>
                    <a:pt x="1137876" y="161318"/>
                    <a:pt x="1144898" y="145542"/>
                    <a:pt x="1149769" y="139894"/>
                  </a:cubicBezTo>
                  <a:cubicBezTo>
                    <a:pt x="1156872" y="131605"/>
                    <a:pt x="1137592" y="132774"/>
                    <a:pt x="1137592" y="127126"/>
                  </a:cubicBezTo>
                  <a:cubicBezTo>
                    <a:pt x="1137592" y="120207"/>
                    <a:pt x="1164422" y="125622"/>
                    <a:pt x="1166005" y="128630"/>
                  </a:cubicBezTo>
                  <a:cubicBezTo>
                    <a:pt x="1166979" y="130334"/>
                    <a:pt x="1163367" y="141398"/>
                    <a:pt x="1161946" y="143771"/>
                  </a:cubicBezTo>
                  <a:cubicBezTo>
                    <a:pt x="1158130" y="150255"/>
                    <a:pt x="1146400" y="152661"/>
                    <a:pt x="1150216" y="158778"/>
                  </a:cubicBezTo>
                  <a:cubicBezTo>
                    <a:pt x="1151474" y="160850"/>
                    <a:pt x="1158861" y="170476"/>
                    <a:pt x="1165274" y="167134"/>
                  </a:cubicBezTo>
                  <a:cubicBezTo>
                    <a:pt x="1169942" y="164727"/>
                    <a:pt x="1167020" y="158410"/>
                    <a:pt x="1168440" y="155837"/>
                  </a:cubicBezTo>
                  <a:cubicBezTo>
                    <a:pt x="1173664" y="155569"/>
                    <a:pt x="1178312" y="153019"/>
                    <a:pt x="1180617" y="149152"/>
                  </a:cubicBezTo>
                  <a:cubicBezTo>
                    <a:pt x="1186381" y="139125"/>
                    <a:pt x="1189709" y="144205"/>
                    <a:pt x="1199491" y="143637"/>
                  </a:cubicBezTo>
                  <a:cubicBezTo>
                    <a:pt x="1202982" y="143436"/>
                    <a:pt x="1231314" y="136117"/>
                    <a:pt x="1219502" y="134078"/>
                  </a:cubicBezTo>
                  <a:cubicBezTo>
                    <a:pt x="1211384" y="132707"/>
                    <a:pt x="1195148" y="143771"/>
                    <a:pt x="1193647" y="135983"/>
                  </a:cubicBezTo>
                  <a:cubicBezTo>
                    <a:pt x="1191901" y="127193"/>
                    <a:pt x="1210735" y="125956"/>
                    <a:pt x="1216702" y="126324"/>
                  </a:cubicBezTo>
                  <a:cubicBezTo>
                    <a:pt x="1227742" y="126792"/>
                    <a:pt x="1236509" y="128529"/>
                    <a:pt x="1227823" y="139192"/>
                  </a:cubicBezTo>
                  <a:cubicBezTo>
                    <a:pt x="1218122" y="151124"/>
                    <a:pt x="1218569" y="149787"/>
                    <a:pt x="1202414" y="151993"/>
                  </a:cubicBezTo>
                  <a:cubicBezTo>
                    <a:pt x="1184879" y="154399"/>
                    <a:pt x="1195270" y="160583"/>
                    <a:pt x="1201886" y="162020"/>
                  </a:cubicBezTo>
                  <a:cubicBezTo>
                    <a:pt x="1212074" y="164193"/>
                    <a:pt x="1205945" y="174353"/>
                    <a:pt x="1214063" y="176492"/>
                  </a:cubicBezTo>
                  <a:cubicBezTo>
                    <a:pt x="1227864" y="180035"/>
                    <a:pt x="1224860" y="169808"/>
                    <a:pt x="1224617" y="166031"/>
                  </a:cubicBezTo>
                  <a:cubicBezTo>
                    <a:pt x="1224089" y="158912"/>
                    <a:pt x="1250472" y="163725"/>
                    <a:pt x="1245561" y="152895"/>
                  </a:cubicBezTo>
                  <a:cubicBezTo>
                    <a:pt x="1242720" y="146578"/>
                    <a:pt x="1243937" y="140596"/>
                    <a:pt x="1259037" y="141899"/>
                  </a:cubicBezTo>
                  <a:cubicBezTo>
                    <a:pt x="1265977" y="142500"/>
                    <a:pt x="1263096" y="133643"/>
                    <a:pt x="1269347" y="130702"/>
                  </a:cubicBezTo>
                  <a:cubicBezTo>
                    <a:pt x="1280914" y="125254"/>
                    <a:pt x="1275354" y="141732"/>
                    <a:pt x="1282213" y="139492"/>
                  </a:cubicBezTo>
                  <a:cubicBezTo>
                    <a:pt x="1290575" y="136785"/>
                    <a:pt x="1288302" y="129800"/>
                    <a:pt x="1294390" y="134579"/>
                  </a:cubicBezTo>
                  <a:cubicBezTo>
                    <a:pt x="1297678" y="130201"/>
                    <a:pt x="1313508" y="113990"/>
                    <a:pt x="1309611" y="110949"/>
                  </a:cubicBezTo>
                  <a:cubicBezTo>
                    <a:pt x="1305715" y="107907"/>
                    <a:pt x="1291549" y="113456"/>
                    <a:pt x="1291265" y="107205"/>
                  </a:cubicBezTo>
                  <a:cubicBezTo>
                    <a:pt x="1291265" y="99384"/>
                    <a:pt x="1291874" y="115026"/>
                    <a:pt x="1291630" y="10723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8C8239BB-326A-41DD-BEAC-05EC9554B34A}"/>
                </a:ext>
              </a:extLst>
            </p:cNvPr>
            <p:cNvSpPr/>
            <p:nvPr/>
          </p:nvSpPr>
          <p:spPr>
            <a:xfrm>
              <a:off x="994322" y="5479659"/>
              <a:ext cx="56721" cy="54813"/>
            </a:xfrm>
            <a:custGeom>
              <a:avLst/>
              <a:gdLst>
                <a:gd name="connsiteX0" fmla="*/ 43006 w 58215"/>
                <a:gd name="connsiteY0" fmla="*/ 629 h 75051"/>
                <a:gd name="connsiteX1" fmla="*/ 14594 w 58215"/>
                <a:gd name="connsiteY1" fmla="*/ 52837 h 75051"/>
                <a:gd name="connsiteX2" fmla="*/ 6476 w 58215"/>
                <a:gd name="connsiteY2" fmla="*/ 74128 h 75051"/>
                <a:gd name="connsiteX3" fmla="*/ 32047 w 58215"/>
                <a:gd name="connsiteY3" fmla="*/ 60992 h 75051"/>
                <a:gd name="connsiteX4" fmla="*/ 54980 w 58215"/>
                <a:gd name="connsiteY4" fmla="*/ 18410 h 75051"/>
                <a:gd name="connsiteX5" fmla="*/ 46619 w 58215"/>
                <a:gd name="connsiteY5" fmla="*/ 11726 h 75051"/>
                <a:gd name="connsiteX6" fmla="*/ 42803 w 58215"/>
                <a:gd name="connsiteY6" fmla="*/ 763 h 75051"/>
                <a:gd name="connsiteX7" fmla="*/ 43006 w 58215"/>
                <a:gd name="connsiteY7" fmla="*/ 629 h 7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15" h="75051">
                  <a:moveTo>
                    <a:pt x="43006" y="629"/>
                  </a:moveTo>
                  <a:cubicBezTo>
                    <a:pt x="36066" y="-8429"/>
                    <a:pt x="16420" y="50765"/>
                    <a:pt x="14594" y="52837"/>
                  </a:cubicBezTo>
                  <a:cubicBezTo>
                    <a:pt x="5664" y="62630"/>
                    <a:pt x="-8461" y="70183"/>
                    <a:pt x="6476" y="74128"/>
                  </a:cubicBezTo>
                  <a:cubicBezTo>
                    <a:pt x="19099" y="77470"/>
                    <a:pt x="20276" y="65604"/>
                    <a:pt x="32047" y="60992"/>
                  </a:cubicBezTo>
                  <a:cubicBezTo>
                    <a:pt x="43818" y="56379"/>
                    <a:pt x="66508" y="17541"/>
                    <a:pt x="54980" y="18410"/>
                  </a:cubicBezTo>
                  <a:cubicBezTo>
                    <a:pt x="45482" y="19146"/>
                    <a:pt x="32412" y="25095"/>
                    <a:pt x="46619" y="11726"/>
                  </a:cubicBezTo>
                  <a:cubicBezTo>
                    <a:pt x="64762" y="-5554"/>
                    <a:pt x="47349" y="6746"/>
                    <a:pt x="42803" y="763"/>
                  </a:cubicBezTo>
                  <a:cubicBezTo>
                    <a:pt x="40327" y="-2947"/>
                    <a:pt x="45726" y="4205"/>
                    <a:pt x="43006" y="62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11F8EFD0-36A8-4A0A-B25B-ADFD9026B88C}"/>
                </a:ext>
              </a:extLst>
            </p:cNvPr>
            <p:cNvSpPr/>
            <p:nvPr/>
          </p:nvSpPr>
          <p:spPr>
            <a:xfrm>
              <a:off x="992531" y="5478608"/>
              <a:ext cx="60562" cy="56978"/>
            </a:xfrm>
            <a:custGeom>
              <a:avLst/>
              <a:gdLst>
                <a:gd name="connsiteX0" fmla="*/ 20288 w 62157"/>
                <a:gd name="connsiteY0" fmla="*/ 74697 h 78016"/>
                <a:gd name="connsiteX1" fmla="*/ 7178 w 62157"/>
                <a:gd name="connsiteY1" fmla="*/ 77070 h 78016"/>
                <a:gd name="connsiteX2" fmla="*/ -47 w 62157"/>
                <a:gd name="connsiteY2" fmla="*/ 71221 h 78016"/>
                <a:gd name="connsiteX3" fmla="*/ 8639 w 62157"/>
                <a:gd name="connsiteY3" fmla="*/ 60158 h 78016"/>
                <a:gd name="connsiteX4" fmla="*/ 15052 w 62157"/>
                <a:gd name="connsiteY4" fmla="*/ 53908 h 78016"/>
                <a:gd name="connsiteX5" fmla="*/ 18705 w 62157"/>
                <a:gd name="connsiteY5" fmla="*/ 44683 h 78016"/>
                <a:gd name="connsiteX6" fmla="*/ 40583 w 62157"/>
                <a:gd name="connsiteY6" fmla="*/ 964 h 78016"/>
                <a:gd name="connsiteX7" fmla="*/ 43627 w 62157"/>
                <a:gd name="connsiteY7" fmla="*/ -339 h 78016"/>
                <a:gd name="connsiteX8" fmla="*/ 44277 w 62157"/>
                <a:gd name="connsiteY8" fmla="*/ -339 h 78016"/>
                <a:gd name="connsiteX9" fmla="*/ 44804 w 62157"/>
                <a:gd name="connsiteY9" fmla="*/ -339 h 78016"/>
                <a:gd name="connsiteX10" fmla="*/ 45900 w 62157"/>
                <a:gd name="connsiteY10" fmla="*/ -5 h 78016"/>
                <a:gd name="connsiteX11" fmla="*/ 45900 w 62157"/>
                <a:gd name="connsiteY11" fmla="*/ -5 h 78016"/>
                <a:gd name="connsiteX12" fmla="*/ 46266 w 62157"/>
                <a:gd name="connsiteY12" fmla="*/ 497 h 78016"/>
                <a:gd name="connsiteX13" fmla="*/ 46672 w 62157"/>
                <a:gd name="connsiteY13" fmla="*/ 1031 h 78016"/>
                <a:gd name="connsiteX14" fmla="*/ 46672 w 62157"/>
                <a:gd name="connsiteY14" fmla="*/ 1031 h 78016"/>
                <a:gd name="connsiteX15" fmla="*/ 54059 w 62157"/>
                <a:gd name="connsiteY15" fmla="*/ 2168 h 78016"/>
                <a:gd name="connsiteX16" fmla="*/ 58645 w 62157"/>
                <a:gd name="connsiteY16" fmla="*/ 2870 h 78016"/>
                <a:gd name="connsiteX17" fmla="*/ 49919 w 62157"/>
                <a:gd name="connsiteY17" fmla="*/ 13666 h 78016"/>
                <a:gd name="connsiteX18" fmla="*/ 44317 w 62157"/>
                <a:gd name="connsiteY18" fmla="*/ 20350 h 78016"/>
                <a:gd name="connsiteX19" fmla="*/ 50365 w 62157"/>
                <a:gd name="connsiteY19" fmla="*/ 19715 h 78016"/>
                <a:gd name="connsiteX20" fmla="*/ 57793 w 62157"/>
                <a:gd name="connsiteY20" fmla="*/ 18545 h 78016"/>
                <a:gd name="connsiteX21" fmla="*/ 62096 w 62157"/>
                <a:gd name="connsiteY21" fmla="*/ 22423 h 78016"/>
                <a:gd name="connsiteX22" fmla="*/ 37742 w 62157"/>
                <a:gd name="connsiteY22" fmla="*/ 61863 h 78016"/>
                <a:gd name="connsiteX23" fmla="*/ 37742 w 62157"/>
                <a:gd name="connsiteY23" fmla="*/ 61863 h 78016"/>
                <a:gd name="connsiteX24" fmla="*/ 34007 w 62157"/>
                <a:gd name="connsiteY24" fmla="*/ 63968 h 78016"/>
                <a:gd name="connsiteX25" fmla="*/ 24875 w 62157"/>
                <a:gd name="connsiteY25" fmla="*/ 70653 h 78016"/>
                <a:gd name="connsiteX26" fmla="*/ 20288 w 62157"/>
                <a:gd name="connsiteY26" fmla="*/ 74697 h 78016"/>
                <a:gd name="connsiteX27" fmla="*/ 42207 w 62157"/>
                <a:gd name="connsiteY27" fmla="*/ 2636 h 78016"/>
                <a:gd name="connsiteX28" fmla="*/ 22480 w 62157"/>
                <a:gd name="connsiteY28" fmla="*/ 43981 h 78016"/>
                <a:gd name="connsiteX29" fmla="*/ 17934 w 62157"/>
                <a:gd name="connsiteY29" fmla="*/ 54609 h 78016"/>
                <a:gd name="connsiteX30" fmla="*/ 11074 w 62157"/>
                <a:gd name="connsiteY30" fmla="*/ 61294 h 78016"/>
                <a:gd name="connsiteX31" fmla="*/ 3849 w 62157"/>
                <a:gd name="connsiteY31" fmla="*/ 69851 h 78016"/>
                <a:gd name="connsiteX32" fmla="*/ 9897 w 62157"/>
                <a:gd name="connsiteY32" fmla="*/ 74095 h 78016"/>
                <a:gd name="connsiteX33" fmla="*/ 18502 w 62157"/>
                <a:gd name="connsiteY33" fmla="*/ 73026 h 78016"/>
                <a:gd name="connsiteX34" fmla="*/ 22277 w 62157"/>
                <a:gd name="connsiteY34" fmla="*/ 69684 h 78016"/>
                <a:gd name="connsiteX35" fmla="*/ 34048 w 62157"/>
                <a:gd name="connsiteY35" fmla="*/ 61227 h 78016"/>
                <a:gd name="connsiteX36" fmla="*/ 36037 w 62157"/>
                <a:gd name="connsiteY36" fmla="*/ 60058 h 78016"/>
                <a:gd name="connsiteX37" fmla="*/ 36037 w 62157"/>
                <a:gd name="connsiteY37" fmla="*/ 60058 h 78016"/>
                <a:gd name="connsiteX38" fmla="*/ 58199 w 62157"/>
                <a:gd name="connsiteY38" fmla="*/ 23860 h 78016"/>
                <a:gd name="connsiteX39" fmla="*/ 56210 w 62157"/>
                <a:gd name="connsiteY39" fmla="*/ 21453 h 78016"/>
                <a:gd name="connsiteX40" fmla="*/ 49350 w 62157"/>
                <a:gd name="connsiteY40" fmla="*/ 22523 h 78016"/>
                <a:gd name="connsiteX41" fmla="*/ 40502 w 62157"/>
                <a:gd name="connsiteY41" fmla="*/ 22289 h 78016"/>
                <a:gd name="connsiteX42" fmla="*/ 47402 w 62157"/>
                <a:gd name="connsiteY42" fmla="*/ 12630 h 78016"/>
                <a:gd name="connsiteX43" fmla="*/ 54708 w 62157"/>
                <a:gd name="connsiteY43" fmla="*/ 4909 h 78016"/>
                <a:gd name="connsiteX44" fmla="*/ 52719 w 62157"/>
                <a:gd name="connsiteY44" fmla="*/ 5142 h 78016"/>
                <a:gd name="connsiteX45" fmla="*/ 44601 w 62157"/>
                <a:gd name="connsiteY45" fmla="*/ 4741 h 78016"/>
                <a:gd name="connsiteX46" fmla="*/ 43749 w 62157"/>
                <a:gd name="connsiteY46" fmla="*/ 4374 h 78016"/>
                <a:gd name="connsiteX47" fmla="*/ 43749 w 62157"/>
                <a:gd name="connsiteY47" fmla="*/ 4374 h 78016"/>
                <a:gd name="connsiteX48" fmla="*/ 43343 w 62157"/>
                <a:gd name="connsiteY48" fmla="*/ 3839 h 78016"/>
                <a:gd name="connsiteX49" fmla="*/ 42897 w 62157"/>
                <a:gd name="connsiteY49" fmla="*/ 3237 h 78016"/>
                <a:gd name="connsiteX50" fmla="*/ 42207 w 62157"/>
                <a:gd name="connsiteY50" fmla="*/ 2636 h 7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157" h="78016">
                  <a:moveTo>
                    <a:pt x="20288" y="74697"/>
                  </a:moveTo>
                  <a:cubicBezTo>
                    <a:pt x="16834" y="77505"/>
                    <a:pt x="11740" y="78407"/>
                    <a:pt x="7178" y="77070"/>
                  </a:cubicBezTo>
                  <a:cubicBezTo>
                    <a:pt x="2063" y="75733"/>
                    <a:pt x="-250" y="73728"/>
                    <a:pt x="-47" y="71221"/>
                  </a:cubicBezTo>
                  <a:cubicBezTo>
                    <a:pt x="196" y="67879"/>
                    <a:pt x="4296" y="64135"/>
                    <a:pt x="8639" y="60158"/>
                  </a:cubicBezTo>
                  <a:cubicBezTo>
                    <a:pt x="10908" y="58153"/>
                    <a:pt x="13047" y="56080"/>
                    <a:pt x="15052" y="53908"/>
                  </a:cubicBezTo>
                  <a:cubicBezTo>
                    <a:pt x="15336" y="53406"/>
                    <a:pt x="16960" y="49161"/>
                    <a:pt x="18705" y="44683"/>
                  </a:cubicBezTo>
                  <a:cubicBezTo>
                    <a:pt x="28122" y="20117"/>
                    <a:pt x="34941" y="5076"/>
                    <a:pt x="40583" y="964"/>
                  </a:cubicBezTo>
                  <a:cubicBezTo>
                    <a:pt x="41440" y="330"/>
                    <a:pt x="42491" y="-138"/>
                    <a:pt x="43627" y="-339"/>
                  </a:cubicBezTo>
                  <a:lnTo>
                    <a:pt x="44277" y="-339"/>
                  </a:lnTo>
                  <a:lnTo>
                    <a:pt x="44804" y="-339"/>
                  </a:lnTo>
                  <a:cubicBezTo>
                    <a:pt x="45332" y="-339"/>
                    <a:pt x="45535" y="-339"/>
                    <a:pt x="45900" y="-5"/>
                  </a:cubicBezTo>
                  <a:lnTo>
                    <a:pt x="45900" y="-5"/>
                  </a:lnTo>
                  <a:lnTo>
                    <a:pt x="46266" y="497"/>
                  </a:lnTo>
                  <a:lnTo>
                    <a:pt x="46672" y="1031"/>
                  </a:lnTo>
                  <a:lnTo>
                    <a:pt x="46672" y="1031"/>
                  </a:lnTo>
                  <a:cubicBezTo>
                    <a:pt x="48173" y="3004"/>
                    <a:pt x="51299" y="2569"/>
                    <a:pt x="54059" y="2168"/>
                  </a:cubicBezTo>
                  <a:cubicBezTo>
                    <a:pt x="56088" y="1900"/>
                    <a:pt x="58118" y="1600"/>
                    <a:pt x="58645" y="2870"/>
                  </a:cubicBezTo>
                  <a:cubicBezTo>
                    <a:pt x="59173" y="4140"/>
                    <a:pt x="56941" y="6947"/>
                    <a:pt x="49919" y="13666"/>
                  </a:cubicBezTo>
                  <a:cubicBezTo>
                    <a:pt x="44155" y="19181"/>
                    <a:pt x="44317" y="20350"/>
                    <a:pt x="44317" y="20350"/>
                  </a:cubicBezTo>
                  <a:cubicBezTo>
                    <a:pt x="44317" y="20350"/>
                    <a:pt x="48052" y="20350"/>
                    <a:pt x="50365" y="19715"/>
                  </a:cubicBezTo>
                  <a:cubicBezTo>
                    <a:pt x="52809" y="19181"/>
                    <a:pt x="55289" y="18813"/>
                    <a:pt x="57793" y="18545"/>
                  </a:cubicBezTo>
                  <a:cubicBezTo>
                    <a:pt x="59701" y="18545"/>
                    <a:pt x="61852" y="18946"/>
                    <a:pt x="62096" y="22423"/>
                  </a:cubicBezTo>
                  <a:cubicBezTo>
                    <a:pt x="62299" y="31246"/>
                    <a:pt x="47970" y="54442"/>
                    <a:pt x="37742" y="61863"/>
                  </a:cubicBezTo>
                  <a:lnTo>
                    <a:pt x="37742" y="61863"/>
                  </a:lnTo>
                  <a:cubicBezTo>
                    <a:pt x="36626" y="62698"/>
                    <a:pt x="35367" y="63433"/>
                    <a:pt x="34007" y="63968"/>
                  </a:cubicBezTo>
                  <a:cubicBezTo>
                    <a:pt x="30432" y="65639"/>
                    <a:pt x="27318" y="67912"/>
                    <a:pt x="24875" y="70653"/>
                  </a:cubicBezTo>
                  <a:cubicBezTo>
                    <a:pt x="23466" y="72090"/>
                    <a:pt x="21932" y="73427"/>
                    <a:pt x="20288" y="74697"/>
                  </a:cubicBezTo>
                  <a:close/>
                  <a:moveTo>
                    <a:pt x="42207" y="2636"/>
                  </a:moveTo>
                  <a:cubicBezTo>
                    <a:pt x="36971" y="6479"/>
                    <a:pt x="26742" y="32717"/>
                    <a:pt x="22480" y="43981"/>
                  </a:cubicBezTo>
                  <a:cubicBezTo>
                    <a:pt x="21429" y="47658"/>
                    <a:pt x="19907" y="51200"/>
                    <a:pt x="17934" y="54609"/>
                  </a:cubicBezTo>
                  <a:cubicBezTo>
                    <a:pt x="15742" y="57016"/>
                    <a:pt x="13266" y="59289"/>
                    <a:pt x="11074" y="61294"/>
                  </a:cubicBezTo>
                  <a:cubicBezTo>
                    <a:pt x="7259" y="64637"/>
                    <a:pt x="4012" y="67745"/>
                    <a:pt x="3849" y="69851"/>
                  </a:cubicBezTo>
                  <a:cubicBezTo>
                    <a:pt x="3687" y="71957"/>
                    <a:pt x="5716" y="73193"/>
                    <a:pt x="9897" y="74095"/>
                  </a:cubicBezTo>
                  <a:cubicBezTo>
                    <a:pt x="12759" y="75232"/>
                    <a:pt x="16180" y="74831"/>
                    <a:pt x="18502" y="73026"/>
                  </a:cubicBezTo>
                  <a:cubicBezTo>
                    <a:pt x="19854" y="71990"/>
                    <a:pt x="21116" y="70853"/>
                    <a:pt x="22277" y="69684"/>
                  </a:cubicBezTo>
                  <a:cubicBezTo>
                    <a:pt x="25455" y="66241"/>
                    <a:pt x="29461" y="63366"/>
                    <a:pt x="34048" y="61227"/>
                  </a:cubicBezTo>
                  <a:cubicBezTo>
                    <a:pt x="34779" y="60927"/>
                    <a:pt x="35448" y="60526"/>
                    <a:pt x="36037" y="60058"/>
                  </a:cubicBezTo>
                  <a:lnTo>
                    <a:pt x="36037" y="60058"/>
                  </a:lnTo>
                  <a:cubicBezTo>
                    <a:pt x="44926" y="53607"/>
                    <a:pt x="58402" y="31647"/>
                    <a:pt x="58199" y="23860"/>
                  </a:cubicBezTo>
                  <a:cubicBezTo>
                    <a:pt x="58199" y="22155"/>
                    <a:pt x="57468" y="21353"/>
                    <a:pt x="56210" y="21453"/>
                  </a:cubicBezTo>
                  <a:cubicBezTo>
                    <a:pt x="53897" y="21687"/>
                    <a:pt x="51603" y="22021"/>
                    <a:pt x="49350" y="22523"/>
                  </a:cubicBezTo>
                  <a:cubicBezTo>
                    <a:pt x="45007" y="23392"/>
                    <a:pt x="41232" y="24127"/>
                    <a:pt x="40502" y="22289"/>
                  </a:cubicBezTo>
                  <a:cubicBezTo>
                    <a:pt x="39771" y="20451"/>
                    <a:pt x="41882" y="17877"/>
                    <a:pt x="47402" y="12630"/>
                  </a:cubicBezTo>
                  <a:cubicBezTo>
                    <a:pt x="50138" y="10256"/>
                    <a:pt x="52585" y="7683"/>
                    <a:pt x="54708" y="4909"/>
                  </a:cubicBezTo>
                  <a:cubicBezTo>
                    <a:pt x="54039" y="4942"/>
                    <a:pt x="53377" y="5042"/>
                    <a:pt x="52719" y="5142"/>
                  </a:cubicBezTo>
                  <a:cubicBezTo>
                    <a:pt x="50036" y="5778"/>
                    <a:pt x="47171" y="5644"/>
                    <a:pt x="44601" y="4741"/>
                  </a:cubicBezTo>
                  <a:cubicBezTo>
                    <a:pt x="44236" y="4741"/>
                    <a:pt x="44074" y="4741"/>
                    <a:pt x="43749" y="4374"/>
                  </a:cubicBezTo>
                  <a:lnTo>
                    <a:pt x="43749" y="4374"/>
                  </a:lnTo>
                  <a:cubicBezTo>
                    <a:pt x="43749" y="4374"/>
                    <a:pt x="43465" y="4040"/>
                    <a:pt x="43343" y="3839"/>
                  </a:cubicBezTo>
                  <a:lnTo>
                    <a:pt x="42897" y="3237"/>
                  </a:lnTo>
                  <a:cubicBezTo>
                    <a:pt x="42531" y="2669"/>
                    <a:pt x="42247" y="2636"/>
                    <a:pt x="42207" y="263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924497B9-510A-4640-9A50-E27400716410}"/>
                </a:ext>
              </a:extLst>
            </p:cNvPr>
            <p:cNvSpPr/>
            <p:nvPr/>
          </p:nvSpPr>
          <p:spPr>
            <a:xfrm>
              <a:off x="3510235" y="5131113"/>
              <a:ext cx="30355" cy="14186"/>
            </a:xfrm>
            <a:custGeom>
              <a:avLst/>
              <a:gdLst>
                <a:gd name="connsiteX0" fmla="*/ 30672 w 31155"/>
                <a:gd name="connsiteY0" fmla="*/ 18493 h 19424"/>
                <a:gd name="connsiteX1" fmla="*/ -54 w 31155"/>
                <a:gd name="connsiteY1" fmla="*/ 4088 h 19424"/>
                <a:gd name="connsiteX2" fmla="*/ 16182 w 31155"/>
                <a:gd name="connsiteY2" fmla="*/ 6360 h 19424"/>
                <a:gd name="connsiteX3" fmla="*/ 30713 w 31155"/>
                <a:gd name="connsiteY3" fmla="*/ 18493 h 19424"/>
                <a:gd name="connsiteX4" fmla="*/ 30672 w 31155"/>
                <a:gd name="connsiteY4" fmla="*/ 18493 h 1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5" h="19424">
                  <a:moveTo>
                    <a:pt x="30672" y="18493"/>
                  </a:moveTo>
                  <a:cubicBezTo>
                    <a:pt x="29941" y="21000"/>
                    <a:pt x="189" y="9870"/>
                    <a:pt x="-54" y="4088"/>
                  </a:cubicBezTo>
                  <a:cubicBezTo>
                    <a:pt x="-379" y="-5438"/>
                    <a:pt x="14680" y="2851"/>
                    <a:pt x="16182" y="6360"/>
                  </a:cubicBezTo>
                  <a:cubicBezTo>
                    <a:pt x="18049" y="10872"/>
                    <a:pt x="31930" y="14382"/>
                    <a:pt x="30713" y="18493"/>
                  </a:cubicBezTo>
                  <a:cubicBezTo>
                    <a:pt x="29779" y="21133"/>
                    <a:pt x="31971" y="13814"/>
                    <a:pt x="30672" y="1849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F1656DF3-498B-4494-A7CE-13A50F2D2214}"/>
                </a:ext>
              </a:extLst>
            </p:cNvPr>
            <p:cNvSpPr/>
            <p:nvPr/>
          </p:nvSpPr>
          <p:spPr>
            <a:xfrm>
              <a:off x="3508182" y="5130234"/>
              <a:ext cx="33919" cy="16292"/>
            </a:xfrm>
            <a:custGeom>
              <a:avLst/>
              <a:gdLst>
                <a:gd name="connsiteX0" fmla="*/ 32170 w 34813"/>
                <a:gd name="connsiteY0" fmla="*/ 21969 h 22308"/>
                <a:gd name="connsiteX1" fmla="*/ 30993 w 34813"/>
                <a:gd name="connsiteY1" fmla="*/ 21268 h 22308"/>
                <a:gd name="connsiteX2" fmla="*/ 30993 w 34813"/>
                <a:gd name="connsiteY2" fmla="*/ 21268 h 22308"/>
                <a:gd name="connsiteX3" fmla="*/ 25960 w 34813"/>
                <a:gd name="connsiteY3" fmla="*/ 20298 h 22308"/>
                <a:gd name="connsiteX4" fmla="*/ 23 w 34813"/>
                <a:gd name="connsiteY4" fmla="*/ 5659 h 22308"/>
                <a:gd name="connsiteX5" fmla="*/ 3717 w 34813"/>
                <a:gd name="connsiteY5" fmla="*/ 77 h 22308"/>
                <a:gd name="connsiteX6" fmla="*/ 8425 w 34813"/>
                <a:gd name="connsiteY6" fmla="*/ -123 h 22308"/>
                <a:gd name="connsiteX7" fmla="*/ 19993 w 34813"/>
                <a:gd name="connsiteY7" fmla="*/ 6996 h 22308"/>
                <a:gd name="connsiteX8" fmla="*/ 27177 w 34813"/>
                <a:gd name="connsiteY8" fmla="*/ 12343 h 22308"/>
                <a:gd name="connsiteX9" fmla="*/ 33753 w 34813"/>
                <a:gd name="connsiteY9" fmla="*/ 16755 h 22308"/>
                <a:gd name="connsiteX10" fmla="*/ 33753 w 34813"/>
                <a:gd name="connsiteY10" fmla="*/ 16755 h 22308"/>
                <a:gd name="connsiteX11" fmla="*/ 34483 w 34813"/>
                <a:gd name="connsiteY11" fmla="*/ 17223 h 22308"/>
                <a:gd name="connsiteX12" fmla="*/ 34727 w 34813"/>
                <a:gd name="connsiteY12" fmla="*/ 18092 h 22308"/>
                <a:gd name="connsiteX13" fmla="*/ 34727 w 34813"/>
                <a:gd name="connsiteY13" fmla="*/ 18092 h 22308"/>
                <a:gd name="connsiteX14" fmla="*/ 34727 w 34813"/>
                <a:gd name="connsiteY14" fmla="*/ 18694 h 22308"/>
                <a:gd name="connsiteX15" fmla="*/ 34402 w 34813"/>
                <a:gd name="connsiteY15" fmla="*/ 19763 h 22308"/>
                <a:gd name="connsiteX16" fmla="*/ 34402 w 34813"/>
                <a:gd name="connsiteY16" fmla="*/ 20298 h 22308"/>
                <a:gd name="connsiteX17" fmla="*/ 34402 w 34813"/>
                <a:gd name="connsiteY17" fmla="*/ 20298 h 22308"/>
                <a:gd name="connsiteX18" fmla="*/ 33793 w 34813"/>
                <a:gd name="connsiteY18" fmla="*/ 21134 h 22308"/>
                <a:gd name="connsiteX19" fmla="*/ 4731 w 34813"/>
                <a:gd name="connsiteY19" fmla="*/ 2283 h 22308"/>
                <a:gd name="connsiteX20" fmla="*/ 3879 w 34813"/>
                <a:gd name="connsiteY20" fmla="*/ 5091 h 22308"/>
                <a:gd name="connsiteX21" fmla="*/ 30546 w 34813"/>
                <a:gd name="connsiteY21" fmla="*/ 18861 h 22308"/>
                <a:gd name="connsiteX22" fmla="*/ 24255 w 34813"/>
                <a:gd name="connsiteY22" fmla="*/ 14483 h 22308"/>
                <a:gd name="connsiteX23" fmla="*/ 16137 w 34813"/>
                <a:gd name="connsiteY23" fmla="*/ 8299 h 22308"/>
                <a:gd name="connsiteX24" fmla="*/ 6314 w 34813"/>
                <a:gd name="connsiteY24" fmla="*/ 2350 h 22308"/>
                <a:gd name="connsiteX25" fmla="*/ 4731 w 34813"/>
                <a:gd name="connsiteY25" fmla="*/ 2283 h 2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13" h="22308">
                  <a:moveTo>
                    <a:pt x="32170" y="21969"/>
                  </a:moveTo>
                  <a:lnTo>
                    <a:pt x="30993" y="21268"/>
                  </a:lnTo>
                  <a:lnTo>
                    <a:pt x="30993" y="21268"/>
                  </a:lnTo>
                  <a:cubicBezTo>
                    <a:pt x="29268" y="21144"/>
                    <a:pt x="27571" y="20816"/>
                    <a:pt x="25960" y="20298"/>
                  </a:cubicBezTo>
                  <a:cubicBezTo>
                    <a:pt x="18694" y="18260"/>
                    <a:pt x="226" y="10906"/>
                    <a:pt x="23" y="5659"/>
                  </a:cubicBezTo>
                  <a:cubicBezTo>
                    <a:pt x="-440" y="3322"/>
                    <a:pt x="1082" y="1023"/>
                    <a:pt x="3717" y="77"/>
                  </a:cubicBezTo>
                  <a:cubicBezTo>
                    <a:pt x="5222" y="-398"/>
                    <a:pt x="6870" y="-468"/>
                    <a:pt x="8425" y="-123"/>
                  </a:cubicBezTo>
                  <a:cubicBezTo>
                    <a:pt x="13251" y="933"/>
                    <a:pt x="17395" y="3483"/>
                    <a:pt x="19993" y="6996"/>
                  </a:cubicBezTo>
                  <a:cubicBezTo>
                    <a:pt x="20724" y="8801"/>
                    <a:pt x="24052" y="10605"/>
                    <a:pt x="27177" y="12343"/>
                  </a:cubicBezTo>
                  <a:cubicBezTo>
                    <a:pt x="29661" y="13490"/>
                    <a:pt x="31886" y="14984"/>
                    <a:pt x="33753" y="16755"/>
                  </a:cubicBezTo>
                  <a:lnTo>
                    <a:pt x="33753" y="16755"/>
                  </a:lnTo>
                  <a:lnTo>
                    <a:pt x="34483" y="17223"/>
                  </a:lnTo>
                  <a:cubicBezTo>
                    <a:pt x="34715" y="17471"/>
                    <a:pt x="34804" y="17788"/>
                    <a:pt x="34727" y="18092"/>
                  </a:cubicBezTo>
                  <a:lnTo>
                    <a:pt x="34727" y="18092"/>
                  </a:lnTo>
                  <a:cubicBezTo>
                    <a:pt x="34747" y="18293"/>
                    <a:pt x="34747" y="18493"/>
                    <a:pt x="34727" y="18694"/>
                  </a:cubicBezTo>
                  <a:cubicBezTo>
                    <a:pt x="34658" y="19058"/>
                    <a:pt x="34548" y="19416"/>
                    <a:pt x="34402" y="19763"/>
                  </a:cubicBezTo>
                  <a:cubicBezTo>
                    <a:pt x="34427" y="19941"/>
                    <a:pt x="34427" y="20121"/>
                    <a:pt x="34402" y="20298"/>
                  </a:cubicBezTo>
                  <a:lnTo>
                    <a:pt x="34402" y="20298"/>
                  </a:lnTo>
                  <a:cubicBezTo>
                    <a:pt x="34277" y="20609"/>
                    <a:pt x="34069" y="20893"/>
                    <a:pt x="33793" y="21134"/>
                  </a:cubicBezTo>
                  <a:close/>
                  <a:moveTo>
                    <a:pt x="4731" y="2283"/>
                  </a:moveTo>
                  <a:cubicBezTo>
                    <a:pt x="4528" y="2283"/>
                    <a:pt x="3798" y="3052"/>
                    <a:pt x="3879" y="5091"/>
                  </a:cubicBezTo>
                  <a:cubicBezTo>
                    <a:pt x="3879" y="9335"/>
                    <a:pt x="23890" y="17457"/>
                    <a:pt x="30546" y="18861"/>
                  </a:cubicBezTo>
                  <a:cubicBezTo>
                    <a:pt x="28821" y="17073"/>
                    <a:pt x="26682" y="15585"/>
                    <a:pt x="24255" y="14483"/>
                  </a:cubicBezTo>
                  <a:cubicBezTo>
                    <a:pt x="20805" y="12577"/>
                    <a:pt x="17233" y="10639"/>
                    <a:pt x="16137" y="8299"/>
                  </a:cubicBezTo>
                  <a:cubicBezTo>
                    <a:pt x="13836" y="5411"/>
                    <a:pt x="10349" y="3299"/>
                    <a:pt x="6314" y="2350"/>
                  </a:cubicBezTo>
                  <a:cubicBezTo>
                    <a:pt x="5803" y="2220"/>
                    <a:pt x="5259" y="2196"/>
                    <a:pt x="4731" y="2283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F00715BA-F89E-4913-862D-807FC7A72F89}"/>
                </a:ext>
              </a:extLst>
            </p:cNvPr>
            <p:cNvSpPr/>
            <p:nvPr/>
          </p:nvSpPr>
          <p:spPr>
            <a:xfrm>
              <a:off x="4071525" y="5202277"/>
              <a:ext cx="26098" cy="12542"/>
            </a:xfrm>
            <a:custGeom>
              <a:avLst/>
              <a:gdLst>
                <a:gd name="connsiteX0" fmla="*/ 5113 w 26786"/>
                <a:gd name="connsiteY0" fmla="*/ 16378 h 17173"/>
                <a:gd name="connsiteX1" fmla="*/ 1379 w 26786"/>
                <a:gd name="connsiteY1" fmla="*/ 8924 h 17173"/>
                <a:gd name="connsiteX2" fmla="*/ 12217 w 26786"/>
                <a:gd name="connsiteY2" fmla="*/ 1237 h 17173"/>
                <a:gd name="connsiteX3" fmla="*/ 5113 w 26786"/>
                <a:gd name="connsiteY3" fmla="*/ 16378 h 1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86" h="17173">
                  <a:moveTo>
                    <a:pt x="5113" y="16378"/>
                  </a:moveTo>
                  <a:cubicBezTo>
                    <a:pt x="161" y="15241"/>
                    <a:pt x="8604" y="8924"/>
                    <a:pt x="1379" y="8924"/>
                  </a:cubicBezTo>
                  <a:cubicBezTo>
                    <a:pt x="-4831" y="8924"/>
                    <a:pt x="10999" y="1605"/>
                    <a:pt x="12217" y="1237"/>
                  </a:cubicBezTo>
                  <a:cubicBezTo>
                    <a:pt x="38884" y="-7119"/>
                    <a:pt x="24150" y="20689"/>
                    <a:pt x="5113" y="1637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52" name="S EUROPE">
            <a:extLst>
              <a:ext uri="{FF2B5EF4-FFF2-40B4-BE49-F238E27FC236}">
                <a16:creationId xmlns:a16="http://schemas.microsoft.com/office/drawing/2014/main" id="{F34CEDFE-5643-4A6D-BDA2-E039E4DF8767}"/>
              </a:ext>
            </a:extLst>
          </p:cNvPr>
          <p:cNvGrpSpPr/>
          <p:nvPr/>
        </p:nvGrpSpPr>
        <p:grpSpPr>
          <a:xfrm>
            <a:off x="5398454" y="4429389"/>
            <a:ext cx="1739054" cy="379028"/>
            <a:chOff x="5398454" y="4429389"/>
            <a:chExt cx="1739054" cy="379028"/>
          </a:xfrm>
        </p:grpSpPr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516FE11D-A48E-4A0F-9A0F-6D0B040DCA03}"/>
                </a:ext>
              </a:extLst>
            </p:cNvPr>
            <p:cNvSpPr/>
            <p:nvPr/>
          </p:nvSpPr>
          <p:spPr>
            <a:xfrm>
              <a:off x="6261225" y="4532294"/>
              <a:ext cx="111073" cy="42953"/>
            </a:xfrm>
            <a:custGeom>
              <a:avLst/>
              <a:gdLst>
                <a:gd name="connsiteX0" fmla="*/ 83642 w 113999"/>
                <a:gd name="connsiteY0" fmla="*/ 53194 h 58813"/>
                <a:gd name="connsiteX1" fmla="*/ 100771 w 113999"/>
                <a:gd name="connsiteY1" fmla="*/ 38120 h 58813"/>
                <a:gd name="connsiteX2" fmla="*/ 113841 w 113999"/>
                <a:gd name="connsiteY2" fmla="*/ 22879 h 58813"/>
                <a:gd name="connsiteX3" fmla="*/ 84778 w 113999"/>
                <a:gd name="connsiteY3" fmla="*/ 3694 h 58813"/>
                <a:gd name="connsiteX4" fmla="*/ 47030 w 113999"/>
                <a:gd name="connsiteY4" fmla="*/ 1321 h 58813"/>
                <a:gd name="connsiteX5" fmla="*/ 34853 w 113999"/>
                <a:gd name="connsiteY5" fmla="*/ -50 h 58813"/>
                <a:gd name="connsiteX6" fmla="*/ 14071 w 113999"/>
                <a:gd name="connsiteY6" fmla="*/ 1822 h 58813"/>
                <a:gd name="connsiteX7" fmla="*/ 1894 w 113999"/>
                <a:gd name="connsiteY7" fmla="*/ 8239 h 58813"/>
                <a:gd name="connsiteX8" fmla="*/ 14518 w 113999"/>
                <a:gd name="connsiteY8" fmla="*/ 17999 h 58813"/>
                <a:gd name="connsiteX9" fmla="*/ 40373 w 113999"/>
                <a:gd name="connsiteY9" fmla="*/ 35446 h 58813"/>
                <a:gd name="connsiteX10" fmla="*/ 82262 w 113999"/>
                <a:gd name="connsiteY10" fmla="*/ 58475 h 58813"/>
                <a:gd name="connsiteX11" fmla="*/ 83804 w 113999"/>
                <a:gd name="connsiteY11" fmla="*/ 53194 h 58813"/>
                <a:gd name="connsiteX12" fmla="*/ 83642 w 113999"/>
                <a:gd name="connsiteY12" fmla="*/ 53194 h 5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99" h="58813">
                  <a:moveTo>
                    <a:pt x="83642" y="53194"/>
                  </a:moveTo>
                  <a:cubicBezTo>
                    <a:pt x="82100" y="48548"/>
                    <a:pt x="95575" y="41128"/>
                    <a:pt x="100771" y="38120"/>
                  </a:cubicBezTo>
                  <a:cubicBezTo>
                    <a:pt x="110228" y="32605"/>
                    <a:pt x="112948" y="31603"/>
                    <a:pt x="113841" y="22879"/>
                  </a:cubicBezTo>
                  <a:cubicBezTo>
                    <a:pt x="115018" y="11782"/>
                    <a:pt x="105723" y="6869"/>
                    <a:pt x="84778" y="3694"/>
                  </a:cubicBezTo>
                  <a:cubicBezTo>
                    <a:pt x="73008" y="1922"/>
                    <a:pt x="59126" y="2290"/>
                    <a:pt x="47030" y="1321"/>
                  </a:cubicBezTo>
                  <a:cubicBezTo>
                    <a:pt x="42931" y="1120"/>
                    <a:pt x="38872" y="662"/>
                    <a:pt x="34853" y="-50"/>
                  </a:cubicBezTo>
                  <a:cubicBezTo>
                    <a:pt x="27506" y="-1754"/>
                    <a:pt x="20931" y="4763"/>
                    <a:pt x="14071" y="1822"/>
                  </a:cubicBezTo>
                  <a:cubicBezTo>
                    <a:pt x="5953" y="-1721"/>
                    <a:pt x="-4438" y="4162"/>
                    <a:pt x="1894" y="8239"/>
                  </a:cubicBezTo>
                  <a:cubicBezTo>
                    <a:pt x="6522" y="11314"/>
                    <a:pt x="14640" y="13520"/>
                    <a:pt x="14518" y="17999"/>
                  </a:cubicBezTo>
                  <a:cubicBezTo>
                    <a:pt x="14518" y="25152"/>
                    <a:pt x="42038" y="29463"/>
                    <a:pt x="40373" y="35446"/>
                  </a:cubicBezTo>
                  <a:cubicBezTo>
                    <a:pt x="38994" y="40861"/>
                    <a:pt x="75606" y="55500"/>
                    <a:pt x="82262" y="58475"/>
                  </a:cubicBezTo>
                  <a:cubicBezTo>
                    <a:pt x="83277" y="56841"/>
                    <a:pt x="83804" y="55029"/>
                    <a:pt x="83804" y="53194"/>
                  </a:cubicBezTo>
                  <a:cubicBezTo>
                    <a:pt x="82506" y="49785"/>
                    <a:pt x="83926" y="54097"/>
                    <a:pt x="83642" y="53194"/>
                  </a:cubicBezTo>
                  <a:close/>
                </a:path>
              </a:pathLst>
            </a:custGeom>
            <a:solidFill>
              <a:schemeClr val="accent5"/>
            </a:solidFill>
            <a:ln w="3021" cap="flat">
              <a:solidFill>
                <a:schemeClr val="accent5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B889195F-ED8A-45D0-B003-ADAAFFF2A907}"/>
                </a:ext>
              </a:extLst>
            </p:cNvPr>
            <p:cNvSpPr/>
            <p:nvPr/>
          </p:nvSpPr>
          <p:spPr>
            <a:xfrm>
              <a:off x="6177867" y="4506592"/>
              <a:ext cx="106057" cy="21860"/>
            </a:xfrm>
            <a:custGeom>
              <a:avLst/>
              <a:gdLst>
                <a:gd name="connsiteX0" fmla="*/ 99 w 108851"/>
                <a:gd name="connsiteY0" fmla="*/ 25950 h 29931"/>
                <a:gd name="connsiteX1" fmla="*/ 20800 w 108851"/>
                <a:gd name="connsiteY1" fmla="*/ 24746 h 29931"/>
                <a:gd name="connsiteX2" fmla="*/ 32206 w 108851"/>
                <a:gd name="connsiteY2" fmla="*/ 29459 h 29931"/>
                <a:gd name="connsiteX3" fmla="*/ 66423 w 108851"/>
                <a:gd name="connsiteY3" fmla="*/ 29125 h 29931"/>
                <a:gd name="connsiteX4" fmla="*/ 84729 w 108851"/>
                <a:gd name="connsiteY4" fmla="*/ 18262 h 29931"/>
                <a:gd name="connsiteX5" fmla="*/ 107987 w 108851"/>
                <a:gd name="connsiteY5" fmla="*/ 6698 h 29931"/>
                <a:gd name="connsiteX6" fmla="*/ 99179 w 108851"/>
                <a:gd name="connsiteY6" fmla="*/ -188 h 29931"/>
                <a:gd name="connsiteX7" fmla="*/ 54977 w 108851"/>
                <a:gd name="connsiteY7" fmla="*/ 7266 h 29931"/>
                <a:gd name="connsiteX8" fmla="*/ 15077 w 108851"/>
                <a:gd name="connsiteY8" fmla="*/ 3923 h 29931"/>
                <a:gd name="connsiteX9" fmla="*/ 1276 w 108851"/>
                <a:gd name="connsiteY9" fmla="*/ 7065 h 29931"/>
                <a:gd name="connsiteX10" fmla="*/ 99 w 108851"/>
                <a:gd name="connsiteY10" fmla="*/ 25883 h 29931"/>
                <a:gd name="connsiteX11" fmla="*/ 99 w 108851"/>
                <a:gd name="connsiteY11" fmla="*/ 25950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51" h="29931">
                  <a:moveTo>
                    <a:pt x="99" y="25950"/>
                  </a:moveTo>
                  <a:cubicBezTo>
                    <a:pt x="6797" y="24275"/>
                    <a:pt x="13859" y="23864"/>
                    <a:pt x="20800" y="24746"/>
                  </a:cubicBezTo>
                  <a:cubicBezTo>
                    <a:pt x="30014" y="26752"/>
                    <a:pt x="20353" y="30328"/>
                    <a:pt x="32206" y="29459"/>
                  </a:cubicBezTo>
                  <a:cubicBezTo>
                    <a:pt x="43571" y="28714"/>
                    <a:pt x="55017" y="28603"/>
                    <a:pt x="66423" y="29125"/>
                  </a:cubicBezTo>
                  <a:cubicBezTo>
                    <a:pt x="67681" y="29125"/>
                    <a:pt x="84201" y="19766"/>
                    <a:pt x="84729" y="18262"/>
                  </a:cubicBezTo>
                  <a:cubicBezTo>
                    <a:pt x="87083" y="11577"/>
                    <a:pt x="98326" y="10842"/>
                    <a:pt x="107987" y="6698"/>
                  </a:cubicBezTo>
                  <a:cubicBezTo>
                    <a:pt x="111234" y="5294"/>
                    <a:pt x="103928" y="-1424"/>
                    <a:pt x="99179" y="-188"/>
                  </a:cubicBezTo>
                  <a:cubicBezTo>
                    <a:pt x="85378" y="3456"/>
                    <a:pt x="69467" y="4057"/>
                    <a:pt x="54977" y="7266"/>
                  </a:cubicBezTo>
                  <a:cubicBezTo>
                    <a:pt x="44342" y="9639"/>
                    <a:pt x="26320" y="4425"/>
                    <a:pt x="15077" y="3923"/>
                  </a:cubicBezTo>
                  <a:cubicBezTo>
                    <a:pt x="5741" y="3589"/>
                    <a:pt x="2332" y="1283"/>
                    <a:pt x="1276" y="7065"/>
                  </a:cubicBezTo>
                  <a:cubicBezTo>
                    <a:pt x="59" y="13285"/>
                    <a:pt x="-307" y="19592"/>
                    <a:pt x="99" y="25883"/>
                  </a:cubicBezTo>
                  <a:cubicBezTo>
                    <a:pt x="8217" y="24379"/>
                    <a:pt x="-429" y="17861"/>
                    <a:pt x="99" y="25950"/>
                  </a:cubicBezTo>
                  <a:close/>
                </a:path>
              </a:pathLst>
            </a:custGeom>
            <a:solidFill>
              <a:schemeClr val="accent5"/>
            </a:solidFill>
            <a:ln w="3021" cap="flat">
              <a:solidFill>
                <a:schemeClr val="accent5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555" name="Group 554">
              <a:extLst>
                <a:ext uri="{FF2B5EF4-FFF2-40B4-BE49-F238E27FC236}">
                  <a16:creationId xmlns:a16="http://schemas.microsoft.com/office/drawing/2014/main" id="{63B36EEF-2E01-4A54-AD48-8F220882F4CB}"/>
                </a:ext>
              </a:extLst>
            </p:cNvPr>
            <p:cNvGrpSpPr/>
            <p:nvPr/>
          </p:nvGrpSpPr>
          <p:grpSpPr>
            <a:xfrm>
              <a:off x="5398454" y="4440470"/>
              <a:ext cx="1739054" cy="367947"/>
              <a:chOff x="5398454" y="4440470"/>
              <a:chExt cx="1739054" cy="367947"/>
            </a:xfrm>
          </p:grpSpPr>
          <p:sp>
            <p:nvSpPr>
              <p:cNvPr id="557" name="Freeform: Shape 556">
                <a:extLst>
                  <a:ext uri="{FF2B5EF4-FFF2-40B4-BE49-F238E27FC236}">
                    <a16:creationId xmlns:a16="http://schemas.microsoft.com/office/drawing/2014/main" id="{B0FAACB1-86C7-432C-8DDF-DF7C5CA76110}"/>
                  </a:ext>
                </a:extLst>
              </p:cNvPr>
              <p:cNvSpPr/>
              <p:nvPr/>
            </p:nvSpPr>
            <p:spPr>
              <a:xfrm>
                <a:off x="6799085" y="4728594"/>
                <a:ext cx="45693" cy="51506"/>
              </a:xfrm>
              <a:custGeom>
                <a:avLst/>
                <a:gdLst>
                  <a:gd name="connsiteX0" fmla="*/ 16011 w 46897"/>
                  <a:gd name="connsiteY0" fmla="*/ 68948 h 70523"/>
                  <a:gd name="connsiteX1" fmla="*/ 19055 w 46897"/>
                  <a:gd name="connsiteY1" fmla="*/ 70185 h 70523"/>
                  <a:gd name="connsiteX2" fmla="*/ 31922 w 46897"/>
                  <a:gd name="connsiteY2" fmla="*/ 46387 h 70523"/>
                  <a:gd name="connsiteX3" fmla="*/ 27213 w 46897"/>
                  <a:gd name="connsiteY3" fmla="*/ 25030 h 70523"/>
                  <a:gd name="connsiteX4" fmla="*/ 32125 w 46897"/>
                  <a:gd name="connsiteY4" fmla="*/ 16340 h 70523"/>
                  <a:gd name="connsiteX5" fmla="*/ 45438 w 46897"/>
                  <a:gd name="connsiteY5" fmla="*/ 12362 h 70523"/>
                  <a:gd name="connsiteX6" fmla="*/ 32937 w 46897"/>
                  <a:gd name="connsiteY6" fmla="*/ -339 h 70523"/>
                  <a:gd name="connsiteX7" fmla="*/ 12642 w 46897"/>
                  <a:gd name="connsiteY7" fmla="*/ 24261 h 70523"/>
                  <a:gd name="connsiteX8" fmla="*/ 465 w 46897"/>
                  <a:gd name="connsiteY8" fmla="*/ 38366 h 70523"/>
                  <a:gd name="connsiteX9" fmla="*/ 16011 w 46897"/>
                  <a:gd name="connsiteY9" fmla="*/ 68948 h 70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897" h="70523">
                    <a:moveTo>
                      <a:pt x="16011" y="68948"/>
                    </a:moveTo>
                    <a:lnTo>
                      <a:pt x="19055" y="70185"/>
                    </a:lnTo>
                    <a:cubicBezTo>
                      <a:pt x="21653" y="63500"/>
                      <a:pt x="23114" y="51568"/>
                      <a:pt x="31922" y="46387"/>
                    </a:cubicBezTo>
                    <a:cubicBezTo>
                      <a:pt x="44707" y="38733"/>
                      <a:pt x="24656" y="33018"/>
                      <a:pt x="27213" y="25030"/>
                    </a:cubicBezTo>
                    <a:cubicBezTo>
                      <a:pt x="27904" y="21835"/>
                      <a:pt x="29608" y="18840"/>
                      <a:pt x="32125" y="16340"/>
                    </a:cubicBezTo>
                    <a:cubicBezTo>
                      <a:pt x="37320" y="11794"/>
                      <a:pt x="42881" y="19314"/>
                      <a:pt x="45438" y="12362"/>
                    </a:cubicBezTo>
                    <a:cubicBezTo>
                      <a:pt x="48726" y="3539"/>
                      <a:pt x="46859" y="4207"/>
                      <a:pt x="32937" y="-339"/>
                    </a:cubicBezTo>
                    <a:cubicBezTo>
                      <a:pt x="24819" y="7482"/>
                      <a:pt x="21287" y="16373"/>
                      <a:pt x="12642" y="24261"/>
                    </a:cubicBezTo>
                    <a:cubicBezTo>
                      <a:pt x="7852" y="28639"/>
                      <a:pt x="-2499" y="32985"/>
                      <a:pt x="465" y="38366"/>
                    </a:cubicBezTo>
                    <a:cubicBezTo>
                      <a:pt x="5619" y="46354"/>
                      <a:pt x="20394" y="61328"/>
                      <a:pt x="16011" y="6894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3021" cap="flat">
                <a:solidFill>
                  <a:schemeClr val="accent5">
                    <a:alpha val="44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grpSp>
            <p:nvGrpSpPr>
              <p:cNvPr id="558" name="Group 557">
                <a:extLst>
                  <a:ext uri="{FF2B5EF4-FFF2-40B4-BE49-F238E27FC236}">
                    <a16:creationId xmlns:a16="http://schemas.microsoft.com/office/drawing/2014/main" id="{27826746-D258-4403-81F8-88B80DF68FCE}"/>
                  </a:ext>
                </a:extLst>
              </p:cNvPr>
              <p:cNvGrpSpPr/>
              <p:nvPr/>
            </p:nvGrpSpPr>
            <p:grpSpPr>
              <a:xfrm>
                <a:off x="5398454" y="4440470"/>
                <a:ext cx="1739054" cy="367947"/>
                <a:chOff x="5398454" y="4440470"/>
                <a:chExt cx="1739054" cy="367947"/>
              </a:xfrm>
            </p:grpSpPr>
            <p:sp>
              <p:nvSpPr>
                <p:cNvPr id="559" name="Freeform: Shape 558">
                  <a:extLst>
                    <a:ext uri="{FF2B5EF4-FFF2-40B4-BE49-F238E27FC236}">
                      <a16:creationId xmlns:a16="http://schemas.microsoft.com/office/drawing/2014/main" id="{C5A01E44-56D9-4B8B-9BE8-E7BC4A2400C7}"/>
                    </a:ext>
                  </a:extLst>
                </p:cNvPr>
                <p:cNvSpPr/>
                <p:nvPr/>
              </p:nvSpPr>
              <p:spPr>
                <a:xfrm>
                  <a:off x="5398454" y="4683181"/>
                  <a:ext cx="351455" cy="125236"/>
                </a:xfrm>
                <a:custGeom>
                  <a:avLst/>
                  <a:gdLst>
                    <a:gd name="connsiteX0" fmla="*/ 135835 w 360714"/>
                    <a:gd name="connsiteY0" fmla="*/ 167127 h 171476"/>
                    <a:gd name="connsiteX1" fmla="*/ 142370 w 360714"/>
                    <a:gd name="connsiteY1" fmla="*/ 138750 h 171476"/>
                    <a:gd name="connsiteX2" fmla="*/ 184624 w 360714"/>
                    <a:gd name="connsiteY2" fmla="*/ 122039 h 171476"/>
                    <a:gd name="connsiteX3" fmla="*/ 200860 w 360714"/>
                    <a:gd name="connsiteY3" fmla="*/ 116758 h 171476"/>
                    <a:gd name="connsiteX4" fmla="*/ 226472 w 360714"/>
                    <a:gd name="connsiteY4" fmla="*/ 113616 h 171476"/>
                    <a:gd name="connsiteX5" fmla="*/ 242992 w 360714"/>
                    <a:gd name="connsiteY5" fmla="*/ 100246 h 171476"/>
                    <a:gd name="connsiteX6" fmla="*/ 272298 w 360714"/>
                    <a:gd name="connsiteY6" fmla="*/ 93796 h 171476"/>
                    <a:gd name="connsiteX7" fmla="*/ 281349 w 360714"/>
                    <a:gd name="connsiteY7" fmla="*/ 84437 h 171476"/>
                    <a:gd name="connsiteX8" fmla="*/ 290969 w 360714"/>
                    <a:gd name="connsiteY8" fmla="*/ 75513 h 171476"/>
                    <a:gd name="connsiteX9" fmla="*/ 312076 w 360714"/>
                    <a:gd name="connsiteY9" fmla="*/ 67023 h 171476"/>
                    <a:gd name="connsiteX10" fmla="*/ 343086 w 360714"/>
                    <a:gd name="connsiteY10" fmla="*/ 65419 h 171476"/>
                    <a:gd name="connsiteX11" fmla="*/ 351204 w 360714"/>
                    <a:gd name="connsiteY11" fmla="*/ 48206 h 171476"/>
                    <a:gd name="connsiteX12" fmla="*/ 344466 w 360714"/>
                    <a:gd name="connsiteY12" fmla="*/ 35872 h 171476"/>
                    <a:gd name="connsiteX13" fmla="*/ 331680 w 360714"/>
                    <a:gd name="connsiteY13" fmla="*/ 12476 h 171476"/>
                    <a:gd name="connsiteX14" fmla="*/ 264139 w 360714"/>
                    <a:gd name="connsiteY14" fmla="*/ 9134 h 171476"/>
                    <a:gd name="connsiteX15" fmla="*/ 231667 w 360714"/>
                    <a:gd name="connsiteY15" fmla="*/ 2950 h 171476"/>
                    <a:gd name="connsiteX16" fmla="*/ 204675 w 360714"/>
                    <a:gd name="connsiteY16" fmla="*/ 3518 h 171476"/>
                    <a:gd name="connsiteX17" fmla="*/ 180037 w 360714"/>
                    <a:gd name="connsiteY17" fmla="*/ 35371 h 171476"/>
                    <a:gd name="connsiteX18" fmla="*/ 156333 w 360714"/>
                    <a:gd name="connsiteY18" fmla="*/ 47838 h 171476"/>
                    <a:gd name="connsiteX19" fmla="*/ 122684 w 360714"/>
                    <a:gd name="connsiteY19" fmla="*/ 56395 h 171476"/>
                    <a:gd name="connsiteX20" fmla="*/ 91349 w 360714"/>
                    <a:gd name="connsiteY20" fmla="*/ 88682 h 171476"/>
                    <a:gd name="connsiteX21" fmla="*/ 96747 w 360714"/>
                    <a:gd name="connsiteY21" fmla="*/ 118362 h 171476"/>
                    <a:gd name="connsiteX22" fmla="*/ 59364 w 360714"/>
                    <a:gd name="connsiteY22" fmla="*/ 145101 h 171476"/>
                    <a:gd name="connsiteX23" fmla="*/ 39719 w 360714"/>
                    <a:gd name="connsiteY23" fmla="*/ 157467 h 171476"/>
                    <a:gd name="connsiteX24" fmla="*/ -60 w 360714"/>
                    <a:gd name="connsiteY24" fmla="*/ 171138 h 171476"/>
                    <a:gd name="connsiteX25" fmla="*/ 86031 w 360714"/>
                    <a:gd name="connsiteY25" fmla="*/ 164253 h 171476"/>
                    <a:gd name="connsiteX26" fmla="*/ 135754 w 360714"/>
                    <a:gd name="connsiteY26" fmla="*/ 167227 h 171476"/>
                    <a:gd name="connsiteX27" fmla="*/ 135835 w 360714"/>
                    <a:gd name="connsiteY27" fmla="*/ 167127 h 171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360714" h="171476">
                      <a:moveTo>
                        <a:pt x="135835" y="167127"/>
                      </a:moveTo>
                      <a:cubicBezTo>
                        <a:pt x="134292" y="156632"/>
                        <a:pt x="126053" y="146271"/>
                        <a:pt x="142370" y="138750"/>
                      </a:cubicBezTo>
                      <a:cubicBezTo>
                        <a:pt x="153370" y="133703"/>
                        <a:pt x="170499" y="123710"/>
                        <a:pt x="184624" y="122039"/>
                      </a:cubicBezTo>
                      <a:cubicBezTo>
                        <a:pt x="196517" y="120568"/>
                        <a:pt x="193716" y="120902"/>
                        <a:pt x="200860" y="116758"/>
                      </a:cubicBezTo>
                      <a:cubicBezTo>
                        <a:pt x="206339" y="113415"/>
                        <a:pt x="219450" y="114819"/>
                        <a:pt x="226472" y="113616"/>
                      </a:cubicBezTo>
                      <a:cubicBezTo>
                        <a:pt x="242261" y="110908"/>
                        <a:pt x="235442" y="105427"/>
                        <a:pt x="242992" y="100246"/>
                      </a:cubicBezTo>
                      <a:cubicBezTo>
                        <a:pt x="250542" y="95066"/>
                        <a:pt x="265276" y="99578"/>
                        <a:pt x="272298" y="93796"/>
                      </a:cubicBezTo>
                      <a:cubicBezTo>
                        <a:pt x="278021" y="89116"/>
                        <a:pt x="282161" y="91322"/>
                        <a:pt x="281349" y="84437"/>
                      </a:cubicBezTo>
                      <a:cubicBezTo>
                        <a:pt x="280659" y="78320"/>
                        <a:pt x="279929" y="76048"/>
                        <a:pt x="290969" y="75513"/>
                      </a:cubicBezTo>
                      <a:cubicBezTo>
                        <a:pt x="304607" y="74811"/>
                        <a:pt x="303146" y="68628"/>
                        <a:pt x="312076" y="67023"/>
                      </a:cubicBezTo>
                      <a:cubicBezTo>
                        <a:pt x="322345" y="65670"/>
                        <a:pt x="332695" y="65132"/>
                        <a:pt x="343086" y="65419"/>
                      </a:cubicBezTo>
                      <a:cubicBezTo>
                        <a:pt x="363381" y="65218"/>
                        <a:pt x="366100" y="55592"/>
                        <a:pt x="351204" y="48206"/>
                      </a:cubicBezTo>
                      <a:cubicBezTo>
                        <a:pt x="343086" y="44195"/>
                        <a:pt x="343898" y="42658"/>
                        <a:pt x="344466" y="35872"/>
                      </a:cubicBezTo>
                      <a:cubicBezTo>
                        <a:pt x="345319" y="26146"/>
                        <a:pt x="340407" y="20264"/>
                        <a:pt x="331680" y="12476"/>
                      </a:cubicBezTo>
                      <a:cubicBezTo>
                        <a:pt x="321533" y="3051"/>
                        <a:pt x="281795" y="7897"/>
                        <a:pt x="264139" y="9134"/>
                      </a:cubicBezTo>
                      <a:cubicBezTo>
                        <a:pt x="248918" y="10237"/>
                        <a:pt x="242789" y="7630"/>
                        <a:pt x="231667" y="2950"/>
                      </a:cubicBezTo>
                      <a:cubicBezTo>
                        <a:pt x="223549" y="-392"/>
                        <a:pt x="211372" y="-2598"/>
                        <a:pt x="204675" y="3518"/>
                      </a:cubicBezTo>
                      <a:cubicBezTo>
                        <a:pt x="193675" y="13545"/>
                        <a:pt x="189251" y="25043"/>
                        <a:pt x="180037" y="35371"/>
                      </a:cubicBezTo>
                      <a:cubicBezTo>
                        <a:pt x="175045" y="40953"/>
                        <a:pt x="166034" y="44830"/>
                        <a:pt x="156333" y="47838"/>
                      </a:cubicBezTo>
                      <a:cubicBezTo>
                        <a:pt x="146632" y="50846"/>
                        <a:pt x="128650" y="51481"/>
                        <a:pt x="122684" y="56395"/>
                      </a:cubicBezTo>
                      <a:cubicBezTo>
                        <a:pt x="111400" y="66589"/>
                        <a:pt x="100928" y="77375"/>
                        <a:pt x="91349" y="88682"/>
                      </a:cubicBezTo>
                      <a:cubicBezTo>
                        <a:pt x="80917" y="99946"/>
                        <a:pt x="102957" y="108736"/>
                        <a:pt x="96747" y="118362"/>
                      </a:cubicBezTo>
                      <a:cubicBezTo>
                        <a:pt x="89725" y="129458"/>
                        <a:pt x="74057" y="137146"/>
                        <a:pt x="59364" y="145101"/>
                      </a:cubicBezTo>
                      <a:cubicBezTo>
                        <a:pt x="52261" y="148944"/>
                        <a:pt x="47187" y="153791"/>
                        <a:pt x="39719" y="157467"/>
                      </a:cubicBezTo>
                      <a:cubicBezTo>
                        <a:pt x="27542" y="163551"/>
                        <a:pt x="10981" y="163952"/>
                        <a:pt x="-60" y="171138"/>
                      </a:cubicBezTo>
                      <a:cubicBezTo>
                        <a:pt x="28597" y="168688"/>
                        <a:pt x="57294" y="166392"/>
                        <a:pt x="86031" y="164253"/>
                      </a:cubicBezTo>
                      <a:cubicBezTo>
                        <a:pt x="104784" y="162849"/>
                        <a:pt x="124754" y="158470"/>
                        <a:pt x="135754" y="167227"/>
                      </a:cubicBezTo>
                      <a:cubicBezTo>
                        <a:pt x="134374" y="156030"/>
                        <a:pt x="131695" y="163818"/>
                        <a:pt x="135835" y="16712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3021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grpSp>
              <p:nvGrpSpPr>
                <p:cNvPr id="560" name="Group 559">
                  <a:extLst>
                    <a:ext uri="{FF2B5EF4-FFF2-40B4-BE49-F238E27FC236}">
                      <a16:creationId xmlns:a16="http://schemas.microsoft.com/office/drawing/2014/main" id="{4E6B1634-3673-438D-84B2-C03425993AB9}"/>
                    </a:ext>
                  </a:extLst>
                </p:cNvPr>
                <p:cNvGrpSpPr/>
                <p:nvPr/>
              </p:nvGrpSpPr>
              <p:grpSpPr>
                <a:xfrm>
                  <a:off x="5482354" y="4440470"/>
                  <a:ext cx="1655154" cy="258807"/>
                  <a:chOff x="5482354" y="4440470"/>
                  <a:chExt cx="1655154" cy="258807"/>
                </a:xfrm>
                <a:solidFill>
                  <a:schemeClr val="accent5"/>
                </a:solidFill>
              </p:grpSpPr>
              <p:grpSp>
                <p:nvGrpSpPr>
                  <p:cNvPr id="561" name="Group 560">
                    <a:extLst>
                      <a:ext uri="{FF2B5EF4-FFF2-40B4-BE49-F238E27FC236}">
                        <a16:creationId xmlns:a16="http://schemas.microsoft.com/office/drawing/2014/main" id="{4F218B77-20CC-4A10-940E-E663775C0B59}"/>
                      </a:ext>
                    </a:extLst>
                  </p:cNvPr>
                  <p:cNvGrpSpPr/>
                  <p:nvPr/>
                </p:nvGrpSpPr>
                <p:grpSpPr>
                  <a:xfrm>
                    <a:off x="5482354" y="4440470"/>
                    <a:ext cx="1655154" cy="258807"/>
                    <a:chOff x="5482354" y="4440470"/>
                    <a:chExt cx="1655154" cy="258807"/>
                  </a:xfrm>
                  <a:grpFill/>
                </p:grpSpPr>
                <p:sp>
                  <p:nvSpPr>
                    <p:cNvPr id="563" name="Freeform: Shape 562">
                      <a:extLst>
                        <a:ext uri="{FF2B5EF4-FFF2-40B4-BE49-F238E27FC236}">
                          <a16:creationId xmlns:a16="http://schemas.microsoft.com/office/drawing/2014/main" id="{E001E074-DB17-41DA-A3F4-66C016111A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04132" y="4512734"/>
                      <a:ext cx="167871" cy="57533"/>
                    </a:xfrm>
                    <a:custGeom>
                      <a:avLst/>
                      <a:gdLst>
                        <a:gd name="connsiteX0" fmla="*/ 98970 w 172294"/>
                        <a:gd name="connsiteY0" fmla="*/ 62327 h 78776"/>
                        <a:gd name="connsiteX1" fmla="*/ 86306 w 172294"/>
                        <a:gd name="connsiteY1" fmla="*/ 54606 h 78776"/>
                        <a:gd name="connsiteX2" fmla="*/ 71775 w 172294"/>
                        <a:gd name="connsiteY2" fmla="*/ 41839 h 78776"/>
                        <a:gd name="connsiteX3" fmla="*/ 58421 w 172294"/>
                        <a:gd name="connsiteY3" fmla="*/ 32981 h 78776"/>
                        <a:gd name="connsiteX4" fmla="*/ 82775 w 172294"/>
                        <a:gd name="connsiteY4" fmla="*/ 28169 h 78776"/>
                        <a:gd name="connsiteX5" fmla="*/ 130183 w 172294"/>
                        <a:gd name="connsiteY5" fmla="*/ 29840 h 78776"/>
                        <a:gd name="connsiteX6" fmla="*/ 172235 w 172294"/>
                        <a:gd name="connsiteY6" fmla="*/ 39131 h 78776"/>
                        <a:gd name="connsiteX7" fmla="*/ 166430 w 172294"/>
                        <a:gd name="connsiteY7" fmla="*/ 25194 h 78776"/>
                        <a:gd name="connsiteX8" fmla="*/ 153035 w 172294"/>
                        <a:gd name="connsiteY8" fmla="*/ 12426 h 78776"/>
                        <a:gd name="connsiteX9" fmla="*/ 112730 w 172294"/>
                        <a:gd name="connsiteY9" fmla="*/ 11156 h 78776"/>
                        <a:gd name="connsiteX10" fmla="*/ 72911 w 172294"/>
                        <a:gd name="connsiteY10" fmla="*/ 1697 h 78776"/>
                        <a:gd name="connsiteX11" fmla="*/ 49004 w 172294"/>
                        <a:gd name="connsiteY11" fmla="*/ 14097 h 78776"/>
                        <a:gd name="connsiteX12" fmla="*/ 34148 w 172294"/>
                        <a:gd name="connsiteY12" fmla="*/ 20247 h 78776"/>
                        <a:gd name="connsiteX13" fmla="*/ 11986 w 172294"/>
                        <a:gd name="connsiteY13" fmla="*/ 20648 h 78776"/>
                        <a:gd name="connsiteX14" fmla="*/ 17668 w 172294"/>
                        <a:gd name="connsiteY14" fmla="*/ 29205 h 78776"/>
                        <a:gd name="connsiteX15" fmla="*/ 43524 w 172294"/>
                        <a:gd name="connsiteY15" fmla="*/ 48991 h 78776"/>
                        <a:gd name="connsiteX16" fmla="*/ 58177 w 172294"/>
                        <a:gd name="connsiteY16" fmla="*/ 59018 h 78776"/>
                        <a:gd name="connsiteX17" fmla="*/ 81435 w 172294"/>
                        <a:gd name="connsiteY17" fmla="*/ 64968 h 78776"/>
                        <a:gd name="connsiteX18" fmla="*/ 95520 w 172294"/>
                        <a:gd name="connsiteY18" fmla="*/ 72956 h 78776"/>
                        <a:gd name="connsiteX19" fmla="*/ 124460 w 172294"/>
                        <a:gd name="connsiteY19" fmla="*/ 78438 h 78776"/>
                        <a:gd name="connsiteX20" fmla="*/ 98807 w 172294"/>
                        <a:gd name="connsiteY20" fmla="*/ 62294 h 78776"/>
                        <a:gd name="connsiteX21" fmla="*/ 98970 w 172294"/>
                        <a:gd name="connsiteY21" fmla="*/ 62327 h 787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172294" h="78776">
                          <a:moveTo>
                            <a:pt x="98970" y="62327"/>
                          </a:moveTo>
                          <a:cubicBezTo>
                            <a:pt x="99660" y="59854"/>
                            <a:pt x="89026" y="55943"/>
                            <a:pt x="86306" y="54606"/>
                          </a:cubicBezTo>
                          <a:cubicBezTo>
                            <a:pt x="77376" y="50161"/>
                            <a:pt x="76727" y="47120"/>
                            <a:pt x="71775" y="41839"/>
                          </a:cubicBezTo>
                          <a:cubicBezTo>
                            <a:pt x="68731" y="38496"/>
                            <a:pt x="59598" y="36658"/>
                            <a:pt x="58421" y="32981"/>
                          </a:cubicBezTo>
                          <a:cubicBezTo>
                            <a:pt x="55580" y="24960"/>
                            <a:pt x="76524" y="30040"/>
                            <a:pt x="82775" y="28169"/>
                          </a:cubicBezTo>
                          <a:cubicBezTo>
                            <a:pt x="94627" y="24826"/>
                            <a:pt x="116951" y="29071"/>
                            <a:pt x="130183" y="29840"/>
                          </a:cubicBezTo>
                          <a:cubicBezTo>
                            <a:pt x="144837" y="30481"/>
                            <a:pt x="159164" y="33647"/>
                            <a:pt x="172235" y="39131"/>
                          </a:cubicBezTo>
                          <a:cubicBezTo>
                            <a:pt x="171585" y="35488"/>
                            <a:pt x="170286" y="28336"/>
                            <a:pt x="166430" y="25194"/>
                          </a:cubicBezTo>
                          <a:cubicBezTo>
                            <a:pt x="159895" y="19913"/>
                            <a:pt x="154253" y="19813"/>
                            <a:pt x="153035" y="12426"/>
                          </a:cubicBezTo>
                          <a:cubicBezTo>
                            <a:pt x="140006" y="14164"/>
                            <a:pt x="125029" y="15568"/>
                            <a:pt x="112730" y="11156"/>
                          </a:cubicBezTo>
                          <a:cubicBezTo>
                            <a:pt x="97590" y="5708"/>
                            <a:pt x="90527" y="-4754"/>
                            <a:pt x="72911" y="1697"/>
                          </a:cubicBezTo>
                          <a:cubicBezTo>
                            <a:pt x="61424" y="5908"/>
                            <a:pt x="58015" y="9251"/>
                            <a:pt x="49004" y="14097"/>
                          </a:cubicBezTo>
                          <a:cubicBezTo>
                            <a:pt x="42550" y="17439"/>
                            <a:pt x="45229" y="21784"/>
                            <a:pt x="34148" y="20247"/>
                          </a:cubicBezTo>
                          <a:cubicBezTo>
                            <a:pt x="26761" y="19442"/>
                            <a:pt x="19292" y="19579"/>
                            <a:pt x="11986" y="20648"/>
                          </a:cubicBezTo>
                          <a:cubicBezTo>
                            <a:pt x="-10460" y="22520"/>
                            <a:pt x="2610" y="28035"/>
                            <a:pt x="17668" y="29205"/>
                          </a:cubicBezTo>
                          <a:cubicBezTo>
                            <a:pt x="31834" y="30341"/>
                            <a:pt x="35772" y="43109"/>
                            <a:pt x="43524" y="48991"/>
                          </a:cubicBezTo>
                          <a:cubicBezTo>
                            <a:pt x="48192" y="52534"/>
                            <a:pt x="53103" y="55880"/>
                            <a:pt x="58177" y="59018"/>
                          </a:cubicBezTo>
                          <a:cubicBezTo>
                            <a:pt x="64347" y="62862"/>
                            <a:pt x="74413" y="62361"/>
                            <a:pt x="81435" y="64968"/>
                          </a:cubicBezTo>
                          <a:cubicBezTo>
                            <a:pt x="87564" y="67307"/>
                            <a:pt x="86996" y="70884"/>
                            <a:pt x="95520" y="72956"/>
                          </a:cubicBezTo>
                          <a:cubicBezTo>
                            <a:pt x="105342" y="75329"/>
                            <a:pt x="115165" y="75095"/>
                            <a:pt x="124460" y="78438"/>
                          </a:cubicBezTo>
                          <a:cubicBezTo>
                            <a:pt x="120726" y="75363"/>
                            <a:pt x="97915" y="65837"/>
                            <a:pt x="98807" y="62294"/>
                          </a:cubicBezTo>
                          <a:cubicBezTo>
                            <a:pt x="99619" y="59252"/>
                            <a:pt x="98280" y="64333"/>
                            <a:pt x="98970" y="62327"/>
                          </a:cubicBezTo>
                          <a:close/>
                        </a:path>
                      </a:pathLst>
                    </a:custGeom>
                    <a:grpFill/>
                    <a:ln w="3021" cap="flat">
                      <a:solidFill>
                        <a:schemeClr val="accent5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grpSp>
                  <p:nvGrpSpPr>
                    <p:cNvPr id="564" name="Group 563">
                      <a:extLst>
                        <a:ext uri="{FF2B5EF4-FFF2-40B4-BE49-F238E27FC236}">
                          <a16:creationId xmlns:a16="http://schemas.microsoft.com/office/drawing/2014/main" id="{CE082079-C594-4698-B992-3352E8F93D6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482354" y="4440470"/>
                      <a:ext cx="1655154" cy="258807"/>
                      <a:chOff x="5482354" y="4440470"/>
                      <a:chExt cx="1655154" cy="258807"/>
                    </a:xfrm>
                    <a:grpFill/>
                  </p:grpSpPr>
                  <p:sp>
                    <p:nvSpPr>
                      <p:cNvPr id="565" name="Freeform: Shape 564">
                        <a:extLst>
                          <a:ext uri="{FF2B5EF4-FFF2-40B4-BE49-F238E27FC236}">
                            <a16:creationId xmlns:a16="http://schemas.microsoft.com/office/drawing/2014/main" id="{3469FF7A-2022-44C6-9B47-14E09CF471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83012" y="4594311"/>
                        <a:ext cx="96233" cy="76220"/>
                      </a:xfrm>
                      <a:custGeom>
                        <a:avLst/>
                        <a:gdLst>
                          <a:gd name="connsiteX0" fmla="*/ 79369 w 98768"/>
                          <a:gd name="connsiteY0" fmla="*/ 81951 h 104363"/>
                          <a:gd name="connsiteX1" fmla="*/ 71738 w 98768"/>
                          <a:gd name="connsiteY1" fmla="*/ 73829 h 104363"/>
                          <a:gd name="connsiteX2" fmla="*/ 79856 w 98768"/>
                          <a:gd name="connsiteY2" fmla="*/ 61295 h 104363"/>
                          <a:gd name="connsiteX3" fmla="*/ 76041 w 98768"/>
                          <a:gd name="connsiteY3" fmla="*/ 48294 h 104363"/>
                          <a:gd name="connsiteX4" fmla="*/ 83225 w 98768"/>
                          <a:gd name="connsiteY4" fmla="*/ 33186 h 104363"/>
                          <a:gd name="connsiteX5" fmla="*/ 78598 w 98768"/>
                          <a:gd name="connsiteY5" fmla="*/ 18045 h 104363"/>
                          <a:gd name="connsiteX6" fmla="*/ 95727 w 98768"/>
                          <a:gd name="connsiteY6" fmla="*/ 5712 h 104363"/>
                          <a:gd name="connsiteX7" fmla="*/ 74580 w 98768"/>
                          <a:gd name="connsiteY7" fmla="*/ 732 h 104363"/>
                          <a:gd name="connsiteX8" fmla="*/ 43285 w 98768"/>
                          <a:gd name="connsiteY8" fmla="*/ 4442 h 104363"/>
                          <a:gd name="connsiteX9" fmla="*/ 24330 w 98768"/>
                          <a:gd name="connsiteY9" fmla="*/ 2470 h 104363"/>
                          <a:gd name="connsiteX10" fmla="*/ 15765 w 98768"/>
                          <a:gd name="connsiteY10" fmla="*/ 9656 h 104363"/>
                          <a:gd name="connsiteX11" fmla="*/ 19215 w 98768"/>
                          <a:gd name="connsiteY11" fmla="*/ 17845 h 104363"/>
                          <a:gd name="connsiteX12" fmla="*/ 5009 w 98768"/>
                          <a:gd name="connsiteY12" fmla="*/ 56449 h 104363"/>
                          <a:gd name="connsiteX13" fmla="*/ 16293 w 98768"/>
                          <a:gd name="connsiteY13" fmla="*/ 72492 h 104363"/>
                          <a:gd name="connsiteX14" fmla="*/ 24411 w 98768"/>
                          <a:gd name="connsiteY14" fmla="*/ 90341 h 104363"/>
                          <a:gd name="connsiteX15" fmla="*/ 28470 w 98768"/>
                          <a:gd name="connsiteY15" fmla="*/ 103877 h 104363"/>
                          <a:gd name="connsiteX16" fmla="*/ 72712 w 98768"/>
                          <a:gd name="connsiteY16" fmla="*/ 98396 h 104363"/>
                          <a:gd name="connsiteX17" fmla="*/ 79085 w 98768"/>
                          <a:gd name="connsiteY17" fmla="*/ 81951 h 10436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98768" h="104363">
                            <a:moveTo>
                              <a:pt x="79369" y="81951"/>
                            </a:moveTo>
                            <a:cubicBezTo>
                              <a:pt x="91546" y="79979"/>
                              <a:pt x="74904" y="75266"/>
                              <a:pt x="71738" y="73829"/>
                            </a:cubicBezTo>
                            <a:cubicBezTo>
                              <a:pt x="61550" y="69250"/>
                              <a:pt x="84281" y="64404"/>
                              <a:pt x="79856" y="61295"/>
                            </a:cubicBezTo>
                            <a:cubicBezTo>
                              <a:pt x="74215" y="57218"/>
                              <a:pt x="53189" y="49764"/>
                              <a:pt x="76041" y="48294"/>
                            </a:cubicBezTo>
                            <a:cubicBezTo>
                              <a:pt x="79004" y="43451"/>
                              <a:pt x="81399" y="38394"/>
                              <a:pt x="83225" y="33186"/>
                            </a:cubicBezTo>
                            <a:cubicBezTo>
                              <a:pt x="84321" y="28607"/>
                              <a:pt x="72550" y="22157"/>
                              <a:pt x="78598" y="18045"/>
                            </a:cubicBezTo>
                            <a:cubicBezTo>
                              <a:pt x="81318" y="16174"/>
                              <a:pt x="107376" y="7250"/>
                              <a:pt x="95727" y="5712"/>
                            </a:cubicBezTo>
                            <a:cubicBezTo>
                              <a:pt x="86472" y="4509"/>
                              <a:pt x="86310" y="-1407"/>
                              <a:pt x="74580" y="732"/>
                            </a:cubicBezTo>
                            <a:cubicBezTo>
                              <a:pt x="64351" y="2968"/>
                              <a:pt x="53839" y="4211"/>
                              <a:pt x="43285" y="4442"/>
                            </a:cubicBezTo>
                            <a:cubicBezTo>
                              <a:pt x="33706" y="4709"/>
                              <a:pt x="34193" y="-4950"/>
                              <a:pt x="24330" y="2470"/>
                            </a:cubicBezTo>
                            <a:cubicBezTo>
                              <a:pt x="17876" y="7417"/>
                              <a:pt x="15847" y="1267"/>
                              <a:pt x="15765" y="9656"/>
                            </a:cubicBezTo>
                            <a:cubicBezTo>
                              <a:pt x="16090" y="12574"/>
                              <a:pt x="17267" y="15385"/>
                              <a:pt x="19215" y="17845"/>
                            </a:cubicBezTo>
                            <a:cubicBezTo>
                              <a:pt x="24857" y="28540"/>
                              <a:pt x="15156" y="46556"/>
                              <a:pt x="5009" y="56449"/>
                            </a:cubicBezTo>
                            <a:cubicBezTo>
                              <a:pt x="-5139" y="66342"/>
                              <a:pt x="625" y="67278"/>
                              <a:pt x="16293" y="72492"/>
                            </a:cubicBezTo>
                            <a:cubicBezTo>
                              <a:pt x="25953" y="75835"/>
                              <a:pt x="24939" y="84892"/>
                              <a:pt x="24411" y="90341"/>
                            </a:cubicBezTo>
                            <a:cubicBezTo>
                              <a:pt x="24167" y="93683"/>
                              <a:pt x="19418" y="103275"/>
                              <a:pt x="28470" y="103877"/>
                            </a:cubicBezTo>
                            <a:cubicBezTo>
                              <a:pt x="43245" y="104880"/>
                              <a:pt x="58668" y="100535"/>
                              <a:pt x="72712" y="98396"/>
                            </a:cubicBezTo>
                            <a:cubicBezTo>
                              <a:pt x="65609" y="93382"/>
                              <a:pt x="64310" y="84358"/>
                              <a:pt x="79085" y="81951"/>
                            </a:cubicBezTo>
                            <a:close/>
                          </a:path>
                        </a:pathLst>
                      </a:custGeom>
                      <a:grpFill/>
                      <a:ln w="3021" cap="flat">
                        <a:solidFill>
                          <a:schemeClr val="accent5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/>
                      </a:p>
                    </p:txBody>
                  </p:sp>
                  <p:grpSp>
                    <p:nvGrpSpPr>
                      <p:cNvPr id="566" name="Group 565">
                        <a:extLst>
                          <a:ext uri="{FF2B5EF4-FFF2-40B4-BE49-F238E27FC236}">
                            <a16:creationId xmlns:a16="http://schemas.microsoft.com/office/drawing/2014/main" id="{C90041A9-4107-4D02-9057-EB9379DFD6EC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482354" y="4440470"/>
                        <a:ext cx="1655154" cy="258807"/>
                        <a:chOff x="5482354" y="4440470"/>
                        <a:chExt cx="1655154" cy="258807"/>
                      </a:xfrm>
                      <a:grpFill/>
                    </p:grpSpPr>
                    <p:sp>
                      <p:nvSpPr>
                        <p:cNvPr id="567" name="Freeform: Shape 566">
                          <a:extLst>
                            <a:ext uri="{FF2B5EF4-FFF2-40B4-BE49-F238E27FC236}">
                              <a16:creationId xmlns:a16="http://schemas.microsoft.com/office/drawing/2014/main" id="{4CF2AE8A-35C8-40DE-84D1-ABE582C3D7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0651" y="4552738"/>
                          <a:ext cx="195148" cy="45459"/>
                        </a:xfrm>
                        <a:custGeom>
                          <a:avLst/>
                          <a:gdLst>
                            <a:gd name="connsiteX0" fmla="*/ 155946 w 200289"/>
                            <a:gd name="connsiteY0" fmla="*/ 6617 h 62244"/>
                            <a:gd name="connsiteX1" fmla="*/ 110161 w 200289"/>
                            <a:gd name="connsiteY1" fmla="*/ 10762 h 62244"/>
                            <a:gd name="connsiteX2" fmla="*/ 56947 w 200289"/>
                            <a:gd name="connsiteY2" fmla="*/ 9826 h 62244"/>
                            <a:gd name="connsiteX3" fmla="*/ 14004 w 200289"/>
                            <a:gd name="connsiteY3" fmla="*/ 835 h 62244"/>
                            <a:gd name="connsiteX4" fmla="*/ 1258 w 200289"/>
                            <a:gd name="connsiteY4" fmla="*/ 3222 h 62244"/>
                            <a:gd name="connsiteX5" fmla="*/ -41 w 200289"/>
                            <a:gd name="connsiteY5" fmla="*/ 5949 h 62244"/>
                            <a:gd name="connsiteX6" fmla="*/ 15505 w 200289"/>
                            <a:gd name="connsiteY6" fmla="*/ 20956 h 62244"/>
                            <a:gd name="connsiteX7" fmla="*/ 4424 w 200289"/>
                            <a:gd name="connsiteY7" fmla="*/ 39607 h 62244"/>
                            <a:gd name="connsiteX8" fmla="*/ 38276 w 200289"/>
                            <a:gd name="connsiteY8" fmla="*/ 55249 h 62244"/>
                            <a:gd name="connsiteX9" fmla="*/ 91043 w 200289"/>
                            <a:gd name="connsiteY9" fmla="*/ 60831 h 62244"/>
                            <a:gd name="connsiteX10" fmla="*/ 108983 w 200289"/>
                            <a:gd name="connsiteY10" fmla="*/ 61800 h 62244"/>
                            <a:gd name="connsiteX11" fmla="*/ 130212 w 200289"/>
                            <a:gd name="connsiteY11" fmla="*/ 55416 h 62244"/>
                            <a:gd name="connsiteX12" fmla="*/ 169219 w 200289"/>
                            <a:gd name="connsiteY12" fmla="*/ 46492 h 62244"/>
                            <a:gd name="connsiteX13" fmla="*/ 172750 w 200289"/>
                            <a:gd name="connsiteY13" fmla="*/ 31952 h 62244"/>
                            <a:gd name="connsiteX14" fmla="*/ 200230 w 200289"/>
                            <a:gd name="connsiteY14" fmla="*/ 18149 h 62244"/>
                            <a:gd name="connsiteX15" fmla="*/ 155783 w 200289"/>
                            <a:gd name="connsiteY15" fmla="*/ 6617 h 62244"/>
                            <a:gd name="connsiteX16" fmla="*/ 155946 w 200289"/>
                            <a:gd name="connsiteY16" fmla="*/ 6617 h 6224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</a:cxnLst>
                          <a:rect l="l" t="t" r="r" b="b"/>
                          <a:pathLst>
                            <a:path w="200289" h="62244">
                              <a:moveTo>
                                <a:pt x="155946" y="6617"/>
                              </a:moveTo>
                              <a:cubicBezTo>
                                <a:pt x="137437" y="4411"/>
                                <a:pt x="125544" y="6617"/>
                                <a:pt x="110161" y="10762"/>
                              </a:cubicBezTo>
                              <a:cubicBezTo>
                                <a:pt x="97131" y="14104"/>
                                <a:pt x="71519" y="10996"/>
                                <a:pt x="56947" y="9826"/>
                              </a:cubicBezTo>
                              <a:cubicBezTo>
                                <a:pt x="38560" y="8355"/>
                                <a:pt x="28048" y="6684"/>
                                <a:pt x="14004" y="835"/>
                              </a:cubicBezTo>
                              <a:cubicBezTo>
                                <a:pt x="9660" y="-1408"/>
                                <a:pt x="3978" y="-341"/>
                                <a:pt x="1258" y="3222"/>
                              </a:cubicBezTo>
                              <a:cubicBezTo>
                                <a:pt x="609" y="4054"/>
                                <a:pt x="162" y="4980"/>
                                <a:pt x="-41" y="5949"/>
                              </a:cubicBezTo>
                              <a:cubicBezTo>
                                <a:pt x="-609" y="11798"/>
                                <a:pt x="11812" y="15709"/>
                                <a:pt x="15505" y="20956"/>
                              </a:cubicBezTo>
                              <a:cubicBezTo>
                                <a:pt x="18103" y="24666"/>
                                <a:pt x="-9620" y="31485"/>
                                <a:pt x="4424" y="39607"/>
                              </a:cubicBezTo>
                              <a:cubicBezTo>
                                <a:pt x="16601" y="46759"/>
                                <a:pt x="20052" y="54981"/>
                                <a:pt x="38276" y="55249"/>
                              </a:cubicBezTo>
                              <a:cubicBezTo>
                                <a:pt x="57394" y="55583"/>
                                <a:pt x="72696" y="58825"/>
                                <a:pt x="91043" y="60831"/>
                              </a:cubicBezTo>
                              <a:cubicBezTo>
                                <a:pt x="96969" y="61770"/>
                                <a:pt x="102976" y="62097"/>
                                <a:pt x="108983" y="61800"/>
                              </a:cubicBezTo>
                              <a:cubicBezTo>
                                <a:pt x="118644" y="60797"/>
                                <a:pt x="115640" y="55416"/>
                                <a:pt x="130212" y="55416"/>
                              </a:cubicBezTo>
                              <a:cubicBezTo>
                                <a:pt x="123677" y="40576"/>
                                <a:pt x="191299" y="62535"/>
                                <a:pt x="169219" y="46492"/>
                              </a:cubicBezTo>
                              <a:cubicBezTo>
                                <a:pt x="159193" y="39205"/>
                                <a:pt x="165160" y="36665"/>
                                <a:pt x="172750" y="31952"/>
                              </a:cubicBezTo>
                              <a:cubicBezTo>
                                <a:pt x="178392" y="28610"/>
                                <a:pt x="198159" y="21925"/>
                                <a:pt x="200230" y="18149"/>
                              </a:cubicBezTo>
                              <a:cubicBezTo>
                                <a:pt x="183994" y="14205"/>
                                <a:pt x="173643" y="8823"/>
                                <a:pt x="155783" y="6617"/>
                              </a:cubicBezTo>
                              <a:cubicBezTo>
                                <a:pt x="148234" y="5715"/>
                                <a:pt x="163496" y="7553"/>
                                <a:pt x="155946" y="6617"/>
                              </a:cubicBezTo>
                              <a:close/>
                            </a:path>
                          </a:pathLst>
                        </a:custGeom>
                        <a:grpFill/>
                        <a:ln w="3021" cap="flat">
                          <a:solidFill>
                            <a:schemeClr val="accent5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GB"/>
                        </a:p>
                      </p:txBody>
                    </p:sp>
                    <p:grpSp>
                      <p:nvGrpSpPr>
                        <p:cNvPr id="568" name="Group 567">
                          <a:extLst>
                            <a:ext uri="{FF2B5EF4-FFF2-40B4-BE49-F238E27FC236}">
                              <a16:creationId xmlns:a16="http://schemas.microsoft.com/office/drawing/2014/main" id="{F7460A10-DF34-4565-AE0E-0B0E6525CDA9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5482354" y="4440470"/>
                          <a:ext cx="1655154" cy="258807"/>
                          <a:chOff x="5482354" y="4440470"/>
                          <a:chExt cx="1655154" cy="258807"/>
                        </a:xfrm>
                        <a:grpFill/>
                      </p:grpSpPr>
                      <p:sp>
                        <p:nvSpPr>
                          <p:cNvPr id="569" name="Freeform: Shape 568">
                            <a:extLst>
                              <a:ext uri="{FF2B5EF4-FFF2-40B4-BE49-F238E27FC236}">
                                <a16:creationId xmlns:a16="http://schemas.microsoft.com/office/drawing/2014/main" id="{719354E3-6FD3-4707-97C3-4F500E4E4893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410774" y="4491249"/>
                            <a:ext cx="280203" cy="74869"/>
                          </a:xfrm>
                          <a:custGeom>
                            <a:avLst/>
                            <a:gdLst>
                              <a:gd name="connsiteX0" fmla="*/ 257834 w 287585"/>
                              <a:gd name="connsiteY0" fmla="*/ 69486 h 102513"/>
                              <a:gd name="connsiteX1" fmla="*/ 240908 w 287585"/>
                              <a:gd name="connsiteY1" fmla="*/ 34793 h 102513"/>
                              <a:gd name="connsiteX2" fmla="*/ 213469 w 287585"/>
                              <a:gd name="connsiteY2" fmla="*/ 9457 h 102513"/>
                              <a:gd name="connsiteX3" fmla="*/ 191226 w 287585"/>
                              <a:gd name="connsiteY3" fmla="*/ 1335 h 102513"/>
                              <a:gd name="connsiteX4" fmla="*/ 169429 w 287585"/>
                              <a:gd name="connsiteY4" fmla="*/ 6483 h 102513"/>
                              <a:gd name="connsiteX5" fmla="*/ 142275 w 287585"/>
                              <a:gd name="connsiteY5" fmla="*/ 8889 h 102513"/>
                              <a:gd name="connsiteX6" fmla="*/ 119220 w 287585"/>
                              <a:gd name="connsiteY6" fmla="*/ 4110 h 102513"/>
                              <a:gd name="connsiteX7" fmla="*/ 74003 w 287585"/>
                              <a:gd name="connsiteY7" fmla="*/ -302 h 102513"/>
                              <a:gd name="connsiteX8" fmla="*/ 44616 w 287585"/>
                              <a:gd name="connsiteY8" fmla="*/ 12265 h 102513"/>
                              <a:gd name="connsiteX9" fmla="*/ 17542 w 287585"/>
                              <a:gd name="connsiteY9" fmla="*/ 34291 h 102513"/>
                              <a:gd name="connsiteX10" fmla="*/ 6259 w 287585"/>
                              <a:gd name="connsiteY10" fmla="*/ 49131 h 102513"/>
                              <a:gd name="connsiteX11" fmla="*/ 18436 w 287585"/>
                              <a:gd name="connsiteY11" fmla="*/ 58156 h 102513"/>
                              <a:gd name="connsiteX12" fmla="*/ 20749 w 287585"/>
                              <a:gd name="connsiteY12" fmla="*/ 65743 h 102513"/>
                              <a:gd name="connsiteX13" fmla="*/ 49690 w 287585"/>
                              <a:gd name="connsiteY13" fmla="*/ 72427 h 102513"/>
                              <a:gd name="connsiteX14" fmla="*/ 58944 w 287585"/>
                              <a:gd name="connsiteY14" fmla="*/ 79814 h 102513"/>
                              <a:gd name="connsiteX15" fmla="*/ 74084 w 287585"/>
                              <a:gd name="connsiteY15" fmla="*/ 89641 h 102513"/>
                              <a:gd name="connsiteX16" fmla="*/ 161271 w 287585"/>
                              <a:gd name="connsiteY16" fmla="*/ 94788 h 102513"/>
                              <a:gd name="connsiteX17" fmla="*/ 207056 w 287585"/>
                              <a:gd name="connsiteY17" fmla="*/ 90643 h 102513"/>
                              <a:gd name="connsiteX18" fmla="*/ 251502 w 287585"/>
                              <a:gd name="connsiteY18" fmla="*/ 102174 h 102513"/>
                              <a:gd name="connsiteX19" fmla="*/ 255886 w 287585"/>
                              <a:gd name="connsiteY19" fmla="*/ 86432 h 102513"/>
                              <a:gd name="connsiteX20" fmla="*/ 280240 w 287585"/>
                              <a:gd name="connsiteY20" fmla="*/ 80115 h 102513"/>
                              <a:gd name="connsiteX21" fmla="*/ 280240 w 287585"/>
                              <a:gd name="connsiteY21" fmla="*/ 67949 h 102513"/>
                              <a:gd name="connsiteX22" fmla="*/ 257469 w 287585"/>
                              <a:gd name="connsiteY22" fmla="*/ 69319 h 102513"/>
                              <a:gd name="connsiteX23" fmla="*/ 257834 w 287585"/>
                              <a:gd name="connsiteY23" fmla="*/ 69486 h 10251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</a:cxnLst>
                            <a:rect l="l" t="t" r="r" b="b"/>
                            <a:pathLst>
                              <a:path w="287585" h="102513">
                                <a:moveTo>
                                  <a:pt x="257834" y="69486"/>
                                </a:moveTo>
                                <a:cubicBezTo>
                                  <a:pt x="227067" y="65342"/>
                                  <a:pt x="249229" y="45120"/>
                                  <a:pt x="240908" y="34793"/>
                                </a:cubicBezTo>
                                <a:cubicBezTo>
                                  <a:pt x="233643" y="25868"/>
                                  <a:pt x="221709" y="18081"/>
                                  <a:pt x="213469" y="9457"/>
                                </a:cubicBezTo>
                                <a:cubicBezTo>
                                  <a:pt x="206610" y="2171"/>
                                  <a:pt x="207137" y="-2408"/>
                                  <a:pt x="191226" y="1335"/>
                                </a:cubicBezTo>
                                <a:cubicBezTo>
                                  <a:pt x="183514" y="3140"/>
                                  <a:pt x="179496" y="6984"/>
                                  <a:pt x="169429" y="6483"/>
                                </a:cubicBezTo>
                                <a:cubicBezTo>
                                  <a:pt x="158632" y="5948"/>
                                  <a:pt x="151732" y="9223"/>
                                  <a:pt x="142275" y="8889"/>
                                </a:cubicBezTo>
                                <a:cubicBezTo>
                                  <a:pt x="134847" y="8655"/>
                                  <a:pt x="127703" y="4477"/>
                                  <a:pt x="119220" y="4110"/>
                                </a:cubicBezTo>
                                <a:cubicBezTo>
                                  <a:pt x="103430" y="3408"/>
                                  <a:pt x="90198" y="-770"/>
                                  <a:pt x="74003" y="-302"/>
                                </a:cubicBezTo>
                                <a:cubicBezTo>
                                  <a:pt x="77778" y="3876"/>
                                  <a:pt x="48797" y="8789"/>
                                  <a:pt x="44616" y="12265"/>
                                </a:cubicBezTo>
                                <a:cubicBezTo>
                                  <a:pt x="35930" y="19384"/>
                                  <a:pt x="29638" y="28509"/>
                                  <a:pt x="17542" y="34291"/>
                                </a:cubicBezTo>
                                <a:cubicBezTo>
                                  <a:pt x="1306" y="42045"/>
                                  <a:pt x="-6405" y="38068"/>
                                  <a:pt x="6259" y="49131"/>
                                </a:cubicBezTo>
                                <a:cubicBezTo>
                                  <a:pt x="10318" y="52808"/>
                                  <a:pt x="6989" y="57755"/>
                                  <a:pt x="18436" y="58156"/>
                                </a:cubicBezTo>
                                <a:cubicBezTo>
                                  <a:pt x="24402" y="58356"/>
                                  <a:pt x="21074" y="64205"/>
                                  <a:pt x="20749" y="65743"/>
                                </a:cubicBezTo>
                                <a:cubicBezTo>
                                  <a:pt x="19653" y="71191"/>
                                  <a:pt x="42384" y="71124"/>
                                  <a:pt x="49690" y="72427"/>
                                </a:cubicBezTo>
                                <a:cubicBezTo>
                                  <a:pt x="58295" y="74132"/>
                                  <a:pt x="56874" y="75369"/>
                                  <a:pt x="58944" y="79814"/>
                                </a:cubicBezTo>
                                <a:cubicBezTo>
                                  <a:pt x="61014" y="84259"/>
                                  <a:pt x="66738" y="85997"/>
                                  <a:pt x="74084" y="89641"/>
                                </a:cubicBezTo>
                                <a:cubicBezTo>
                                  <a:pt x="85936" y="95423"/>
                                  <a:pt x="148891" y="97930"/>
                                  <a:pt x="161271" y="94788"/>
                                </a:cubicBezTo>
                                <a:cubicBezTo>
                                  <a:pt x="176654" y="90777"/>
                                  <a:pt x="188547" y="88437"/>
                                  <a:pt x="207056" y="90643"/>
                                </a:cubicBezTo>
                                <a:cubicBezTo>
                                  <a:pt x="224916" y="92849"/>
                                  <a:pt x="235104" y="98230"/>
                                  <a:pt x="251502" y="102174"/>
                                </a:cubicBezTo>
                                <a:cubicBezTo>
                                  <a:pt x="254343" y="96893"/>
                                  <a:pt x="251218" y="91613"/>
                                  <a:pt x="255886" y="86432"/>
                                </a:cubicBezTo>
                                <a:cubicBezTo>
                                  <a:pt x="261974" y="79747"/>
                                  <a:pt x="269239" y="81820"/>
                                  <a:pt x="280240" y="80115"/>
                                </a:cubicBezTo>
                                <a:cubicBezTo>
                                  <a:pt x="292416" y="78276"/>
                                  <a:pt x="287140" y="71057"/>
                                  <a:pt x="280240" y="67949"/>
                                </a:cubicBezTo>
                                <a:cubicBezTo>
                                  <a:pt x="271513" y="63904"/>
                                  <a:pt x="266155" y="70522"/>
                                  <a:pt x="257469" y="69319"/>
                                </a:cubicBezTo>
                                <a:cubicBezTo>
                                  <a:pt x="251218" y="68584"/>
                                  <a:pt x="260675" y="69854"/>
                                  <a:pt x="257834" y="69486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3021" cap="flat">
                            <a:solidFill>
                              <a:schemeClr val="accent5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GB"/>
                          </a:p>
                        </p:txBody>
                      </p:sp>
                      <p:grpSp>
                        <p:nvGrpSpPr>
                          <p:cNvPr id="570" name="Group 569">
                            <a:extLst>
                              <a:ext uri="{FF2B5EF4-FFF2-40B4-BE49-F238E27FC236}">
                                <a16:creationId xmlns:a16="http://schemas.microsoft.com/office/drawing/2014/main" id="{EB24F328-D664-4115-A315-398B6CF379AA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5482354" y="4440470"/>
                            <a:ext cx="1655154" cy="258807"/>
                            <a:chOff x="5482354" y="4440470"/>
                            <a:chExt cx="1655154" cy="258807"/>
                          </a:xfrm>
                          <a:grpFill/>
                        </p:grpSpPr>
                        <p:sp>
                          <p:nvSpPr>
                            <p:cNvPr id="571" name="Freeform: Shape 570">
                              <a:extLst>
                                <a:ext uri="{FF2B5EF4-FFF2-40B4-BE49-F238E27FC236}">
                                  <a16:creationId xmlns:a16="http://schemas.microsoft.com/office/drawing/2014/main" id="{9A766878-680B-43CD-947A-4B7C8CF008ED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6569614" y="4589619"/>
                              <a:ext cx="567894" cy="109658"/>
                            </a:xfrm>
                            <a:custGeom>
                              <a:avLst/>
                              <a:gdLst>
                                <a:gd name="connsiteX0" fmla="*/ 569669 w 582855"/>
                                <a:gd name="connsiteY0" fmla="*/ 131994 h 150147"/>
                                <a:gd name="connsiteX1" fmla="*/ 571577 w 582855"/>
                                <a:gd name="connsiteY1" fmla="*/ 111939 h 150147"/>
                                <a:gd name="connsiteX2" fmla="*/ 579694 w 582855"/>
                                <a:gd name="connsiteY2" fmla="*/ 92854 h 150147"/>
                                <a:gd name="connsiteX3" fmla="*/ 555341 w 582855"/>
                                <a:gd name="connsiteY3" fmla="*/ 77045 h 150147"/>
                                <a:gd name="connsiteX4" fmla="*/ 523113 w 582855"/>
                                <a:gd name="connsiteY4" fmla="*/ 49704 h 150147"/>
                                <a:gd name="connsiteX5" fmla="*/ 489667 w 582855"/>
                                <a:gd name="connsiteY5" fmla="*/ 48201 h 150147"/>
                                <a:gd name="connsiteX6" fmla="*/ 455449 w 582855"/>
                                <a:gd name="connsiteY6" fmla="*/ 52445 h 150147"/>
                                <a:gd name="connsiteX7" fmla="*/ 396026 w 582855"/>
                                <a:gd name="connsiteY7" fmla="*/ 47499 h 150147"/>
                                <a:gd name="connsiteX8" fmla="*/ 336440 w 582855"/>
                                <a:gd name="connsiteY8" fmla="*/ 35733 h 150147"/>
                                <a:gd name="connsiteX9" fmla="*/ 315049 w 582855"/>
                                <a:gd name="connsiteY9" fmla="*/ 27344 h 150147"/>
                                <a:gd name="connsiteX10" fmla="*/ 304821 w 582855"/>
                                <a:gd name="connsiteY10" fmla="*/ 24838 h 150147"/>
                                <a:gd name="connsiteX11" fmla="*/ 178424 w 582855"/>
                                <a:gd name="connsiteY11" fmla="*/ 22464 h 150147"/>
                                <a:gd name="connsiteX12" fmla="*/ 131259 w 582855"/>
                                <a:gd name="connsiteY12" fmla="*/ 25439 h 150147"/>
                                <a:gd name="connsiteX13" fmla="*/ 96067 w 582855"/>
                                <a:gd name="connsiteY13" fmla="*/ 28347 h 150147"/>
                                <a:gd name="connsiteX14" fmla="*/ 40013 w 582855"/>
                                <a:gd name="connsiteY14" fmla="*/ 33962 h 150147"/>
                                <a:gd name="connsiteX15" fmla="*/ 4173 w 582855"/>
                                <a:gd name="connsiteY15" fmla="*/ 45527 h 150147"/>
                                <a:gd name="connsiteX16" fmla="*/ 22032 w 582855"/>
                                <a:gd name="connsiteY16" fmla="*/ 49905 h 150147"/>
                                <a:gd name="connsiteX17" fmla="*/ 24751 w 582855"/>
                                <a:gd name="connsiteY17" fmla="*/ 62339 h 150147"/>
                                <a:gd name="connsiteX18" fmla="*/ 22844 w 582855"/>
                                <a:gd name="connsiteY18" fmla="*/ 76343 h 150147"/>
                                <a:gd name="connsiteX19" fmla="*/ 20124 w 582855"/>
                                <a:gd name="connsiteY19" fmla="*/ 86136 h 150147"/>
                                <a:gd name="connsiteX20" fmla="*/ 42530 w 582855"/>
                                <a:gd name="connsiteY20" fmla="*/ 97835 h 150147"/>
                                <a:gd name="connsiteX21" fmla="*/ 57142 w 582855"/>
                                <a:gd name="connsiteY21" fmla="*/ 103283 h 150147"/>
                                <a:gd name="connsiteX22" fmla="*/ 81902 w 582855"/>
                                <a:gd name="connsiteY22" fmla="*/ 108998 h 150147"/>
                                <a:gd name="connsiteX23" fmla="*/ 118960 w 582855"/>
                                <a:gd name="connsiteY23" fmla="*/ 121699 h 150147"/>
                                <a:gd name="connsiteX24" fmla="*/ 158089 w 582855"/>
                                <a:gd name="connsiteY24" fmla="*/ 112708 h 150147"/>
                                <a:gd name="connsiteX25" fmla="*/ 204564 w 582855"/>
                                <a:gd name="connsiteY25" fmla="*/ 129988 h 150147"/>
                                <a:gd name="connsiteX26" fmla="*/ 258833 w 582855"/>
                                <a:gd name="connsiteY26" fmla="*/ 122134 h 150147"/>
                                <a:gd name="connsiteX27" fmla="*/ 275515 w 582855"/>
                                <a:gd name="connsiteY27" fmla="*/ 124841 h 150147"/>
                                <a:gd name="connsiteX28" fmla="*/ 310706 w 582855"/>
                                <a:gd name="connsiteY28" fmla="*/ 124841 h 150147"/>
                                <a:gd name="connsiteX29" fmla="*/ 304334 w 582855"/>
                                <a:gd name="connsiteY29" fmla="*/ 131526 h 150147"/>
                                <a:gd name="connsiteX30" fmla="*/ 300599 w 582855"/>
                                <a:gd name="connsiteY30" fmla="*/ 143558 h 150147"/>
                                <a:gd name="connsiteX31" fmla="*/ 323411 w 582855"/>
                                <a:gd name="connsiteY31" fmla="*/ 130489 h 150147"/>
                                <a:gd name="connsiteX32" fmla="*/ 344680 w 582855"/>
                                <a:gd name="connsiteY32" fmla="*/ 133832 h 150147"/>
                                <a:gd name="connsiteX33" fmla="*/ 375609 w 582855"/>
                                <a:gd name="connsiteY33" fmla="*/ 130824 h 150147"/>
                                <a:gd name="connsiteX34" fmla="*/ 388882 w 582855"/>
                                <a:gd name="connsiteY34" fmla="*/ 135269 h 150147"/>
                                <a:gd name="connsiteX35" fmla="*/ 417782 w 582855"/>
                                <a:gd name="connsiteY35" fmla="*/ 137074 h 150147"/>
                                <a:gd name="connsiteX36" fmla="*/ 469818 w 582855"/>
                                <a:gd name="connsiteY36" fmla="*/ 135603 h 150147"/>
                                <a:gd name="connsiteX37" fmla="*/ 505496 w 582855"/>
                                <a:gd name="connsiteY37" fmla="*/ 138277 h 150147"/>
                                <a:gd name="connsiteX38" fmla="*/ 522138 w 582855"/>
                                <a:gd name="connsiteY38" fmla="*/ 134567 h 150147"/>
                                <a:gd name="connsiteX39" fmla="*/ 545071 w 582855"/>
                                <a:gd name="connsiteY39" fmla="*/ 140550 h 150147"/>
                                <a:gd name="connsiteX40" fmla="*/ 574783 w 582855"/>
                                <a:gd name="connsiteY40" fmla="*/ 149407 h 150147"/>
                                <a:gd name="connsiteX41" fmla="*/ 569466 w 582855"/>
                                <a:gd name="connsiteY41" fmla="*/ 132227 h 150147"/>
                                <a:gd name="connsiteX42" fmla="*/ 51459 w 582855"/>
                                <a:gd name="connsiteY42" fmla="*/ 22264 h 150147"/>
                                <a:gd name="connsiteX43" fmla="*/ 95702 w 582855"/>
                                <a:gd name="connsiteY43" fmla="*/ 21228 h 150147"/>
                                <a:gd name="connsiteX44" fmla="*/ 80481 w 582855"/>
                                <a:gd name="connsiteY44" fmla="*/ 14376 h 150147"/>
                                <a:gd name="connsiteX45" fmla="*/ 64245 w 582855"/>
                                <a:gd name="connsiteY45" fmla="*/ 1474 h 150147"/>
                                <a:gd name="connsiteX46" fmla="*/ 17445 w 582855"/>
                                <a:gd name="connsiteY46" fmla="*/ 1675 h 150147"/>
                                <a:gd name="connsiteX47" fmla="*/ 18947 w 582855"/>
                                <a:gd name="connsiteY47" fmla="*/ 14242 h 150147"/>
                                <a:gd name="connsiteX48" fmla="*/ 2711 w 582855"/>
                                <a:gd name="connsiteY48" fmla="*/ 24604 h 150147"/>
                                <a:gd name="connsiteX49" fmla="*/ 51419 w 582855"/>
                                <a:gd name="connsiteY49" fmla="*/ 22264 h 1501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  <a:cxn ang="0">
                                  <a:pos x="connsiteX18" y="connsiteY18"/>
                                </a:cxn>
                                <a:cxn ang="0">
                                  <a:pos x="connsiteX19" y="connsiteY19"/>
                                </a:cxn>
                                <a:cxn ang="0">
                                  <a:pos x="connsiteX20" y="connsiteY20"/>
                                </a:cxn>
                                <a:cxn ang="0">
                                  <a:pos x="connsiteX21" y="connsiteY21"/>
                                </a:cxn>
                                <a:cxn ang="0">
                                  <a:pos x="connsiteX22" y="connsiteY22"/>
                                </a:cxn>
                                <a:cxn ang="0">
                                  <a:pos x="connsiteX23" y="connsiteY23"/>
                                </a:cxn>
                                <a:cxn ang="0">
                                  <a:pos x="connsiteX24" y="connsiteY24"/>
                                </a:cxn>
                                <a:cxn ang="0">
                                  <a:pos x="connsiteX25" y="connsiteY25"/>
                                </a:cxn>
                                <a:cxn ang="0">
                                  <a:pos x="connsiteX26" y="connsiteY26"/>
                                </a:cxn>
                                <a:cxn ang="0">
                                  <a:pos x="connsiteX27" y="connsiteY27"/>
                                </a:cxn>
                                <a:cxn ang="0">
                                  <a:pos x="connsiteX28" y="connsiteY28"/>
                                </a:cxn>
                                <a:cxn ang="0">
                                  <a:pos x="connsiteX29" y="connsiteY29"/>
                                </a:cxn>
                                <a:cxn ang="0">
                                  <a:pos x="connsiteX30" y="connsiteY30"/>
                                </a:cxn>
                                <a:cxn ang="0">
                                  <a:pos x="connsiteX31" y="connsiteY31"/>
                                </a:cxn>
                                <a:cxn ang="0">
                                  <a:pos x="connsiteX32" y="connsiteY32"/>
                                </a:cxn>
                                <a:cxn ang="0">
                                  <a:pos x="connsiteX33" y="connsiteY33"/>
                                </a:cxn>
                                <a:cxn ang="0">
                                  <a:pos x="connsiteX34" y="connsiteY34"/>
                                </a:cxn>
                                <a:cxn ang="0">
                                  <a:pos x="connsiteX35" y="connsiteY35"/>
                                </a:cxn>
                                <a:cxn ang="0">
                                  <a:pos x="connsiteX36" y="connsiteY36"/>
                                </a:cxn>
                                <a:cxn ang="0">
                                  <a:pos x="connsiteX37" y="connsiteY37"/>
                                </a:cxn>
                                <a:cxn ang="0">
                                  <a:pos x="connsiteX38" y="connsiteY38"/>
                                </a:cxn>
                                <a:cxn ang="0">
                                  <a:pos x="connsiteX39" y="connsiteY39"/>
                                </a:cxn>
                                <a:cxn ang="0">
                                  <a:pos x="connsiteX40" y="connsiteY40"/>
                                </a:cxn>
                                <a:cxn ang="0">
                                  <a:pos x="connsiteX41" y="connsiteY41"/>
                                </a:cxn>
                                <a:cxn ang="0">
                                  <a:pos x="connsiteX42" y="connsiteY42"/>
                                </a:cxn>
                                <a:cxn ang="0">
                                  <a:pos x="connsiteX43" y="connsiteY43"/>
                                </a:cxn>
                                <a:cxn ang="0">
                                  <a:pos x="connsiteX44" y="connsiteY44"/>
                                </a:cxn>
                                <a:cxn ang="0">
                                  <a:pos x="connsiteX45" y="connsiteY45"/>
                                </a:cxn>
                                <a:cxn ang="0">
                                  <a:pos x="connsiteX46" y="connsiteY46"/>
                                </a:cxn>
                                <a:cxn ang="0">
                                  <a:pos x="connsiteX47" y="connsiteY47"/>
                                </a:cxn>
                                <a:cxn ang="0">
                                  <a:pos x="connsiteX48" y="connsiteY48"/>
                                </a:cxn>
                                <a:cxn ang="0">
                                  <a:pos x="connsiteX49" y="connsiteY49"/>
                                </a:cxn>
                              </a:cxnLst>
                              <a:rect l="l" t="t" r="r" b="b"/>
                              <a:pathLst>
                                <a:path w="582855" h="150147">
                                  <a:moveTo>
                                    <a:pt x="569669" y="131994"/>
                                  </a:moveTo>
                                  <a:cubicBezTo>
                                    <a:pt x="565610" y="130991"/>
                                    <a:pt x="573038" y="115282"/>
                                    <a:pt x="571577" y="111939"/>
                                  </a:cubicBezTo>
                                  <a:cubicBezTo>
                                    <a:pt x="568776" y="104800"/>
                                    <a:pt x="572104" y="96992"/>
                                    <a:pt x="579694" y="92854"/>
                                  </a:cubicBezTo>
                                  <a:cubicBezTo>
                                    <a:pt x="593008" y="84666"/>
                                    <a:pt x="559400" y="84365"/>
                                    <a:pt x="555341" y="77045"/>
                                  </a:cubicBezTo>
                                  <a:cubicBezTo>
                                    <a:pt x="549171" y="65547"/>
                                    <a:pt x="551525" y="50874"/>
                                    <a:pt x="523113" y="49704"/>
                                  </a:cubicBezTo>
                                  <a:cubicBezTo>
                                    <a:pt x="511260" y="49237"/>
                                    <a:pt x="499976" y="45593"/>
                                    <a:pt x="489667" y="48201"/>
                                  </a:cubicBezTo>
                                  <a:cubicBezTo>
                                    <a:pt x="478545" y="50828"/>
                                    <a:pt x="467017" y="52255"/>
                                    <a:pt x="455449" y="52445"/>
                                  </a:cubicBezTo>
                                  <a:cubicBezTo>
                                    <a:pt x="436128" y="53014"/>
                                    <a:pt x="415874" y="48267"/>
                                    <a:pt x="396026" y="47499"/>
                                  </a:cubicBezTo>
                                  <a:cubicBezTo>
                                    <a:pt x="374351" y="46663"/>
                                    <a:pt x="356004" y="40814"/>
                                    <a:pt x="336440" y="35733"/>
                                  </a:cubicBezTo>
                                  <a:cubicBezTo>
                                    <a:pt x="327876" y="33528"/>
                                    <a:pt x="325319" y="28247"/>
                                    <a:pt x="315049" y="27344"/>
                                  </a:cubicBezTo>
                                  <a:cubicBezTo>
                                    <a:pt x="311477" y="27097"/>
                                    <a:pt x="307987" y="26241"/>
                                    <a:pt x="304821" y="24838"/>
                                  </a:cubicBezTo>
                                  <a:cubicBezTo>
                                    <a:pt x="269467" y="9697"/>
                                    <a:pt x="212763" y="12504"/>
                                    <a:pt x="178424" y="22464"/>
                                  </a:cubicBezTo>
                                  <a:cubicBezTo>
                                    <a:pt x="162188" y="27144"/>
                                    <a:pt x="150539" y="27411"/>
                                    <a:pt x="131259" y="25439"/>
                                  </a:cubicBezTo>
                                  <a:cubicBezTo>
                                    <a:pt x="114617" y="23768"/>
                                    <a:pt x="101750" y="18988"/>
                                    <a:pt x="96067" y="28347"/>
                                  </a:cubicBezTo>
                                  <a:cubicBezTo>
                                    <a:pt x="89289" y="39444"/>
                                    <a:pt x="56452" y="35032"/>
                                    <a:pt x="40013" y="33962"/>
                                  </a:cubicBezTo>
                                  <a:cubicBezTo>
                                    <a:pt x="33681" y="33594"/>
                                    <a:pt x="-14377" y="36168"/>
                                    <a:pt x="4173" y="45527"/>
                                  </a:cubicBezTo>
                                  <a:cubicBezTo>
                                    <a:pt x="8515" y="47699"/>
                                    <a:pt x="20611" y="45293"/>
                                    <a:pt x="22032" y="49905"/>
                                  </a:cubicBezTo>
                                  <a:cubicBezTo>
                                    <a:pt x="23533" y="53946"/>
                                    <a:pt x="24427" y="58121"/>
                                    <a:pt x="24751" y="62339"/>
                                  </a:cubicBezTo>
                                  <a:cubicBezTo>
                                    <a:pt x="24142" y="67519"/>
                                    <a:pt x="10545" y="70528"/>
                                    <a:pt x="22844" y="76343"/>
                                  </a:cubicBezTo>
                                  <a:cubicBezTo>
                                    <a:pt x="36482" y="82794"/>
                                    <a:pt x="21423" y="82660"/>
                                    <a:pt x="20124" y="86136"/>
                                  </a:cubicBezTo>
                                  <a:cubicBezTo>
                                    <a:pt x="19678" y="87306"/>
                                    <a:pt x="39242" y="96899"/>
                                    <a:pt x="42530" y="97835"/>
                                  </a:cubicBezTo>
                                  <a:cubicBezTo>
                                    <a:pt x="45817" y="98770"/>
                                    <a:pt x="57345" y="100642"/>
                                    <a:pt x="57142" y="103283"/>
                                  </a:cubicBezTo>
                                  <a:cubicBezTo>
                                    <a:pt x="56614" y="109366"/>
                                    <a:pt x="76341" y="105087"/>
                                    <a:pt x="81902" y="108998"/>
                                  </a:cubicBezTo>
                                  <a:cubicBezTo>
                                    <a:pt x="94728" y="117956"/>
                                    <a:pt x="94485" y="124139"/>
                                    <a:pt x="118960" y="121699"/>
                                  </a:cubicBezTo>
                                  <a:cubicBezTo>
                                    <a:pt x="138362" y="119827"/>
                                    <a:pt x="132436" y="109700"/>
                                    <a:pt x="158089" y="112708"/>
                                  </a:cubicBezTo>
                                  <a:cubicBezTo>
                                    <a:pt x="176070" y="114847"/>
                                    <a:pt x="187476" y="129420"/>
                                    <a:pt x="204564" y="129988"/>
                                  </a:cubicBezTo>
                                  <a:cubicBezTo>
                                    <a:pt x="223154" y="130720"/>
                                    <a:pt x="241663" y="128036"/>
                                    <a:pt x="258833" y="122134"/>
                                  </a:cubicBezTo>
                                  <a:cubicBezTo>
                                    <a:pt x="265692" y="119794"/>
                                    <a:pt x="269345" y="122535"/>
                                    <a:pt x="275515" y="124841"/>
                                  </a:cubicBezTo>
                                  <a:cubicBezTo>
                                    <a:pt x="287692" y="129353"/>
                                    <a:pt x="299463" y="120128"/>
                                    <a:pt x="310706" y="124841"/>
                                  </a:cubicBezTo>
                                  <a:cubicBezTo>
                                    <a:pt x="314440" y="126412"/>
                                    <a:pt x="305552" y="130623"/>
                                    <a:pt x="304334" y="131526"/>
                                  </a:cubicBezTo>
                                  <a:cubicBezTo>
                                    <a:pt x="297961" y="135770"/>
                                    <a:pt x="303319" y="138778"/>
                                    <a:pt x="300599" y="143558"/>
                                  </a:cubicBezTo>
                                  <a:cubicBezTo>
                                    <a:pt x="320894" y="143792"/>
                                    <a:pt x="314319" y="136238"/>
                                    <a:pt x="323411" y="130489"/>
                                  </a:cubicBezTo>
                                  <a:cubicBezTo>
                                    <a:pt x="329458" y="126679"/>
                                    <a:pt x="337739" y="132996"/>
                                    <a:pt x="344680" y="133832"/>
                                  </a:cubicBezTo>
                                  <a:cubicBezTo>
                                    <a:pt x="356167" y="135068"/>
                                    <a:pt x="364975" y="131826"/>
                                    <a:pt x="375609" y="130824"/>
                                  </a:cubicBezTo>
                                  <a:cubicBezTo>
                                    <a:pt x="380683" y="130356"/>
                                    <a:pt x="383727" y="134600"/>
                                    <a:pt x="388882" y="135269"/>
                                  </a:cubicBezTo>
                                  <a:cubicBezTo>
                                    <a:pt x="398380" y="136472"/>
                                    <a:pt x="408203" y="136138"/>
                                    <a:pt x="417782" y="137074"/>
                                  </a:cubicBezTo>
                                  <a:cubicBezTo>
                                    <a:pt x="435358" y="138812"/>
                                    <a:pt x="451268" y="134166"/>
                                    <a:pt x="469818" y="135603"/>
                                  </a:cubicBezTo>
                                  <a:cubicBezTo>
                                    <a:pt x="483700" y="136673"/>
                                    <a:pt x="492751" y="134734"/>
                                    <a:pt x="505496" y="138277"/>
                                  </a:cubicBezTo>
                                  <a:cubicBezTo>
                                    <a:pt x="508825" y="139213"/>
                                    <a:pt x="516415" y="134333"/>
                                    <a:pt x="522138" y="134567"/>
                                  </a:cubicBezTo>
                                  <a:cubicBezTo>
                                    <a:pt x="531920" y="135002"/>
                                    <a:pt x="536548" y="138845"/>
                                    <a:pt x="545071" y="140550"/>
                                  </a:cubicBezTo>
                                  <a:cubicBezTo>
                                    <a:pt x="555868" y="142722"/>
                                    <a:pt x="564027" y="146967"/>
                                    <a:pt x="574783" y="149407"/>
                                  </a:cubicBezTo>
                                  <a:cubicBezTo>
                                    <a:pt x="588868" y="152749"/>
                                    <a:pt x="577137" y="134199"/>
                                    <a:pt x="569466" y="132227"/>
                                  </a:cubicBezTo>
                                  <a:close/>
                                  <a:moveTo>
                                    <a:pt x="51459" y="22264"/>
                                  </a:moveTo>
                                  <a:cubicBezTo>
                                    <a:pt x="56695" y="21495"/>
                                    <a:pt x="96717" y="25606"/>
                                    <a:pt x="95702" y="21228"/>
                                  </a:cubicBezTo>
                                  <a:cubicBezTo>
                                    <a:pt x="94972" y="18353"/>
                                    <a:pt x="84297" y="15713"/>
                                    <a:pt x="80481" y="14376"/>
                                  </a:cubicBezTo>
                                  <a:cubicBezTo>
                                    <a:pt x="70455" y="10833"/>
                                    <a:pt x="66965" y="7691"/>
                                    <a:pt x="64245" y="1474"/>
                                  </a:cubicBezTo>
                                  <a:cubicBezTo>
                                    <a:pt x="58441" y="3145"/>
                                    <a:pt x="17161" y="-3506"/>
                                    <a:pt x="17445" y="1675"/>
                                  </a:cubicBezTo>
                                  <a:cubicBezTo>
                                    <a:pt x="17648" y="5586"/>
                                    <a:pt x="23696" y="10699"/>
                                    <a:pt x="18947" y="14242"/>
                                  </a:cubicBezTo>
                                  <a:cubicBezTo>
                                    <a:pt x="13914" y="18072"/>
                                    <a:pt x="8475" y="21539"/>
                                    <a:pt x="2711" y="24604"/>
                                  </a:cubicBezTo>
                                  <a:cubicBezTo>
                                    <a:pt x="26497" y="35667"/>
                                    <a:pt x="29663" y="25339"/>
                                    <a:pt x="51419" y="22264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3021" cap="flat">
                              <a:solidFill>
                                <a:schemeClr val="accent5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en-GB"/>
                            </a:p>
                          </p:txBody>
                        </p:sp>
                        <p:grpSp>
                          <p:nvGrpSpPr>
                            <p:cNvPr id="572" name="Group 571">
                              <a:extLst>
                                <a:ext uri="{FF2B5EF4-FFF2-40B4-BE49-F238E27FC236}">
                                  <a16:creationId xmlns:a16="http://schemas.microsoft.com/office/drawing/2014/main" id="{C0ED9E92-AC57-4C34-9F88-52A4457821A2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5482354" y="4440470"/>
                              <a:ext cx="1107411" cy="249587"/>
                              <a:chOff x="5482354" y="4440470"/>
                              <a:chExt cx="1107411" cy="249587"/>
                            </a:xfrm>
                            <a:grpFill/>
                          </p:grpSpPr>
                          <p:sp>
                            <p:nvSpPr>
                              <p:cNvPr id="573" name="Freeform: Shape 572">
                                <a:extLst>
                                  <a:ext uri="{FF2B5EF4-FFF2-40B4-BE49-F238E27FC236}">
                                    <a16:creationId xmlns:a16="http://schemas.microsoft.com/office/drawing/2014/main" id="{71948359-C818-40B4-A209-771E0FD0FCAB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6390750" y="4592921"/>
                                <a:ext cx="199015" cy="97136"/>
                              </a:xfrm>
                              <a:custGeom>
                                <a:avLst/>
                                <a:gdLst>
                                  <a:gd name="connsiteX0" fmla="*/ 202118 w 204258"/>
                                  <a:gd name="connsiteY0" fmla="*/ 395 h 133001"/>
                                  <a:gd name="connsiteX1" fmla="*/ 180889 w 204258"/>
                                  <a:gd name="connsiteY1" fmla="*/ 6779 h 133001"/>
                                  <a:gd name="connsiteX2" fmla="*/ 150041 w 204258"/>
                                  <a:gd name="connsiteY2" fmla="*/ 4206 h 133001"/>
                                  <a:gd name="connsiteX3" fmla="*/ 94271 w 204258"/>
                                  <a:gd name="connsiteY3" fmla="*/ 1966 h 133001"/>
                                  <a:gd name="connsiteX4" fmla="*/ 69308 w 204258"/>
                                  <a:gd name="connsiteY4" fmla="*/ 7180 h 133001"/>
                                  <a:gd name="connsiteX5" fmla="*/ 44427 w 204258"/>
                                  <a:gd name="connsiteY5" fmla="*/ 11559 h 133001"/>
                                  <a:gd name="connsiteX6" fmla="*/ 17556 w 204258"/>
                                  <a:gd name="connsiteY6" fmla="*/ 21586 h 133001"/>
                                  <a:gd name="connsiteX7" fmla="*/ -60 w 204258"/>
                                  <a:gd name="connsiteY7" fmla="*/ 36660 h 133001"/>
                                  <a:gd name="connsiteX8" fmla="*/ 17434 w 204258"/>
                                  <a:gd name="connsiteY8" fmla="*/ 48459 h 133001"/>
                                  <a:gd name="connsiteX9" fmla="*/ 35294 w 204258"/>
                                  <a:gd name="connsiteY9" fmla="*/ 58486 h 133001"/>
                                  <a:gd name="connsiteX10" fmla="*/ 59404 w 204258"/>
                                  <a:gd name="connsiteY10" fmla="*/ 58285 h 133001"/>
                                  <a:gd name="connsiteX11" fmla="*/ 58552 w 204258"/>
                                  <a:gd name="connsiteY11" fmla="*/ 63499 h 133001"/>
                                  <a:gd name="connsiteX12" fmla="*/ 30829 w 204258"/>
                                  <a:gd name="connsiteY12" fmla="*/ 65705 h 133001"/>
                                  <a:gd name="connsiteX13" fmla="*/ 40043 w 204258"/>
                                  <a:gd name="connsiteY13" fmla="*/ 78373 h 133001"/>
                                  <a:gd name="connsiteX14" fmla="*/ 61109 w 204258"/>
                                  <a:gd name="connsiteY14" fmla="*/ 91742 h 133001"/>
                                  <a:gd name="connsiteX15" fmla="*/ 86153 w 204258"/>
                                  <a:gd name="connsiteY15" fmla="*/ 98427 h 133001"/>
                                  <a:gd name="connsiteX16" fmla="*/ 80633 w 204258"/>
                                  <a:gd name="connsiteY16" fmla="*/ 85492 h 133001"/>
                                  <a:gd name="connsiteX17" fmla="*/ 97275 w 204258"/>
                                  <a:gd name="connsiteY17" fmla="*/ 83787 h 133001"/>
                                  <a:gd name="connsiteX18" fmla="*/ 87898 w 204258"/>
                                  <a:gd name="connsiteY18" fmla="*/ 75164 h 133001"/>
                                  <a:gd name="connsiteX19" fmla="*/ 87533 w 204258"/>
                                  <a:gd name="connsiteY19" fmla="*/ 71454 h 133001"/>
                                  <a:gd name="connsiteX20" fmla="*/ 106894 w 204258"/>
                                  <a:gd name="connsiteY20" fmla="*/ 74128 h 133001"/>
                                  <a:gd name="connsiteX21" fmla="*/ 106610 w 204258"/>
                                  <a:gd name="connsiteY21" fmla="*/ 56848 h 133001"/>
                                  <a:gd name="connsiteX22" fmla="*/ 86640 w 204258"/>
                                  <a:gd name="connsiteY22" fmla="*/ 56848 h 133001"/>
                                  <a:gd name="connsiteX23" fmla="*/ 96219 w 204258"/>
                                  <a:gd name="connsiteY23" fmla="*/ 50163 h 133001"/>
                                  <a:gd name="connsiteX24" fmla="*/ 78563 w 204258"/>
                                  <a:gd name="connsiteY24" fmla="*/ 21619 h 133001"/>
                                  <a:gd name="connsiteX25" fmla="*/ 108072 w 204258"/>
                                  <a:gd name="connsiteY25" fmla="*/ 27936 h 133001"/>
                                  <a:gd name="connsiteX26" fmla="*/ 116677 w 204258"/>
                                  <a:gd name="connsiteY26" fmla="*/ 16238 h 133001"/>
                                  <a:gd name="connsiteX27" fmla="*/ 138554 w 204258"/>
                                  <a:gd name="connsiteY27" fmla="*/ 17575 h 133001"/>
                                  <a:gd name="connsiteX28" fmla="*/ 158606 w 204258"/>
                                  <a:gd name="connsiteY28" fmla="*/ 13765 h 133001"/>
                                  <a:gd name="connsiteX29" fmla="*/ 194365 w 204258"/>
                                  <a:gd name="connsiteY29" fmla="*/ 14634 h 133001"/>
                                  <a:gd name="connsiteX30" fmla="*/ 202483 w 204258"/>
                                  <a:gd name="connsiteY30" fmla="*/ 9720 h 133001"/>
                                  <a:gd name="connsiteX31" fmla="*/ 202036 w 204258"/>
                                  <a:gd name="connsiteY31" fmla="*/ 395 h 133001"/>
                                  <a:gd name="connsiteX32" fmla="*/ 202118 w 204258"/>
                                  <a:gd name="connsiteY32" fmla="*/ 395 h 133001"/>
                                  <a:gd name="connsiteX33" fmla="*/ 166033 w 204258"/>
                                  <a:gd name="connsiteY33" fmla="*/ 126001 h 133001"/>
                                  <a:gd name="connsiteX34" fmla="*/ 129746 w 204258"/>
                                  <a:gd name="connsiteY34" fmla="*/ 123461 h 133001"/>
                                  <a:gd name="connsiteX35" fmla="*/ 96422 w 204258"/>
                                  <a:gd name="connsiteY35" fmla="*/ 122124 h 133001"/>
                                  <a:gd name="connsiteX36" fmla="*/ 133968 w 204258"/>
                                  <a:gd name="connsiteY36" fmla="*/ 131783 h 133001"/>
                                  <a:gd name="connsiteX37" fmla="*/ 185435 w 204258"/>
                                  <a:gd name="connsiteY37" fmla="*/ 127739 h 133001"/>
                                  <a:gd name="connsiteX38" fmla="*/ 166033 w 204258"/>
                                  <a:gd name="connsiteY38" fmla="*/ 126001 h 133001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  <a:cxn ang="0">
                                    <a:pos x="connsiteX14" y="connsiteY14"/>
                                  </a:cxn>
                                  <a:cxn ang="0">
                                    <a:pos x="connsiteX15" y="connsiteY15"/>
                                  </a:cxn>
                                  <a:cxn ang="0">
                                    <a:pos x="connsiteX16" y="connsiteY16"/>
                                  </a:cxn>
                                  <a:cxn ang="0">
                                    <a:pos x="connsiteX17" y="connsiteY17"/>
                                  </a:cxn>
                                  <a:cxn ang="0">
                                    <a:pos x="connsiteX18" y="connsiteY18"/>
                                  </a:cxn>
                                  <a:cxn ang="0">
                                    <a:pos x="connsiteX19" y="connsiteY19"/>
                                  </a:cxn>
                                  <a:cxn ang="0">
                                    <a:pos x="connsiteX20" y="connsiteY20"/>
                                  </a:cxn>
                                  <a:cxn ang="0">
                                    <a:pos x="connsiteX21" y="connsiteY21"/>
                                  </a:cxn>
                                  <a:cxn ang="0">
                                    <a:pos x="connsiteX22" y="connsiteY22"/>
                                  </a:cxn>
                                  <a:cxn ang="0">
                                    <a:pos x="connsiteX23" y="connsiteY23"/>
                                  </a:cxn>
                                  <a:cxn ang="0">
                                    <a:pos x="connsiteX24" y="connsiteY24"/>
                                  </a:cxn>
                                  <a:cxn ang="0">
                                    <a:pos x="connsiteX25" y="connsiteY25"/>
                                  </a:cxn>
                                  <a:cxn ang="0">
                                    <a:pos x="connsiteX26" y="connsiteY26"/>
                                  </a:cxn>
                                  <a:cxn ang="0">
                                    <a:pos x="connsiteX27" y="connsiteY27"/>
                                  </a:cxn>
                                  <a:cxn ang="0">
                                    <a:pos x="connsiteX28" y="connsiteY28"/>
                                  </a:cxn>
                                  <a:cxn ang="0">
                                    <a:pos x="connsiteX29" y="connsiteY29"/>
                                  </a:cxn>
                                  <a:cxn ang="0">
                                    <a:pos x="connsiteX30" y="connsiteY30"/>
                                  </a:cxn>
                                  <a:cxn ang="0">
                                    <a:pos x="connsiteX31" y="connsiteY31"/>
                                  </a:cxn>
                                  <a:cxn ang="0">
                                    <a:pos x="connsiteX32" y="connsiteY32"/>
                                  </a:cxn>
                                  <a:cxn ang="0">
                                    <a:pos x="connsiteX33" y="connsiteY33"/>
                                  </a:cxn>
                                  <a:cxn ang="0">
                                    <a:pos x="connsiteX34" y="connsiteY34"/>
                                  </a:cxn>
                                  <a:cxn ang="0">
                                    <a:pos x="connsiteX35" y="connsiteY35"/>
                                  </a:cxn>
                                  <a:cxn ang="0">
                                    <a:pos x="connsiteX36" y="connsiteY36"/>
                                  </a:cxn>
                                  <a:cxn ang="0">
                                    <a:pos x="connsiteX37" y="connsiteY37"/>
                                  </a:cxn>
                                  <a:cxn ang="0">
                                    <a:pos x="connsiteX38" y="connsiteY38"/>
                                  </a:cxn>
                                </a:cxnLst>
                                <a:rect l="l" t="t" r="r" b="b"/>
                                <a:pathLst>
                                  <a:path w="204258" h="133001">
                                    <a:moveTo>
                                      <a:pt x="202118" y="395"/>
                                    </a:moveTo>
                                    <a:cubicBezTo>
                                      <a:pt x="187546" y="395"/>
                                      <a:pt x="190550" y="5777"/>
                                      <a:pt x="180889" y="6779"/>
                                    </a:cubicBezTo>
                                    <a:cubicBezTo>
                                      <a:pt x="171229" y="7782"/>
                                      <a:pt x="159174" y="5543"/>
                                      <a:pt x="150041" y="4206"/>
                                    </a:cubicBezTo>
                                    <a:cubicBezTo>
                                      <a:pt x="133196" y="1732"/>
                                      <a:pt x="108883" y="-3281"/>
                                      <a:pt x="94271" y="1966"/>
                                    </a:cubicBezTo>
                                    <a:cubicBezTo>
                                      <a:pt x="86356" y="4837"/>
                                      <a:pt x="77913" y="6599"/>
                                      <a:pt x="69308" y="7180"/>
                                    </a:cubicBezTo>
                                    <a:cubicBezTo>
                                      <a:pt x="59729" y="7615"/>
                                      <a:pt x="55142" y="11726"/>
                                      <a:pt x="44427" y="11559"/>
                                    </a:cubicBezTo>
                                    <a:cubicBezTo>
                                      <a:pt x="25309" y="11258"/>
                                      <a:pt x="30585" y="15169"/>
                                      <a:pt x="17556" y="21586"/>
                                    </a:cubicBezTo>
                                    <a:cubicBezTo>
                                      <a:pt x="10331" y="25420"/>
                                      <a:pt x="4324" y="30580"/>
                                      <a:pt x="-60" y="36660"/>
                                    </a:cubicBezTo>
                                    <a:cubicBezTo>
                                      <a:pt x="8992" y="39300"/>
                                      <a:pt x="15811" y="42743"/>
                                      <a:pt x="17434" y="48459"/>
                                    </a:cubicBezTo>
                                    <a:cubicBezTo>
                                      <a:pt x="19058" y="54174"/>
                                      <a:pt x="19708" y="61828"/>
                                      <a:pt x="35294" y="58486"/>
                                    </a:cubicBezTo>
                                    <a:cubicBezTo>
                                      <a:pt x="45198" y="56447"/>
                                      <a:pt x="48486" y="54441"/>
                                      <a:pt x="59404" y="58285"/>
                                    </a:cubicBezTo>
                                    <a:cubicBezTo>
                                      <a:pt x="68090" y="61360"/>
                                      <a:pt x="71581" y="65237"/>
                                      <a:pt x="58552" y="63499"/>
                                    </a:cubicBezTo>
                                    <a:cubicBezTo>
                                      <a:pt x="50718" y="62463"/>
                                      <a:pt x="35213" y="60558"/>
                                      <a:pt x="30829" y="65705"/>
                                    </a:cubicBezTo>
                                    <a:cubicBezTo>
                                      <a:pt x="26770" y="70317"/>
                                      <a:pt x="43006" y="73593"/>
                                      <a:pt x="40043" y="78373"/>
                                    </a:cubicBezTo>
                                    <a:cubicBezTo>
                                      <a:pt x="34523" y="87230"/>
                                      <a:pt x="51083" y="88968"/>
                                      <a:pt x="61109" y="91742"/>
                                    </a:cubicBezTo>
                                    <a:cubicBezTo>
                                      <a:pt x="64356" y="92578"/>
                                      <a:pt x="83920" y="103006"/>
                                      <a:pt x="86153" y="98427"/>
                                    </a:cubicBezTo>
                                    <a:cubicBezTo>
                                      <a:pt x="88101" y="94583"/>
                                      <a:pt x="82540" y="89202"/>
                                      <a:pt x="80633" y="85492"/>
                                    </a:cubicBezTo>
                                    <a:cubicBezTo>
                                      <a:pt x="77020" y="78606"/>
                                      <a:pt x="90577" y="84222"/>
                                      <a:pt x="97275" y="83787"/>
                                    </a:cubicBezTo>
                                    <a:cubicBezTo>
                                      <a:pt x="113510" y="82784"/>
                                      <a:pt x="96422" y="75298"/>
                                      <a:pt x="87898" y="75164"/>
                                    </a:cubicBezTo>
                                    <a:cubicBezTo>
                                      <a:pt x="81566" y="75164"/>
                                      <a:pt x="84164" y="72323"/>
                                      <a:pt x="87533" y="71454"/>
                                    </a:cubicBezTo>
                                    <a:cubicBezTo>
                                      <a:pt x="94839" y="69649"/>
                                      <a:pt x="100034" y="73593"/>
                                      <a:pt x="106894" y="74128"/>
                                    </a:cubicBezTo>
                                    <a:cubicBezTo>
                                      <a:pt x="132750" y="76100"/>
                                      <a:pt x="130761" y="57416"/>
                                      <a:pt x="106610" y="56848"/>
                                    </a:cubicBezTo>
                                    <a:cubicBezTo>
                                      <a:pt x="97518" y="56681"/>
                                      <a:pt x="94677" y="61962"/>
                                      <a:pt x="86640" y="56848"/>
                                    </a:cubicBezTo>
                                    <a:cubicBezTo>
                                      <a:pt x="77954" y="51467"/>
                                      <a:pt x="91795" y="52670"/>
                                      <a:pt x="96219" y="50163"/>
                                    </a:cubicBezTo>
                                    <a:cubicBezTo>
                                      <a:pt x="106691" y="43813"/>
                                      <a:pt x="52666" y="23625"/>
                                      <a:pt x="78563" y="21619"/>
                                    </a:cubicBezTo>
                                    <a:cubicBezTo>
                                      <a:pt x="90537" y="20717"/>
                                      <a:pt x="94027" y="28805"/>
                                      <a:pt x="108072" y="27936"/>
                                    </a:cubicBezTo>
                                    <a:cubicBezTo>
                                      <a:pt x="125890" y="26833"/>
                                      <a:pt x="109411" y="21252"/>
                                      <a:pt x="116677" y="16238"/>
                                    </a:cubicBezTo>
                                    <a:cubicBezTo>
                                      <a:pt x="123008" y="11927"/>
                                      <a:pt x="133359" y="13999"/>
                                      <a:pt x="138554" y="17575"/>
                                    </a:cubicBezTo>
                                    <a:cubicBezTo>
                                      <a:pt x="143750" y="21152"/>
                                      <a:pt x="153207" y="14233"/>
                                      <a:pt x="158606" y="13765"/>
                                    </a:cubicBezTo>
                                    <a:cubicBezTo>
                                      <a:pt x="169971" y="12394"/>
                                      <a:pt x="193553" y="25363"/>
                                      <a:pt x="194365" y="14634"/>
                                    </a:cubicBezTo>
                                    <a:cubicBezTo>
                                      <a:pt x="194365" y="12428"/>
                                      <a:pt x="200494" y="11292"/>
                                      <a:pt x="202483" y="9720"/>
                                    </a:cubicBezTo>
                                    <a:cubicBezTo>
                                      <a:pt x="205974" y="7147"/>
                                      <a:pt x="203254" y="3236"/>
                                      <a:pt x="202036" y="395"/>
                                    </a:cubicBezTo>
                                    <a:cubicBezTo>
                                      <a:pt x="194974" y="395"/>
                                      <a:pt x="203051" y="2668"/>
                                      <a:pt x="202118" y="395"/>
                                    </a:cubicBezTo>
                                    <a:close/>
                                    <a:moveTo>
                                      <a:pt x="166033" y="126001"/>
                                    </a:moveTo>
                                    <a:cubicBezTo>
                                      <a:pt x="156982" y="122659"/>
                                      <a:pt x="139975" y="124397"/>
                                      <a:pt x="129746" y="123461"/>
                                    </a:cubicBezTo>
                                    <a:cubicBezTo>
                                      <a:pt x="118503" y="122458"/>
                                      <a:pt x="106042" y="115105"/>
                                      <a:pt x="96422" y="122124"/>
                                    </a:cubicBezTo>
                                    <a:cubicBezTo>
                                      <a:pt x="93540" y="124196"/>
                                      <a:pt x="129341" y="131082"/>
                                      <a:pt x="133968" y="131783"/>
                                    </a:cubicBezTo>
                                    <a:cubicBezTo>
                                      <a:pt x="140340" y="132653"/>
                                      <a:pt x="186085" y="134424"/>
                                      <a:pt x="185435" y="127739"/>
                                    </a:cubicBezTo>
                                    <a:cubicBezTo>
                                      <a:pt x="185435" y="126202"/>
                                      <a:pt x="168834" y="127004"/>
                                      <a:pt x="166033" y="126001"/>
                                    </a:cubicBezTo>
                                    <a:close/>
                                  </a:path>
                                </a:pathLst>
                              </a:custGeom>
                              <a:grpFill/>
                              <a:ln w="3021" cap="flat">
                                <a:solidFill>
                                  <a:schemeClr val="accent5"/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GB"/>
                              </a:p>
                            </p:txBody>
                          </p:sp>
                          <p:grpSp>
                            <p:nvGrpSpPr>
                              <p:cNvPr id="574" name="Group 573">
                                <a:extLst>
                                  <a:ext uri="{FF2B5EF4-FFF2-40B4-BE49-F238E27FC236}">
                                    <a16:creationId xmlns:a16="http://schemas.microsoft.com/office/drawing/2014/main" id="{133AA924-CD73-4C4F-9822-598AAF776EAF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5482354" y="4440470"/>
                                <a:ext cx="857580" cy="238357"/>
                                <a:chOff x="5482354" y="4440470"/>
                                <a:chExt cx="857580" cy="238357"/>
                              </a:xfrm>
                              <a:grpFill/>
                            </p:grpSpPr>
                            <p:grpSp>
                              <p:nvGrpSpPr>
                                <p:cNvPr id="575" name="Group 574">
                                  <a:extLst>
                                    <a:ext uri="{FF2B5EF4-FFF2-40B4-BE49-F238E27FC236}">
                                      <a16:creationId xmlns:a16="http://schemas.microsoft.com/office/drawing/2014/main" id="{D5DDB603-C46F-47DF-AF57-929F40AA12CC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5482354" y="4440470"/>
                                  <a:ext cx="592288" cy="238357"/>
                                  <a:chOff x="5482354" y="4440470"/>
                                  <a:chExt cx="592288" cy="238357"/>
                                </a:xfrm>
                                <a:grpFill/>
                              </p:grpSpPr>
                              <p:sp>
                                <p:nvSpPr>
                                  <p:cNvPr id="577" name="Freeform: Shape 576">
                                    <a:extLst>
                                      <a:ext uri="{FF2B5EF4-FFF2-40B4-BE49-F238E27FC236}">
                                        <a16:creationId xmlns:a16="http://schemas.microsoft.com/office/drawing/2014/main" id="{B2761CD4-BCC1-487C-9992-AD426DB7700F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5613676" y="4440470"/>
                                    <a:ext cx="460966" cy="148615"/>
                                  </a:xfrm>
                                  <a:custGeom>
                                    <a:avLst/>
                                    <a:gdLst>
                                      <a:gd name="connsiteX0" fmla="*/ 415252 w 473110"/>
                                      <a:gd name="connsiteY0" fmla="*/ 43322 h 203488"/>
                                      <a:gd name="connsiteX1" fmla="*/ 381887 w 473110"/>
                                      <a:gd name="connsiteY1" fmla="*/ 38141 h 203488"/>
                                      <a:gd name="connsiteX2" fmla="*/ 353475 w 473110"/>
                                      <a:gd name="connsiteY2" fmla="*/ 32660 h 203488"/>
                                      <a:gd name="connsiteX3" fmla="*/ 330095 w 473110"/>
                                      <a:gd name="connsiteY3" fmla="*/ 28315 h 203488"/>
                                      <a:gd name="connsiteX4" fmla="*/ 317918 w 473110"/>
                                      <a:gd name="connsiteY4" fmla="*/ 25340 h 203488"/>
                                      <a:gd name="connsiteX5" fmla="*/ 314387 w 473110"/>
                                      <a:gd name="connsiteY5" fmla="*/ 19123 h 203488"/>
                                      <a:gd name="connsiteX6" fmla="*/ 296081 w 473110"/>
                                      <a:gd name="connsiteY6" fmla="*/ 23903 h 203488"/>
                                      <a:gd name="connsiteX7" fmla="*/ 283457 w 473110"/>
                                      <a:gd name="connsiteY7" fmla="*/ 15480 h 203488"/>
                                      <a:gd name="connsiteX8" fmla="*/ 260970 w 473110"/>
                                      <a:gd name="connsiteY8" fmla="*/ 8795 h 203488"/>
                                      <a:gd name="connsiteX9" fmla="*/ 247170 w 473110"/>
                                      <a:gd name="connsiteY9" fmla="*/ 7024 h 203488"/>
                                      <a:gd name="connsiteX10" fmla="*/ 215144 w 473110"/>
                                      <a:gd name="connsiteY10" fmla="*/ 4316 h 203488"/>
                                      <a:gd name="connsiteX11" fmla="*/ 193104 w 473110"/>
                                      <a:gd name="connsiteY11" fmla="*/ 27212 h 203488"/>
                                      <a:gd name="connsiteX12" fmla="*/ 159293 w 473110"/>
                                      <a:gd name="connsiteY12" fmla="*/ 39812 h 203488"/>
                                      <a:gd name="connsiteX13" fmla="*/ 117648 w 473110"/>
                                      <a:gd name="connsiteY13" fmla="*/ 37874 h 203488"/>
                                      <a:gd name="connsiteX14" fmla="*/ 93741 w 473110"/>
                                      <a:gd name="connsiteY14" fmla="*/ 41216 h 203488"/>
                                      <a:gd name="connsiteX15" fmla="*/ 91752 w 473110"/>
                                      <a:gd name="connsiteY15" fmla="*/ 61738 h 203488"/>
                                      <a:gd name="connsiteX16" fmla="*/ 69103 w 473110"/>
                                      <a:gd name="connsiteY16" fmla="*/ 63109 h 203488"/>
                                      <a:gd name="connsiteX17" fmla="*/ 53232 w 473110"/>
                                      <a:gd name="connsiteY17" fmla="*/ 57895 h 203488"/>
                                      <a:gd name="connsiteX18" fmla="*/ 953 w 473110"/>
                                      <a:gd name="connsiteY18" fmla="*/ 65782 h 203488"/>
                                      <a:gd name="connsiteX19" fmla="*/ 4484 w 473110"/>
                                      <a:gd name="connsiteY19" fmla="*/ 77548 h 203488"/>
                                      <a:gd name="connsiteX20" fmla="*/ 20720 w 473110"/>
                                      <a:gd name="connsiteY20" fmla="*/ 82862 h 203488"/>
                                      <a:gd name="connsiteX21" fmla="*/ 74582 w 473110"/>
                                      <a:gd name="connsiteY21" fmla="*/ 87441 h 203488"/>
                                      <a:gd name="connsiteX22" fmla="*/ 97881 w 473110"/>
                                      <a:gd name="connsiteY22" fmla="*/ 104153 h 203488"/>
                                      <a:gd name="connsiteX23" fmla="*/ 123371 w 473110"/>
                                      <a:gd name="connsiteY23" fmla="*/ 110570 h 203488"/>
                                      <a:gd name="connsiteX24" fmla="*/ 126213 w 473110"/>
                                      <a:gd name="connsiteY24" fmla="*/ 122101 h 203488"/>
                                      <a:gd name="connsiteX25" fmla="*/ 122478 w 473110"/>
                                      <a:gd name="connsiteY25" fmla="*/ 138512 h 203488"/>
                                      <a:gd name="connsiteX26" fmla="*/ 122722 w 473110"/>
                                      <a:gd name="connsiteY26" fmla="*/ 150946 h 203488"/>
                                      <a:gd name="connsiteX27" fmla="*/ 107582 w 473110"/>
                                      <a:gd name="connsiteY27" fmla="*/ 174342 h 203488"/>
                                      <a:gd name="connsiteX28" fmla="*/ 183119 w 473110"/>
                                      <a:gd name="connsiteY28" fmla="*/ 182832 h 203488"/>
                                      <a:gd name="connsiteX29" fmla="*/ 215591 w 473110"/>
                                      <a:gd name="connsiteY29" fmla="*/ 186709 h 203488"/>
                                      <a:gd name="connsiteX30" fmla="*/ 269373 w 473110"/>
                                      <a:gd name="connsiteY30" fmla="*/ 187378 h 203488"/>
                                      <a:gd name="connsiteX31" fmla="*/ 304482 w 473110"/>
                                      <a:gd name="connsiteY31" fmla="*/ 165117 h 203488"/>
                                      <a:gd name="connsiteX32" fmla="*/ 362567 w 473110"/>
                                      <a:gd name="connsiteY32" fmla="*/ 172437 h 203488"/>
                                      <a:gd name="connsiteX33" fmla="*/ 396703 w 473110"/>
                                      <a:gd name="connsiteY33" fmla="*/ 160171 h 203488"/>
                                      <a:gd name="connsiteX34" fmla="*/ 411477 w 473110"/>
                                      <a:gd name="connsiteY34" fmla="*/ 148907 h 203488"/>
                                      <a:gd name="connsiteX35" fmla="*/ 390452 w 473110"/>
                                      <a:gd name="connsiteY35" fmla="*/ 140150 h 203488"/>
                                      <a:gd name="connsiteX36" fmla="*/ 379412 w 473110"/>
                                      <a:gd name="connsiteY36" fmla="*/ 128920 h 203488"/>
                                      <a:gd name="connsiteX37" fmla="*/ 393659 w 473110"/>
                                      <a:gd name="connsiteY37" fmla="*/ 120430 h 203488"/>
                                      <a:gd name="connsiteX38" fmla="*/ 388017 w 473110"/>
                                      <a:gd name="connsiteY38" fmla="*/ 107595 h 203488"/>
                                      <a:gd name="connsiteX39" fmla="*/ 369548 w 473110"/>
                                      <a:gd name="connsiteY39" fmla="*/ 103384 h 203488"/>
                                      <a:gd name="connsiteX40" fmla="*/ 367965 w 473110"/>
                                      <a:gd name="connsiteY40" fmla="*/ 94627 h 203488"/>
                                      <a:gd name="connsiteX41" fmla="*/ 385703 w 473110"/>
                                      <a:gd name="connsiteY41" fmla="*/ 83865 h 203488"/>
                                      <a:gd name="connsiteX42" fmla="*/ 406891 w 473110"/>
                                      <a:gd name="connsiteY42" fmla="*/ 73303 h 203488"/>
                                      <a:gd name="connsiteX43" fmla="*/ 412898 w 473110"/>
                                      <a:gd name="connsiteY43" fmla="*/ 56190 h 203488"/>
                                      <a:gd name="connsiteX44" fmla="*/ 415415 w 473110"/>
                                      <a:gd name="connsiteY44" fmla="*/ 43756 h 203488"/>
                                      <a:gd name="connsiteX45" fmla="*/ 415252 w 473110"/>
                                      <a:gd name="connsiteY45" fmla="*/ 43322 h 203488"/>
                                      <a:gd name="connsiteX46" fmla="*/ 468019 w 473110"/>
                                      <a:gd name="connsiteY46" fmla="*/ 171267 h 203488"/>
                                      <a:gd name="connsiteX47" fmla="*/ 443218 w 473110"/>
                                      <a:gd name="connsiteY47" fmla="*/ 184637 h 203488"/>
                                      <a:gd name="connsiteX48" fmla="*/ 461646 w 473110"/>
                                      <a:gd name="connsiteY48" fmla="*/ 203087 h 203488"/>
                                      <a:gd name="connsiteX49" fmla="*/ 468019 w 473110"/>
                                      <a:gd name="connsiteY49" fmla="*/ 171301 h 203488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  <a:cxn ang="0">
                                        <a:pos x="connsiteX40" y="connsiteY40"/>
                                      </a:cxn>
                                      <a:cxn ang="0">
                                        <a:pos x="connsiteX41" y="connsiteY41"/>
                                      </a:cxn>
                                      <a:cxn ang="0">
                                        <a:pos x="connsiteX42" y="connsiteY42"/>
                                      </a:cxn>
                                      <a:cxn ang="0">
                                        <a:pos x="connsiteX43" y="connsiteY43"/>
                                      </a:cxn>
                                      <a:cxn ang="0">
                                        <a:pos x="connsiteX44" y="connsiteY44"/>
                                      </a:cxn>
                                      <a:cxn ang="0">
                                        <a:pos x="connsiteX45" y="connsiteY45"/>
                                      </a:cxn>
                                      <a:cxn ang="0">
                                        <a:pos x="connsiteX46" y="connsiteY46"/>
                                      </a:cxn>
                                      <a:cxn ang="0">
                                        <a:pos x="connsiteX47" y="connsiteY47"/>
                                      </a:cxn>
                                      <a:cxn ang="0">
                                        <a:pos x="connsiteX48" y="connsiteY48"/>
                                      </a:cxn>
                                      <a:cxn ang="0">
                                        <a:pos x="connsiteX49" y="connsiteY49"/>
                                      </a:cxn>
                                    </a:cxnLst>
                                    <a:rect l="l" t="t" r="r" b="b"/>
                                    <a:pathLst>
                                      <a:path w="473110" h="203488">
                                        <a:moveTo>
                                          <a:pt x="415252" y="43322"/>
                                        </a:moveTo>
                                        <a:cubicBezTo>
                                          <a:pt x="409569" y="43890"/>
                                          <a:pt x="386515" y="39812"/>
                                          <a:pt x="381887" y="38141"/>
                                        </a:cubicBezTo>
                                        <a:cubicBezTo>
                                          <a:pt x="373120" y="34358"/>
                                          <a:pt x="363338" y="32473"/>
                                          <a:pt x="353475" y="32660"/>
                                        </a:cubicBezTo>
                                        <a:cubicBezTo>
                                          <a:pt x="339958" y="32660"/>
                                          <a:pt x="340486" y="32325"/>
                                          <a:pt x="330095" y="28315"/>
                                        </a:cubicBezTo>
                                        <a:cubicBezTo>
                                          <a:pt x="325264" y="26443"/>
                                          <a:pt x="321043" y="28883"/>
                                          <a:pt x="317918" y="25340"/>
                                        </a:cubicBezTo>
                                        <a:cubicBezTo>
                                          <a:pt x="317512" y="24872"/>
                                          <a:pt x="315767" y="18923"/>
                                          <a:pt x="314387" y="19123"/>
                                        </a:cubicBezTo>
                                        <a:cubicBezTo>
                                          <a:pt x="309313" y="19792"/>
                                          <a:pt x="302210" y="26476"/>
                                          <a:pt x="296081" y="23903"/>
                                        </a:cubicBezTo>
                                        <a:cubicBezTo>
                                          <a:pt x="289181" y="21062"/>
                                          <a:pt x="292955" y="17686"/>
                                          <a:pt x="283457" y="15480"/>
                                        </a:cubicBezTo>
                                        <a:cubicBezTo>
                                          <a:pt x="275664" y="13976"/>
                                          <a:pt x="268114" y="11733"/>
                                          <a:pt x="260970" y="8795"/>
                                        </a:cubicBezTo>
                                        <a:cubicBezTo>
                                          <a:pt x="254679" y="6088"/>
                                          <a:pt x="252609" y="10333"/>
                                          <a:pt x="247170" y="7024"/>
                                        </a:cubicBezTo>
                                        <a:cubicBezTo>
                                          <a:pt x="238849" y="1977"/>
                                          <a:pt x="228823" y="-5176"/>
                                          <a:pt x="215144" y="4316"/>
                                        </a:cubicBezTo>
                                        <a:cubicBezTo>
                                          <a:pt x="202684" y="13040"/>
                                          <a:pt x="220015" y="23635"/>
                                          <a:pt x="193104" y="27212"/>
                                        </a:cubicBezTo>
                                        <a:cubicBezTo>
                                          <a:pt x="170293" y="30253"/>
                                          <a:pt x="169400" y="29652"/>
                                          <a:pt x="159293" y="39812"/>
                                        </a:cubicBezTo>
                                        <a:cubicBezTo>
                                          <a:pt x="152271" y="46865"/>
                                          <a:pt x="125117" y="41584"/>
                                          <a:pt x="117648" y="37874"/>
                                        </a:cubicBezTo>
                                        <a:cubicBezTo>
                                          <a:pt x="111884" y="34999"/>
                                          <a:pt x="89235" y="32158"/>
                                          <a:pt x="93741" y="41216"/>
                                        </a:cubicBezTo>
                                        <a:cubicBezTo>
                                          <a:pt x="95648" y="44793"/>
                                          <a:pt x="120814" y="65314"/>
                                          <a:pt x="91752" y="61738"/>
                                        </a:cubicBezTo>
                                        <a:cubicBezTo>
                                          <a:pt x="81401" y="60501"/>
                                          <a:pt x="78235" y="62674"/>
                                          <a:pt x="69103" y="63109"/>
                                        </a:cubicBezTo>
                                        <a:cubicBezTo>
                                          <a:pt x="63542" y="63376"/>
                                          <a:pt x="58631" y="58663"/>
                                          <a:pt x="53232" y="57895"/>
                                        </a:cubicBezTo>
                                        <a:cubicBezTo>
                                          <a:pt x="43775" y="56558"/>
                                          <a:pt x="6067" y="61538"/>
                                          <a:pt x="953" y="65782"/>
                                        </a:cubicBezTo>
                                        <a:cubicBezTo>
                                          <a:pt x="-2660" y="68724"/>
                                          <a:pt x="4565" y="74138"/>
                                          <a:pt x="4484" y="77548"/>
                                        </a:cubicBezTo>
                                        <a:cubicBezTo>
                                          <a:pt x="4484" y="82394"/>
                                          <a:pt x="13860" y="82494"/>
                                          <a:pt x="20720" y="82862"/>
                                        </a:cubicBezTo>
                                        <a:cubicBezTo>
                                          <a:pt x="38701" y="83831"/>
                                          <a:pt x="57251" y="85670"/>
                                          <a:pt x="74582" y="87441"/>
                                        </a:cubicBezTo>
                                        <a:cubicBezTo>
                                          <a:pt x="93862" y="89446"/>
                                          <a:pt x="86759" y="98070"/>
                                          <a:pt x="97881" y="104153"/>
                                        </a:cubicBezTo>
                                        <a:cubicBezTo>
                                          <a:pt x="105106" y="107996"/>
                                          <a:pt x="116390" y="107295"/>
                                          <a:pt x="123371" y="110570"/>
                                        </a:cubicBezTo>
                                        <a:cubicBezTo>
                                          <a:pt x="128932" y="113211"/>
                                          <a:pt x="122965" y="118726"/>
                                          <a:pt x="126213" y="122101"/>
                                        </a:cubicBezTo>
                                        <a:cubicBezTo>
                                          <a:pt x="130840" y="126948"/>
                                          <a:pt x="123615" y="133532"/>
                                          <a:pt x="122478" y="138512"/>
                                        </a:cubicBezTo>
                                        <a:cubicBezTo>
                                          <a:pt x="121545" y="142623"/>
                                          <a:pt x="123534" y="146768"/>
                                          <a:pt x="122722" y="150946"/>
                                        </a:cubicBezTo>
                                        <a:cubicBezTo>
                                          <a:pt x="121707" y="155926"/>
                                          <a:pt x="119393" y="172604"/>
                                          <a:pt x="107582" y="174342"/>
                                        </a:cubicBezTo>
                                        <a:cubicBezTo>
                                          <a:pt x="115699" y="175980"/>
                                          <a:pt x="183687" y="192692"/>
                                          <a:pt x="183119" y="182832"/>
                                        </a:cubicBezTo>
                                        <a:cubicBezTo>
                                          <a:pt x="183119" y="179724"/>
                                          <a:pt x="210111" y="186375"/>
                                          <a:pt x="215591" y="186709"/>
                                        </a:cubicBezTo>
                                        <a:cubicBezTo>
                                          <a:pt x="233857" y="187779"/>
                                          <a:pt x="250945" y="187645"/>
                                          <a:pt x="269373" y="187378"/>
                                        </a:cubicBezTo>
                                        <a:cubicBezTo>
                                          <a:pt x="264339" y="173674"/>
                                          <a:pt x="275501" y="164549"/>
                                          <a:pt x="304482" y="165117"/>
                                        </a:cubicBezTo>
                                        <a:cubicBezTo>
                                          <a:pt x="324006" y="165519"/>
                                          <a:pt x="344342" y="172704"/>
                                          <a:pt x="362567" y="172437"/>
                                        </a:cubicBezTo>
                                        <a:cubicBezTo>
                                          <a:pt x="377585" y="172237"/>
                                          <a:pt x="386028" y="164583"/>
                                          <a:pt x="396703" y="160171"/>
                                        </a:cubicBezTo>
                                        <a:cubicBezTo>
                                          <a:pt x="398042" y="159603"/>
                                          <a:pt x="422802" y="151548"/>
                                          <a:pt x="411477" y="148907"/>
                                        </a:cubicBezTo>
                                        <a:cubicBezTo>
                                          <a:pt x="404374" y="147236"/>
                                          <a:pt x="379817" y="149308"/>
                                          <a:pt x="390452" y="140150"/>
                                        </a:cubicBezTo>
                                        <a:cubicBezTo>
                                          <a:pt x="396784" y="134735"/>
                                          <a:pt x="375109" y="133465"/>
                                          <a:pt x="379412" y="128920"/>
                                        </a:cubicBezTo>
                                        <a:cubicBezTo>
                                          <a:pt x="379777" y="128519"/>
                                          <a:pt x="403400" y="123338"/>
                                          <a:pt x="393659" y="120430"/>
                                        </a:cubicBezTo>
                                        <a:cubicBezTo>
                                          <a:pt x="383917" y="117522"/>
                                          <a:pt x="394430" y="111339"/>
                                          <a:pt x="388017" y="107595"/>
                                        </a:cubicBezTo>
                                        <a:cubicBezTo>
                                          <a:pt x="382699" y="104521"/>
                                          <a:pt x="380101" y="96365"/>
                                          <a:pt x="369548" y="103384"/>
                                        </a:cubicBezTo>
                                        <a:cubicBezTo>
                                          <a:pt x="359766" y="110069"/>
                                          <a:pt x="365164" y="96900"/>
                                          <a:pt x="367965" y="94627"/>
                                        </a:cubicBezTo>
                                        <a:cubicBezTo>
                                          <a:pt x="372268" y="91285"/>
                                          <a:pt x="384201" y="87942"/>
                                          <a:pt x="385703" y="83865"/>
                                        </a:cubicBezTo>
                                        <a:cubicBezTo>
                                          <a:pt x="388219" y="76846"/>
                                          <a:pt x="404536" y="78918"/>
                                          <a:pt x="406891" y="73303"/>
                                        </a:cubicBezTo>
                                        <a:cubicBezTo>
                                          <a:pt x="409245" y="67688"/>
                                          <a:pt x="408717" y="61805"/>
                                          <a:pt x="412898" y="56190"/>
                                        </a:cubicBezTo>
                                        <a:cubicBezTo>
                                          <a:pt x="414928" y="53483"/>
                                          <a:pt x="436075" y="41784"/>
                                          <a:pt x="415415" y="43756"/>
                                        </a:cubicBezTo>
                                        <a:cubicBezTo>
                                          <a:pt x="410909" y="43790"/>
                                          <a:pt x="419595" y="42921"/>
                                          <a:pt x="415252" y="43322"/>
                                        </a:cubicBezTo>
                                        <a:close/>
                                        <a:moveTo>
                                          <a:pt x="468019" y="171267"/>
                                        </a:moveTo>
                                        <a:cubicBezTo>
                                          <a:pt x="462458" y="171000"/>
                                          <a:pt x="444274" y="181896"/>
                                          <a:pt x="443218" y="184637"/>
                                        </a:cubicBezTo>
                                        <a:cubicBezTo>
                                          <a:pt x="441189" y="189751"/>
                                          <a:pt x="447602" y="204223"/>
                                          <a:pt x="461646" y="203087"/>
                                        </a:cubicBezTo>
                                        <a:cubicBezTo>
                                          <a:pt x="475690" y="201950"/>
                                          <a:pt x="475447" y="171602"/>
                                          <a:pt x="468019" y="17130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grpFill/>
                                  <a:ln w="3021" cap="flat">
                                    <a:solidFill>
                                      <a:schemeClr val="accent5"/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578" name="Freeform: Shape 577">
                                    <a:extLst>
                                      <a:ext uri="{FF2B5EF4-FFF2-40B4-BE49-F238E27FC236}">
                                        <a16:creationId xmlns:a16="http://schemas.microsoft.com/office/drawing/2014/main" id="{F70220F7-E456-4B55-8BB1-824D547416DD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5482354" y="4567391"/>
                                    <a:ext cx="398834" cy="111436"/>
                                  </a:xfrm>
                                  <a:custGeom>
                                    <a:avLst/>
                                    <a:gdLst>
                                      <a:gd name="connsiteX0" fmla="*/ 403991 w 409341"/>
                                      <a:gd name="connsiteY0" fmla="*/ 13159 h 152581"/>
                                      <a:gd name="connsiteX1" fmla="*/ 336937 w 409341"/>
                                      <a:gd name="connsiteY1" fmla="*/ 11120 h 152581"/>
                                      <a:gd name="connsiteX2" fmla="*/ 317657 w 409341"/>
                                      <a:gd name="connsiteY2" fmla="*/ 8614 h 152581"/>
                                      <a:gd name="connsiteX3" fmla="*/ 292329 w 409341"/>
                                      <a:gd name="connsiteY3" fmla="*/ 10819 h 152581"/>
                                      <a:gd name="connsiteX4" fmla="*/ 172467 w 409341"/>
                                      <a:gd name="connsiteY4" fmla="*/ 592 h 152581"/>
                                      <a:gd name="connsiteX5" fmla="*/ 50333 w 409341"/>
                                      <a:gd name="connsiteY5" fmla="*/ 2865 h 152581"/>
                                      <a:gd name="connsiteX6" fmla="*/ 15223 w 409341"/>
                                      <a:gd name="connsiteY6" fmla="*/ 12892 h 152581"/>
                                      <a:gd name="connsiteX7" fmla="*/ 3533 w 409341"/>
                                      <a:gd name="connsiteY7" fmla="*/ 23220 h 152581"/>
                                      <a:gd name="connsiteX8" fmla="*/ 16846 w 409341"/>
                                      <a:gd name="connsiteY8" fmla="*/ 41904 h 152581"/>
                                      <a:gd name="connsiteX9" fmla="*/ 34746 w 409341"/>
                                      <a:gd name="connsiteY9" fmla="*/ 36756 h 152581"/>
                                      <a:gd name="connsiteX10" fmla="*/ 50536 w 409341"/>
                                      <a:gd name="connsiteY10" fmla="*/ 40934 h 152581"/>
                                      <a:gd name="connsiteX11" fmla="*/ 69126 w 409341"/>
                                      <a:gd name="connsiteY11" fmla="*/ 39597 h 152581"/>
                                      <a:gd name="connsiteX12" fmla="*/ 90192 w 409341"/>
                                      <a:gd name="connsiteY12" fmla="*/ 41536 h 152581"/>
                                      <a:gd name="connsiteX13" fmla="*/ 99893 w 409341"/>
                                      <a:gd name="connsiteY13" fmla="*/ 44343 h 152581"/>
                                      <a:gd name="connsiteX14" fmla="*/ 79598 w 409341"/>
                                      <a:gd name="connsiteY14" fmla="*/ 54972 h 152581"/>
                                      <a:gd name="connsiteX15" fmla="*/ 83657 w 409341"/>
                                      <a:gd name="connsiteY15" fmla="*/ 66704 h 152581"/>
                                      <a:gd name="connsiteX16" fmla="*/ 79882 w 409341"/>
                                      <a:gd name="connsiteY16" fmla="*/ 82179 h 152581"/>
                                      <a:gd name="connsiteX17" fmla="*/ 66731 w 409341"/>
                                      <a:gd name="connsiteY17" fmla="*/ 87426 h 152581"/>
                                      <a:gd name="connsiteX18" fmla="*/ 80816 w 409341"/>
                                      <a:gd name="connsiteY18" fmla="*/ 98222 h 152581"/>
                                      <a:gd name="connsiteX19" fmla="*/ 72170 w 409341"/>
                                      <a:gd name="connsiteY19" fmla="*/ 105475 h 152581"/>
                                      <a:gd name="connsiteX20" fmla="*/ 83860 w 409341"/>
                                      <a:gd name="connsiteY20" fmla="*/ 115502 h 152581"/>
                                      <a:gd name="connsiteX21" fmla="*/ 70709 w 409341"/>
                                      <a:gd name="connsiteY21" fmla="*/ 122521 h 152581"/>
                                      <a:gd name="connsiteX22" fmla="*/ 73794 w 409341"/>
                                      <a:gd name="connsiteY22" fmla="*/ 135222 h 152581"/>
                                      <a:gd name="connsiteX23" fmla="*/ 116616 w 409341"/>
                                      <a:gd name="connsiteY23" fmla="*/ 149828 h 152581"/>
                                      <a:gd name="connsiteX24" fmla="*/ 148195 w 409341"/>
                                      <a:gd name="connsiteY24" fmla="*/ 144748 h 152581"/>
                                      <a:gd name="connsiteX25" fmla="*/ 165729 w 409341"/>
                                      <a:gd name="connsiteY25" fmla="*/ 141171 h 152581"/>
                                      <a:gd name="connsiteX26" fmla="*/ 202260 w 409341"/>
                                      <a:gd name="connsiteY26" fmla="*/ 135690 h 152581"/>
                                      <a:gd name="connsiteX27" fmla="*/ 231566 w 409341"/>
                                      <a:gd name="connsiteY27" fmla="*/ 133718 h 152581"/>
                                      <a:gd name="connsiteX28" fmla="*/ 254378 w 409341"/>
                                      <a:gd name="connsiteY28" fmla="*/ 121084 h 152581"/>
                                      <a:gd name="connsiteX29" fmla="*/ 279219 w 409341"/>
                                      <a:gd name="connsiteY29" fmla="*/ 113162 h 152581"/>
                                      <a:gd name="connsiteX30" fmla="*/ 285672 w 409341"/>
                                      <a:gd name="connsiteY30" fmla="*/ 100495 h 152581"/>
                                      <a:gd name="connsiteX31" fmla="*/ 300041 w 409341"/>
                                      <a:gd name="connsiteY31" fmla="*/ 82781 h 152581"/>
                                      <a:gd name="connsiteX32" fmla="*/ 325410 w 409341"/>
                                      <a:gd name="connsiteY32" fmla="*/ 52064 h 152581"/>
                                      <a:gd name="connsiteX33" fmla="*/ 333528 w 409341"/>
                                      <a:gd name="connsiteY33" fmla="*/ 42806 h 152581"/>
                                      <a:gd name="connsiteX34" fmla="*/ 370058 w 409341"/>
                                      <a:gd name="connsiteY34" fmla="*/ 35887 h 152581"/>
                                      <a:gd name="connsiteX35" fmla="*/ 404235 w 409341"/>
                                      <a:gd name="connsiteY35" fmla="*/ 13126 h 152581"/>
                                      <a:gd name="connsiteX36" fmla="*/ 403991 w 409341"/>
                                      <a:gd name="connsiteY36" fmla="*/ 13159 h 152581"/>
                                      <a:gd name="connsiteX37" fmla="*/ 408984 w 409341"/>
                                      <a:gd name="connsiteY37" fmla="*/ 68141 h 152581"/>
                                      <a:gd name="connsiteX38" fmla="*/ 381464 w 409341"/>
                                      <a:gd name="connsiteY38" fmla="*/ 73990 h 152581"/>
                                      <a:gd name="connsiteX39" fmla="*/ 408984 w 409341"/>
                                      <a:gd name="connsiteY39" fmla="*/ 68141 h 152581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</a:cxnLst>
                                    <a:rect l="l" t="t" r="r" b="b"/>
                                    <a:pathLst>
                                      <a:path w="409341" h="152581">
                                        <a:moveTo>
                                          <a:pt x="403991" y="13159"/>
                                        </a:moveTo>
                                        <a:cubicBezTo>
                                          <a:pt x="382519" y="13494"/>
                                          <a:pt x="357476" y="15031"/>
                                          <a:pt x="336937" y="11120"/>
                                        </a:cubicBezTo>
                                        <a:cubicBezTo>
                                          <a:pt x="334664" y="10686"/>
                                          <a:pt x="317373" y="3333"/>
                                          <a:pt x="317657" y="8614"/>
                                        </a:cubicBezTo>
                                        <a:cubicBezTo>
                                          <a:pt x="317941" y="13895"/>
                                          <a:pt x="296672" y="11956"/>
                                          <a:pt x="292329" y="10819"/>
                                        </a:cubicBezTo>
                                        <a:cubicBezTo>
                                          <a:pt x="254499" y="-43"/>
                                          <a:pt x="215574" y="-1781"/>
                                          <a:pt x="172467" y="592"/>
                                        </a:cubicBezTo>
                                        <a:cubicBezTo>
                                          <a:pt x="136505" y="2497"/>
                                          <a:pt x="83170" y="9249"/>
                                          <a:pt x="50333" y="2865"/>
                                        </a:cubicBezTo>
                                        <a:cubicBezTo>
                                          <a:pt x="31783" y="-745"/>
                                          <a:pt x="31580" y="11488"/>
                                          <a:pt x="15223" y="12892"/>
                                        </a:cubicBezTo>
                                        <a:cubicBezTo>
                                          <a:pt x="4507" y="13794"/>
                                          <a:pt x="-5681" y="17972"/>
                                          <a:pt x="3533" y="23220"/>
                                        </a:cubicBezTo>
                                        <a:cubicBezTo>
                                          <a:pt x="14573" y="29503"/>
                                          <a:pt x="17496" y="32445"/>
                                          <a:pt x="16846" y="41904"/>
                                        </a:cubicBezTo>
                                        <a:cubicBezTo>
                                          <a:pt x="21879" y="41235"/>
                                          <a:pt x="30566" y="35219"/>
                                          <a:pt x="34746" y="36756"/>
                                        </a:cubicBezTo>
                                        <a:cubicBezTo>
                                          <a:pt x="42296" y="39664"/>
                                          <a:pt x="37141" y="42171"/>
                                          <a:pt x="50536" y="40934"/>
                                        </a:cubicBezTo>
                                        <a:cubicBezTo>
                                          <a:pt x="57395" y="40299"/>
                                          <a:pt x="63484" y="42204"/>
                                          <a:pt x="69126" y="39597"/>
                                        </a:cubicBezTo>
                                        <a:cubicBezTo>
                                          <a:pt x="80775" y="34183"/>
                                          <a:pt x="83251" y="38795"/>
                                          <a:pt x="90192" y="41536"/>
                                        </a:cubicBezTo>
                                        <a:cubicBezTo>
                                          <a:pt x="92100" y="42338"/>
                                          <a:pt x="100745" y="42271"/>
                                          <a:pt x="99893" y="44343"/>
                                        </a:cubicBezTo>
                                        <a:cubicBezTo>
                                          <a:pt x="97863" y="49056"/>
                                          <a:pt x="84672" y="51396"/>
                                          <a:pt x="79598" y="54972"/>
                                        </a:cubicBezTo>
                                        <a:cubicBezTo>
                                          <a:pt x="74524" y="58548"/>
                                          <a:pt x="82277" y="63562"/>
                                          <a:pt x="83657" y="66704"/>
                                        </a:cubicBezTo>
                                        <a:cubicBezTo>
                                          <a:pt x="86011" y="71918"/>
                                          <a:pt x="78299" y="76463"/>
                                          <a:pt x="79882" y="82179"/>
                                        </a:cubicBezTo>
                                        <a:cubicBezTo>
                                          <a:pt x="81140" y="86658"/>
                                          <a:pt x="71115" y="84853"/>
                                          <a:pt x="66731" y="87426"/>
                                        </a:cubicBezTo>
                                        <a:cubicBezTo>
                                          <a:pt x="61049" y="90769"/>
                                          <a:pt x="77974" y="96183"/>
                                          <a:pt x="80816" y="98222"/>
                                        </a:cubicBezTo>
                                        <a:cubicBezTo>
                                          <a:pt x="84875" y="101063"/>
                                          <a:pt x="74200" y="102267"/>
                                          <a:pt x="72170" y="105475"/>
                                        </a:cubicBezTo>
                                        <a:cubicBezTo>
                                          <a:pt x="68111" y="111792"/>
                                          <a:pt x="78827" y="111625"/>
                                          <a:pt x="83860" y="115502"/>
                                        </a:cubicBezTo>
                                        <a:cubicBezTo>
                                          <a:pt x="87432" y="118310"/>
                                          <a:pt x="73144" y="120182"/>
                                          <a:pt x="70709" y="122521"/>
                                        </a:cubicBezTo>
                                        <a:cubicBezTo>
                                          <a:pt x="66082" y="126933"/>
                                          <a:pt x="68882" y="131746"/>
                                          <a:pt x="73794" y="135222"/>
                                        </a:cubicBezTo>
                                        <a:cubicBezTo>
                                          <a:pt x="98148" y="131278"/>
                                          <a:pt x="102207" y="143177"/>
                                          <a:pt x="116616" y="149828"/>
                                        </a:cubicBezTo>
                                        <a:cubicBezTo>
                                          <a:pt x="132852" y="157449"/>
                                          <a:pt x="133339" y="144581"/>
                                          <a:pt x="148195" y="144748"/>
                                        </a:cubicBezTo>
                                        <a:cubicBezTo>
                                          <a:pt x="154364" y="145119"/>
                                          <a:pt x="160493" y="143866"/>
                                          <a:pt x="165729" y="141171"/>
                                        </a:cubicBezTo>
                                        <a:cubicBezTo>
                                          <a:pt x="176242" y="136626"/>
                                          <a:pt x="189677" y="136693"/>
                                          <a:pt x="202260" y="135690"/>
                                        </a:cubicBezTo>
                                        <a:cubicBezTo>
                                          <a:pt x="211799" y="134921"/>
                                          <a:pt x="222230" y="135022"/>
                                          <a:pt x="231566" y="133718"/>
                                        </a:cubicBezTo>
                                        <a:cubicBezTo>
                                          <a:pt x="245286" y="131813"/>
                                          <a:pt x="244555" y="125329"/>
                                          <a:pt x="254378" y="121084"/>
                                        </a:cubicBezTo>
                                        <a:cubicBezTo>
                                          <a:pt x="261521" y="118009"/>
                                          <a:pt x="275403" y="118109"/>
                                          <a:pt x="279219" y="113162"/>
                                        </a:cubicBezTo>
                                        <a:cubicBezTo>
                                          <a:pt x="283034" y="108216"/>
                                          <a:pt x="278772" y="104472"/>
                                          <a:pt x="285672" y="100495"/>
                                        </a:cubicBezTo>
                                        <a:cubicBezTo>
                                          <a:pt x="298701" y="92941"/>
                                          <a:pt x="305317" y="92941"/>
                                          <a:pt x="300041" y="82781"/>
                                        </a:cubicBezTo>
                                        <a:cubicBezTo>
                                          <a:pt x="292410" y="68141"/>
                                          <a:pt x="309985" y="62258"/>
                                          <a:pt x="325410" y="52064"/>
                                        </a:cubicBezTo>
                                        <a:cubicBezTo>
                                          <a:pt x="329996" y="49023"/>
                                          <a:pt x="326830" y="45380"/>
                                          <a:pt x="333528" y="42806"/>
                                        </a:cubicBezTo>
                                        <a:cubicBezTo>
                                          <a:pt x="344446" y="38628"/>
                                          <a:pt x="358774" y="39731"/>
                                          <a:pt x="370058" y="35887"/>
                                        </a:cubicBezTo>
                                        <a:cubicBezTo>
                                          <a:pt x="386051" y="30406"/>
                                          <a:pt x="408497" y="24724"/>
                                          <a:pt x="404235" y="13126"/>
                                        </a:cubicBezTo>
                                        <a:cubicBezTo>
                                          <a:pt x="392585" y="13326"/>
                                          <a:pt x="406630" y="20278"/>
                                          <a:pt x="403991" y="13159"/>
                                        </a:cubicBezTo>
                                        <a:close/>
                                        <a:moveTo>
                                          <a:pt x="408984" y="68141"/>
                                        </a:moveTo>
                                        <a:cubicBezTo>
                                          <a:pt x="406264" y="59618"/>
                                          <a:pt x="374442" y="71684"/>
                                          <a:pt x="381464" y="73990"/>
                                        </a:cubicBezTo>
                                        <a:cubicBezTo>
                                          <a:pt x="395792" y="78603"/>
                                          <a:pt x="411663" y="76664"/>
                                          <a:pt x="408984" y="6814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grpFill/>
                                  <a:ln w="3021" cap="flat">
                                    <a:solidFill>
                                      <a:schemeClr val="accent5"/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576" name="Freeform: Shape 575">
                                  <a:extLst>
                                    <a:ext uri="{FF2B5EF4-FFF2-40B4-BE49-F238E27FC236}">
                                      <a16:creationId xmlns:a16="http://schemas.microsoft.com/office/drawing/2014/main" id="{54169EE5-51B1-4ED6-B699-B1B1C5E919C6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5984388" y="4502846"/>
                                  <a:ext cx="355546" cy="156682"/>
                                </a:xfrm>
                                <a:custGeom>
                                  <a:avLst/>
                                  <a:gdLst>
                                    <a:gd name="connsiteX0" fmla="*/ 251442 w 364913"/>
                                    <a:gd name="connsiteY0" fmla="*/ 185530 h 214533"/>
                                    <a:gd name="connsiteX1" fmla="*/ 218523 w 364913"/>
                                    <a:gd name="connsiteY1" fmla="*/ 186365 h 214533"/>
                                    <a:gd name="connsiteX2" fmla="*/ 186701 w 364913"/>
                                    <a:gd name="connsiteY2" fmla="*/ 189708 h 214533"/>
                                    <a:gd name="connsiteX3" fmla="*/ 237925 w 364913"/>
                                    <a:gd name="connsiteY3" fmla="*/ 207055 h 214533"/>
                                    <a:gd name="connsiteX4" fmla="*/ 254648 w 364913"/>
                                    <a:gd name="connsiteY4" fmla="*/ 214174 h 214533"/>
                                    <a:gd name="connsiteX5" fmla="*/ 263415 w 364913"/>
                                    <a:gd name="connsiteY5" fmla="*/ 199233 h 214533"/>
                                    <a:gd name="connsiteX6" fmla="*/ 251238 w 364913"/>
                                    <a:gd name="connsiteY6" fmla="*/ 185630 h 214533"/>
                                    <a:gd name="connsiteX7" fmla="*/ 69924 w 364913"/>
                                    <a:gd name="connsiteY7" fmla="*/ 127807 h 214533"/>
                                    <a:gd name="connsiteX8" fmla="*/ 46869 w 364913"/>
                                    <a:gd name="connsiteY8" fmla="*/ 131150 h 214533"/>
                                    <a:gd name="connsiteX9" fmla="*/ 55555 w 364913"/>
                                    <a:gd name="connsiteY9" fmla="*/ 143015 h 214533"/>
                                    <a:gd name="connsiteX10" fmla="*/ 72238 w 364913"/>
                                    <a:gd name="connsiteY10" fmla="*/ 169286 h 214533"/>
                                    <a:gd name="connsiteX11" fmla="*/ 96023 w 364913"/>
                                    <a:gd name="connsiteY11" fmla="*/ 159727 h 214533"/>
                                    <a:gd name="connsiteX12" fmla="*/ 97525 w 364913"/>
                                    <a:gd name="connsiteY12" fmla="*/ 141010 h 214533"/>
                                    <a:gd name="connsiteX13" fmla="*/ 94521 w 364913"/>
                                    <a:gd name="connsiteY13" fmla="*/ 127640 h 214533"/>
                                    <a:gd name="connsiteX14" fmla="*/ 69924 w 364913"/>
                                    <a:gd name="connsiteY14" fmla="*/ 128075 h 214533"/>
                                    <a:gd name="connsiteX15" fmla="*/ 301286 w 364913"/>
                                    <a:gd name="connsiteY15" fmla="*/ 121122 h 214533"/>
                                    <a:gd name="connsiteX16" fmla="*/ 292315 w 364913"/>
                                    <a:gd name="connsiteY16" fmla="*/ 114204 h 214533"/>
                                    <a:gd name="connsiteX17" fmla="*/ 272020 w 364913"/>
                                    <a:gd name="connsiteY17" fmla="*/ 110293 h 214533"/>
                                    <a:gd name="connsiteX18" fmla="*/ 234556 w 364913"/>
                                    <a:gd name="connsiteY18" fmla="*/ 91409 h 214533"/>
                                    <a:gd name="connsiteX19" fmla="*/ 208944 w 364913"/>
                                    <a:gd name="connsiteY19" fmla="*/ 68982 h 214533"/>
                                    <a:gd name="connsiteX20" fmla="*/ 181546 w 364913"/>
                                    <a:gd name="connsiteY20" fmla="*/ 54142 h 214533"/>
                                    <a:gd name="connsiteX21" fmla="*/ 186417 w 364913"/>
                                    <a:gd name="connsiteY21" fmla="*/ 35224 h 214533"/>
                                    <a:gd name="connsiteX22" fmla="*/ 198594 w 364913"/>
                                    <a:gd name="connsiteY22" fmla="*/ 26300 h 214533"/>
                                    <a:gd name="connsiteX23" fmla="*/ 200704 w 364913"/>
                                    <a:gd name="connsiteY23" fmla="*/ 8619 h 214533"/>
                                    <a:gd name="connsiteX24" fmla="*/ 181952 w 364913"/>
                                    <a:gd name="connsiteY24" fmla="*/ 5276 h 214533"/>
                                    <a:gd name="connsiteX25" fmla="*/ 175295 w 364913"/>
                                    <a:gd name="connsiteY25" fmla="*/ -339 h 214533"/>
                                    <a:gd name="connsiteX26" fmla="*/ 136572 w 364913"/>
                                    <a:gd name="connsiteY26" fmla="*/ 5410 h 214533"/>
                                    <a:gd name="connsiteX27" fmla="*/ 119281 w 364913"/>
                                    <a:gd name="connsiteY27" fmla="*/ 9789 h 214533"/>
                                    <a:gd name="connsiteX28" fmla="*/ 108363 w 364913"/>
                                    <a:gd name="connsiteY28" fmla="*/ 10791 h 214533"/>
                                    <a:gd name="connsiteX29" fmla="*/ 95780 w 364913"/>
                                    <a:gd name="connsiteY29" fmla="*/ 15337 h 214533"/>
                                    <a:gd name="connsiteX30" fmla="*/ 75891 w 364913"/>
                                    <a:gd name="connsiteY30" fmla="*/ 25598 h 214533"/>
                                    <a:gd name="connsiteX31" fmla="*/ 48939 w 364913"/>
                                    <a:gd name="connsiteY31" fmla="*/ 16841 h 214533"/>
                                    <a:gd name="connsiteX32" fmla="*/ 16954 w 364913"/>
                                    <a:gd name="connsiteY32" fmla="*/ 26367 h 214533"/>
                                    <a:gd name="connsiteX33" fmla="*/ 6604 w 364913"/>
                                    <a:gd name="connsiteY33" fmla="*/ 41741 h 214533"/>
                                    <a:gd name="connsiteX34" fmla="*/ 9729 w 364913"/>
                                    <a:gd name="connsiteY34" fmla="*/ 54543 h 214533"/>
                                    <a:gd name="connsiteX35" fmla="*/ 24626 w 364913"/>
                                    <a:gd name="connsiteY35" fmla="*/ 62865 h 214533"/>
                                    <a:gd name="connsiteX36" fmla="*/ 28685 w 364913"/>
                                    <a:gd name="connsiteY36" fmla="*/ 71054 h 214533"/>
                                    <a:gd name="connsiteX37" fmla="*/ 58721 w 364913"/>
                                    <a:gd name="connsiteY37" fmla="*/ 60058 h 214533"/>
                                    <a:gd name="connsiteX38" fmla="*/ 108079 w 364913"/>
                                    <a:gd name="connsiteY38" fmla="*/ 65740 h 214533"/>
                                    <a:gd name="connsiteX39" fmla="*/ 152281 w 364913"/>
                                    <a:gd name="connsiteY39" fmla="*/ 98829 h 214533"/>
                                    <a:gd name="connsiteX40" fmla="*/ 187148 w 364913"/>
                                    <a:gd name="connsiteY40" fmla="*/ 115541 h 214533"/>
                                    <a:gd name="connsiteX41" fmla="*/ 231796 w 364913"/>
                                    <a:gd name="connsiteY41" fmla="*/ 129412 h 214533"/>
                                    <a:gd name="connsiteX42" fmla="*/ 266825 w 364913"/>
                                    <a:gd name="connsiteY42" fmla="*/ 143617 h 214533"/>
                                    <a:gd name="connsiteX43" fmla="*/ 281356 w 364913"/>
                                    <a:gd name="connsiteY43" fmla="*/ 148196 h 214533"/>
                                    <a:gd name="connsiteX44" fmla="*/ 289474 w 364913"/>
                                    <a:gd name="connsiteY44" fmla="*/ 160195 h 214533"/>
                                    <a:gd name="connsiteX45" fmla="*/ 283102 w 364913"/>
                                    <a:gd name="connsiteY45" fmla="*/ 182421 h 214533"/>
                                    <a:gd name="connsiteX46" fmla="*/ 300636 w 364913"/>
                                    <a:gd name="connsiteY46" fmla="*/ 181118 h 214533"/>
                                    <a:gd name="connsiteX47" fmla="*/ 306969 w 364913"/>
                                    <a:gd name="connsiteY47" fmla="*/ 172394 h 214533"/>
                                    <a:gd name="connsiteX48" fmla="*/ 323204 w 364913"/>
                                    <a:gd name="connsiteY48" fmla="*/ 165710 h 214533"/>
                                    <a:gd name="connsiteX49" fmla="*/ 309119 w 364913"/>
                                    <a:gd name="connsiteY49" fmla="*/ 148764 h 214533"/>
                                    <a:gd name="connsiteX50" fmla="*/ 347152 w 364913"/>
                                    <a:gd name="connsiteY50" fmla="*/ 148129 h 214533"/>
                                    <a:gd name="connsiteX51" fmla="*/ 361724 w 364913"/>
                                    <a:gd name="connsiteY51" fmla="*/ 143115 h 214533"/>
                                    <a:gd name="connsiteX52" fmla="*/ 301367 w 364913"/>
                                    <a:gd name="connsiteY52" fmla="*/ 121423 h 214533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  <a:cxn ang="0">
                                      <a:pos x="connsiteX22" y="connsiteY22"/>
                                    </a:cxn>
                                    <a:cxn ang="0">
                                      <a:pos x="connsiteX23" y="connsiteY23"/>
                                    </a:cxn>
                                    <a:cxn ang="0">
                                      <a:pos x="connsiteX24" y="connsiteY24"/>
                                    </a:cxn>
                                    <a:cxn ang="0">
                                      <a:pos x="connsiteX25" y="connsiteY25"/>
                                    </a:cxn>
                                    <a:cxn ang="0">
                                      <a:pos x="connsiteX26" y="connsiteY26"/>
                                    </a:cxn>
                                    <a:cxn ang="0">
                                      <a:pos x="connsiteX27" y="connsiteY27"/>
                                    </a:cxn>
                                    <a:cxn ang="0">
                                      <a:pos x="connsiteX28" y="connsiteY28"/>
                                    </a:cxn>
                                    <a:cxn ang="0">
                                      <a:pos x="connsiteX29" y="connsiteY29"/>
                                    </a:cxn>
                                    <a:cxn ang="0">
                                      <a:pos x="connsiteX30" y="connsiteY30"/>
                                    </a:cxn>
                                    <a:cxn ang="0">
                                      <a:pos x="connsiteX31" y="connsiteY31"/>
                                    </a:cxn>
                                    <a:cxn ang="0">
                                      <a:pos x="connsiteX32" y="connsiteY32"/>
                                    </a:cxn>
                                    <a:cxn ang="0">
                                      <a:pos x="connsiteX33" y="connsiteY33"/>
                                    </a:cxn>
                                    <a:cxn ang="0">
                                      <a:pos x="connsiteX34" y="connsiteY34"/>
                                    </a:cxn>
                                    <a:cxn ang="0">
                                      <a:pos x="connsiteX35" y="connsiteY35"/>
                                    </a:cxn>
                                    <a:cxn ang="0">
                                      <a:pos x="connsiteX36" y="connsiteY36"/>
                                    </a:cxn>
                                    <a:cxn ang="0">
                                      <a:pos x="connsiteX37" y="connsiteY37"/>
                                    </a:cxn>
                                    <a:cxn ang="0">
                                      <a:pos x="connsiteX38" y="connsiteY38"/>
                                    </a:cxn>
                                    <a:cxn ang="0">
                                      <a:pos x="connsiteX39" y="connsiteY39"/>
                                    </a:cxn>
                                    <a:cxn ang="0">
                                      <a:pos x="connsiteX40" y="connsiteY40"/>
                                    </a:cxn>
                                    <a:cxn ang="0">
                                      <a:pos x="connsiteX41" y="connsiteY41"/>
                                    </a:cxn>
                                    <a:cxn ang="0">
                                      <a:pos x="connsiteX42" y="connsiteY42"/>
                                    </a:cxn>
                                    <a:cxn ang="0">
                                      <a:pos x="connsiteX43" y="connsiteY43"/>
                                    </a:cxn>
                                    <a:cxn ang="0">
                                      <a:pos x="connsiteX44" y="connsiteY44"/>
                                    </a:cxn>
                                    <a:cxn ang="0">
                                      <a:pos x="connsiteX45" y="connsiteY45"/>
                                    </a:cxn>
                                    <a:cxn ang="0">
                                      <a:pos x="connsiteX46" y="connsiteY46"/>
                                    </a:cxn>
                                    <a:cxn ang="0">
                                      <a:pos x="connsiteX47" y="connsiteY47"/>
                                    </a:cxn>
                                    <a:cxn ang="0">
                                      <a:pos x="connsiteX48" y="connsiteY48"/>
                                    </a:cxn>
                                    <a:cxn ang="0">
                                      <a:pos x="connsiteX49" y="connsiteY49"/>
                                    </a:cxn>
                                    <a:cxn ang="0">
                                      <a:pos x="connsiteX50" y="connsiteY50"/>
                                    </a:cxn>
                                    <a:cxn ang="0">
                                      <a:pos x="connsiteX51" y="connsiteY51"/>
                                    </a:cxn>
                                    <a:cxn ang="0">
                                      <a:pos x="connsiteX52" y="connsiteY52"/>
                                    </a:cxn>
                                  </a:cxnLst>
                                  <a:rect l="l" t="t" r="r" b="b"/>
                                  <a:pathLst>
                                    <a:path w="364913" h="214533">
                                      <a:moveTo>
                                        <a:pt x="251442" y="185530"/>
                                      </a:moveTo>
                                      <a:cubicBezTo>
                                        <a:pt x="240888" y="186633"/>
                                        <a:pt x="229198" y="188337"/>
                                        <a:pt x="218523" y="186365"/>
                                      </a:cubicBezTo>
                                      <a:cubicBezTo>
                                        <a:pt x="207848" y="184393"/>
                                        <a:pt x="192465" y="182455"/>
                                        <a:pt x="186701" y="189708"/>
                                      </a:cubicBezTo>
                                      <a:cubicBezTo>
                                        <a:pt x="180206" y="197730"/>
                                        <a:pt x="230822" y="203679"/>
                                        <a:pt x="237925" y="207055"/>
                                      </a:cubicBezTo>
                                      <a:cubicBezTo>
                                        <a:pt x="242715" y="209294"/>
                                        <a:pt x="247707" y="213739"/>
                                        <a:pt x="254648" y="214174"/>
                                      </a:cubicBezTo>
                                      <a:cubicBezTo>
                                        <a:pt x="269585" y="214742"/>
                                        <a:pt x="261914" y="203445"/>
                                        <a:pt x="263415" y="199233"/>
                                      </a:cubicBezTo>
                                      <a:cubicBezTo>
                                        <a:pt x="267150" y="188605"/>
                                        <a:pt x="289677" y="181619"/>
                                        <a:pt x="251238" y="185630"/>
                                      </a:cubicBezTo>
                                      <a:close/>
                                      <a:moveTo>
                                        <a:pt x="69924" y="127807"/>
                                      </a:moveTo>
                                      <a:cubicBezTo>
                                        <a:pt x="63714" y="130715"/>
                                        <a:pt x="50400" y="127807"/>
                                        <a:pt x="46869" y="131150"/>
                                      </a:cubicBezTo>
                                      <a:cubicBezTo>
                                        <a:pt x="43338" y="134492"/>
                                        <a:pt x="52796" y="140174"/>
                                        <a:pt x="55555" y="143015"/>
                                      </a:cubicBezTo>
                                      <a:cubicBezTo>
                                        <a:pt x="58316" y="145856"/>
                                        <a:pt x="56611" y="177876"/>
                                        <a:pt x="72238" y="169286"/>
                                      </a:cubicBezTo>
                                      <a:cubicBezTo>
                                        <a:pt x="78976" y="165576"/>
                                        <a:pt x="93182" y="165142"/>
                                        <a:pt x="96023" y="159727"/>
                                      </a:cubicBezTo>
                                      <a:cubicBezTo>
                                        <a:pt x="99067" y="153777"/>
                                        <a:pt x="97079" y="147093"/>
                                        <a:pt x="97525" y="141010"/>
                                      </a:cubicBezTo>
                                      <a:cubicBezTo>
                                        <a:pt x="97850" y="136464"/>
                                        <a:pt x="103248" y="130682"/>
                                        <a:pt x="94521" y="127640"/>
                                      </a:cubicBezTo>
                                      <a:cubicBezTo>
                                        <a:pt x="86607" y="124986"/>
                                        <a:pt x="77717" y="125143"/>
                                        <a:pt x="69924" y="128075"/>
                                      </a:cubicBezTo>
                                      <a:close/>
                                      <a:moveTo>
                                        <a:pt x="301286" y="121122"/>
                                      </a:moveTo>
                                      <a:cubicBezTo>
                                        <a:pt x="297470" y="119672"/>
                                        <a:pt x="294305" y="117245"/>
                                        <a:pt x="292315" y="114204"/>
                                      </a:cubicBezTo>
                                      <a:cubicBezTo>
                                        <a:pt x="288256" y="109759"/>
                                        <a:pt x="279408" y="111162"/>
                                        <a:pt x="272020" y="110293"/>
                                      </a:cubicBezTo>
                                      <a:cubicBezTo>
                                        <a:pt x="257043" y="108231"/>
                                        <a:pt x="243608" y="101463"/>
                                        <a:pt x="234556" y="91409"/>
                                      </a:cubicBezTo>
                                      <a:cubicBezTo>
                                        <a:pt x="226438" y="82552"/>
                                        <a:pt x="225423" y="74931"/>
                                        <a:pt x="208944" y="68982"/>
                                      </a:cubicBezTo>
                                      <a:cubicBezTo>
                                        <a:pt x="198269" y="65105"/>
                                        <a:pt x="183089" y="61963"/>
                                        <a:pt x="181546" y="54142"/>
                                      </a:cubicBezTo>
                                      <a:cubicBezTo>
                                        <a:pt x="180978" y="51267"/>
                                        <a:pt x="183778" y="36761"/>
                                        <a:pt x="186417" y="35224"/>
                                      </a:cubicBezTo>
                                      <a:cubicBezTo>
                                        <a:pt x="194819" y="30344"/>
                                        <a:pt x="198594" y="34054"/>
                                        <a:pt x="198594" y="26300"/>
                                      </a:cubicBezTo>
                                      <a:cubicBezTo>
                                        <a:pt x="198634" y="20367"/>
                                        <a:pt x="199365" y="14448"/>
                                        <a:pt x="200704" y="8619"/>
                                      </a:cubicBezTo>
                                      <a:cubicBezTo>
                                        <a:pt x="195671" y="8318"/>
                                        <a:pt x="184468" y="8385"/>
                                        <a:pt x="181952" y="5276"/>
                                      </a:cubicBezTo>
                                      <a:cubicBezTo>
                                        <a:pt x="180166" y="3137"/>
                                        <a:pt x="180775" y="-339"/>
                                        <a:pt x="175295" y="-339"/>
                                      </a:cubicBezTo>
                                      <a:cubicBezTo>
                                        <a:pt x="159668" y="-339"/>
                                        <a:pt x="150373" y="4808"/>
                                        <a:pt x="136572" y="5410"/>
                                      </a:cubicBezTo>
                                      <a:cubicBezTo>
                                        <a:pt x="123787" y="5978"/>
                                        <a:pt x="126750" y="3505"/>
                                        <a:pt x="119281" y="9789"/>
                                      </a:cubicBezTo>
                                      <a:cubicBezTo>
                                        <a:pt x="116481" y="12128"/>
                                        <a:pt x="112016" y="9789"/>
                                        <a:pt x="108363" y="10791"/>
                                      </a:cubicBezTo>
                                      <a:cubicBezTo>
                                        <a:pt x="101868" y="12763"/>
                                        <a:pt x="107429" y="16039"/>
                                        <a:pt x="95780" y="15337"/>
                                      </a:cubicBezTo>
                                      <a:cubicBezTo>
                                        <a:pt x="73456" y="13966"/>
                                        <a:pt x="87905" y="23826"/>
                                        <a:pt x="75891" y="25598"/>
                                      </a:cubicBezTo>
                                      <a:cubicBezTo>
                                        <a:pt x="63064" y="27536"/>
                                        <a:pt x="58803" y="6012"/>
                                        <a:pt x="48939" y="16841"/>
                                      </a:cubicBezTo>
                                      <a:cubicBezTo>
                                        <a:pt x="40821" y="25932"/>
                                        <a:pt x="35057" y="25364"/>
                                        <a:pt x="16954" y="26367"/>
                                      </a:cubicBezTo>
                                      <a:cubicBezTo>
                                        <a:pt x="-5086" y="27637"/>
                                        <a:pt x="24667" y="36728"/>
                                        <a:pt x="6604" y="41741"/>
                                      </a:cubicBezTo>
                                      <a:cubicBezTo>
                                        <a:pt x="-13041" y="47256"/>
                                        <a:pt x="17807" y="47658"/>
                                        <a:pt x="9729" y="54543"/>
                                      </a:cubicBezTo>
                                      <a:cubicBezTo>
                                        <a:pt x="1652" y="61428"/>
                                        <a:pt x="15980" y="62765"/>
                                        <a:pt x="24626" y="62865"/>
                                      </a:cubicBezTo>
                                      <a:cubicBezTo>
                                        <a:pt x="37209" y="62865"/>
                                        <a:pt x="29416" y="67010"/>
                                        <a:pt x="28685" y="71054"/>
                                      </a:cubicBezTo>
                                      <a:cubicBezTo>
                                        <a:pt x="45165" y="68313"/>
                                        <a:pt x="46057" y="64369"/>
                                        <a:pt x="58721" y="60058"/>
                                      </a:cubicBezTo>
                                      <a:cubicBezTo>
                                        <a:pt x="74552" y="54576"/>
                                        <a:pt x="96104" y="59423"/>
                                        <a:pt x="108079" y="65740"/>
                                      </a:cubicBezTo>
                                      <a:cubicBezTo>
                                        <a:pt x="128130" y="76268"/>
                                        <a:pt x="125938" y="89738"/>
                                        <a:pt x="152281" y="98829"/>
                                      </a:cubicBezTo>
                                      <a:cubicBezTo>
                                        <a:pt x="165675" y="103441"/>
                                        <a:pt x="175620" y="109692"/>
                                        <a:pt x="187148" y="115541"/>
                                      </a:cubicBezTo>
                                      <a:cubicBezTo>
                                        <a:pt x="200136" y="122025"/>
                                        <a:pt x="218199" y="123061"/>
                                        <a:pt x="231796" y="129412"/>
                                      </a:cubicBezTo>
                                      <a:cubicBezTo>
                                        <a:pt x="243973" y="134893"/>
                                        <a:pt x="256759" y="136832"/>
                                        <a:pt x="266825" y="143617"/>
                                      </a:cubicBezTo>
                                      <a:cubicBezTo>
                                        <a:pt x="270884" y="146224"/>
                                        <a:pt x="278028" y="145889"/>
                                        <a:pt x="281356" y="148196"/>
                                      </a:cubicBezTo>
                                      <a:cubicBezTo>
                                        <a:pt x="284684" y="150502"/>
                                        <a:pt x="287363" y="157287"/>
                                        <a:pt x="289474" y="160195"/>
                                      </a:cubicBezTo>
                                      <a:cubicBezTo>
                                        <a:pt x="296334" y="169520"/>
                                        <a:pt x="283304" y="173999"/>
                                        <a:pt x="283102" y="182421"/>
                                      </a:cubicBezTo>
                                      <a:cubicBezTo>
                                        <a:pt x="282858" y="193752"/>
                                        <a:pt x="295684" y="186532"/>
                                        <a:pt x="300636" y="181118"/>
                                      </a:cubicBezTo>
                                      <a:cubicBezTo>
                                        <a:pt x="302950" y="178611"/>
                                        <a:pt x="303559" y="174433"/>
                                        <a:pt x="306969" y="172394"/>
                                      </a:cubicBezTo>
                                      <a:cubicBezTo>
                                        <a:pt x="311595" y="169553"/>
                                        <a:pt x="318537" y="168617"/>
                                        <a:pt x="323204" y="165710"/>
                                      </a:cubicBezTo>
                                      <a:cubicBezTo>
                                        <a:pt x="331038" y="160429"/>
                                        <a:pt x="305548" y="155683"/>
                                        <a:pt x="309119" y="148764"/>
                                      </a:cubicBezTo>
                                      <a:cubicBezTo>
                                        <a:pt x="314315" y="138737"/>
                                        <a:pt x="337045" y="144285"/>
                                        <a:pt x="347152" y="148129"/>
                                      </a:cubicBezTo>
                                      <a:cubicBezTo>
                                        <a:pt x="357259" y="151973"/>
                                        <a:pt x="371141" y="151104"/>
                                        <a:pt x="361724" y="143115"/>
                                      </a:cubicBezTo>
                                      <a:cubicBezTo>
                                        <a:pt x="348979" y="132320"/>
                                        <a:pt x="320404" y="128041"/>
                                        <a:pt x="301367" y="121423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grpFill/>
                                <a:ln w="3021" cap="flat">
                                  <a:solidFill>
                                    <a:schemeClr val="accent5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GB"/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</p:grpSp>
              </p:grpSp>
              <p:sp>
                <p:nvSpPr>
                  <p:cNvPr id="562" name="Freeform: Shape 561">
                    <a:extLst>
                      <a:ext uri="{FF2B5EF4-FFF2-40B4-BE49-F238E27FC236}">
                        <a16:creationId xmlns:a16="http://schemas.microsoft.com/office/drawing/2014/main" id="{F6DDE0D7-6DD7-4A6B-8043-1F7774D8D62D}"/>
                      </a:ext>
                    </a:extLst>
                  </p:cNvPr>
                  <p:cNvSpPr/>
                  <p:nvPr/>
                </p:nvSpPr>
                <p:spPr>
                  <a:xfrm>
                    <a:off x="6354103" y="4519205"/>
                    <a:ext cx="120366" cy="61791"/>
                  </a:xfrm>
                  <a:custGeom>
                    <a:avLst/>
                    <a:gdLst>
                      <a:gd name="connsiteX0" fmla="*/ 114024 w 123537"/>
                      <a:gd name="connsiteY0" fmla="*/ 58348 h 84606"/>
                      <a:gd name="connsiteX1" fmla="*/ 110857 w 123537"/>
                      <a:gd name="connsiteY1" fmla="*/ 48789 h 84606"/>
                      <a:gd name="connsiteX2" fmla="*/ 115931 w 123537"/>
                      <a:gd name="connsiteY2" fmla="*/ 37592 h 84606"/>
                      <a:gd name="connsiteX3" fmla="*/ 82972 w 123537"/>
                      <a:gd name="connsiteY3" fmla="*/ 30907 h 84606"/>
                      <a:gd name="connsiteX4" fmla="*/ 76681 w 123537"/>
                      <a:gd name="connsiteY4" fmla="*/ 19810 h 84606"/>
                      <a:gd name="connsiteX5" fmla="*/ 56102 w 123537"/>
                      <a:gd name="connsiteY5" fmla="*/ 2463 h 84606"/>
                      <a:gd name="connsiteX6" fmla="*/ 21398 w 123537"/>
                      <a:gd name="connsiteY6" fmla="*/ 358 h 84606"/>
                      <a:gd name="connsiteX7" fmla="*/ 372 w 123537"/>
                      <a:gd name="connsiteY7" fmla="*/ 7845 h 84606"/>
                      <a:gd name="connsiteX8" fmla="*/ 14538 w 123537"/>
                      <a:gd name="connsiteY8" fmla="*/ 19209 h 84606"/>
                      <a:gd name="connsiteX9" fmla="*/ 18191 w 123537"/>
                      <a:gd name="connsiteY9" fmla="*/ 43040 h 84606"/>
                      <a:gd name="connsiteX10" fmla="*/ 1103 w 123537"/>
                      <a:gd name="connsiteY10" fmla="*/ 58715 h 84606"/>
                      <a:gd name="connsiteX11" fmla="*/ 33899 w 123537"/>
                      <a:gd name="connsiteY11" fmla="*/ 76229 h 84606"/>
                      <a:gd name="connsiteX12" fmla="*/ 60323 w 123537"/>
                      <a:gd name="connsiteY12" fmla="*/ 84218 h 84606"/>
                      <a:gd name="connsiteX13" fmla="*/ 112116 w 123537"/>
                      <a:gd name="connsiteY13" fmla="*/ 78369 h 84606"/>
                      <a:gd name="connsiteX14" fmla="*/ 114024 w 123537"/>
                      <a:gd name="connsiteY14" fmla="*/ 58314 h 84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23537" h="84606">
                        <a:moveTo>
                          <a:pt x="114024" y="58348"/>
                        </a:moveTo>
                        <a:cubicBezTo>
                          <a:pt x="109315" y="55841"/>
                          <a:pt x="107773" y="51663"/>
                          <a:pt x="110857" y="48789"/>
                        </a:cubicBezTo>
                        <a:cubicBezTo>
                          <a:pt x="116499" y="43207"/>
                          <a:pt x="115525" y="44176"/>
                          <a:pt x="115931" y="37592"/>
                        </a:cubicBezTo>
                        <a:cubicBezTo>
                          <a:pt x="116175" y="33247"/>
                          <a:pt x="88411" y="31609"/>
                          <a:pt x="82972" y="30907"/>
                        </a:cubicBezTo>
                        <a:cubicBezTo>
                          <a:pt x="73109" y="29704"/>
                          <a:pt x="85733" y="20111"/>
                          <a:pt x="76681" y="19810"/>
                        </a:cubicBezTo>
                        <a:cubicBezTo>
                          <a:pt x="70593" y="19576"/>
                          <a:pt x="53139" y="4034"/>
                          <a:pt x="56102" y="2463"/>
                        </a:cubicBezTo>
                        <a:cubicBezTo>
                          <a:pt x="42099" y="893"/>
                          <a:pt x="35117" y="-1547"/>
                          <a:pt x="21398" y="358"/>
                        </a:cubicBezTo>
                        <a:cubicBezTo>
                          <a:pt x="10642" y="1828"/>
                          <a:pt x="-2631" y="759"/>
                          <a:pt x="372" y="7845"/>
                        </a:cubicBezTo>
                        <a:cubicBezTo>
                          <a:pt x="2686" y="13193"/>
                          <a:pt x="12914" y="14162"/>
                          <a:pt x="14538" y="19209"/>
                        </a:cubicBezTo>
                        <a:cubicBezTo>
                          <a:pt x="17704" y="26866"/>
                          <a:pt x="18962" y="34975"/>
                          <a:pt x="18191" y="43040"/>
                        </a:cubicBezTo>
                        <a:cubicBezTo>
                          <a:pt x="16730" y="52231"/>
                          <a:pt x="10966" y="52064"/>
                          <a:pt x="1103" y="58715"/>
                        </a:cubicBezTo>
                        <a:cubicBezTo>
                          <a:pt x="12712" y="65400"/>
                          <a:pt x="19977" y="72085"/>
                          <a:pt x="33899" y="76229"/>
                        </a:cubicBezTo>
                        <a:cubicBezTo>
                          <a:pt x="42017" y="78703"/>
                          <a:pt x="51028" y="84886"/>
                          <a:pt x="60323" y="84218"/>
                        </a:cubicBezTo>
                        <a:cubicBezTo>
                          <a:pt x="71486" y="83349"/>
                          <a:pt x="110817" y="83716"/>
                          <a:pt x="112116" y="78369"/>
                        </a:cubicBezTo>
                        <a:cubicBezTo>
                          <a:pt x="114673" y="67873"/>
                          <a:pt x="135130" y="69478"/>
                          <a:pt x="114024" y="58314"/>
                        </a:cubicBezTo>
                        <a:close/>
                      </a:path>
                    </a:pathLst>
                  </a:custGeom>
                  <a:grpFill/>
                  <a:ln w="3021" cap="flat">
                    <a:solidFill>
                      <a:schemeClr val="accent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</p:grp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7F66F5D9-25FE-4D93-9261-F133DE14283C}"/>
                </a:ext>
              </a:extLst>
            </p:cNvPr>
            <p:cNvSpPr/>
            <p:nvPr/>
          </p:nvSpPr>
          <p:spPr>
            <a:xfrm>
              <a:off x="6464760" y="4429389"/>
              <a:ext cx="566668" cy="133653"/>
            </a:xfrm>
            <a:custGeom>
              <a:avLst/>
              <a:gdLst>
                <a:gd name="connsiteX0" fmla="*/ 514155 w 581597"/>
                <a:gd name="connsiteY0" fmla="*/ 129954 h 183001"/>
                <a:gd name="connsiteX1" fmla="*/ 549752 w 581597"/>
                <a:gd name="connsiteY1" fmla="*/ 124706 h 183001"/>
                <a:gd name="connsiteX2" fmla="*/ 567246 w 581597"/>
                <a:gd name="connsiteY2" fmla="*/ 126310 h 183001"/>
                <a:gd name="connsiteX3" fmla="*/ 571995 w 581597"/>
                <a:gd name="connsiteY3" fmla="*/ 114378 h 183001"/>
                <a:gd name="connsiteX4" fmla="*/ 577475 w 581597"/>
                <a:gd name="connsiteY4" fmla="*/ 108061 h 183001"/>
                <a:gd name="connsiteX5" fmla="*/ 576054 w 581597"/>
                <a:gd name="connsiteY5" fmla="*/ 99405 h 183001"/>
                <a:gd name="connsiteX6" fmla="*/ 532664 w 581597"/>
                <a:gd name="connsiteY6" fmla="*/ 78949 h 183001"/>
                <a:gd name="connsiteX7" fmla="*/ 498812 w 581597"/>
                <a:gd name="connsiteY7" fmla="*/ 65346 h 183001"/>
                <a:gd name="connsiteX8" fmla="*/ 471942 w 581597"/>
                <a:gd name="connsiteY8" fmla="*/ 65346 h 183001"/>
                <a:gd name="connsiteX9" fmla="*/ 458384 w 581597"/>
                <a:gd name="connsiteY9" fmla="*/ 61034 h 183001"/>
                <a:gd name="connsiteX10" fmla="*/ 442148 w 581597"/>
                <a:gd name="connsiteY10" fmla="*/ 58394 h 183001"/>
                <a:gd name="connsiteX11" fmla="*/ 413735 w 581597"/>
                <a:gd name="connsiteY11" fmla="*/ 38340 h 183001"/>
                <a:gd name="connsiteX12" fmla="*/ 392792 w 581597"/>
                <a:gd name="connsiteY12" fmla="*/ 14609 h 183001"/>
                <a:gd name="connsiteX13" fmla="*/ 352526 w 581597"/>
                <a:gd name="connsiteY13" fmla="*/ 7089 h 183001"/>
                <a:gd name="connsiteX14" fmla="*/ 331785 w 581597"/>
                <a:gd name="connsiteY14" fmla="*/ 9328 h 183001"/>
                <a:gd name="connsiteX15" fmla="*/ 320420 w 581597"/>
                <a:gd name="connsiteY15" fmla="*/ 8927 h 183001"/>
                <a:gd name="connsiteX16" fmla="*/ 302966 w 581597"/>
                <a:gd name="connsiteY16" fmla="*/ 7891 h 183001"/>
                <a:gd name="connsiteX17" fmla="*/ 274554 w 581597"/>
                <a:gd name="connsiteY17" fmla="*/ 17483 h 183001"/>
                <a:gd name="connsiteX18" fmla="*/ 238023 w 581597"/>
                <a:gd name="connsiteY18" fmla="*/ 19689 h 183001"/>
                <a:gd name="connsiteX19" fmla="*/ 222030 w 581597"/>
                <a:gd name="connsiteY19" fmla="*/ 14709 h 183001"/>
                <a:gd name="connsiteX20" fmla="*/ 197270 w 581597"/>
                <a:gd name="connsiteY20" fmla="*/ 12035 h 183001"/>
                <a:gd name="connsiteX21" fmla="*/ 180060 w 581597"/>
                <a:gd name="connsiteY21" fmla="*/ 11601 h 183001"/>
                <a:gd name="connsiteX22" fmla="*/ 147589 w 581597"/>
                <a:gd name="connsiteY22" fmla="*/ 7256 h 183001"/>
                <a:gd name="connsiteX23" fmla="*/ 96851 w 581597"/>
                <a:gd name="connsiteY23" fmla="*/ -231 h 183001"/>
                <a:gd name="connsiteX24" fmla="*/ 46845 w 581597"/>
                <a:gd name="connsiteY24" fmla="*/ 6086 h 183001"/>
                <a:gd name="connsiteX25" fmla="*/ 59022 w 581597"/>
                <a:gd name="connsiteY25" fmla="*/ 21795 h 183001"/>
                <a:gd name="connsiteX26" fmla="*/ 44003 w 581597"/>
                <a:gd name="connsiteY26" fmla="*/ 35666 h 183001"/>
                <a:gd name="connsiteX27" fmla="*/ 18432 w 581597"/>
                <a:gd name="connsiteY27" fmla="*/ 47197 h 183001"/>
                <a:gd name="connsiteX28" fmla="*/ 14698 w 581597"/>
                <a:gd name="connsiteY28" fmla="*/ 61302 h 183001"/>
                <a:gd name="connsiteX29" fmla="*/ 1587 w 581597"/>
                <a:gd name="connsiteY29" fmla="*/ 76543 h 183001"/>
                <a:gd name="connsiteX30" fmla="*/ 40391 w 581597"/>
                <a:gd name="connsiteY30" fmla="*/ 85367 h 183001"/>
                <a:gd name="connsiteX31" fmla="*/ 83010 w 581597"/>
                <a:gd name="connsiteY31" fmla="*/ 92553 h 183001"/>
                <a:gd name="connsiteX32" fmla="*/ 127903 w 581597"/>
                <a:gd name="connsiteY32" fmla="*/ 89210 h 183001"/>
                <a:gd name="connsiteX33" fmla="*/ 157695 w 581597"/>
                <a:gd name="connsiteY33" fmla="*/ 83060 h 183001"/>
                <a:gd name="connsiteX34" fmla="*/ 193942 w 581597"/>
                <a:gd name="connsiteY34" fmla="*/ 90079 h 183001"/>
                <a:gd name="connsiteX35" fmla="*/ 220772 w 581597"/>
                <a:gd name="connsiteY35" fmla="*/ 101644 h 183001"/>
                <a:gd name="connsiteX36" fmla="*/ 244476 w 581597"/>
                <a:gd name="connsiteY36" fmla="*/ 126076 h 183001"/>
                <a:gd name="connsiteX37" fmla="*/ 224182 w 581597"/>
                <a:gd name="connsiteY37" fmla="*/ 128149 h 183001"/>
                <a:gd name="connsiteX38" fmla="*/ 207377 w 581597"/>
                <a:gd name="connsiteY38" fmla="*/ 138777 h 183001"/>
                <a:gd name="connsiteX39" fmla="*/ 195850 w 581597"/>
                <a:gd name="connsiteY39" fmla="*/ 152882 h 183001"/>
                <a:gd name="connsiteX40" fmla="*/ 232096 w 581597"/>
                <a:gd name="connsiteY40" fmla="*/ 156225 h 183001"/>
                <a:gd name="connsiteX41" fmla="*/ 254218 w 581597"/>
                <a:gd name="connsiteY41" fmla="*/ 142187 h 183001"/>
                <a:gd name="connsiteX42" fmla="*/ 285066 w 581597"/>
                <a:gd name="connsiteY42" fmla="*/ 128817 h 183001"/>
                <a:gd name="connsiteX43" fmla="*/ 319892 w 581597"/>
                <a:gd name="connsiteY43" fmla="*/ 132694 h 183001"/>
                <a:gd name="connsiteX44" fmla="*/ 325453 w 581597"/>
                <a:gd name="connsiteY44" fmla="*/ 142220 h 183001"/>
                <a:gd name="connsiteX45" fmla="*/ 352486 w 581597"/>
                <a:gd name="connsiteY45" fmla="*/ 153183 h 183001"/>
                <a:gd name="connsiteX46" fmla="*/ 324397 w 581597"/>
                <a:gd name="connsiteY46" fmla="*/ 157595 h 183001"/>
                <a:gd name="connsiteX47" fmla="*/ 355976 w 581597"/>
                <a:gd name="connsiteY47" fmla="*/ 167823 h 183001"/>
                <a:gd name="connsiteX48" fmla="*/ 366611 w 581597"/>
                <a:gd name="connsiteY48" fmla="*/ 182562 h 183001"/>
                <a:gd name="connsiteX49" fmla="*/ 419865 w 581597"/>
                <a:gd name="connsiteY49" fmla="*/ 174407 h 183001"/>
                <a:gd name="connsiteX50" fmla="*/ 457573 w 581597"/>
                <a:gd name="connsiteY50" fmla="*/ 175711 h 183001"/>
                <a:gd name="connsiteX51" fmla="*/ 425750 w 581597"/>
                <a:gd name="connsiteY51" fmla="*/ 168391 h 183001"/>
                <a:gd name="connsiteX52" fmla="*/ 401397 w 581597"/>
                <a:gd name="connsiteY52" fmla="*/ 155322 h 183001"/>
                <a:gd name="connsiteX53" fmla="*/ 419946 w 581597"/>
                <a:gd name="connsiteY53" fmla="*/ 145462 h 183001"/>
                <a:gd name="connsiteX54" fmla="*/ 468654 w 581597"/>
                <a:gd name="connsiteY54" fmla="*/ 141518 h 183001"/>
                <a:gd name="connsiteX55" fmla="*/ 502099 w 581597"/>
                <a:gd name="connsiteY55" fmla="*/ 138176 h 183001"/>
                <a:gd name="connsiteX56" fmla="*/ 514276 w 581597"/>
                <a:gd name="connsiteY56" fmla="*/ 130020 h 18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1597" h="183001">
                  <a:moveTo>
                    <a:pt x="514155" y="129954"/>
                  </a:moveTo>
                  <a:cubicBezTo>
                    <a:pt x="528929" y="130254"/>
                    <a:pt x="532704" y="121899"/>
                    <a:pt x="549752" y="124706"/>
                  </a:cubicBezTo>
                  <a:cubicBezTo>
                    <a:pt x="551051" y="124940"/>
                    <a:pt x="567002" y="128049"/>
                    <a:pt x="567246" y="126310"/>
                  </a:cubicBezTo>
                  <a:cubicBezTo>
                    <a:pt x="567936" y="121698"/>
                    <a:pt x="578571" y="119425"/>
                    <a:pt x="571995" y="114378"/>
                  </a:cubicBezTo>
                  <a:cubicBezTo>
                    <a:pt x="565419" y="109331"/>
                    <a:pt x="569194" y="109331"/>
                    <a:pt x="577475" y="108061"/>
                  </a:cubicBezTo>
                  <a:cubicBezTo>
                    <a:pt x="587297" y="106557"/>
                    <a:pt x="568180" y="102279"/>
                    <a:pt x="576054" y="99405"/>
                  </a:cubicBezTo>
                  <a:cubicBezTo>
                    <a:pt x="598419" y="91249"/>
                    <a:pt x="546018" y="81389"/>
                    <a:pt x="532664" y="78949"/>
                  </a:cubicBezTo>
                  <a:cubicBezTo>
                    <a:pt x="515332" y="75607"/>
                    <a:pt x="507701" y="75440"/>
                    <a:pt x="498812" y="65346"/>
                  </a:cubicBezTo>
                  <a:cubicBezTo>
                    <a:pt x="494266" y="60199"/>
                    <a:pt x="477624" y="65613"/>
                    <a:pt x="471942" y="65346"/>
                  </a:cubicBezTo>
                  <a:cubicBezTo>
                    <a:pt x="467030" y="64928"/>
                    <a:pt x="462362" y="63441"/>
                    <a:pt x="458384" y="61034"/>
                  </a:cubicBezTo>
                  <a:cubicBezTo>
                    <a:pt x="451768" y="57692"/>
                    <a:pt x="449698" y="59330"/>
                    <a:pt x="442148" y="58394"/>
                  </a:cubicBezTo>
                  <a:cubicBezTo>
                    <a:pt x="429971" y="56856"/>
                    <a:pt x="436466" y="40479"/>
                    <a:pt x="413735" y="38340"/>
                  </a:cubicBezTo>
                  <a:cubicBezTo>
                    <a:pt x="387352" y="35933"/>
                    <a:pt x="397865" y="23600"/>
                    <a:pt x="392792" y="14609"/>
                  </a:cubicBezTo>
                  <a:cubicBezTo>
                    <a:pt x="387718" y="5618"/>
                    <a:pt x="365880" y="8860"/>
                    <a:pt x="352526" y="7089"/>
                  </a:cubicBezTo>
                  <a:cubicBezTo>
                    <a:pt x="342460" y="5785"/>
                    <a:pt x="340349" y="7790"/>
                    <a:pt x="331785" y="9328"/>
                  </a:cubicBezTo>
                  <a:cubicBezTo>
                    <a:pt x="328010" y="9896"/>
                    <a:pt x="324113" y="9759"/>
                    <a:pt x="320420" y="8927"/>
                  </a:cubicBezTo>
                  <a:cubicBezTo>
                    <a:pt x="313316" y="7022"/>
                    <a:pt x="311653" y="7857"/>
                    <a:pt x="302966" y="7891"/>
                  </a:cubicBezTo>
                  <a:cubicBezTo>
                    <a:pt x="294280" y="7924"/>
                    <a:pt x="275162" y="11835"/>
                    <a:pt x="274554" y="17483"/>
                  </a:cubicBezTo>
                  <a:cubicBezTo>
                    <a:pt x="273458" y="28747"/>
                    <a:pt x="253122" y="16046"/>
                    <a:pt x="238023" y="19689"/>
                  </a:cubicBezTo>
                  <a:cubicBezTo>
                    <a:pt x="233720" y="20725"/>
                    <a:pt x="226211" y="15344"/>
                    <a:pt x="222030" y="14709"/>
                  </a:cubicBezTo>
                  <a:cubicBezTo>
                    <a:pt x="215171" y="13673"/>
                    <a:pt x="204617" y="12804"/>
                    <a:pt x="197270" y="12035"/>
                  </a:cubicBezTo>
                  <a:cubicBezTo>
                    <a:pt x="191588" y="11434"/>
                    <a:pt x="188503" y="13606"/>
                    <a:pt x="180060" y="11601"/>
                  </a:cubicBezTo>
                  <a:cubicBezTo>
                    <a:pt x="169020" y="8994"/>
                    <a:pt x="158183" y="9495"/>
                    <a:pt x="147589" y="7256"/>
                  </a:cubicBezTo>
                  <a:cubicBezTo>
                    <a:pt x="131028" y="3395"/>
                    <a:pt x="114021" y="885"/>
                    <a:pt x="96851" y="-231"/>
                  </a:cubicBezTo>
                  <a:cubicBezTo>
                    <a:pt x="75379" y="-1401"/>
                    <a:pt x="66612" y="7389"/>
                    <a:pt x="46845" y="6086"/>
                  </a:cubicBezTo>
                  <a:cubicBezTo>
                    <a:pt x="47738" y="12035"/>
                    <a:pt x="54963" y="16347"/>
                    <a:pt x="59022" y="21795"/>
                  </a:cubicBezTo>
                  <a:cubicBezTo>
                    <a:pt x="66044" y="30585"/>
                    <a:pt x="54557" y="30786"/>
                    <a:pt x="44003" y="35666"/>
                  </a:cubicBezTo>
                  <a:cubicBezTo>
                    <a:pt x="35602" y="39576"/>
                    <a:pt x="26550" y="43119"/>
                    <a:pt x="18432" y="47197"/>
                  </a:cubicBezTo>
                  <a:cubicBezTo>
                    <a:pt x="11167" y="50873"/>
                    <a:pt x="21476" y="58828"/>
                    <a:pt x="14698" y="61302"/>
                  </a:cubicBezTo>
                  <a:cubicBezTo>
                    <a:pt x="7229" y="64042"/>
                    <a:pt x="-4380" y="71329"/>
                    <a:pt x="1587" y="76543"/>
                  </a:cubicBezTo>
                  <a:cubicBezTo>
                    <a:pt x="11532" y="85032"/>
                    <a:pt x="25292" y="83227"/>
                    <a:pt x="40391" y="85367"/>
                  </a:cubicBezTo>
                  <a:cubicBezTo>
                    <a:pt x="51431" y="87038"/>
                    <a:pt x="75095" y="87840"/>
                    <a:pt x="83010" y="92553"/>
                  </a:cubicBezTo>
                  <a:cubicBezTo>
                    <a:pt x="86054" y="94291"/>
                    <a:pt x="123113" y="90514"/>
                    <a:pt x="127903" y="89210"/>
                  </a:cubicBezTo>
                  <a:cubicBezTo>
                    <a:pt x="137441" y="86025"/>
                    <a:pt x="147467" y="83953"/>
                    <a:pt x="157695" y="83060"/>
                  </a:cubicBezTo>
                  <a:cubicBezTo>
                    <a:pt x="176164" y="81456"/>
                    <a:pt x="178883" y="84431"/>
                    <a:pt x="193942" y="90079"/>
                  </a:cubicBezTo>
                  <a:cubicBezTo>
                    <a:pt x="204617" y="94090"/>
                    <a:pt x="216672" y="93188"/>
                    <a:pt x="220772" y="101644"/>
                  </a:cubicBezTo>
                  <a:cubicBezTo>
                    <a:pt x="225156" y="110768"/>
                    <a:pt x="240214" y="117286"/>
                    <a:pt x="244476" y="126076"/>
                  </a:cubicBezTo>
                  <a:cubicBezTo>
                    <a:pt x="249266" y="136104"/>
                    <a:pt x="235790" y="130422"/>
                    <a:pt x="224182" y="128149"/>
                  </a:cubicBezTo>
                  <a:cubicBezTo>
                    <a:pt x="210462" y="125441"/>
                    <a:pt x="212329" y="135067"/>
                    <a:pt x="207377" y="138777"/>
                  </a:cubicBezTo>
                  <a:cubicBezTo>
                    <a:pt x="202425" y="142488"/>
                    <a:pt x="182618" y="149807"/>
                    <a:pt x="195850" y="152882"/>
                  </a:cubicBezTo>
                  <a:cubicBezTo>
                    <a:pt x="212492" y="156826"/>
                    <a:pt x="216145" y="147668"/>
                    <a:pt x="232096" y="156225"/>
                  </a:cubicBezTo>
                  <a:cubicBezTo>
                    <a:pt x="231691" y="147133"/>
                    <a:pt x="243867" y="147501"/>
                    <a:pt x="254218" y="142187"/>
                  </a:cubicBezTo>
                  <a:cubicBezTo>
                    <a:pt x="266111" y="136070"/>
                    <a:pt x="267247" y="130422"/>
                    <a:pt x="285066" y="128817"/>
                  </a:cubicBezTo>
                  <a:cubicBezTo>
                    <a:pt x="289612" y="128383"/>
                    <a:pt x="326752" y="126979"/>
                    <a:pt x="319892" y="132694"/>
                  </a:cubicBezTo>
                  <a:cubicBezTo>
                    <a:pt x="314129" y="137474"/>
                    <a:pt x="310557" y="140215"/>
                    <a:pt x="325453" y="142220"/>
                  </a:cubicBezTo>
                  <a:cubicBezTo>
                    <a:pt x="338766" y="143958"/>
                    <a:pt x="393441" y="147768"/>
                    <a:pt x="352486" y="153183"/>
                  </a:cubicBezTo>
                  <a:cubicBezTo>
                    <a:pt x="349563" y="153551"/>
                    <a:pt x="323830" y="155456"/>
                    <a:pt x="324397" y="157595"/>
                  </a:cubicBezTo>
                  <a:cubicBezTo>
                    <a:pt x="325453" y="161606"/>
                    <a:pt x="350334" y="165349"/>
                    <a:pt x="355976" y="167823"/>
                  </a:cubicBezTo>
                  <a:cubicBezTo>
                    <a:pt x="365962" y="172168"/>
                    <a:pt x="343799" y="183866"/>
                    <a:pt x="366611" y="182562"/>
                  </a:cubicBezTo>
                  <a:cubicBezTo>
                    <a:pt x="384714" y="181493"/>
                    <a:pt x="401762" y="175878"/>
                    <a:pt x="419865" y="174407"/>
                  </a:cubicBezTo>
                  <a:cubicBezTo>
                    <a:pt x="427171" y="173805"/>
                    <a:pt x="453189" y="178618"/>
                    <a:pt x="457573" y="175711"/>
                  </a:cubicBezTo>
                  <a:cubicBezTo>
                    <a:pt x="464595" y="170998"/>
                    <a:pt x="427983" y="168491"/>
                    <a:pt x="425750" y="168391"/>
                  </a:cubicBezTo>
                  <a:cubicBezTo>
                    <a:pt x="411747" y="167789"/>
                    <a:pt x="402573" y="162575"/>
                    <a:pt x="401397" y="155322"/>
                  </a:cubicBezTo>
                  <a:cubicBezTo>
                    <a:pt x="400382" y="149607"/>
                    <a:pt x="411585" y="147468"/>
                    <a:pt x="419946" y="145462"/>
                  </a:cubicBezTo>
                  <a:cubicBezTo>
                    <a:pt x="435776" y="141652"/>
                    <a:pt x="451809" y="143123"/>
                    <a:pt x="468654" y="141518"/>
                  </a:cubicBezTo>
                  <a:cubicBezTo>
                    <a:pt x="479978" y="140449"/>
                    <a:pt x="490450" y="138577"/>
                    <a:pt x="502099" y="138176"/>
                  </a:cubicBezTo>
                  <a:cubicBezTo>
                    <a:pt x="518335" y="137608"/>
                    <a:pt x="506564" y="129887"/>
                    <a:pt x="514276" y="130020"/>
                  </a:cubicBezTo>
                  <a:close/>
                </a:path>
              </a:pathLst>
            </a:custGeom>
            <a:solidFill>
              <a:schemeClr val="accent5"/>
            </a:solidFill>
            <a:ln w="3021" cap="flat">
              <a:solidFill>
                <a:schemeClr val="accent5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89" name="TextBox 188">
            <a:extLst>
              <a:ext uri="{FF2B5EF4-FFF2-40B4-BE49-F238E27FC236}">
                <a16:creationId xmlns:a16="http://schemas.microsoft.com/office/drawing/2014/main" id="{A0948EEE-1939-4609-AD60-CC07C91B2DBB}"/>
              </a:ext>
            </a:extLst>
          </p:cNvPr>
          <p:cNvSpPr txBox="1">
            <a:spLocks noChangeAspect="1"/>
          </p:cNvSpPr>
          <p:nvPr/>
        </p:nvSpPr>
        <p:spPr>
          <a:xfrm>
            <a:off x="464320" y="3057992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4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 fontAlgn="b">
              <a:lnSpc>
                <a:spcPct val="100000"/>
              </a:lnSpc>
              <a:spcAft>
                <a:spcPts val="600"/>
              </a:spcAft>
              <a:defRPr/>
            </a:pPr>
            <a:r>
              <a:rPr lang="en-GB" sz="1600" dirty="0">
                <a:solidFill>
                  <a:schemeClr val="accent4"/>
                </a:solidFill>
              </a:rPr>
              <a:t>3000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lang="en-GB" sz="1000" b="0" dirty="0"/>
              <a:t>Clients</a:t>
            </a:r>
            <a:endParaRPr lang="en-GB" sz="1000" b="0" i="0" u="none" strike="noStrike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82EF5BD9-B184-4EAD-B482-3C9C65D7BED8}"/>
              </a:ext>
            </a:extLst>
          </p:cNvPr>
          <p:cNvSpPr txBox="1">
            <a:spLocks noChangeAspect="1"/>
          </p:cNvSpPr>
          <p:nvPr/>
        </p:nvSpPr>
        <p:spPr>
          <a:xfrm>
            <a:off x="1246288" y="3057992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4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600" dirty="0">
                <a:solidFill>
                  <a:schemeClr val="accent4"/>
                </a:solidFill>
              </a:rPr>
              <a:t>620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lang="en-GB" sz="1000" b="0" dirty="0"/>
              <a:t>Experts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3780D2D6-76E1-4377-902A-BAF0D6AAE53B}"/>
              </a:ext>
            </a:extLst>
          </p:cNvPr>
          <p:cNvSpPr txBox="1"/>
          <p:nvPr/>
        </p:nvSpPr>
        <p:spPr>
          <a:xfrm>
            <a:off x="448547" y="2750810"/>
            <a:ext cx="1089457" cy="313350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0" tIns="0" rIns="0" bIns="36000">
            <a:spAutoFit/>
          </a:bodyPr>
          <a:lstStyle/>
          <a:p>
            <a:pPr fontAlgn="b">
              <a:spcAft>
                <a:spcPts val="600"/>
              </a:spcAft>
            </a:pPr>
            <a:r>
              <a:rPr lang="en-GB" sz="1800" b="1" u="none" strike="noStrike" dirty="0">
                <a:solidFill>
                  <a:schemeClr val="accent4"/>
                </a:solidFill>
                <a:effectLst/>
                <a:latin typeface="+mn-lt"/>
              </a:rPr>
              <a:t>Americas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C5C73940-70AF-4CE9-93A7-6A151376F8A2}"/>
              </a:ext>
            </a:extLst>
          </p:cNvPr>
          <p:cNvSpPr txBox="1">
            <a:spLocks noChangeAspect="1"/>
          </p:cNvSpPr>
          <p:nvPr/>
        </p:nvSpPr>
        <p:spPr>
          <a:xfrm>
            <a:off x="9835699" y="3057992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2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 fontAlgn="b">
              <a:lnSpc>
                <a:spcPct val="100000"/>
              </a:lnSpc>
              <a:spcAft>
                <a:spcPts val="600"/>
              </a:spcAft>
              <a:defRPr/>
            </a:pPr>
            <a:r>
              <a:rPr lang="en-GB" sz="1600" dirty="0">
                <a:solidFill>
                  <a:schemeClr val="accent2"/>
                </a:solidFill>
              </a:rPr>
              <a:t>7000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lang="en-GB" sz="1000" b="0" dirty="0"/>
              <a:t>Clients</a:t>
            </a:r>
            <a:endParaRPr lang="en-GB" sz="1000" b="0" i="0" u="none" strike="noStrike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314831C6-4E60-400D-B65E-160F5CF99DF0}"/>
              </a:ext>
            </a:extLst>
          </p:cNvPr>
          <p:cNvSpPr txBox="1">
            <a:spLocks noChangeAspect="1"/>
          </p:cNvSpPr>
          <p:nvPr/>
        </p:nvSpPr>
        <p:spPr>
          <a:xfrm>
            <a:off x="10617667" y="3057992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2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600" dirty="0">
                <a:solidFill>
                  <a:schemeClr val="accent2"/>
                </a:solidFill>
              </a:rPr>
              <a:t>545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lang="en-GB" sz="1000" b="0" dirty="0"/>
              <a:t>Experts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ED6400E1-062C-4C01-B67F-1B124CDE3D9E}"/>
              </a:ext>
            </a:extLst>
          </p:cNvPr>
          <p:cNvSpPr txBox="1"/>
          <p:nvPr/>
        </p:nvSpPr>
        <p:spPr>
          <a:xfrm>
            <a:off x="9819927" y="2750810"/>
            <a:ext cx="875690" cy="313350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0" tIns="0" rIns="0" bIns="36000">
            <a:spAutoFit/>
          </a:bodyPr>
          <a:lstStyle/>
          <a:p>
            <a:pPr fontAlgn="b">
              <a:spcAft>
                <a:spcPts val="600"/>
              </a:spcAft>
            </a:pPr>
            <a:r>
              <a:rPr lang="en-GB" sz="1800" b="1" u="none" strike="noStrike" dirty="0">
                <a:solidFill>
                  <a:schemeClr val="accent2"/>
                </a:solidFill>
                <a:effectLst/>
                <a:latin typeface="+mn-lt"/>
              </a:rPr>
              <a:t>SAMEA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7E65A9F3-354F-459C-A32B-A5B9C2978123}"/>
              </a:ext>
            </a:extLst>
          </p:cNvPr>
          <p:cNvSpPr txBox="1">
            <a:spLocks noChangeAspect="1"/>
          </p:cNvSpPr>
          <p:nvPr/>
        </p:nvSpPr>
        <p:spPr>
          <a:xfrm>
            <a:off x="440578" y="1852190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bg2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 fontAlgn="b">
              <a:lnSpc>
                <a:spcPct val="100000"/>
              </a:lnSpc>
              <a:spcAft>
                <a:spcPts val="600"/>
              </a:spcAft>
              <a:defRPr/>
            </a:pPr>
            <a:r>
              <a:rPr lang="en-GB" sz="1600" dirty="0">
                <a:solidFill>
                  <a:srgbClr val="0FF2B2"/>
                </a:solidFill>
              </a:rPr>
              <a:t>6000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lang="en-GB" sz="1000" b="0" dirty="0"/>
              <a:t>Clients</a:t>
            </a:r>
            <a:endParaRPr lang="en-GB" sz="1000" b="0" i="0" u="none" strike="noStrike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4E934B46-02DC-4142-9FC1-D7BD7E69F4F5}"/>
              </a:ext>
            </a:extLst>
          </p:cNvPr>
          <p:cNvSpPr txBox="1">
            <a:spLocks noChangeAspect="1"/>
          </p:cNvSpPr>
          <p:nvPr/>
        </p:nvSpPr>
        <p:spPr>
          <a:xfrm>
            <a:off x="1222546" y="1852190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bg2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600" dirty="0">
                <a:solidFill>
                  <a:srgbClr val="0FF2B2"/>
                </a:solidFill>
              </a:rPr>
              <a:t>775 </a:t>
            </a:r>
            <a:r>
              <a:rPr lang="en-GB" sz="1000" b="0" dirty="0"/>
              <a:t>Expert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D33A3DE-969E-4740-921E-0DCBDC91EF60}"/>
              </a:ext>
            </a:extLst>
          </p:cNvPr>
          <p:cNvSpPr txBox="1"/>
          <p:nvPr/>
        </p:nvSpPr>
        <p:spPr>
          <a:xfrm>
            <a:off x="424806" y="1545008"/>
            <a:ext cx="875690" cy="313350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0" tIns="0" rIns="0" bIns="36000">
            <a:spAutoFit/>
          </a:bodyPr>
          <a:lstStyle/>
          <a:p>
            <a:pPr fontAlgn="b">
              <a:spcAft>
                <a:spcPts val="600"/>
              </a:spcAft>
            </a:pPr>
            <a:r>
              <a:rPr lang="en-GB" sz="1800" b="1" u="none" strike="noStrike" dirty="0">
                <a:solidFill>
                  <a:schemeClr val="bg2"/>
                </a:solidFill>
                <a:effectLst/>
                <a:latin typeface="+mn-lt"/>
              </a:rPr>
              <a:t>UK &amp; I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D76DF26D-7222-42A2-86E7-9E9881AB7640}"/>
              </a:ext>
            </a:extLst>
          </p:cNvPr>
          <p:cNvSpPr txBox="1">
            <a:spLocks noChangeAspect="1"/>
          </p:cNvSpPr>
          <p:nvPr/>
        </p:nvSpPr>
        <p:spPr>
          <a:xfrm>
            <a:off x="3567247" y="1844693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3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 fontAlgn="b">
              <a:lnSpc>
                <a:spcPct val="100000"/>
              </a:lnSpc>
              <a:spcAft>
                <a:spcPts val="600"/>
              </a:spcAft>
              <a:defRPr/>
            </a:pPr>
            <a:r>
              <a:rPr lang="en-GB" sz="1600" dirty="0">
                <a:solidFill>
                  <a:schemeClr val="accent3"/>
                </a:solidFill>
              </a:rPr>
              <a:t>29000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lang="en-GB" sz="1000" b="0" dirty="0"/>
              <a:t>Clients</a:t>
            </a:r>
            <a:endParaRPr lang="en-GB" sz="1000" b="0" i="0" u="none" strike="noStrike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F45CA094-4C39-403C-BEF3-EEB7AC2E0BBF}"/>
              </a:ext>
            </a:extLst>
          </p:cNvPr>
          <p:cNvSpPr txBox="1">
            <a:spLocks noChangeAspect="1"/>
          </p:cNvSpPr>
          <p:nvPr/>
        </p:nvSpPr>
        <p:spPr>
          <a:xfrm>
            <a:off x="4349215" y="1844693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3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600" dirty="0">
                <a:solidFill>
                  <a:schemeClr val="accent3"/>
                </a:solidFill>
              </a:rPr>
              <a:t>1200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lang="en-GB" sz="1000" b="0" dirty="0"/>
              <a:t>Experts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E9E1B8DC-E30F-46EA-8CCE-B5A518A07FFC}"/>
              </a:ext>
            </a:extLst>
          </p:cNvPr>
          <p:cNvSpPr txBox="1"/>
          <p:nvPr/>
        </p:nvSpPr>
        <p:spPr>
          <a:xfrm>
            <a:off x="3551475" y="1537511"/>
            <a:ext cx="1057430" cy="313350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0" tIns="0" rIns="0" bIns="36000">
            <a:spAutoFit/>
          </a:bodyPr>
          <a:lstStyle/>
          <a:p>
            <a:pPr fontAlgn="b">
              <a:spcAft>
                <a:spcPts val="600"/>
              </a:spcAft>
            </a:pPr>
            <a:r>
              <a:rPr lang="en-GB" sz="1800" b="1" u="none" strike="noStrike" dirty="0">
                <a:solidFill>
                  <a:schemeClr val="accent3"/>
                </a:solidFill>
                <a:effectLst/>
                <a:latin typeface="+mn-lt"/>
              </a:rPr>
              <a:t>N Europe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DFA14411-0E4A-4466-94FF-66EC90A5DB58}"/>
              </a:ext>
            </a:extLst>
          </p:cNvPr>
          <p:cNvSpPr txBox="1">
            <a:spLocks noChangeAspect="1"/>
          </p:cNvSpPr>
          <p:nvPr/>
        </p:nvSpPr>
        <p:spPr>
          <a:xfrm>
            <a:off x="9829918" y="1842900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6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 fontAlgn="b">
              <a:lnSpc>
                <a:spcPct val="100000"/>
              </a:lnSpc>
              <a:spcAft>
                <a:spcPts val="600"/>
              </a:spcAft>
              <a:defRPr/>
            </a:pPr>
            <a:r>
              <a:rPr lang="en-GB" sz="1600" dirty="0">
                <a:solidFill>
                  <a:schemeClr val="accent6"/>
                </a:solidFill>
              </a:rPr>
              <a:t>6000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lang="en-GB" sz="1000" b="0" dirty="0"/>
              <a:t>Clients</a:t>
            </a:r>
            <a:endParaRPr lang="en-GB" sz="1000" b="0" i="0" u="none" strike="noStrike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83D1CE2A-6ECF-4F03-9071-CE9844C3D0C6}"/>
              </a:ext>
            </a:extLst>
          </p:cNvPr>
          <p:cNvSpPr txBox="1">
            <a:spLocks noChangeAspect="1"/>
          </p:cNvSpPr>
          <p:nvPr/>
        </p:nvSpPr>
        <p:spPr>
          <a:xfrm>
            <a:off x="10611886" y="1842900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6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600" dirty="0">
                <a:solidFill>
                  <a:srgbClr val="FFE900"/>
                </a:solidFill>
              </a:rPr>
              <a:t>570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lang="en-GB" sz="1000" b="0" dirty="0"/>
              <a:t>Experts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E37E19D5-1BEC-4988-BEB1-49FA0D474692}"/>
              </a:ext>
            </a:extLst>
          </p:cNvPr>
          <p:cNvSpPr txBox="1"/>
          <p:nvPr/>
        </p:nvSpPr>
        <p:spPr>
          <a:xfrm>
            <a:off x="9814146" y="1535718"/>
            <a:ext cx="875690" cy="313350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0" tIns="0" rIns="0" bIns="36000">
            <a:spAutoFit/>
          </a:bodyPr>
          <a:lstStyle/>
          <a:p>
            <a:pPr fontAlgn="b">
              <a:spcAft>
                <a:spcPts val="600"/>
              </a:spcAft>
            </a:pPr>
            <a:r>
              <a:rPr lang="en-GB" sz="1800" b="1" u="none" strike="noStrike" dirty="0">
                <a:solidFill>
                  <a:schemeClr val="accent6"/>
                </a:solidFill>
                <a:effectLst/>
                <a:latin typeface="+mn-lt"/>
              </a:rPr>
              <a:t>N Asia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C65B59E2-BB04-46D7-BD17-4DEC92FECF43}"/>
              </a:ext>
            </a:extLst>
          </p:cNvPr>
          <p:cNvSpPr txBox="1">
            <a:spLocks noChangeAspect="1"/>
          </p:cNvSpPr>
          <p:nvPr/>
        </p:nvSpPr>
        <p:spPr>
          <a:xfrm>
            <a:off x="4558232" y="2917113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bg1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+mn-ea"/>
                <a:cs typeface="+mn-cs"/>
              </a:rPr>
              <a:t>148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lang="en-GB" sz="1000" b="0" dirty="0"/>
              <a:t>Countries</a:t>
            </a:r>
            <a:endParaRPr lang="en-GB" sz="1000" b="0" i="0" u="none" strike="noStrike" dirty="0">
              <a:effectLst/>
              <a:latin typeface="+mn-lt"/>
            </a:endParaRP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1B6C5CB8-C87A-4842-B02B-0BB9950239FC}"/>
              </a:ext>
            </a:extLst>
          </p:cNvPr>
          <p:cNvSpPr txBox="1">
            <a:spLocks noChangeAspect="1"/>
          </p:cNvSpPr>
          <p:nvPr/>
        </p:nvSpPr>
        <p:spPr>
          <a:xfrm>
            <a:off x="5344897" y="2917113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bg1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+mn-ea"/>
                <a:cs typeface="+mn-cs"/>
              </a:rPr>
              <a:t>61000 </a:t>
            </a:r>
            <a:r>
              <a:rPr lang="en-GB" sz="1000" b="0" dirty="0"/>
              <a:t>Clients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0FBC2E24-D512-4B1E-81F7-47505EAE4FA2}"/>
              </a:ext>
            </a:extLst>
          </p:cNvPr>
          <p:cNvSpPr txBox="1">
            <a:spLocks noChangeAspect="1"/>
          </p:cNvSpPr>
          <p:nvPr/>
        </p:nvSpPr>
        <p:spPr>
          <a:xfrm>
            <a:off x="6125860" y="2917113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6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6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bg1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+mn-ea"/>
                <a:cs typeface="+mn-cs"/>
              </a:rPr>
              <a:t>4925 </a:t>
            </a:r>
            <a:r>
              <a:rPr lang="en-GB" sz="1000" b="0" dirty="0">
                <a:latin typeface="+mn-lt"/>
              </a:rPr>
              <a:t>Experts</a:t>
            </a:r>
            <a:endParaRPr lang="en-GB" sz="1000" b="0" dirty="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F1AD328E-B919-448E-8EFC-BC4B7FDF64FC}"/>
              </a:ext>
            </a:extLst>
          </p:cNvPr>
          <p:cNvSpPr txBox="1"/>
          <p:nvPr/>
        </p:nvSpPr>
        <p:spPr>
          <a:xfrm>
            <a:off x="4558232" y="2604551"/>
            <a:ext cx="2301894" cy="313350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0" tIns="0" rIns="0" bIns="36000">
            <a:spAutoFit/>
          </a:bodyPr>
          <a:lstStyle/>
          <a:p>
            <a:pPr fontAlgn="b">
              <a:spcAft>
                <a:spcPts val="600"/>
              </a:spcAft>
            </a:pPr>
            <a:r>
              <a:rPr lang="en-GB" sz="1800" b="1" u="none" strike="noStrike" dirty="0">
                <a:solidFill>
                  <a:schemeClr val="bg1"/>
                </a:solidFill>
                <a:effectLst/>
                <a:latin typeface="+mn-lt"/>
              </a:rPr>
              <a:t>TOTAL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305468DA-09EC-4572-B746-908970C7506D}"/>
              </a:ext>
            </a:extLst>
          </p:cNvPr>
          <p:cNvSpPr txBox="1">
            <a:spLocks noChangeAspect="1"/>
          </p:cNvSpPr>
          <p:nvPr/>
        </p:nvSpPr>
        <p:spPr>
          <a:xfrm>
            <a:off x="6690821" y="1856733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5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 fontAlgn="b">
              <a:lnSpc>
                <a:spcPct val="100000"/>
              </a:lnSpc>
              <a:spcAft>
                <a:spcPts val="600"/>
              </a:spcAft>
              <a:defRPr/>
            </a:pPr>
            <a:r>
              <a:rPr lang="en-GB" sz="1600" dirty="0">
                <a:solidFill>
                  <a:schemeClr val="accent5"/>
                </a:solidFill>
              </a:rPr>
              <a:t>10000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</a:br>
            <a:r>
              <a:rPr lang="en-GB" sz="1000" b="0" dirty="0"/>
              <a:t>Clients</a:t>
            </a:r>
            <a:endParaRPr lang="en-GB" sz="1000" b="0" i="0" u="none" strike="noStrike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480C2A39-2D52-4107-97C8-63531409382F}"/>
              </a:ext>
            </a:extLst>
          </p:cNvPr>
          <p:cNvSpPr txBox="1">
            <a:spLocks noChangeAspect="1"/>
          </p:cNvSpPr>
          <p:nvPr/>
        </p:nvSpPr>
        <p:spPr>
          <a:xfrm>
            <a:off x="7472789" y="1856733"/>
            <a:ext cx="739689" cy="510607"/>
          </a:xfrm>
          <a:custGeom>
            <a:avLst/>
            <a:gdLst>
              <a:gd name="connsiteX0" fmla="*/ 0 w 739689"/>
              <a:gd name="connsiteY0" fmla="*/ 0 h 510607"/>
              <a:gd name="connsiteX1" fmla="*/ 739689 w 739689"/>
              <a:gd name="connsiteY1" fmla="*/ 0 h 510607"/>
              <a:gd name="connsiteX2" fmla="*/ 739689 w 739689"/>
              <a:gd name="connsiteY2" fmla="*/ 305196 h 510607"/>
              <a:gd name="connsiteX3" fmla="*/ 660927 w 739689"/>
              <a:gd name="connsiteY3" fmla="*/ 510607 h 510607"/>
              <a:gd name="connsiteX4" fmla="*/ 0 w 739689"/>
              <a:gd name="connsiteY4" fmla="*/ 510607 h 510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689" h="510607">
                <a:moveTo>
                  <a:pt x="0" y="0"/>
                </a:moveTo>
                <a:lnTo>
                  <a:pt x="739689" y="0"/>
                </a:lnTo>
                <a:lnTo>
                  <a:pt x="739689" y="305196"/>
                </a:lnTo>
                <a:lnTo>
                  <a:pt x="660927" y="510607"/>
                </a:lnTo>
                <a:lnTo>
                  <a:pt x="0" y="510607"/>
                </a:lnTo>
                <a:close/>
              </a:path>
            </a:pathLst>
          </a:custGeom>
          <a:solidFill>
            <a:schemeClr val="tx2">
              <a:alpha val="58000"/>
            </a:schemeClr>
          </a:solidFill>
          <a:ln w="6350">
            <a:solidFill>
              <a:schemeClr val="accent5"/>
            </a:solidFill>
            <a:miter lim="800000"/>
          </a:ln>
        </p:spPr>
        <p:txBody>
          <a:bodyPr wrap="square" lIns="36000" tIns="36000" rIns="36000" bIns="36000" rtlCol="0" anchor="b" anchorCtr="0">
            <a:no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600" dirty="0">
                <a:solidFill>
                  <a:schemeClr val="accent5"/>
                </a:solidFill>
              </a:rPr>
              <a:t>1220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FF2B2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  <a:r>
              <a:rPr lang="en-GB" sz="1000" b="0" dirty="0"/>
              <a:t>Experts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2E62E580-6F36-40E1-AB09-6D92268BCBBC}"/>
              </a:ext>
            </a:extLst>
          </p:cNvPr>
          <p:cNvSpPr txBox="1"/>
          <p:nvPr/>
        </p:nvSpPr>
        <p:spPr>
          <a:xfrm>
            <a:off x="6690821" y="1537511"/>
            <a:ext cx="941256" cy="313350"/>
          </a:xfrm>
          <a:prstGeom prst="rect">
            <a:avLst/>
          </a:prstGeom>
          <a:noFill/>
          <a:ln w="25400">
            <a:noFill/>
            <a:miter lim="800000"/>
          </a:ln>
        </p:spPr>
        <p:txBody>
          <a:bodyPr wrap="square" lIns="0" tIns="0" rIns="0" bIns="36000">
            <a:spAutoFit/>
          </a:bodyPr>
          <a:lstStyle/>
          <a:p>
            <a:pPr fontAlgn="b">
              <a:spcAft>
                <a:spcPts val="600"/>
              </a:spcAft>
            </a:pPr>
            <a:r>
              <a:rPr lang="en-GB" sz="1800" b="1" u="none" strike="noStrike" dirty="0">
                <a:solidFill>
                  <a:schemeClr val="accent5"/>
                </a:solidFill>
                <a:effectLst/>
                <a:latin typeface="+mn-lt"/>
              </a:rPr>
              <a:t>S Europe</a:t>
            </a:r>
          </a:p>
        </p:txBody>
      </p:sp>
    </p:spTree>
    <p:extLst>
      <p:ext uri="{BB962C8B-B14F-4D97-AF65-F5344CB8AC3E}">
        <p14:creationId xmlns:p14="http://schemas.microsoft.com/office/powerpoint/2010/main" val="237888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25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25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5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25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5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25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75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25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85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25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1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25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1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25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35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25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350"/>
                            </p:stCondLst>
                            <p:childTnLst>
                              <p:par>
                                <p:cTn id="8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25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6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25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8600"/>
                            </p:stCondLst>
                            <p:childTnLst>
                              <p:par>
                                <p:cTn id="9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25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8850"/>
                            </p:stCondLst>
                            <p:childTnLst>
                              <p:par>
                                <p:cTn id="9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25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100"/>
                            </p:stCondLst>
                            <p:childTnLst>
                              <p:par>
                                <p:cTn id="10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4" dur="25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9" grpId="0" animBg="1"/>
      <p:bldP spid="190" grpId="0" animBg="1"/>
      <p:bldP spid="191" grpId="0"/>
      <p:bldP spid="192" grpId="0" animBg="1"/>
      <p:bldP spid="193" grpId="0" animBg="1"/>
      <p:bldP spid="194" grpId="0"/>
      <p:bldP spid="195" grpId="0" animBg="1"/>
      <p:bldP spid="196" grpId="0" animBg="1"/>
      <p:bldP spid="197" grpId="0"/>
      <p:bldP spid="198" grpId="0" animBg="1"/>
      <p:bldP spid="199" grpId="0" animBg="1"/>
      <p:bldP spid="200" grpId="0"/>
      <p:bldP spid="201" grpId="0" animBg="1"/>
      <p:bldP spid="202" grpId="0" animBg="1"/>
      <p:bldP spid="203" grpId="0"/>
      <p:bldP spid="204" grpId="0" animBg="1"/>
      <p:bldP spid="205" grpId="0" animBg="1"/>
      <p:bldP spid="206" grpId="0" animBg="1"/>
      <p:bldP spid="207" grpId="0"/>
      <p:bldP spid="208" grpId="0" animBg="1"/>
      <p:bldP spid="209" grpId="0" animBg="1"/>
      <p:bldP spid="21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4E0E75-E0F3-4004-A827-B6509AC0BD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360" y="1182075"/>
            <a:ext cx="4150359" cy="598129"/>
          </a:xfrm>
        </p:spPr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FF3206-8BA6-4975-BCDD-89355AF78E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359" y="1973541"/>
            <a:ext cx="4852785" cy="1452426"/>
          </a:xfrm>
        </p:spPr>
        <p:txBody>
          <a:bodyPr>
            <a:normAutofit/>
          </a:bodyPr>
          <a:lstStyle/>
          <a:p>
            <a:r>
              <a:rPr lang="en-GB" dirty="0"/>
              <a:t>Nilay Kumar Ball – Principal Consultant  Asia, Middle East Asia &amp; South Europe.</a:t>
            </a:r>
          </a:p>
          <a:p>
            <a:pPr>
              <a:lnSpc>
                <a:spcPct val="100000"/>
              </a:lnSpc>
            </a:pPr>
            <a:r>
              <a:rPr lang="en-GB" dirty="0"/>
              <a:t>	Nilay.Ball@lrqa.com</a:t>
            </a:r>
          </a:p>
          <a:p>
            <a:pPr>
              <a:lnSpc>
                <a:spcPct val="100000"/>
              </a:lnSpc>
            </a:pPr>
            <a:r>
              <a:rPr lang="en-GB" dirty="0"/>
              <a:t>	Tel  +91 880055666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0F2661-A5B5-4E1B-8673-00BA6A0B0F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4447" y="5634393"/>
            <a:ext cx="4223271" cy="598129"/>
          </a:xfrm>
        </p:spPr>
        <p:txBody>
          <a:bodyPr>
            <a:normAutofit fontScale="77500" lnSpcReduction="20000"/>
          </a:bodyPr>
          <a:lstStyle/>
          <a:p>
            <a:endParaRPr lang="en-US" dirty="0"/>
          </a:p>
          <a:p>
            <a:r>
              <a:rPr lang="en-US" dirty="0"/>
              <a:t>Visit </a:t>
            </a:r>
            <a:r>
              <a:rPr lang="en-US" b="1" dirty="0"/>
              <a:t>LRQA SharePoint page </a:t>
            </a:r>
            <a:r>
              <a:rPr lang="en-US" dirty="0"/>
              <a:t>for list of Performance Services</a:t>
            </a:r>
            <a:endParaRPr lang="en-GB" dirty="0"/>
          </a:p>
        </p:txBody>
      </p:sp>
      <p:pic>
        <p:nvPicPr>
          <p:cNvPr id="8" name="Picture 7" descr="Qr code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46B4D40F-9324-45C5-A135-4319ADB43B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60" y="4181968"/>
            <a:ext cx="1452426" cy="145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8748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8D8F06-689D-470E-8A8E-31960C1A76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549275"/>
            <a:ext cx="10910887" cy="588308"/>
          </a:xfrm>
        </p:spPr>
        <p:txBody>
          <a:bodyPr/>
          <a:lstStyle/>
          <a:p>
            <a:r>
              <a:rPr lang="en-GB" dirty="0"/>
              <a:t>LRQA Assurance Portfoli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6FB749-AAF2-4958-A2F8-EF1D41F629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83779D-C340-494C-9B53-38C528D6A960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03" name="Freeform: Shape 502">
            <a:extLst>
              <a:ext uri="{FF2B5EF4-FFF2-40B4-BE49-F238E27FC236}">
                <a16:creationId xmlns:a16="http://schemas.microsoft.com/office/drawing/2014/main" id="{1D17F76A-A25F-4099-B9AB-D30E27B83A57}"/>
              </a:ext>
            </a:extLst>
          </p:cNvPr>
          <p:cNvSpPr/>
          <p:nvPr/>
        </p:nvSpPr>
        <p:spPr>
          <a:xfrm>
            <a:off x="5956513" y="4453903"/>
            <a:ext cx="21365" cy="11375"/>
          </a:xfrm>
          <a:custGeom>
            <a:avLst/>
            <a:gdLst>
              <a:gd name="connsiteX0" fmla="*/ 11275 w 21928"/>
              <a:gd name="connsiteY0" fmla="*/ -339 h 15575"/>
              <a:gd name="connsiteX1" fmla="*/ 154 w 21928"/>
              <a:gd name="connsiteY1" fmla="*/ 14334 h 15575"/>
              <a:gd name="connsiteX2" fmla="*/ 21869 w 21928"/>
              <a:gd name="connsiteY2" fmla="*/ 15237 h 15575"/>
              <a:gd name="connsiteX3" fmla="*/ 11275 w 21928"/>
              <a:gd name="connsiteY3" fmla="*/ -339 h 15575"/>
              <a:gd name="connsiteX4" fmla="*/ 11275 w 21928"/>
              <a:gd name="connsiteY4" fmla="*/ -339 h 15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28" h="15575">
                <a:moveTo>
                  <a:pt x="11275" y="-339"/>
                </a:moveTo>
                <a:cubicBezTo>
                  <a:pt x="3604" y="1543"/>
                  <a:pt x="-1145" y="7833"/>
                  <a:pt x="154" y="14334"/>
                </a:cubicBezTo>
                <a:cubicBezTo>
                  <a:pt x="7419" y="14047"/>
                  <a:pt x="14685" y="14348"/>
                  <a:pt x="21869" y="15237"/>
                </a:cubicBezTo>
                <a:cubicBezTo>
                  <a:pt x="21301" y="12396"/>
                  <a:pt x="9286" y="1867"/>
                  <a:pt x="11275" y="-339"/>
                </a:cubicBezTo>
                <a:cubicBezTo>
                  <a:pt x="4821" y="1633"/>
                  <a:pt x="10707" y="229"/>
                  <a:pt x="11275" y="-339"/>
                </a:cubicBezTo>
                <a:close/>
              </a:path>
            </a:pathLst>
          </a:custGeom>
          <a:noFill/>
          <a:ln w="3021" cap="flat">
            <a:solidFill>
              <a:schemeClr val="bg1">
                <a:alpha val="44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04" name="Freeform: Shape 503">
            <a:extLst>
              <a:ext uri="{FF2B5EF4-FFF2-40B4-BE49-F238E27FC236}">
                <a16:creationId xmlns:a16="http://schemas.microsoft.com/office/drawing/2014/main" id="{95A39855-F565-4196-9556-388169C85EBE}"/>
              </a:ext>
            </a:extLst>
          </p:cNvPr>
          <p:cNvSpPr/>
          <p:nvPr/>
        </p:nvSpPr>
        <p:spPr>
          <a:xfrm>
            <a:off x="11631772" y="5598766"/>
            <a:ext cx="75667" cy="51647"/>
          </a:xfrm>
          <a:custGeom>
            <a:avLst/>
            <a:gdLst>
              <a:gd name="connsiteX0" fmla="*/ 38856 w 77660"/>
              <a:gd name="connsiteY0" fmla="*/ 23613 h 70717"/>
              <a:gd name="connsiteX1" fmla="*/ 214 w 77660"/>
              <a:gd name="connsiteY1" fmla="*/ 16 h 70717"/>
              <a:gd name="connsiteX2" fmla="*/ 43726 w 77660"/>
              <a:gd name="connsiteY2" fmla="*/ 46809 h 70717"/>
              <a:gd name="connsiteX3" fmla="*/ 74128 w 77660"/>
              <a:gd name="connsiteY3" fmla="*/ 61782 h 70717"/>
              <a:gd name="connsiteX4" fmla="*/ 38856 w 77660"/>
              <a:gd name="connsiteY4" fmla="*/ 23746 h 70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660" h="70717">
                <a:moveTo>
                  <a:pt x="38856" y="23613"/>
                </a:moveTo>
                <a:cubicBezTo>
                  <a:pt x="32889" y="21507"/>
                  <a:pt x="3055" y="-3594"/>
                  <a:pt x="214" y="16"/>
                </a:cubicBezTo>
                <a:cubicBezTo>
                  <a:pt x="-3845" y="5297"/>
                  <a:pt x="38490" y="38186"/>
                  <a:pt x="43726" y="46809"/>
                </a:cubicBezTo>
                <a:cubicBezTo>
                  <a:pt x="51033" y="58440"/>
                  <a:pt x="89146" y="83575"/>
                  <a:pt x="74128" y="61782"/>
                </a:cubicBezTo>
                <a:cubicBezTo>
                  <a:pt x="68771" y="53961"/>
                  <a:pt x="50262" y="27691"/>
                  <a:pt x="38856" y="23746"/>
                </a:cubicBezTo>
                <a:close/>
              </a:path>
            </a:pathLst>
          </a:custGeom>
          <a:noFill/>
          <a:ln w="3021" cap="flat">
            <a:solidFill>
              <a:schemeClr val="bg1">
                <a:alpha val="44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05" name="Freeform: Shape 504">
            <a:extLst>
              <a:ext uri="{FF2B5EF4-FFF2-40B4-BE49-F238E27FC236}">
                <a16:creationId xmlns:a16="http://schemas.microsoft.com/office/drawing/2014/main" id="{6AEB9FF0-4207-4A29-BC55-E04EF01EE881}"/>
              </a:ext>
            </a:extLst>
          </p:cNvPr>
          <p:cNvSpPr/>
          <p:nvPr/>
        </p:nvSpPr>
        <p:spPr>
          <a:xfrm>
            <a:off x="11629840" y="5597592"/>
            <a:ext cx="79387" cy="53746"/>
          </a:xfrm>
          <a:custGeom>
            <a:avLst/>
            <a:gdLst>
              <a:gd name="connsiteX0" fmla="*/ 55613 w 81478"/>
              <a:gd name="connsiteY0" fmla="*/ 60147 h 73590"/>
              <a:gd name="connsiteX1" fmla="*/ 44005 w 81478"/>
              <a:gd name="connsiteY1" fmla="*/ 48248 h 73590"/>
              <a:gd name="connsiteX2" fmla="*/ 26836 w 81478"/>
              <a:gd name="connsiteY2" fmla="*/ 31269 h 73590"/>
              <a:gd name="connsiteX3" fmla="*/ 371 w 81478"/>
              <a:gd name="connsiteY3" fmla="*/ 352 h 73590"/>
              <a:gd name="connsiteX4" fmla="*/ 2766 w 81478"/>
              <a:gd name="connsiteY4" fmla="*/ -249 h 73590"/>
              <a:gd name="connsiteX5" fmla="*/ 26795 w 81478"/>
              <a:gd name="connsiteY5" fmla="*/ 14424 h 73590"/>
              <a:gd name="connsiteX6" fmla="*/ 40595 w 81478"/>
              <a:gd name="connsiteY6" fmla="*/ 23749 h 73590"/>
              <a:gd name="connsiteX7" fmla="*/ 40595 w 81478"/>
              <a:gd name="connsiteY7" fmla="*/ 23749 h 73590"/>
              <a:gd name="connsiteX8" fmla="*/ 42219 w 81478"/>
              <a:gd name="connsiteY8" fmla="*/ 24317 h 73590"/>
              <a:gd name="connsiteX9" fmla="*/ 42665 w 81478"/>
              <a:gd name="connsiteY9" fmla="*/ 24317 h 73590"/>
              <a:gd name="connsiteX10" fmla="*/ 42665 w 81478"/>
              <a:gd name="connsiteY10" fmla="*/ 24317 h 73590"/>
              <a:gd name="connsiteX11" fmla="*/ 43883 w 81478"/>
              <a:gd name="connsiteY11" fmla="*/ 24986 h 73590"/>
              <a:gd name="connsiteX12" fmla="*/ 44613 w 81478"/>
              <a:gd name="connsiteY12" fmla="*/ 25587 h 73590"/>
              <a:gd name="connsiteX13" fmla="*/ 77613 w 81478"/>
              <a:gd name="connsiteY13" fmla="*/ 62988 h 73590"/>
              <a:gd name="connsiteX14" fmla="*/ 80048 w 81478"/>
              <a:gd name="connsiteY14" fmla="*/ 73015 h 73590"/>
              <a:gd name="connsiteX15" fmla="*/ 55613 w 81478"/>
              <a:gd name="connsiteY15" fmla="*/ 60147 h 73590"/>
              <a:gd name="connsiteX16" fmla="*/ 36414 w 81478"/>
              <a:gd name="connsiteY16" fmla="*/ 24150 h 73590"/>
              <a:gd name="connsiteX17" fmla="*/ 25252 w 81478"/>
              <a:gd name="connsiteY17" fmla="*/ 16296 h 73590"/>
              <a:gd name="connsiteX18" fmla="*/ 4308 w 81478"/>
              <a:gd name="connsiteY18" fmla="*/ 2926 h 73590"/>
              <a:gd name="connsiteX19" fmla="*/ 29068 w 81478"/>
              <a:gd name="connsiteY19" fmla="*/ 30033 h 73590"/>
              <a:gd name="connsiteX20" fmla="*/ 47415 w 81478"/>
              <a:gd name="connsiteY20" fmla="*/ 48349 h 73590"/>
              <a:gd name="connsiteX21" fmla="*/ 57481 w 81478"/>
              <a:gd name="connsiteY21" fmla="*/ 58610 h 73590"/>
              <a:gd name="connsiteX22" fmla="*/ 77288 w 81478"/>
              <a:gd name="connsiteY22" fmla="*/ 70275 h 73590"/>
              <a:gd name="connsiteX23" fmla="*/ 74488 w 81478"/>
              <a:gd name="connsiteY23" fmla="*/ 63356 h 73590"/>
              <a:gd name="connsiteX24" fmla="*/ 46846 w 81478"/>
              <a:gd name="connsiteY24" fmla="*/ 30266 h 73590"/>
              <a:gd name="connsiteX25" fmla="*/ 41407 w 81478"/>
              <a:gd name="connsiteY25" fmla="*/ 26924 h 73590"/>
              <a:gd name="connsiteX26" fmla="*/ 38931 w 81478"/>
              <a:gd name="connsiteY26" fmla="*/ 26055 h 73590"/>
              <a:gd name="connsiteX27" fmla="*/ 38931 w 81478"/>
              <a:gd name="connsiteY27" fmla="*/ 26055 h 73590"/>
              <a:gd name="connsiteX28" fmla="*/ 37632 w 81478"/>
              <a:gd name="connsiteY28" fmla="*/ 25353 h 73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1478" h="73590">
                <a:moveTo>
                  <a:pt x="55613" y="60147"/>
                </a:moveTo>
                <a:cubicBezTo>
                  <a:pt x="51068" y="56671"/>
                  <a:pt x="47171" y="52660"/>
                  <a:pt x="44005" y="48248"/>
                </a:cubicBezTo>
                <a:cubicBezTo>
                  <a:pt x="38809" y="42232"/>
                  <a:pt x="33087" y="36550"/>
                  <a:pt x="26836" y="31269"/>
                </a:cubicBezTo>
                <a:cubicBezTo>
                  <a:pt x="11655" y="17398"/>
                  <a:pt x="-2755" y="4363"/>
                  <a:pt x="371" y="352"/>
                </a:cubicBezTo>
                <a:cubicBezTo>
                  <a:pt x="939" y="-249"/>
                  <a:pt x="1913" y="-483"/>
                  <a:pt x="2766" y="-249"/>
                </a:cubicBezTo>
                <a:cubicBezTo>
                  <a:pt x="6825" y="319"/>
                  <a:pt x="14943" y="5901"/>
                  <a:pt x="26795" y="14424"/>
                </a:cubicBezTo>
                <a:cubicBezTo>
                  <a:pt x="31138" y="17799"/>
                  <a:pt x="35724" y="20908"/>
                  <a:pt x="40595" y="23749"/>
                </a:cubicBezTo>
                <a:lnTo>
                  <a:pt x="40595" y="23749"/>
                </a:lnTo>
                <a:lnTo>
                  <a:pt x="42219" y="24317"/>
                </a:lnTo>
                <a:lnTo>
                  <a:pt x="42665" y="24317"/>
                </a:lnTo>
                <a:lnTo>
                  <a:pt x="42665" y="24317"/>
                </a:lnTo>
                <a:cubicBezTo>
                  <a:pt x="43112" y="24451"/>
                  <a:pt x="43558" y="24685"/>
                  <a:pt x="43883" y="24986"/>
                </a:cubicBezTo>
                <a:lnTo>
                  <a:pt x="44613" y="25587"/>
                </a:lnTo>
                <a:cubicBezTo>
                  <a:pt x="53016" y="30801"/>
                  <a:pt x="64015" y="43268"/>
                  <a:pt x="77613" y="62988"/>
                </a:cubicBezTo>
                <a:cubicBezTo>
                  <a:pt x="81672" y="68904"/>
                  <a:pt x="82484" y="72313"/>
                  <a:pt x="80048" y="73015"/>
                </a:cubicBezTo>
                <a:cubicBezTo>
                  <a:pt x="75746" y="74787"/>
                  <a:pt x="63204" y="66230"/>
                  <a:pt x="55613" y="60147"/>
                </a:cubicBezTo>
                <a:close/>
                <a:moveTo>
                  <a:pt x="36414" y="24150"/>
                </a:moveTo>
                <a:cubicBezTo>
                  <a:pt x="33654" y="22345"/>
                  <a:pt x="29961" y="19671"/>
                  <a:pt x="25252" y="16296"/>
                </a:cubicBezTo>
                <a:cubicBezTo>
                  <a:pt x="18108" y="11115"/>
                  <a:pt x="7271" y="3294"/>
                  <a:pt x="4308" y="2926"/>
                </a:cubicBezTo>
                <a:cubicBezTo>
                  <a:pt x="2116" y="5466"/>
                  <a:pt x="18352" y="20206"/>
                  <a:pt x="29068" y="30033"/>
                </a:cubicBezTo>
                <a:cubicBezTo>
                  <a:pt x="35806" y="35681"/>
                  <a:pt x="41975" y="41798"/>
                  <a:pt x="47415" y="48349"/>
                </a:cubicBezTo>
                <a:cubicBezTo>
                  <a:pt x="50175" y="52125"/>
                  <a:pt x="53584" y="55602"/>
                  <a:pt x="57481" y="58610"/>
                </a:cubicBezTo>
                <a:cubicBezTo>
                  <a:pt x="66411" y="65896"/>
                  <a:pt x="75462" y="70876"/>
                  <a:pt x="77288" y="70275"/>
                </a:cubicBezTo>
                <a:cubicBezTo>
                  <a:pt x="78019" y="70007"/>
                  <a:pt x="77735" y="68069"/>
                  <a:pt x="74488" y="63356"/>
                </a:cubicBezTo>
                <a:cubicBezTo>
                  <a:pt x="60606" y="43302"/>
                  <a:pt x="51757" y="34277"/>
                  <a:pt x="46846" y="30266"/>
                </a:cubicBezTo>
                <a:cubicBezTo>
                  <a:pt x="45263" y="28930"/>
                  <a:pt x="43396" y="27793"/>
                  <a:pt x="41407" y="26924"/>
                </a:cubicBezTo>
                <a:lnTo>
                  <a:pt x="38931" y="26055"/>
                </a:lnTo>
                <a:lnTo>
                  <a:pt x="38931" y="26055"/>
                </a:lnTo>
                <a:cubicBezTo>
                  <a:pt x="38403" y="25922"/>
                  <a:pt x="37957" y="25687"/>
                  <a:pt x="37632" y="25353"/>
                </a:cubicBezTo>
                <a:close/>
              </a:path>
            </a:pathLst>
          </a:custGeom>
          <a:noFill/>
          <a:ln w="3021" cap="flat">
            <a:solidFill>
              <a:schemeClr val="bg1">
                <a:alpha val="44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06" name="Freeform: Shape 505">
            <a:extLst>
              <a:ext uri="{FF2B5EF4-FFF2-40B4-BE49-F238E27FC236}">
                <a16:creationId xmlns:a16="http://schemas.microsoft.com/office/drawing/2014/main" id="{80B4E3C4-7195-46C4-BD91-E28E134B4154}"/>
              </a:ext>
            </a:extLst>
          </p:cNvPr>
          <p:cNvSpPr/>
          <p:nvPr/>
        </p:nvSpPr>
        <p:spPr>
          <a:xfrm>
            <a:off x="7399929" y="5908954"/>
            <a:ext cx="45777" cy="18838"/>
          </a:xfrm>
          <a:custGeom>
            <a:avLst/>
            <a:gdLst>
              <a:gd name="connsiteX0" fmla="*/ 19436 w 46983"/>
              <a:gd name="connsiteY0" fmla="*/ 1380 h 25794"/>
              <a:gd name="connsiteX1" fmla="*/ 845 w 46983"/>
              <a:gd name="connsiteY1" fmla="*/ 8867 h 25794"/>
              <a:gd name="connsiteX2" fmla="*/ 24550 w 46983"/>
              <a:gd name="connsiteY2" fmla="*/ 22237 h 25794"/>
              <a:gd name="connsiteX3" fmla="*/ 45860 w 46983"/>
              <a:gd name="connsiteY3" fmla="*/ 16087 h 25794"/>
              <a:gd name="connsiteX4" fmla="*/ 19436 w 46983"/>
              <a:gd name="connsiteY4" fmla="*/ 1380 h 25794"/>
              <a:gd name="connsiteX5" fmla="*/ 19436 w 46983"/>
              <a:gd name="connsiteY5" fmla="*/ 1380 h 25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983" h="25794">
                <a:moveTo>
                  <a:pt x="19436" y="1380"/>
                </a:moveTo>
                <a:cubicBezTo>
                  <a:pt x="17934" y="-4536"/>
                  <a:pt x="1860" y="6528"/>
                  <a:pt x="845" y="8867"/>
                </a:cubicBezTo>
                <a:cubicBezTo>
                  <a:pt x="-5040" y="21936"/>
                  <a:pt x="19517" y="17190"/>
                  <a:pt x="24550" y="22237"/>
                </a:cubicBezTo>
                <a:cubicBezTo>
                  <a:pt x="31328" y="28921"/>
                  <a:pt x="51786" y="24376"/>
                  <a:pt x="45860" y="16087"/>
                </a:cubicBezTo>
                <a:cubicBezTo>
                  <a:pt x="41232" y="9603"/>
                  <a:pt x="21181" y="8366"/>
                  <a:pt x="19436" y="1380"/>
                </a:cubicBezTo>
                <a:cubicBezTo>
                  <a:pt x="18015" y="-4234"/>
                  <a:pt x="20856" y="7029"/>
                  <a:pt x="19436" y="1380"/>
                </a:cubicBezTo>
                <a:close/>
              </a:path>
            </a:pathLst>
          </a:custGeom>
          <a:noFill/>
          <a:ln w="3021" cap="flat">
            <a:solidFill>
              <a:schemeClr val="bg1">
                <a:alpha val="44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07" name="Freeform: Shape 506">
            <a:extLst>
              <a:ext uri="{FF2B5EF4-FFF2-40B4-BE49-F238E27FC236}">
                <a16:creationId xmlns:a16="http://schemas.microsoft.com/office/drawing/2014/main" id="{CE53BA55-F38D-42B7-B0ED-0BE5BBCA0ABF}"/>
              </a:ext>
            </a:extLst>
          </p:cNvPr>
          <p:cNvSpPr/>
          <p:nvPr/>
        </p:nvSpPr>
        <p:spPr>
          <a:xfrm>
            <a:off x="7398468" y="5908087"/>
            <a:ext cx="48430" cy="20541"/>
          </a:xfrm>
          <a:custGeom>
            <a:avLst/>
            <a:gdLst>
              <a:gd name="connsiteX0" fmla="*/ 31570 w 49706"/>
              <a:gd name="connsiteY0" fmla="*/ 27403 h 28125"/>
              <a:gd name="connsiteX1" fmla="*/ 31570 w 49706"/>
              <a:gd name="connsiteY1" fmla="*/ 27403 h 28125"/>
              <a:gd name="connsiteX2" fmla="*/ 24832 w 49706"/>
              <a:gd name="connsiteY2" fmla="*/ 24061 h 28125"/>
              <a:gd name="connsiteX3" fmla="*/ 20773 w 49706"/>
              <a:gd name="connsiteY3" fmla="*/ 22423 h 28125"/>
              <a:gd name="connsiteX4" fmla="*/ 15172 w 49706"/>
              <a:gd name="connsiteY4" fmla="*/ 21587 h 28125"/>
              <a:gd name="connsiteX5" fmla="*/ 8799 w 49706"/>
              <a:gd name="connsiteY5" fmla="*/ 20651 h 28125"/>
              <a:gd name="connsiteX6" fmla="*/ 1006 w 49706"/>
              <a:gd name="connsiteY6" fmla="*/ 16841 h 28125"/>
              <a:gd name="connsiteX7" fmla="*/ 1006 w 49706"/>
              <a:gd name="connsiteY7" fmla="*/ 9655 h 28125"/>
              <a:gd name="connsiteX8" fmla="*/ 19636 w 49706"/>
              <a:gd name="connsiteY8" fmla="*/ -138 h 28125"/>
              <a:gd name="connsiteX9" fmla="*/ 19880 w 49706"/>
              <a:gd name="connsiteY9" fmla="*/ -138 h 28125"/>
              <a:gd name="connsiteX10" fmla="*/ 20164 w 49706"/>
              <a:gd name="connsiteY10" fmla="*/ -339 h 28125"/>
              <a:gd name="connsiteX11" fmla="*/ 20976 w 49706"/>
              <a:gd name="connsiteY11" fmla="*/ -339 h 28125"/>
              <a:gd name="connsiteX12" fmla="*/ 22112 w 49706"/>
              <a:gd name="connsiteY12" fmla="*/ 597 h 28125"/>
              <a:gd name="connsiteX13" fmla="*/ 22112 w 49706"/>
              <a:gd name="connsiteY13" fmla="*/ 597 h 28125"/>
              <a:gd name="connsiteX14" fmla="*/ 22112 w 49706"/>
              <a:gd name="connsiteY14" fmla="*/ 1232 h 28125"/>
              <a:gd name="connsiteX15" fmla="*/ 22356 w 49706"/>
              <a:gd name="connsiteY15" fmla="*/ 2202 h 28125"/>
              <a:gd name="connsiteX16" fmla="*/ 34533 w 49706"/>
              <a:gd name="connsiteY16" fmla="*/ 9254 h 28125"/>
              <a:gd name="connsiteX17" fmla="*/ 48415 w 49706"/>
              <a:gd name="connsiteY17" fmla="*/ 16574 h 28125"/>
              <a:gd name="connsiteX18" fmla="*/ 47765 w 49706"/>
              <a:gd name="connsiteY18" fmla="*/ 23860 h 28125"/>
              <a:gd name="connsiteX19" fmla="*/ 31570 w 49706"/>
              <a:gd name="connsiteY19" fmla="*/ 27403 h 28125"/>
              <a:gd name="connsiteX20" fmla="*/ 21423 w 49706"/>
              <a:gd name="connsiteY20" fmla="*/ 20284 h 28125"/>
              <a:gd name="connsiteX21" fmla="*/ 27227 w 49706"/>
              <a:gd name="connsiteY21" fmla="*/ 22824 h 28125"/>
              <a:gd name="connsiteX22" fmla="*/ 32220 w 49706"/>
              <a:gd name="connsiteY22" fmla="*/ 25230 h 28125"/>
              <a:gd name="connsiteX23" fmla="*/ 45655 w 49706"/>
              <a:gd name="connsiteY23" fmla="*/ 22623 h 28125"/>
              <a:gd name="connsiteX24" fmla="*/ 46020 w 49706"/>
              <a:gd name="connsiteY24" fmla="*/ 17744 h 28125"/>
              <a:gd name="connsiteX25" fmla="*/ 33843 w 49706"/>
              <a:gd name="connsiteY25" fmla="*/ 11493 h 28125"/>
              <a:gd name="connsiteX26" fmla="*/ 21057 w 49706"/>
              <a:gd name="connsiteY26" fmla="*/ 5243 h 28125"/>
              <a:gd name="connsiteX27" fmla="*/ 20043 w 49706"/>
              <a:gd name="connsiteY27" fmla="*/ 4341 h 28125"/>
              <a:gd name="connsiteX28" fmla="*/ 20043 w 49706"/>
              <a:gd name="connsiteY28" fmla="*/ 4341 h 28125"/>
              <a:gd name="connsiteX29" fmla="*/ 20043 w 49706"/>
              <a:gd name="connsiteY29" fmla="*/ 3639 h 28125"/>
              <a:gd name="connsiteX30" fmla="*/ 19758 w 49706"/>
              <a:gd name="connsiteY30" fmla="*/ 2536 h 28125"/>
              <a:gd name="connsiteX31" fmla="*/ 19231 w 49706"/>
              <a:gd name="connsiteY31" fmla="*/ 2001 h 28125"/>
              <a:gd name="connsiteX32" fmla="*/ 4131 w 49706"/>
              <a:gd name="connsiteY32" fmla="*/ 10457 h 28125"/>
              <a:gd name="connsiteX33" fmla="*/ 4131 w 49706"/>
              <a:gd name="connsiteY33" fmla="*/ 15838 h 28125"/>
              <a:gd name="connsiteX34" fmla="*/ 9976 w 49706"/>
              <a:gd name="connsiteY34" fmla="*/ 18479 h 28125"/>
              <a:gd name="connsiteX35" fmla="*/ 16024 w 49706"/>
              <a:gd name="connsiteY35" fmla="*/ 19415 h 28125"/>
              <a:gd name="connsiteX36" fmla="*/ 21423 w 49706"/>
              <a:gd name="connsiteY36" fmla="*/ 20150 h 2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9706" h="28125">
                <a:moveTo>
                  <a:pt x="31570" y="27403"/>
                </a:moveTo>
                <a:lnTo>
                  <a:pt x="31570" y="27403"/>
                </a:lnTo>
                <a:cubicBezTo>
                  <a:pt x="28932" y="26902"/>
                  <a:pt x="26578" y="25732"/>
                  <a:pt x="24832" y="24061"/>
                </a:cubicBezTo>
                <a:cubicBezTo>
                  <a:pt x="23695" y="23192"/>
                  <a:pt x="22315" y="22623"/>
                  <a:pt x="20773" y="22423"/>
                </a:cubicBezTo>
                <a:cubicBezTo>
                  <a:pt x="19109" y="22088"/>
                  <a:pt x="17201" y="21855"/>
                  <a:pt x="15172" y="21587"/>
                </a:cubicBezTo>
                <a:cubicBezTo>
                  <a:pt x="13142" y="21320"/>
                  <a:pt x="10829" y="21052"/>
                  <a:pt x="8799" y="20651"/>
                </a:cubicBezTo>
                <a:cubicBezTo>
                  <a:pt x="5714" y="20250"/>
                  <a:pt x="2913" y="18880"/>
                  <a:pt x="1006" y="16841"/>
                </a:cubicBezTo>
                <a:cubicBezTo>
                  <a:pt x="-415" y="14602"/>
                  <a:pt x="-415" y="11894"/>
                  <a:pt x="1006" y="9655"/>
                </a:cubicBezTo>
                <a:cubicBezTo>
                  <a:pt x="1980" y="7482"/>
                  <a:pt x="13914" y="-1308"/>
                  <a:pt x="19636" y="-138"/>
                </a:cubicBezTo>
                <a:lnTo>
                  <a:pt x="19880" y="-138"/>
                </a:lnTo>
                <a:lnTo>
                  <a:pt x="20164" y="-339"/>
                </a:lnTo>
                <a:lnTo>
                  <a:pt x="20976" y="-339"/>
                </a:lnTo>
                <a:cubicBezTo>
                  <a:pt x="21666" y="-339"/>
                  <a:pt x="21869" y="-339"/>
                  <a:pt x="22112" y="597"/>
                </a:cubicBezTo>
                <a:lnTo>
                  <a:pt x="22112" y="597"/>
                </a:lnTo>
                <a:cubicBezTo>
                  <a:pt x="22072" y="798"/>
                  <a:pt x="22072" y="1032"/>
                  <a:pt x="22112" y="1232"/>
                </a:cubicBezTo>
                <a:cubicBezTo>
                  <a:pt x="22153" y="1566"/>
                  <a:pt x="22234" y="1867"/>
                  <a:pt x="22356" y="2202"/>
                </a:cubicBezTo>
                <a:cubicBezTo>
                  <a:pt x="23127" y="5310"/>
                  <a:pt x="28769" y="7215"/>
                  <a:pt x="34533" y="9254"/>
                </a:cubicBezTo>
                <a:cubicBezTo>
                  <a:pt x="40297" y="11293"/>
                  <a:pt x="45979" y="13165"/>
                  <a:pt x="48415" y="16574"/>
                </a:cubicBezTo>
                <a:cubicBezTo>
                  <a:pt x="50282" y="18846"/>
                  <a:pt x="49998" y="21855"/>
                  <a:pt x="47765" y="23860"/>
                </a:cubicBezTo>
                <a:cubicBezTo>
                  <a:pt x="43422" y="27202"/>
                  <a:pt x="37333" y="28506"/>
                  <a:pt x="31570" y="27403"/>
                </a:cubicBezTo>
                <a:close/>
                <a:moveTo>
                  <a:pt x="21423" y="20284"/>
                </a:moveTo>
                <a:cubicBezTo>
                  <a:pt x="23655" y="20584"/>
                  <a:pt x="25684" y="21487"/>
                  <a:pt x="27227" y="22824"/>
                </a:cubicBezTo>
                <a:cubicBezTo>
                  <a:pt x="28526" y="24027"/>
                  <a:pt x="30271" y="24863"/>
                  <a:pt x="32220" y="25230"/>
                </a:cubicBezTo>
                <a:cubicBezTo>
                  <a:pt x="36928" y="26266"/>
                  <a:pt x="42001" y="25264"/>
                  <a:pt x="45655" y="22623"/>
                </a:cubicBezTo>
                <a:cubicBezTo>
                  <a:pt x="47197" y="21286"/>
                  <a:pt x="47360" y="19214"/>
                  <a:pt x="46020" y="17744"/>
                </a:cubicBezTo>
                <a:cubicBezTo>
                  <a:pt x="44112" y="15070"/>
                  <a:pt x="38795" y="13265"/>
                  <a:pt x="33843" y="11493"/>
                </a:cubicBezTo>
                <a:cubicBezTo>
                  <a:pt x="29013" y="10290"/>
                  <a:pt x="24629" y="8151"/>
                  <a:pt x="21057" y="5243"/>
                </a:cubicBezTo>
                <a:cubicBezTo>
                  <a:pt x="20489" y="5243"/>
                  <a:pt x="20286" y="5042"/>
                  <a:pt x="20043" y="4341"/>
                </a:cubicBezTo>
                <a:lnTo>
                  <a:pt x="20043" y="4341"/>
                </a:lnTo>
                <a:cubicBezTo>
                  <a:pt x="20043" y="4106"/>
                  <a:pt x="20043" y="3873"/>
                  <a:pt x="20043" y="3639"/>
                </a:cubicBezTo>
                <a:cubicBezTo>
                  <a:pt x="20043" y="3338"/>
                  <a:pt x="20043" y="2970"/>
                  <a:pt x="19758" y="2536"/>
                </a:cubicBezTo>
                <a:cubicBezTo>
                  <a:pt x="19474" y="2101"/>
                  <a:pt x="19393" y="2034"/>
                  <a:pt x="19231" y="2001"/>
                </a:cubicBezTo>
                <a:cubicBezTo>
                  <a:pt x="15821" y="1332"/>
                  <a:pt x="4902" y="8685"/>
                  <a:pt x="4131" y="10457"/>
                </a:cubicBezTo>
                <a:cubicBezTo>
                  <a:pt x="3117" y="12162"/>
                  <a:pt x="3117" y="14134"/>
                  <a:pt x="4131" y="15838"/>
                </a:cubicBezTo>
                <a:cubicBezTo>
                  <a:pt x="5592" y="17309"/>
                  <a:pt x="7703" y="18245"/>
                  <a:pt x="9976" y="18479"/>
                </a:cubicBezTo>
                <a:cubicBezTo>
                  <a:pt x="11843" y="18880"/>
                  <a:pt x="14035" y="19147"/>
                  <a:pt x="16024" y="19415"/>
                </a:cubicBezTo>
                <a:cubicBezTo>
                  <a:pt x="18013" y="19682"/>
                  <a:pt x="19596" y="19916"/>
                  <a:pt x="21423" y="20150"/>
                </a:cubicBezTo>
                <a:close/>
              </a:path>
            </a:pathLst>
          </a:custGeom>
          <a:noFill/>
          <a:ln w="3021" cap="flat">
            <a:solidFill>
              <a:schemeClr val="bg1">
                <a:alpha val="44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248" name="N EUROPE">
            <a:extLst>
              <a:ext uri="{FF2B5EF4-FFF2-40B4-BE49-F238E27FC236}">
                <a16:creationId xmlns:a16="http://schemas.microsoft.com/office/drawing/2014/main" id="{9C388A3F-DBA3-4FEB-AE44-4D187DCA1335}"/>
              </a:ext>
            </a:extLst>
          </p:cNvPr>
          <p:cNvGrpSpPr/>
          <p:nvPr/>
        </p:nvGrpSpPr>
        <p:grpSpPr>
          <a:xfrm>
            <a:off x="4920851" y="3810531"/>
            <a:ext cx="6821079" cy="1780476"/>
            <a:chOff x="4920851" y="3810531"/>
            <a:chExt cx="6821079" cy="1780476"/>
          </a:xfrm>
        </p:grpSpPr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388676EF-03BF-4779-B1B1-3AB2D5BCA74E}"/>
                </a:ext>
              </a:extLst>
            </p:cNvPr>
            <p:cNvGrpSpPr/>
            <p:nvPr/>
          </p:nvGrpSpPr>
          <p:grpSpPr>
            <a:xfrm>
              <a:off x="5845226" y="3810531"/>
              <a:ext cx="5896704" cy="1780476"/>
              <a:chOff x="5845226" y="3810531"/>
              <a:chExt cx="5896704" cy="1780476"/>
            </a:xfrm>
          </p:grpSpPr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39CEADEB-B3CC-4356-8319-E7A4A6A6E7A1}"/>
                  </a:ext>
                </a:extLst>
              </p:cNvPr>
              <p:cNvSpPr/>
              <p:nvPr/>
            </p:nvSpPr>
            <p:spPr>
              <a:xfrm>
                <a:off x="5866265" y="4397905"/>
                <a:ext cx="130834" cy="44280"/>
              </a:xfrm>
              <a:custGeom>
                <a:avLst/>
                <a:gdLst>
                  <a:gd name="connsiteX0" fmla="*/ 43006 w 134281"/>
                  <a:gd name="connsiteY0" fmla="*/ 48125 h 60630"/>
                  <a:gd name="connsiteX1" fmla="*/ 96909 w 134281"/>
                  <a:gd name="connsiteY1" fmla="*/ 60292 h 60630"/>
                  <a:gd name="connsiteX2" fmla="*/ 100116 w 134281"/>
                  <a:gd name="connsiteY2" fmla="*/ 40237 h 60630"/>
                  <a:gd name="connsiteX3" fmla="*/ 110750 w 134281"/>
                  <a:gd name="connsiteY3" fmla="*/ 38466 h 60630"/>
                  <a:gd name="connsiteX4" fmla="*/ 121669 w 134281"/>
                  <a:gd name="connsiteY4" fmla="*/ 31180 h 60630"/>
                  <a:gd name="connsiteX5" fmla="*/ 116392 w 134281"/>
                  <a:gd name="connsiteY5" fmla="*/ 19515 h 60630"/>
                  <a:gd name="connsiteX6" fmla="*/ 126783 w 134281"/>
                  <a:gd name="connsiteY6" fmla="*/ 14902 h 60630"/>
                  <a:gd name="connsiteX7" fmla="*/ 131735 w 134281"/>
                  <a:gd name="connsiteY7" fmla="*/ -339 h 60630"/>
                  <a:gd name="connsiteX8" fmla="*/ 75600 w 134281"/>
                  <a:gd name="connsiteY8" fmla="*/ 8184 h 60630"/>
                  <a:gd name="connsiteX9" fmla="*/ 77264 w 134281"/>
                  <a:gd name="connsiteY9" fmla="*/ 16005 h 60630"/>
                  <a:gd name="connsiteX10" fmla="*/ 60744 w 134281"/>
                  <a:gd name="connsiteY10" fmla="*/ 15471 h 60630"/>
                  <a:gd name="connsiteX11" fmla="*/ 34442 w 134281"/>
                  <a:gd name="connsiteY11" fmla="*/ 28606 h 60630"/>
                  <a:gd name="connsiteX12" fmla="*/ 27095 w 134281"/>
                  <a:gd name="connsiteY12" fmla="*/ 40438 h 60630"/>
                  <a:gd name="connsiteX13" fmla="*/ -60 w 134281"/>
                  <a:gd name="connsiteY13" fmla="*/ 52270 h 60630"/>
                  <a:gd name="connsiteX14" fmla="*/ 43006 w 134281"/>
                  <a:gd name="connsiteY14" fmla="*/ 47958 h 60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4281" h="60630">
                    <a:moveTo>
                      <a:pt x="43006" y="48125"/>
                    </a:moveTo>
                    <a:cubicBezTo>
                      <a:pt x="55913" y="41040"/>
                      <a:pt x="87370" y="56715"/>
                      <a:pt x="96909" y="60292"/>
                    </a:cubicBezTo>
                    <a:cubicBezTo>
                      <a:pt x="98979" y="53741"/>
                      <a:pt x="100034" y="47006"/>
                      <a:pt x="100116" y="40237"/>
                    </a:cubicBezTo>
                    <a:cubicBezTo>
                      <a:pt x="100116" y="38165"/>
                      <a:pt x="108843" y="38667"/>
                      <a:pt x="110750" y="38466"/>
                    </a:cubicBezTo>
                    <a:cubicBezTo>
                      <a:pt x="121588" y="37363"/>
                      <a:pt x="117204" y="34823"/>
                      <a:pt x="121669" y="31180"/>
                    </a:cubicBezTo>
                    <a:cubicBezTo>
                      <a:pt x="129381" y="24896"/>
                      <a:pt x="124591" y="25598"/>
                      <a:pt x="116392" y="19515"/>
                    </a:cubicBezTo>
                    <a:cubicBezTo>
                      <a:pt x="115053" y="18512"/>
                      <a:pt x="126662" y="14936"/>
                      <a:pt x="126783" y="14902"/>
                    </a:cubicBezTo>
                    <a:cubicBezTo>
                      <a:pt x="136646" y="10390"/>
                      <a:pt x="134901" y="5611"/>
                      <a:pt x="131735" y="-339"/>
                    </a:cubicBezTo>
                    <a:cubicBezTo>
                      <a:pt x="127960" y="5009"/>
                      <a:pt x="85260" y="-2511"/>
                      <a:pt x="75600" y="8184"/>
                    </a:cubicBezTo>
                    <a:cubicBezTo>
                      <a:pt x="72596" y="11527"/>
                      <a:pt x="78806" y="13799"/>
                      <a:pt x="77264" y="16005"/>
                    </a:cubicBezTo>
                    <a:cubicBezTo>
                      <a:pt x="75356" y="18779"/>
                      <a:pt x="61880" y="18345"/>
                      <a:pt x="60744" y="15471"/>
                    </a:cubicBezTo>
                    <a:cubicBezTo>
                      <a:pt x="57659" y="7817"/>
                      <a:pt x="36999" y="26901"/>
                      <a:pt x="34442" y="28606"/>
                    </a:cubicBezTo>
                    <a:cubicBezTo>
                      <a:pt x="29002" y="32182"/>
                      <a:pt x="32006" y="36628"/>
                      <a:pt x="27095" y="40438"/>
                    </a:cubicBezTo>
                    <a:cubicBezTo>
                      <a:pt x="20479" y="45552"/>
                      <a:pt x="9803" y="49061"/>
                      <a:pt x="-60" y="52270"/>
                    </a:cubicBezTo>
                    <a:cubicBezTo>
                      <a:pt x="13213" y="55044"/>
                      <a:pt x="32412" y="53807"/>
                      <a:pt x="43006" y="4795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021" cap="flat">
                <a:solidFill>
                  <a:schemeClr val="accent3">
                    <a:alpha val="44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1CFAAA20-F74E-46F3-9D46-CA9B5DA5FB06}"/>
                  </a:ext>
                </a:extLst>
              </p:cNvPr>
              <p:cNvSpPr/>
              <p:nvPr/>
            </p:nvSpPr>
            <p:spPr>
              <a:xfrm>
                <a:off x="5845226" y="4432020"/>
                <a:ext cx="122419" cy="32607"/>
              </a:xfrm>
              <a:custGeom>
                <a:avLst/>
                <a:gdLst>
                  <a:gd name="connsiteX0" fmla="*/ 4040 w 125644"/>
                  <a:gd name="connsiteY0" fmla="*/ 13380 h 44646"/>
                  <a:gd name="connsiteX1" fmla="*/ 16217 w 125644"/>
                  <a:gd name="connsiteY1" fmla="*/ 19463 h 44646"/>
                  <a:gd name="connsiteX2" fmla="*/ 39191 w 125644"/>
                  <a:gd name="connsiteY2" fmla="*/ 25647 h 44646"/>
                  <a:gd name="connsiteX3" fmla="*/ 55427 w 125644"/>
                  <a:gd name="connsiteY3" fmla="*/ 33000 h 44646"/>
                  <a:gd name="connsiteX4" fmla="*/ 76777 w 125644"/>
                  <a:gd name="connsiteY4" fmla="*/ 30693 h 44646"/>
                  <a:gd name="connsiteX5" fmla="*/ 87899 w 125644"/>
                  <a:gd name="connsiteY5" fmla="*/ 39317 h 44646"/>
                  <a:gd name="connsiteX6" fmla="*/ 110060 w 125644"/>
                  <a:gd name="connsiteY6" fmla="*/ 44297 h 44646"/>
                  <a:gd name="connsiteX7" fmla="*/ 121182 w 125644"/>
                  <a:gd name="connsiteY7" fmla="*/ 29624 h 44646"/>
                  <a:gd name="connsiteX8" fmla="*/ 119802 w 125644"/>
                  <a:gd name="connsiteY8" fmla="*/ 16689 h 44646"/>
                  <a:gd name="connsiteX9" fmla="*/ 69958 w 125644"/>
                  <a:gd name="connsiteY9" fmla="*/ -23 h 44646"/>
                  <a:gd name="connsiteX10" fmla="*/ 39759 w 125644"/>
                  <a:gd name="connsiteY10" fmla="*/ 7297 h 44646"/>
                  <a:gd name="connsiteX11" fmla="*/ 21778 w 125644"/>
                  <a:gd name="connsiteY11" fmla="*/ 5893 h 44646"/>
                  <a:gd name="connsiteX12" fmla="*/ -60 w 125644"/>
                  <a:gd name="connsiteY12" fmla="*/ 11408 h 44646"/>
                  <a:gd name="connsiteX13" fmla="*/ 4284 w 125644"/>
                  <a:gd name="connsiteY13" fmla="*/ 13547 h 44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5644" h="44646">
                    <a:moveTo>
                      <a:pt x="4040" y="13380"/>
                    </a:moveTo>
                    <a:cubicBezTo>
                      <a:pt x="4405" y="14483"/>
                      <a:pt x="12726" y="22672"/>
                      <a:pt x="16217" y="19463"/>
                    </a:cubicBezTo>
                    <a:cubicBezTo>
                      <a:pt x="18206" y="17558"/>
                      <a:pt x="35862" y="24945"/>
                      <a:pt x="39191" y="25647"/>
                    </a:cubicBezTo>
                    <a:cubicBezTo>
                      <a:pt x="48445" y="27552"/>
                      <a:pt x="52017" y="28287"/>
                      <a:pt x="55427" y="33000"/>
                    </a:cubicBezTo>
                    <a:cubicBezTo>
                      <a:pt x="60663" y="40286"/>
                      <a:pt x="69796" y="31596"/>
                      <a:pt x="76777" y="30693"/>
                    </a:cubicBezTo>
                    <a:cubicBezTo>
                      <a:pt x="78888" y="30393"/>
                      <a:pt x="78279" y="40487"/>
                      <a:pt x="87899" y="39317"/>
                    </a:cubicBezTo>
                    <a:cubicBezTo>
                      <a:pt x="94637" y="38448"/>
                      <a:pt x="100684" y="44598"/>
                      <a:pt x="110060" y="44297"/>
                    </a:cubicBezTo>
                    <a:cubicBezTo>
                      <a:pt x="108762" y="37796"/>
                      <a:pt x="113510" y="31506"/>
                      <a:pt x="121182" y="29624"/>
                    </a:cubicBezTo>
                    <a:cubicBezTo>
                      <a:pt x="127920" y="22605"/>
                      <a:pt x="126500" y="23775"/>
                      <a:pt x="119802" y="16689"/>
                    </a:cubicBezTo>
                    <a:cubicBezTo>
                      <a:pt x="114282" y="10873"/>
                      <a:pt x="85950" y="-2563"/>
                      <a:pt x="69958" y="-23"/>
                    </a:cubicBezTo>
                    <a:cubicBezTo>
                      <a:pt x="59364" y="1548"/>
                      <a:pt x="51652" y="6094"/>
                      <a:pt x="39759" y="7297"/>
                    </a:cubicBezTo>
                    <a:cubicBezTo>
                      <a:pt x="33711" y="7915"/>
                      <a:pt x="27582" y="7437"/>
                      <a:pt x="21778" y="5893"/>
                    </a:cubicBezTo>
                    <a:cubicBezTo>
                      <a:pt x="14756" y="8377"/>
                      <a:pt x="7449" y="10228"/>
                      <a:pt x="-60" y="11408"/>
                    </a:cubicBezTo>
                    <a:cubicBezTo>
                      <a:pt x="1645" y="11645"/>
                      <a:pt x="3228" y="12411"/>
                      <a:pt x="4284" y="13547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021" cap="flat">
                <a:solidFill>
                  <a:schemeClr val="accent3">
                    <a:alpha val="44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CF4743BD-23BD-4CAE-8D21-8A64411A7306}"/>
                  </a:ext>
                </a:extLst>
              </p:cNvPr>
              <p:cNvGrpSpPr/>
              <p:nvPr/>
            </p:nvGrpSpPr>
            <p:grpSpPr>
              <a:xfrm>
                <a:off x="5919317" y="3810531"/>
                <a:ext cx="5822613" cy="1780476"/>
                <a:chOff x="5919317" y="3810531"/>
                <a:chExt cx="5822613" cy="1780476"/>
              </a:xfrm>
            </p:grpSpPr>
            <p:sp>
              <p:nvSpPr>
                <p:cNvPr id="255" name="Freeform: Shape 254">
                  <a:extLst>
                    <a:ext uri="{FF2B5EF4-FFF2-40B4-BE49-F238E27FC236}">
                      <a16:creationId xmlns:a16="http://schemas.microsoft.com/office/drawing/2014/main" id="{7D8B016F-840C-4C1F-912E-727E0E89E59B}"/>
                    </a:ext>
                  </a:extLst>
                </p:cNvPr>
                <p:cNvSpPr/>
                <p:nvPr/>
              </p:nvSpPr>
              <p:spPr>
                <a:xfrm>
                  <a:off x="5967315" y="4492620"/>
                  <a:ext cx="141338" cy="29827"/>
                </a:xfrm>
                <a:custGeom>
                  <a:avLst/>
                  <a:gdLst>
                    <a:gd name="connsiteX0" fmla="*/ 128848 w 145062"/>
                    <a:gd name="connsiteY0" fmla="*/ 16336 h 40840"/>
                    <a:gd name="connsiteX1" fmla="*/ 112206 w 145062"/>
                    <a:gd name="connsiteY1" fmla="*/ 11857 h 40840"/>
                    <a:gd name="connsiteX2" fmla="*/ 93291 w 145062"/>
                    <a:gd name="connsiteY2" fmla="*/ 493 h 40840"/>
                    <a:gd name="connsiteX3" fmla="*/ 32407 w 145062"/>
                    <a:gd name="connsiteY3" fmla="*/ 5641 h 40840"/>
                    <a:gd name="connsiteX4" fmla="*/ 463 w 145062"/>
                    <a:gd name="connsiteY4" fmla="*/ 32814 h 40840"/>
                    <a:gd name="connsiteX5" fmla="*/ 21042 w 145062"/>
                    <a:gd name="connsiteY5" fmla="*/ 31978 h 40840"/>
                    <a:gd name="connsiteX6" fmla="*/ 26887 w 145062"/>
                    <a:gd name="connsiteY6" fmla="*/ 40501 h 40840"/>
                    <a:gd name="connsiteX7" fmla="*/ 66746 w 145062"/>
                    <a:gd name="connsiteY7" fmla="*/ 30474 h 40840"/>
                    <a:gd name="connsiteX8" fmla="*/ 96295 w 145062"/>
                    <a:gd name="connsiteY8" fmla="*/ 37694 h 40840"/>
                    <a:gd name="connsiteX9" fmla="*/ 104048 w 145062"/>
                    <a:gd name="connsiteY9" fmla="*/ 28636 h 40840"/>
                    <a:gd name="connsiteX10" fmla="*/ 124343 w 145062"/>
                    <a:gd name="connsiteY10" fmla="*/ 26497 h 40840"/>
                    <a:gd name="connsiteX11" fmla="*/ 136885 w 145062"/>
                    <a:gd name="connsiteY11" fmla="*/ 23422 h 40840"/>
                    <a:gd name="connsiteX12" fmla="*/ 145003 w 145062"/>
                    <a:gd name="connsiteY12" fmla="*/ 17339 h 40840"/>
                    <a:gd name="connsiteX13" fmla="*/ 128767 w 145062"/>
                    <a:gd name="connsiteY13" fmla="*/ 16303 h 408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45062" h="40840">
                      <a:moveTo>
                        <a:pt x="128848" y="16336"/>
                      </a:moveTo>
                      <a:cubicBezTo>
                        <a:pt x="124383" y="17372"/>
                        <a:pt x="112247" y="14866"/>
                        <a:pt x="112206" y="11857"/>
                      </a:cubicBezTo>
                      <a:cubicBezTo>
                        <a:pt x="112206" y="3869"/>
                        <a:pt x="108147" y="2699"/>
                        <a:pt x="93291" y="493"/>
                      </a:cubicBezTo>
                      <a:cubicBezTo>
                        <a:pt x="76690" y="-2013"/>
                        <a:pt x="45883" y="1563"/>
                        <a:pt x="32407" y="5641"/>
                      </a:cubicBezTo>
                      <a:cubicBezTo>
                        <a:pt x="22746" y="8448"/>
                        <a:pt x="-4124" y="26764"/>
                        <a:pt x="463" y="32814"/>
                      </a:cubicBezTo>
                      <a:cubicBezTo>
                        <a:pt x="1883" y="34686"/>
                        <a:pt x="20758" y="23389"/>
                        <a:pt x="21042" y="31978"/>
                      </a:cubicBezTo>
                      <a:cubicBezTo>
                        <a:pt x="21042" y="35789"/>
                        <a:pt x="28510" y="36056"/>
                        <a:pt x="26887" y="40501"/>
                      </a:cubicBezTo>
                      <a:cubicBezTo>
                        <a:pt x="47182" y="39298"/>
                        <a:pt x="57329" y="40869"/>
                        <a:pt x="66746" y="30474"/>
                      </a:cubicBezTo>
                      <a:cubicBezTo>
                        <a:pt x="76163" y="20080"/>
                        <a:pt x="90410" y="45515"/>
                        <a:pt x="96295" y="37694"/>
                      </a:cubicBezTo>
                      <a:cubicBezTo>
                        <a:pt x="98731" y="34352"/>
                        <a:pt x="95199" y="29639"/>
                        <a:pt x="104048" y="28636"/>
                      </a:cubicBezTo>
                      <a:cubicBezTo>
                        <a:pt x="108553" y="28101"/>
                        <a:pt x="124586" y="31143"/>
                        <a:pt x="124343" y="26497"/>
                      </a:cubicBezTo>
                      <a:cubicBezTo>
                        <a:pt x="124099" y="21851"/>
                        <a:pt x="133638" y="26163"/>
                        <a:pt x="136885" y="23422"/>
                      </a:cubicBezTo>
                      <a:cubicBezTo>
                        <a:pt x="140132" y="20681"/>
                        <a:pt x="139645" y="19211"/>
                        <a:pt x="145003" y="17339"/>
                      </a:cubicBezTo>
                      <a:cubicBezTo>
                        <a:pt x="139808" y="15731"/>
                        <a:pt x="134206" y="15370"/>
                        <a:pt x="128767" y="16303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3021" cap="flat">
                  <a:solidFill>
                    <a:schemeClr val="accent3">
                      <a:alpha val="44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grpSp>
              <p:nvGrpSpPr>
                <p:cNvPr id="256" name="Group 255">
                  <a:extLst>
                    <a:ext uri="{FF2B5EF4-FFF2-40B4-BE49-F238E27FC236}">
                      <a16:creationId xmlns:a16="http://schemas.microsoft.com/office/drawing/2014/main" id="{10B4BDD2-3B52-4BB8-B988-BC6CCA5DCA54}"/>
                    </a:ext>
                  </a:extLst>
                </p:cNvPr>
                <p:cNvGrpSpPr/>
                <p:nvPr/>
              </p:nvGrpSpPr>
              <p:grpSpPr>
                <a:xfrm>
                  <a:off x="5919317" y="3810531"/>
                  <a:ext cx="5822613" cy="1780476"/>
                  <a:chOff x="5919317" y="3810531"/>
                  <a:chExt cx="5822613" cy="1780476"/>
                </a:xfrm>
              </p:grpSpPr>
              <p:grpSp>
                <p:nvGrpSpPr>
                  <p:cNvPr id="257" name="Group 256">
                    <a:extLst>
                      <a:ext uri="{FF2B5EF4-FFF2-40B4-BE49-F238E27FC236}">
                        <a16:creationId xmlns:a16="http://schemas.microsoft.com/office/drawing/2014/main" id="{9DF53767-F863-4C9F-A434-600A8BB61FA6}"/>
                      </a:ext>
                    </a:extLst>
                  </p:cNvPr>
                  <p:cNvGrpSpPr/>
                  <p:nvPr/>
                </p:nvGrpSpPr>
                <p:grpSpPr>
                  <a:xfrm>
                    <a:off x="5919317" y="3810531"/>
                    <a:ext cx="5822613" cy="1780476"/>
                    <a:chOff x="5919317" y="3810531"/>
                    <a:chExt cx="5822613" cy="1780476"/>
                  </a:xfrm>
                </p:grpSpPr>
                <p:grpSp>
                  <p:nvGrpSpPr>
                    <p:cNvPr id="259" name="Group 258">
                      <a:extLst>
                        <a:ext uri="{FF2B5EF4-FFF2-40B4-BE49-F238E27FC236}">
                          <a16:creationId xmlns:a16="http://schemas.microsoft.com/office/drawing/2014/main" id="{9A463FF7-8618-44C1-94E1-EAAD901AA5E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919317" y="3810531"/>
                      <a:ext cx="5822613" cy="1780476"/>
                      <a:chOff x="5919317" y="3810531"/>
                      <a:chExt cx="5822613" cy="1780476"/>
                    </a:xfrm>
                  </p:grpSpPr>
                  <p:sp>
                    <p:nvSpPr>
                      <p:cNvPr id="261" name="Freeform: Shape 260">
                        <a:extLst>
                          <a:ext uri="{FF2B5EF4-FFF2-40B4-BE49-F238E27FC236}">
                            <a16:creationId xmlns:a16="http://schemas.microsoft.com/office/drawing/2014/main" id="{15E77EBA-FEB6-4977-8564-790FD61C4D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9858" y="4480055"/>
                        <a:ext cx="201319" cy="42781"/>
                      </a:xfrm>
                      <a:custGeom>
                        <a:avLst/>
                        <a:gdLst>
                          <a:gd name="connsiteX0" fmla="*/ 203172 w 206623"/>
                          <a:gd name="connsiteY0" fmla="*/ 12885 h 58577"/>
                          <a:gd name="connsiteX1" fmla="*/ 148255 w 206623"/>
                          <a:gd name="connsiteY1" fmla="*/ -117 h 58577"/>
                          <a:gd name="connsiteX2" fmla="*/ 114524 w 206623"/>
                          <a:gd name="connsiteY2" fmla="*/ 8574 h 58577"/>
                          <a:gd name="connsiteX3" fmla="*/ 31194 w 206623"/>
                          <a:gd name="connsiteY3" fmla="*/ 9409 h 58577"/>
                          <a:gd name="connsiteX4" fmla="*/ 21939 w 206623"/>
                          <a:gd name="connsiteY4" fmla="*/ 17966 h 58577"/>
                          <a:gd name="connsiteX5" fmla="*/ 9478 w 206623"/>
                          <a:gd name="connsiteY5" fmla="*/ 21676 h 58577"/>
                          <a:gd name="connsiteX6" fmla="*/ 2050 w 206623"/>
                          <a:gd name="connsiteY6" fmla="*/ 39323 h 58577"/>
                          <a:gd name="connsiteX7" fmla="*/ 72068 w 206623"/>
                          <a:gd name="connsiteY7" fmla="*/ 57505 h 58577"/>
                          <a:gd name="connsiteX8" fmla="*/ 109369 w 206623"/>
                          <a:gd name="connsiteY8" fmla="*/ 52392 h 58577"/>
                          <a:gd name="connsiteX9" fmla="*/ 145535 w 206623"/>
                          <a:gd name="connsiteY9" fmla="*/ 52392 h 58577"/>
                          <a:gd name="connsiteX10" fmla="*/ 176221 w 206623"/>
                          <a:gd name="connsiteY10" fmla="*/ 30132 h 58577"/>
                          <a:gd name="connsiteX11" fmla="*/ 203172 w 206623"/>
                          <a:gd name="connsiteY11" fmla="*/ 13052 h 5857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06623" h="58577">
                            <a:moveTo>
                              <a:pt x="203172" y="12885"/>
                            </a:moveTo>
                            <a:cubicBezTo>
                              <a:pt x="184339" y="8874"/>
                              <a:pt x="168225" y="2858"/>
                              <a:pt x="148255" y="-117"/>
                            </a:cubicBezTo>
                            <a:cubicBezTo>
                              <a:pt x="135225" y="-2022"/>
                              <a:pt x="127351" y="8975"/>
                              <a:pt x="114524" y="8574"/>
                            </a:cubicBezTo>
                            <a:cubicBezTo>
                              <a:pt x="88750" y="7805"/>
                              <a:pt x="52422" y="25586"/>
                              <a:pt x="31194" y="9409"/>
                            </a:cubicBezTo>
                            <a:cubicBezTo>
                              <a:pt x="26364" y="11648"/>
                              <a:pt x="28271" y="16963"/>
                              <a:pt x="21939" y="17966"/>
                            </a:cubicBezTo>
                            <a:cubicBezTo>
                              <a:pt x="14471" y="19169"/>
                              <a:pt x="8545" y="15860"/>
                              <a:pt x="9478" y="21676"/>
                            </a:cubicBezTo>
                            <a:cubicBezTo>
                              <a:pt x="10818" y="30265"/>
                              <a:pt x="-5784" y="31703"/>
                              <a:pt x="2050" y="39323"/>
                            </a:cubicBezTo>
                            <a:cubicBezTo>
                              <a:pt x="14552" y="51222"/>
                              <a:pt x="44954" y="61048"/>
                              <a:pt x="72068" y="57505"/>
                            </a:cubicBezTo>
                            <a:cubicBezTo>
                              <a:pt x="82621" y="56102"/>
                              <a:pt x="98451" y="51924"/>
                              <a:pt x="109369" y="52392"/>
                            </a:cubicBezTo>
                            <a:cubicBezTo>
                              <a:pt x="126377" y="53127"/>
                              <a:pt x="129299" y="57840"/>
                              <a:pt x="145535" y="52392"/>
                            </a:cubicBezTo>
                            <a:cubicBezTo>
                              <a:pt x="160188" y="47311"/>
                              <a:pt x="167535" y="37819"/>
                              <a:pt x="176221" y="30132"/>
                            </a:cubicBezTo>
                            <a:cubicBezTo>
                              <a:pt x="181132" y="25686"/>
                              <a:pt x="217704" y="16161"/>
                              <a:pt x="203172" y="13052"/>
                            </a:cubicBez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021" cap="flat">
                        <a:solidFill>
                          <a:schemeClr val="accent3">
                            <a:alpha val="44000"/>
                          </a:schemeClr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/>
                      </a:p>
                    </p:txBody>
                  </p:sp>
                  <p:grpSp>
                    <p:nvGrpSpPr>
                      <p:cNvPr id="262" name="Group 261">
                        <a:extLst>
                          <a:ext uri="{FF2B5EF4-FFF2-40B4-BE49-F238E27FC236}">
                            <a16:creationId xmlns:a16="http://schemas.microsoft.com/office/drawing/2014/main" id="{E4772EBE-0CAB-4BF0-9658-30456FA91E6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919317" y="3810531"/>
                        <a:ext cx="5822613" cy="1780476"/>
                        <a:chOff x="5919317" y="3810531"/>
                        <a:chExt cx="5822613" cy="1780476"/>
                      </a:xfrm>
                    </p:grpSpPr>
                    <p:sp>
                      <p:nvSpPr>
                        <p:cNvPr id="263" name="Freeform: Shape 262">
                          <a:extLst>
                            <a:ext uri="{FF2B5EF4-FFF2-40B4-BE49-F238E27FC236}">
                              <a16:creationId xmlns:a16="http://schemas.microsoft.com/office/drawing/2014/main" id="{EE639C2F-D9F3-42C8-826D-41827FB766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64108" y="4438426"/>
                          <a:ext cx="194845" cy="40765"/>
                        </a:xfrm>
                        <a:custGeom>
                          <a:avLst/>
                          <a:gdLst>
                            <a:gd name="connsiteX0" fmla="*/ 189406 w 199978"/>
                            <a:gd name="connsiteY0" fmla="*/ 26601 h 55817"/>
                            <a:gd name="connsiteX1" fmla="*/ 166554 w 199978"/>
                            <a:gd name="connsiteY1" fmla="*/ 20651 h 55817"/>
                            <a:gd name="connsiteX2" fmla="*/ 137695 w 199978"/>
                            <a:gd name="connsiteY2" fmla="*/ 19515 h 55817"/>
                            <a:gd name="connsiteX3" fmla="*/ 119754 w 199978"/>
                            <a:gd name="connsiteY3" fmla="*/ 10658 h 55817"/>
                            <a:gd name="connsiteX4" fmla="*/ 82858 w 199978"/>
                            <a:gd name="connsiteY4" fmla="*/ -339 h 55817"/>
                            <a:gd name="connsiteX5" fmla="*/ 59722 w 199978"/>
                            <a:gd name="connsiteY5" fmla="*/ 2736 h 55817"/>
                            <a:gd name="connsiteX6" fmla="*/ 15763 w 199978"/>
                            <a:gd name="connsiteY6" fmla="*/ 12596 h 55817"/>
                            <a:gd name="connsiteX7" fmla="*/ 5778 w 199978"/>
                            <a:gd name="connsiteY7" fmla="*/ 25966 h 55817"/>
                            <a:gd name="connsiteX8" fmla="*/ 27981 w 199978"/>
                            <a:gd name="connsiteY8" fmla="*/ 42677 h 55817"/>
                            <a:gd name="connsiteX9" fmla="*/ 48276 w 199978"/>
                            <a:gd name="connsiteY9" fmla="*/ 52705 h 55817"/>
                            <a:gd name="connsiteX10" fmla="*/ 81681 w 199978"/>
                            <a:gd name="connsiteY10" fmla="*/ 45719 h 55817"/>
                            <a:gd name="connsiteX11" fmla="*/ 112570 w 199978"/>
                            <a:gd name="connsiteY11" fmla="*/ 49864 h 55817"/>
                            <a:gd name="connsiteX12" fmla="*/ 139684 w 199978"/>
                            <a:gd name="connsiteY12" fmla="*/ 55479 h 55817"/>
                            <a:gd name="connsiteX13" fmla="*/ 168097 w 199978"/>
                            <a:gd name="connsiteY13" fmla="*/ 48025 h 55817"/>
                            <a:gd name="connsiteX14" fmla="*/ 199919 w 199978"/>
                            <a:gd name="connsiteY14" fmla="*/ 35090 h 55817"/>
                            <a:gd name="connsiteX15" fmla="*/ 189366 w 199978"/>
                            <a:gd name="connsiteY15" fmla="*/ 26668 h 55817"/>
                            <a:gd name="connsiteX16" fmla="*/ 189406 w 199978"/>
                            <a:gd name="connsiteY16" fmla="*/ 26601 h 5581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</a:cxnLst>
                          <a:rect l="l" t="t" r="r" b="b"/>
                          <a:pathLst>
                            <a:path w="199978" h="55817">
                              <a:moveTo>
                                <a:pt x="189406" y="26601"/>
                              </a:moveTo>
                              <a:cubicBezTo>
                                <a:pt x="180030" y="23459"/>
                                <a:pt x="170288" y="27169"/>
                                <a:pt x="166554" y="20651"/>
                              </a:cubicBezTo>
                              <a:cubicBezTo>
                                <a:pt x="161521" y="11828"/>
                                <a:pt x="145245" y="18713"/>
                                <a:pt x="137695" y="19515"/>
                              </a:cubicBezTo>
                              <a:cubicBezTo>
                                <a:pt x="126979" y="20651"/>
                                <a:pt x="125072" y="13298"/>
                                <a:pt x="119754" y="10658"/>
                              </a:cubicBezTo>
                              <a:cubicBezTo>
                                <a:pt x="109647" y="5711"/>
                                <a:pt x="94061" y="3973"/>
                                <a:pt x="82858" y="-339"/>
                              </a:cubicBezTo>
                              <a:cubicBezTo>
                                <a:pt x="79976" y="3405"/>
                                <a:pt x="66622" y="1266"/>
                                <a:pt x="59722" y="2736"/>
                              </a:cubicBezTo>
                              <a:cubicBezTo>
                                <a:pt x="45110" y="5778"/>
                                <a:pt x="30863" y="10424"/>
                                <a:pt x="15763" y="12596"/>
                              </a:cubicBezTo>
                              <a:cubicBezTo>
                                <a:pt x="-7860" y="15939"/>
                                <a:pt x="542" y="15939"/>
                                <a:pt x="5778" y="25966"/>
                              </a:cubicBezTo>
                              <a:cubicBezTo>
                                <a:pt x="10365" y="34723"/>
                                <a:pt x="13896" y="37463"/>
                                <a:pt x="27981" y="42677"/>
                              </a:cubicBezTo>
                              <a:cubicBezTo>
                                <a:pt x="30741" y="43680"/>
                                <a:pt x="52091" y="50331"/>
                                <a:pt x="48276" y="52705"/>
                              </a:cubicBezTo>
                              <a:cubicBezTo>
                                <a:pt x="64877" y="55211"/>
                                <a:pt x="76689" y="54777"/>
                                <a:pt x="81681" y="45719"/>
                              </a:cubicBezTo>
                              <a:cubicBezTo>
                                <a:pt x="84076" y="41307"/>
                                <a:pt x="108511" y="47357"/>
                                <a:pt x="112570" y="49864"/>
                              </a:cubicBezTo>
                              <a:cubicBezTo>
                                <a:pt x="122839" y="56114"/>
                                <a:pt x="134894" y="48560"/>
                                <a:pt x="139684" y="55479"/>
                              </a:cubicBezTo>
                              <a:cubicBezTo>
                                <a:pt x="145854" y="48527"/>
                                <a:pt x="156448" y="50766"/>
                                <a:pt x="168097" y="48025"/>
                              </a:cubicBezTo>
                              <a:cubicBezTo>
                                <a:pt x="180274" y="45117"/>
                                <a:pt x="187377" y="38332"/>
                                <a:pt x="199919" y="35090"/>
                              </a:cubicBezTo>
                              <a:cubicBezTo>
                                <a:pt x="196307" y="32617"/>
                                <a:pt x="194602" y="28405"/>
                                <a:pt x="189366" y="26668"/>
                              </a:cubicBezTo>
                              <a:cubicBezTo>
                                <a:pt x="184130" y="24930"/>
                                <a:pt x="193587" y="28038"/>
                                <a:pt x="189406" y="26601"/>
                              </a:cubicBezTo>
                              <a:close/>
                            </a:path>
                          </a:pathLst>
                        </a:custGeom>
                        <a:solidFill>
                          <a:schemeClr val="accent3"/>
                        </a:solidFill>
                        <a:ln w="3021" cap="flat">
                          <a:solidFill>
                            <a:schemeClr val="accent3">
                              <a:alpha val="44000"/>
                            </a:schemeClr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GB"/>
                        </a:p>
                      </p:txBody>
                    </p:sp>
                    <p:grpSp>
                      <p:nvGrpSpPr>
                        <p:cNvPr id="264" name="Group 263">
                          <a:extLst>
                            <a:ext uri="{FF2B5EF4-FFF2-40B4-BE49-F238E27FC236}">
                              <a16:creationId xmlns:a16="http://schemas.microsoft.com/office/drawing/2014/main" id="{35D0869C-2D0F-493A-872F-59FA3751FD24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5919317" y="3810531"/>
                          <a:ext cx="5822613" cy="1780476"/>
                          <a:chOff x="5919317" y="3810531"/>
                          <a:chExt cx="5822613" cy="1780476"/>
                        </a:xfrm>
                      </p:grpSpPr>
                      <p:grpSp>
                        <p:nvGrpSpPr>
                          <p:cNvPr id="265" name="Group 264">
                            <a:extLst>
                              <a:ext uri="{FF2B5EF4-FFF2-40B4-BE49-F238E27FC236}">
                                <a16:creationId xmlns:a16="http://schemas.microsoft.com/office/drawing/2014/main" id="{DEE06066-1DE5-4226-AC79-80887E59B0A6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5919317" y="3810531"/>
                            <a:ext cx="883469" cy="663729"/>
                            <a:chOff x="5919317" y="3810531"/>
                            <a:chExt cx="883469" cy="663729"/>
                          </a:xfrm>
                        </p:grpSpPr>
                        <p:sp>
                          <p:nvSpPr>
                            <p:cNvPr id="267" name="Freeform: Shape 266">
                              <a:extLst>
                                <a:ext uri="{FF2B5EF4-FFF2-40B4-BE49-F238E27FC236}">
                                  <a16:creationId xmlns:a16="http://schemas.microsoft.com/office/drawing/2014/main" id="{CC88DCC5-9CD7-4F5D-A762-1C4B319612E1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6023077" y="4321905"/>
                              <a:ext cx="151660" cy="55113"/>
                            </a:xfrm>
                            <a:custGeom>
                              <a:avLst/>
                              <a:gdLst>
                                <a:gd name="connsiteX0" fmla="*/ 78924 w 155655"/>
                                <a:gd name="connsiteY0" fmla="*/ 27249 h 75462"/>
                                <a:gd name="connsiteX1" fmla="*/ 67803 w 155655"/>
                                <a:gd name="connsiteY1" fmla="*/ 845 h 75462"/>
                                <a:gd name="connsiteX2" fmla="*/ 45275 w 155655"/>
                                <a:gd name="connsiteY2" fmla="*/ 12509 h 75462"/>
                                <a:gd name="connsiteX3" fmla="*/ 35006 w 155655"/>
                                <a:gd name="connsiteY3" fmla="*/ 21333 h 75462"/>
                                <a:gd name="connsiteX4" fmla="*/ 10084 w 155655"/>
                                <a:gd name="connsiteY4" fmla="*/ 18726 h 75462"/>
                                <a:gd name="connsiteX5" fmla="*/ 1113 w 155655"/>
                                <a:gd name="connsiteY5" fmla="*/ 43627 h 75462"/>
                                <a:gd name="connsiteX6" fmla="*/ 8947 w 155655"/>
                                <a:gd name="connsiteY6" fmla="*/ 53654 h 75462"/>
                                <a:gd name="connsiteX7" fmla="*/ 16253 w 155655"/>
                                <a:gd name="connsiteY7" fmla="*/ 65686 h 75462"/>
                                <a:gd name="connsiteX8" fmla="*/ 63744 w 155655"/>
                                <a:gd name="connsiteY8" fmla="*/ 70633 h 75462"/>
                                <a:gd name="connsiteX9" fmla="*/ 53677 w 155655"/>
                                <a:gd name="connsiteY9" fmla="*/ 59770 h 75462"/>
                                <a:gd name="connsiteX10" fmla="*/ 78599 w 155655"/>
                                <a:gd name="connsiteY10" fmla="*/ 65486 h 75462"/>
                                <a:gd name="connsiteX11" fmla="*/ 83713 w 155655"/>
                                <a:gd name="connsiteY11" fmla="*/ 52117 h 75462"/>
                                <a:gd name="connsiteX12" fmla="*/ 64109 w 155655"/>
                                <a:gd name="connsiteY12" fmla="*/ 51381 h 75462"/>
                                <a:gd name="connsiteX13" fmla="*/ 73525 w 155655"/>
                                <a:gd name="connsiteY13" fmla="*/ 40819 h 75462"/>
                                <a:gd name="connsiteX14" fmla="*/ 91953 w 155655"/>
                                <a:gd name="connsiteY14" fmla="*/ 36474 h 75462"/>
                                <a:gd name="connsiteX15" fmla="*/ 78924 w 155655"/>
                                <a:gd name="connsiteY15" fmla="*/ 27015 h 75462"/>
                                <a:gd name="connsiteX16" fmla="*/ 154096 w 155655"/>
                                <a:gd name="connsiteY16" fmla="*/ 42858 h 75462"/>
                                <a:gd name="connsiteX17" fmla="*/ 140377 w 155655"/>
                                <a:gd name="connsiteY17" fmla="*/ 46200 h 75462"/>
                                <a:gd name="connsiteX18" fmla="*/ 132259 w 155655"/>
                                <a:gd name="connsiteY18" fmla="*/ 41087 h 75462"/>
                                <a:gd name="connsiteX19" fmla="*/ 120529 w 155655"/>
                                <a:gd name="connsiteY19" fmla="*/ 44262 h 75462"/>
                                <a:gd name="connsiteX20" fmla="*/ 106484 w 155655"/>
                                <a:gd name="connsiteY20" fmla="*/ 54022 h 75462"/>
                                <a:gd name="connsiteX21" fmla="*/ 121949 w 155655"/>
                                <a:gd name="connsiteY21" fmla="*/ 62946 h 75462"/>
                                <a:gd name="connsiteX22" fmla="*/ 108270 w 155655"/>
                                <a:gd name="connsiteY22" fmla="*/ 69363 h 75462"/>
                                <a:gd name="connsiteX23" fmla="*/ 145532 w 155655"/>
                                <a:gd name="connsiteY23" fmla="*/ 62678 h 75462"/>
                                <a:gd name="connsiteX24" fmla="*/ 153893 w 155655"/>
                                <a:gd name="connsiteY24" fmla="*/ 42624 h 75462"/>
                                <a:gd name="connsiteX25" fmla="*/ 154096 w 155655"/>
                                <a:gd name="connsiteY25" fmla="*/ 42858 h 75462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  <a:cxn ang="0">
                                  <a:pos x="connsiteX18" y="connsiteY18"/>
                                </a:cxn>
                                <a:cxn ang="0">
                                  <a:pos x="connsiteX19" y="connsiteY19"/>
                                </a:cxn>
                                <a:cxn ang="0">
                                  <a:pos x="connsiteX20" y="connsiteY20"/>
                                </a:cxn>
                                <a:cxn ang="0">
                                  <a:pos x="connsiteX21" y="connsiteY21"/>
                                </a:cxn>
                                <a:cxn ang="0">
                                  <a:pos x="connsiteX22" y="connsiteY22"/>
                                </a:cxn>
                                <a:cxn ang="0">
                                  <a:pos x="connsiteX23" y="connsiteY23"/>
                                </a:cxn>
                                <a:cxn ang="0">
                                  <a:pos x="connsiteX24" y="connsiteY24"/>
                                </a:cxn>
                                <a:cxn ang="0">
                                  <a:pos x="connsiteX25" y="connsiteY25"/>
                                </a:cxn>
                              </a:cxnLst>
                              <a:rect l="l" t="t" r="r" b="b"/>
                              <a:pathLst>
                                <a:path w="155655" h="75462">
                                  <a:moveTo>
                                    <a:pt x="78924" y="27249"/>
                                  </a:moveTo>
                                  <a:cubicBezTo>
                                    <a:pt x="64636" y="23706"/>
                                    <a:pt x="101817" y="-6642"/>
                                    <a:pt x="67803" y="845"/>
                                  </a:cubicBezTo>
                                  <a:cubicBezTo>
                                    <a:pt x="55382" y="3585"/>
                                    <a:pt x="59685" y="12142"/>
                                    <a:pt x="45275" y="12509"/>
                                  </a:cubicBezTo>
                                  <a:cubicBezTo>
                                    <a:pt x="29770" y="12944"/>
                                    <a:pt x="44545" y="22169"/>
                                    <a:pt x="35006" y="21333"/>
                                  </a:cubicBezTo>
                                  <a:cubicBezTo>
                                    <a:pt x="26888" y="20631"/>
                                    <a:pt x="18770" y="10705"/>
                                    <a:pt x="10084" y="18726"/>
                                  </a:cubicBezTo>
                                  <a:cubicBezTo>
                                    <a:pt x="1398" y="26748"/>
                                    <a:pt x="-2093" y="34536"/>
                                    <a:pt x="1113" y="43627"/>
                                  </a:cubicBezTo>
                                  <a:cubicBezTo>
                                    <a:pt x="2169" y="47631"/>
                                    <a:pt x="4970" y="51187"/>
                                    <a:pt x="8947" y="53654"/>
                                  </a:cubicBezTo>
                                  <a:cubicBezTo>
                                    <a:pt x="16010" y="58300"/>
                                    <a:pt x="12276" y="60974"/>
                                    <a:pt x="16253" y="65686"/>
                                  </a:cubicBezTo>
                                  <a:cubicBezTo>
                                    <a:pt x="21084" y="71402"/>
                                    <a:pt x="51120" y="71536"/>
                                    <a:pt x="63744" y="70633"/>
                                  </a:cubicBezTo>
                                  <a:cubicBezTo>
                                    <a:pt x="62891" y="69898"/>
                                    <a:pt x="42434" y="60305"/>
                                    <a:pt x="53677" y="59770"/>
                                  </a:cubicBezTo>
                                  <a:cubicBezTo>
                                    <a:pt x="62729" y="59336"/>
                                    <a:pt x="69466" y="64851"/>
                                    <a:pt x="78599" y="65486"/>
                                  </a:cubicBezTo>
                                  <a:cubicBezTo>
                                    <a:pt x="95119" y="66656"/>
                                    <a:pt x="95972" y="54289"/>
                                    <a:pt x="83713" y="52117"/>
                                  </a:cubicBezTo>
                                  <a:cubicBezTo>
                                    <a:pt x="75596" y="50679"/>
                                    <a:pt x="71131" y="56395"/>
                                    <a:pt x="64109" y="51381"/>
                                  </a:cubicBezTo>
                                  <a:cubicBezTo>
                                    <a:pt x="60293" y="48640"/>
                                    <a:pt x="71983" y="43293"/>
                                    <a:pt x="73525" y="40819"/>
                                  </a:cubicBezTo>
                                  <a:cubicBezTo>
                                    <a:pt x="75677" y="37310"/>
                                    <a:pt x="86758" y="37811"/>
                                    <a:pt x="91953" y="36474"/>
                                  </a:cubicBezTo>
                                  <a:cubicBezTo>
                                    <a:pt x="103359" y="33600"/>
                                    <a:pt x="83105" y="28051"/>
                                    <a:pt x="78924" y="27015"/>
                                  </a:cubicBezTo>
                                  <a:close/>
                                  <a:moveTo>
                                    <a:pt x="154096" y="42858"/>
                                  </a:moveTo>
                                  <a:cubicBezTo>
                                    <a:pt x="148698" y="41087"/>
                                    <a:pt x="145653" y="48975"/>
                                    <a:pt x="140377" y="46200"/>
                                  </a:cubicBezTo>
                                  <a:cubicBezTo>
                                    <a:pt x="139362" y="45699"/>
                                    <a:pt x="134167" y="40452"/>
                                    <a:pt x="132259" y="41087"/>
                                  </a:cubicBezTo>
                                  <a:cubicBezTo>
                                    <a:pt x="125440" y="43560"/>
                                    <a:pt x="131447" y="44696"/>
                                    <a:pt x="120529" y="44262"/>
                                  </a:cubicBezTo>
                                  <a:cubicBezTo>
                                    <a:pt x="110868" y="43894"/>
                                    <a:pt x="104293" y="49710"/>
                                    <a:pt x="106484" y="54022"/>
                                  </a:cubicBezTo>
                                  <a:cubicBezTo>
                                    <a:pt x="108676" y="58333"/>
                                    <a:pt x="115577" y="60706"/>
                                    <a:pt x="121949" y="62946"/>
                                  </a:cubicBezTo>
                                  <a:cubicBezTo>
                                    <a:pt x="134126" y="66990"/>
                                    <a:pt x="107134" y="66622"/>
                                    <a:pt x="108270" y="69363"/>
                                  </a:cubicBezTo>
                                  <a:cubicBezTo>
                                    <a:pt x="113709" y="82732"/>
                                    <a:pt x="142244" y="69564"/>
                                    <a:pt x="145532" y="62678"/>
                                  </a:cubicBezTo>
                                  <a:cubicBezTo>
                                    <a:pt x="146831" y="59938"/>
                                    <a:pt x="157709" y="43861"/>
                                    <a:pt x="153893" y="42624"/>
                                  </a:cubicBezTo>
                                  <a:cubicBezTo>
                                    <a:pt x="150078" y="41387"/>
                                    <a:pt x="158967" y="44195"/>
                                    <a:pt x="154096" y="42858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accent3"/>
                            </a:solidFill>
                            <a:ln w="3021" cap="flat">
                              <a:solidFill>
                                <a:schemeClr val="accent3">
                                  <a:alpha val="44000"/>
                                </a:schemeClr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en-GB"/>
                            </a:p>
                          </p:txBody>
                        </p:sp>
                        <p:grpSp>
                          <p:nvGrpSpPr>
                            <p:cNvPr id="268" name="Group 267">
                              <a:extLst>
                                <a:ext uri="{FF2B5EF4-FFF2-40B4-BE49-F238E27FC236}">
                                  <a16:creationId xmlns:a16="http://schemas.microsoft.com/office/drawing/2014/main" id="{458FEB4A-6182-43FE-8145-45534996E8FD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5919317" y="3810531"/>
                              <a:ext cx="883469" cy="663729"/>
                              <a:chOff x="5919317" y="3810531"/>
                              <a:chExt cx="883469" cy="663729"/>
                            </a:xfrm>
                          </p:grpSpPr>
                          <p:sp>
                            <p:nvSpPr>
                              <p:cNvPr id="269" name="Freeform: Shape 268">
                                <a:extLst>
                                  <a:ext uri="{FF2B5EF4-FFF2-40B4-BE49-F238E27FC236}">
                                    <a16:creationId xmlns:a16="http://schemas.microsoft.com/office/drawing/2014/main" id="{37B74FE7-32A6-46F8-AE0A-245D1420E551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6430401" y="4349304"/>
                                <a:ext cx="186136" cy="45974"/>
                              </a:xfrm>
                              <a:custGeom>
                                <a:avLst/>
                                <a:gdLst>
                                  <a:gd name="connsiteX0" fmla="*/ 24715 w 191040"/>
                                  <a:gd name="connsiteY0" fmla="*/ 28205 h 62949"/>
                                  <a:gd name="connsiteX1" fmla="*/ 62301 w 191040"/>
                                  <a:gd name="connsiteY1" fmla="*/ 41575 h 62949"/>
                                  <a:gd name="connsiteX2" fmla="*/ 85681 w 191040"/>
                                  <a:gd name="connsiteY2" fmla="*/ 58019 h 62949"/>
                                  <a:gd name="connsiteX3" fmla="*/ 140234 w 191040"/>
                                  <a:gd name="connsiteY3" fmla="*/ 56816 h 62949"/>
                                  <a:gd name="connsiteX4" fmla="*/ 174085 w 191040"/>
                                  <a:gd name="connsiteY4" fmla="*/ 41508 h 62949"/>
                                  <a:gd name="connsiteX5" fmla="*/ 183786 w 191040"/>
                                  <a:gd name="connsiteY5" fmla="*/ 22757 h 62949"/>
                                  <a:gd name="connsiteX6" fmla="*/ 156591 w 191040"/>
                                  <a:gd name="connsiteY6" fmla="*/ 11560 h 62949"/>
                                  <a:gd name="connsiteX7" fmla="*/ 135322 w 191040"/>
                                  <a:gd name="connsiteY7" fmla="*/ 5711 h 62949"/>
                                  <a:gd name="connsiteX8" fmla="*/ 110969 w 191040"/>
                                  <a:gd name="connsiteY8" fmla="*/ 5042 h 62949"/>
                                  <a:gd name="connsiteX9" fmla="*/ 78497 w 191040"/>
                                  <a:gd name="connsiteY9" fmla="*/ 2436 h 62949"/>
                                  <a:gd name="connsiteX10" fmla="*/ 44970 w 191040"/>
                                  <a:gd name="connsiteY10" fmla="*/ -339 h 62949"/>
                                  <a:gd name="connsiteX11" fmla="*/ 7221 w 191040"/>
                                  <a:gd name="connsiteY11" fmla="*/ 3472 h 62949"/>
                                  <a:gd name="connsiteX12" fmla="*/ 36 w 191040"/>
                                  <a:gd name="connsiteY12" fmla="*/ 24094 h 62949"/>
                                  <a:gd name="connsiteX13" fmla="*/ 24756 w 191040"/>
                                  <a:gd name="connsiteY13" fmla="*/ 28272 h 62949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</a:cxnLst>
                                <a:rect l="l" t="t" r="r" b="b"/>
                                <a:pathLst>
                                  <a:path w="191040" h="62949">
                                    <a:moveTo>
                                      <a:pt x="24715" y="28205"/>
                                    </a:moveTo>
                                    <a:cubicBezTo>
                                      <a:pt x="33604" y="35124"/>
                                      <a:pt x="65305" y="30210"/>
                                      <a:pt x="62301" y="41575"/>
                                    </a:cubicBezTo>
                                    <a:cubicBezTo>
                                      <a:pt x="58243" y="55512"/>
                                      <a:pt x="71028" y="48527"/>
                                      <a:pt x="85681" y="58019"/>
                                    </a:cubicBezTo>
                                    <a:cubicBezTo>
                                      <a:pt x="101673" y="68447"/>
                                      <a:pt x="123633" y="58019"/>
                                      <a:pt x="140234" y="56816"/>
                                    </a:cubicBezTo>
                                    <a:cubicBezTo>
                                      <a:pt x="161178" y="55178"/>
                                      <a:pt x="152411" y="44048"/>
                                      <a:pt x="174085" y="41508"/>
                                    </a:cubicBezTo>
                                    <a:cubicBezTo>
                                      <a:pt x="191295" y="39536"/>
                                      <a:pt x="196816" y="27704"/>
                                      <a:pt x="183786" y="22757"/>
                                    </a:cubicBezTo>
                                    <a:cubicBezTo>
                                      <a:pt x="174370" y="19214"/>
                                      <a:pt x="166658" y="14702"/>
                                      <a:pt x="156591" y="11560"/>
                                    </a:cubicBezTo>
                                    <a:cubicBezTo>
                                      <a:pt x="147824" y="8853"/>
                                      <a:pt x="142750" y="9354"/>
                                      <a:pt x="135322" y="5711"/>
                                    </a:cubicBezTo>
                                    <a:cubicBezTo>
                                      <a:pt x="129640" y="2970"/>
                                      <a:pt x="117665" y="5343"/>
                                      <a:pt x="110969" y="5042"/>
                                    </a:cubicBezTo>
                                    <a:cubicBezTo>
                                      <a:pt x="100293" y="4541"/>
                                      <a:pt x="89172" y="3505"/>
                                      <a:pt x="78497" y="2436"/>
                                    </a:cubicBezTo>
                                    <a:cubicBezTo>
                                      <a:pt x="67415" y="938"/>
                                      <a:pt x="56213" y="12"/>
                                      <a:pt x="44970" y="-339"/>
                                    </a:cubicBezTo>
                                    <a:cubicBezTo>
                                      <a:pt x="31981" y="-339"/>
                                      <a:pt x="20900" y="3371"/>
                                      <a:pt x="7221" y="3472"/>
                                    </a:cubicBezTo>
                                    <a:cubicBezTo>
                                      <a:pt x="16272" y="13499"/>
                                      <a:pt x="3162" y="15872"/>
                                      <a:pt x="36" y="24094"/>
                                    </a:cubicBezTo>
                                    <a:cubicBezTo>
                                      <a:pt x="-1709" y="28506"/>
                                      <a:pt x="20859" y="25264"/>
                                      <a:pt x="24756" y="28272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chemeClr val="accent3"/>
                              </a:solidFill>
                              <a:ln w="3021" cap="flat">
                                <a:solidFill>
                                  <a:schemeClr val="accent3">
                                    <a:alpha val="44000"/>
                                  </a:schemeClr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GB"/>
                              </a:p>
                            </p:txBody>
                          </p:sp>
                          <p:grpSp>
                            <p:nvGrpSpPr>
                              <p:cNvPr id="270" name="Group 269">
                                <a:extLst>
                                  <a:ext uri="{FF2B5EF4-FFF2-40B4-BE49-F238E27FC236}">
                                    <a16:creationId xmlns:a16="http://schemas.microsoft.com/office/drawing/2014/main" id="{01DE4504-CDB2-4302-BE57-2CF913166131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5919317" y="3810531"/>
                                <a:ext cx="883469" cy="663729"/>
                                <a:chOff x="5919317" y="3810531"/>
                                <a:chExt cx="883469" cy="663729"/>
                              </a:xfrm>
                            </p:grpSpPr>
                            <p:sp>
                              <p:nvSpPr>
                                <p:cNvPr id="271" name="Freeform: Shape 270">
                                  <a:extLst>
                                    <a:ext uri="{FF2B5EF4-FFF2-40B4-BE49-F238E27FC236}">
                                      <a16:creationId xmlns:a16="http://schemas.microsoft.com/office/drawing/2014/main" id="{9DB300D6-922B-4345-B551-077D341E2764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6220655" y="4373740"/>
                                  <a:ext cx="303861" cy="100520"/>
                                </a:xfrm>
                                <a:custGeom>
                                  <a:avLst/>
                                  <a:gdLst>
                                    <a:gd name="connsiteX0" fmla="*/ 3593 w 311866"/>
                                    <a:gd name="connsiteY0" fmla="*/ 24726 h 137635"/>
                                    <a:gd name="connsiteX1" fmla="*/ 710 w 311866"/>
                                    <a:gd name="connsiteY1" fmla="*/ 47755 h 137635"/>
                                    <a:gd name="connsiteX2" fmla="*/ 16946 w 311866"/>
                                    <a:gd name="connsiteY2" fmla="*/ 71352 h 137635"/>
                                    <a:gd name="connsiteX3" fmla="*/ 43695 w 311866"/>
                                    <a:gd name="connsiteY3" fmla="*/ 94214 h 137635"/>
                                    <a:gd name="connsiteX4" fmla="*/ 63990 w 311866"/>
                                    <a:gd name="connsiteY4" fmla="*/ 100899 h 137635"/>
                                    <a:gd name="connsiteX5" fmla="*/ 79455 w 311866"/>
                                    <a:gd name="connsiteY5" fmla="*/ 108152 h 137635"/>
                                    <a:gd name="connsiteX6" fmla="*/ 87329 w 311866"/>
                                    <a:gd name="connsiteY6" fmla="*/ 104809 h 137635"/>
                                    <a:gd name="connsiteX7" fmla="*/ 101008 w 311866"/>
                                    <a:gd name="connsiteY7" fmla="*/ 105578 h 137635"/>
                                    <a:gd name="connsiteX8" fmla="*/ 112576 w 311866"/>
                                    <a:gd name="connsiteY8" fmla="*/ 113199 h 137635"/>
                                    <a:gd name="connsiteX9" fmla="*/ 134697 w 311866"/>
                                    <a:gd name="connsiteY9" fmla="*/ 117377 h 137635"/>
                                    <a:gd name="connsiteX10" fmla="*/ 156575 w 311866"/>
                                    <a:gd name="connsiteY10" fmla="*/ 125766 h 137635"/>
                                    <a:gd name="connsiteX11" fmla="*/ 178331 w 311866"/>
                                    <a:gd name="connsiteY11" fmla="*/ 127738 h 137635"/>
                                    <a:gd name="connsiteX12" fmla="*/ 205323 w 311866"/>
                                    <a:gd name="connsiteY12" fmla="*/ 128306 h 137635"/>
                                    <a:gd name="connsiteX13" fmla="*/ 235441 w 311866"/>
                                    <a:gd name="connsiteY13" fmla="*/ 131180 h 137635"/>
                                    <a:gd name="connsiteX14" fmla="*/ 265640 w 311866"/>
                                    <a:gd name="connsiteY14" fmla="*/ 137297 h 137635"/>
                                    <a:gd name="connsiteX15" fmla="*/ 268684 w 311866"/>
                                    <a:gd name="connsiteY15" fmla="*/ 123694 h 137635"/>
                                    <a:gd name="connsiteX16" fmla="*/ 296529 w 311866"/>
                                    <a:gd name="connsiteY16" fmla="*/ 111060 h 137635"/>
                                    <a:gd name="connsiteX17" fmla="*/ 309274 w 311866"/>
                                    <a:gd name="connsiteY17" fmla="*/ 98292 h 137635"/>
                                    <a:gd name="connsiteX18" fmla="*/ 296772 w 311866"/>
                                    <a:gd name="connsiteY18" fmla="*/ 79541 h 137635"/>
                                    <a:gd name="connsiteX19" fmla="*/ 297543 w 311866"/>
                                    <a:gd name="connsiteY19" fmla="*/ 70650 h 137635"/>
                                    <a:gd name="connsiteX20" fmla="*/ 287680 w 311866"/>
                                    <a:gd name="connsiteY20" fmla="*/ 63966 h 137635"/>
                                    <a:gd name="connsiteX21" fmla="*/ 311790 w 311866"/>
                                    <a:gd name="connsiteY21" fmla="*/ 49326 h 137635"/>
                                    <a:gd name="connsiteX22" fmla="*/ 306879 w 311866"/>
                                    <a:gd name="connsiteY22" fmla="*/ 41305 h 137635"/>
                                    <a:gd name="connsiteX23" fmla="*/ 302536 w 311866"/>
                                    <a:gd name="connsiteY23" fmla="*/ 26030 h 137635"/>
                                    <a:gd name="connsiteX24" fmla="*/ 275990 w 311866"/>
                                    <a:gd name="connsiteY24" fmla="*/ 16905 h 137635"/>
                                    <a:gd name="connsiteX25" fmla="*/ 193674 w 311866"/>
                                    <a:gd name="connsiteY25" fmla="*/ 12560 h 137635"/>
                                    <a:gd name="connsiteX26" fmla="*/ 182106 w 311866"/>
                                    <a:gd name="connsiteY26" fmla="*/ 10388 h 137635"/>
                                    <a:gd name="connsiteX27" fmla="*/ 162136 w 311866"/>
                                    <a:gd name="connsiteY27" fmla="*/ 12126 h 137635"/>
                                    <a:gd name="connsiteX28" fmla="*/ 137782 w 311866"/>
                                    <a:gd name="connsiteY28" fmla="*/ 1029 h 137635"/>
                                    <a:gd name="connsiteX29" fmla="*/ 68779 w 311866"/>
                                    <a:gd name="connsiteY29" fmla="*/ 9118 h 137635"/>
                                    <a:gd name="connsiteX30" fmla="*/ 27419 w 311866"/>
                                    <a:gd name="connsiteY30" fmla="*/ 16270 h 137635"/>
                                    <a:gd name="connsiteX31" fmla="*/ 3511 w 311866"/>
                                    <a:gd name="connsiteY31" fmla="*/ 22621 h 137635"/>
                                    <a:gd name="connsiteX32" fmla="*/ 3511 w 311866"/>
                                    <a:gd name="connsiteY32" fmla="*/ 24693 h 137635"/>
                                    <a:gd name="connsiteX33" fmla="*/ 3593 w 311866"/>
                                    <a:gd name="connsiteY33" fmla="*/ 24726 h 137635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  <a:cxn ang="0">
                                      <a:pos x="connsiteX22" y="connsiteY22"/>
                                    </a:cxn>
                                    <a:cxn ang="0">
                                      <a:pos x="connsiteX23" y="connsiteY23"/>
                                    </a:cxn>
                                    <a:cxn ang="0">
                                      <a:pos x="connsiteX24" y="connsiteY24"/>
                                    </a:cxn>
                                    <a:cxn ang="0">
                                      <a:pos x="connsiteX25" y="connsiteY25"/>
                                    </a:cxn>
                                    <a:cxn ang="0">
                                      <a:pos x="connsiteX26" y="connsiteY26"/>
                                    </a:cxn>
                                    <a:cxn ang="0">
                                      <a:pos x="connsiteX27" y="connsiteY27"/>
                                    </a:cxn>
                                    <a:cxn ang="0">
                                      <a:pos x="connsiteX28" y="connsiteY28"/>
                                    </a:cxn>
                                    <a:cxn ang="0">
                                      <a:pos x="connsiteX29" y="connsiteY29"/>
                                    </a:cxn>
                                    <a:cxn ang="0">
                                      <a:pos x="connsiteX30" y="connsiteY30"/>
                                    </a:cxn>
                                    <a:cxn ang="0">
                                      <a:pos x="connsiteX31" y="connsiteY31"/>
                                    </a:cxn>
                                    <a:cxn ang="0">
                                      <a:pos x="connsiteX32" y="connsiteY32"/>
                                    </a:cxn>
                                    <a:cxn ang="0">
                                      <a:pos x="connsiteX33" y="connsiteY33"/>
                                    </a:cxn>
                                  </a:cxnLst>
                                  <a:rect l="l" t="t" r="r" b="b"/>
                                  <a:pathLst>
                                    <a:path w="311866" h="137635">
                                      <a:moveTo>
                                        <a:pt x="3593" y="24726"/>
                                      </a:moveTo>
                                      <a:cubicBezTo>
                                        <a:pt x="7367" y="30041"/>
                                        <a:pt x="-2862" y="45549"/>
                                        <a:pt x="710" y="47755"/>
                                      </a:cubicBezTo>
                                      <a:cubicBezTo>
                                        <a:pt x="12644" y="55209"/>
                                        <a:pt x="14024" y="61659"/>
                                        <a:pt x="16946" y="71352"/>
                                      </a:cubicBezTo>
                                      <a:cubicBezTo>
                                        <a:pt x="19869" y="81045"/>
                                        <a:pt x="25430" y="90571"/>
                                        <a:pt x="43695" y="94214"/>
                                      </a:cubicBezTo>
                                      <a:cubicBezTo>
                                        <a:pt x="50352" y="95584"/>
                                        <a:pt x="60256" y="97323"/>
                                        <a:pt x="63990" y="100899"/>
                                      </a:cubicBezTo>
                                      <a:cubicBezTo>
                                        <a:pt x="67074" y="103706"/>
                                        <a:pt x="70809" y="109054"/>
                                        <a:pt x="79455" y="108152"/>
                                      </a:cubicBezTo>
                                      <a:lnTo>
                                        <a:pt x="87329" y="104809"/>
                                      </a:lnTo>
                                      <a:cubicBezTo>
                                        <a:pt x="91915" y="104813"/>
                                        <a:pt x="96462" y="105070"/>
                                        <a:pt x="101008" y="105578"/>
                                      </a:cubicBezTo>
                                      <a:cubicBezTo>
                                        <a:pt x="110708" y="105812"/>
                                        <a:pt x="105473" y="112029"/>
                                        <a:pt x="112576" y="113199"/>
                                      </a:cubicBezTo>
                                      <a:cubicBezTo>
                                        <a:pt x="119679" y="114368"/>
                                        <a:pt x="129786" y="113199"/>
                                        <a:pt x="134697" y="117377"/>
                                      </a:cubicBezTo>
                                      <a:cubicBezTo>
                                        <a:pt x="139608" y="121555"/>
                                        <a:pt x="143992" y="128406"/>
                                        <a:pt x="156575" y="125766"/>
                                      </a:cubicBezTo>
                                      <a:cubicBezTo>
                                        <a:pt x="164937" y="124028"/>
                                        <a:pt x="169929" y="126835"/>
                                        <a:pt x="178331" y="127738"/>
                                      </a:cubicBezTo>
                                      <a:cubicBezTo>
                                        <a:pt x="187667" y="128774"/>
                                        <a:pt x="196272" y="126668"/>
                                        <a:pt x="205323" y="128306"/>
                                      </a:cubicBezTo>
                                      <a:cubicBezTo>
                                        <a:pt x="215227" y="130144"/>
                                        <a:pt x="225618" y="129476"/>
                                        <a:pt x="235441" y="131180"/>
                                      </a:cubicBezTo>
                                      <a:cubicBezTo>
                                        <a:pt x="246197" y="133019"/>
                                        <a:pt x="254194" y="135960"/>
                                        <a:pt x="265640" y="137297"/>
                                      </a:cubicBezTo>
                                      <a:cubicBezTo>
                                        <a:pt x="270348" y="132718"/>
                                        <a:pt x="260729" y="127738"/>
                                        <a:pt x="268684" y="123694"/>
                                      </a:cubicBezTo>
                                      <a:cubicBezTo>
                                        <a:pt x="277533" y="119248"/>
                                        <a:pt x="288005" y="115672"/>
                                        <a:pt x="296529" y="111060"/>
                                      </a:cubicBezTo>
                                      <a:cubicBezTo>
                                        <a:pt x="305946" y="105979"/>
                                        <a:pt x="316255" y="107082"/>
                                        <a:pt x="309274" y="98292"/>
                                      </a:cubicBezTo>
                                      <a:cubicBezTo>
                                        <a:pt x="303835" y="91607"/>
                                        <a:pt x="296772" y="87128"/>
                                        <a:pt x="296772" y="79541"/>
                                      </a:cubicBezTo>
                                      <a:cubicBezTo>
                                        <a:pt x="296772" y="77268"/>
                                        <a:pt x="299898" y="72856"/>
                                        <a:pt x="297543" y="70650"/>
                                      </a:cubicBezTo>
                                      <a:cubicBezTo>
                                        <a:pt x="295189" y="68444"/>
                                        <a:pt x="287558" y="66573"/>
                                        <a:pt x="287680" y="63966"/>
                                      </a:cubicBezTo>
                                      <a:cubicBezTo>
                                        <a:pt x="288167" y="56412"/>
                                        <a:pt x="312521" y="58651"/>
                                        <a:pt x="311790" y="49326"/>
                                      </a:cubicBezTo>
                                      <a:cubicBezTo>
                                        <a:pt x="311831" y="46154"/>
                                        <a:pt x="310005" y="43163"/>
                                        <a:pt x="306879" y="41305"/>
                                      </a:cubicBezTo>
                                      <a:cubicBezTo>
                                        <a:pt x="296001" y="35823"/>
                                        <a:pt x="306270" y="31578"/>
                                        <a:pt x="302536" y="26030"/>
                                      </a:cubicBezTo>
                                      <a:cubicBezTo>
                                        <a:pt x="298802" y="20482"/>
                                        <a:pt x="277695" y="20248"/>
                                        <a:pt x="275990" y="16905"/>
                                      </a:cubicBezTo>
                                      <a:cubicBezTo>
                                        <a:pt x="249728" y="18309"/>
                                        <a:pt x="219652" y="15401"/>
                                        <a:pt x="193674" y="12560"/>
                                      </a:cubicBezTo>
                                      <a:cubicBezTo>
                                        <a:pt x="189778" y="12045"/>
                                        <a:pt x="185881" y="11320"/>
                                        <a:pt x="182106" y="10388"/>
                                      </a:cubicBezTo>
                                      <a:cubicBezTo>
                                        <a:pt x="166398" y="7045"/>
                                        <a:pt x="174962" y="10154"/>
                                        <a:pt x="162136" y="12126"/>
                                      </a:cubicBezTo>
                                      <a:cubicBezTo>
                                        <a:pt x="137295" y="15936"/>
                                        <a:pt x="147889" y="4071"/>
                                        <a:pt x="137782" y="1029"/>
                                      </a:cubicBezTo>
                                      <a:cubicBezTo>
                                        <a:pt x="122277" y="-3617"/>
                                        <a:pt x="81362" y="4706"/>
                                        <a:pt x="68779" y="9118"/>
                                      </a:cubicBezTo>
                                      <a:cubicBezTo>
                                        <a:pt x="55628" y="13570"/>
                                        <a:pt x="41625" y="15996"/>
                                        <a:pt x="27419" y="16270"/>
                                      </a:cubicBezTo>
                                      <a:cubicBezTo>
                                        <a:pt x="20356" y="16638"/>
                                        <a:pt x="6230" y="23323"/>
                                        <a:pt x="3511" y="22621"/>
                                      </a:cubicBezTo>
                                      <a:cubicBezTo>
                                        <a:pt x="3511" y="23323"/>
                                        <a:pt x="3511" y="23991"/>
                                        <a:pt x="3511" y="24693"/>
                                      </a:cubicBezTo>
                                      <a:cubicBezTo>
                                        <a:pt x="5784" y="27768"/>
                                        <a:pt x="3186" y="24125"/>
                                        <a:pt x="3593" y="24726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chemeClr val="accent3"/>
                                </a:solidFill>
                                <a:ln w="3021" cap="flat">
                                  <a:solidFill>
                                    <a:schemeClr val="accent3">
                                      <a:alpha val="44000"/>
                                    </a:schemeClr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GB"/>
                                </a:p>
                              </p:txBody>
                            </p:sp>
                            <p:grpSp>
                              <p:nvGrpSpPr>
                                <p:cNvPr id="272" name="Group 271">
                                  <a:extLst>
                                    <a:ext uri="{FF2B5EF4-FFF2-40B4-BE49-F238E27FC236}">
                                      <a16:creationId xmlns:a16="http://schemas.microsoft.com/office/drawing/2014/main" id="{DCE710BC-C553-45DC-B4EC-7D6BDE40B4D7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6127475" y="4084420"/>
                                  <a:ext cx="668091" cy="284044"/>
                                  <a:chOff x="6127475" y="4084420"/>
                                  <a:chExt cx="668091" cy="284044"/>
                                </a:xfrm>
                              </p:grpSpPr>
                              <p:sp>
                                <p:nvSpPr>
                                  <p:cNvPr id="274" name="Freeform: Shape 273">
                                    <a:extLst>
                                      <a:ext uri="{FF2B5EF4-FFF2-40B4-BE49-F238E27FC236}">
                                        <a16:creationId xmlns:a16="http://schemas.microsoft.com/office/drawing/2014/main" id="{F365C5B3-41DA-4A87-920B-A70B5EAB7800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432786" y="4323109"/>
                                    <a:ext cx="237765" cy="45355"/>
                                  </a:xfrm>
                                  <a:custGeom>
                                    <a:avLst/>
                                    <a:gdLst>
                                      <a:gd name="connsiteX0" fmla="*/ 80271 w 244029"/>
                                      <a:gd name="connsiteY0" fmla="*/ 38601 h 62102"/>
                                      <a:gd name="connsiteX1" fmla="*/ 154145 w 244029"/>
                                      <a:gd name="connsiteY1" fmla="*/ 47359 h 62102"/>
                                      <a:gd name="connsiteX2" fmla="*/ 173628 w 244029"/>
                                      <a:gd name="connsiteY2" fmla="*/ 55313 h 62102"/>
                                      <a:gd name="connsiteX3" fmla="*/ 190189 w 244029"/>
                                      <a:gd name="connsiteY3" fmla="*/ 61764 h 62102"/>
                                      <a:gd name="connsiteX4" fmla="*/ 205044 w 244029"/>
                                      <a:gd name="connsiteY4" fmla="*/ 57152 h 62102"/>
                                      <a:gd name="connsiteX5" fmla="*/ 225339 w 244029"/>
                                      <a:gd name="connsiteY5" fmla="*/ 57386 h 62102"/>
                                      <a:gd name="connsiteX6" fmla="*/ 243970 w 244029"/>
                                      <a:gd name="connsiteY6" fmla="*/ 51369 h 62102"/>
                                      <a:gd name="connsiteX7" fmla="*/ 232402 w 244029"/>
                                      <a:gd name="connsiteY7" fmla="*/ 37064 h 62102"/>
                                      <a:gd name="connsiteX8" fmla="*/ 225055 w 244029"/>
                                      <a:gd name="connsiteY8" fmla="*/ 20352 h 62102"/>
                                      <a:gd name="connsiteX9" fmla="*/ 197008 w 244029"/>
                                      <a:gd name="connsiteY9" fmla="*/ 13233 h 62102"/>
                                      <a:gd name="connsiteX10" fmla="*/ 175414 w 244029"/>
                                      <a:gd name="connsiteY10" fmla="*/ 9891 h 62102"/>
                                      <a:gd name="connsiteX11" fmla="*/ 127559 w 244029"/>
                                      <a:gd name="connsiteY11" fmla="*/ -337 h 62102"/>
                                      <a:gd name="connsiteX12" fmla="*/ 96954 w 244029"/>
                                      <a:gd name="connsiteY12" fmla="*/ 22257 h 62102"/>
                                      <a:gd name="connsiteX13" fmla="*/ 59084 w 244029"/>
                                      <a:gd name="connsiteY13" fmla="*/ 4643 h 62102"/>
                                      <a:gd name="connsiteX14" fmla="*/ 14881 w 244029"/>
                                      <a:gd name="connsiteY14" fmla="*/ 17277 h 62102"/>
                                      <a:gd name="connsiteX15" fmla="*/ 14881 w 244029"/>
                                      <a:gd name="connsiteY15" fmla="*/ 38936 h 62102"/>
                                      <a:gd name="connsiteX16" fmla="*/ 49504 w 244029"/>
                                      <a:gd name="connsiteY16" fmla="*/ 35593 h 62102"/>
                                      <a:gd name="connsiteX17" fmla="*/ 80271 w 244029"/>
                                      <a:gd name="connsiteY17" fmla="*/ 38601 h 62102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</a:cxnLst>
                                    <a:rect l="l" t="t" r="r" b="b"/>
                                    <a:pathLst>
                                      <a:path w="244029" h="62102">
                                        <a:moveTo>
                                          <a:pt x="80271" y="38601"/>
                                        </a:moveTo>
                                        <a:cubicBezTo>
                                          <a:pt x="107426" y="39738"/>
                                          <a:pt x="131252" y="40273"/>
                                          <a:pt x="154145" y="47359"/>
                                        </a:cubicBezTo>
                                        <a:cubicBezTo>
                                          <a:pt x="160923" y="49531"/>
                                          <a:pt x="167418" y="52192"/>
                                          <a:pt x="173628" y="55313"/>
                                        </a:cubicBezTo>
                                        <a:cubicBezTo>
                                          <a:pt x="178986" y="57736"/>
                                          <a:pt x="184506" y="59889"/>
                                          <a:pt x="190189" y="61764"/>
                                        </a:cubicBezTo>
                                        <a:cubicBezTo>
                                          <a:pt x="194329" y="58850"/>
                                          <a:pt x="199605" y="57218"/>
                                          <a:pt x="205044" y="57152"/>
                                        </a:cubicBezTo>
                                        <a:cubicBezTo>
                                          <a:pt x="211052" y="56951"/>
                                          <a:pt x="220185" y="59558"/>
                                          <a:pt x="225339" y="57386"/>
                                        </a:cubicBezTo>
                                        <a:cubicBezTo>
                                          <a:pt x="232240" y="54478"/>
                                          <a:pt x="233904" y="51837"/>
                                          <a:pt x="243970" y="51369"/>
                                        </a:cubicBezTo>
                                        <a:cubicBezTo>
                                          <a:pt x="239465" y="45888"/>
                                          <a:pt x="239302" y="42211"/>
                                          <a:pt x="232402" y="37064"/>
                                        </a:cubicBezTo>
                                        <a:cubicBezTo>
                                          <a:pt x="224284" y="31148"/>
                                          <a:pt x="234350" y="25867"/>
                                          <a:pt x="225055" y="20352"/>
                                        </a:cubicBezTo>
                                        <a:cubicBezTo>
                                          <a:pt x="215760" y="14837"/>
                                          <a:pt x="211985" y="14503"/>
                                          <a:pt x="197008" y="13233"/>
                                        </a:cubicBezTo>
                                        <a:cubicBezTo>
                                          <a:pt x="187997" y="12498"/>
                                          <a:pt x="183410" y="12798"/>
                                          <a:pt x="175414" y="9891"/>
                                        </a:cubicBezTo>
                                        <a:cubicBezTo>
                                          <a:pt x="156134" y="2905"/>
                                          <a:pt x="152116" y="-136"/>
                                          <a:pt x="127559" y="-337"/>
                                        </a:cubicBezTo>
                                        <a:cubicBezTo>
                                          <a:pt x="96020" y="-571"/>
                                          <a:pt x="130440" y="23060"/>
                                          <a:pt x="96954" y="22257"/>
                                        </a:cubicBezTo>
                                        <a:cubicBezTo>
                                          <a:pt x="75725" y="21756"/>
                                          <a:pt x="69190" y="13200"/>
                                          <a:pt x="59084" y="4643"/>
                                        </a:cubicBezTo>
                                        <a:cubicBezTo>
                                          <a:pt x="48977" y="-3913"/>
                                          <a:pt x="17357" y="11328"/>
                                          <a:pt x="14881" y="17277"/>
                                        </a:cubicBezTo>
                                        <a:cubicBezTo>
                                          <a:pt x="12649" y="22458"/>
                                          <a:pt x="-17591" y="40674"/>
                                          <a:pt x="14881" y="38936"/>
                                        </a:cubicBezTo>
                                        <a:cubicBezTo>
                                          <a:pt x="27464" y="38301"/>
                                          <a:pt x="36435" y="34858"/>
                                          <a:pt x="49504" y="35593"/>
                                        </a:cubicBezTo>
                                        <a:cubicBezTo>
                                          <a:pt x="59733" y="36228"/>
                                          <a:pt x="69921" y="38167"/>
                                          <a:pt x="80271" y="3860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275" name="Freeform: Shape 274">
                                    <a:extLst>
                                      <a:ext uri="{FF2B5EF4-FFF2-40B4-BE49-F238E27FC236}">
                                        <a16:creationId xmlns:a16="http://schemas.microsoft.com/office/drawing/2014/main" id="{E1DE56FA-CD46-4117-8576-FCB847561707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446735" y="4084420"/>
                                    <a:ext cx="348831" cy="201293"/>
                                  </a:xfrm>
                                  <a:custGeom>
                                    <a:avLst/>
                                    <a:gdLst>
                                      <a:gd name="connsiteX0" fmla="*/ 302349 w 358021"/>
                                      <a:gd name="connsiteY0" fmla="*/ 241220 h 275616"/>
                                      <a:gd name="connsiteX1" fmla="*/ 357957 w 358021"/>
                                      <a:gd name="connsiteY1" fmla="*/ 216319 h 275616"/>
                                      <a:gd name="connsiteX2" fmla="*/ 309818 w 358021"/>
                                      <a:gd name="connsiteY2" fmla="*/ 184299 h 275616"/>
                                      <a:gd name="connsiteX3" fmla="*/ 325688 w 358021"/>
                                      <a:gd name="connsiteY3" fmla="*/ 175542 h 275616"/>
                                      <a:gd name="connsiteX4" fmla="*/ 315135 w 358021"/>
                                      <a:gd name="connsiteY4" fmla="*/ 161738 h 275616"/>
                                      <a:gd name="connsiteX5" fmla="*/ 300726 w 358021"/>
                                      <a:gd name="connsiteY5" fmla="*/ 152179 h 275616"/>
                                      <a:gd name="connsiteX6" fmla="*/ 304257 w 358021"/>
                                      <a:gd name="connsiteY6" fmla="*/ 135634 h 275616"/>
                                      <a:gd name="connsiteX7" fmla="*/ 319559 w 358021"/>
                                      <a:gd name="connsiteY7" fmla="*/ 130019 h 275616"/>
                                      <a:gd name="connsiteX8" fmla="*/ 294556 w 358021"/>
                                      <a:gd name="connsiteY8" fmla="*/ 105954 h 275616"/>
                                      <a:gd name="connsiteX9" fmla="*/ 320209 w 358021"/>
                                      <a:gd name="connsiteY9" fmla="*/ 77979 h 275616"/>
                                      <a:gd name="connsiteX10" fmla="*/ 299386 w 358021"/>
                                      <a:gd name="connsiteY10" fmla="*/ 65044 h 275616"/>
                                      <a:gd name="connsiteX11" fmla="*/ 270608 w 358021"/>
                                      <a:gd name="connsiteY11" fmla="*/ 52109 h 275616"/>
                                      <a:gd name="connsiteX12" fmla="*/ 298452 w 358021"/>
                                      <a:gd name="connsiteY12" fmla="*/ 16680 h 275616"/>
                                      <a:gd name="connsiteX13" fmla="*/ 267361 w 358021"/>
                                      <a:gd name="connsiteY13" fmla="*/ 6218 h 275616"/>
                                      <a:gd name="connsiteX14" fmla="*/ 235376 w 358021"/>
                                      <a:gd name="connsiteY14" fmla="*/ 2408 h 275616"/>
                                      <a:gd name="connsiteX15" fmla="*/ 204609 w 358021"/>
                                      <a:gd name="connsiteY15" fmla="*/ 2575 h 275616"/>
                                      <a:gd name="connsiteX16" fmla="*/ 178631 w 358021"/>
                                      <a:gd name="connsiteY16" fmla="*/ 12335 h 275616"/>
                                      <a:gd name="connsiteX17" fmla="*/ 177779 w 358021"/>
                                      <a:gd name="connsiteY17" fmla="*/ 27843 h 275616"/>
                                      <a:gd name="connsiteX18" fmla="*/ 158215 w 358021"/>
                                      <a:gd name="connsiteY18" fmla="*/ 32556 h 275616"/>
                                      <a:gd name="connsiteX19" fmla="*/ 106301 w 358021"/>
                                      <a:gd name="connsiteY19" fmla="*/ 32556 h 275616"/>
                                      <a:gd name="connsiteX20" fmla="*/ 61043 w 358021"/>
                                      <a:gd name="connsiteY20" fmla="*/ 28645 h 275616"/>
                                      <a:gd name="connsiteX21" fmla="*/ 29748 w 358021"/>
                                      <a:gd name="connsiteY21" fmla="*/ 14908 h 275616"/>
                                      <a:gd name="connsiteX22" fmla="*/ 10509 w 358021"/>
                                      <a:gd name="connsiteY22" fmla="*/ 18886 h 275616"/>
                                      <a:gd name="connsiteX23" fmla="*/ 19844 w 358021"/>
                                      <a:gd name="connsiteY23" fmla="*/ 28345 h 275616"/>
                                      <a:gd name="connsiteX24" fmla="*/ 72611 w 358021"/>
                                      <a:gd name="connsiteY24" fmla="*/ 44321 h 275616"/>
                                      <a:gd name="connsiteX25" fmla="*/ 91769 w 358021"/>
                                      <a:gd name="connsiteY25" fmla="*/ 57457 h 275616"/>
                                      <a:gd name="connsiteX26" fmla="*/ 97249 w 358021"/>
                                      <a:gd name="connsiteY26" fmla="*/ 74837 h 275616"/>
                                      <a:gd name="connsiteX27" fmla="*/ 97858 w 358021"/>
                                      <a:gd name="connsiteY27" fmla="*/ 83928 h 275616"/>
                                      <a:gd name="connsiteX28" fmla="*/ 106503 w 358021"/>
                                      <a:gd name="connsiteY28" fmla="*/ 90078 h 275616"/>
                                      <a:gd name="connsiteX29" fmla="*/ 96762 w 358021"/>
                                      <a:gd name="connsiteY29" fmla="*/ 103849 h 275616"/>
                                      <a:gd name="connsiteX30" fmla="*/ 106747 w 358021"/>
                                      <a:gd name="connsiteY30" fmla="*/ 111436 h 275616"/>
                                      <a:gd name="connsiteX31" fmla="*/ 128016 w 358021"/>
                                      <a:gd name="connsiteY31" fmla="*/ 122633 h 275616"/>
                                      <a:gd name="connsiteX32" fmla="*/ 148311 w 358021"/>
                                      <a:gd name="connsiteY32" fmla="*/ 142286 h 275616"/>
                                      <a:gd name="connsiteX33" fmla="*/ 125256 w 358021"/>
                                      <a:gd name="connsiteY33" fmla="*/ 147399 h 275616"/>
                                      <a:gd name="connsiteX34" fmla="*/ 91080 w 358021"/>
                                      <a:gd name="connsiteY34" fmla="*/ 166250 h 275616"/>
                                      <a:gd name="connsiteX35" fmla="*/ 57471 w 358021"/>
                                      <a:gd name="connsiteY35" fmla="*/ 174640 h 275616"/>
                                      <a:gd name="connsiteX36" fmla="*/ 27516 w 358021"/>
                                      <a:gd name="connsiteY36" fmla="*/ 187274 h 275616"/>
                                      <a:gd name="connsiteX37" fmla="*/ 483 w 358021"/>
                                      <a:gd name="connsiteY37" fmla="*/ 199808 h 275616"/>
                                      <a:gd name="connsiteX38" fmla="*/ 8601 w 358021"/>
                                      <a:gd name="connsiteY38" fmla="*/ 215717 h 275616"/>
                                      <a:gd name="connsiteX39" fmla="*/ 16394 w 358021"/>
                                      <a:gd name="connsiteY39" fmla="*/ 229287 h 275616"/>
                                      <a:gd name="connsiteX40" fmla="*/ 1823 w 358021"/>
                                      <a:gd name="connsiteY40" fmla="*/ 255491 h 275616"/>
                                      <a:gd name="connsiteX41" fmla="*/ 35471 w 358021"/>
                                      <a:gd name="connsiteY41" fmla="*/ 263379 h 275616"/>
                                      <a:gd name="connsiteX42" fmla="*/ 47446 w 358021"/>
                                      <a:gd name="connsiteY42" fmla="*/ 267958 h 275616"/>
                                      <a:gd name="connsiteX43" fmla="*/ 61855 w 358021"/>
                                      <a:gd name="connsiteY43" fmla="*/ 270031 h 275616"/>
                                      <a:gd name="connsiteX44" fmla="*/ 105489 w 358021"/>
                                      <a:gd name="connsiteY44" fmla="*/ 275178 h 275616"/>
                                      <a:gd name="connsiteX45" fmla="*/ 208871 w 358021"/>
                                      <a:gd name="connsiteY45" fmla="*/ 268861 h 275616"/>
                                      <a:gd name="connsiteX46" fmla="*/ 253520 w 358021"/>
                                      <a:gd name="connsiteY46" fmla="*/ 257163 h 275616"/>
                                      <a:gd name="connsiteX47" fmla="*/ 302674 w 358021"/>
                                      <a:gd name="connsiteY47" fmla="*/ 241286 h 275616"/>
                                      <a:gd name="connsiteX48" fmla="*/ 302349 w 358021"/>
                                      <a:gd name="connsiteY48" fmla="*/ 241220 h 275616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  <a:cxn ang="0">
                                        <a:pos x="connsiteX40" y="connsiteY40"/>
                                      </a:cxn>
                                      <a:cxn ang="0">
                                        <a:pos x="connsiteX41" y="connsiteY41"/>
                                      </a:cxn>
                                      <a:cxn ang="0">
                                        <a:pos x="connsiteX42" y="connsiteY42"/>
                                      </a:cxn>
                                      <a:cxn ang="0">
                                        <a:pos x="connsiteX43" y="connsiteY43"/>
                                      </a:cxn>
                                      <a:cxn ang="0">
                                        <a:pos x="connsiteX44" y="connsiteY44"/>
                                      </a:cxn>
                                      <a:cxn ang="0">
                                        <a:pos x="connsiteX45" y="connsiteY45"/>
                                      </a:cxn>
                                      <a:cxn ang="0">
                                        <a:pos x="connsiteX46" y="connsiteY46"/>
                                      </a:cxn>
                                      <a:cxn ang="0">
                                        <a:pos x="connsiteX47" y="connsiteY47"/>
                                      </a:cxn>
                                      <a:cxn ang="0">
                                        <a:pos x="connsiteX48" y="connsiteY48"/>
                                      </a:cxn>
                                    </a:cxnLst>
                                    <a:rect l="l" t="t" r="r" b="b"/>
                                    <a:pathLst>
                                      <a:path w="358021" h="275616">
                                        <a:moveTo>
                                          <a:pt x="302349" y="241220"/>
                                        </a:moveTo>
                                        <a:cubicBezTo>
                                          <a:pt x="312983" y="231192"/>
                                          <a:pt x="358485" y="229588"/>
                                          <a:pt x="357957" y="216319"/>
                                        </a:cubicBezTo>
                                        <a:cubicBezTo>
                                          <a:pt x="357673" y="208164"/>
                                          <a:pt x="298169" y="186873"/>
                                          <a:pt x="309818" y="184299"/>
                                        </a:cubicBezTo>
                                        <a:cubicBezTo>
                                          <a:pt x="316475" y="182795"/>
                                          <a:pt x="334943" y="181659"/>
                                          <a:pt x="325688" y="175542"/>
                                        </a:cubicBezTo>
                                        <a:cubicBezTo>
                                          <a:pt x="316434" y="169426"/>
                                          <a:pt x="303323" y="168857"/>
                                          <a:pt x="315135" y="161738"/>
                                        </a:cubicBezTo>
                                        <a:cubicBezTo>
                                          <a:pt x="321345" y="158095"/>
                                          <a:pt x="292486" y="154820"/>
                                          <a:pt x="300726" y="152179"/>
                                        </a:cubicBezTo>
                                        <a:cubicBezTo>
                                          <a:pt x="316109" y="147266"/>
                                          <a:pt x="292608" y="141951"/>
                                          <a:pt x="304257" y="135634"/>
                                        </a:cubicBezTo>
                                        <a:cubicBezTo>
                                          <a:pt x="309087" y="133094"/>
                                          <a:pt x="322482" y="135133"/>
                                          <a:pt x="319559" y="130019"/>
                                        </a:cubicBezTo>
                                        <a:cubicBezTo>
                                          <a:pt x="314892" y="121764"/>
                                          <a:pt x="303323" y="113307"/>
                                          <a:pt x="294556" y="105954"/>
                                        </a:cubicBezTo>
                                        <a:cubicBezTo>
                                          <a:pt x="271826" y="86335"/>
                                          <a:pt x="318910" y="93186"/>
                                          <a:pt x="320209" y="77979"/>
                                        </a:cubicBezTo>
                                        <a:cubicBezTo>
                                          <a:pt x="320614" y="73801"/>
                                          <a:pt x="305231" y="67617"/>
                                          <a:pt x="299386" y="65044"/>
                                        </a:cubicBezTo>
                                        <a:cubicBezTo>
                                          <a:pt x="287209" y="59663"/>
                                          <a:pt x="279091" y="60064"/>
                                          <a:pt x="270608" y="52109"/>
                                        </a:cubicBezTo>
                                        <a:cubicBezTo>
                                          <a:pt x="255509" y="38171"/>
                                          <a:pt x="320899" y="30952"/>
                                          <a:pt x="298452" y="16680"/>
                                        </a:cubicBezTo>
                                        <a:cubicBezTo>
                                          <a:pt x="290822" y="11833"/>
                                          <a:pt x="276169" y="10563"/>
                                          <a:pt x="267361" y="6218"/>
                                        </a:cubicBezTo>
                                        <a:cubicBezTo>
                                          <a:pt x="258553" y="1873"/>
                                          <a:pt x="246822" y="-3809"/>
                                          <a:pt x="235376" y="2408"/>
                                        </a:cubicBezTo>
                                        <a:cubicBezTo>
                                          <a:pt x="229937" y="5416"/>
                                          <a:pt x="212077" y="2074"/>
                                          <a:pt x="204609" y="2575"/>
                                        </a:cubicBezTo>
                                        <a:cubicBezTo>
                                          <a:pt x="195598" y="5132"/>
                                          <a:pt x="186871" y="8401"/>
                                          <a:pt x="178631" y="12335"/>
                                        </a:cubicBezTo>
                                        <a:cubicBezTo>
                                          <a:pt x="171813" y="16580"/>
                                          <a:pt x="183421" y="23365"/>
                                          <a:pt x="177779" y="27843"/>
                                        </a:cubicBezTo>
                                        <a:cubicBezTo>
                                          <a:pt x="172137" y="32322"/>
                                          <a:pt x="160529" y="25370"/>
                                          <a:pt x="158215" y="32556"/>
                                        </a:cubicBezTo>
                                        <a:cubicBezTo>
                                          <a:pt x="152370" y="50906"/>
                                          <a:pt x="119614" y="22930"/>
                                          <a:pt x="106301" y="32556"/>
                                        </a:cubicBezTo>
                                        <a:cubicBezTo>
                                          <a:pt x="99766" y="37269"/>
                                          <a:pt x="68511" y="30985"/>
                                          <a:pt x="61043" y="28645"/>
                                        </a:cubicBezTo>
                                        <a:cubicBezTo>
                                          <a:pt x="49962" y="25303"/>
                                          <a:pt x="43265" y="16212"/>
                                          <a:pt x="29748" y="14908"/>
                                        </a:cubicBezTo>
                                        <a:cubicBezTo>
                                          <a:pt x="22970" y="14334"/>
                                          <a:pt x="16150" y="15744"/>
                                          <a:pt x="10509" y="18886"/>
                                        </a:cubicBezTo>
                                        <a:cubicBezTo>
                                          <a:pt x="1660" y="23899"/>
                                          <a:pt x="11970" y="24668"/>
                                          <a:pt x="19844" y="28345"/>
                                        </a:cubicBezTo>
                                        <a:cubicBezTo>
                                          <a:pt x="35756" y="35698"/>
                                          <a:pt x="53534" y="39375"/>
                                          <a:pt x="72611" y="44321"/>
                                        </a:cubicBezTo>
                                        <a:cubicBezTo>
                                          <a:pt x="85519" y="47664"/>
                                          <a:pt x="94976" y="50204"/>
                                          <a:pt x="91769" y="57457"/>
                                        </a:cubicBezTo>
                                        <a:cubicBezTo>
                                          <a:pt x="88238" y="65378"/>
                                          <a:pt x="97290" y="68186"/>
                                          <a:pt x="97249" y="74837"/>
                                        </a:cubicBezTo>
                                        <a:cubicBezTo>
                                          <a:pt x="97249" y="77711"/>
                                          <a:pt x="95463" y="81054"/>
                                          <a:pt x="97858" y="83928"/>
                                        </a:cubicBezTo>
                                        <a:cubicBezTo>
                                          <a:pt x="100253" y="86803"/>
                                          <a:pt x="105205" y="86970"/>
                                          <a:pt x="106503" y="90078"/>
                                        </a:cubicBezTo>
                                        <a:cubicBezTo>
                                          <a:pt x="109061" y="96195"/>
                                          <a:pt x="93799" y="100774"/>
                                          <a:pt x="96762" y="103849"/>
                                        </a:cubicBezTo>
                                        <a:cubicBezTo>
                                          <a:pt x="99725" y="106924"/>
                                          <a:pt x="104880" y="108595"/>
                                          <a:pt x="106747" y="111436"/>
                                        </a:cubicBezTo>
                                        <a:cubicBezTo>
                                          <a:pt x="112227" y="119257"/>
                                          <a:pt x="112145" y="118120"/>
                                          <a:pt x="128016" y="122633"/>
                                        </a:cubicBezTo>
                                        <a:cubicBezTo>
                                          <a:pt x="147418" y="128114"/>
                                          <a:pt x="148920" y="132058"/>
                                          <a:pt x="148311" y="142286"/>
                                        </a:cubicBezTo>
                                        <a:cubicBezTo>
                                          <a:pt x="147946" y="147901"/>
                                          <a:pt x="132400" y="140949"/>
                                          <a:pt x="125256" y="147399"/>
                                        </a:cubicBezTo>
                                        <a:cubicBezTo>
                                          <a:pt x="116570" y="155254"/>
                                          <a:pt x="110319" y="163209"/>
                                          <a:pt x="91080" y="166250"/>
                                        </a:cubicBezTo>
                                        <a:cubicBezTo>
                                          <a:pt x="77807" y="168356"/>
                                          <a:pt x="70460" y="172133"/>
                                          <a:pt x="57471" y="174640"/>
                                        </a:cubicBezTo>
                                        <a:cubicBezTo>
                                          <a:pt x="40302" y="177982"/>
                                          <a:pt x="50003" y="187374"/>
                                          <a:pt x="27516" y="187274"/>
                                        </a:cubicBezTo>
                                        <a:cubicBezTo>
                                          <a:pt x="16678" y="187936"/>
                                          <a:pt x="6775" y="192531"/>
                                          <a:pt x="483" y="199808"/>
                                        </a:cubicBezTo>
                                        <a:cubicBezTo>
                                          <a:pt x="-2805" y="204253"/>
                                          <a:pt x="9981" y="210269"/>
                                          <a:pt x="8601" y="215717"/>
                                        </a:cubicBezTo>
                                        <a:cubicBezTo>
                                          <a:pt x="7343" y="220463"/>
                                          <a:pt x="14689" y="224675"/>
                                          <a:pt x="16394" y="229287"/>
                                        </a:cubicBezTo>
                                        <a:cubicBezTo>
                                          <a:pt x="19520" y="237911"/>
                                          <a:pt x="-4185" y="247971"/>
                                          <a:pt x="1823" y="255491"/>
                                        </a:cubicBezTo>
                                        <a:cubicBezTo>
                                          <a:pt x="2878" y="256795"/>
                                          <a:pt x="31656" y="263413"/>
                                          <a:pt x="35471" y="263379"/>
                                        </a:cubicBezTo>
                                        <a:cubicBezTo>
                                          <a:pt x="41398" y="263379"/>
                                          <a:pt x="44158" y="265986"/>
                                          <a:pt x="47446" y="267958"/>
                                        </a:cubicBezTo>
                                        <a:cubicBezTo>
                                          <a:pt x="52113" y="270766"/>
                                          <a:pt x="56456" y="268761"/>
                                          <a:pt x="61855" y="270031"/>
                                        </a:cubicBezTo>
                                        <a:cubicBezTo>
                                          <a:pt x="75899" y="273985"/>
                                          <a:pt x="90674" y="275729"/>
                                          <a:pt x="105489" y="275178"/>
                                        </a:cubicBezTo>
                                        <a:cubicBezTo>
                                          <a:pt x="140518" y="273640"/>
                                          <a:pt x="173193" y="267958"/>
                                          <a:pt x="208871" y="268861"/>
                                        </a:cubicBezTo>
                                        <a:cubicBezTo>
                                          <a:pt x="233671" y="269529"/>
                                          <a:pt x="234808" y="263045"/>
                                          <a:pt x="253520" y="257163"/>
                                        </a:cubicBezTo>
                                        <a:cubicBezTo>
                                          <a:pt x="269066" y="252249"/>
                                          <a:pt x="293501" y="249976"/>
                                          <a:pt x="302674" y="241286"/>
                                        </a:cubicBezTo>
                                        <a:cubicBezTo>
                                          <a:pt x="311847" y="232596"/>
                                          <a:pt x="293379" y="249742"/>
                                          <a:pt x="302349" y="241220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276" name="Freeform: Shape 275">
                                    <a:extLst>
                                      <a:ext uri="{FF2B5EF4-FFF2-40B4-BE49-F238E27FC236}">
                                        <a16:creationId xmlns:a16="http://schemas.microsoft.com/office/drawing/2014/main" id="{45687706-13A4-4CE6-A434-5188040569EA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127475" y="4099354"/>
                                    <a:ext cx="425862" cy="264869"/>
                                  </a:xfrm>
                                  <a:custGeom>
                                    <a:avLst/>
                                    <a:gdLst>
                                      <a:gd name="connsiteX0" fmla="*/ 432347 w 437081"/>
                                      <a:gd name="connsiteY0" fmla="*/ 89049 h 362666"/>
                                      <a:gd name="connsiteX1" fmla="*/ 432103 w 437081"/>
                                      <a:gd name="connsiteY1" fmla="*/ 77652 h 362666"/>
                                      <a:gd name="connsiteX2" fmla="*/ 425447 w 437081"/>
                                      <a:gd name="connsiteY2" fmla="*/ 63414 h 362666"/>
                                      <a:gd name="connsiteX3" fmla="*/ 424838 w 437081"/>
                                      <a:gd name="connsiteY3" fmla="*/ 54322 h 362666"/>
                                      <a:gd name="connsiteX4" fmla="*/ 418060 w 437081"/>
                                      <a:gd name="connsiteY4" fmla="*/ 47404 h 362666"/>
                                      <a:gd name="connsiteX5" fmla="*/ 412986 w 437081"/>
                                      <a:gd name="connsiteY5" fmla="*/ 27650 h 362666"/>
                                      <a:gd name="connsiteX6" fmla="*/ 371381 w 437081"/>
                                      <a:gd name="connsiteY6" fmla="*/ 16788 h 362666"/>
                                      <a:gd name="connsiteX7" fmla="*/ 330102 w 437081"/>
                                      <a:gd name="connsiteY7" fmla="*/ 744 h 362666"/>
                                      <a:gd name="connsiteX8" fmla="*/ 309807 w 437081"/>
                                      <a:gd name="connsiteY8" fmla="*/ 10069 h 362666"/>
                                      <a:gd name="connsiteX9" fmla="*/ 279486 w 437081"/>
                                      <a:gd name="connsiteY9" fmla="*/ 13813 h 362666"/>
                                      <a:gd name="connsiteX10" fmla="*/ 240561 w 437081"/>
                                      <a:gd name="connsiteY10" fmla="*/ 11239 h 362666"/>
                                      <a:gd name="connsiteX11" fmla="*/ 238085 w 437081"/>
                                      <a:gd name="connsiteY11" fmla="*/ 25578 h 362666"/>
                                      <a:gd name="connsiteX12" fmla="*/ 199159 w 437081"/>
                                      <a:gd name="connsiteY12" fmla="*/ 28920 h 362666"/>
                                      <a:gd name="connsiteX13" fmla="*/ 174805 w 437081"/>
                                      <a:gd name="connsiteY13" fmla="*/ 46602 h 362666"/>
                                      <a:gd name="connsiteX14" fmla="*/ 173344 w 437081"/>
                                      <a:gd name="connsiteY14" fmla="*/ 54757 h 362666"/>
                                      <a:gd name="connsiteX15" fmla="*/ 159016 w 437081"/>
                                      <a:gd name="connsiteY15" fmla="*/ 62110 h 362666"/>
                                      <a:gd name="connsiteX16" fmla="*/ 146108 w 437081"/>
                                      <a:gd name="connsiteY16" fmla="*/ 77117 h 362666"/>
                                      <a:gd name="connsiteX17" fmla="*/ 112662 w 437081"/>
                                      <a:gd name="connsiteY17" fmla="*/ 84838 h 362666"/>
                                      <a:gd name="connsiteX18" fmla="*/ 95452 w 437081"/>
                                      <a:gd name="connsiteY18" fmla="*/ 115454 h 362666"/>
                                      <a:gd name="connsiteX19" fmla="*/ 97482 w 437081"/>
                                      <a:gd name="connsiteY19" fmla="*/ 128456 h 362666"/>
                                      <a:gd name="connsiteX20" fmla="*/ 79866 w 437081"/>
                                      <a:gd name="connsiteY20" fmla="*/ 139720 h 362666"/>
                                      <a:gd name="connsiteX21" fmla="*/ 45040 w 437081"/>
                                      <a:gd name="connsiteY21" fmla="*/ 146204 h 362666"/>
                                      <a:gd name="connsiteX22" fmla="*/ 36516 w 437081"/>
                                      <a:gd name="connsiteY22" fmla="*/ 169400 h 362666"/>
                                      <a:gd name="connsiteX23" fmla="*/ 33147 w 437081"/>
                                      <a:gd name="connsiteY23" fmla="*/ 179427 h 362666"/>
                                      <a:gd name="connsiteX24" fmla="*/ 38383 w 437081"/>
                                      <a:gd name="connsiteY24" fmla="*/ 191259 h 362666"/>
                                      <a:gd name="connsiteX25" fmla="*/ 45567 w 437081"/>
                                      <a:gd name="connsiteY25" fmla="*/ 206233 h 362666"/>
                                      <a:gd name="connsiteX26" fmla="*/ 48855 w 437081"/>
                                      <a:gd name="connsiteY26" fmla="*/ 220772 h 362666"/>
                                      <a:gd name="connsiteX27" fmla="*/ 49424 w 437081"/>
                                      <a:gd name="connsiteY27" fmla="*/ 233540 h 362666"/>
                                      <a:gd name="connsiteX28" fmla="*/ 39195 w 437081"/>
                                      <a:gd name="connsiteY28" fmla="*/ 247110 h 362666"/>
                                      <a:gd name="connsiteX29" fmla="*/ 22269 w 437081"/>
                                      <a:gd name="connsiteY29" fmla="*/ 256669 h 362666"/>
                                      <a:gd name="connsiteX30" fmla="*/ 16058 w 437081"/>
                                      <a:gd name="connsiteY30" fmla="*/ 273380 h 362666"/>
                                      <a:gd name="connsiteX31" fmla="*/ 2340 w 437081"/>
                                      <a:gd name="connsiteY31" fmla="*/ 282773 h 362666"/>
                                      <a:gd name="connsiteX32" fmla="*/ 22269 w 437081"/>
                                      <a:gd name="connsiteY32" fmla="*/ 302526 h 362666"/>
                                      <a:gd name="connsiteX33" fmla="*/ 44269 w 437081"/>
                                      <a:gd name="connsiteY33" fmla="*/ 325622 h 362666"/>
                                      <a:gd name="connsiteX34" fmla="*/ 52387 w 437081"/>
                                      <a:gd name="connsiteY34" fmla="*/ 342801 h 362666"/>
                                      <a:gd name="connsiteX35" fmla="*/ 60910 w 437081"/>
                                      <a:gd name="connsiteY35" fmla="*/ 360783 h 362666"/>
                                      <a:gd name="connsiteX36" fmla="*/ 94559 w 437081"/>
                                      <a:gd name="connsiteY36" fmla="*/ 360148 h 362666"/>
                                      <a:gd name="connsiteX37" fmla="*/ 104504 w 437081"/>
                                      <a:gd name="connsiteY37" fmla="*/ 347447 h 362666"/>
                                      <a:gd name="connsiteX38" fmla="*/ 138234 w 437081"/>
                                      <a:gd name="connsiteY38" fmla="*/ 344506 h 362666"/>
                                      <a:gd name="connsiteX39" fmla="*/ 160112 w 437081"/>
                                      <a:gd name="connsiteY39" fmla="*/ 334713 h 362666"/>
                                      <a:gd name="connsiteX40" fmla="*/ 175130 w 437081"/>
                                      <a:gd name="connsiteY40" fmla="*/ 337721 h 362666"/>
                                      <a:gd name="connsiteX41" fmla="*/ 190514 w 437081"/>
                                      <a:gd name="connsiteY41" fmla="*/ 319538 h 362666"/>
                                      <a:gd name="connsiteX42" fmla="*/ 171152 w 437081"/>
                                      <a:gd name="connsiteY42" fmla="*/ 326223 h 362666"/>
                                      <a:gd name="connsiteX43" fmla="*/ 178499 w 437081"/>
                                      <a:gd name="connsiteY43" fmla="*/ 310648 h 362666"/>
                                      <a:gd name="connsiteX44" fmla="*/ 183167 w 437081"/>
                                      <a:gd name="connsiteY44" fmla="*/ 288956 h 362666"/>
                                      <a:gd name="connsiteX45" fmla="*/ 215638 w 437081"/>
                                      <a:gd name="connsiteY45" fmla="*/ 276455 h 362666"/>
                                      <a:gd name="connsiteX46" fmla="*/ 236583 w 437081"/>
                                      <a:gd name="connsiteY46" fmla="*/ 261682 h 362666"/>
                                      <a:gd name="connsiteX47" fmla="*/ 253671 w 437081"/>
                                      <a:gd name="connsiteY47" fmla="*/ 250485 h 362666"/>
                                      <a:gd name="connsiteX48" fmla="*/ 225989 w 437081"/>
                                      <a:gd name="connsiteY48" fmla="*/ 234542 h 362666"/>
                                      <a:gd name="connsiteX49" fmla="*/ 199037 w 437081"/>
                                      <a:gd name="connsiteY49" fmla="*/ 227523 h 362666"/>
                                      <a:gd name="connsiteX50" fmla="*/ 199037 w 437081"/>
                                      <a:gd name="connsiteY50" fmla="*/ 203592 h 362666"/>
                                      <a:gd name="connsiteX51" fmla="*/ 212513 w 437081"/>
                                      <a:gd name="connsiteY51" fmla="*/ 182903 h 362666"/>
                                      <a:gd name="connsiteX52" fmla="*/ 243686 w 437081"/>
                                      <a:gd name="connsiteY52" fmla="*/ 170269 h 362666"/>
                                      <a:gd name="connsiteX53" fmla="*/ 327829 w 437081"/>
                                      <a:gd name="connsiteY53" fmla="*/ 142895 h 362666"/>
                                      <a:gd name="connsiteX54" fmla="*/ 345891 w 437081"/>
                                      <a:gd name="connsiteY54" fmla="*/ 129960 h 362666"/>
                                      <a:gd name="connsiteX55" fmla="*/ 352426 w 437081"/>
                                      <a:gd name="connsiteY55" fmla="*/ 111677 h 362666"/>
                                      <a:gd name="connsiteX56" fmla="*/ 437015 w 437081"/>
                                      <a:gd name="connsiteY56" fmla="*/ 97706 h 362666"/>
                                      <a:gd name="connsiteX57" fmla="*/ 432672 w 437081"/>
                                      <a:gd name="connsiteY57" fmla="*/ 89116 h 362666"/>
                                      <a:gd name="connsiteX58" fmla="*/ 248638 w 437081"/>
                                      <a:gd name="connsiteY58" fmla="*/ 304531 h 362666"/>
                                      <a:gd name="connsiteX59" fmla="*/ 224812 w 437081"/>
                                      <a:gd name="connsiteY59" fmla="*/ 326123 h 362666"/>
                                      <a:gd name="connsiteX60" fmla="*/ 248638 w 437081"/>
                                      <a:gd name="connsiteY60" fmla="*/ 304531 h 362666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  <a:cxn ang="0">
                                        <a:pos x="connsiteX40" y="connsiteY40"/>
                                      </a:cxn>
                                      <a:cxn ang="0">
                                        <a:pos x="connsiteX41" y="connsiteY41"/>
                                      </a:cxn>
                                      <a:cxn ang="0">
                                        <a:pos x="connsiteX42" y="connsiteY42"/>
                                      </a:cxn>
                                      <a:cxn ang="0">
                                        <a:pos x="connsiteX43" y="connsiteY43"/>
                                      </a:cxn>
                                      <a:cxn ang="0">
                                        <a:pos x="connsiteX44" y="connsiteY44"/>
                                      </a:cxn>
                                      <a:cxn ang="0">
                                        <a:pos x="connsiteX45" y="connsiteY45"/>
                                      </a:cxn>
                                      <a:cxn ang="0">
                                        <a:pos x="connsiteX46" y="connsiteY46"/>
                                      </a:cxn>
                                      <a:cxn ang="0">
                                        <a:pos x="connsiteX47" y="connsiteY47"/>
                                      </a:cxn>
                                      <a:cxn ang="0">
                                        <a:pos x="connsiteX48" y="connsiteY48"/>
                                      </a:cxn>
                                      <a:cxn ang="0">
                                        <a:pos x="connsiteX49" y="connsiteY49"/>
                                      </a:cxn>
                                      <a:cxn ang="0">
                                        <a:pos x="connsiteX50" y="connsiteY50"/>
                                      </a:cxn>
                                      <a:cxn ang="0">
                                        <a:pos x="connsiteX51" y="connsiteY51"/>
                                      </a:cxn>
                                      <a:cxn ang="0">
                                        <a:pos x="connsiteX52" y="connsiteY52"/>
                                      </a:cxn>
                                      <a:cxn ang="0">
                                        <a:pos x="connsiteX53" y="connsiteY53"/>
                                      </a:cxn>
                                      <a:cxn ang="0">
                                        <a:pos x="connsiteX54" y="connsiteY54"/>
                                      </a:cxn>
                                      <a:cxn ang="0">
                                        <a:pos x="connsiteX55" y="connsiteY55"/>
                                      </a:cxn>
                                      <a:cxn ang="0">
                                        <a:pos x="connsiteX56" y="connsiteY56"/>
                                      </a:cxn>
                                      <a:cxn ang="0">
                                        <a:pos x="connsiteX57" y="connsiteY57"/>
                                      </a:cxn>
                                      <a:cxn ang="0">
                                        <a:pos x="connsiteX58" y="connsiteY58"/>
                                      </a:cxn>
                                      <a:cxn ang="0">
                                        <a:pos x="connsiteX59" y="connsiteY59"/>
                                      </a:cxn>
                                      <a:cxn ang="0">
                                        <a:pos x="connsiteX60" y="connsiteY60"/>
                                      </a:cxn>
                                    </a:cxnLst>
                                    <a:rect l="l" t="t" r="r" b="b"/>
                                    <a:pathLst>
                                      <a:path w="437081" h="362666">
                                        <a:moveTo>
                                          <a:pt x="432347" y="89049"/>
                                        </a:moveTo>
                                        <a:cubicBezTo>
                                          <a:pt x="418669" y="81596"/>
                                          <a:pt x="426665" y="82899"/>
                                          <a:pt x="432103" y="77652"/>
                                        </a:cubicBezTo>
                                        <a:cubicBezTo>
                                          <a:pt x="439085" y="70967"/>
                                          <a:pt x="430034" y="68828"/>
                                          <a:pt x="425447" y="63414"/>
                                        </a:cubicBezTo>
                                        <a:cubicBezTo>
                                          <a:pt x="423052" y="60539"/>
                                          <a:pt x="424838" y="57197"/>
                                          <a:pt x="424838" y="54322"/>
                                        </a:cubicBezTo>
                                        <a:cubicBezTo>
                                          <a:pt x="424838" y="50579"/>
                                          <a:pt x="420414" y="50545"/>
                                          <a:pt x="418060" y="47404"/>
                                        </a:cubicBezTo>
                                        <a:cubicBezTo>
                                          <a:pt x="412458" y="39984"/>
                                          <a:pt x="428857" y="33433"/>
                                          <a:pt x="412986" y="27650"/>
                                        </a:cubicBezTo>
                                        <a:cubicBezTo>
                                          <a:pt x="400322" y="23038"/>
                                          <a:pt x="385141" y="20397"/>
                                          <a:pt x="371381" y="16788"/>
                                        </a:cubicBezTo>
                                        <a:cubicBezTo>
                                          <a:pt x="355470" y="12676"/>
                                          <a:pt x="345201" y="5323"/>
                                          <a:pt x="330102" y="744"/>
                                        </a:cubicBezTo>
                                        <a:cubicBezTo>
                                          <a:pt x="316463" y="-3400"/>
                                          <a:pt x="310984" y="5357"/>
                                          <a:pt x="309807" y="10069"/>
                                        </a:cubicBezTo>
                                        <a:cubicBezTo>
                                          <a:pt x="306560" y="22436"/>
                                          <a:pt x="296493" y="16520"/>
                                          <a:pt x="279486" y="13813"/>
                                        </a:cubicBezTo>
                                        <a:cubicBezTo>
                                          <a:pt x="274534" y="12977"/>
                                          <a:pt x="242712" y="9969"/>
                                          <a:pt x="240561" y="11239"/>
                                        </a:cubicBezTo>
                                        <a:cubicBezTo>
                                          <a:pt x="233944" y="15050"/>
                                          <a:pt x="245147" y="22002"/>
                                          <a:pt x="238085" y="25578"/>
                                        </a:cubicBezTo>
                                        <a:cubicBezTo>
                                          <a:pt x="229439" y="29923"/>
                                          <a:pt x="210200" y="26514"/>
                                          <a:pt x="199159" y="28920"/>
                                        </a:cubicBezTo>
                                        <a:cubicBezTo>
                                          <a:pt x="189458" y="31093"/>
                                          <a:pt x="177241" y="41521"/>
                                          <a:pt x="174805" y="46602"/>
                                        </a:cubicBezTo>
                                        <a:cubicBezTo>
                                          <a:pt x="172938" y="50211"/>
                                          <a:pt x="180569" y="51080"/>
                                          <a:pt x="173344" y="54757"/>
                                        </a:cubicBezTo>
                                        <a:cubicBezTo>
                                          <a:pt x="168270" y="56812"/>
                                          <a:pt x="163481" y="59276"/>
                                          <a:pt x="159016" y="62110"/>
                                        </a:cubicBezTo>
                                        <a:cubicBezTo>
                                          <a:pt x="151831" y="67658"/>
                                          <a:pt x="150898" y="71636"/>
                                          <a:pt x="146108" y="77117"/>
                                        </a:cubicBezTo>
                                        <a:cubicBezTo>
                                          <a:pt x="140304" y="84036"/>
                                          <a:pt x="114610" y="77786"/>
                                          <a:pt x="112662" y="84838"/>
                                        </a:cubicBezTo>
                                        <a:cubicBezTo>
                                          <a:pt x="109131" y="97338"/>
                                          <a:pt x="111688" y="104458"/>
                                          <a:pt x="95452" y="115454"/>
                                        </a:cubicBezTo>
                                        <a:cubicBezTo>
                                          <a:pt x="86928" y="121236"/>
                                          <a:pt x="80596" y="125481"/>
                                          <a:pt x="97482" y="128456"/>
                                        </a:cubicBezTo>
                                        <a:cubicBezTo>
                                          <a:pt x="110146" y="130695"/>
                                          <a:pt x="95168" y="142360"/>
                                          <a:pt x="79866" y="139720"/>
                                        </a:cubicBezTo>
                                        <a:cubicBezTo>
                                          <a:pt x="67689" y="137905"/>
                                          <a:pt x="55106" y="140244"/>
                                          <a:pt x="45040" y="146204"/>
                                        </a:cubicBezTo>
                                        <a:cubicBezTo>
                                          <a:pt x="28520" y="155295"/>
                                          <a:pt x="39195" y="160008"/>
                                          <a:pt x="36516" y="169400"/>
                                        </a:cubicBezTo>
                                        <a:cubicBezTo>
                                          <a:pt x="35501" y="172742"/>
                                          <a:pt x="32457" y="175750"/>
                                          <a:pt x="33147" y="179427"/>
                                        </a:cubicBezTo>
                                        <a:cubicBezTo>
                                          <a:pt x="33837" y="183103"/>
                                          <a:pt x="40534" y="186914"/>
                                          <a:pt x="38383" y="191259"/>
                                        </a:cubicBezTo>
                                        <a:cubicBezTo>
                                          <a:pt x="35014" y="197943"/>
                                          <a:pt x="30712" y="202188"/>
                                          <a:pt x="45567" y="206233"/>
                                        </a:cubicBezTo>
                                        <a:cubicBezTo>
                                          <a:pt x="55918" y="209074"/>
                                          <a:pt x="64442" y="217764"/>
                                          <a:pt x="48855" y="220772"/>
                                        </a:cubicBezTo>
                                        <a:cubicBezTo>
                                          <a:pt x="30590" y="224281"/>
                                          <a:pt x="47597" y="227189"/>
                                          <a:pt x="49424" y="233540"/>
                                        </a:cubicBezTo>
                                        <a:cubicBezTo>
                                          <a:pt x="50722" y="238252"/>
                                          <a:pt x="51534" y="246642"/>
                                          <a:pt x="39195" y="247110"/>
                                        </a:cubicBezTo>
                                        <a:cubicBezTo>
                                          <a:pt x="21538" y="247745"/>
                                          <a:pt x="26774" y="248781"/>
                                          <a:pt x="22269" y="256669"/>
                                        </a:cubicBezTo>
                                        <a:cubicBezTo>
                                          <a:pt x="19265" y="261983"/>
                                          <a:pt x="20645" y="268434"/>
                                          <a:pt x="16058" y="273380"/>
                                        </a:cubicBezTo>
                                        <a:cubicBezTo>
                                          <a:pt x="11472" y="278327"/>
                                          <a:pt x="-6469" y="268634"/>
                                          <a:pt x="2340" y="282773"/>
                                        </a:cubicBezTo>
                                        <a:cubicBezTo>
                                          <a:pt x="7373" y="290828"/>
                                          <a:pt x="20767" y="293635"/>
                                          <a:pt x="22269" y="302526"/>
                                        </a:cubicBezTo>
                                        <a:cubicBezTo>
                                          <a:pt x="23324" y="308709"/>
                                          <a:pt x="34771" y="321444"/>
                                          <a:pt x="44269" y="325622"/>
                                        </a:cubicBezTo>
                                        <a:cubicBezTo>
                                          <a:pt x="56648" y="331070"/>
                                          <a:pt x="45080" y="339893"/>
                                          <a:pt x="52387" y="342801"/>
                                        </a:cubicBezTo>
                                        <a:cubicBezTo>
                                          <a:pt x="66349" y="348350"/>
                                          <a:pt x="53726" y="353330"/>
                                          <a:pt x="60910" y="360783"/>
                                        </a:cubicBezTo>
                                        <a:cubicBezTo>
                                          <a:pt x="64076" y="364126"/>
                                          <a:pt x="89729" y="361151"/>
                                          <a:pt x="94559" y="360148"/>
                                        </a:cubicBezTo>
                                        <a:cubicBezTo>
                                          <a:pt x="105518" y="357875"/>
                                          <a:pt x="93707" y="349219"/>
                                          <a:pt x="104504" y="347447"/>
                                        </a:cubicBezTo>
                                        <a:cubicBezTo>
                                          <a:pt x="117614" y="345275"/>
                                          <a:pt x="121024" y="340462"/>
                                          <a:pt x="138234" y="344506"/>
                                        </a:cubicBezTo>
                                        <a:cubicBezTo>
                                          <a:pt x="158001" y="349252"/>
                                          <a:pt x="150411" y="336016"/>
                                          <a:pt x="160112" y="334713"/>
                                        </a:cubicBezTo>
                                        <a:cubicBezTo>
                                          <a:pt x="167824" y="333677"/>
                                          <a:pt x="166525" y="343670"/>
                                          <a:pt x="175130" y="337721"/>
                                        </a:cubicBezTo>
                                        <a:cubicBezTo>
                                          <a:pt x="177646" y="335983"/>
                                          <a:pt x="195628" y="321210"/>
                                          <a:pt x="190514" y="319538"/>
                                        </a:cubicBezTo>
                                        <a:cubicBezTo>
                                          <a:pt x="186170" y="318168"/>
                                          <a:pt x="173669" y="328329"/>
                                          <a:pt x="171152" y="326223"/>
                                        </a:cubicBezTo>
                                        <a:cubicBezTo>
                                          <a:pt x="166687" y="322212"/>
                                          <a:pt x="176632" y="314525"/>
                                          <a:pt x="178499" y="310648"/>
                                        </a:cubicBezTo>
                                        <a:cubicBezTo>
                                          <a:pt x="181909" y="303562"/>
                                          <a:pt x="179920" y="296008"/>
                                          <a:pt x="183167" y="288956"/>
                                        </a:cubicBezTo>
                                        <a:cubicBezTo>
                                          <a:pt x="187510" y="279597"/>
                                          <a:pt x="201635" y="280567"/>
                                          <a:pt x="215638" y="276455"/>
                                        </a:cubicBezTo>
                                        <a:cubicBezTo>
                                          <a:pt x="230616" y="272077"/>
                                          <a:pt x="227815" y="266729"/>
                                          <a:pt x="236583" y="261682"/>
                                        </a:cubicBezTo>
                                        <a:cubicBezTo>
                                          <a:pt x="241210" y="259042"/>
                                          <a:pt x="257487" y="254998"/>
                                          <a:pt x="253671" y="250485"/>
                                        </a:cubicBezTo>
                                        <a:cubicBezTo>
                                          <a:pt x="248475" y="244402"/>
                                          <a:pt x="236015" y="238720"/>
                                          <a:pt x="225989" y="234542"/>
                                        </a:cubicBezTo>
                                        <a:cubicBezTo>
                                          <a:pt x="217303" y="230932"/>
                                          <a:pt x="198834" y="233640"/>
                                          <a:pt x="199037" y="227523"/>
                                        </a:cubicBezTo>
                                        <a:cubicBezTo>
                                          <a:pt x="199281" y="219769"/>
                                          <a:pt x="190635" y="210578"/>
                                          <a:pt x="199037" y="203592"/>
                                        </a:cubicBezTo>
                                        <a:cubicBezTo>
                                          <a:pt x="206465" y="197342"/>
                                          <a:pt x="204476" y="188117"/>
                                          <a:pt x="212513" y="182903"/>
                                        </a:cubicBezTo>
                                        <a:cubicBezTo>
                                          <a:pt x="220550" y="177689"/>
                                          <a:pt x="236867" y="175483"/>
                                          <a:pt x="243686" y="170269"/>
                                        </a:cubicBezTo>
                                        <a:cubicBezTo>
                                          <a:pt x="262235" y="155897"/>
                                          <a:pt x="299538" y="152253"/>
                                          <a:pt x="327829" y="142895"/>
                                        </a:cubicBezTo>
                                        <a:cubicBezTo>
                                          <a:pt x="335947" y="140221"/>
                                          <a:pt x="351817" y="135943"/>
                                          <a:pt x="345891" y="129960"/>
                                        </a:cubicBezTo>
                                        <a:cubicBezTo>
                                          <a:pt x="334648" y="118529"/>
                                          <a:pt x="349585" y="122005"/>
                                          <a:pt x="352426" y="111677"/>
                                        </a:cubicBezTo>
                                        <a:cubicBezTo>
                                          <a:pt x="356932" y="94965"/>
                                          <a:pt x="409252" y="93127"/>
                                          <a:pt x="437015" y="97706"/>
                                        </a:cubicBezTo>
                                        <a:cubicBezTo>
                                          <a:pt x="437137" y="94457"/>
                                          <a:pt x="435554" y="91322"/>
                                          <a:pt x="432672" y="89116"/>
                                        </a:cubicBezTo>
                                        <a:close/>
                                        <a:moveTo>
                                          <a:pt x="248638" y="304531"/>
                                        </a:moveTo>
                                        <a:cubicBezTo>
                                          <a:pt x="229561" y="304297"/>
                                          <a:pt x="220225" y="322914"/>
                                          <a:pt x="224812" y="326123"/>
                                        </a:cubicBezTo>
                                        <a:cubicBezTo>
                                          <a:pt x="228668" y="328730"/>
                                          <a:pt x="267634" y="304799"/>
                                          <a:pt x="248638" y="30453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277" name="Freeform: Shape 276">
                                    <a:extLst>
                                      <a:ext uri="{FF2B5EF4-FFF2-40B4-BE49-F238E27FC236}">
                                        <a16:creationId xmlns:a16="http://schemas.microsoft.com/office/drawing/2014/main" id="{1DA090CA-641D-4917-A701-6FABD5B129D2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6470770" y="4295319"/>
                                    <a:ext cx="200711" cy="39582"/>
                                  </a:xfrm>
                                  <a:custGeom>
                                    <a:avLst/>
                                    <a:gdLst>
                                      <a:gd name="connsiteX0" fmla="*/ 195730 w 205999"/>
                                      <a:gd name="connsiteY0" fmla="*/ 16591 h 54197"/>
                                      <a:gd name="connsiteX1" fmla="*/ 203604 w 205999"/>
                                      <a:gd name="connsiteY1" fmla="*/ 5795 h 54197"/>
                                      <a:gd name="connsiteX2" fmla="*/ 138376 w 205999"/>
                                      <a:gd name="connsiteY2" fmla="*/ 414 h 54197"/>
                                      <a:gd name="connsiteX3" fmla="*/ 71444 w 205999"/>
                                      <a:gd name="connsiteY3" fmla="*/ 2587 h 54197"/>
                                      <a:gd name="connsiteX4" fmla="*/ 46157 w 205999"/>
                                      <a:gd name="connsiteY4" fmla="*/ 9271 h 54197"/>
                                      <a:gd name="connsiteX5" fmla="*/ 50581 w 205999"/>
                                      <a:gd name="connsiteY5" fmla="*/ 20502 h 54197"/>
                                      <a:gd name="connsiteX6" fmla="*/ 78994 w 205999"/>
                                      <a:gd name="connsiteY6" fmla="*/ 37815 h 54197"/>
                                      <a:gd name="connsiteX7" fmla="*/ 131314 w 205999"/>
                                      <a:gd name="connsiteY7" fmla="*/ 46037 h 54197"/>
                                      <a:gd name="connsiteX8" fmla="*/ 180914 w 205999"/>
                                      <a:gd name="connsiteY8" fmla="*/ 53858 h 54197"/>
                                      <a:gd name="connsiteX9" fmla="*/ 188140 w 205999"/>
                                      <a:gd name="connsiteY9" fmla="*/ 40823 h 54197"/>
                                      <a:gd name="connsiteX10" fmla="*/ 195852 w 205999"/>
                                      <a:gd name="connsiteY10" fmla="*/ 16625 h 54197"/>
                                      <a:gd name="connsiteX11" fmla="*/ 17135 w 205999"/>
                                      <a:gd name="connsiteY11" fmla="*/ 20234 h 54197"/>
                                      <a:gd name="connsiteX12" fmla="*/ 12791 w 205999"/>
                                      <a:gd name="connsiteY12" fmla="*/ 33035 h 54197"/>
                                      <a:gd name="connsiteX13" fmla="*/ 17135 w 205999"/>
                                      <a:gd name="connsiteY13" fmla="*/ 20234 h 54197"/>
                                      <a:gd name="connsiteX14" fmla="*/ 32640 w 205999"/>
                                      <a:gd name="connsiteY14" fmla="*/ 13550 h 54197"/>
                                      <a:gd name="connsiteX15" fmla="*/ 10965 w 205999"/>
                                      <a:gd name="connsiteY15" fmla="*/ 13984 h 54197"/>
                                      <a:gd name="connsiteX16" fmla="*/ 32559 w 205999"/>
                                      <a:gd name="connsiteY16" fmla="*/ 13516 h 54197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</a:cxnLst>
                                    <a:rect l="l" t="t" r="r" b="b"/>
                                    <a:pathLst>
                                      <a:path w="205999" h="54197">
                                        <a:moveTo>
                                          <a:pt x="195730" y="16591"/>
                                        </a:moveTo>
                                        <a:cubicBezTo>
                                          <a:pt x="200113" y="12447"/>
                                          <a:pt x="210586" y="11678"/>
                                          <a:pt x="203604" y="5795"/>
                                        </a:cubicBezTo>
                                        <a:cubicBezTo>
                                          <a:pt x="187368" y="11477"/>
                                          <a:pt x="156398" y="1316"/>
                                          <a:pt x="138376" y="414"/>
                                        </a:cubicBezTo>
                                        <a:cubicBezTo>
                                          <a:pt x="119299" y="-555"/>
                                          <a:pt x="88654" y="-1224"/>
                                          <a:pt x="71444" y="2587"/>
                                        </a:cubicBezTo>
                                        <a:cubicBezTo>
                                          <a:pt x="62798" y="4258"/>
                                          <a:pt x="54356" y="6491"/>
                                          <a:pt x="46157" y="9271"/>
                                        </a:cubicBezTo>
                                        <a:cubicBezTo>
                                          <a:pt x="43924" y="10140"/>
                                          <a:pt x="50216" y="18095"/>
                                          <a:pt x="50581" y="20502"/>
                                        </a:cubicBezTo>
                                        <a:cubicBezTo>
                                          <a:pt x="52732" y="31498"/>
                                          <a:pt x="96041" y="29493"/>
                                          <a:pt x="78994" y="37815"/>
                                        </a:cubicBezTo>
                                        <a:cubicBezTo>
                                          <a:pt x="103916" y="37815"/>
                                          <a:pt x="112236" y="38417"/>
                                          <a:pt x="131314" y="46037"/>
                                        </a:cubicBezTo>
                                        <a:cubicBezTo>
                                          <a:pt x="146535" y="52120"/>
                                          <a:pt x="162690" y="51652"/>
                                          <a:pt x="180914" y="53858"/>
                                        </a:cubicBezTo>
                                        <a:cubicBezTo>
                                          <a:pt x="175476" y="45503"/>
                                          <a:pt x="199058" y="51051"/>
                                          <a:pt x="188140" y="40823"/>
                                        </a:cubicBezTo>
                                        <a:cubicBezTo>
                                          <a:pt x="177221" y="30596"/>
                                          <a:pt x="187449" y="24512"/>
                                          <a:pt x="195852" y="16625"/>
                                        </a:cubicBezTo>
                                        <a:close/>
                                        <a:moveTo>
                                          <a:pt x="17135" y="20234"/>
                                        </a:moveTo>
                                        <a:cubicBezTo>
                                          <a:pt x="1427" y="21805"/>
                                          <a:pt x="-10020" y="38651"/>
                                          <a:pt x="12791" y="33035"/>
                                        </a:cubicBezTo>
                                        <a:cubicBezTo>
                                          <a:pt x="29271" y="29025"/>
                                          <a:pt x="56304" y="16324"/>
                                          <a:pt x="17135" y="20234"/>
                                        </a:cubicBezTo>
                                        <a:close/>
                                        <a:moveTo>
                                          <a:pt x="32640" y="13550"/>
                                        </a:moveTo>
                                        <a:cubicBezTo>
                                          <a:pt x="36943" y="9940"/>
                                          <a:pt x="3740" y="10207"/>
                                          <a:pt x="10965" y="13984"/>
                                        </a:cubicBezTo>
                                        <a:cubicBezTo>
                                          <a:pt x="16283" y="16691"/>
                                          <a:pt x="28256" y="17126"/>
                                          <a:pt x="32559" y="13516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solidFill>
                                    <a:schemeClr val="accent3"/>
                                  </a:solidFill>
                                  <a:ln w="3021" cap="flat">
                                    <a:solidFill>
                                      <a:schemeClr val="accent3">
                                        <a:alpha val="44000"/>
                                      </a:schemeClr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273" name="Freeform: Shape 272">
                                  <a:extLst>
                                    <a:ext uri="{FF2B5EF4-FFF2-40B4-BE49-F238E27FC236}">
                                      <a16:creationId xmlns:a16="http://schemas.microsoft.com/office/drawing/2014/main" id="{1968C4B3-5261-4ADF-8B9C-262C0E92D03C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5919317" y="3810531"/>
                                  <a:ext cx="883469" cy="505131"/>
                                </a:xfrm>
                                <a:custGeom>
                                  <a:avLst/>
                                  <a:gdLst>
                                    <a:gd name="connsiteX0" fmla="*/ 879299 w 906744"/>
                                    <a:gd name="connsiteY0" fmla="*/ 389425 h 691640"/>
                                    <a:gd name="connsiteX1" fmla="*/ 862333 w 906744"/>
                                    <a:gd name="connsiteY1" fmla="*/ 385748 h 691640"/>
                                    <a:gd name="connsiteX2" fmla="*/ 841307 w 906744"/>
                                    <a:gd name="connsiteY2" fmla="*/ 377626 h 691640"/>
                                    <a:gd name="connsiteX3" fmla="*/ 870492 w 906744"/>
                                    <a:gd name="connsiteY3" fmla="*/ 380969 h 691640"/>
                                    <a:gd name="connsiteX4" fmla="*/ 883115 w 906744"/>
                                    <a:gd name="connsiteY4" fmla="*/ 377626 h 691640"/>
                                    <a:gd name="connsiteX5" fmla="*/ 904465 w 906744"/>
                                    <a:gd name="connsiteY5" fmla="*/ 376222 h 691640"/>
                                    <a:gd name="connsiteX6" fmla="*/ 863876 w 906744"/>
                                    <a:gd name="connsiteY6" fmla="*/ 358876 h 691640"/>
                                    <a:gd name="connsiteX7" fmla="*/ 816548 w 906744"/>
                                    <a:gd name="connsiteY7" fmla="*/ 360747 h 691640"/>
                                    <a:gd name="connsiteX8" fmla="*/ 807943 w 906744"/>
                                    <a:gd name="connsiteY8" fmla="*/ 361750 h 691640"/>
                                    <a:gd name="connsiteX9" fmla="*/ 808470 w 906744"/>
                                    <a:gd name="connsiteY9" fmla="*/ 353661 h 691640"/>
                                    <a:gd name="connsiteX10" fmla="*/ 818496 w 906744"/>
                                    <a:gd name="connsiteY10" fmla="*/ 349885 h 691640"/>
                                    <a:gd name="connsiteX11" fmla="*/ 776121 w 906744"/>
                                    <a:gd name="connsiteY11" fmla="*/ 350319 h 691640"/>
                                    <a:gd name="connsiteX12" fmla="*/ 752781 w 906744"/>
                                    <a:gd name="connsiteY12" fmla="*/ 355266 h 691640"/>
                                    <a:gd name="connsiteX13" fmla="*/ 718320 w 906744"/>
                                    <a:gd name="connsiteY13" fmla="*/ 359644 h 691640"/>
                                    <a:gd name="connsiteX14" fmla="*/ 693642 w 906744"/>
                                    <a:gd name="connsiteY14" fmla="*/ 366697 h 691640"/>
                                    <a:gd name="connsiteX15" fmla="*/ 710162 w 906744"/>
                                    <a:gd name="connsiteY15" fmla="*/ 354731 h 691640"/>
                                    <a:gd name="connsiteX16" fmla="*/ 728306 w 906744"/>
                                    <a:gd name="connsiteY16" fmla="*/ 344704 h 691640"/>
                                    <a:gd name="connsiteX17" fmla="*/ 717874 w 906744"/>
                                    <a:gd name="connsiteY17" fmla="*/ 337652 h 691640"/>
                                    <a:gd name="connsiteX18" fmla="*/ 701029 w 906744"/>
                                    <a:gd name="connsiteY18" fmla="*/ 344804 h 691640"/>
                                    <a:gd name="connsiteX19" fmla="*/ 679232 w 906744"/>
                                    <a:gd name="connsiteY19" fmla="*/ 341830 h 691640"/>
                                    <a:gd name="connsiteX20" fmla="*/ 674118 w 906744"/>
                                    <a:gd name="connsiteY20" fmla="*/ 344203 h 691640"/>
                                    <a:gd name="connsiteX21" fmla="*/ 674118 w 906744"/>
                                    <a:gd name="connsiteY21" fmla="*/ 350887 h 691640"/>
                                    <a:gd name="connsiteX22" fmla="*/ 652606 w 906744"/>
                                    <a:gd name="connsiteY22" fmla="*/ 348247 h 691640"/>
                                    <a:gd name="connsiteX23" fmla="*/ 628252 w 906744"/>
                                    <a:gd name="connsiteY23" fmla="*/ 358274 h 691640"/>
                                    <a:gd name="connsiteX24" fmla="*/ 622854 w 906744"/>
                                    <a:gd name="connsiteY24" fmla="*/ 368669 h 691640"/>
                                    <a:gd name="connsiteX25" fmla="*/ 616197 w 906744"/>
                                    <a:gd name="connsiteY25" fmla="*/ 357873 h 691640"/>
                                    <a:gd name="connsiteX26" fmla="*/ 616197 w 906744"/>
                                    <a:gd name="connsiteY26" fmla="*/ 351823 h 691640"/>
                                    <a:gd name="connsiteX27" fmla="*/ 640551 w 906744"/>
                                    <a:gd name="connsiteY27" fmla="*/ 344771 h 691640"/>
                                    <a:gd name="connsiteX28" fmla="*/ 628374 w 906744"/>
                                    <a:gd name="connsiteY28" fmla="*/ 344203 h 691640"/>
                                    <a:gd name="connsiteX29" fmla="*/ 594562 w 906744"/>
                                    <a:gd name="connsiteY29" fmla="*/ 354698 h 691640"/>
                                    <a:gd name="connsiteX30" fmla="*/ 562090 w 906744"/>
                                    <a:gd name="connsiteY30" fmla="*/ 360480 h 691640"/>
                                    <a:gd name="connsiteX31" fmla="*/ 583116 w 906744"/>
                                    <a:gd name="connsiteY31" fmla="*/ 368903 h 691640"/>
                                    <a:gd name="connsiteX32" fmla="*/ 556124 w 906744"/>
                                    <a:gd name="connsiteY32" fmla="*/ 366429 h 691640"/>
                                    <a:gd name="connsiteX33" fmla="*/ 542689 w 906744"/>
                                    <a:gd name="connsiteY33" fmla="*/ 359444 h 691640"/>
                                    <a:gd name="connsiteX34" fmla="*/ 532419 w 906744"/>
                                    <a:gd name="connsiteY34" fmla="*/ 362987 h 691640"/>
                                    <a:gd name="connsiteX35" fmla="*/ 544921 w 906744"/>
                                    <a:gd name="connsiteY35" fmla="*/ 369504 h 691640"/>
                                    <a:gd name="connsiteX36" fmla="*/ 538508 w 906744"/>
                                    <a:gd name="connsiteY36" fmla="*/ 377693 h 691640"/>
                                    <a:gd name="connsiteX37" fmla="*/ 531689 w 906744"/>
                                    <a:gd name="connsiteY37" fmla="*/ 368836 h 691640"/>
                                    <a:gd name="connsiteX38" fmla="*/ 508349 w 906744"/>
                                    <a:gd name="connsiteY38" fmla="*/ 370540 h 691640"/>
                                    <a:gd name="connsiteX39" fmla="*/ 509730 w 906744"/>
                                    <a:gd name="connsiteY39" fmla="*/ 360146 h 691640"/>
                                    <a:gd name="connsiteX40" fmla="*/ 473199 w 906744"/>
                                    <a:gd name="connsiteY40" fmla="*/ 361583 h 691640"/>
                                    <a:gd name="connsiteX41" fmla="*/ 471332 w 906744"/>
                                    <a:gd name="connsiteY41" fmla="*/ 372680 h 691640"/>
                                    <a:gd name="connsiteX42" fmla="*/ 449454 w 906744"/>
                                    <a:gd name="connsiteY42" fmla="*/ 378863 h 691640"/>
                                    <a:gd name="connsiteX43" fmla="*/ 427251 w 906744"/>
                                    <a:gd name="connsiteY43" fmla="*/ 375888 h 691640"/>
                                    <a:gd name="connsiteX44" fmla="*/ 404034 w 906744"/>
                                    <a:gd name="connsiteY44" fmla="*/ 389057 h 691640"/>
                                    <a:gd name="connsiteX45" fmla="*/ 430539 w 906744"/>
                                    <a:gd name="connsiteY45" fmla="*/ 390127 h 691640"/>
                                    <a:gd name="connsiteX46" fmla="*/ 432122 w 906744"/>
                                    <a:gd name="connsiteY46" fmla="*/ 400455 h 691640"/>
                                    <a:gd name="connsiteX47" fmla="*/ 409473 w 906744"/>
                                    <a:gd name="connsiteY47" fmla="*/ 399987 h 691640"/>
                                    <a:gd name="connsiteX48" fmla="*/ 387554 w 906744"/>
                                    <a:gd name="connsiteY48" fmla="*/ 395107 h 691640"/>
                                    <a:gd name="connsiteX49" fmla="*/ 380127 w 906744"/>
                                    <a:gd name="connsiteY49" fmla="*/ 384177 h 691640"/>
                                    <a:gd name="connsiteX50" fmla="*/ 354393 w 906744"/>
                                    <a:gd name="connsiteY50" fmla="*/ 395809 h 691640"/>
                                    <a:gd name="connsiteX51" fmla="*/ 338157 w 906744"/>
                                    <a:gd name="connsiteY51" fmla="*/ 399719 h 691640"/>
                                    <a:gd name="connsiteX52" fmla="*/ 337142 w 906744"/>
                                    <a:gd name="connsiteY52" fmla="*/ 404098 h 691640"/>
                                    <a:gd name="connsiteX53" fmla="*/ 310272 w 906744"/>
                                    <a:gd name="connsiteY53" fmla="*/ 414827 h 691640"/>
                                    <a:gd name="connsiteX54" fmla="*/ 274431 w 906744"/>
                                    <a:gd name="connsiteY54" fmla="*/ 424553 h 691640"/>
                                    <a:gd name="connsiteX55" fmla="*/ 318471 w 906744"/>
                                    <a:gd name="connsiteY55" fmla="*/ 415729 h 691640"/>
                                    <a:gd name="connsiteX56" fmla="*/ 353094 w 906744"/>
                                    <a:gd name="connsiteY56" fmla="*/ 410114 h 691640"/>
                                    <a:gd name="connsiteX57" fmla="*/ 381506 w 906744"/>
                                    <a:gd name="connsiteY57" fmla="*/ 406237 h 691640"/>
                                    <a:gd name="connsiteX58" fmla="*/ 395551 w 906744"/>
                                    <a:gd name="connsiteY58" fmla="*/ 411785 h 691640"/>
                                    <a:gd name="connsiteX59" fmla="*/ 392831 w 906744"/>
                                    <a:gd name="connsiteY59" fmla="*/ 421311 h 691640"/>
                                    <a:gd name="connsiteX60" fmla="*/ 374160 w 906744"/>
                                    <a:gd name="connsiteY60" fmla="*/ 415361 h 691640"/>
                                    <a:gd name="connsiteX61" fmla="*/ 346884 w 906744"/>
                                    <a:gd name="connsiteY61" fmla="*/ 424586 h 691640"/>
                                    <a:gd name="connsiteX62" fmla="*/ 336330 w 906744"/>
                                    <a:gd name="connsiteY62" fmla="*/ 437956 h 691640"/>
                                    <a:gd name="connsiteX63" fmla="*/ 322733 w 906744"/>
                                    <a:gd name="connsiteY63" fmla="*/ 443671 h 691640"/>
                                    <a:gd name="connsiteX64" fmla="*/ 291966 w 906744"/>
                                    <a:gd name="connsiteY64" fmla="*/ 461854 h 691640"/>
                                    <a:gd name="connsiteX65" fmla="*/ 286121 w 906744"/>
                                    <a:gd name="connsiteY65" fmla="*/ 474387 h 691640"/>
                                    <a:gd name="connsiteX66" fmla="*/ 263228 w 906744"/>
                                    <a:gd name="connsiteY66" fmla="*/ 476025 h 691640"/>
                                    <a:gd name="connsiteX67" fmla="*/ 257302 w 906744"/>
                                    <a:gd name="connsiteY67" fmla="*/ 486988 h 691640"/>
                                    <a:gd name="connsiteX68" fmla="*/ 253893 w 906744"/>
                                    <a:gd name="connsiteY68" fmla="*/ 492102 h 691640"/>
                                    <a:gd name="connsiteX69" fmla="*/ 253893 w 906744"/>
                                    <a:gd name="connsiteY69" fmla="*/ 503700 h 691640"/>
                                    <a:gd name="connsiteX70" fmla="*/ 234369 w 906744"/>
                                    <a:gd name="connsiteY70" fmla="*/ 503967 h 691640"/>
                                    <a:gd name="connsiteX71" fmla="*/ 218133 w 906744"/>
                                    <a:gd name="connsiteY71" fmla="*/ 508212 h 691640"/>
                                    <a:gd name="connsiteX72" fmla="*/ 215048 w 906744"/>
                                    <a:gd name="connsiteY72" fmla="*/ 514496 h 691640"/>
                                    <a:gd name="connsiteX73" fmla="*/ 202871 w 906744"/>
                                    <a:gd name="connsiteY73" fmla="*/ 522952 h 691640"/>
                                    <a:gd name="connsiteX74" fmla="*/ 175839 w 906744"/>
                                    <a:gd name="connsiteY74" fmla="*/ 532143 h 691640"/>
                                    <a:gd name="connsiteX75" fmla="*/ 159278 w 906744"/>
                                    <a:gd name="connsiteY75" fmla="*/ 539530 h 691640"/>
                                    <a:gd name="connsiteX76" fmla="*/ 147426 w 906744"/>
                                    <a:gd name="connsiteY76" fmla="*/ 551629 h 691640"/>
                                    <a:gd name="connsiteX77" fmla="*/ 133666 w 906744"/>
                                    <a:gd name="connsiteY77" fmla="*/ 545246 h 691640"/>
                                    <a:gd name="connsiteX78" fmla="*/ 119946 w 906744"/>
                                    <a:gd name="connsiteY78" fmla="*/ 550326 h 691640"/>
                                    <a:gd name="connsiteX79" fmla="*/ 115319 w 906744"/>
                                    <a:gd name="connsiteY79" fmla="*/ 557579 h 691640"/>
                                    <a:gd name="connsiteX80" fmla="*/ 74080 w 906744"/>
                                    <a:gd name="connsiteY80" fmla="*/ 569210 h 691640"/>
                                    <a:gd name="connsiteX81" fmla="*/ 90600 w 906744"/>
                                    <a:gd name="connsiteY81" fmla="*/ 574224 h 691640"/>
                                    <a:gd name="connsiteX82" fmla="*/ 61334 w 906744"/>
                                    <a:gd name="connsiteY82" fmla="*/ 573689 h 691640"/>
                                    <a:gd name="connsiteX83" fmla="*/ 43110 w 906744"/>
                                    <a:gd name="connsiteY83" fmla="*/ 580006 h 691640"/>
                                    <a:gd name="connsiteX84" fmla="*/ 29593 w 906744"/>
                                    <a:gd name="connsiteY84" fmla="*/ 590033 h 691640"/>
                                    <a:gd name="connsiteX85" fmla="*/ 1708 w 906744"/>
                                    <a:gd name="connsiteY85" fmla="*/ 594478 h 691640"/>
                                    <a:gd name="connsiteX86" fmla="*/ 12749 w 906744"/>
                                    <a:gd name="connsiteY86" fmla="*/ 606143 h 691640"/>
                                    <a:gd name="connsiteX87" fmla="*/ 5564 w 906744"/>
                                    <a:gd name="connsiteY87" fmla="*/ 611458 h 691640"/>
                                    <a:gd name="connsiteX88" fmla="*/ 11125 w 906744"/>
                                    <a:gd name="connsiteY88" fmla="*/ 616805 h 691640"/>
                                    <a:gd name="connsiteX89" fmla="*/ 1586 w 906744"/>
                                    <a:gd name="connsiteY89" fmla="*/ 623490 h 691640"/>
                                    <a:gd name="connsiteX90" fmla="*/ 2520 w 906744"/>
                                    <a:gd name="connsiteY90" fmla="*/ 632247 h 691640"/>
                                    <a:gd name="connsiteX91" fmla="*/ 18756 w 906744"/>
                                    <a:gd name="connsiteY91" fmla="*/ 638364 h 691640"/>
                                    <a:gd name="connsiteX92" fmla="*/ 30527 w 906744"/>
                                    <a:gd name="connsiteY92" fmla="*/ 640770 h 691640"/>
                                    <a:gd name="connsiteX93" fmla="*/ 50294 w 906744"/>
                                    <a:gd name="connsiteY93" fmla="*/ 633317 h 691640"/>
                                    <a:gd name="connsiteX94" fmla="*/ 56464 w 906744"/>
                                    <a:gd name="connsiteY94" fmla="*/ 637495 h 691640"/>
                                    <a:gd name="connsiteX95" fmla="*/ 44693 w 906744"/>
                                    <a:gd name="connsiteY95" fmla="*/ 640402 h 691640"/>
                                    <a:gd name="connsiteX96" fmla="*/ 21881 w 906744"/>
                                    <a:gd name="connsiteY96" fmla="*/ 648491 h 691640"/>
                                    <a:gd name="connsiteX97" fmla="*/ 15955 w 906744"/>
                                    <a:gd name="connsiteY97" fmla="*/ 643812 h 691640"/>
                                    <a:gd name="connsiteX98" fmla="*/ 7310 w 906744"/>
                                    <a:gd name="connsiteY98" fmla="*/ 648926 h 691640"/>
                                    <a:gd name="connsiteX99" fmla="*/ 10476 w 906744"/>
                                    <a:gd name="connsiteY99" fmla="*/ 656145 h 691640"/>
                                    <a:gd name="connsiteX100" fmla="*/ 8974 w 906744"/>
                                    <a:gd name="connsiteY100" fmla="*/ 663131 h 691640"/>
                                    <a:gd name="connsiteX101" fmla="*/ 40350 w 906744"/>
                                    <a:gd name="connsiteY101" fmla="*/ 657749 h 691640"/>
                                    <a:gd name="connsiteX102" fmla="*/ 42541 w 906744"/>
                                    <a:gd name="connsiteY102" fmla="*/ 662830 h 691640"/>
                                    <a:gd name="connsiteX103" fmla="*/ 34423 w 906744"/>
                                    <a:gd name="connsiteY103" fmla="*/ 669849 h 691640"/>
                                    <a:gd name="connsiteX104" fmla="*/ 25940 w 906744"/>
                                    <a:gd name="connsiteY104" fmla="*/ 678071 h 691640"/>
                                    <a:gd name="connsiteX105" fmla="*/ 57682 w 906744"/>
                                    <a:gd name="connsiteY105" fmla="*/ 686260 h 691640"/>
                                    <a:gd name="connsiteX106" fmla="*/ 97419 w 906744"/>
                                    <a:gd name="connsiteY106" fmla="*/ 691039 h 691640"/>
                                    <a:gd name="connsiteX107" fmla="*/ 137400 w 906744"/>
                                    <a:gd name="connsiteY107" fmla="*/ 678405 h 691640"/>
                                    <a:gd name="connsiteX108" fmla="*/ 160414 w 906744"/>
                                    <a:gd name="connsiteY108" fmla="*/ 667075 h 691640"/>
                                    <a:gd name="connsiteX109" fmla="*/ 188827 w 906744"/>
                                    <a:gd name="connsiteY109" fmla="*/ 659253 h 691640"/>
                                    <a:gd name="connsiteX110" fmla="*/ 201004 w 906744"/>
                                    <a:gd name="connsiteY110" fmla="*/ 657281 h 691640"/>
                                    <a:gd name="connsiteX111" fmla="*/ 210461 w 906744"/>
                                    <a:gd name="connsiteY111" fmla="*/ 662729 h 691640"/>
                                    <a:gd name="connsiteX112" fmla="*/ 214520 w 906744"/>
                                    <a:gd name="connsiteY112" fmla="*/ 669180 h 691640"/>
                                    <a:gd name="connsiteX113" fmla="*/ 225155 w 906744"/>
                                    <a:gd name="connsiteY113" fmla="*/ 669949 h 691640"/>
                                    <a:gd name="connsiteX114" fmla="*/ 242690 w 906744"/>
                                    <a:gd name="connsiteY114" fmla="*/ 642776 h 691640"/>
                                    <a:gd name="connsiteX115" fmla="*/ 263472 w 906744"/>
                                    <a:gd name="connsiteY115" fmla="*/ 635656 h 691640"/>
                                    <a:gd name="connsiteX116" fmla="*/ 254501 w 906744"/>
                                    <a:gd name="connsiteY116" fmla="*/ 617641 h 691640"/>
                                    <a:gd name="connsiteX117" fmla="*/ 268911 w 906744"/>
                                    <a:gd name="connsiteY117" fmla="*/ 605074 h 691640"/>
                                    <a:gd name="connsiteX118" fmla="*/ 248616 w 906744"/>
                                    <a:gd name="connsiteY118" fmla="*/ 592105 h 691640"/>
                                    <a:gd name="connsiteX119" fmla="*/ 252675 w 906744"/>
                                    <a:gd name="connsiteY119" fmla="*/ 583516 h 691640"/>
                                    <a:gd name="connsiteX120" fmla="*/ 247358 w 906744"/>
                                    <a:gd name="connsiteY120" fmla="*/ 570982 h 691640"/>
                                    <a:gd name="connsiteX121" fmla="*/ 248941 w 906744"/>
                                    <a:gd name="connsiteY121" fmla="*/ 549791 h 691640"/>
                                    <a:gd name="connsiteX122" fmla="*/ 284010 w 906744"/>
                                    <a:gd name="connsiteY122" fmla="*/ 534149 h 691640"/>
                                    <a:gd name="connsiteX123" fmla="*/ 314655 w 906744"/>
                                    <a:gd name="connsiteY123" fmla="*/ 529135 h 691640"/>
                                    <a:gd name="connsiteX124" fmla="*/ 299799 w 906744"/>
                                    <a:gd name="connsiteY124" fmla="*/ 518206 h 691640"/>
                                    <a:gd name="connsiteX125" fmla="*/ 327197 w 906744"/>
                                    <a:gd name="connsiteY125" fmla="*/ 488125 h 691640"/>
                                    <a:gd name="connsiteX126" fmla="*/ 355610 w 906744"/>
                                    <a:gd name="connsiteY126" fmla="*/ 474989 h 691640"/>
                                    <a:gd name="connsiteX127" fmla="*/ 373145 w 906744"/>
                                    <a:gd name="connsiteY127" fmla="*/ 457509 h 691640"/>
                                    <a:gd name="connsiteX128" fmla="*/ 387474 w 906744"/>
                                    <a:gd name="connsiteY128" fmla="*/ 450155 h 691640"/>
                                    <a:gd name="connsiteX129" fmla="*/ 391248 w 906744"/>
                                    <a:gd name="connsiteY129" fmla="*/ 440128 h 691640"/>
                                    <a:gd name="connsiteX130" fmla="*/ 427251 w 906744"/>
                                    <a:gd name="connsiteY130" fmla="*/ 423015 h 691640"/>
                                    <a:gd name="connsiteX131" fmla="*/ 453472 w 906744"/>
                                    <a:gd name="connsiteY131" fmla="*/ 413657 h 691640"/>
                                    <a:gd name="connsiteX132" fmla="*/ 486999 w 906744"/>
                                    <a:gd name="connsiteY132" fmla="*/ 408777 h 691640"/>
                                    <a:gd name="connsiteX133" fmla="*/ 523530 w 906744"/>
                                    <a:gd name="connsiteY133" fmla="*/ 408576 h 691640"/>
                                    <a:gd name="connsiteX134" fmla="*/ 547884 w 906744"/>
                                    <a:gd name="connsiteY134" fmla="*/ 397413 h 691640"/>
                                    <a:gd name="connsiteX135" fmla="*/ 592086 w 906744"/>
                                    <a:gd name="connsiteY135" fmla="*/ 398616 h 691640"/>
                                    <a:gd name="connsiteX136" fmla="*/ 619728 w 906744"/>
                                    <a:gd name="connsiteY136" fmla="*/ 406638 h 691640"/>
                                    <a:gd name="connsiteX137" fmla="*/ 637344 w 906744"/>
                                    <a:gd name="connsiteY137" fmla="*/ 409044 h 691640"/>
                                    <a:gd name="connsiteX138" fmla="*/ 652241 w 906744"/>
                                    <a:gd name="connsiteY138" fmla="*/ 406437 h 691640"/>
                                    <a:gd name="connsiteX139" fmla="*/ 687635 w 906744"/>
                                    <a:gd name="connsiteY139" fmla="*/ 414526 h 691640"/>
                                    <a:gd name="connsiteX140" fmla="*/ 700299 w 906744"/>
                                    <a:gd name="connsiteY140" fmla="*/ 407641 h 691640"/>
                                    <a:gd name="connsiteX141" fmla="*/ 716535 w 906744"/>
                                    <a:gd name="connsiteY141" fmla="*/ 404064 h 691640"/>
                                    <a:gd name="connsiteX142" fmla="*/ 724652 w 906744"/>
                                    <a:gd name="connsiteY142" fmla="*/ 385715 h 691640"/>
                                    <a:gd name="connsiteX143" fmla="*/ 763659 w 906744"/>
                                    <a:gd name="connsiteY143" fmla="*/ 378194 h 691640"/>
                                    <a:gd name="connsiteX144" fmla="*/ 809201 w 906744"/>
                                    <a:gd name="connsiteY144" fmla="*/ 381303 h 691640"/>
                                    <a:gd name="connsiteX145" fmla="*/ 841064 w 906744"/>
                                    <a:gd name="connsiteY145" fmla="*/ 403028 h 691640"/>
                                    <a:gd name="connsiteX146" fmla="*/ 893425 w 906744"/>
                                    <a:gd name="connsiteY146" fmla="*/ 396343 h 691640"/>
                                    <a:gd name="connsiteX147" fmla="*/ 879827 w 906744"/>
                                    <a:gd name="connsiteY147" fmla="*/ 389659 h 691640"/>
                                    <a:gd name="connsiteX148" fmla="*/ 879299 w 906744"/>
                                    <a:gd name="connsiteY148" fmla="*/ 389425 h 691640"/>
                                    <a:gd name="connsiteX149" fmla="*/ 245450 w 906744"/>
                                    <a:gd name="connsiteY149" fmla="*/ 43892 h 691640"/>
                                    <a:gd name="connsiteX150" fmla="*/ 225885 w 906744"/>
                                    <a:gd name="connsiteY150" fmla="*/ 65717 h 691640"/>
                                    <a:gd name="connsiteX151" fmla="*/ 295335 w 906744"/>
                                    <a:gd name="connsiteY151" fmla="*/ 83499 h 691640"/>
                                    <a:gd name="connsiteX152" fmla="*/ 320744 w 906744"/>
                                    <a:gd name="connsiteY152" fmla="*/ 76647 h 691640"/>
                                    <a:gd name="connsiteX153" fmla="*/ 329389 w 906744"/>
                                    <a:gd name="connsiteY153" fmla="*/ 68993 h 691640"/>
                                    <a:gd name="connsiteX154" fmla="*/ 344245 w 906744"/>
                                    <a:gd name="connsiteY154" fmla="*/ 66586 h 691640"/>
                                    <a:gd name="connsiteX155" fmla="*/ 362308 w 906744"/>
                                    <a:gd name="connsiteY155" fmla="*/ 62509 h 691640"/>
                                    <a:gd name="connsiteX156" fmla="*/ 360156 w 906744"/>
                                    <a:gd name="connsiteY156" fmla="*/ 75076 h 691640"/>
                                    <a:gd name="connsiteX157" fmla="*/ 396159 w 906744"/>
                                    <a:gd name="connsiteY157" fmla="*/ 68057 h 691640"/>
                                    <a:gd name="connsiteX158" fmla="*/ 396159 w 906744"/>
                                    <a:gd name="connsiteY158" fmla="*/ 79254 h 691640"/>
                                    <a:gd name="connsiteX159" fmla="*/ 363363 w 906744"/>
                                    <a:gd name="connsiteY159" fmla="*/ 82997 h 691640"/>
                                    <a:gd name="connsiteX160" fmla="*/ 326832 w 906744"/>
                                    <a:gd name="connsiteY160" fmla="*/ 89014 h 691640"/>
                                    <a:gd name="connsiteX161" fmla="*/ 325493 w 906744"/>
                                    <a:gd name="connsiteY161" fmla="*/ 100311 h 691640"/>
                                    <a:gd name="connsiteX162" fmla="*/ 411584 w 906744"/>
                                    <a:gd name="connsiteY162" fmla="*/ 100311 h 691640"/>
                                    <a:gd name="connsiteX163" fmla="*/ 344002 w 906744"/>
                                    <a:gd name="connsiteY163" fmla="*/ 105592 h 691640"/>
                                    <a:gd name="connsiteX164" fmla="*/ 337426 w 906744"/>
                                    <a:gd name="connsiteY164" fmla="*/ 109402 h 691640"/>
                                    <a:gd name="connsiteX165" fmla="*/ 310718 w 906744"/>
                                    <a:gd name="connsiteY165" fmla="*/ 108800 h 691640"/>
                                    <a:gd name="connsiteX166" fmla="*/ 335518 w 906744"/>
                                    <a:gd name="connsiteY166" fmla="*/ 122905 h 691640"/>
                                    <a:gd name="connsiteX167" fmla="*/ 351024 w 906744"/>
                                    <a:gd name="connsiteY167" fmla="*/ 127751 h 691640"/>
                                    <a:gd name="connsiteX168" fmla="*/ 379843 w 906744"/>
                                    <a:gd name="connsiteY168" fmla="*/ 128955 h 691640"/>
                                    <a:gd name="connsiteX169" fmla="*/ 360075 w 906744"/>
                                    <a:gd name="connsiteY169" fmla="*/ 135038 h 691640"/>
                                    <a:gd name="connsiteX170" fmla="*/ 389706 w 906744"/>
                                    <a:gd name="connsiteY170" fmla="*/ 142993 h 691640"/>
                                    <a:gd name="connsiteX171" fmla="*/ 430580 w 906744"/>
                                    <a:gd name="connsiteY171" fmla="*/ 121033 h 691640"/>
                                    <a:gd name="connsiteX172" fmla="*/ 466136 w 906744"/>
                                    <a:gd name="connsiteY172" fmla="*/ 108800 h 691640"/>
                                    <a:gd name="connsiteX173" fmla="*/ 472184 w 906744"/>
                                    <a:gd name="connsiteY173" fmla="*/ 96333 h 691640"/>
                                    <a:gd name="connsiteX174" fmla="*/ 489678 w 906744"/>
                                    <a:gd name="connsiteY174" fmla="*/ 90350 h 691640"/>
                                    <a:gd name="connsiteX175" fmla="*/ 517807 w 906744"/>
                                    <a:gd name="connsiteY175" fmla="*/ 73104 h 691640"/>
                                    <a:gd name="connsiteX176" fmla="*/ 563064 w 906744"/>
                                    <a:gd name="connsiteY176" fmla="*/ 71132 h 691640"/>
                                    <a:gd name="connsiteX177" fmla="*/ 545895 w 906744"/>
                                    <a:gd name="connsiteY177" fmla="*/ 77817 h 691640"/>
                                    <a:gd name="connsiteX178" fmla="*/ 577068 w 906744"/>
                                    <a:gd name="connsiteY178" fmla="*/ 104555 h 691640"/>
                                    <a:gd name="connsiteX179" fmla="*/ 565987 w 906744"/>
                                    <a:gd name="connsiteY179" fmla="*/ 117724 h 691640"/>
                                    <a:gd name="connsiteX180" fmla="*/ 615060 w 906744"/>
                                    <a:gd name="connsiteY180" fmla="*/ 115017 h 691640"/>
                                    <a:gd name="connsiteX181" fmla="*/ 618875 w 906744"/>
                                    <a:gd name="connsiteY181" fmla="*/ 123841 h 691640"/>
                                    <a:gd name="connsiteX182" fmla="*/ 661657 w 906744"/>
                                    <a:gd name="connsiteY182" fmla="*/ 119997 h 691640"/>
                                    <a:gd name="connsiteX183" fmla="*/ 699365 w 906744"/>
                                    <a:gd name="connsiteY183" fmla="*/ 110371 h 691640"/>
                                    <a:gd name="connsiteX184" fmla="*/ 668801 w 906744"/>
                                    <a:gd name="connsiteY184" fmla="*/ 105124 h 691640"/>
                                    <a:gd name="connsiteX185" fmla="*/ 644447 w 906744"/>
                                    <a:gd name="connsiteY185" fmla="*/ 99943 h 691640"/>
                                    <a:gd name="connsiteX186" fmla="*/ 616968 w 906744"/>
                                    <a:gd name="connsiteY186" fmla="*/ 91119 h 691640"/>
                                    <a:gd name="connsiteX187" fmla="*/ 612909 w 906744"/>
                                    <a:gd name="connsiteY187" fmla="*/ 83365 h 691640"/>
                                    <a:gd name="connsiteX188" fmla="*/ 581817 w 906744"/>
                                    <a:gd name="connsiteY188" fmla="*/ 73104 h 691640"/>
                                    <a:gd name="connsiteX189" fmla="*/ 568017 w 906744"/>
                                    <a:gd name="connsiteY189" fmla="*/ 61205 h 691640"/>
                                    <a:gd name="connsiteX190" fmla="*/ 548980 w 906744"/>
                                    <a:gd name="connsiteY190" fmla="*/ 54821 h 691640"/>
                                    <a:gd name="connsiteX191" fmla="*/ 523489 w 906744"/>
                                    <a:gd name="connsiteY191" fmla="*/ 52816 h 691640"/>
                                    <a:gd name="connsiteX192" fmla="*/ 488948 w 906744"/>
                                    <a:gd name="connsiteY192" fmla="*/ 48805 h 691640"/>
                                    <a:gd name="connsiteX193" fmla="*/ 474579 w 906744"/>
                                    <a:gd name="connsiteY193" fmla="*/ 35202 h 691640"/>
                                    <a:gd name="connsiteX194" fmla="*/ 441580 w 906744"/>
                                    <a:gd name="connsiteY194" fmla="*/ 39346 h 691640"/>
                                    <a:gd name="connsiteX195" fmla="*/ 452133 w 906744"/>
                                    <a:gd name="connsiteY195" fmla="*/ 25810 h 691640"/>
                                    <a:gd name="connsiteX196" fmla="*/ 421447 w 906744"/>
                                    <a:gd name="connsiteY196" fmla="*/ 20328 h 691640"/>
                                    <a:gd name="connsiteX197" fmla="*/ 403506 w 906744"/>
                                    <a:gd name="connsiteY197" fmla="*/ 17153 h 691640"/>
                                    <a:gd name="connsiteX198" fmla="*/ 386337 w 906744"/>
                                    <a:gd name="connsiteY198" fmla="*/ 21598 h 691640"/>
                                    <a:gd name="connsiteX199" fmla="*/ 388407 w 906744"/>
                                    <a:gd name="connsiteY199" fmla="*/ 33430 h 691640"/>
                                    <a:gd name="connsiteX200" fmla="*/ 403141 w 906744"/>
                                    <a:gd name="connsiteY200" fmla="*/ 52080 h 691640"/>
                                    <a:gd name="connsiteX201" fmla="*/ 366285 w 906744"/>
                                    <a:gd name="connsiteY201" fmla="*/ 37942 h 691640"/>
                                    <a:gd name="connsiteX202" fmla="*/ 345990 w 906744"/>
                                    <a:gd name="connsiteY202" fmla="*/ 22367 h 691640"/>
                                    <a:gd name="connsiteX203" fmla="*/ 321840 w 906744"/>
                                    <a:gd name="connsiteY203" fmla="*/ 34667 h 691640"/>
                                    <a:gd name="connsiteX204" fmla="*/ 320541 w 906744"/>
                                    <a:gd name="connsiteY204" fmla="*/ 42521 h 691640"/>
                                    <a:gd name="connsiteX205" fmla="*/ 312423 w 906744"/>
                                    <a:gd name="connsiteY205" fmla="*/ 40650 h 691640"/>
                                    <a:gd name="connsiteX206" fmla="*/ 283320 w 906744"/>
                                    <a:gd name="connsiteY206" fmla="*/ 29820 h 691640"/>
                                    <a:gd name="connsiteX207" fmla="*/ 307674 w 906744"/>
                                    <a:gd name="connsiteY207" fmla="*/ 20629 h 691640"/>
                                    <a:gd name="connsiteX208" fmla="*/ 244597 w 906744"/>
                                    <a:gd name="connsiteY208" fmla="*/ 23637 h 691640"/>
                                    <a:gd name="connsiteX209" fmla="*/ 198609 w 906744"/>
                                    <a:gd name="connsiteY209" fmla="*/ 32762 h 691640"/>
                                    <a:gd name="connsiteX210" fmla="*/ 217402 w 906744"/>
                                    <a:gd name="connsiteY210" fmla="*/ 48972 h 691640"/>
                                    <a:gd name="connsiteX211" fmla="*/ 245490 w 906744"/>
                                    <a:gd name="connsiteY211" fmla="*/ 43959 h 691640"/>
                                    <a:gd name="connsiteX212" fmla="*/ 211557 w 906744"/>
                                    <a:gd name="connsiteY212" fmla="*/ 74441 h 691640"/>
                                    <a:gd name="connsiteX213" fmla="*/ 237819 w 906744"/>
                                    <a:gd name="connsiteY213" fmla="*/ 82830 h 691640"/>
                                    <a:gd name="connsiteX214" fmla="*/ 200517 w 906744"/>
                                    <a:gd name="connsiteY214" fmla="*/ 60035 h 691640"/>
                                    <a:gd name="connsiteX215" fmla="*/ 185661 w 906744"/>
                                    <a:gd name="connsiteY215" fmla="*/ 63846 h 691640"/>
                                    <a:gd name="connsiteX216" fmla="*/ 211557 w 906744"/>
                                    <a:gd name="connsiteY216" fmla="*/ 74441 h 691640"/>
                                    <a:gd name="connsiteX217" fmla="*/ 475391 w 906744"/>
                                    <a:gd name="connsiteY217" fmla="*/ 16618 h 691640"/>
                                    <a:gd name="connsiteX218" fmla="*/ 474579 w 906744"/>
                                    <a:gd name="connsiteY218" fmla="*/ 24372 h 691640"/>
                                    <a:gd name="connsiteX219" fmla="*/ 509324 w 906744"/>
                                    <a:gd name="connsiteY219" fmla="*/ 28717 h 691640"/>
                                    <a:gd name="connsiteX220" fmla="*/ 593020 w 906744"/>
                                    <a:gd name="connsiteY220" fmla="*/ 28049 h 691640"/>
                                    <a:gd name="connsiteX221" fmla="*/ 587987 w 906744"/>
                                    <a:gd name="connsiteY221" fmla="*/ 32394 h 691640"/>
                                    <a:gd name="connsiteX222" fmla="*/ 529619 w 906744"/>
                                    <a:gd name="connsiteY222" fmla="*/ 37341 h 691640"/>
                                    <a:gd name="connsiteX223" fmla="*/ 578326 w 906744"/>
                                    <a:gd name="connsiteY223" fmla="*/ 45997 h 691640"/>
                                    <a:gd name="connsiteX224" fmla="*/ 630646 w 906744"/>
                                    <a:gd name="connsiteY224" fmla="*/ 49340 h 691640"/>
                                    <a:gd name="connsiteX225" fmla="*/ 711096 w 906744"/>
                                    <a:gd name="connsiteY225" fmla="*/ 52381 h 691640"/>
                                    <a:gd name="connsiteX226" fmla="*/ 776364 w 906744"/>
                                    <a:gd name="connsiteY226" fmla="*/ 39012 h 691640"/>
                                    <a:gd name="connsiteX227" fmla="*/ 781843 w 906744"/>
                                    <a:gd name="connsiteY227" fmla="*/ 22935 h 691640"/>
                                    <a:gd name="connsiteX228" fmla="*/ 739833 w 906744"/>
                                    <a:gd name="connsiteY228" fmla="*/ 20428 h 691640"/>
                                    <a:gd name="connsiteX229" fmla="*/ 703302 w 906744"/>
                                    <a:gd name="connsiteY229" fmla="*/ 13409 h 691640"/>
                                    <a:gd name="connsiteX230" fmla="*/ 669816 w 906744"/>
                                    <a:gd name="connsiteY230" fmla="*/ 16752 h 691640"/>
                                    <a:gd name="connsiteX231" fmla="*/ 651672 w 906744"/>
                                    <a:gd name="connsiteY231" fmla="*/ 11872 h 691640"/>
                                    <a:gd name="connsiteX232" fmla="*/ 625979 w 906744"/>
                                    <a:gd name="connsiteY232" fmla="*/ 6858 h 691640"/>
                                    <a:gd name="connsiteX233" fmla="*/ 626222 w 906744"/>
                                    <a:gd name="connsiteY233" fmla="*/ 20896 h 691640"/>
                                    <a:gd name="connsiteX234" fmla="*/ 598337 w 906744"/>
                                    <a:gd name="connsiteY234" fmla="*/ 15782 h 691640"/>
                                    <a:gd name="connsiteX235" fmla="*/ 576013 w 906744"/>
                                    <a:gd name="connsiteY235" fmla="*/ 13376 h 691640"/>
                                    <a:gd name="connsiteX236" fmla="*/ 553080 w 906744"/>
                                    <a:gd name="connsiteY236" fmla="*/ 4652 h 691640"/>
                                    <a:gd name="connsiteX237" fmla="*/ 523287 w 906744"/>
                                    <a:gd name="connsiteY237" fmla="*/ 341 h 691640"/>
                                    <a:gd name="connsiteX238" fmla="*/ 511110 w 906744"/>
                                    <a:gd name="connsiteY238" fmla="*/ 5455 h 691640"/>
                                    <a:gd name="connsiteX239" fmla="*/ 500962 w 906744"/>
                                    <a:gd name="connsiteY239" fmla="*/ 10234 h 691640"/>
                                    <a:gd name="connsiteX240" fmla="*/ 482453 w 906744"/>
                                    <a:gd name="connsiteY240" fmla="*/ 5154 h 691640"/>
                                    <a:gd name="connsiteX241" fmla="*/ 466217 w 906744"/>
                                    <a:gd name="connsiteY241" fmla="*/ 3382 h 691640"/>
                                    <a:gd name="connsiteX242" fmla="*/ 454527 w 906744"/>
                                    <a:gd name="connsiteY242" fmla="*/ 9265 h 691640"/>
                                    <a:gd name="connsiteX243" fmla="*/ 475269 w 906744"/>
                                    <a:gd name="connsiteY243" fmla="*/ 16652 h 691640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  <a:cxn ang="0">
                                      <a:pos x="connsiteX22" y="connsiteY22"/>
                                    </a:cxn>
                                    <a:cxn ang="0">
                                      <a:pos x="connsiteX23" y="connsiteY23"/>
                                    </a:cxn>
                                    <a:cxn ang="0">
                                      <a:pos x="connsiteX24" y="connsiteY24"/>
                                    </a:cxn>
                                    <a:cxn ang="0">
                                      <a:pos x="connsiteX25" y="connsiteY25"/>
                                    </a:cxn>
                                    <a:cxn ang="0">
                                      <a:pos x="connsiteX26" y="connsiteY26"/>
                                    </a:cxn>
                                    <a:cxn ang="0">
                                      <a:pos x="connsiteX27" y="connsiteY27"/>
                                    </a:cxn>
                                    <a:cxn ang="0">
                                      <a:pos x="connsiteX28" y="connsiteY28"/>
                                    </a:cxn>
                                    <a:cxn ang="0">
                                      <a:pos x="connsiteX29" y="connsiteY29"/>
                                    </a:cxn>
                                    <a:cxn ang="0">
                                      <a:pos x="connsiteX30" y="connsiteY30"/>
                                    </a:cxn>
                                    <a:cxn ang="0">
                                      <a:pos x="connsiteX31" y="connsiteY31"/>
                                    </a:cxn>
                                    <a:cxn ang="0">
                                      <a:pos x="connsiteX32" y="connsiteY32"/>
                                    </a:cxn>
                                    <a:cxn ang="0">
                                      <a:pos x="connsiteX33" y="connsiteY33"/>
                                    </a:cxn>
                                    <a:cxn ang="0">
                                      <a:pos x="connsiteX34" y="connsiteY34"/>
                                    </a:cxn>
                                    <a:cxn ang="0">
                                      <a:pos x="connsiteX35" y="connsiteY35"/>
                                    </a:cxn>
                                    <a:cxn ang="0">
                                      <a:pos x="connsiteX36" y="connsiteY36"/>
                                    </a:cxn>
                                    <a:cxn ang="0">
                                      <a:pos x="connsiteX37" y="connsiteY37"/>
                                    </a:cxn>
                                    <a:cxn ang="0">
                                      <a:pos x="connsiteX38" y="connsiteY38"/>
                                    </a:cxn>
                                    <a:cxn ang="0">
                                      <a:pos x="connsiteX39" y="connsiteY39"/>
                                    </a:cxn>
                                    <a:cxn ang="0">
                                      <a:pos x="connsiteX40" y="connsiteY40"/>
                                    </a:cxn>
                                    <a:cxn ang="0">
                                      <a:pos x="connsiteX41" y="connsiteY41"/>
                                    </a:cxn>
                                    <a:cxn ang="0">
                                      <a:pos x="connsiteX42" y="connsiteY42"/>
                                    </a:cxn>
                                    <a:cxn ang="0">
                                      <a:pos x="connsiteX43" y="connsiteY43"/>
                                    </a:cxn>
                                    <a:cxn ang="0">
                                      <a:pos x="connsiteX44" y="connsiteY44"/>
                                    </a:cxn>
                                    <a:cxn ang="0">
                                      <a:pos x="connsiteX45" y="connsiteY45"/>
                                    </a:cxn>
                                    <a:cxn ang="0">
                                      <a:pos x="connsiteX46" y="connsiteY46"/>
                                    </a:cxn>
                                    <a:cxn ang="0">
                                      <a:pos x="connsiteX47" y="connsiteY47"/>
                                    </a:cxn>
                                    <a:cxn ang="0">
                                      <a:pos x="connsiteX48" y="connsiteY48"/>
                                    </a:cxn>
                                    <a:cxn ang="0">
                                      <a:pos x="connsiteX49" y="connsiteY49"/>
                                    </a:cxn>
                                    <a:cxn ang="0">
                                      <a:pos x="connsiteX50" y="connsiteY50"/>
                                    </a:cxn>
                                    <a:cxn ang="0">
                                      <a:pos x="connsiteX51" y="connsiteY51"/>
                                    </a:cxn>
                                    <a:cxn ang="0">
                                      <a:pos x="connsiteX52" y="connsiteY52"/>
                                    </a:cxn>
                                    <a:cxn ang="0">
                                      <a:pos x="connsiteX53" y="connsiteY53"/>
                                    </a:cxn>
                                    <a:cxn ang="0">
                                      <a:pos x="connsiteX54" y="connsiteY54"/>
                                    </a:cxn>
                                    <a:cxn ang="0">
                                      <a:pos x="connsiteX55" y="connsiteY55"/>
                                    </a:cxn>
                                    <a:cxn ang="0">
                                      <a:pos x="connsiteX56" y="connsiteY56"/>
                                    </a:cxn>
                                    <a:cxn ang="0">
                                      <a:pos x="connsiteX57" y="connsiteY57"/>
                                    </a:cxn>
                                    <a:cxn ang="0">
                                      <a:pos x="connsiteX58" y="connsiteY58"/>
                                    </a:cxn>
                                    <a:cxn ang="0">
                                      <a:pos x="connsiteX59" y="connsiteY59"/>
                                    </a:cxn>
                                    <a:cxn ang="0">
                                      <a:pos x="connsiteX60" y="connsiteY60"/>
                                    </a:cxn>
                                    <a:cxn ang="0">
                                      <a:pos x="connsiteX61" y="connsiteY61"/>
                                    </a:cxn>
                                    <a:cxn ang="0">
                                      <a:pos x="connsiteX62" y="connsiteY62"/>
                                    </a:cxn>
                                    <a:cxn ang="0">
                                      <a:pos x="connsiteX63" y="connsiteY63"/>
                                    </a:cxn>
                                    <a:cxn ang="0">
                                      <a:pos x="connsiteX64" y="connsiteY64"/>
                                    </a:cxn>
                                    <a:cxn ang="0">
                                      <a:pos x="connsiteX65" y="connsiteY65"/>
                                    </a:cxn>
                                    <a:cxn ang="0">
                                      <a:pos x="connsiteX66" y="connsiteY66"/>
                                    </a:cxn>
                                    <a:cxn ang="0">
                                      <a:pos x="connsiteX67" y="connsiteY67"/>
                                    </a:cxn>
                                    <a:cxn ang="0">
                                      <a:pos x="connsiteX68" y="connsiteY68"/>
                                    </a:cxn>
                                    <a:cxn ang="0">
                                      <a:pos x="connsiteX69" y="connsiteY69"/>
                                    </a:cxn>
                                    <a:cxn ang="0">
                                      <a:pos x="connsiteX70" y="connsiteY70"/>
                                    </a:cxn>
                                    <a:cxn ang="0">
                                      <a:pos x="connsiteX71" y="connsiteY71"/>
                                    </a:cxn>
                                    <a:cxn ang="0">
                                      <a:pos x="connsiteX72" y="connsiteY72"/>
                                    </a:cxn>
                                    <a:cxn ang="0">
                                      <a:pos x="connsiteX73" y="connsiteY73"/>
                                    </a:cxn>
                                    <a:cxn ang="0">
                                      <a:pos x="connsiteX74" y="connsiteY74"/>
                                    </a:cxn>
                                    <a:cxn ang="0">
                                      <a:pos x="connsiteX75" y="connsiteY75"/>
                                    </a:cxn>
                                    <a:cxn ang="0">
                                      <a:pos x="connsiteX76" y="connsiteY76"/>
                                    </a:cxn>
                                    <a:cxn ang="0">
                                      <a:pos x="connsiteX77" y="connsiteY77"/>
                                    </a:cxn>
                                    <a:cxn ang="0">
                                      <a:pos x="connsiteX78" y="connsiteY78"/>
                                    </a:cxn>
                                    <a:cxn ang="0">
                                      <a:pos x="connsiteX79" y="connsiteY79"/>
                                    </a:cxn>
                                    <a:cxn ang="0">
                                      <a:pos x="connsiteX80" y="connsiteY80"/>
                                    </a:cxn>
                                    <a:cxn ang="0">
                                      <a:pos x="connsiteX81" y="connsiteY81"/>
                                    </a:cxn>
                                    <a:cxn ang="0">
                                      <a:pos x="connsiteX82" y="connsiteY82"/>
                                    </a:cxn>
                                    <a:cxn ang="0">
                                      <a:pos x="connsiteX83" y="connsiteY83"/>
                                    </a:cxn>
                                    <a:cxn ang="0">
                                      <a:pos x="connsiteX84" y="connsiteY84"/>
                                    </a:cxn>
                                    <a:cxn ang="0">
                                      <a:pos x="connsiteX85" y="connsiteY85"/>
                                    </a:cxn>
                                    <a:cxn ang="0">
                                      <a:pos x="connsiteX86" y="connsiteY86"/>
                                    </a:cxn>
                                    <a:cxn ang="0">
                                      <a:pos x="connsiteX87" y="connsiteY87"/>
                                    </a:cxn>
                                    <a:cxn ang="0">
                                      <a:pos x="connsiteX88" y="connsiteY88"/>
                                    </a:cxn>
                                    <a:cxn ang="0">
                                      <a:pos x="connsiteX89" y="connsiteY89"/>
                                    </a:cxn>
                                    <a:cxn ang="0">
                                      <a:pos x="connsiteX90" y="connsiteY90"/>
                                    </a:cxn>
                                    <a:cxn ang="0">
                                      <a:pos x="connsiteX91" y="connsiteY91"/>
                                    </a:cxn>
                                    <a:cxn ang="0">
                                      <a:pos x="connsiteX92" y="connsiteY92"/>
                                    </a:cxn>
                                    <a:cxn ang="0">
                                      <a:pos x="connsiteX93" y="connsiteY93"/>
                                    </a:cxn>
                                    <a:cxn ang="0">
                                      <a:pos x="connsiteX94" y="connsiteY94"/>
                                    </a:cxn>
                                    <a:cxn ang="0">
                                      <a:pos x="connsiteX95" y="connsiteY95"/>
                                    </a:cxn>
                                    <a:cxn ang="0">
                                      <a:pos x="connsiteX96" y="connsiteY96"/>
                                    </a:cxn>
                                    <a:cxn ang="0">
                                      <a:pos x="connsiteX97" y="connsiteY97"/>
                                    </a:cxn>
                                    <a:cxn ang="0">
                                      <a:pos x="connsiteX98" y="connsiteY98"/>
                                    </a:cxn>
                                    <a:cxn ang="0">
                                      <a:pos x="connsiteX99" y="connsiteY99"/>
                                    </a:cxn>
                                    <a:cxn ang="0">
                                      <a:pos x="connsiteX100" y="connsiteY100"/>
                                    </a:cxn>
                                    <a:cxn ang="0">
                                      <a:pos x="connsiteX101" y="connsiteY101"/>
                                    </a:cxn>
                                    <a:cxn ang="0">
                                      <a:pos x="connsiteX102" y="connsiteY102"/>
                                    </a:cxn>
                                    <a:cxn ang="0">
                                      <a:pos x="connsiteX103" y="connsiteY103"/>
                                    </a:cxn>
                                    <a:cxn ang="0">
                                      <a:pos x="connsiteX104" y="connsiteY104"/>
                                    </a:cxn>
                                    <a:cxn ang="0">
                                      <a:pos x="connsiteX105" y="connsiteY105"/>
                                    </a:cxn>
                                    <a:cxn ang="0">
                                      <a:pos x="connsiteX106" y="connsiteY106"/>
                                    </a:cxn>
                                    <a:cxn ang="0">
                                      <a:pos x="connsiteX107" y="connsiteY107"/>
                                    </a:cxn>
                                    <a:cxn ang="0">
                                      <a:pos x="connsiteX108" y="connsiteY108"/>
                                    </a:cxn>
                                    <a:cxn ang="0">
                                      <a:pos x="connsiteX109" y="connsiteY109"/>
                                    </a:cxn>
                                    <a:cxn ang="0">
                                      <a:pos x="connsiteX110" y="connsiteY110"/>
                                    </a:cxn>
                                    <a:cxn ang="0">
                                      <a:pos x="connsiteX111" y="connsiteY111"/>
                                    </a:cxn>
                                    <a:cxn ang="0">
                                      <a:pos x="connsiteX112" y="connsiteY112"/>
                                    </a:cxn>
                                    <a:cxn ang="0">
                                      <a:pos x="connsiteX113" y="connsiteY113"/>
                                    </a:cxn>
                                    <a:cxn ang="0">
                                      <a:pos x="connsiteX114" y="connsiteY114"/>
                                    </a:cxn>
                                    <a:cxn ang="0">
                                      <a:pos x="connsiteX115" y="connsiteY115"/>
                                    </a:cxn>
                                    <a:cxn ang="0">
                                      <a:pos x="connsiteX116" y="connsiteY116"/>
                                    </a:cxn>
                                    <a:cxn ang="0">
                                      <a:pos x="connsiteX117" y="connsiteY117"/>
                                    </a:cxn>
                                    <a:cxn ang="0">
                                      <a:pos x="connsiteX118" y="connsiteY118"/>
                                    </a:cxn>
                                    <a:cxn ang="0">
                                      <a:pos x="connsiteX119" y="connsiteY119"/>
                                    </a:cxn>
                                    <a:cxn ang="0">
                                      <a:pos x="connsiteX120" y="connsiteY120"/>
                                    </a:cxn>
                                    <a:cxn ang="0">
                                      <a:pos x="connsiteX121" y="connsiteY121"/>
                                    </a:cxn>
                                    <a:cxn ang="0">
                                      <a:pos x="connsiteX122" y="connsiteY122"/>
                                    </a:cxn>
                                    <a:cxn ang="0">
                                      <a:pos x="connsiteX123" y="connsiteY123"/>
                                    </a:cxn>
                                    <a:cxn ang="0">
                                      <a:pos x="connsiteX124" y="connsiteY124"/>
                                    </a:cxn>
                                    <a:cxn ang="0">
                                      <a:pos x="connsiteX125" y="connsiteY125"/>
                                    </a:cxn>
                                    <a:cxn ang="0">
                                      <a:pos x="connsiteX126" y="connsiteY126"/>
                                    </a:cxn>
                                    <a:cxn ang="0">
                                      <a:pos x="connsiteX127" y="connsiteY127"/>
                                    </a:cxn>
                                    <a:cxn ang="0">
                                      <a:pos x="connsiteX128" y="connsiteY128"/>
                                    </a:cxn>
                                    <a:cxn ang="0">
                                      <a:pos x="connsiteX129" y="connsiteY129"/>
                                    </a:cxn>
                                    <a:cxn ang="0">
                                      <a:pos x="connsiteX130" y="connsiteY130"/>
                                    </a:cxn>
                                    <a:cxn ang="0">
                                      <a:pos x="connsiteX131" y="connsiteY131"/>
                                    </a:cxn>
                                    <a:cxn ang="0">
                                      <a:pos x="connsiteX132" y="connsiteY132"/>
                                    </a:cxn>
                                    <a:cxn ang="0">
                                      <a:pos x="connsiteX133" y="connsiteY133"/>
                                    </a:cxn>
                                    <a:cxn ang="0">
                                      <a:pos x="connsiteX134" y="connsiteY134"/>
                                    </a:cxn>
                                    <a:cxn ang="0">
                                      <a:pos x="connsiteX135" y="connsiteY135"/>
                                    </a:cxn>
                                    <a:cxn ang="0">
                                      <a:pos x="connsiteX136" y="connsiteY136"/>
                                    </a:cxn>
                                    <a:cxn ang="0">
                                      <a:pos x="connsiteX137" y="connsiteY137"/>
                                    </a:cxn>
                                    <a:cxn ang="0">
                                      <a:pos x="connsiteX138" y="connsiteY138"/>
                                    </a:cxn>
                                    <a:cxn ang="0">
                                      <a:pos x="connsiteX139" y="connsiteY139"/>
                                    </a:cxn>
                                    <a:cxn ang="0">
                                      <a:pos x="connsiteX140" y="connsiteY140"/>
                                    </a:cxn>
                                    <a:cxn ang="0">
                                      <a:pos x="connsiteX141" y="connsiteY141"/>
                                    </a:cxn>
                                    <a:cxn ang="0">
                                      <a:pos x="connsiteX142" y="connsiteY142"/>
                                    </a:cxn>
                                    <a:cxn ang="0">
                                      <a:pos x="connsiteX143" y="connsiteY143"/>
                                    </a:cxn>
                                    <a:cxn ang="0">
                                      <a:pos x="connsiteX144" y="connsiteY144"/>
                                    </a:cxn>
                                    <a:cxn ang="0">
                                      <a:pos x="connsiteX145" y="connsiteY145"/>
                                    </a:cxn>
                                    <a:cxn ang="0">
                                      <a:pos x="connsiteX146" y="connsiteY146"/>
                                    </a:cxn>
                                    <a:cxn ang="0">
                                      <a:pos x="connsiteX147" y="connsiteY147"/>
                                    </a:cxn>
                                    <a:cxn ang="0">
                                      <a:pos x="connsiteX148" y="connsiteY148"/>
                                    </a:cxn>
                                    <a:cxn ang="0">
                                      <a:pos x="connsiteX149" y="connsiteY149"/>
                                    </a:cxn>
                                    <a:cxn ang="0">
                                      <a:pos x="connsiteX150" y="connsiteY150"/>
                                    </a:cxn>
                                    <a:cxn ang="0">
                                      <a:pos x="connsiteX151" y="connsiteY151"/>
                                    </a:cxn>
                                    <a:cxn ang="0">
                                      <a:pos x="connsiteX152" y="connsiteY152"/>
                                    </a:cxn>
                                    <a:cxn ang="0">
                                      <a:pos x="connsiteX153" y="connsiteY153"/>
                                    </a:cxn>
                                    <a:cxn ang="0">
                                      <a:pos x="connsiteX154" y="connsiteY154"/>
                                    </a:cxn>
                                    <a:cxn ang="0">
                                      <a:pos x="connsiteX155" y="connsiteY155"/>
                                    </a:cxn>
                                    <a:cxn ang="0">
                                      <a:pos x="connsiteX156" y="connsiteY156"/>
                                    </a:cxn>
                                    <a:cxn ang="0">
                                      <a:pos x="connsiteX157" y="connsiteY157"/>
                                    </a:cxn>
                                    <a:cxn ang="0">
                                      <a:pos x="connsiteX158" y="connsiteY158"/>
                                    </a:cxn>
                                    <a:cxn ang="0">
                                      <a:pos x="connsiteX159" y="connsiteY159"/>
                                    </a:cxn>
                                    <a:cxn ang="0">
                                      <a:pos x="connsiteX160" y="connsiteY160"/>
                                    </a:cxn>
                                    <a:cxn ang="0">
                                      <a:pos x="connsiteX161" y="connsiteY161"/>
                                    </a:cxn>
                                    <a:cxn ang="0">
                                      <a:pos x="connsiteX162" y="connsiteY162"/>
                                    </a:cxn>
                                    <a:cxn ang="0">
                                      <a:pos x="connsiteX163" y="connsiteY163"/>
                                    </a:cxn>
                                    <a:cxn ang="0">
                                      <a:pos x="connsiteX164" y="connsiteY164"/>
                                    </a:cxn>
                                    <a:cxn ang="0">
                                      <a:pos x="connsiteX165" y="connsiteY165"/>
                                    </a:cxn>
                                    <a:cxn ang="0">
                                      <a:pos x="connsiteX166" y="connsiteY166"/>
                                    </a:cxn>
                                    <a:cxn ang="0">
                                      <a:pos x="connsiteX167" y="connsiteY167"/>
                                    </a:cxn>
                                    <a:cxn ang="0">
                                      <a:pos x="connsiteX168" y="connsiteY168"/>
                                    </a:cxn>
                                    <a:cxn ang="0">
                                      <a:pos x="connsiteX169" y="connsiteY169"/>
                                    </a:cxn>
                                    <a:cxn ang="0">
                                      <a:pos x="connsiteX170" y="connsiteY170"/>
                                    </a:cxn>
                                    <a:cxn ang="0">
                                      <a:pos x="connsiteX171" y="connsiteY171"/>
                                    </a:cxn>
                                    <a:cxn ang="0">
                                      <a:pos x="connsiteX172" y="connsiteY172"/>
                                    </a:cxn>
                                    <a:cxn ang="0">
                                      <a:pos x="connsiteX173" y="connsiteY173"/>
                                    </a:cxn>
                                    <a:cxn ang="0">
                                      <a:pos x="connsiteX174" y="connsiteY174"/>
                                    </a:cxn>
                                    <a:cxn ang="0">
                                      <a:pos x="connsiteX175" y="connsiteY175"/>
                                    </a:cxn>
                                    <a:cxn ang="0">
                                      <a:pos x="connsiteX176" y="connsiteY176"/>
                                    </a:cxn>
                                    <a:cxn ang="0">
                                      <a:pos x="connsiteX177" y="connsiteY177"/>
                                    </a:cxn>
                                    <a:cxn ang="0">
                                      <a:pos x="connsiteX178" y="connsiteY178"/>
                                    </a:cxn>
                                    <a:cxn ang="0">
                                      <a:pos x="connsiteX179" y="connsiteY179"/>
                                    </a:cxn>
                                    <a:cxn ang="0">
                                      <a:pos x="connsiteX180" y="connsiteY180"/>
                                    </a:cxn>
                                    <a:cxn ang="0">
                                      <a:pos x="connsiteX181" y="connsiteY181"/>
                                    </a:cxn>
                                    <a:cxn ang="0">
                                      <a:pos x="connsiteX182" y="connsiteY182"/>
                                    </a:cxn>
                                    <a:cxn ang="0">
                                      <a:pos x="connsiteX183" y="connsiteY183"/>
                                    </a:cxn>
                                    <a:cxn ang="0">
                                      <a:pos x="connsiteX184" y="connsiteY184"/>
                                    </a:cxn>
                                    <a:cxn ang="0">
                                      <a:pos x="connsiteX185" y="connsiteY185"/>
                                    </a:cxn>
                                    <a:cxn ang="0">
                                      <a:pos x="connsiteX186" y="connsiteY186"/>
                                    </a:cxn>
                                    <a:cxn ang="0">
                                      <a:pos x="connsiteX187" y="connsiteY187"/>
                                    </a:cxn>
                                    <a:cxn ang="0">
                                      <a:pos x="connsiteX188" y="connsiteY188"/>
                                    </a:cxn>
                                    <a:cxn ang="0">
                                      <a:pos x="connsiteX189" y="connsiteY189"/>
                                    </a:cxn>
                                    <a:cxn ang="0">
                                      <a:pos x="connsiteX190" y="connsiteY190"/>
                                    </a:cxn>
                                    <a:cxn ang="0">
                                      <a:pos x="connsiteX191" y="connsiteY191"/>
                                    </a:cxn>
                                    <a:cxn ang="0">
                                      <a:pos x="connsiteX192" y="connsiteY192"/>
                                    </a:cxn>
                                    <a:cxn ang="0">
                                      <a:pos x="connsiteX193" y="connsiteY193"/>
                                    </a:cxn>
                                    <a:cxn ang="0">
                                      <a:pos x="connsiteX194" y="connsiteY194"/>
                                    </a:cxn>
                                    <a:cxn ang="0">
                                      <a:pos x="connsiteX195" y="connsiteY195"/>
                                    </a:cxn>
                                    <a:cxn ang="0">
                                      <a:pos x="connsiteX196" y="connsiteY196"/>
                                    </a:cxn>
                                    <a:cxn ang="0">
                                      <a:pos x="connsiteX197" y="connsiteY197"/>
                                    </a:cxn>
                                    <a:cxn ang="0">
                                      <a:pos x="connsiteX198" y="connsiteY198"/>
                                    </a:cxn>
                                    <a:cxn ang="0">
                                      <a:pos x="connsiteX199" y="connsiteY199"/>
                                    </a:cxn>
                                    <a:cxn ang="0">
                                      <a:pos x="connsiteX200" y="connsiteY200"/>
                                    </a:cxn>
                                    <a:cxn ang="0">
                                      <a:pos x="connsiteX201" y="connsiteY201"/>
                                    </a:cxn>
                                    <a:cxn ang="0">
                                      <a:pos x="connsiteX202" y="connsiteY202"/>
                                    </a:cxn>
                                    <a:cxn ang="0">
                                      <a:pos x="connsiteX203" y="connsiteY203"/>
                                    </a:cxn>
                                    <a:cxn ang="0">
                                      <a:pos x="connsiteX204" y="connsiteY204"/>
                                    </a:cxn>
                                    <a:cxn ang="0">
                                      <a:pos x="connsiteX205" y="connsiteY205"/>
                                    </a:cxn>
                                    <a:cxn ang="0">
                                      <a:pos x="connsiteX206" y="connsiteY206"/>
                                    </a:cxn>
                                    <a:cxn ang="0">
                                      <a:pos x="connsiteX207" y="connsiteY207"/>
                                    </a:cxn>
                                    <a:cxn ang="0">
                                      <a:pos x="connsiteX208" y="connsiteY208"/>
                                    </a:cxn>
                                    <a:cxn ang="0">
                                      <a:pos x="connsiteX209" y="connsiteY209"/>
                                    </a:cxn>
                                    <a:cxn ang="0">
                                      <a:pos x="connsiteX210" y="connsiteY210"/>
                                    </a:cxn>
                                    <a:cxn ang="0">
                                      <a:pos x="connsiteX211" y="connsiteY211"/>
                                    </a:cxn>
                                    <a:cxn ang="0">
                                      <a:pos x="connsiteX212" y="connsiteY212"/>
                                    </a:cxn>
                                    <a:cxn ang="0">
                                      <a:pos x="connsiteX213" y="connsiteY213"/>
                                    </a:cxn>
                                    <a:cxn ang="0">
                                      <a:pos x="connsiteX214" y="connsiteY214"/>
                                    </a:cxn>
                                    <a:cxn ang="0">
                                      <a:pos x="connsiteX215" y="connsiteY215"/>
                                    </a:cxn>
                                    <a:cxn ang="0">
                                      <a:pos x="connsiteX216" y="connsiteY216"/>
                                    </a:cxn>
                                    <a:cxn ang="0">
                                      <a:pos x="connsiteX217" y="connsiteY217"/>
                                    </a:cxn>
                                    <a:cxn ang="0">
                                      <a:pos x="connsiteX218" y="connsiteY218"/>
                                    </a:cxn>
                                    <a:cxn ang="0">
                                      <a:pos x="connsiteX219" y="connsiteY219"/>
                                    </a:cxn>
                                    <a:cxn ang="0">
                                      <a:pos x="connsiteX220" y="connsiteY220"/>
                                    </a:cxn>
                                    <a:cxn ang="0">
                                      <a:pos x="connsiteX221" y="connsiteY221"/>
                                    </a:cxn>
                                    <a:cxn ang="0">
                                      <a:pos x="connsiteX222" y="connsiteY222"/>
                                    </a:cxn>
                                    <a:cxn ang="0">
                                      <a:pos x="connsiteX223" y="connsiteY223"/>
                                    </a:cxn>
                                    <a:cxn ang="0">
                                      <a:pos x="connsiteX224" y="connsiteY224"/>
                                    </a:cxn>
                                    <a:cxn ang="0">
                                      <a:pos x="connsiteX225" y="connsiteY225"/>
                                    </a:cxn>
                                    <a:cxn ang="0">
                                      <a:pos x="connsiteX226" y="connsiteY226"/>
                                    </a:cxn>
                                    <a:cxn ang="0">
                                      <a:pos x="connsiteX227" y="connsiteY227"/>
                                    </a:cxn>
                                    <a:cxn ang="0">
                                      <a:pos x="connsiteX228" y="connsiteY228"/>
                                    </a:cxn>
                                    <a:cxn ang="0">
                                      <a:pos x="connsiteX229" y="connsiteY229"/>
                                    </a:cxn>
                                    <a:cxn ang="0">
                                      <a:pos x="connsiteX230" y="connsiteY230"/>
                                    </a:cxn>
                                    <a:cxn ang="0">
                                      <a:pos x="connsiteX231" y="connsiteY231"/>
                                    </a:cxn>
                                    <a:cxn ang="0">
                                      <a:pos x="connsiteX232" y="connsiteY232"/>
                                    </a:cxn>
                                    <a:cxn ang="0">
                                      <a:pos x="connsiteX233" y="connsiteY233"/>
                                    </a:cxn>
                                    <a:cxn ang="0">
                                      <a:pos x="connsiteX234" y="connsiteY234"/>
                                    </a:cxn>
                                    <a:cxn ang="0">
                                      <a:pos x="connsiteX235" y="connsiteY235"/>
                                    </a:cxn>
                                    <a:cxn ang="0">
                                      <a:pos x="connsiteX236" y="connsiteY236"/>
                                    </a:cxn>
                                    <a:cxn ang="0">
                                      <a:pos x="connsiteX237" y="connsiteY237"/>
                                    </a:cxn>
                                    <a:cxn ang="0">
                                      <a:pos x="connsiteX238" y="connsiteY238"/>
                                    </a:cxn>
                                    <a:cxn ang="0">
                                      <a:pos x="connsiteX239" y="connsiteY239"/>
                                    </a:cxn>
                                    <a:cxn ang="0">
                                      <a:pos x="connsiteX240" y="connsiteY240"/>
                                    </a:cxn>
                                    <a:cxn ang="0">
                                      <a:pos x="connsiteX241" y="connsiteY241"/>
                                    </a:cxn>
                                    <a:cxn ang="0">
                                      <a:pos x="connsiteX242" y="connsiteY242"/>
                                    </a:cxn>
                                    <a:cxn ang="0">
                                      <a:pos x="connsiteX243" y="connsiteY243"/>
                                    </a:cxn>
                                  </a:cxnLst>
                                  <a:rect l="l" t="t" r="r" b="b"/>
                                  <a:pathLst>
                                    <a:path w="906744" h="691640">
                                      <a:moveTo>
                                        <a:pt x="879299" y="389425"/>
                                      </a:moveTo>
                                      <a:cubicBezTo>
                                        <a:pt x="874429" y="396611"/>
                                        <a:pt x="864647" y="387319"/>
                                        <a:pt x="862333" y="385748"/>
                                      </a:cubicBezTo>
                                      <a:cubicBezTo>
                                        <a:pt x="858274" y="382941"/>
                                        <a:pt x="842809" y="380601"/>
                                        <a:pt x="841307" y="377626"/>
                                      </a:cubicBezTo>
                                      <a:cubicBezTo>
                                        <a:pt x="840211" y="375287"/>
                                        <a:pt x="866960" y="381303"/>
                                        <a:pt x="870492" y="380969"/>
                                      </a:cubicBezTo>
                                      <a:cubicBezTo>
                                        <a:pt x="874875" y="380367"/>
                                        <a:pt x="879137" y="379241"/>
                                        <a:pt x="883115" y="377626"/>
                                      </a:cubicBezTo>
                                      <a:cubicBezTo>
                                        <a:pt x="890056" y="375053"/>
                                        <a:pt x="896794" y="376958"/>
                                        <a:pt x="904465" y="376222"/>
                                      </a:cubicBezTo>
                                      <a:cubicBezTo>
                                        <a:pt x="916642" y="375053"/>
                                        <a:pt x="875281" y="358608"/>
                                        <a:pt x="863876" y="358876"/>
                                      </a:cubicBezTo>
                                      <a:cubicBezTo>
                                        <a:pt x="851699" y="359143"/>
                                        <a:pt x="818131" y="343033"/>
                                        <a:pt x="816548" y="360747"/>
                                      </a:cubicBezTo>
                                      <a:cubicBezTo>
                                        <a:pt x="816020" y="366931"/>
                                        <a:pt x="803356" y="364925"/>
                                        <a:pt x="807943" y="361750"/>
                                      </a:cubicBezTo>
                                      <a:cubicBezTo>
                                        <a:pt x="812002" y="359076"/>
                                        <a:pt x="806075" y="356269"/>
                                        <a:pt x="808470" y="353661"/>
                                      </a:cubicBezTo>
                                      <a:cubicBezTo>
                                        <a:pt x="810865" y="351054"/>
                                        <a:pt x="818252" y="353127"/>
                                        <a:pt x="818496" y="349885"/>
                                      </a:cubicBezTo>
                                      <a:cubicBezTo>
                                        <a:pt x="819470" y="336515"/>
                                        <a:pt x="762929" y="342197"/>
                                        <a:pt x="776121" y="350319"/>
                                      </a:cubicBezTo>
                                      <a:cubicBezTo>
                                        <a:pt x="782736" y="354363"/>
                                        <a:pt x="743649" y="371911"/>
                                        <a:pt x="752781" y="355266"/>
                                      </a:cubicBezTo>
                                      <a:cubicBezTo>
                                        <a:pt x="763619" y="335513"/>
                                        <a:pt x="729239" y="354297"/>
                                        <a:pt x="718320" y="359644"/>
                                      </a:cubicBezTo>
                                      <a:cubicBezTo>
                                        <a:pt x="714951" y="361282"/>
                                        <a:pt x="700704" y="369671"/>
                                        <a:pt x="693642" y="366697"/>
                                      </a:cubicBezTo>
                                      <a:cubicBezTo>
                                        <a:pt x="682602" y="362184"/>
                                        <a:pt x="706468" y="356369"/>
                                        <a:pt x="710162" y="354731"/>
                                      </a:cubicBezTo>
                                      <a:cubicBezTo>
                                        <a:pt x="714951" y="352592"/>
                                        <a:pt x="720106" y="344303"/>
                                        <a:pt x="728306" y="344704"/>
                                      </a:cubicBezTo>
                                      <a:cubicBezTo>
                                        <a:pt x="741781" y="345406"/>
                                        <a:pt x="729199" y="336549"/>
                                        <a:pt x="717874" y="337652"/>
                                      </a:cubicBezTo>
                                      <a:cubicBezTo>
                                        <a:pt x="709756" y="338387"/>
                                        <a:pt x="708741" y="345272"/>
                                        <a:pt x="701029" y="344804"/>
                                      </a:cubicBezTo>
                                      <a:cubicBezTo>
                                        <a:pt x="699081" y="344804"/>
                                        <a:pt x="679111" y="341061"/>
                                        <a:pt x="679232" y="341830"/>
                                      </a:cubicBezTo>
                                      <a:cubicBezTo>
                                        <a:pt x="677974" y="343136"/>
                                        <a:pt x="676148" y="343989"/>
                                        <a:pt x="674118" y="344203"/>
                                      </a:cubicBezTo>
                                      <a:cubicBezTo>
                                        <a:pt x="668192" y="346208"/>
                                        <a:pt x="674443" y="348147"/>
                                        <a:pt x="674118" y="350887"/>
                                      </a:cubicBezTo>
                                      <a:cubicBezTo>
                                        <a:pt x="673306" y="355700"/>
                                        <a:pt x="659100" y="347244"/>
                                        <a:pt x="652606" y="348247"/>
                                      </a:cubicBezTo>
                                      <a:cubicBezTo>
                                        <a:pt x="648547" y="348848"/>
                                        <a:pt x="628536" y="356135"/>
                                        <a:pt x="628252" y="358274"/>
                                      </a:cubicBezTo>
                                      <a:cubicBezTo>
                                        <a:pt x="628252" y="356970"/>
                                        <a:pt x="638805" y="375587"/>
                                        <a:pt x="622854" y="368669"/>
                                      </a:cubicBezTo>
                                      <a:cubicBezTo>
                                        <a:pt x="616643" y="365995"/>
                                        <a:pt x="621311" y="360747"/>
                                        <a:pt x="616197" y="357873"/>
                                      </a:cubicBezTo>
                                      <a:cubicBezTo>
                                        <a:pt x="612787" y="355968"/>
                                        <a:pt x="604994" y="354865"/>
                                        <a:pt x="616197" y="351823"/>
                                      </a:cubicBezTo>
                                      <a:cubicBezTo>
                                        <a:pt x="625573" y="349216"/>
                                        <a:pt x="634827" y="350553"/>
                                        <a:pt x="640551" y="344771"/>
                                      </a:cubicBezTo>
                                      <a:cubicBezTo>
                                        <a:pt x="644366" y="340827"/>
                                        <a:pt x="628780" y="339590"/>
                                        <a:pt x="628374" y="344203"/>
                                      </a:cubicBezTo>
                                      <a:cubicBezTo>
                                        <a:pt x="628008" y="350052"/>
                                        <a:pt x="569113" y="340860"/>
                                        <a:pt x="594562" y="354698"/>
                                      </a:cubicBezTo>
                                      <a:cubicBezTo>
                                        <a:pt x="629429" y="373549"/>
                                        <a:pt x="559330" y="350119"/>
                                        <a:pt x="562090" y="360480"/>
                                      </a:cubicBezTo>
                                      <a:cubicBezTo>
                                        <a:pt x="563186" y="364524"/>
                                        <a:pt x="581533" y="364992"/>
                                        <a:pt x="583116" y="368903"/>
                                      </a:cubicBezTo>
                                      <a:cubicBezTo>
                                        <a:pt x="582710" y="367800"/>
                                        <a:pt x="559330" y="367365"/>
                                        <a:pt x="556124" y="366429"/>
                                      </a:cubicBezTo>
                                      <a:cubicBezTo>
                                        <a:pt x="550482" y="364791"/>
                                        <a:pt x="549102" y="359377"/>
                                        <a:pt x="542689" y="359444"/>
                                      </a:cubicBezTo>
                                      <a:cubicBezTo>
                                        <a:pt x="540497" y="359444"/>
                                        <a:pt x="529375" y="360848"/>
                                        <a:pt x="532419" y="362987"/>
                                      </a:cubicBezTo>
                                      <a:cubicBezTo>
                                        <a:pt x="536803" y="366028"/>
                                        <a:pt x="545408" y="364457"/>
                                        <a:pt x="544921" y="369504"/>
                                      </a:cubicBezTo>
                                      <a:cubicBezTo>
                                        <a:pt x="544921" y="371309"/>
                                        <a:pt x="545652" y="378829"/>
                                        <a:pt x="538508" y="377693"/>
                                      </a:cubicBezTo>
                                      <a:cubicBezTo>
                                        <a:pt x="527589" y="376022"/>
                                        <a:pt x="535910" y="371543"/>
                                        <a:pt x="531689" y="368836"/>
                                      </a:cubicBezTo>
                                      <a:cubicBezTo>
                                        <a:pt x="525681" y="365025"/>
                                        <a:pt x="514154" y="371276"/>
                                        <a:pt x="508349" y="370540"/>
                                      </a:cubicBezTo>
                                      <a:cubicBezTo>
                                        <a:pt x="506807" y="370340"/>
                                        <a:pt x="511069" y="361583"/>
                                        <a:pt x="509730" y="360146"/>
                                      </a:cubicBezTo>
                                      <a:cubicBezTo>
                                        <a:pt x="506239" y="356269"/>
                                        <a:pt x="478760" y="359945"/>
                                        <a:pt x="473199" y="361583"/>
                                      </a:cubicBezTo>
                                      <a:cubicBezTo>
                                        <a:pt x="469789" y="362552"/>
                                        <a:pt x="488948" y="374651"/>
                                        <a:pt x="471332" y="372680"/>
                                      </a:cubicBezTo>
                                      <a:cubicBezTo>
                                        <a:pt x="456719" y="371075"/>
                                        <a:pt x="460495" y="382707"/>
                                        <a:pt x="449454" y="378863"/>
                                      </a:cubicBezTo>
                                      <a:cubicBezTo>
                                        <a:pt x="441336" y="376089"/>
                                        <a:pt x="440200" y="372178"/>
                                        <a:pt x="427251" y="375888"/>
                                      </a:cubicBezTo>
                                      <a:cubicBezTo>
                                        <a:pt x="420798" y="377693"/>
                                        <a:pt x="402897" y="385046"/>
                                        <a:pt x="404034" y="389057"/>
                                      </a:cubicBezTo>
                                      <a:cubicBezTo>
                                        <a:pt x="405495" y="393837"/>
                                        <a:pt x="425425" y="384879"/>
                                        <a:pt x="430539" y="390127"/>
                                      </a:cubicBezTo>
                                      <a:cubicBezTo>
                                        <a:pt x="431595" y="391196"/>
                                        <a:pt x="434598" y="400154"/>
                                        <a:pt x="432122" y="400455"/>
                                      </a:cubicBezTo>
                                      <a:cubicBezTo>
                                        <a:pt x="425587" y="400922"/>
                                        <a:pt x="412355" y="391330"/>
                                        <a:pt x="409473" y="399987"/>
                                      </a:cubicBezTo>
                                      <a:cubicBezTo>
                                        <a:pt x="407322" y="406671"/>
                                        <a:pt x="394901" y="391965"/>
                                        <a:pt x="387554" y="395107"/>
                                      </a:cubicBezTo>
                                      <a:cubicBezTo>
                                        <a:pt x="356057" y="408476"/>
                                        <a:pt x="392709" y="385080"/>
                                        <a:pt x="380127" y="384177"/>
                                      </a:cubicBezTo>
                                      <a:cubicBezTo>
                                        <a:pt x="373876" y="383743"/>
                                        <a:pt x="360116" y="394204"/>
                                        <a:pt x="354393" y="395809"/>
                                      </a:cubicBezTo>
                                      <a:cubicBezTo>
                                        <a:pt x="351267" y="396678"/>
                                        <a:pt x="340186" y="397914"/>
                                        <a:pt x="338157" y="399719"/>
                                      </a:cubicBezTo>
                                      <a:cubicBezTo>
                                        <a:pt x="336127" y="401524"/>
                                        <a:pt x="343840" y="401791"/>
                                        <a:pt x="337142" y="404098"/>
                                      </a:cubicBezTo>
                                      <a:cubicBezTo>
                                        <a:pt x="327116" y="407440"/>
                                        <a:pt x="321880" y="412520"/>
                                        <a:pt x="310272" y="414827"/>
                                      </a:cubicBezTo>
                                      <a:cubicBezTo>
                                        <a:pt x="306213" y="415562"/>
                                        <a:pt x="270412" y="421511"/>
                                        <a:pt x="274431" y="424553"/>
                                      </a:cubicBezTo>
                                      <a:cubicBezTo>
                                        <a:pt x="276826" y="426425"/>
                                        <a:pt x="313559" y="417133"/>
                                        <a:pt x="318471" y="415729"/>
                                      </a:cubicBezTo>
                                      <a:cubicBezTo>
                                        <a:pt x="324925" y="413824"/>
                                        <a:pt x="344692" y="407139"/>
                                        <a:pt x="353094" y="410114"/>
                                      </a:cubicBezTo>
                                      <a:cubicBezTo>
                                        <a:pt x="366813" y="415027"/>
                                        <a:pt x="370142" y="407908"/>
                                        <a:pt x="381506" y="406237"/>
                                      </a:cubicBezTo>
                                      <a:cubicBezTo>
                                        <a:pt x="387554" y="405301"/>
                                        <a:pt x="402410" y="408209"/>
                                        <a:pt x="395551" y="411785"/>
                                      </a:cubicBezTo>
                                      <a:cubicBezTo>
                                        <a:pt x="388691" y="415361"/>
                                        <a:pt x="397621" y="419807"/>
                                        <a:pt x="392831" y="421311"/>
                                      </a:cubicBezTo>
                                      <a:cubicBezTo>
                                        <a:pt x="381669" y="424921"/>
                                        <a:pt x="383374" y="415930"/>
                                        <a:pt x="374160" y="415361"/>
                                      </a:cubicBezTo>
                                      <a:cubicBezTo>
                                        <a:pt x="372577" y="415361"/>
                                        <a:pt x="349806" y="423450"/>
                                        <a:pt x="346884" y="424586"/>
                                      </a:cubicBezTo>
                                      <a:cubicBezTo>
                                        <a:pt x="337873" y="428263"/>
                                        <a:pt x="342825" y="434613"/>
                                        <a:pt x="336330" y="437956"/>
                                      </a:cubicBezTo>
                                      <a:cubicBezTo>
                                        <a:pt x="329836" y="441298"/>
                                        <a:pt x="328212" y="437722"/>
                                        <a:pt x="322733" y="443671"/>
                                      </a:cubicBezTo>
                                      <a:cubicBezTo>
                                        <a:pt x="316279" y="450724"/>
                                        <a:pt x="303290" y="456640"/>
                                        <a:pt x="291966" y="461854"/>
                                      </a:cubicBezTo>
                                      <a:cubicBezTo>
                                        <a:pt x="280641" y="467068"/>
                                        <a:pt x="291641" y="469407"/>
                                        <a:pt x="286121" y="474387"/>
                                      </a:cubicBezTo>
                                      <a:cubicBezTo>
                                        <a:pt x="282062" y="478064"/>
                                        <a:pt x="269885" y="475992"/>
                                        <a:pt x="263228" y="476025"/>
                                      </a:cubicBezTo>
                                      <a:cubicBezTo>
                                        <a:pt x="252350" y="476025"/>
                                        <a:pt x="257424" y="483746"/>
                                        <a:pt x="257302" y="486988"/>
                                      </a:cubicBezTo>
                                      <a:cubicBezTo>
                                        <a:pt x="257505" y="489101"/>
                                        <a:pt x="256165" y="491116"/>
                                        <a:pt x="253893" y="492102"/>
                                      </a:cubicBezTo>
                                      <a:cubicBezTo>
                                        <a:pt x="246018" y="495444"/>
                                        <a:pt x="253893" y="499923"/>
                                        <a:pt x="253893" y="503700"/>
                                      </a:cubicBezTo>
                                      <a:cubicBezTo>
                                        <a:pt x="253893" y="506608"/>
                                        <a:pt x="237657" y="503433"/>
                                        <a:pt x="234369" y="503967"/>
                                      </a:cubicBezTo>
                                      <a:cubicBezTo>
                                        <a:pt x="228037" y="504937"/>
                                        <a:pt x="227306" y="507811"/>
                                        <a:pt x="218133" y="508212"/>
                                      </a:cubicBezTo>
                                      <a:cubicBezTo>
                                        <a:pt x="205347" y="508780"/>
                                        <a:pt x="205022" y="510117"/>
                                        <a:pt x="215048" y="514496"/>
                                      </a:cubicBezTo>
                                      <a:cubicBezTo>
                                        <a:pt x="244192" y="527297"/>
                                        <a:pt x="216469" y="518741"/>
                                        <a:pt x="202871" y="522952"/>
                                      </a:cubicBezTo>
                                      <a:cubicBezTo>
                                        <a:pt x="194307" y="525592"/>
                                        <a:pt x="181074" y="527598"/>
                                        <a:pt x="175839" y="532143"/>
                                      </a:cubicBezTo>
                                      <a:cubicBezTo>
                                        <a:pt x="169750" y="537424"/>
                                        <a:pt x="168086" y="536188"/>
                                        <a:pt x="159278" y="539530"/>
                                      </a:cubicBezTo>
                                      <a:cubicBezTo>
                                        <a:pt x="151647" y="542471"/>
                                        <a:pt x="155219" y="548722"/>
                                        <a:pt x="147426" y="551629"/>
                                      </a:cubicBezTo>
                                      <a:cubicBezTo>
                                        <a:pt x="141297" y="553936"/>
                                        <a:pt x="137603" y="546549"/>
                                        <a:pt x="133666" y="545246"/>
                                      </a:cubicBezTo>
                                      <a:cubicBezTo>
                                        <a:pt x="125548" y="542572"/>
                                        <a:pt x="115928" y="545647"/>
                                        <a:pt x="119946" y="550326"/>
                                      </a:cubicBezTo>
                                      <a:cubicBezTo>
                                        <a:pt x="125020" y="556242"/>
                                        <a:pt x="129485" y="556409"/>
                                        <a:pt x="115319" y="557579"/>
                                      </a:cubicBezTo>
                                      <a:cubicBezTo>
                                        <a:pt x="108338" y="558147"/>
                                        <a:pt x="67220" y="567372"/>
                                        <a:pt x="74080" y="569210"/>
                                      </a:cubicBezTo>
                                      <a:cubicBezTo>
                                        <a:pt x="75500" y="569611"/>
                                        <a:pt x="95187" y="572285"/>
                                        <a:pt x="90600" y="574224"/>
                                      </a:cubicBezTo>
                                      <a:cubicBezTo>
                                        <a:pt x="84633" y="576664"/>
                                        <a:pt x="67869" y="574224"/>
                                        <a:pt x="61334" y="573689"/>
                                      </a:cubicBezTo>
                                      <a:cubicBezTo>
                                        <a:pt x="50659" y="572653"/>
                                        <a:pt x="53216" y="580842"/>
                                        <a:pt x="43110" y="580006"/>
                                      </a:cubicBezTo>
                                      <a:cubicBezTo>
                                        <a:pt x="21678" y="578268"/>
                                        <a:pt x="31664" y="586691"/>
                                        <a:pt x="29593" y="590033"/>
                                      </a:cubicBezTo>
                                      <a:cubicBezTo>
                                        <a:pt x="27929" y="593008"/>
                                        <a:pt x="7959" y="587660"/>
                                        <a:pt x="1708" y="594478"/>
                                      </a:cubicBezTo>
                                      <a:cubicBezTo>
                                        <a:pt x="-5963" y="602901"/>
                                        <a:pt x="13885" y="601163"/>
                                        <a:pt x="12749" y="606143"/>
                                      </a:cubicBezTo>
                                      <a:cubicBezTo>
                                        <a:pt x="12302" y="608182"/>
                                        <a:pt x="5118" y="609486"/>
                                        <a:pt x="5564" y="611458"/>
                                      </a:cubicBezTo>
                                      <a:cubicBezTo>
                                        <a:pt x="6092" y="614131"/>
                                        <a:pt x="19162" y="612293"/>
                                        <a:pt x="11125" y="616805"/>
                                      </a:cubicBezTo>
                                      <a:cubicBezTo>
                                        <a:pt x="7066" y="619078"/>
                                        <a:pt x="-1052" y="619613"/>
                                        <a:pt x="1586" y="623490"/>
                                      </a:cubicBezTo>
                                      <a:cubicBezTo>
                                        <a:pt x="5199" y="628804"/>
                                        <a:pt x="8771" y="627401"/>
                                        <a:pt x="2520" y="632247"/>
                                      </a:cubicBezTo>
                                      <a:cubicBezTo>
                                        <a:pt x="-7100" y="639767"/>
                                        <a:pt x="14413" y="637829"/>
                                        <a:pt x="18756" y="638364"/>
                                      </a:cubicBezTo>
                                      <a:cubicBezTo>
                                        <a:pt x="24682" y="639099"/>
                                        <a:pt x="21759" y="643110"/>
                                        <a:pt x="30527" y="640770"/>
                                      </a:cubicBezTo>
                                      <a:cubicBezTo>
                                        <a:pt x="37224" y="638999"/>
                                        <a:pt x="42704" y="634085"/>
                                        <a:pt x="50294" y="633317"/>
                                      </a:cubicBezTo>
                                      <a:cubicBezTo>
                                        <a:pt x="54962" y="632949"/>
                                        <a:pt x="56870" y="635723"/>
                                        <a:pt x="56464" y="637495"/>
                                      </a:cubicBezTo>
                                      <a:cubicBezTo>
                                        <a:pt x="55733" y="640670"/>
                                        <a:pt x="48995" y="639767"/>
                                        <a:pt x="44693" y="640402"/>
                                      </a:cubicBezTo>
                                      <a:cubicBezTo>
                                        <a:pt x="36210" y="641672"/>
                                        <a:pt x="31460" y="655443"/>
                                        <a:pt x="21881" y="648491"/>
                                      </a:cubicBezTo>
                                      <a:cubicBezTo>
                                        <a:pt x="20014" y="647154"/>
                                        <a:pt x="21678" y="643010"/>
                                        <a:pt x="15955" y="643812"/>
                                      </a:cubicBezTo>
                                      <a:cubicBezTo>
                                        <a:pt x="11896" y="644380"/>
                                        <a:pt x="7432" y="646686"/>
                                        <a:pt x="7310" y="648926"/>
                                      </a:cubicBezTo>
                                      <a:cubicBezTo>
                                        <a:pt x="7310" y="651934"/>
                                        <a:pt x="13641" y="652736"/>
                                        <a:pt x="10476" y="656145"/>
                                      </a:cubicBezTo>
                                      <a:cubicBezTo>
                                        <a:pt x="8933" y="657816"/>
                                        <a:pt x="3494" y="661660"/>
                                        <a:pt x="8974" y="663131"/>
                                      </a:cubicBezTo>
                                      <a:cubicBezTo>
                                        <a:pt x="22166" y="666673"/>
                                        <a:pt x="28051" y="652602"/>
                                        <a:pt x="40350" y="657749"/>
                                      </a:cubicBezTo>
                                      <a:cubicBezTo>
                                        <a:pt x="42339" y="658551"/>
                                        <a:pt x="47372" y="661794"/>
                                        <a:pt x="42541" y="662830"/>
                                      </a:cubicBezTo>
                                      <a:cubicBezTo>
                                        <a:pt x="34180" y="664668"/>
                                        <a:pt x="39294" y="667208"/>
                                        <a:pt x="34423" y="669849"/>
                                      </a:cubicBezTo>
                                      <a:cubicBezTo>
                                        <a:pt x="29553" y="672489"/>
                                        <a:pt x="12830" y="672222"/>
                                        <a:pt x="25940" y="678071"/>
                                      </a:cubicBezTo>
                                      <a:cubicBezTo>
                                        <a:pt x="35885" y="682225"/>
                                        <a:pt x="46641" y="684993"/>
                                        <a:pt x="57682" y="686260"/>
                                      </a:cubicBezTo>
                                      <a:cubicBezTo>
                                        <a:pt x="72172" y="687830"/>
                                        <a:pt x="81224" y="692443"/>
                                        <a:pt x="97419" y="691039"/>
                                      </a:cubicBezTo>
                                      <a:cubicBezTo>
                                        <a:pt x="112315" y="689736"/>
                                        <a:pt x="126400" y="683185"/>
                                        <a:pt x="137400" y="678405"/>
                                      </a:cubicBezTo>
                                      <a:cubicBezTo>
                                        <a:pt x="145477" y="675213"/>
                                        <a:pt x="153189" y="671420"/>
                                        <a:pt x="160414" y="667075"/>
                                      </a:cubicBezTo>
                                      <a:cubicBezTo>
                                        <a:pt x="168532" y="661760"/>
                                        <a:pt x="185864" y="669481"/>
                                        <a:pt x="188827" y="659253"/>
                                      </a:cubicBezTo>
                                      <a:cubicBezTo>
                                        <a:pt x="190653" y="652769"/>
                                        <a:pt x="194266" y="649494"/>
                                        <a:pt x="201004" y="657281"/>
                                      </a:cubicBezTo>
                                      <a:cubicBezTo>
                                        <a:pt x="203805" y="660624"/>
                                        <a:pt x="205915" y="660457"/>
                                        <a:pt x="210461" y="662729"/>
                                      </a:cubicBezTo>
                                      <a:cubicBezTo>
                                        <a:pt x="213181" y="664070"/>
                                        <a:pt x="214764" y="666570"/>
                                        <a:pt x="214520" y="669180"/>
                                      </a:cubicBezTo>
                                      <a:cubicBezTo>
                                        <a:pt x="218092" y="668769"/>
                                        <a:pt x="221745" y="669033"/>
                                        <a:pt x="225155" y="669949"/>
                                      </a:cubicBezTo>
                                      <a:cubicBezTo>
                                        <a:pt x="230553" y="672021"/>
                                        <a:pt x="237007" y="643210"/>
                                        <a:pt x="242690" y="642776"/>
                                      </a:cubicBezTo>
                                      <a:cubicBezTo>
                                        <a:pt x="255272" y="641840"/>
                                        <a:pt x="261767" y="643244"/>
                                        <a:pt x="263472" y="635656"/>
                                      </a:cubicBezTo>
                                      <a:cubicBezTo>
                                        <a:pt x="264730" y="630275"/>
                                        <a:pt x="250808" y="621117"/>
                                        <a:pt x="254501" y="617641"/>
                                      </a:cubicBezTo>
                                      <a:cubicBezTo>
                                        <a:pt x="258195" y="614165"/>
                                        <a:pt x="281900" y="613931"/>
                                        <a:pt x="268911" y="605074"/>
                                      </a:cubicBezTo>
                                      <a:cubicBezTo>
                                        <a:pt x="261645" y="600094"/>
                                        <a:pt x="244841" y="600328"/>
                                        <a:pt x="248616" y="592105"/>
                                      </a:cubicBezTo>
                                      <a:cubicBezTo>
                                        <a:pt x="250036" y="589131"/>
                                        <a:pt x="253689" y="586758"/>
                                        <a:pt x="252675" y="583516"/>
                                      </a:cubicBezTo>
                                      <a:cubicBezTo>
                                        <a:pt x="251498" y="578970"/>
                                        <a:pt x="245693" y="575795"/>
                                        <a:pt x="247358" y="570982"/>
                                      </a:cubicBezTo>
                                      <a:cubicBezTo>
                                        <a:pt x="249834" y="563929"/>
                                        <a:pt x="243948" y="556409"/>
                                        <a:pt x="248941" y="549791"/>
                                      </a:cubicBezTo>
                                      <a:cubicBezTo>
                                        <a:pt x="253933" y="543173"/>
                                        <a:pt x="268099" y="535285"/>
                                        <a:pt x="284010" y="534149"/>
                                      </a:cubicBezTo>
                                      <a:cubicBezTo>
                                        <a:pt x="298135" y="533146"/>
                                        <a:pt x="309865" y="540366"/>
                                        <a:pt x="314655" y="529135"/>
                                      </a:cubicBezTo>
                                      <a:cubicBezTo>
                                        <a:pt x="317700" y="521949"/>
                                        <a:pt x="297242" y="524289"/>
                                        <a:pt x="299799" y="518206"/>
                                      </a:cubicBezTo>
                                      <a:cubicBezTo>
                                        <a:pt x="304589" y="506842"/>
                                        <a:pt x="328212" y="501494"/>
                                        <a:pt x="327197" y="488125"/>
                                      </a:cubicBezTo>
                                      <a:cubicBezTo>
                                        <a:pt x="326021" y="473151"/>
                                        <a:pt x="335802" y="481039"/>
                                        <a:pt x="355610" y="474989"/>
                                      </a:cubicBezTo>
                                      <a:cubicBezTo>
                                        <a:pt x="361780" y="473084"/>
                                        <a:pt x="368193" y="461285"/>
                                        <a:pt x="373145" y="457509"/>
                                      </a:cubicBezTo>
                                      <a:cubicBezTo>
                                        <a:pt x="377610" y="454674"/>
                                        <a:pt x="382400" y="452211"/>
                                        <a:pt x="387474" y="450155"/>
                                      </a:cubicBezTo>
                                      <a:cubicBezTo>
                                        <a:pt x="394861" y="446412"/>
                                        <a:pt x="385565" y="443471"/>
                                        <a:pt x="391248" y="440128"/>
                                      </a:cubicBezTo>
                                      <a:cubicBezTo>
                                        <a:pt x="402248" y="433076"/>
                                        <a:pt x="403101" y="422481"/>
                                        <a:pt x="427251" y="423015"/>
                                      </a:cubicBezTo>
                                      <a:cubicBezTo>
                                        <a:pt x="444786" y="423383"/>
                                        <a:pt x="455258" y="423015"/>
                                        <a:pt x="453472" y="413657"/>
                                      </a:cubicBezTo>
                                      <a:cubicBezTo>
                                        <a:pt x="451199" y="402025"/>
                                        <a:pt x="469992" y="408242"/>
                                        <a:pt x="486999" y="408777"/>
                                      </a:cubicBezTo>
                                      <a:cubicBezTo>
                                        <a:pt x="496822" y="409044"/>
                                        <a:pt x="523043" y="420074"/>
                                        <a:pt x="523530" y="408576"/>
                                      </a:cubicBezTo>
                                      <a:cubicBezTo>
                                        <a:pt x="523855" y="401624"/>
                                        <a:pt x="529984" y="391296"/>
                                        <a:pt x="547884" y="397413"/>
                                      </a:cubicBezTo>
                                      <a:cubicBezTo>
                                        <a:pt x="560061" y="385280"/>
                                        <a:pt x="578083" y="390728"/>
                                        <a:pt x="592086" y="398616"/>
                                      </a:cubicBezTo>
                                      <a:cubicBezTo>
                                        <a:pt x="600204" y="403329"/>
                                        <a:pt x="607876" y="404766"/>
                                        <a:pt x="619728" y="406638"/>
                                      </a:cubicBezTo>
                                      <a:cubicBezTo>
                                        <a:pt x="625532" y="407684"/>
                                        <a:pt x="631418" y="408486"/>
                                        <a:pt x="637344" y="409044"/>
                                      </a:cubicBezTo>
                                      <a:cubicBezTo>
                                        <a:pt x="645746" y="409646"/>
                                        <a:pt x="645462" y="406671"/>
                                        <a:pt x="652241" y="406437"/>
                                      </a:cubicBezTo>
                                      <a:cubicBezTo>
                                        <a:pt x="666203" y="405936"/>
                                        <a:pt x="678056" y="411217"/>
                                        <a:pt x="687635" y="414526"/>
                                      </a:cubicBezTo>
                                      <a:cubicBezTo>
                                        <a:pt x="693966" y="416698"/>
                                        <a:pt x="699812" y="409479"/>
                                        <a:pt x="700299" y="407641"/>
                                      </a:cubicBezTo>
                                      <a:cubicBezTo>
                                        <a:pt x="702206" y="401691"/>
                                        <a:pt x="707239" y="405401"/>
                                        <a:pt x="716535" y="404064"/>
                                      </a:cubicBezTo>
                                      <a:cubicBezTo>
                                        <a:pt x="729158" y="402293"/>
                                        <a:pt x="711989" y="389458"/>
                                        <a:pt x="724652" y="385715"/>
                                      </a:cubicBezTo>
                                      <a:cubicBezTo>
                                        <a:pt x="740888" y="381035"/>
                                        <a:pt x="743121" y="377125"/>
                                        <a:pt x="763659" y="378194"/>
                                      </a:cubicBezTo>
                                      <a:cubicBezTo>
                                        <a:pt x="785862" y="379331"/>
                                        <a:pt x="789068" y="371510"/>
                                        <a:pt x="809201" y="381303"/>
                                      </a:cubicBezTo>
                                      <a:cubicBezTo>
                                        <a:pt x="829334" y="391096"/>
                                        <a:pt x="842687" y="387352"/>
                                        <a:pt x="841064" y="403028"/>
                                      </a:cubicBezTo>
                                      <a:cubicBezTo>
                                        <a:pt x="851617" y="398817"/>
                                        <a:pt x="879584" y="395608"/>
                                        <a:pt x="893425" y="396343"/>
                                      </a:cubicBezTo>
                                      <a:cubicBezTo>
                                        <a:pt x="925125" y="397814"/>
                                        <a:pt x="886362" y="380066"/>
                                        <a:pt x="879827" y="389659"/>
                                      </a:cubicBezTo>
                                      <a:cubicBezTo>
                                        <a:pt x="876823" y="393068"/>
                                        <a:pt x="881573" y="386149"/>
                                        <a:pt x="879299" y="389425"/>
                                      </a:cubicBezTo>
                                      <a:close/>
                                      <a:moveTo>
                                        <a:pt x="245450" y="43892"/>
                                      </a:moveTo>
                                      <a:cubicBezTo>
                                        <a:pt x="255394" y="44861"/>
                                        <a:pt x="217362" y="59333"/>
                                        <a:pt x="225885" y="65717"/>
                                      </a:cubicBezTo>
                                      <a:cubicBezTo>
                                        <a:pt x="238874" y="75410"/>
                                        <a:pt x="270818" y="84267"/>
                                        <a:pt x="295335" y="83499"/>
                                      </a:cubicBezTo>
                                      <a:cubicBezTo>
                                        <a:pt x="306821" y="83164"/>
                                        <a:pt x="316360" y="81928"/>
                                        <a:pt x="320744" y="76647"/>
                                      </a:cubicBezTo>
                                      <a:cubicBezTo>
                                        <a:pt x="322773" y="74207"/>
                                        <a:pt x="324113" y="70530"/>
                                        <a:pt x="329389" y="68993"/>
                                      </a:cubicBezTo>
                                      <a:cubicBezTo>
                                        <a:pt x="334666" y="67455"/>
                                        <a:pt x="341039" y="69461"/>
                                        <a:pt x="344245" y="66586"/>
                                      </a:cubicBezTo>
                                      <a:cubicBezTo>
                                        <a:pt x="346396" y="64648"/>
                                        <a:pt x="356828" y="56559"/>
                                        <a:pt x="362308" y="62509"/>
                                      </a:cubicBezTo>
                                      <a:cubicBezTo>
                                        <a:pt x="366367" y="66586"/>
                                        <a:pt x="346559" y="74508"/>
                                        <a:pt x="360156" y="75076"/>
                                      </a:cubicBezTo>
                                      <a:cubicBezTo>
                                        <a:pt x="376068" y="75778"/>
                                        <a:pt x="383130" y="70230"/>
                                        <a:pt x="396159" y="68057"/>
                                      </a:cubicBezTo>
                                      <a:cubicBezTo>
                                        <a:pt x="408336" y="66052"/>
                                        <a:pt x="406023" y="77650"/>
                                        <a:pt x="396159" y="79254"/>
                                      </a:cubicBezTo>
                                      <a:cubicBezTo>
                                        <a:pt x="385565" y="80992"/>
                                        <a:pt x="373186" y="80123"/>
                                        <a:pt x="363363" y="82997"/>
                                      </a:cubicBezTo>
                                      <a:cubicBezTo>
                                        <a:pt x="351754" y="86908"/>
                                        <a:pt x="339374" y="88950"/>
                                        <a:pt x="326832" y="89014"/>
                                      </a:cubicBezTo>
                                      <a:cubicBezTo>
                                        <a:pt x="294360" y="90183"/>
                                        <a:pt x="286242" y="102182"/>
                                        <a:pt x="325493" y="100311"/>
                                      </a:cubicBezTo>
                                      <a:cubicBezTo>
                                        <a:pt x="341404" y="99509"/>
                                        <a:pt x="399731" y="93225"/>
                                        <a:pt x="411584" y="100311"/>
                                      </a:cubicBezTo>
                                      <a:cubicBezTo>
                                        <a:pt x="411056" y="99943"/>
                                        <a:pt x="349847" y="102851"/>
                                        <a:pt x="344002" y="105592"/>
                                      </a:cubicBezTo>
                                      <a:cubicBezTo>
                                        <a:pt x="340552" y="107163"/>
                                        <a:pt x="343352" y="109502"/>
                                        <a:pt x="337426" y="109402"/>
                                      </a:cubicBezTo>
                                      <a:cubicBezTo>
                                        <a:pt x="328740" y="109235"/>
                                        <a:pt x="319283" y="107564"/>
                                        <a:pt x="310718" y="108800"/>
                                      </a:cubicBezTo>
                                      <a:cubicBezTo>
                                        <a:pt x="288678" y="112143"/>
                                        <a:pt x="331256" y="121702"/>
                                        <a:pt x="335518" y="122905"/>
                                      </a:cubicBezTo>
                                      <a:cubicBezTo>
                                        <a:pt x="341648" y="124610"/>
                                        <a:pt x="343231" y="127417"/>
                                        <a:pt x="351024" y="127751"/>
                                      </a:cubicBezTo>
                                      <a:cubicBezTo>
                                        <a:pt x="353703" y="127751"/>
                                        <a:pt x="380410" y="126615"/>
                                        <a:pt x="379843" y="128955"/>
                                      </a:cubicBezTo>
                                      <a:cubicBezTo>
                                        <a:pt x="379356" y="130726"/>
                                        <a:pt x="356666" y="133433"/>
                                        <a:pt x="360075" y="135038"/>
                                      </a:cubicBezTo>
                                      <a:cubicBezTo>
                                        <a:pt x="367868" y="138681"/>
                                        <a:pt x="383820" y="138213"/>
                                        <a:pt x="389706" y="142993"/>
                                      </a:cubicBezTo>
                                      <a:cubicBezTo>
                                        <a:pt x="405455" y="155727"/>
                                        <a:pt x="426236" y="123774"/>
                                        <a:pt x="430580" y="121033"/>
                                      </a:cubicBezTo>
                                      <a:cubicBezTo>
                                        <a:pt x="440605" y="114349"/>
                                        <a:pt x="451483" y="112477"/>
                                        <a:pt x="466136" y="108800"/>
                                      </a:cubicBezTo>
                                      <a:cubicBezTo>
                                        <a:pt x="477623" y="105892"/>
                                        <a:pt x="469627" y="101013"/>
                                        <a:pt x="472184" y="96333"/>
                                      </a:cubicBezTo>
                                      <a:cubicBezTo>
                                        <a:pt x="474742" y="91654"/>
                                        <a:pt x="493778" y="94395"/>
                                        <a:pt x="489678" y="90350"/>
                                      </a:cubicBezTo>
                                      <a:cubicBezTo>
                                        <a:pt x="481804" y="82630"/>
                                        <a:pt x="502505" y="74140"/>
                                        <a:pt x="517807" y="73104"/>
                                      </a:cubicBezTo>
                                      <a:cubicBezTo>
                                        <a:pt x="528442" y="72369"/>
                                        <a:pt x="553648" y="69461"/>
                                        <a:pt x="563064" y="71132"/>
                                      </a:cubicBezTo>
                                      <a:cubicBezTo>
                                        <a:pt x="578286" y="73806"/>
                                        <a:pt x="547275" y="76413"/>
                                        <a:pt x="545895" y="77817"/>
                                      </a:cubicBezTo>
                                      <a:cubicBezTo>
                                        <a:pt x="535017" y="88111"/>
                                        <a:pt x="590097" y="92389"/>
                                        <a:pt x="577068" y="104555"/>
                                      </a:cubicBezTo>
                                      <a:cubicBezTo>
                                        <a:pt x="574470" y="106962"/>
                                        <a:pt x="551253" y="115886"/>
                                        <a:pt x="565987" y="117724"/>
                                      </a:cubicBezTo>
                                      <a:cubicBezTo>
                                        <a:pt x="583238" y="119897"/>
                                        <a:pt x="598459" y="113847"/>
                                        <a:pt x="615060" y="115017"/>
                                      </a:cubicBezTo>
                                      <a:cubicBezTo>
                                        <a:pt x="623178" y="115585"/>
                                        <a:pt x="617455" y="121535"/>
                                        <a:pt x="618875" y="123841"/>
                                      </a:cubicBezTo>
                                      <a:cubicBezTo>
                                        <a:pt x="624274" y="132464"/>
                                        <a:pt x="655406" y="122370"/>
                                        <a:pt x="661657" y="119997"/>
                                      </a:cubicBezTo>
                                      <a:cubicBezTo>
                                        <a:pt x="672657" y="115752"/>
                                        <a:pt x="689745" y="114382"/>
                                        <a:pt x="699365" y="110371"/>
                                      </a:cubicBezTo>
                                      <a:cubicBezTo>
                                        <a:pt x="713653" y="104355"/>
                                        <a:pt x="670952" y="105023"/>
                                        <a:pt x="668801" y="105124"/>
                                      </a:cubicBezTo>
                                      <a:cubicBezTo>
                                        <a:pt x="665351" y="105124"/>
                                        <a:pt x="633934" y="103854"/>
                                        <a:pt x="644447" y="99943"/>
                                      </a:cubicBezTo>
                                      <a:cubicBezTo>
                                        <a:pt x="665229" y="92256"/>
                                        <a:pt x="626709" y="92623"/>
                                        <a:pt x="616968" y="91119"/>
                                      </a:cubicBezTo>
                                      <a:cubicBezTo>
                                        <a:pt x="596389" y="87777"/>
                                        <a:pt x="617820" y="87944"/>
                                        <a:pt x="612909" y="83365"/>
                                      </a:cubicBezTo>
                                      <a:cubicBezTo>
                                        <a:pt x="606983" y="78051"/>
                                        <a:pt x="582791" y="77883"/>
                                        <a:pt x="581817" y="73104"/>
                                      </a:cubicBezTo>
                                      <a:cubicBezTo>
                                        <a:pt x="580356" y="65784"/>
                                        <a:pt x="585227" y="64547"/>
                                        <a:pt x="568017" y="61205"/>
                                      </a:cubicBezTo>
                                      <a:cubicBezTo>
                                        <a:pt x="556368" y="58966"/>
                                        <a:pt x="559452" y="55924"/>
                                        <a:pt x="548980" y="54821"/>
                                      </a:cubicBezTo>
                                      <a:cubicBezTo>
                                        <a:pt x="541390" y="53986"/>
                                        <a:pt x="523124" y="60871"/>
                                        <a:pt x="523489" y="52816"/>
                                      </a:cubicBezTo>
                                      <a:cubicBezTo>
                                        <a:pt x="523733" y="47501"/>
                                        <a:pt x="495280" y="48738"/>
                                        <a:pt x="488948" y="48805"/>
                                      </a:cubicBezTo>
                                      <a:cubicBezTo>
                                        <a:pt x="479653" y="48805"/>
                                        <a:pt x="481195" y="37675"/>
                                        <a:pt x="474579" y="35202"/>
                                      </a:cubicBezTo>
                                      <a:cubicBezTo>
                                        <a:pt x="467963" y="32728"/>
                                        <a:pt x="441863" y="42354"/>
                                        <a:pt x="441580" y="39346"/>
                                      </a:cubicBezTo>
                                      <a:cubicBezTo>
                                        <a:pt x="441133" y="34934"/>
                                        <a:pt x="460535" y="29987"/>
                                        <a:pt x="452133" y="25810"/>
                                      </a:cubicBezTo>
                                      <a:cubicBezTo>
                                        <a:pt x="442594" y="21942"/>
                                        <a:pt x="432082" y="20061"/>
                                        <a:pt x="421447" y="20328"/>
                                      </a:cubicBezTo>
                                      <a:cubicBezTo>
                                        <a:pt x="409270" y="20729"/>
                                        <a:pt x="413329" y="24172"/>
                                        <a:pt x="403506" y="17153"/>
                                      </a:cubicBezTo>
                                      <a:cubicBezTo>
                                        <a:pt x="388772" y="6758"/>
                                        <a:pt x="395023" y="20863"/>
                                        <a:pt x="386337" y="21598"/>
                                      </a:cubicBezTo>
                                      <a:cubicBezTo>
                                        <a:pt x="365433" y="23370"/>
                                        <a:pt x="382927" y="29286"/>
                                        <a:pt x="388407" y="33430"/>
                                      </a:cubicBezTo>
                                      <a:cubicBezTo>
                                        <a:pt x="395185" y="38504"/>
                                        <a:pt x="400259" y="44924"/>
                                        <a:pt x="403141" y="52080"/>
                                      </a:cubicBezTo>
                                      <a:cubicBezTo>
                                        <a:pt x="407200" y="62408"/>
                                        <a:pt x="369898" y="41117"/>
                                        <a:pt x="366285" y="37942"/>
                                      </a:cubicBezTo>
                                      <a:cubicBezTo>
                                        <a:pt x="360359" y="32695"/>
                                        <a:pt x="361658" y="24339"/>
                                        <a:pt x="345990" y="22367"/>
                                      </a:cubicBezTo>
                                      <a:cubicBezTo>
                                        <a:pt x="338685" y="21431"/>
                                        <a:pt x="323260" y="31625"/>
                                        <a:pt x="321840" y="34667"/>
                                      </a:cubicBezTo>
                                      <a:cubicBezTo>
                                        <a:pt x="320419" y="37708"/>
                                        <a:pt x="325899" y="40382"/>
                                        <a:pt x="320541" y="42521"/>
                                      </a:cubicBezTo>
                                      <a:cubicBezTo>
                                        <a:pt x="316807" y="44059"/>
                                        <a:pt x="312423" y="42856"/>
                                        <a:pt x="312423" y="40650"/>
                                      </a:cubicBezTo>
                                      <a:cubicBezTo>
                                        <a:pt x="312423" y="37575"/>
                                        <a:pt x="289043" y="27715"/>
                                        <a:pt x="283320" y="29820"/>
                                      </a:cubicBezTo>
                                      <a:cubicBezTo>
                                        <a:pt x="287379" y="28350"/>
                                        <a:pt x="341648" y="22534"/>
                                        <a:pt x="307674" y="20629"/>
                                      </a:cubicBezTo>
                                      <a:cubicBezTo>
                                        <a:pt x="286526" y="19459"/>
                                        <a:pt x="263025" y="27314"/>
                                        <a:pt x="244597" y="23637"/>
                                      </a:cubicBezTo>
                                      <a:cubicBezTo>
                                        <a:pt x="233395" y="21398"/>
                                        <a:pt x="199665" y="26979"/>
                                        <a:pt x="198609" y="32762"/>
                                      </a:cubicBezTo>
                                      <a:cubicBezTo>
                                        <a:pt x="197757" y="37307"/>
                                        <a:pt x="203886" y="49106"/>
                                        <a:pt x="217402" y="48972"/>
                                      </a:cubicBezTo>
                                      <a:cubicBezTo>
                                        <a:pt x="227956" y="48972"/>
                                        <a:pt x="233922" y="42789"/>
                                        <a:pt x="245490" y="43959"/>
                                      </a:cubicBezTo>
                                      <a:close/>
                                      <a:moveTo>
                                        <a:pt x="211557" y="74441"/>
                                      </a:moveTo>
                                      <a:cubicBezTo>
                                        <a:pt x="221543" y="75611"/>
                                        <a:pt x="226941" y="83231"/>
                                        <a:pt x="237819" y="82830"/>
                                      </a:cubicBezTo>
                                      <a:cubicBezTo>
                                        <a:pt x="234125" y="82830"/>
                                        <a:pt x="206443" y="62408"/>
                                        <a:pt x="200517" y="60035"/>
                                      </a:cubicBezTo>
                                      <a:cubicBezTo>
                                        <a:pt x="193779" y="57294"/>
                                        <a:pt x="180750" y="59367"/>
                                        <a:pt x="185661" y="63846"/>
                                      </a:cubicBezTo>
                                      <a:cubicBezTo>
                                        <a:pt x="192845" y="69387"/>
                                        <a:pt x="201856" y="73074"/>
                                        <a:pt x="211557" y="74441"/>
                                      </a:cubicBezTo>
                                      <a:close/>
                                      <a:moveTo>
                                        <a:pt x="475391" y="16618"/>
                                      </a:moveTo>
                                      <a:cubicBezTo>
                                        <a:pt x="481317" y="18891"/>
                                        <a:pt x="461590" y="19960"/>
                                        <a:pt x="474579" y="24372"/>
                                      </a:cubicBezTo>
                                      <a:cubicBezTo>
                                        <a:pt x="484442" y="27715"/>
                                        <a:pt x="497796" y="28316"/>
                                        <a:pt x="509324" y="28717"/>
                                      </a:cubicBezTo>
                                      <a:cubicBezTo>
                                        <a:pt x="537412" y="29720"/>
                                        <a:pt x="565054" y="27782"/>
                                        <a:pt x="593020" y="28049"/>
                                      </a:cubicBezTo>
                                      <a:cubicBezTo>
                                        <a:pt x="617374" y="28283"/>
                                        <a:pt x="602193" y="31391"/>
                                        <a:pt x="587987" y="32394"/>
                                      </a:cubicBezTo>
                                      <a:cubicBezTo>
                                        <a:pt x="571223" y="33464"/>
                                        <a:pt x="543622" y="32695"/>
                                        <a:pt x="529619" y="37341"/>
                                      </a:cubicBezTo>
                                      <a:cubicBezTo>
                                        <a:pt x="522028" y="39814"/>
                                        <a:pt x="573983" y="45596"/>
                                        <a:pt x="578326" y="45997"/>
                                      </a:cubicBezTo>
                                      <a:cubicBezTo>
                                        <a:pt x="595496" y="47334"/>
                                        <a:pt x="616765" y="44961"/>
                                        <a:pt x="630646" y="49340"/>
                                      </a:cubicBezTo>
                                      <a:cubicBezTo>
                                        <a:pt x="660358" y="58832"/>
                                        <a:pt x="680735" y="52949"/>
                                        <a:pt x="711096" y="52381"/>
                                      </a:cubicBezTo>
                                      <a:cubicBezTo>
                                        <a:pt x="740564" y="51813"/>
                                        <a:pt x="751360" y="43323"/>
                                        <a:pt x="776364" y="39012"/>
                                      </a:cubicBezTo>
                                      <a:cubicBezTo>
                                        <a:pt x="797430" y="35335"/>
                                        <a:pt x="819064" y="26211"/>
                                        <a:pt x="781843" y="22935"/>
                                      </a:cubicBezTo>
                                      <a:cubicBezTo>
                                        <a:pt x="767881" y="21732"/>
                                        <a:pt x="753756" y="21765"/>
                                        <a:pt x="739833" y="20428"/>
                                      </a:cubicBezTo>
                                      <a:cubicBezTo>
                                        <a:pt x="727291" y="19192"/>
                                        <a:pt x="715885" y="15181"/>
                                        <a:pt x="703302" y="13409"/>
                                      </a:cubicBezTo>
                                      <a:cubicBezTo>
                                        <a:pt x="685483" y="10802"/>
                                        <a:pt x="681668" y="11905"/>
                                        <a:pt x="669816" y="16752"/>
                                      </a:cubicBezTo>
                                      <a:cubicBezTo>
                                        <a:pt x="657963" y="21598"/>
                                        <a:pt x="652809" y="16752"/>
                                        <a:pt x="651672" y="11872"/>
                                      </a:cubicBezTo>
                                      <a:cubicBezTo>
                                        <a:pt x="650170" y="5555"/>
                                        <a:pt x="637506" y="3015"/>
                                        <a:pt x="625979" y="6858"/>
                                      </a:cubicBezTo>
                                      <a:cubicBezTo>
                                        <a:pt x="615385" y="10401"/>
                                        <a:pt x="625654" y="16384"/>
                                        <a:pt x="626222" y="20896"/>
                                      </a:cubicBezTo>
                                      <a:cubicBezTo>
                                        <a:pt x="626791" y="25408"/>
                                        <a:pt x="600610" y="17286"/>
                                        <a:pt x="598337" y="15782"/>
                                      </a:cubicBezTo>
                                      <a:cubicBezTo>
                                        <a:pt x="590219" y="10334"/>
                                        <a:pt x="590219" y="11905"/>
                                        <a:pt x="576013" y="13376"/>
                                      </a:cubicBezTo>
                                      <a:cubicBezTo>
                                        <a:pt x="564526" y="14579"/>
                                        <a:pt x="561928" y="7427"/>
                                        <a:pt x="553080" y="4652"/>
                                      </a:cubicBezTo>
                                      <a:cubicBezTo>
                                        <a:pt x="551415" y="4151"/>
                                        <a:pt x="522028" y="-2433"/>
                                        <a:pt x="523287" y="341"/>
                                      </a:cubicBezTo>
                                      <a:cubicBezTo>
                                        <a:pt x="525966" y="6290"/>
                                        <a:pt x="529497" y="10368"/>
                                        <a:pt x="511110" y="5455"/>
                                      </a:cubicBezTo>
                                      <a:cubicBezTo>
                                        <a:pt x="494102" y="1009"/>
                                        <a:pt x="499623" y="4218"/>
                                        <a:pt x="500962" y="10234"/>
                                      </a:cubicBezTo>
                                      <a:cubicBezTo>
                                        <a:pt x="502464" y="17119"/>
                                        <a:pt x="484726" y="6156"/>
                                        <a:pt x="482453" y="5154"/>
                                      </a:cubicBezTo>
                                      <a:cubicBezTo>
                                        <a:pt x="478394" y="3382"/>
                                        <a:pt x="471575" y="1277"/>
                                        <a:pt x="466217" y="3382"/>
                                      </a:cubicBezTo>
                                      <a:cubicBezTo>
                                        <a:pt x="466217" y="3382"/>
                                        <a:pt x="455299" y="10368"/>
                                        <a:pt x="454527" y="9265"/>
                                      </a:cubicBezTo>
                                      <a:cubicBezTo>
                                        <a:pt x="456598" y="12206"/>
                                        <a:pt x="470276" y="14713"/>
                                        <a:pt x="475269" y="16652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solidFill>
                                  <a:schemeClr val="accent3"/>
                                </a:solidFill>
                                <a:ln w="3021" cap="flat">
                                  <a:solidFill>
                                    <a:schemeClr val="accent3">
                                      <a:alpha val="44000"/>
                                    </a:schemeClr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GB"/>
                                </a:p>
                              </p:txBody>
                            </p:sp>
                          </p:grpSp>
                        </p:grpSp>
                      </p:grpSp>
                      <p:sp>
                        <p:nvSpPr>
                          <p:cNvPr id="266" name="Freeform: Shape 265">
                            <a:extLst>
                              <a:ext uri="{FF2B5EF4-FFF2-40B4-BE49-F238E27FC236}">
                                <a16:creationId xmlns:a16="http://schemas.microsoft.com/office/drawing/2014/main" id="{CE2ADFFC-B186-447A-8342-C0B51CEB3BE8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387012" y="3856593"/>
                            <a:ext cx="5354918" cy="1734414"/>
                          </a:xfrm>
                          <a:custGeom>
                            <a:avLst/>
                            <a:gdLst>
                              <a:gd name="connsiteX0" fmla="*/ 86305 w 5495992"/>
                              <a:gd name="connsiteY0" fmla="*/ 704436 h 2374809"/>
                              <a:gd name="connsiteX1" fmla="*/ 70434 w 5495992"/>
                              <a:gd name="connsiteY1" fmla="*/ 701930 h 2374809"/>
                              <a:gd name="connsiteX2" fmla="*/ 46080 w 5495992"/>
                              <a:gd name="connsiteY2" fmla="*/ 698253 h 2374809"/>
                              <a:gd name="connsiteX3" fmla="*/ 40722 w 5495992"/>
                              <a:gd name="connsiteY3" fmla="*/ 706342 h 2374809"/>
                              <a:gd name="connsiteX4" fmla="*/ 32199 w 5495992"/>
                              <a:gd name="connsiteY4" fmla="*/ 713327 h 2374809"/>
                              <a:gd name="connsiteX5" fmla="*/ 14826 w 5495992"/>
                              <a:gd name="connsiteY5" fmla="*/ 706308 h 2374809"/>
                              <a:gd name="connsiteX6" fmla="*/ 8697 w 5495992"/>
                              <a:gd name="connsiteY6" fmla="*/ 715567 h 2374809"/>
                              <a:gd name="connsiteX7" fmla="*/ 78025 w 5495992"/>
                              <a:gd name="connsiteY7" fmla="*/ 721883 h 2374809"/>
                              <a:gd name="connsiteX8" fmla="*/ 103068 w 5495992"/>
                              <a:gd name="connsiteY8" fmla="*/ 716536 h 2374809"/>
                              <a:gd name="connsiteX9" fmla="*/ 86224 w 5495992"/>
                              <a:gd name="connsiteY9" fmla="*/ 704436 h 2374809"/>
                              <a:gd name="connsiteX10" fmla="*/ 1722803 w 5495992"/>
                              <a:gd name="connsiteY10" fmla="*/ 109497 h 2374809"/>
                              <a:gd name="connsiteX11" fmla="*/ 1754504 w 5495992"/>
                              <a:gd name="connsiteY11" fmla="*/ 102478 h 2374809"/>
                              <a:gd name="connsiteX12" fmla="*/ 1707866 w 5495992"/>
                              <a:gd name="connsiteY12" fmla="*/ 97330 h 2374809"/>
                              <a:gd name="connsiteX13" fmla="*/ 1661512 w 5495992"/>
                              <a:gd name="connsiteY13" fmla="*/ 95058 h 2374809"/>
                              <a:gd name="connsiteX14" fmla="*/ 1722803 w 5495992"/>
                              <a:gd name="connsiteY14" fmla="*/ 109497 h 2374809"/>
                              <a:gd name="connsiteX15" fmla="*/ 1722843 w 5495992"/>
                              <a:gd name="connsiteY15" fmla="*/ 109563 h 2374809"/>
                              <a:gd name="connsiteX16" fmla="*/ 1846642 w 5495992"/>
                              <a:gd name="connsiteY16" fmla="*/ 423177 h 2374809"/>
                              <a:gd name="connsiteX17" fmla="*/ 1895350 w 5495992"/>
                              <a:gd name="connsiteY17" fmla="*/ 422141 h 2374809"/>
                              <a:gd name="connsiteX18" fmla="*/ 1847981 w 5495992"/>
                              <a:gd name="connsiteY18" fmla="*/ 412882 h 2374809"/>
                              <a:gd name="connsiteX19" fmla="*/ 1846520 w 5495992"/>
                              <a:gd name="connsiteY19" fmla="*/ 423177 h 2374809"/>
                              <a:gd name="connsiteX20" fmla="*/ 2713233 w 5495992"/>
                              <a:gd name="connsiteY20" fmla="*/ 374412 h 2374809"/>
                              <a:gd name="connsiteX21" fmla="*/ 2702071 w 5495992"/>
                              <a:gd name="connsiteY21" fmla="*/ 378055 h 2374809"/>
                              <a:gd name="connsiteX22" fmla="*/ 2674348 w 5495992"/>
                              <a:gd name="connsiteY22" fmla="*/ 376317 h 2374809"/>
                              <a:gd name="connsiteX23" fmla="*/ 2701746 w 5495992"/>
                              <a:gd name="connsiteY23" fmla="*/ 395101 h 2374809"/>
                              <a:gd name="connsiteX24" fmla="*/ 2748790 w 5495992"/>
                              <a:gd name="connsiteY24" fmla="*/ 396338 h 2374809"/>
                              <a:gd name="connsiteX25" fmla="*/ 2818279 w 5495992"/>
                              <a:gd name="connsiteY25" fmla="*/ 405964 h 2374809"/>
                              <a:gd name="connsiteX26" fmla="*/ 2852457 w 5495992"/>
                              <a:gd name="connsiteY26" fmla="*/ 413183 h 2374809"/>
                              <a:gd name="connsiteX27" fmla="*/ 2858423 w 5495992"/>
                              <a:gd name="connsiteY27" fmla="*/ 403156 h 2374809"/>
                              <a:gd name="connsiteX28" fmla="*/ 2882047 w 5495992"/>
                              <a:gd name="connsiteY28" fmla="*/ 404727 h 2374809"/>
                              <a:gd name="connsiteX29" fmla="*/ 2844176 w 5495992"/>
                              <a:gd name="connsiteY29" fmla="*/ 384071 h 2374809"/>
                              <a:gd name="connsiteX30" fmla="*/ 2816494 w 5495992"/>
                              <a:gd name="connsiteY30" fmla="*/ 362480 h 2374809"/>
                              <a:gd name="connsiteX31" fmla="*/ 2737628 w 5495992"/>
                              <a:gd name="connsiteY31" fmla="*/ 356965 h 2374809"/>
                              <a:gd name="connsiteX32" fmla="*/ 2716967 w 5495992"/>
                              <a:gd name="connsiteY32" fmla="*/ 363148 h 2374809"/>
                              <a:gd name="connsiteX33" fmla="*/ 2713233 w 5495992"/>
                              <a:gd name="connsiteY33" fmla="*/ 374378 h 2374809"/>
                              <a:gd name="connsiteX34" fmla="*/ 2763078 w 5495992"/>
                              <a:gd name="connsiteY34" fmla="*/ 404493 h 2374809"/>
                              <a:gd name="connsiteX35" fmla="*/ 2736451 w 5495992"/>
                              <a:gd name="connsiteY35" fmla="*/ 407835 h 2374809"/>
                              <a:gd name="connsiteX36" fmla="*/ 2757314 w 5495992"/>
                              <a:gd name="connsiteY36" fmla="*/ 422709 h 2374809"/>
                              <a:gd name="connsiteX37" fmla="*/ 2775377 w 5495992"/>
                              <a:gd name="connsiteY37" fmla="*/ 439722 h 2374809"/>
                              <a:gd name="connsiteX38" fmla="*/ 2809147 w 5495992"/>
                              <a:gd name="connsiteY38" fmla="*/ 452255 h 2374809"/>
                              <a:gd name="connsiteX39" fmla="*/ 2897917 w 5495992"/>
                              <a:gd name="connsiteY39" fmla="*/ 488553 h 2374809"/>
                              <a:gd name="connsiteX40" fmla="*/ 2915208 w 5495992"/>
                              <a:gd name="connsiteY40" fmla="*/ 483573 h 2374809"/>
                              <a:gd name="connsiteX41" fmla="*/ 2909201 w 5495992"/>
                              <a:gd name="connsiteY41" fmla="*/ 479362 h 2374809"/>
                              <a:gd name="connsiteX42" fmla="*/ 2920079 w 5495992"/>
                              <a:gd name="connsiteY42" fmla="*/ 472376 h 2374809"/>
                              <a:gd name="connsiteX43" fmla="*/ 2917360 w 5495992"/>
                              <a:gd name="connsiteY43" fmla="*/ 447008 h 2374809"/>
                              <a:gd name="connsiteX44" fmla="*/ 2892153 w 5495992"/>
                              <a:gd name="connsiteY44" fmla="*/ 439521 h 2374809"/>
                              <a:gd name="connsiteX45" fmla="*/ 2873807 w 5495992"/>
                              <a:gd name="connsiteY45" fmla="*/ 435878 h 2374809"/>
                              <a:gd name="connsiteX46" fmla="*/ 2827412 w 5495992"/>
                              <a:gd name="connsiteY46" fmla="*/ 413217 h 2374809"/>
                              <a:gd name="connsiteX47" fmla="*/ 2763240 w 5495992"/>
                              <a:gd name="connsiteY47" fmla="*/ 404460 h 2374809"/>
                              <a:gd name="connsiteX48" fmla="*/ 2146113 w 5495992"/>
                              <a:gd name="connsiteY48" fmla="*/ 499784 h 2374809"/>
                              <a:gd name="connsiteX49" fmla="*/ 2174851 w 5495992"/>
                              <a:gd name="connsiteY49" fmla="*/ 501087 h 2374809"/>
                              <a:gd name="connsiteX50" fmla="*/ 2146439 w 5495992"/>
                              <a:gd name="connsiteY50" fmla="*/ 499884 h 2374809"/>
                              <a:gd name="connsiteX51" fmla="*/ 2700367 w 5495992"/>
                              <a:gd name="connsiteY51" fmla="*/ 332666 h 2374809"/>
                              <a:gd name="connsiteX52" fmla="*/ 2651375 w 5495992"/>
                              <a:gd name="connsiteY52" fmla="*/ 321569 h 2374809"/>
                              <a:gd name="connsiteX53" fmla="*/ 2700691 w 5495992"/>
                              <a:gd name="connsiteY53" fmla="*/ 332766 h 2374809"/>
                              <a:gd name="connsiteX54" fmla="*/ 5296001 w 5495992"/>
                              <a:gd name="connsiteY54" fmla="*/ 2021426 h 2374809"/>
                              <a:gd name="connsiteX55" fmla="*/ 5328473 w 5495992"/>
                              <a:gd name="connsiteY55" fmla="*/ 2042550 h 2374809"/>
                              <a:gd name="connsiteX56" fmla="*/ 5355789 w 5495992"/>
                              <a:gd name="connsiteY56" fmla="*/ 2067216 h 2374809"/>
                              <a:gd name="connsiteX57" fmla="*/ 5408961 w 5495992"/>
                              <a:gd name="connsiteY57" fmla="*/ 2093354 h 2374809"/>
                              <a:gd name="connsiteX58" fmla="*/ 5352380 w 5495992"/>
                              <a:gd name="connsiteY58" fmla="*/ 2038272 h 2374809"/>
                              <a:gd name="connsiteX59" fmla="*/ 5296123 w 5495992"/>
                              <a:gd name="connsiteY59" fmla="*/ 2021560 h 2374809"/>
                              <a:gd name="connsiteX60" fmla="*/ 2893858 w 5495992"/>
                              <a:gd name="connsiteY60" fmla="*/ 521476 h 2374809"/>
                              <a:gd name="connsiteX61" fmla="*/ 2934001 w 5495992"/>
                              <a:gd name="connsiteY61" fmla="*/ 533508 h 2374809"/>
                              <a:gd name="connsiteX62" fmla="*/ 2992207 w 5495992"/>
                              <a:gd name="connsiteY62" fmla="*/ 548883 h 2374809"/>
                              <a:gd name="connsiteX63" fmla="*/ 3082925 w 5495992"/>
                              <a:gd name="connsiteY63" fmla="*/ 568937 h 2374809"/>
                              <a:gd name="connsiteX64" fmla="*/ 3104357 w 5495992"/>
                              <a:gd name="connsiteY64" fmla="*/ 557573 h 2374809"/>
                              <a:gd name="connsiteX65" fmla="*/ 3067623 w 5495992"/>
                              <a:gd name="connsiteY65" fmla="*/ 534177 h 2374809"/>
                              <a:gd name="connsiteX66" fmla="*/ 3021878 w 5495992"/>
                              <a:gd name="connsiteY66" fmla="*/ 529497 h 2374809"/>
                              <a:gd name="connsiteX67" fmla="*/ 3034055 w 5495992"/>
                              <a:gd name="connsiteY67" fmla="*/ 521743 h 2374809"/>
                              <a:gd name="connsiteX68" fmla="*/ 3030930 w 5495992"/>
                              <a:gd name="connsiteY68" fmla="*/ 506803 h 2374809"/>
                              <a:gd name="connsiteX69" fmla="*/ 3013030 w 5495992"/>
                              <a:gd name="connsiteY69" fmla="*/ 505366 h 2374809"/>
                              <a:gd name="connsiteX70" fmla="*/ 2979786 w 5495992"/>
                              <a:gd name="connsiteY70" fmla="*/ 497244 h 2374809"/>
                              <a:gd name="connsiteX71" fmla="*/ 2959491 w 5495992"/>
                              <a:gd name="connsiteY71" fmla="*/ 506736 h 2374809"/>
                              <a:gd name="connsiteX72" fmla="*/ 2935625 w 5495992"/>
                              <a:gd name="connsiteY72" fmla="*/ 503159 h 2374809"/>
                              <a:gd name="connsiteX73" fmla="*/ 2908998 w 5495992"/>
                              <a:gd name="connsiteY73" fmla="*/ 514724 h 2374809"/>
                              <a:gd name="connsiteX74" fmla="*/ 2893695 w 5495992"/>
                              <a:gd name="connsiteY74" fmla="*/ 521643 h 2374809"/>
                              <a:gd name="connsiteX75" fmla="*/ 4121901 w 5495992"/>
                              <a:gd name="connsiteY75" fmla="*/ 1134598 h 2374809"/>
                              <a:gd name="connsiteX76" fmla="*/ 4162815 w 5495992"/>
                              <a:gd name="connsiteY76" fmla="*/ 1168255 h 2374809"/>
                              <a:gd name="connsiteX77" fmla="*/ 4201457 w 5495992"/>
                              <a:gd name="connsiteY77" fmla="*/ 1186271 h 2374809"/>
                              <a:gd name="connsiteX78" fmla="*/ 4252803 w 5495992"/>
                              <a:gd name="connsiteY78" fmla="*/ 1208163 h 2374809"/>
                              <a:gd name="connsiteX79" fmla="*/ 4288604 w 5495992"/>
                              <a:gd name="connsiteY79" fmla="*/ 1218658 h 2374809"/>
                              <a:gd name="connsiteX80" fmla="*/ 4298953 w 5495992"/>
                              <a:gd name="connsiteY80" fmla="*/ 1206258 h 2374809"/>
                              <a:gd name="connsiteX81" fmla="*/ 4300131 w 5495992"/>
                              <a:gd name="connsiteY81" fmla="*/ 1223338 h 2374809"/>
                              <a:gd name="connsiteX82" fmla="*/ 4347337 w 5495992"/>
                              <a:gd name="connsiteY82" fmla="*/ 1255458 h 2374809"/>
                              <a:gd name="connsiteX83" fmla="*/ 4366048 w 5495992"/>
                              <a:gd name="connsiteY83" fmla="*/ 1249876 h 2374809"/>
                              <a:gd name="connsiteX84" fmla="*/ 4361015 w 5495992"/>
                              <a:gd name="connsiteY84" fmla="*/ 1227449 h 2374809"/>
                              <a:gd name="connsiteX85" fmla="*/ 4302770 w 5495992"/>
                              <a:gd name="connsiteY85" fmla="*/ 1190683 h 2374809"/>
                              <a:gd name="connsiteX86" fmla="*/ 4256619 w 5495992"/>
                              <a:gd name="connsiteY86" fmla="*/ 1170094 h 2374809"/>
                              <a:gd name="connsiteX87" fmla="*/ 4234984 w 5495992"/>
                              <a:gd name="connsiteY87" fmla="*/ 1162172 h 2374809"/>
                              <a:gd name="connsiteX88" fmla="*/ 4171948 w 5495992"/>
                              <a:gd name="connsiteY88" fmla="*/ 1118722 h 2374809"/>
                              <a:gd name="connsiteX89" fmla="*/ 4121901 w 5495992"/>
                              <a:gd name="connsiteY89" fmla="*/ 1134398 h 2374809"/>
                              <a:gd name="connsiteX90" fmla="*/ 4277806 w 5495992"/>
                              <a:gd name="connsiteY90" fmla="*/ 1290084 h 2374809"/>
                              <a:gd name="connsiteX91" fmla="*/ 4263235 w 5495992"/>
                              <a:gd name="connsiteY91" fmla="*/ 1260003 h 2374809"/>
                              <a:gd name="connsiteX92" fmla="*/ 4192405 w 5495992"/>
                              <a:gd name="connsiteY92" fmla="*/ 1232997 h 2374809"/>
                              <a:gd name="connsiteX93" fmla="*/ 4277644 w 5495992"/>
                              <a:gd name="connsiteY93" fmla="*/ 1289817 h 2374809"/>
                              <a:gd name="connsiteX94" fmla="*/ 4224391 w 5495992"/>
                              <a:gd name="connsiteY94" fmla="*/ 1222937 h 2374809"/>
                              <a:gd name="connsiteX95" fmla="*/ 4190052 w 5495992"/>
                              <a:gd name="connsiteY95" fmla="*/ 1212909 h 2374809"/>
                              <a:gd name="connsiteX96" fmla="*/ 4224391 w 5495992"/>
                              <a:gd name="connsiteY96" fmla="*/ 1222937 h 2374809"/>
                              <a:gd name="connsiteX97" fmla="*/ 4408505 w 5495992"/>
                              <a:gd name="connsiteY97" fmla="*/ 1282263 h 2374809"/>
                              <a:gd name="connsiteX98" fmla="*/ 4436594 w 5495992"/>
                              <a:gd name="connsiteY98" fmla="*/ 1306663 h 2374809"/>
                              <a:gd name="connsiteX99" fmla="*/ 4495612 w 5495992"/>
                              <a:gd name="connsiteY99" fmla="*/ 1347372 h 2374809"/>
                              <a:gd name="connsiteX100" fmla="*/ 4540706 w 5495992"/>
                              <a:gd name="connsiteY100" fmla="*/ 1353222 h 2374809"/>
                              <a:gd name="connsiteX101" fmla="*/ 4505231 w 5495992"/>
                              <a:gd name="connsiteY101" fmla="*/ 1333435 h 2374809"/>
                              <a:gd name="connsiteX102" fmla="*/ 4488670 w 5495992"/>
                              <a:gd name="connsiteY102" fmla="*/ 1318728 h 2374809"/>
                              <a:gd name="connsiteX103" fmla="*/ 4462733 w 5495992"/>
                              <a:gd name="connsiteY103" fmla="*/ 1305560 h 2374809"/>
                              <a:gd name="connsiteX104" fmla="*/ 4439962 w 5495992"/>
                              <a:gd name="connsiteY104" fmla="*/ 1288614 h 2374809"/>
                              <a:gd name="connsiteX105" fmla="*/ 4429450 w 5495992"/>
                              <a:gd name="connsiteY105" fmla="*/ 1278587 h 2374809"/>
                              <a:gd name="connsiteX106" fmla="*/ 4408505 w 5495992"/>
                              <a:gd name="connsiteY106" fmla="*/ 1282330 h 2374809"/>
                              <a:gd name="connsiteX107" fmla="*/ 4408505 w 5495992"/>
                              <a:gd name="connsiteY107" fmla="*/ 1282263 h 2374809"/>
                              <a:gd name="connsiteX108" fmla="*/ 1056440 w 5495992"/>
                              <a:gd name="connsiteY108" fmla="*/ 10797 h 2374809"/>
                              <a:gd name="connsiteX109" fmla="*/ 1100359 w 5495992"/>
                              <a:gd name="connsiteY109" fmla="*/ 11699 h 2374809"/>
                              <a:gd name="connsiteX110" fmla="*/ 1120329 w 5495992"/>
                              <a:gd name="connsiteY110" fmla="*/ 12200 h 2374809"/>
                              <a:gd name="connsiteX111" fmla="*/ 1060053 w 5495992"/>
                              <a:gd name="connsiteY111" fmla="*/ 2574 h 2374809"/>
                              <a:gd name="connsiteX112" fmla="*/ 998113 w 5495992"/>
                              <a:gd name="connsiteY112" fmla="*/ 302 h 2374809"/>
                              <a:gd name="connsiteX113" fmla="*/ 1006962 w 5495992"/>
                              <a:gd name="connsiteY113" fmla="*/ 7889 h 2374809"/>
                              <a:gd name="connsiteX114" fmla="*/ 1056440 w 5495992"/>
                              <a:gd name="connsiteY114" fmla="*/ 10797 h 2374809"/>
                              <a:gd name="connsiteX115" fmla="*/ 3890662 w 5495992"/>
                              <a:gd name="connsiteY115" fmla="*/ 1777668 h 2374809"/>
                              <a:gd name="connsiteX116" fmla="*/ 3910956 w 5495992"/>
                              <a:gd name="connsiteY116" fmla="*/ 1745247 h 2374809"/>
                              <a:gd name="connsiteX117" fmla="*/ 3907872 w 5495992"/>
                              <a:gd name="connsiteY117" fmla="*/ 1725193 h 2374809"/>
                              <a:gd name="connsiteX118" fmla="*/ 3901580 w 5495992"/>
                              <a:gd name="connsiteY118" fmla="*/ 1718241 h 2374809"/>
                              <a:gd name="connsiteX119" fmla="*/ 3888388 w 5495992"/>
                              <a:gd name="connsiteY119" fmla="*/ 1727165 h 2374809"/>
                              <a:gd name="connsiteX120" fmla="*/ 3870326 w 5495992"/>
                              <a:gd name="connsiteY120" fmla="*/ 1726463 h 2374809"/>
                              <a:gd name="connsiteX121" fmla="*/ 3849259 w 5495992"/>
                              <a:gd name="connsiteY121" fmla="*/ 1762995 h 2374809"/>
                              <a:gd name="connsiteX122" fmla="*/ 3810943 w 5495992"/>
                              <a:gd name="connsiteY122" fmla="*/ 1815069 h 2374809"/>
                              <a:gd name="connsiteX123" fmla="*/ 3800592 w 5495992"/>
                              <a:gd name="connsiteY123" fmla="*/ 1834053 h 2374809"/>
                              <a:gd name="connsiteX124" fmla="*/ 3771449 w 5495992"/>
                              <a:gd name="connsiteY124" fmla="*/ 1858452 h 2374809"/>
                              <a:gd name="connsiteX125" fmla="*/ 3779567 w 5495992"/>
                              <a:gd name="connsiteY125" fmla="*/ 1864803 h 2374809"/>
                              <a:gd name="connsiteX126" fmla="*/ 3806681 w 5495992"/>
                              <a:gd name="connsiteY126" fmla="*/ 1882217 h 2374809"/>
                              <a:gd name="connsiteX127" fmla="*/ 3818655 w 5495992"/>
                              <a:gd name="connsiteY127" fmla="*/ 1876134 h 2374809"/>
                              <a:gd name="connsiteX128" fmla="*/ 3808386 w 5495992"/>
                              <a:gd name="connsiteY128" fmla="*/ 1863132 h 2374809"/>
                              <a:gd name="connsiteX129" fmla="*/ 3810131 w 5495992"/>
                              <a:gd name="connsiteY129" fmla="*/ 1841874 h 2374809"/>
                              <a:gd name="connsiteX130" fmla="*/ 3852303 w 5495992"/>
                              <a:gd name="connsiteY130" fmla="*/ 1826232 h 2374809"/>
                              <a:gd name="connsiteX131" fmla="*/ 3881610 w 5495992"/>
                              <a:gd name="connsiteY131" fmla="*/ 1844749 h 2374809"/>
                              <a:gd name="connsiteX132" fmla="*/ 3890621 w 5495992"/>
                              <a:gd name="connsiteY132" fmla="*/ 1777601 h 2374809"/>
                              <a:gd name="connsiteX133" fmla="*/ 3890662 w 5495992"/>
                              <a:gd name="connsiteY133" fmla="*/ 1777668 h 2374809"/>
                              <a:gd name="connsiteX134" fmla="*/ 1160594 w 5495992"/>
                              <a:gd name="connsiteY134" fmla="*/ 19788 h 2374809"/>
                              <a:gd name="connsiteX135" fmla="*/ 1137092 w 5495992"/>
                              <a:gd name="connsiteY135" fmla="*/ 21358 h 2374809"/>
                              <a:gd name="connsiteX136" fmla="*/ 1093865 w 5495992"/>
                              <a:gd name="connsiteY136" fmla="*/ 22963 h 2374809"/>
                              <a:gd name="connsiteX137" fmla="*/ 1128772 w 5495992"/>
                              <a:gd name="connsiteY137" fmla="*/ 36901 h 2374809"/>
                              <a:gd name="connsiteX138" fmla="*/ 1138797 w 5495992"/>
                              <a:gd name="connsiteY138" fmla="*/ 33825 h 2374809"/>
                              <a:gd name="connsiteX139" fmla="*/ 1161000 w 5495992"/>
                              <a:gd name="connsiteY139" fmla="*/ 35630 h 2374809"/>
                              <a:gd name="connsiteX140" fmla="*/ 1170539 w 5495992"/>
                              <a:gd name="connsiteY140" fmla="*/ 30316 h 2374809"/>
                              <a:gd name="connsiteX141" fmla="*/ 1209261 w 5495992"/>
                              <a:gd name="connsiteY141" fmla="*/ 30082 h 2374809"/>
                              <a:gd name="connsiteX142" fmla="*/ 1205202 w 5495992"/>
                              <a:gd name="connsiteY142" fmla="*/ 15877 h 2374809"/>
                              <a:gd name="connsiteX143" fmla="*/ 1160553 w 5495992"/>
                              <a:gd name="connsiteY143" fmla="*/ 19788 h 2374809"/>
                              <a:gd name="connsiteX144" fmla="*/ 1035131 w 5495992"/>
                              <a:gd name="connsiteY144" fmla="*/ 415824 h 2374809"/>
                              <a:gd name="connsiteX145" fmla="*/ 1082134 w 5495992"/>
                              <a:gd name="connsiteY145" fmla="*/ 421138 h 2374809"/>
                              <a:gd name="connsiteX146" fmla="*/ 1103159 w 5495992"/>
                              <a:gd name="connsiteY146" fmla="*/ 414453 h 2374809"/>
                              <a:gd name="connsiteX147" fmla="*/ 1051205 w 5495992"/>
                              <a:gd name="connsiteY147" fmla="*/ 400750 h 2374809"/>
                              <a:gd name="connsiteX148" fmla="*/ 1034969 w 5495992"/>
                              <a:gd name="connsiteY148" fmla="*/ 415824 h 2374809"/>
                              <a:gd name="connsiteX149" fmla="*/ 1035131 w 5495992"/>
                              <a:gd name="connsiteY149" fmla="*/ 415824 h 2374809"/>
                              <a:gd name="connsiteX150" fmla="*/ 5491440 w 5495992"/>
                              <a:gd name="connsiteY150" fmla="*/ 2368263 h 2374809"/>
                              <a:gd name="connsiteX151" fmla="*/ 5465707 w 5495992"/>
                              <a:gd name="connsiteY151" fmla="*/ 2320066 h 2374809"/>
                              <a:gd name="connsiteX152" fmla="*/ 5446466 w 5495992"/>
                              <a:gd name="connsiteY152" fmla="*/ 2297839 h 2374809"/>
                              <a:gd name="connsiteX153" fmla="*/ 5428729 w 5495992"/>
                              <a:gd name="connsiteY153" fmla="*/ 2285640 h 2374809"/>
                              <a:gd name="connsiteX154" fmla="*/ 5419515 w 5495992"/>
                              <a:gd name="connsiteY154" fmla="*/ 2269462 h 2374809"/>
                              <a:gd name="connsiteX155" fmla="*/ 5394309 w 5495992"/>
                              <a:gd name="connsiteY155" fmla="*/ 2250010 h 2374809"/>
                              <a:gd name="connsiteX156" fmla="*/ 5395973 w 5495992"/>
                              <a:gd name="connsiteY156" fmla="*/ 2264215 h 2374809"/>
                              <a:gd name="connsiteX157" fmla="*/ 5381604 w 5495992"/>
                              <a:gd name="connsiteY157" fmla="*/ 2269864 h 2374809"/>
                              <a:gd name="connsiteX158" fmla="*/ 5368981 w 5495992"/>
                              <a:gd name="connsiteY158" fmla="*/ 2249007 h 2374809"/>
                              <a:gd name="connsiteX159" fmla="*/ 5384446 w 5495992"/>
                              <a:gd name="connsiteY159" fmla="*/ 2236273 h 2374809"/>
                              <a:gd name="connsiteX160" fmla="*/ 5379169 w 5495992"/>
                              <a:gd name="connsiteY160" fmla="*/ 2219327 h 2374809"/>
                              <a:gd name="connsiteX161" fmla="*/ 5356967 w 5495992"/>
                              <a:gd name="connsiteY161" fmla="*/ 2186338 h 2374809"/>
                              <a:gd name="connsiteX162" fmla="*/ 5310451 w 5495992"/>
                              <a:gd name="connsiteY162" fmla="*/ 2124772 h 2374809"/>
                              <a:gd name="connsiteX163" fmla="*/ 5283864 w 5495992"/>
                              <a:gd name="connsiteY163" fmla="*/ 2095292 h 2374809"/>
                              <a:gd name="connsiteX164" fmla="*/ 5264666 w 5495992"/>
                              <a:gd name="connsiteY164" fmla="*/ 2066080 h 2374809"/>
                              <a:gd name="connsiteX165" fmla="*/ 5207637 w 5495992"/>
                              <a:gd name="connsiteY165" fmla="*/ 2007288 h 2374809"/>
                              <a:gd name="connsiteX166" fmla="*/ 5193674 w 5495992"/>
                              <a:gd name="connsiteY166" fmla="*/ 1989373 h 2374809"/>
                              <a:gd name="connsiteX167" fmla="*/ 5158158 w 5495992"/>
                              <a:gd name="connsiteY167" fmla="*/ 1964071 h 2374809"/>
                              <a:gd name="connsiteX168" fmla="*/ 5127635 w 5495992"/>
                              <a:gd name="connsiteY168" fmla="*/ 1940675 h 2374809"/>
                              <a:gd name="connsiteX169" fmla="*/ 5097394 w 5495992"/>
                              <a:gd name="connsiteY169" fmla="*/ 1922158 h 2374809"/>
                              <a:gd name="connsiteX170" fmla="*/ 5044628 w 5495992"/>
                              <a:gd name="connsiteY170" fmla="*/ 1873493 h 2374809"/>
                              <a:gd name="connsiteX171" fmla="*/ 5021979 w 5495992"/>
                              <a:gd name="connsiteY171" fmla="*/ 1873226 h 2374809"/>
                              <a:gd name="connsiteX172" fmla="*/ 5025551 w 5495992"/>
                              <a:gd name="connsiteY172" fmla="*/ 1893280 h 2374809"/>
                              <a:gd name="connsiteX173" fmla="*/ 4972460 w 5495992"/>
                              <a:gd name="connsiteY173" fmla="*/ 1867443 h 2374809"/>
                              <a:gd name="connsiteX174" fmla="*/ 4952977 w 5495992"/>
                              <a:gd name="connsiteY174" fmla="*/ 1843846 h 2374809"/>
                              <a:gd name="connsiteX175" fmla="*/ 4969659 w 5495992"/>
                              <a:gd name="connsiteY175" fmla="*/ 1845718 h 2374809"/>
                              <a:gd name="connsiteX176" fmla="*/ 4995718 w 5495992"/>
                              <a:gd name="connsiteY176" fmla="*/ 1854442 h 2374809"/>
                              <a:gd name="connsiteX177" fmla="*/ 4964950 w 5495992"/>
                              <a:gd name="connsiteY177" fmla="*/ 1825029 h 2374809"/>
                              <a:gd name="connsiteX178" fmla="*/ 4925619 w 5495992"/>
                              <a:gd name="connsiteY178" fmla="*/ 1816439 h 2374809"/>
                              <a:gd name="connsiteX179" fmla="*/ 4895258 w 5495992"/>
                              <a:gd name="connsiteY179" fmla="*/ 1801298 h 2374809"/>
                              <a:gd name="connsiteX180" fmla="*/ 4845982 w 5495992"/>
                              <a:gd name="connsiteY180" fmla="*/ 1760455 h 2374809"/>
                              <a:gd name="connsiteX181" fmla="*/ 4788385 w 5495992"/>
                              <a:gd name="connsiteY181" fmla="*/ 1724591 h 2374809"/>
                              <a:gd name="connsiteX182" fmla="*/ 4743249 w 5495992"/>
                              <a:gd name="connsiteY182" fmla="*/ 1716135 h 2374809"/>
                              <a:gd name="connsiteX183" fmla="*/ 4739474 w 5495992"/>
                              <a:gd name="connsiteY183" fmla="*/ 1717606 h 2374809"/>
                              <a:gd name="connsiteX184" fmla="*/ 4741422 w 5495992"/>
                              <a:gd name="connsiteY184" fmla="*/ 1703133 h 2374809"/>
                              <a:gd name="connsiteX185" fmla="*/ 4731641 w 5495992"/>
                              <a:gd name="connsiteY185" fmla="*/ 1686421 h 2374809"/>
                              <a:gd name="connsiteX186" fmla="*/ 4710858 w 5495992"/>
                              <a:gd name="connsiteY186" fmla="*/ 1668874 h 2374809"/>
                              <a:gd name="connsiteX187" fmla="*/ 4717353 w 5495992"/>
                              <a:gd name="connsiteY187" fmla="*/ 1663092 h 2374809"/>
                              <a:gd name="connsiteX188" fmla="*/ 4728312 w 5495992"/>
                              <a:gd name="connsiteY188" fmla="*/ 1659549 h 2374809"/>
                              <a:gd name="connsiteX189" fmla="*/ 4586004 w 5495992"/>
                              <a:gd name="connsiteY189" fmla="*/ 1549251 h 2374809"/>
                              <a:gd name="connsiteX190" fmla="*/ 4505353 w 5495992"/>
                              <a:gd name="connsiteY190" fmla="*/ 1506369 h 2374809"/>
                              <a:gd name="connsiteX191" fmla="*/ 4502958 w 5495992"/>
                              <a:gd name="connsiteY191" fmla="*/ 1494871 h 2374809"/>
                              <a:gd name="connsiteX192" fmla="*/ 4475559 w 5495992"/>
                              <a:gd name="connsiteY192" fmla="*/ 1470071 h 2374809"/>
                              <a:gd name="connsiteX193" fmla="*/ 4462774 w 5495992"/>
                              <a:gd name="connsiteY193" fmla="*/ 1466294 h 2374809"/>
                              <a:gd name="connsiteX194" fmla="*/ 4458390 w 5495992"/>
                              <a:gd name="connsiteY194" fmla="*/ 1457169 h 2374809"/>
                              <a:gd name="connsiteX195" fmla="*/ 4429977 w 5495992"/>
                              <a:gd name="connsiteY195" fmla="*/ 1433772 h 2374809"/>
                              <a:gd name="connsiteX196" fmla="*/ 4425594 w 5495992"/>
                              <a:gd name="connsiteY196" fmla="*/ 1424848 h 2374809"/>
                              <a:gd name="connsiteX197" fmla="*/ 4455630 w 5495992"/>
                              <a:gd name="connsiteY197" fmla="*/ 1436847 h 2374809"/>
                              <a:gd name="connsiteX198" fmla="*/ 4412930 w 5495992"/>
                              <a:gd name="connsiteY198" fmla="*/ 1400382 h 2374809"/>
                              <a:gd name="connsiteX199" fmla="*/ 4358134 w 5495992"/>
                              <a:gd name="connsiteY199" fmla="*/ 1370100 h 2374809"/>
                              <a:gd name="connsiteX200" fmla="*/ 4331791 w 5495992"/>
                              <a:gd name="connsiteY200" fmla="*/ 1374646 h 2374809"/>
                              <a:gd name="connsiteX201" fmla="*/ 4298426 w 5495992"/>
                              <a:gd name="connsiteY201" fmla="*/ 1357299 h 2374809"/>
                              <a:gd name="connsiteX202" fmla="*/ 4313200 w 5495992"/>
                              <a:gd name="connsiteY202" fmla="*/ 1348944 h 2374809"/>
                              <a:gd name="connsiteX203" fmla="*/ 4304027 w 5495992"/>
                              <a:gd name="connsiteY203" fmla="*/ 1335908 h 2374809"/>
                              <a:gd name="connsiteX204" fmla="*/ 4343116 w 5495992"/>
                              <a:gd name="connsiteY204" fmla="*/ 1358569 h 2374809"/>
                              <a:gd name="connsiteX205" fmla="*/ 4338813 w 5495992"/>
                              <a:gd name="connsiteY205" fmla="*/ 1350080 h 2374809"/>
                              <a:gd name="connsiteX206" fmla="*/ 4295260 w 5495992"/>
                              <a:gd name="connsiteY206" fmla="*/ 1321202 h 2374809"/>
                              <a:gd name="connsiteX207" fmla="*/ 4211158 w 5495992"/>
                              <a:gd name="connsiteY207" fmla="*/ 1270398 h 2374809"/>
                              <a:gd name="connsiteX208" fmla="*/ 4182745 w 5495992"/>
                              <a:gd name="connsiteY208" fmla="*/ 1258232 h 2374809"/>
                              <a:gd name="connsiteX209" fmla="*/ 4152708 w 5495992"/>
                              <a:gd name="connsiteY209" fmla="*/ 1252650 h 2374809"/>
                              <a:gd name="connsiteX210" fmla="*/ 4116543 w 5495992"/>
                              <a:gd name="connsiteY210" fmla="*/ 1243793 h 2374809"/>
                              <a:gd name="connsiteX211" fmla="*/ 4142805 w 5495992"/>
                              <a:gd name="connsiteY211" fmla="*/ 1261407 h 2374809"/>
                              <a:gd name="connsiteX212" fmla="*/ 4126001 w 5495992"/>
                              <a:gd name="connsiteY212" fmla="*/ 1261207 h 2374809"/>
                              <a:gd name="connsiteX213" fmla="*/ 4128152 w 5495992"/>
                              <a:gd name="connsiteY213" fmla="*/ 1278854 h 2374809"/>
                              <a:gd name="connsiteX214" fmla="*/ 4101200 w 5495992"/>
                              <a:gd name="connsiteY214" fmla="*/ 1261507 h 2374809"/>
                              <a:gd name="connsiteX215" fmla="*/ 4058337 w 5495992"/>
                              <a:gd name="connsiteY215" fmla="*/ 1244160 h 2374809"/>
                              <a:gd name="connsiteX216" fmla="*/ 4074168 w 5495992"/>
                              <a:gd name="connsiteY216" fmla="*/ 1257296 h 2374809"/>
                              <a:gd name="connsiteX217" fmla="*/ 4049408 w 5495992"/>
                              <a:gd name="connsiteY217" fmla="*/ 1247269 h 2374809"/>
                              <a:gd name="connsiteX218" fmla="*/ 4039544 w 5495992"/>
                              <a:gd name="connsiteY218" fmla="*/ 1234568 h 2374809"/>
                              <a:gd name="connsiteX219" fmla="*/ 4006342 w 5495992"/>
                              <a:gd name="connsiteY219" fmla="*/ 1214180 h 2374809"/>
                              <a:gd name="connsiteX220" fmla="*/ 3944930 w 5495992"/>
                              <a:gd name="connsiteY220" fmla="*/ 1190783 h 2374809"/>
                              <a:gd name="connsiteX221" fmla="*/ 3913148 w 5495992"/>
                              <a:gd name="connsiteY221" fmla="*/ 1166818 h 2374809"/>
                              <a:gd name="connsiteX222" fmla="*/ 3892854 w 5495992"/>
                              <a:gd name="connsiteY222" fmla="*/ 1153917 h 2374809"/>
                              <a:gd name="connsiteX223" fmla="*/ 3873330 w 5495992"/>
                              <a:gd name="connsiteY223" fmla="*/ 1160902 h 2374809"/>
                              <a:gd name="connsiteX224" fmla="*/ 3851005 w 5495992"/>
                              <a:gd name="connsiteY224" fmla="*/ 1161404 h 2374809"/>
                              <a:gd name="connsiteX225" fmla="*/ 3812648 w 5495992"/>
                              <a:gd name="connsiteY225" fmla="*/ 1147032 h 2374809"/>
                              <a:gd name="connsiteX226" fmla="*/ 3784235 w 5495992"/>
                              <a:gd name="connsiteY226" fmla="*/ 1110533 h 2374809"/>
                              <a:gd name="connsiteX227" fmla="*/ 3763940 w 5495992"/>
                              <a:gd name="connsiteY227" fmla="*/ 1078413 h 2374809"/>
                              <a:gd name="connsiteX228" fmla="*/ 3803880 w 5495992"/>
                              <a:gd name="connsiteY228" fmla="*/ 1097932 h 2374809"/>
                              <a:gd name="connsiteX229" fmla="*/ 3795762 w 5495992"/>
                              <a:gd name="connsiteY229" fmla="*/ 1078146 h 2374809"/>
                              <a:gd name="connsiteX230" fmla="*/ 3801486 w 5495992"/>
                              <a:gd name="connsiteY230" fmla="*/ 1068553 h 2374809"/>
                              <a:gd name="connsiteX231" fmla="*/ 3807858 w 5495992"/>
                              <a:gd name="connsiteY231" fmla="*/ 1065545 h 2374809"/>
                              <a:gd name="connsiteX232" fmla="*/ 3793530 w 5495992"/>
                              <a:gd name="connsiteY232" fmla="*/ 1052175 h 2374809"/>
                              <a:gd name="connsiteX233" fmla="*/ 3772545 w 5495992"/>
                              <a:gd name="connsiteY233" fmla="*/ 1032556 h 2374809"/>
                              <a:gd name="connsiteX234" fmla="*/ 3739667 w 5495992"/>
                              <a:gd name="connsiteY234" fmla="*/ 1020523 h 2374809"/>
                              <a:gd name="connsiteX235" fmla="*/ 3725258 w 5495992"/>
                              <a:gd name="connsiteY235" fmla="*/ 1011165 h 2374809"/>
                              <a:gd name="connsiteX236" fmla="*/ 3676551 w 5495992"/>
                              <a:gd name="connsiteY236" fmla="*/ 977741 h 2374809"/>
                              <a:gd name="connsiteX237" fmla="*/ 3660315 w 5495992"/>
                              <a:gd name="connsiteY237" fmla="*/ 973195 h 2374809"/>
                              <a:gd name="connsiteX238" fmla="*/ 3629222 w 5495992"/>
                              <a:gd name="connsiteY238" fmla="*/ 972460 h 2374809"/>
                              <a:gd name="connsiteX239" fmla="*/ 3612459 w 5495992"/>
                              <a:gd name="connsiteY239" fmla="*/ 983189 h 2374809"/>
                              <a:gd name="connsiteX240" fmla="*/ 3576172 w 5495992"/>
                              <a:gd name="connsiteY240" fmla="*/ 968516 h 2374809"/>
                              <a:gd name="connsiteX241" fmla="*/ 3526368 w 5495992"/>
                              <a:gd name="connsiteY241" fmla="*/ 944652 h 2374809"/>
                              <a:gd name="connsiteX242" fmla="*/ 3503516 w 5495992"/>
                              <a:gd name="connsiteY242" fmla="*/ 932118 h 2374809"/>
                              <a:gd name="connsiteX243" fmla="*/ 3468406 w 5495992"/>
                              <a:gd name="connsiteY243" fmla="*/ 917144 h 2374809"/>
                              <a:gd name="connsiteX244" fmla="*/ 3480583 w 5495992"/>
                              <a:gd name="connsiteY244" fmla="*/ 908186 h 2374809"/>
                              <a:gd name="connsiteX245" fmla="*/ 3424813 w 5495992"/>
                              <a:gd name="connsiteY245" fmla="*/ 881047 h 2374809"/>
                              <a:gd name="connsiteX246" fmla="*/ 3357230 w 5495992"/>
                              <a:gd name="connsiteY246" fmla="*/ 853171 h 2374809"/>
                              <a:gd name="connsiteX247" fmla="*/ 3304464 w 5495992"/>
                              <a:gd name="connsiteY247" fmla="*/ 836961 h 2374809"/>
                              <a:gd name="connsiteX248" fmla="*/ 3299959 w 5495992"/>
                              <a:gd name="connsiteY248" fmla="*/ 844214 h 2374809"/>
                              <a:gd name="connsiteX249" fmla="*/ 3293220 w 5495992"/>
                              <a:gd name="connsiteY249" fmla="*/ 834187 h 2374809"/>
                              <a:gd name="connsiteX250" fmla="*/ 3283723 w 5495992"/>
                              <a:gd name="connsiteY250" fmla="*/ 816506 h 2374809"/>
                              <a:gd name="connsiteX251" fmla="*/ 3246623 w 5495992"/>
                              <a:gd name="connsiteY251" fmla="*/ 807147 h 2374809"/>
                              <a:gd name="connsiteX252" fmla="*/ 3190123 w 5495992"/>
                              <a:gd name="connsiteY252" fmla="*/ 776865 h 2374809"/>
                              <a:gd name="connsiteX253" fmla="*/ 3169462 w 5495992"/>
                              <a:gd name="connsiteY253" fmla="*/ 778102 h 2374809"/>
                              <a:gd name="connsiteX254" fmla="*/ 3188540 w 5495992"/>
                              <a:gd name="connsiteY254" fmla="*/ 789700 h 2374809"/>
                              <a:gd name="connsiteX255" fmla="*/ 3152943 w 5495992"/>
                              <a:gd name="connsiteY255" fmla="*/ 781177 h 2374809"/>
                              <a:gd name="connsiteX256" fmla="*/ 3120471 w 5495992"/>
                              <a:gd name="connsiteY256" fmla="*/ 777634 h 2374809"/>
                              <a:gd name="connsiteX257" fmla="*/ 3062346 w 5495992"/>
                              <a:gd name="connsiteY257" fmla="*/ 762527 h 2374809"/>
                              <a:gd name="connsiteX258" fmla="*/ 3021472 w 5495992"/>
                              <a:gd name="connsiteY258" fmla="*/ 757613 h 2374809"/>
                              <a:gd name="connsiteX259" fmla="*/ 3059505 w 5495992"/>
                              <a:gd name="connsiteY259" fmla="*/ 751630 h 2374809"/>
                              <a:gd name="connsiteX260" fmla="*/ 3083574 w 5495992"/>
                              <a:gd name="connsiteY260" fmla="*/ 753435 h 2374809"/>
                              <a:gd name="connsiteX261" fmla="*/ 3118523 w 5495992"/>
                              <a:gd name="connsiteY261" fmla="*/ 761758 h 2374809"/>
                              <a:gd name="connsiteX262" fmla="*/ 3171289 w 5495992"/>
                              <a:gd name="connsiteY262" fmla="*/ 766103 h 2374809"/>
                              <a:gd name="connsiteX263" fmla="*/ 3220971 w 5495992"/>
                              <a:gd name="connsiteY263" fmla="*/ 768910 h 2374809"/>
                              <a:gd name="connsiteX264" fmla="*/ 3265620 w 5495992"/>
                              <a:gd name="connsiteY264" fmla="*/ 776130 h 2374809"/>
                              <a:gd name="connsiteX265" fmla="*/ 3313718 w 5495992"/>
                              <a:gd name="connsiteY265" fmla="*/ 781611 h 2374809"/>
                              <a:gd name="connsiteX266" fmla="*/ 3337626 w 5495992"/>
                              <a:gd name="connsiteY266" fmla="*/ 781043 h 2374809"/>
                              <a:gd name="connsiteX267" fmla="*/ 3328209 w 5495992"/>
                              <a:gd name="connsiteY267" fmla="*/ 768075 h 2374809"/>
                              <a:gd name="connsiteX268" fmla="*/ 3351589 w 5495992"/>
                              <a:gd name="connsiteY268" fmla="*/ 771818 h 2374809"/>
                              <a:gd name="connsiteX269" fmla="*/ 3339412 w 5495992"/>
                              <a:gd name="connsiteY269" fmla="*/ 760454 h 2374809"/>
                              <a:gd name="connsiteX270" fmla="*/ 3339980 w 5495992"/>
                              <a:gd name="connsiteY270" fmla="*/ 749892 h 2374809"/>
                              <a:gd name="connsiteX271" fmla="*/ 3322486 w 5495992"/>
                              <a:gd name="connsiteY271" fmla="*/ 742539 h 2374809"/>
                              <a:gd name="connsiteX272" fmla="*/ 3319442 w 5495992"/>
                              <a:gd name="connsiteY272" fmla="*/ 725360 h 2374809"/>
                              <a:gd name="connsiteX273" fmla="*/ 3288837 w 5495992"/>
                              <a:gd name="connsiteY273" fmla="*/ 713661 h 2374809"/>
                              <a:gd name="connsiteX274" fmla="*/ 3239642 w 5495992"/>
                              <a:gd name="connsiteY274" fmla="*/ 690465 h 2374809"/>
                              <a:gd name="connsiteX275" fmla="*/ 3183060 w 5495992"/>
                              <a:gd name="connsiteY275" fmla="*/ 669375 h 2374809"/>
                              <a:gd name="connsiteX276" fmla="*/ 3155702 w 5495992"/>
                              <a:gd name="connsiteY276" fmla="*/ 667871 h 2374809"/>
                              <a:gd name="connsiteX277" fmla="*/ 3121445 w 5495992"/>
                              <a:gd name="connsiteY277" fmla="*/ 657075 h 2374809"/>
                              <a:gd name="connsiteX278" fmla="*/ 3144825 w 5495992"/>
                              <a:gd name="connsiteY278" fmla="*/ 648519 h 2374809"/>
                              <a:gd name="connsiteX279" fmla="*/ 3099080 w 5495992"/>
                              <a:gd name="connsiteY279" fmla="*/ 630236 h 2374809"/>
                              <a:gd name="connsiteX280" fmla="*/ 3084142 w 5495992"/>
                              <a:gd name="connsiteY280" fmla="*/ 622047 h 2374809"/>
                              <a:gd name="connsiteX281" fmla="*/ 3046516 w 5495992"/>
                              <a:gd name="connsiteY281" fmla="*/ 607508 h 2374809"/>
                              <a:gd name="connsiteX282" fmla="*/ 3104235 w 5495992"/>
                              <a:gd name="connsiteY282" fmla="*/ 617836 h 2374809"/>
                              <a:gd name="connsiteX283" fmla="*/ 3068638 w 5495992"/>
                              <a:gd name="connsiteY283" fmla="*/ 594038 h 2374809"/>
                              <a:gd name="connsiteX284" fmla="*/ 3006698 w 5495992"/>
                              <a:gd name="connsiteY284" fmla="*/ 573483 h 2374809"/>
                              <a:gd name="connsiteX285" fmla="*/ 2954986 w 5495992"/>
                              <a:gd name="connsiteY285" fmla="*/ 571277 h 2374809"/>
                              <a:gd name="connsiteX286" fmla="*/ 2917846 w 5495992"/>
                              <a:gd name="connsiteY286" fmla="*/ 575589 h 2374809"/>
                              <a:gd name="connsiteX287" fmla="*/ 2925112 w 5495992"/>
                              <a:gd name="connsiteY287" fmla="*/ 580602 h 2374809"/>
                              <a:gd name="connsiteX288" fmla="*/ 2923245 w 5495992"/>
                              <a:gd name="connsiteY288" fmla="*/ 586117 h 2374809"/>
                              <a:gd name="connsiteX289" fmla="*/ 2902463 w 5495992"/>
                              <a:gd name="connsiteY289" fmla="*/ 582540 h 2374809"/>
                              <a:gd name="connsiteX290" fmla="*/ 2856800 w 5495992"/>
                              <a:gd name="connsiteY290" fmla="*/ 568703 h 2374809"/>
                              <a:gd name="connsiteX291" fmla="*/ 2866866 w 5495992"/>
                              <a:gd name="connsiteY291" fmla="*/ 583978 h 2374809"/>
                              <a:gd name="connsiteX292" fmla="*/ 2814870 w 5495992"/>
                              <a:gd name="connsiteY292" fmla="*/ 565795 h 2374809"/>
                              <a:gd name="connsiteX293" fmla="*/ 2791328 w 5495992"/>
                              <a:gd name="connsiteY293" fmla="*/ 563890 h 2374809"/>
                              <a:gd name="connsiteX294" fmla="*/ 2762509 w 5495992"/>
                              <a:gd name="connsiteY294" fmla="*/ 554130 h 2374809"/>
                              <a:gd name="connsiteX295" fmla="*/ 2769572 w 5495992"/>
                              <a:gd name="connsiteY295" fmla="*/ 545674 h 2374809"/>
                              <a:gd name="connsiteX296" fmla="*/ 2728089 w 5495992"/>
                              <a:gd name="connsiteY296" fmla="*/ 537653 h 2374809"/>
                              <a:gd name="connsiteX297" fmla="*/ 2705805 w 5495992"/>
                              <a:gd name="connsiteY297" fmla="*/ 533675 h 2374809"/>
                              <a:gd name="connsiteX298" fmla="*/ 2672562 w 5495992"/>
                              <a:gd name="connsiteY298" fmla="*/ 525720 h 2374809"/>
                              <a:gd name="connsiteX299" fmla="*/ 2679584 w 5495992"/>
                              <a:gd name="connsiteY299" fmla="*/ 537084 h 2374809"/>
                              <a:gd name="connsiteX300" fmla="*/ 2575106 w 5495992"/>
                              <a:gd name="connsiteY300" fmla="*/ 513989 h 2374809"/>
                              <a:gd name="connsiteX301" fmla="*/ 2550996 w 5495992"/>
                              <a:gd name="connsiteY301" fmla="*/ 512652 h 2374809"/>
                              <a:gd name="connsiteX302" fmla="*/ 2514466 w 5495992"/>
                              <a:gd name="connsiteY302" fmla="*/ 507538 h 2374809"/>
                              <a:gd name="connsiteX303" fmla="*/ 2486053 w 5495992"/>
                              <a:gd name="connsiteY303" fmla="*/ 507538 h 2374809"/>
                              <a:gd name="connsiteX304" fmla="*/ 2459344 w 5495992"/>
                              <a:gd name="connsiteY304" fmla="*/ 499316 h 2374809"/>
                              <a:gd name="connsiteX305" fmla="*/ 2459588 w 5495992"/>
                              <a:gd name="connsiteY305" fmla="*/ 504329 h 2374809"/>
                              <a:gd name="connsiteX306" fmla="*/ 2437832 w 5495992"/>
                              <a:gd name="connsiteY306" fmla="*/ 502591 h 2374809"/>
                              <a:gd name="connsiteX307" fmla="*/ 2447411 w 5495992"/>
                              <a:gd name="connsiteY307" fmla="*/ 511983 h 2374809"/>
                              <a:gd name="connsiteX308" fmla="*/ 2427116 w 5495992"/>
                              <a:gd name="connsiteY308" fmla="*/ 505299 h 2374809"/>
                              <a:gd name="connsiteX309" fmla="*/ 2420662 w 5495992"/>
                              <a:gd name="connsiteY309" fmla="*/ 507839 h 2374809"/>
                              <a:gd name="connsiteX310" fmla="*/ 2447005 w 5495992"/>
                              <a:gd name="connsiteY310" fmla="*/ 519571 h 2374809"/>
                              <a:gd name="connsiteX311" fmla="*/ 2420013 w 5495992"/>
                              <a:gd name="connsiteY311" fmla="*/ 518601 h 2374809"/>
                              <a:gd name="connsiteX312" fmla="*/ 2439780 w 5495992"/>
                              <a:gd name="connsiteY312" fmla="*/ 538655 h 2374809"/>
                              <a:gd name="connsiteX313" fmla="*/ 2416603 w 5495992"/>
                              <a:gd name="connsiteY313" fmla="*/ 533776 h 2374809"/>
                              <a:gd name="connsiteX314" fmla="*/ 2394157 w 5495992"/>
                              <a:gd name="connsiteY314" fmla="*/ 529598 h 2374809"/>
                              <a:gd name="connsiteX315" fmla="*/ 2373376 w 5495992"/>
                              <a:gd name="connsiteY315" fmla="*/ 525954 h 2374809"/>
                              <a:gd name="connsiteX316" fmla="*/ 2311395 w 5495992"/>
                              <a:gd name="connsiteY316" fmla="*/ 511983 h 2374809"/>
                              <a:gd name="connsiteX317" fmla="*/ 2242108 w 5495992"/>
                              <a:gd name="connsiteY317" fmla="*/ 496742 h 2374809"/>
                              <a:gd name="connsiteX318" fmla="*/ 2215360 w 5495992"/>
                              <a:gd name="connsiteY318" fmla="*/ 508608 h 2374809"/>
                              <a:gd name="connsiteX319" fmla="*/ 2223478 w 5495992"/>
                              <a:gd name="connsiteY319" fmla="*/ 530099 h 2374809"/>
                              <a:gd name="connsiteX320" fmla="*/ 2270197 w 5495992"/>
                              <a:gd name="connsiteY320" fmla="*/ 553495 h 2374809"/>
                              <a:gd name="connsiteX321" fmla="*/ 2245599 w 5495992"/>
                              <a:gd name="connsiteY321" fmla="*/ 560481 h 2374809"/>
                              <a:gd name="connsiteX322" fmla="*/ 2195836 w 5495992"/>
                              <a:gd name="connsiteY322" fmla="*/ 531837 h 2374809"/>
                              <a:gd name="connsiteX323" fmla="*/ 2141040 w 5495992"/>
                              <a:gd name="connsiteY323" fmla="*/ 512685 h 2374809"/>
                              <a:gd name="connsiteX324" fmla="*/ 2105564 w 5495992"/>
                              <a:gd name="connsiteY324" fmla="*/ 498079 h 2374809"/>
                              <a:gd name="connsiteX325" fmla="*/ 2084539 w 5495992"/>
                              <a:gd name="connsiteY325" fmla="*/ 499683 h 2374809"/>
                              <a:gd name="connsiteX326" fmla="*/ 2105077 w 5495992"/>
                              <a:gd name="connsiteY326" fmla="*/ 507237 h 2374809"/>
                              <a:gd name="connsiteX327" fmla="*/ 2099517 w 5495992"/>
                              <a:gd name="connsiteY327" fmla="*/ 509376 h 2374809"/>
                              <a:gd name="connsiteX328" fmla="*/ 2119202 w 5495992"/>
                              <a:gd name="connsiteY328" fmla="*/ 518167 h 2374809"/>
                              <a:gd name="connsiteX329" fmla="*/ 2108934 w 5495992"/>
                              <a:gd name="connsiteY329" fmla="*/ 520807 h 2374809"/>
                              <a:gd name="connsiteX330" fmla="*/ 2071550 w 5495992"/>
                              <a:gd name="connsiteY330" fmla="*/ 507137 h 2374809"/>
                              <a:gd name="connsiteX331" fmla="*/ 2050362 w 5495992"/>
                              <a:gd name="connsiteY331" fmla="*/ 512017 h 2374809"/>
                              <a:gd name="connsiteX332" fmla="*/ 2109623 w 5495992"/>
                              <a:gd name="connsiteY332" fmla="*/ 544471 h 2374809"/>
                              <a:gd name="connsiteX333" fmla="*/ 2124438 w 5495992"/>
                              <a:gd name="connsiteY333" fmla="*/ 555167 h 2374809"/>
                              <a:gd name="connsiteX334" fmla="*/ 2101830 w 5495992"/>
                              <a:gd name="connsiteY334" fmla="*/ 551356 h 2374809"/>
                              <a:gd name="connsiteX335" fmla="*/ 2037414 w 5495992"/>
                              <a:gd name="connsiteY335" fmla="*/ 526289 h 2374809"/>
                              <a:gd name="connsiteX336" fmla="*/ 2016307 w 5495992"/>
                              <a:gd name="connsiteY336" fmla="*/ 516529 h 2374809"/>
                              <a:gd name="connsiteX337" fmla="*/ 2020934 w 5495992"/>
                              <a:gd name="connsiteY337" fmla="*/ 511749 h 2374809"/>
                              <a:gd name="connsiteX338" fmla="*/ 2018337 w 5495992"/>
                              <a:gd name="connsiteY338" fmla="*/ 503159 h 2374809"/>
                              <a:gd name="connsiteX339" fmla="*/ 2025400 w 5495992"/>
                              <a:gd name="connsiteY339" fmla="*/ 470672 h 2374809"/>
                              <a:gd name="connsiteX340" fmla="*/ 1999179 w 5495992"/>
                              <a:gd name="connsiteY340" fmla="*/ 490291 h 2374809"/>
                              <a:gd name="connsiteX341" fmla="*/ 1951810 w 5495992"/>
                              <a:gd name="connsiteY341" fmla="*/ 492598 h 2374809"/>
                              <a:gd name="connsiteX342" fmla="*/ 1936670 w 5495992"/>
                              <a:gd name="connsiteY342" fmla="*/ 498046 h 2374809"/>
                              <a:gd name="connsiteX343" fmla="*/ 1952216 w 5495992"/>
                              <a:gd name="connsiteY343" fmla="*/ 511649 h 2374809"/>
                              <a:gd name="connsiteX344" fmla="*/ 1960334 w 5495992"/>
                              <a:gd name="connsiteY344" fmla="*/ 536550 h 2374809"/>
                              <a:gd name="connsiteX345" fmla="*/ 1933788 w 5495992"/>
                              <a:gd name="connsiteY345" fmla="*/ 566631 h 2374809"/>
                              <a:gd name="connsiteX346" fmla="*/ 2002142 w 5495992"/>
                              <a:gd name="connsiteY346" fmla="*/ 582942 h 2374809"/>
                              <a:gd name="connsiteX347" fmla="*/ 2064324 w 5495992"/>
                              <a:gd name="connsiteY347" fmla="*/ 609246 h 2374809"/>
                              <a:gd name="connsiteX348" fmla="*/ 2073052 w 5495992"/>
                              <a:gd name="connsiteY348" fmla="*/ 626994 h 2374809"/>
                              <a:gd name="connsiteX349" fmla="*/ 2054827 w 5495992"/>
                              <a:gd name="connsiteY349" fmla="*/ 630838 h 2374809"/>
                              <a:gd name="connsiteX350" fmla="*/ 2087299 w 5495992"/>
                              <a:gd name="connsiteY350" fmla="*/ 655337 h 2374809"/>
                              <a:gd name="connsiteX351" fmla="*/ 2059982 w 5495992"/>
                              <a:gd name="connsiteY351" fmla="*/ 648652 h 2374809"/>
                              <a:gd name="connsiteX352" fmla="*/ 2039078 w 5495992"/>
                              <a:gd name="connsiteY352" fmla="*/ 632442 h 2374809"/>
                              <a:gd name="connsiteX353" fmla="*/ 2050402 w 5495992"/>
                              <a:gd name="connsiteY353" fmla="*/ 617936 h 2374809"/>
                              <a:gd name="connsiteX354" fmla="*/ 2024060 w 5495992"/>
                              <a:gd name="connsiteY354" fmla="*/ 596010 h 2374809"/>
                              <a:gd name="connsiteX355" fmla="*/ 1956518 w 5495992"/>
                              <a:gd name="connsiteY355" fmla="*/ 593203 h 2374809"/>
                              <a:gd name="connsiteX356" fmla="*/ 1961592 w 5495992"/>
                              <a:gd name="connsiteY356" fmla="*/ 615195 h 2374809"/>
                              <a:gd name="connsiteX357" fmla="*/ 1930988 w 5495992"/>
                              <a:gd name="connsiteY357" fmla="*/ 623518 h 2374809"/>
                              <a:gd name="connsiteX358" fmla="*/ 1906634 w 5495992"/>
                              <a:gd name="connsiteY358" fmla="*/ 631038 h 2374809"/>
                              <a:gd name="connsiteX359" fmla="*/ 1863771 w 5495992"/>
                              <a:gd name="connsiteY359" fmla="*/ 634782 h 2374809"/>
                              <a:gd name="connsiteX360" fmla="*/ 1836535 w 5495992"/>
                              <a:gd name="connsiteY360" fmla="*/ 633445 h 2374809"/>
                              <a:gd name="connsiteX361" fmla="*/ 1783769 w 5495992"/>
                              <a:gd name="connsiteY361" fmla="*/ 621345 h 2374809"/>
                              <a:gd name="connsiteX362" fmla="*/ 1771267 w 5495992"/>
                              <a:gd name="connsiteY362" fmla="*/ 614661 h 2374809"/>
                              <a:gd name="connsiteX363" fmla="*/ 1751216 w 5495992"/>
                              <a:gd name="connsiteY363" fmla="*/ 609814 h 2374809"/>
                              <a:gd name="connsiteX364" fmla="*/ 1768101 w 5495992"/>
                              <a:gd name="connsiteY364" fmla="*/ 609279 h 2374809"/>
                              <a:gd name="connsiteX365" fmla="*/ 1797001 w 5495992"/>
                              <a:gd name="connsiteY365" fmla="*/ 615964 h 2374809"/>
                              <a:gd name="connsiteX366" fmla="*/ 1825414 w 5495992"/>
                              <a:gd name="connsiteY366" fmla="*/ 621178 h 2374809"/>
                              <a:gd name="connsiteX367" fmla="*/ 1845709 w 5495992"/>
                              <a:gd name="connsiteY367" fmla="*/ 616165 h 2374809"/>
                              <a:gd name="connsiteX368" fmla="*/ 1869819 w 5495992"/>
                              <a:gd name="connsiteY368" fmla="*/ 608544 h 2374809"/>
                              <a:gd name="connsiteX369" fmla="*/ 1894741 w 5495992"/>
                              <a:gd name="connsiteY369" fmla="*/ 604834 h 2374809"/>
                              <a:gd name="connsiteX370" fmla="*/ 1910977 w 5495992"/>
                              <a:gd name="connsiteY370" fmla="*/ 590195 h 2374809"/>
                              <a:gd name="connsiteX371" fmla="*/ 1912073 w 5495992"/>
                              <a:gd name="connsiteY371" fmla="*/ 578864 h 2374809"/>
                              <a:gd name="connsiteX372" fmla="*/ 1898313 w 5495992"/>
                              <a:gd name="connsiteY372" fmla="*/ 560381 h 2374809"/>
                              <a:gd name="connsiteX373" fmla="*/ 1905335 w 5495992"/>
                              <a:gd name="connsiteY373" fmla="*/ 539257 h 2374809"/>
                              <a:gd name="connsiteX374" fmla="*/ 1920637 w 5495992"/>
                              <a:gd name="connsiteY374" fmla="*/ 515493 h 2374809"/>
                              <a:gd name="connsiteX375" fmla="*/ 1913899 w 5495992"/>
                              <a:gd name="connsiteY375" fmla="*/ 480532 h 2374809"/>
                              <a:gd name="connsiteX376" fmla="*/ 1928309 w 5495992"/>
                              <a:gd name="connsiteY376" fmla="*/ 449414 h 2374809"/>
                              <a:gd name="connsiteX377" fmla="*/ 1851878 w 5495992"/>
                              <a:gd name="connsiteY377" fmla="*/ 429360 h 2374809"/>
                              <a:gd name="connsiteX378" fmla="*/ 1817458 w 5495992"/>
                              <a:gd name="connsiteY378" fmla="*/ 423645 h 2374809"/>
                              <a:gd name="connsiteX379" fmla="*/ 1786366 w 5495992"/>
                              <a:gd name="connsiteY379" fmla="*/ 440357 h 2374809"/>
                              <a:gd name="connsiteX380" fmla="*/ 1755680 w 5495992"/>
                              <a:gd name="connsiteY380" fmla="*/ 454628 h 2374809"/>
                              <a:gd name="connsiteX381" fmla="*/ 1717932 w 5495992"/>
                              <a:gd name="connsiteY381" fmla="*/ 455665 h 2374809"/>
                              <a:gd name="connsiteX382" fmla="*/ 1719312 w 5495992"/>
                              <a:gd name="connsiteY382" fmla="*/ 471039 h 2374809"/>
                              <a:gd name="connsiteX383" fmla="*/ 1717486 w 5495992"/>
                              <a:gd name="connsiteY383" fmla="*/ 485044 h 2374809"/>
                              <a:gd name="connsiteX384" fmla="*/ 1717242 w 5495992"/>
                              <a:gd name="connsiteY384" fmla="*/ 491027 h 2374809"/>
                              <a:gd name="connsiteX385" fmla="*/ 1700316 w 5495992"/>
                              <a:gd name="connsiteY385" fmla="*/ 495806 h 2374809"/>
                              <a:gd name="connsiteX386" fmla="*/ 1718662 w 5495992"/>
                              <a:gd name="connsiteY386" fmla="*/ 509945 h 2374809"/>
                              <a:gd name="connsiteX387" fmla="*/ 1744437 w 5495992"/>
                              <a:gd name="connsiteY387" fmla="*/ 528796 h 2374809"/>
                              <a:gd name="connsiteX388" fmla="*/ 1765016 w 5495992"/>
                              <a:gd name="connsiteY388" fmla="*/ 546677 h 2374809"/>
                              <a:gd name="connsiteX389" fmla="*/ 1717648 w 5495992"/>
                              <a:gd name="connsiteY389" fmla="*/ 540828 h 2374809"/>
                              <a:gd name="connsiteX390" fmla="*/ 1643693 w 5495992"/>
                              <a:gd name="connsiteY390" fmla="*/ 504764 h 2374809"/>
                              <a:gd name="connsiteX391" fmla="*/ 1564137 w 5495992"/>
                              <a:gd name="connsiteY391" fmla="*/ 473546 h 2374809"/>
                              <a:gd name="connsiteX392" fmla="*/ 1473379 w 5495992"/>
                              <a:gd name="connsiteY392" fmla="*/ 451086 h 2374809"/>
                              <a:gd name="connsiteX393" fmla="*/ 1410749 w 5495992"/>
                              <a:gd name="connsiteY393" fmla="*/ 433171 h 2374809"/>
                              <a:gd name="connsiteX394" fmla="*/ 1469685 w 5495992"/>
                              <a:gd name="connsiteY394" fmla="*/ 461480 h 2374809"/>
                              <a:gd name="connsiteX395" fmla="*/ 1472323 w 5495992"/>
                              <a:gd name="connsiteY395" fmla="*/ 472778 h 2374809"/>
                              <a:gd name="connsiteX396" fmla="*/ 1484297 w 5495992"/>
                              <a:gd name="connsiteY396" fmla="*/ 483841 h 2374809"/>
                              <a:gd name="connsiteX397" fmla="*/ 1452272 w 5495992"/>
                              <a:gd name="connsiteY397" fmla="*/ 486047 h 2374809"/>
                              <a:gd name="connsiteX398" fmla="*/ 1438350 w 5495992"/>
                              <a:gd name="connsiteY398" fmla="*/ 493734 h 2374809"/>
                              <a:gd name="connsiteX399" fmla="*/ 1427066 w 5495992"/>
                              <a:gd name="connsiteY399" fmla="*/ 480365 h 2374809"/>
                              <a:gd name="connsiteX400" fmla="*/ 1404904 w 5495992"/>
                              <a:gd name="connsiteY400" fmla="*/ 468499 h 2374809"/>
                              <a:gd name="connsiteX401" fmla="*/ 1370605 w 5495992"/>
                              <a:gd name="connsiteY401" fmla="*/ 470906 h 2374809"/>
                              <a:gd name="connsiteX402" fmla="*/ 1339514 w 5495992"/>
                              <a:gd name="connsiteY402" fmla="*/ 471441 h 2374809"/>
                              <a:gd name="connsiteX403" fmla="*/ 1277493 w 5495992"/>
                              <a:gd name="connsiteY403" fmla="*/ 464488 h 2374809"/>
                              <a:gd name="connsiteX404" fmla="*/ 1257198 w 5495992"/>
                              <a:gd name="connsiteY404" fmla="*/ 469870 h 2374809"/>
                              <a:gd name="connsiteX405" fmla="*/ 1215837 w 5495992"/>
                              <a:gd name="connsiteY405" fmla="*/ 462784 h 2374809"/>
                              <a:gd name="connsiteX406" fmla="*/ 1227202 w 5495992"/>
                              <a:gd name="connsiteY406" fmla="*/ 458706 h 2374809"/>
                              <a:gd name="connsiteX407" fmla="*/ 1229800 w 5495992"/>
                              <a:gd name="connsiteY407" fmla="*/ 454161 h 2374809"/>
                              <a:gd name="connsiteX408" fmla="*/ 1238527 w 5495992"/>
                              <a:gd name="connsiteY408" fmla="*/ 445537 h 2374809"/>
                              <a:gd name="connsiteX409" fmla="*/ 1191117 w 5495992"/>
                              <a:gd name="connsiteY409" fmla="*/ 443498 h 2374809"/>
                              <a:gd name="connsiteX410" fmla="*/ 1172365 w 5495992"/>
                              <a:gd name="connsiteY410" fmla="*/ 447509 h 2374809"/>
                              <a:gd name="connsiteX411" fmla="*/ 1139000 w 5495992"/>
                              <a:gd name="connsiteY411" fmla="*/ 442730 h 2374809"/>
                              <a:gd name="connsiteX412" fmla="*/ 1098005 w 5495992"/>
                              <a:gd name="connsiteY412" fmla="*/ 443298 h 2374809"/>
                              <a:gd name="connsiteX413" fmla="*/ 1066304 w 5495992"/>
                              <a:gd name="connsiteY413" fmla="*/ 448378 h 2374809"/>
                              <a:gd name="connsiteX414" fmla="*/ 1043696 w 5495992"/>
                              <a:gd name="connsiteY414" fmla="*/ 452255 h 2374809"/>
                              <a:gd name="connsiteX415" fmla="*/ 1003755 w 5495992"/>
                              <a:gd name="connsiteY415" fmla="*/ 455330 h 2374809"/>
                              <a:gd name="connsiteX416" fmla="*/ 993405 w 5495992"/>
                              <a:gd name="connsiteY416" fmla="*/ 469602 h 2374809"/>
                              <a:gd name="connsiteX417" fmla="*/ 955250 w 5495992"/>
                              <a:gd name="connsiteY417" fmla="*/ 466460 h 2374809"/>
                              <a:gd name="connsiteX418" fmla="*/ 927284 w 5495992"/>
                              <a:gd name="connsiteY418" fmla="*/ 458238 h 2374809"/>
                              <a:gd name="connsiteX419" fmla="*/ 910074 w 5495992"/>
                              <a:gd name="connsiteY419" fmla="*/ 441961 h 2374809"/>
                              <a:gd name="connsiteX420" fmla="*/ 939948 w 5495992"/>
                              <a:gd name="connsiteY420" fmla="*/ 436012 h 2374809"/>
                              <a:gd name="connsiteX421" fmla="*/ 971892 w 5495992"/>
                              <a:gd name="connsiteY421" fmla="*/ 437716 h 2374809"/>
                              <a:gd name="connsiteX422" fmla="*/ 952896 w 5495992"/>
                              <a:gd name="connsiteY422" fmla="*/ 420269 h 2374809"/>
                              <a:gd name="connsiteX423" fmla="*/ 915757 w 5495992"/>
                              <a:gd name="connsiteY423" fmla="*/ 409072 h 2374809"/>
                              <a:gd name="connsiteX424" fmla="*/ 866156 w 5495992"/>
                              <a:gd name="connsiteY424" fmla="*/ 401585 h 2374809"/>
                              <a:gd name="connsiteX425" fmla="*/ 871270 w 5495992"/>
                              <a:gd name="connsiteY425" fmla="*/ 408771 h 2374809"/>
                              <a:gd name="connsiteX426" fmla="*/ 860676 w 5495992"/>
                              <a:gd name="connsiteY426" fmla="*/ 444601 h 2374809"/>
                              <a:gd name="connsiteX427" fmla="*/ 884584 w 5495992"/>
                              <a:gd name="connsiteY427" fmla="*/ 455832 h 2374809"/>
                              <a:gd name="connsiteX428" fmla="*/ 872163 w 5495992"/>
                              <a:gd name="connsiteY428" fmla="*/ 471975 h 2374809"/>
                              <a:gd name="connsiteX429" fmla="*/ 855927 w 5495992"/>
                              <a:gd name="connsiteY429" fmla="*/ 472410 h 2374809"/>
                              <a:gd name="connsiteX430" fmla="*/ 846510 w 5495992"/>
                              <a:gd name="connsiteY430" fmla="*/ 466260 h 2374809"/>
                              <a:gd name="connsiteX431" fmla="*/ 825850 w 5495992"/>
                              <a:gd name="connsiteY431" fmla="*/ 461280 h 2374809"/>
                              <a:gd name="connsiteX432" fmla="*/ 789076 w 5495992"/>
                              <a:gd name="connsiteY432" fmla="*/ 461982 h 2374809"/>
                              <a:gd name="connsiteX433" fmla="*/ 751855 w 5495992"/>
                              <a:gd name="connsiteY433" fmla="*/ 465525 h 2374809"/>
                              <a:gd name="connsiteX434" fmla="*/ 717110 w 5495992"/>
                              <a:gd name="connsiteY434" fmla="*/ 475217 h 2374809"/>
                              <a:gd name="connsiteX435" fmla="*/ 733914 w 5495992"/>
                              <a:gd name="connsiteY435" fmla="*/ 498814 h 2374809"/>
                              <a:gd name="connsiteX436" fmla="*/ 689266 w 5495992"/>
                              <a:gd name="connsiteY436" fmla="*/ 495873 h 2374809"/>
                              <a:gd name="connsiteX437" fmla="*/ 654440 w 5495992"/>
                              <a:gd name="connsiteY437" fmla="*/ 489790 h 2374809"/>
                              <a:gd name="connsiteX438" fmla="*/ 619979 w 5495992"/>
                              <a:gd name="connsiteY438" fmla="*/ 475217 h 2374809"/>
                              <a:gd name="connsiteX439" fmla="*/ 600496 w 5495992"/>
                              <a:gd name="connsiteY439" fmla="*/ 480799 h 2374809"/>
                              <a:gd name="connsiteX440" fmla="*/ 606625 w 5495992"/>
                              <a:gd name="connsiteY440" fmla="*/ 493533 h 2374809"/>
                              <a:gd name="connsiteX441" fmla="*/ 644982 w 5495992"/>
                              <a:gd name="connsiteY441" fmla="*/ 508307 h 2374809"/>
                              <a:gd name="connsiteX442" fmla="*/ 606016 w 5495992"/>
                              <a:gd name="connsiteY442" fmla="*/ 510145 h 2374809"/>
                              <a:gd name="connsiteX443" fmla="*/ 588400 w 5495992"/>
                              <a:gd name="connsiteY443" fmla="*/ 506134 h 2374809"/>
                              <a:gd name="connsiteX444" fmla="*/ 557836 w 5495992"/>
                              <a:gd name="connsiteY444" fmla="*/ 494636 h 2374809"/>
                              <a:gd name="connsiteX445" fmla="*/ 540626 w 5495992"/>
                              <a:gd name="connsiteY445" fmla="*/ 486782 h 2374809"/>
                              <a:gd name="connsiteX446" fmla="*/ 534375 w 5495992"/>
                              <a:gd name="connsiteY446" fmla="*/ 470404 h 2374809"/>
                              <a:gd name="connsiteX447" fmla="*/ 536770 w 5495992"/>
                              <a:gd name="connsiteY447" fmla="*/ 459441 h 2374809"/>
                              <a:gd name="connsiteX448" fmla="*/ 535755 w 5495992"/>
                              <a:gd name="connsiteY448" fmla="*/ 443432 h 2374809"/>
                              <a:gd name="connsiteX449" fmla="*/ 508926 w 5495992"/>
                              <a:gd name="connsiteY449" fmla="*/ 436012 h 2374809"/>
                              <a:gd name="connsiteX450" fmla="*/ 489605 w 5495992"/>
                              <a:gd name="connsiteY450" fmla="*/ 426619 h 2374809"/>
                              <a:gd name="connsiteX451" fmla="*/ 463709 w 5495992"/>
                              <a:gd name="connsiteY451" fmla="*/ 413618 h 2374809"/>
                              <a:gd name="connsiteX452" fmla="*/ 449136 w 5495992"/>
                              <a:gd name="connsiteY452" fmla="*/ 405763 h 2374809"/>
                              <a:gd name="connsiteX453" fmla="*/ 462856 w 5495992"/>
                              <a:gd name="connsiteY453" fmla="*/ 406432 h 2374809"/>
                              <a:gd name="connsiteX454" fmla="*/ 486723 w 5495992"/>
                              <a:gd name="connsiteY454" fmla="*/ 416659 h 2374809"/>
                              <a:gd name="connsiteX455" fmla="*/ 550449 w 5495992"/>
                              <a:gd name="connsiteY455" fmla="*/ 431733 h 2374809"/>
                              <a:gd name="connsiteX456" fmla="*/ 680336 w 5495992"/>
                              <a:gd name="connsiteY456" fmla="*/ 455832 h 2374809"/>
                              <a:gd name="connsiteX457" fmla="*/ 773246 w 5495992"/>
                              <a:gd name="connsiteY457" fmla="*/ 440657 h 2374809"/>
                              <a:gd name="connsiteX458" fmla="*/ 763788 w 5495992"/>
                              <a:gd name="connsiteY458" fmla="*/ 418364 h 2374809"/>
                              <a:gd name="connsiteX459" fmla="*/ 722793 w 5495992"/>
                              <a:gd name="connsiteY459" fmla="*/ 401652 h 2374809"/>
                              <a:gd name="connsiteX460" fmla="*/ 690930 w 5495992"/>
                              <a:gd name="connsiteY460" fmla="*/ 390723 h 2374809"/>
                              <a:gd name="connsiteX461" fmla="*/ 645023 w 5495992"/>
                              <a:gd name="connsiteY461" fmla="*/ 373677 h 2374809"/>
                              <a:gd name="connsiteX462" fmla="*/ 582393 w 5495992"/>
                              <a:gd name="connsiteY462" fmla="*/ 353455 h 2374809"/>
                              <a:gd name="connsiteX463" fmla="*/ 564574 w 5495992"/>
                              <a:gd name="connsiteY463" fmla="*/ 350915 h 2374809"/>
                              <a:gd name="connsiteX464" fmla="*/ 541641 w 5495992"/>
                              <a:gd name="connsiteY464" fmla="*/ 345935 h 2374809"/>
                              <a:gd name="connsiteX465" fmla="*/ 515622 w 5495992"/>
                              <a:gd name="connsiteY465" fmla="*/ 346603 h 2374809"/>
                              <a:gd name="connsiteX466" fmla="*/ 488468 w 5495992"/>
                              <a:gd name="connsiteY466" fmla="*/ 342593 h 2374809"/>
                              <a:gd name="connsiteX467" fmla="*/ 484409 w 5495992"/>
                              <a:gd name="connsiteY467" fmla="*/ 335273 h 2374809"/>
                              <a:gd name="connsiteX468" fmla="*/ 463505 w 5495992"/>
                              <a:gd name="connsiteY468" fmla="*/ 324477 h 2374809"/>
                              <a:gd name="connsiteX469" fmla="*/ 423565 w 5495992"/>
                              <a:gd name="connsiteY469" fmla="*/ 324678 h 2374809"/>
                              <a:gd name="connsiteX470" fmla="*/ 387318 w 5495992"/>
                              <a:gd name="connsiteY470" fmla="*/ 332332 h 2374809"/>
                              <a:gd name="connsiteX471" fmla="*/ 359433 w 5495992"/>
                              <a:gd name="connsiteY471" fmla="*/ 336510 h 2374809"/>
                              <a:gd name="connsiteX472" fmla="*/ 342021 w 5495992"/>
                              <a:gd name="connsiteY472" fmla="*/ 345300 h 2374809"/>
                              <a:gd name="connsiteX473" fmla="*/ 334186 w 5495992"/>
                              <a:gd name="connsiteY473" fmla="*/ 365354 h 2374809"/>
                              <a:gd name="connsiteX474" fmla="*/ 371651 w 5495992"/>
                              <a:gd name="connsiteY474" fmla="*/ 380629 h 2374809"/>
                              <a:gd name="connsiteX475" fmla="*/ 349935 w 5495992"/>
                              <a:gd name="connsiteY475" fmla="*/ 411679 h 2374809"/>
                              <a:gd name="connsiteX476" fmla="*/ 378632 w 5495992"/>
                              <a:gd name="connsiteY476" fmla="*/ 438919 h 2374809"/>
                              <a:gd name="connsiteX477" fmla="*/ 361747 w 5495992"/>
                              <a:gd name="connsiteY477" fmla="*/ 451587 h 2374809"/>
                              <a:gd name="connsiteX478" fmla="*/ 366496 w 5495992"/>
                              <a:gd name="connsiteY478" fmla="*/ 459609 h 2374809"/>
                              <a:gd name="connsiteX479" fmla="*/ 361381 w 5495992"/>
                              <a:gd name="connsiteY479" fmla="*/ 464254 h 2374809"/>
                              <a:gd name="connsiteX480" fmla="*/ 374208 w 5495992"/>
                              <a:gd name="connsiteY480" fmla="*/ 470638 h 2374809"/>
                              <a:gd name="connsiteX481" fmla="*/ 374208 w 5495992"/>
                              <a:gd name="connsiteY481" fmla="*/ 480030 h 2374809"/>
                              <a:gd name="connsiteX482" fmla="*/ 373396 w 5495992"/>
                              <a:gd name="connsiteY482" fmla="*/ 492397 h 2374809"/>
                              <a:gd name="connsiteX483" fmla="*/ 388252 w 5495992"/>
                              <a:gd name="connsiteY483" fmla="*/ 506402 h 2374809"/>
                              <a:gd name="connsiteX484" fmla="*/ 416421 w 5495992"/>
                              <a:gd name="connsiteY484" fmla="*/ 527325 h 2374809"/>
                              <a:gd name="connsiteX485" fmla="*/ 375588 w 5495992"/>
                              <a:gd name="connsiteY485" fmla="*/ 543335 h 2374809"/>
                              <a:gd name="connsiteX486" fmla="*/ 339829 w 5495992"/>
                              <a:gd name="connsiteY486" fmla="*/ 559010 h 2374809"/>
                              <a:gd name="connsiteX487" fmla="*/ 289619 w 5495992"/>
                              <a:gd name="connsiteY487" fmla="*/ 577326 h 2374809"/>
                              <a:gd name="connsiteX488" fmla="*/ 321157 w 5495992"/>
                              <a:gd name="connsiteY488" fmla="*/ 585682 h 2374809"/>
                              <a:gd name="connsiteX489" fmla="*/ 355537 w 5495992"/>
                              <a:gd name="connsiteY489" fmla="*/ 595008 h 2374809"/>
                              <a:gd name="connsiteX490" fmla="*/ 321035 w 5495992"/>
                              <a:gd name="connsiteY490" fmla="*/ 595342 h 2374809"/>
                              <a:gd name="connsiteX491" fmla="*/ 287386 w 5495992"/>
                              <a:gd name="connsiteY491" fmla="*/ 603464 h 2374809"/>
                              <a:gd name="connsiteX492" fmla="*/ 269933 w 5495992"/>
                              <a:gd name="connsiteY492" fmla="*/ 619908 h 2374809"/>
                              <a:gd name="connsiteX493" fmla="*/ 275656 w 5495992"/>
                              <a:gd name="connsiteY493" fmla="*/ 641700 h 2374809"/>
                              <a:gd name="connsiteX494" fmla="*/ 265346 w 5495992"/>
                              <a:gd name="connsiteY494" fmla="*/ 652630 h 2374809"/>
                              <a:gd name="connsiteX495" fmla="*/ 274479 w 5495992"/>
                              <a:gd name="connsiteY495" fmla="*/ 662924 h 2374809"/>
                              <a:gd name="connsiteX496" fmla="*/ 277239 w 5495992"/>
                              <a:gd name="connsiteY496" fmla="*/ 672951 h 2374809"/>
                              <a:gd name="connsiteX497" fmla="*/ 295058 w 5495992"/>
                              <a:gd name="connsiteY497" fmla="*/ 690666 h 2374809"/>
                              <a:gd name="connsiteX498" fmla="*/ 315353 w 5495992"/>
                              <a:gd name="connsiteY498" fmla="*/ 692571 h 2374809"/>
                              <a:gd name="connsiteX499" fmla="*/ 335079 w 5495992"/>
                              <a:gd name="connsiteY499" fmla="*/ 699790 h 2374809"/>
                              <a:gd name="connsiteX500" fmla="*/ 374654 w 5495992"/>
                              <a:gd name="connsiteY500" fmla="*/ 720379 h 2374809"/>
                              <a:gd name="connsiteX501" fmla="*/ 415244 w 5495992"/>
                              <a:gd name="connsiteY501" fmla="*/ 753435 h 2374809"/>
                              <a:gd name="connsiteX502" fmla="*/ 415691 w 5495992"/>
                              <a:gd name="connsiteY502" fmla="*/ 767574 h 2374809"/>
                              <a:gd name="connsiteX503" fmla="*/ 386547 w 5495992"/>
                              <a:gd name="connsiteY503" fmla="*/ 765000 h 2374809"/>
                              <a:gd name="connsiteX504" fmla="*/ 391743 w 5495992"/>
                              <a:gd name="connsiteY504" fmla="*/ 785455 h 2374809"/>
                              <a:gd name="connsiteX505" fmla="*/ 418897 w 5495992"/>
                              <a:gd name="connsiteY505" fmla="*/ 788196 h 2374809"/>
                              <a:gd name="connsiteX506" fmla="*/ 451734 w 5495992"/>
                              <a:gd name="connsiteY506" fmla="*/ 789466 h 2374809"/>
                              <a:gd name="connsiteX507" fmla="*/ 472029 w 5495992"/>
                              <a:gd name="connsiteY507" fmla="*/ 803604 h 2374809"/>
                              <a:gd name="connsiteX508" fmla="*/ 513715 w 5495992"/>
                              <a:gd name="connsiteY508" fmla="*/ 832850 h 2374809"/>
                              <a:gd name="connsiteX509" fmla="*/ 535715 w 5495992"/>
                              <a:gd name="connsiteY509" fmla="*/ 842609 h 2374809"/>
                              <a:gd name="connsiteX510" fmla="*/ 557877 w 5495992"/>
                              <a:gd name="connsiteY510" fmla="*/ 845952 h 2374809"/>
                              <a:gd name="connsiteX511" fmla="*/ 576142 w 5495992"/>
                              <a:gd name="connsiteY511" fmla="*/ 846821 h 2374809"/>
                              <a:gd name="connsiteX512" fmla="*/ 651639 w 5495992"/>
                              <a:gd name="connsiteY512" fmla="*/ 871320 h 2374809"/>
                              <a:gd name="connsiteX513" fmla="*/ 652370 w 5495992"/>
                              <a:gd name="connsiteY513" fmla="*/ 884088 h 2374809"/>
                              <a:gd name="connsiteX514" fmla="*/ 646159 w 5495992"/>
                              <a:gd name="connsiteY514" fmla="*/ 893280 h 2374809"/>
                              <a:gd name="connsiteX515" fmla="*/ 644576 w 5495992"/>
                              <a:gd name="connsiteY515" fmla="*/ 907785 h 2374809"/>
                              <a:gd name="connsiteX516" fmla="*/ 614621 w 5495992"/>
                              <a:gd name="connsiteY516" fmla="*/ 905112 h 2374809"/>
                              <a:gd name="connsiteX517" fmla="*/ 588847 w 5495992"/>
                              <a:gd name="connsiteY517" fmla="*/ 912632 h 2374809"/>
                              <a:gd name="connsiteX518" fmla="*/ 620304 w 5495992"/>
                              <a:gd name="connsiteY518" fmla="*/ 921088 h 2374809"/>
                              <a:gd name="connsiteX519" fmla="*/ 579308 w 5495992"/>
                              <a:gd name="connsiteY519" fmla="*/ 931416 h 2374809"/>
                              <a:gd name="connsiteX520" fmla="*/ 583367 w 5495992"/>
                              <a:gd name="connsiteY520" fmla="*/ 943716 h 2374809"/>
                              <a:gd name="connsiteX521" fmla="*/ 559338 w 5495992"/>
                              <a:gd name="connsiteY521" fmla="*/ 955314 h 2374809"/>
                              <a:gd name="connsiteX522" fmla="*/ 597533 w 5495992"/>
                              <a:gd name="connsiteY522" fmla="*/ 982821 h 2374809"/>
                              <a:gd name="connsiteX523" fmla="*/ 624281 w 5495992"/>
                              <a:gd name="connsiteY523" fmla="*/ 999533 h 2374809"/>
                              <a:gd name="connsiteX524" fmla="*/ 644576 w 5495992"/>
                              <a:gd name="connsiteY524" fmla="*/ 1002073 h 2374809"/>
                              <a:gd name="connsiteX525" fmla="*/ 690321 w 5495992"/>
                              <a:gd name="connsiteY525" fmla="*/ 1014306 h 2374809"/>
                              <a:gd name="connsiteX526" fmla="*/ 731195 w 5495992"/>
                              <a:gd name="connsiteY526" fmla="*/ 1019621 h 2374809"/>
                              <a:gd name="connsiteX527" fmla="*/ 772921 w 5495992"/>
                              <a:gd name="connsiteY527" fmla="*/ 1035564 h 2374809"/>
                              <a:gd name="connsiteX528" fmla="*/ 814769 w 5495992"/>
                              <a:gd name="connsiteY528" fmla="*/ 1042249 h 2374809"/>
                              <a:gd name="connsiteX529" fmla="*/ 818828 w 5495992"/>
                              <a:gd name="connsiteY529" fmla="*/ 1052075 h 2374809"/>
                              <a:gd name="connsiteX530" fmla="*/ 832629 w 5495992"/>
                              <a:gd name="connsiteY530" fmla="*/ 1057523 h 2374809"/>
                              <a:gd name="connsiteX531" fmla="*/ 868429 w 5495992"/>
                              <a:gd name="connsiteY531" fmla="*/ 1075204 h 2374809"/>
                              <a:gd name="connsiteX532" fmla="*/ 906908 w 5495992"/>
                              <a:gd name="connsiteY532" fmla="*/ 1072363 h 2374809"/>
                              <a:gd name="connsiteX533" fmla="*/ 876263 w 5495992"/>
                              <a:gd name="connsiteY533" fmla="*/ 1040277 h 2374809"/>
                              <a:gd name="connsiteX534" fmla="*/ 868145 w 5495992"/>
                              <a:gd name="connsiteY534" fmla="*/ 1013805 h 2374809"/>
                              <a:gd name="connsiteX535" fmla="*/ 949324 w 5495992"/>
                              <a:gd name="connsiteY535" fmla="*/ 980682 h 2374809"/>
                              <a:gd name="connsiteX536" fmla="*/ 933819 w 5495992"/>
                              <a:gd name="connsiteY536" fmla="*/ 967647 h 2374809"/>
                              <a:gd name="connsiteX537" fmla="*/ 917583 w 5495992"/>
                              <a:gd name="connsiteY537" fmla="*/ 943616 h 2374809"/>
                              <a:gd name="connsiteX538" fmla="*/ 884259 w 5495992"/>
                              <a:gd name="connsiteY538" fmla="*/ 936931 h 2374809"/>
                              <a:gd name="connsiteX539" fmla="*/ 871311 w 5495992"/>
                              <a:gd name="connsiteY539" fmla="*/ 922191 h 2374809"/>
                              <a:gd name="connsiteX540" fmla="*/ 878130 w 5495992"/>
                              <a:gd name="connsiteY540" fmla="*/ 911395 h 2374809"/>
                              <a:gd name="connsiteX541" fmla="*/ 880403 w 5495992"/>
                              <a:gd name="connsiteY541" fmla="*/ 900633 h 2374809"/>
                              <a:gd name="connsiteX542" fmla="*/ 893879 w 5495992"/>
                              <a:gd name="connsiteY542" fmla="*/ 894249 h 2374809"/>
                              <a:gd name="connsiteX543" fmla="*/ 903539 w 5495992"/>
                              <a:gd name="connsiteY543" fmla="*/ 886361 h 2374809"/>
                              <a:gd name="connsiteX544" fmla="*/ 935727 w 5495992"/>
                              <a:gd name="connsiteY544" fmla="*/ 898494 h 2374809"/>
                              <a:gd name="connsiteX545" fmla="*/ 950095 w 5495992"/>
                              <a:gd name="connsiteY545" fmla="*/ 890773 h 2374809"/>
                              <a:gd name="connsiteX546" fmla="*/ 972298 w 5495992"/>
                              <a:gd name="connsiteY546" fmla="*/ 878640 h 2374809"/>
                              <a:gd name="connsiteX547" fmla="*/ 1006110 w 5495992"/>
                              <a:gd name="connsiteY547" fmla="*/ 875298 h 2374809"/>
                              <a:gd name="connsiteX548" fmla="*/ 1045725 w 5495992"/>
                              <a:gd name="connsiteY548" fmla="*/ 875532 h 2374809"/>
                              <a:gd name="connsiteX549" fmla="*/ 1072230 w 5495992"/>
                              <a:gd name="connsiteY549" fmla="*/ 874730 h 2374809"/>
                              <a:gd name="connsiteX550" fmla="*/ 1097517 w 5495992"/>
                              <a:gd name="connsiteY550" fmla="*/ 884757 h 2374809"/>
                              <a:gd name="connsiteX551" fmla="*/ 1128569 w 5495992"/>
                              <a:gd name="connsiteY551" fmla="*/ 896355 h 2374809"/>
                              <a:gd name="connsiteX552" fmla="*/ 1149513 w 5495992"/>
                              <a:gd name="connsiteY552" fmla="*/ 912598 h 2374809"/>
                              <a:gd name="connsiteX553" fmla="*/ 1162827 w 5495992"/>
                              <a:gd name="connsiteY553" fmla="*/ 909958 h 2374809"/>
                              <a:gd name="connsiteX554" fmla="*/ 1197165 w 5495992"/>
                              <a:gd name="connsiteY554" fmla="*/ 918180 h 2374809"/>
                              <a:gd name="connsiteX555" fmla="*/ 1223143 w 5495992"/>
                              <a:gd name="connsiteY555" fmla="*/ 914136 h 2374809"/>
                              <a:gd name="connsiteX556" fmla="*/ 1246198 w 5495992"/>
                              <a:gd name="connsiteY556" fmla="*/ 921756 h 2374809"/>
                              <a:gd name="connsiteX557" fmla="*/ 1271038 w 5495992"/>
                              <a:gd name="connsiteY557" fmla="*/ 920520 h 2374809"/>
                              <a:gd name="connsiteX558" fmla="*/ 1291333 w 5495992"/>
                              <a:gd name="connsiteY558" fmla="*/ 932251 h 2374809"/>
                              <a:gd name="connsiteX559" fmla="*/ 1314916 w 5495992"/>
                              <a:gd name="connsiteY559" fmla="*/ 942479 h 2374809"/>
                              <a:gd name="connsiteX560" fmla="*/ 1328636 w 5495992"/>
                              <a:gd name="connsiteY560" fmla="*/ 936964 h 2374809"/>
                              <a:gd name="connsiteX561" fmla="*/ 1376897 w 5495992"/>
                              <a:gd name="connsiteY561" fmla="*/ 944284 h 2374809"/>
                              <a:gd name="connsiteX562" fmla="*/ 1340731 w 5495992"/>
                              <a:gd name="connsiteY562" fmla="*/ 918815 h 2374809"/>
                              <a:gd name="connsiteX563" fmla="*/ 1355343 w 5495992"/>
                              <a:gd name="connsiteY563" fmla="*/ 912131 h 2374809"/>
                              <a:gd name="connsiteX564" fmla="*/ 1364436 w 5495992"/>
                              <a:gd name="connsiteY564" fmla="*/ 901468 h 2374809"/>
                              <a:gd name="connsiteX565" fmla="*/ 1409937 w 5495992"/>
                              <a:gd name="connsiteY565" fmla="*/ 899931 h 2374809"/>
                              <a:gd name="connsiteX566" fmla="*/ 1385583 w 5495992"/>
                              <a:gd name="connsiteY566" fmla="*/ 889302 h 2374809"/>
                              <a:gd name="connsiteX567" fmla="*/ 1385299 w 5495992"/>
                              <a:gd name="connsiteY567" fmla="*/ 873025 h 2374809"/>
                              <a:gd name="connsiteX568" fmla="*/ 1424630 w 5495992"/>
                              <a:gd name="connsiteY568" fmla="*/ 879108 h 2374809"/>
                              <a:gd name="connsiteX569" fmla="*/ 1474190 w 5495992"/>
                              <a:gd name="connsiteY569" fmla="*/ 882116 h 2374809"/>
                              <a:gd name="connsiteX570" fmla="*/ 1522127 w 5495992"/>
                              <a:gd name="connsiteY570" fmla="*/ 887497 h 2374809"/>
                              <a:gd name="connsiteX571" fmla="*/ 1563447 w 5495992"/>
                              <a:gd name="connsiteY571" fmla="*/ 890539 h 2374809"/>
                              <a:gd name="connsiteX572" fmla="*/ 1631882 w 5495992"/>
                              <a:gd name="connsiteY572" fmla="*/ 895185 h 2374809"/>
                              <a:gd name="connsiteX573" fmla="*/ 1686678 w 5495992"/>
                              <a:gd name="connsiteY573" fmla="*/ 901201 h 2374809"/>
                              <a:gd name="connsiteX574" fmla="*/ 1722194 w 5495992"/>
                              <a:gd name="connsiteY574" fmla="*/ 913534 h 2374809"/>
                              <a:gd name="connsiteX575" fmla="*/ 1724061 w 5495992"/>
                              <a:gd name="connsiteY575" fmla="*/ 925132 h 2374809"/>
                              <a:gd name="connsiteX576" fmla="*/ 1718541 w 5495992"/>
                              <a:gd name="connsiteY576" fmla="*/ 935159 h 2374809"/>
                              <a:gd name="connsiteX577" fmla="*/ 1748943 w 5495992"/>
                              <a:gd name="connsiteY577" fmla="*/ 939037 h 2374809"/>
                              <a:gd name="connsiteX578" fmla="*/ 1768872 w 5495992"/>
                              <a:gd name="connsiteY578" fmla="*/ 949064 h 2374809"/>
                              <a:gd name="connsiteX579" fmla="*/ 1791156 w 5495992"/>
                              <a:gd name="connsiteY579" fmla="*/ 955514 h 2374809"/>
                              <a:gd name="connsiteX580" fmla="*/ 1785879 w 5495992"/>
                              <a:gd name="connsiteY580" fmla="*/ 962567 h 2374809"/>
                              <a:gd name="connsiteX581" fmla="*/ 1801384 w 5495992"/>
                              <a:gd name="connsiteY581" fmla="*/ 967814 h 2374809"/>
                              <a:gd name="connsiteX582" fmla="*/ 1816444 w 5495992"/>
                              <a:gd name="connsiteY582" fmla="*/ 970522 h 2374809"/>
                              <a:gd name="connsiteX583" fmla="*/ 1836373 w 5495992"/>
                              <a:gd name="connsiteY583" fmla="*/ 970054 h 2374809"/>
                              <a:gd name="connsiteX584" fmla="*/ 1881021 w 5495992"/>
                              <a:gd name="connsiteY584" fmla="*/ 968349 h 2374809"/>
                              <a:gd name="connsiteX585" fmla="*/ 1900383 w 5495992"/>
                              <a:gd name="connsiteY585" fmla="*/ 971691 h 2374809"/>
                              <a:gd name="connsiteX586" fmla="*/ 1896689 w 5495992"/>
                              <a:gd name="connsiteY586" fmla="*/ 976638 h 2374809"/>
                              <a:gd name="connsiteX587" fmla="*/ 1911708 w 5495992"/>
                              <a:gd name="connsiteY587" fmla="*/ 991645 h 2374809"/>
                              <a:gd name="connsiteX588" fmla="*/ 1936061 w 5495992"/>
                              <a:gd name="connsiteY588" fmla="*/ 1014641 h 2374809"/>
                              <a:gd name="connsiteX589" fmla="*/ 1968533 w 5495992"/>
                              <a:gd name="connsiteY589" fmla="*/ 1068118 h 2374809"/>
                              <a:gd name="connsiteX590" fmla="*/ 2005916 w 5495992"/>
                              <a:gd name="connsiteY590" fmla="*/ 1074536 h 2374809"/>
                              <a:gd name="connsiteX591" fmla="*/ 2035019 w 5495992"/>
                              <a:gd name="connsiteY591" fmla="*/ 1092518 h 2374809"/>
                              <a:gd name="connsiteX592" fmla="*/ 2079262 w 5495992"/>
                              <a:gd name="connsiteY592" fmla="*/ 1098768 h 2374809"/>
                              <a:gd name="connsiteX593" fmla="*/ 2100125 w 5495992"/>
                              <a:gd name="connsiteY593" fmla="*/ 1114243 h 2374809"/>
                              <a:gd name="connsiteX594" fmla="*/ 2120420 w 5495992"/>
                              <a:gd name="connsiteY594" fmla="*/ 1129852 h 2374809"/>
                              <a:gd name="connsiteX595" fmla="*/ 2134099 w 5495992"/>
                              <a:gd name="connsiteY595" fmla="*/ 1146564 h 2374809"/>
                              <a:gd name="connsiteX596" fmla="*/ 2171198 w 5495992"/>
                              <a:gd name="connsiteY596" fmla="*/ 1154552 h 2374809"/>
                              <a:gd name="connsiteX597" fmla="*/ 2287690 w 5495992"/>
                              <a:gd name="connsiteY597" fmla="*/ 1174606 h 2374809"/>
                              <a:gd name="connsiteX598" fmla="*/ 2352188 w 5495992"/>
                              <a:gd name="connsiteY598" fmla="*/ 1180121 h 2374809"/>
                              <a:gd name="connsiteX599" fmla="*/ 2382427 w 5495992"/>
                              <a:gd name="connsiteY599" fmla="*/ 1192822 h 2374809"/>
                              <a:gd name="connsiteX600" fmla="*/ 2398378 w 5495992"/>
                              <a:gd name="connsiteY600" fmla="*/ 1207194 h 2374809"/>
                              <a:gd name="connsiteX601" fmla="*/ 2454961 w 5495992"/>
                              <a:gd name="connsiteY601" fmla="*/ 1233231 h 2374809"/>
                              <a:gd name="connsiteX602" fmla="*/ 2484713 w 5495992"/>
                              <a:gd name="connsiteY602" fmla="*/ 1239448 h 2374809"/>
                              <a:gd name="connsiteX603" fmla="*/ 2503871 w 5495992"/>
                              <a:gd name="connsiteY603" fmla="*/ 1231526 h 2374809"/>
                              <a:gd name="connsiteX604" fmla="*/ 2530498 w 5495992"/>
                              <a:gd name="connsiteY604" fmla="*/ 1210570 h 2374809"/>
                              <a:gd name="connsiteX605" fmla="*/ 2560413 w 5495992"/>
                              <a:gd name="connsiteY605" fmla="*/ 1215316 h 2374809"/>
                              <a:gd name="connsiteX606" fmla="*/ 2598405 w 5495992"/>
                              <a:gd name="connsiteY606" fmla="*/ 1235370 h 2374809"/>
                              <a:gd name="connsiteX607" fmla="*/ 2629497 w 5495992"/>
                              <a:gd name="connsiteY607" fmla="*/ 1252082 h 2374809"/>
                              <a:gd name="connsiteX608" fmla="*/ 2632825 w 5495992"/>
                              <a:gd name="connsiteY608" fmla="*/ 1268794 h 2374809"/>
                              <a:gd name="connsiteX609" fmla="*/ 2680315 w 5495992"/>
                              <a:gd name="connsiteY609" fmla="*/ 1299744 h 2374809"/>
                              <a:gd name="connsiteX610" fmla="*/ 2795793 w 5495992"/>
                              <a:gd name="connsiteY610" fmla="*/ 1344832 h 2374809"/>
                              <a:gd name="connsiteX611" fmla="*/ 2810893 w 5495992"/>
                              <a:gd name="connsiteY611" fmla="*/ 1363215 h 2374809"/>
                              <a:gd name="connsiteX612" fmla="*/ 2836748 w 5495992"/>
                              <a:gd name="connsiteY612" fmla="*/ 1375615 h 2374809"/>
                              <a:gd name="connsiteX613" fmla="*/ 2888378 w 5495992"/>
                              <a:gd name="connsiteY613" fmla="*/ 1396004 h 2374809"/>
                              <a:gd name="connsiteX614" fmla="*/ 2949263 w 5495992"/>
                              <a:gd name="connsiteY614" fmla="*/ 1410008 h 2374809"/>
                              <a:gd name="connsiteX615" fmla="*/ 2980517 w 5495992"/>
                              <a:gd name="connsiteY615" fmla="*/ 1411044 h 2374809"/>
                              <a:gd name="connsiteX616" fmla="*/ 3019280 w 5495992"/>
                              <a:gd name="connsiteY616" fmla="*/ 1422876 h 2374809"/>
                              <a:gd name="connsiteX617" fmla="*/ 3042700 w 5495992"/>
                              <a:gd name="connsiteY617" fmla="*/ 1438318 h 2374809"/>
                              <a:gd name="connsiteX618" fmla="*/ 3073102 w 5495992"/>
                              <a:gd name="connsiteY618" fmla="*/ 1452323 h 2374809"/>
                              <a:gd name="connsiteX619" fmla="*/ 3130659 w 5495992"/>
                              <a:gd name="connsiteY619" fmla="*/ 1473580 h 2374809"/>
                              <a:gd name="connsiteX620" fmla="*/ 3156514 w 5495992"/>
                              <a:gd name="connsiteY620" fmla="*/ 1469970 h 2374809"/>
                              <a:gd name="connsiteX621" fmla="*/ 3178757 w 5495992"/>
                              <a:gd name="connsiteY621" fmla="*/ 1461882 h 2374809"/>
                              <a:gd name="connsiteX622" fmla="*/ 3222919 w 5495992"/>
                              <a:gd name="connsiteY622" fmla="*/ 1445170 h 2374809"/>
                              <a:gd name="connsiteX623" fmla="*/ 3212122 w 5495992"/>
                              <a:gd name="connsiteY623" fmla="*/ 1434174 h 2374809"/>
                              <a:gd name="connsiteX624" fmla="*/ 3248410 w 5495992"/>
                              <a:gd name="connsiteY624" fmla="*/ 1433839 h 2374809"/>
                              <a:gd name="connsiteX625" fmla="*/ 3310269 w 5495992"/>
                              <a:gd name="connsiteY625" fmla="*/ 1457704 h 2374809"/>
                              <a:gd name="connsiteX626" fmla="*/ 3377972 w 5495992"/>
                              <a:gd name="connsiteY626" fmla="*/ 1499116 h 2374809"/>
                              <a:gd name="connsiteX627" fmla="*/ 3386739 w 5495992"/>
                              <a:gd name="connsiteY627" fmla="*/ 1517398 h 2374809"/>
                              <a:gd name="connsiteX628" fmla="*/ 3393396 w 5495992"/>
                              <a:gd name="connsiteY628" fmla="*/ 1535915 h 2374809"/>
                              <a:gd name="connsiteX629" fmla="*/ 3403381 w 5495992"/>
                              <a:gd name="connsiteY629" fmla="*/ 1581605 h 2374809"/>
                              <a:gd name="connsiteX630" fmla="*/ 3401717 w 5495992"/>
                              <a:gd name="connsiteY630" fmla="*/ 1595977 h 2374809"/>
                              <a:gd name="connsiteX631" fmla="*/ 3433620 w 5495992"/>
                              <a:gd name="connsiteY631" fmla="*/ 1618271 h 2374809"/>
                              <a:gd name="connsiteX632" fmla="*/ 3458827 w 5495992"/>
                              <a:gd name="connsiteY632" fmla="*/ 1638325 h 2374809"/>
                              <a:gd name="connsiteX633" fmla="*/ 3473277 w 5495992"/>
                              <a:gd name="connsiteY633" fmla="*/ 1658780 h 2374809"/>
                              <a:gd name="connsiteX634" fmla="*/ 3478554 w 5495992"/>
                              <a:gd name="connsiteY634" fmla="*/ 1679570 h 2374809"/>
                              <a:gd name="connsiteX635" fmla="*/ 3519874 w 5495992"/>
                              <a:gd name="connsiteY635" fmla="*/ 1699189 h 2374809"/>
                              <a:gd name="connsiteX636" fmla="*/ 3552671 w 5495992"/>
                              <a:gd name="connsiteY636" fmla="*/ 1705874 h 2374809"/>
                              <a:gd name="connsiteX637" fmla="*/ 3578120 w 5495992"/>
                              <a:gd name="connsiteY637" fmla="*/ 1715166 h 2374809"/>
                              <a:gd name="connsiteX638" fmla="*/ 3575603 w 5495992"/>
                              <a:gd name="connsiteY638" fmla="*/ 1732780 h 2374809"/>
                              <a:gd name="connsiteX639" fmla="*/ 3565822 w 5495992"/>
                              <a:gd name="connsiteY639" fmla="*/ 1733682 h 2374809"/>
                              <a:gd name="connsiteX640" fmla="*/ 3548205 w 5495992"/>
                              <a:gd name="connsiteY640" fmla="*/ 1741002 h 2374809"/>
                              <a:gd name="connsiteX641" fmla="*/ 3520767 w 5495992"/>
                              <a:gd name="connsiteY641" fmla="*/ 1746584 h 2374809"/>
                              <a:gd name="connsiteX642" fmla="*/ 3496413 w 5495992"/>
                              <a:gd name="connsiteY642" fmla="*/ 1751430 h 2374809"/>
                              <a:gd name="connsiteX643" fmla="*/ 3470760 w 5495992"/>
                              <a:gd name="connsiteY643" fmla="*/ 1739364 h 2374809"/>
                              <a:gd name="connsiteX644" fmla="*/ 3439100 w 5495992"/>
                              <a:gd name="connsiteY644" fmla="*/ 1733214 h 2374809"/>
                              <a:gd name="connsiteX645" fmla="*/ 3417019 w 5495992"/>
                              <a:gd name="connsiteY645" fmla="*/ 1770716 h 2374809"/>
                              <a:gd name="connsiteX646" fmla="*/ 3460044 w 5495992"/>
                              <a:gd name="connsiteY646" fmla="*/ 1789566 h 2374809"/>
                              <a:gd name="connsiteX647" fmla="*/ 3495764 w 5495992"/>
                              <a:gd name="connsiteY647" fmla="*/ 1805877 h 2374809"/>
                              <a:gd name="connsiteX648" fmla="*/ 3570245 w 5495992"/>
                              <a:gd name="connsiteY648" fmla="*/ 1808351 h 2374809"/>
                              <a:gd name="connsiteX649" fmla="*/ 3681746 w 5495992"/>
                              <a:gd name="connsiteY649" fmla="*/ 1799092 h 2374809"/>
                              <a:gd name="connsiteX650" fmla="*/ 3762926 w 5495992"/>
                              <a:gd name="connsiteY650" fmla="*/ 1785155 h 2374809"/>
                              <a:gd name="connsiteX651" fmla="*/ 3809887 w 5495992"/>
                              <a:gd name="connsiteY651" fmla="*/ 1750027 h 2374809"/>
                              <a:gd name="connsiteX652" fmla="*/ 3828356 w 5495992"/>
                              <a:gd name="connsiteY652" fmla="*/ 1745247 h 2374809"/>
                              <a:gd name="connsiteX653" fmla="*/ 3841507 w 5495992"/>
                              <a:gd name="connsiteY653" fmla="*/ 1734986 h 2374809"/>
                              <a:gd name="connsiteX654" fmla="*/ 3847636 w 5495992"/>
                              <a:gd name="connsiteY654" fmla="*/ 1723421 h 2374809"/>
                              <a:gd name="connsiteX655" fmla="*/ 3848164 w 5495992"/>
                              <a:gd name="connsiteY655" fmla="*/ 1711155 h 2374809"/>
                              <a:gd name="connsiteX656" fmla="*/ 3835987 w 5495992"/>
                              <a:gd name="connsiteY656" fmla="*/ 1694777 h 2374809"/>
                              <a:gd name="connsiteX657" fmla="*/ 3819386 w 5495992"/>
                              <a:gd name="connsiteY657" fmla="*/ 1674489 h 2374809"/>
                              <a:gd name="connsiteX658" fmla="*/ 3798279 w 5495992"/>
                              <a:gd name="connsiteY658" fmla="*/ 1662590 h 2374809"/>
                              <a:gd name="connsiteX659" fmla="*/ 3784519 w 5495992"/>
                              <a:gd name="connsiteY659" fmla="*/ 1664328 h 2374809"/>
                              <a:gd name="connsiteX660" fmla="*/ 3747379 w 5495992"/>
                              <a:gd name="connsiteY660" fmla="*/ 1656407 h 2374809"/>
                              <a:gd name="connsiteX661" fmla="*/ 3755497 w 5495992"/>
                              <a:gd name="connsiteY661" fmla="*/ 1651627 h 2374809"/>
                              <a:gd name="connsiteX662" fmla="*/ 3764549 w 5495992"/>
                              <a:gd name="connsiteY662" fmla="*/ 1641901 h 2374809"/>
                              <a:gd name="connsiteX663" fmla="*/ 3730575 w 5495992"/>
                              <a:gd name="connsiteY663" fmla="*/ 1635684 h 2374809"/>
                              <a:gd name="connsiteX664" fmla="*/ 3740682 w 5495992"/>
                              <a:gd name="connsiteY664" fmla="*/ 1625122 h 2374809"/>
                              <a:gd name="connsiteX665" fmla="*/ 3716328 w 5495992"/>
                              <a:gd name="connsiteY665" fmla="*/ 1612622 h 2374809"/>
                              <a:gd name="connsiteX666" fmla="*/ 3725096 w 5495992"/>
                              <a:gd name="connsiteY666" fmla="*/ 1599253 h 2374809"/>
                              <a:gd name="connsiteX667" fmla="*/ 3747258 w 5495992"/>
                              <a:gd name="connsiteY667" fmla="*/ 1599620 h 2374809"/>
                              <a:gd name="connsiteX668" fmla="*/ 3782570 w 5495992"/>
                              <a:gd name="connsiteY668" fmla="*/ 1605369 h 2374809"/>
                              <a:gd name="connsiteX669" fmla="*/ 3833023 w 5495992"/>
                              <a:gd name="connsiteY669" fmla="*/ 1605369 h 2374809"/>
                              <a:gd name="connsiteX670" fmla="*/ 3908521 w 5495992"/>
                              <a:gd name="connsiteY670" fmla="*/ 1610917 h 2374809"/>
                              <a:gd name="connsiteX671" fmla="*/ 3955361 w 5495992"/>
                              <a:gd name="connsiteY671" fmla="*/ 1613625 h 2374809"/>
                              <a:gd name="connsiteX672" fmla="*/ 4015150 w 5495992"/>
                              <a:gd name="connsiteY672" fmla="*/ 1626092 h 2374809"/>
                              <a:gd name="connsiteX673" fmla="*/ 4074452 w 5495992"/>
                              <a:gd name="connsiteY673" fmla="*/ 1658546 h 2374809"/>
                              <a:gd name="connsiteX674" fmla="*/ 4093367 w 5495992"/>
                              <a:gd name="connsiteY674" fmla="*/ 1674289 h 2374809"/>
                              <a:gd name="connsiteX675" fmla="*/ 4118857 w 5495992"/>
                              <a:gd name="connsiteY675" fmla="*/ 1684650 h 2374809"/>
                              <a:gd name="connsiteX676" fmla="*/ 4146214 w 5495992"/>
                              <a:gd name="connsiteY676" fmla="*/ 1698019 h 2374809"/>
                              <a:gd name="connsiteX677" fmla="*/ 4171867 w 5495992"/>
                              <a:gd name="connsiteY677" fmla="*/ 1712793 h 2374809"/>
                              <a:gd name="connsiteX678" fmla="*/ 4198412 w 5495992"/>
                              <a:gd name="connsiteY678" fmla="*/ 1716402 h 2374809"/>
                              <a:gd name="connsiteX679" fmla="*/ 4224269 w 5495992"/>
                              <a:gd name="connsiteY679" fmla="*/ 1731744 h 2374809"/>
                              <a:gd name="connsiteX680" fmla="*/ 4238881 w 5495992"/>
                              <a:gd name="connsiteY680" fmla="*/ 1746116 h 2374809"/>
                              <a:gd name="connsiteX681" fmla="*/ 4257633 w 5495992"/>
                              <a:gd name="connsiteY681" fmla="*/ 1758650 h 2374809"/>
                              <a:gd name="connsiteX682" fmla="*/ 4260393 w 5495992"/>
                              <a:gd name="connsiteY682" fmla="*/ 1769479 h 2374809"/>
                              <a:gd name="connsiteX683" fmla="*/ 4240748 w 5495992"/>
                              <a:gd name="connsiteY683" fmla="*/ 1766137 h 2374809"/>
                              <a:gd name="connsiteX684" fmla="*/ 4271758 w 5495992"/>
                              <a:gd name="connsiteY684" fmla="*/ 1780743 h 2374809"/>
                              <a:gd name="connsiteX685" fmla="*/ 4310847 w 5495992"/>
                              <a:gd name="connsiteY685" fmla="*/ 1798056 h 2374809"/>
                              <a:gd name="connsiteX686" fmla="*/ 4331425 w 5495992"/>
                              <a:gd name="connsiteY686" fmla="*/ 1809019 h 2374809"/>
                              <a:gd name="connsiteX687" fmla="*/ 4361381 w 5495992"/>
                              <a:gd name="connsiteY687" fmla="*/ 1823024 h 2374809"/>
                              <a:gd name="connsiteX688" fmla="*/ 4343683 w 5495992"/>
                              <a:gd name="connsiteY688" fmla="*/ 1801298 h 2374809"/>
                              <a:gd name="connsiteX689" fmla="*/ 4395192 w 5495992"/>
                              <a:gd name="connsiteY689" fmla="*/ 1800730 h 2374809"/>
                              <a:gd name="connsiteX690" fmla="*/ 4443047 w 5495992"/>
                              <a:gd name="connsiteY690" fmla="*/ 1811426 h 2374809"/>
                              <a:gd name="connsiteX691" fmla="*/ 4473814 w 5495992"/>
                              <a:gd name="connsiteY691" fmla="*/ 1810590 h 2374809"/>
                              <a:gd name="connsiteX692" fmla="*/ 4526134 w 5495992"/>
                              <a:gd name="connsiteY692" fmla="*/ 1837329 h 2374809"/>
                              <a:gd name="connsiteX693" fmla="*/ 4549920 w 5495992"/>
                              <a:gd name="connsiteY693" fmla="*/ 1854876 h 2374809"/>
                              <a:gd name="connsiteX694" fmla="*/ 4538150 w 5495992"/>
                              <a:gd name="connsiteY694" fmla="*/ 1862463 h 2374809"/>
                              <a:gd name="connsiteX695" fmla="*/ 4545821 w 5495992"/>
                              <a:gd name="connsiteY695" fmla="*/ 1880880 h 2374809"/>
                              <a:gd name="connsiteX696" fmla="*/ 4532954 w 5495992"/>
                              <a:gd name="connsiteY696" fmla="*/ 1880880 h 2374809"/>
                              <a:gd name="connsiteX697" fmla="*/ 4555846 w 5495992"/>
                              <a:gd name="connsiteY697" fmla="*/ 1890907 h 2374809"/>
                              <a:gd name="connsiteX698" fmla="*/ 4630856 w 5495992"/>
                              <a:gd name="connsiteY698" fmla="*/ 1913167 h 2374809"/>
                              <a:gd name="connsiteX699" fmla="*/ 4660202 w 5495992"/>
                              <a:gd name="connsiteY699" fmla="*/ 1902705 h 2374809"/>
                              <a:gd name="connsiteX700" fmla="*/ 4711468 w 5495992"/>
                              <a:gd name="connsiteY700" fmla="*/ 1935494 h 2374809"/>
                              <a:gd name="connsiteX701" fmla="*/ 4679767 w 5495992"/>
                              <a:gd name="connsiteY701" fmla="*/ 1922125 h 2374809"/>
                              <a:gd name="connsiteX702" fmla="*/ 4657117 w 5495992"/>
                              <a:gd name="connsiteY702" fmla="*/ 1931483 h 2374809"/>
                              <a:gd name="connsiteX703" fmla="*/ 4655738 w 5495992"/>
                              <a:gd name="connsiteY703" fmla="*/ 1937031 h 2374809"/>
                              <a:gd name="connsiteX704" fmla="*/ 4644616 w 5495992"/>
                              <a:gd name="connsiteY704" fmla="*/ 1934993 h 2374809"/>
                              <a:gd name="connsiteX705" fmla="*/ 4634712 w 5495992"/>
                              <a:gd name="connsiteY705" fmla="*/ 1938335 h 2374809"/>
                              <a:gd name="connsiteX706" fmla="*/ 4612916 w 5495992"/>
                              <a:gd name="connsiteY706" fmla="*/ 1929110 h 2374809"/>
                              <a:gd name="connsiteX707" fmla="*/ 4582717 w 5495992"/>
                              <a:gd name="connsiteY707" fmla="*/ 1920219 h 2374809"/>
                              <a:gd name="connsiteX708" fmla="*/ 4548216 w 5495992"/>
                              <a:gd name="connsiteY708" fmla="*/ 1917913 h 2374809"/>
                              <a:gd name="connsiteX709" fmla="*/ 4517570 w 5495992"/>
                              <a:gd name="connsiteY709" fmla="*/ 1913234 h 2374809"/>
                              <a:gd name="connsiteX710" fmla="*/ 4466955 w 5495992"/>
                              <a:gd name="connsiteY710" fmla="*/ 1908588 h 2374809"/>
                              <a:gd name="connsiteX711" fmla="*/ 4411266 w 5495992"/>
                              <a:gd name="connsiteY711" fmla="*/ 1895486 h 2374809"/>
                              <a:gd name="connsiteX712" fmla="*/ 4382325 w 5495992"/>
                              <a:gd name="connsiteY712" fmla="*/ 1881548 h 2374809"/>
                              <a:gd name="connsiteX713" fmla="*/ 4377454 w 5495992"/>
                              <a:gd name="connsiteY713" fmla="*/ 1887999 h 2374809"/>
                              <a:gd name="connsiteX714" fmla="*/ 4352533 w 5495992"/>
                              <a:gd name="connsiteY714" fmla="*/ 1892779 h 2374809"/>
                              <a:gd name="connsiteX715" fmla="*/ 4278375 w 5495992"/>
                              <a:gd name="connsiteY715" fmla="*/ 1961029 h 2374809"/>
                              <a:gd name="connsiteX716" fmla="*/ 4276061 w 5495992"/>
                              <a:gd name="connsiteY716" fmla="*/ 1976471 h 2374809"/>
                              <a:gd name="connsiteX717" fmla="*/ 4264940 w 5495992"/>
                              <a:gd name="connsiteY717" fmla="*/ 1995857 h 2374809"/>
                              <a:gd name="connsiteX718" fmla="*/ 4265670 w 5495992"/>
                              <a:gd name="connsiteY718" fmla="*/ 2013973 h 2374809"/>
                              <a:gd name="connsiteX719" fmla="*/ 4304230 w 5495992"/>
                              <a:gd name="connsiteY719" fmla="*/ 2017850 h 2374809"/>
                              <a:gd name="connsiteX720" fmla="*/ 4333253 w 5495992"/>
                              <a:gd name="connsiteY720" fmla="*/ 2016914 h 2374809"/>
                              <a:gd name="connsiteX721" fmla="*/ 4352694 w 5495992"/>
                              <a:gd name="connsiteY721" fmla="*/ 2009561 h 2374809"/>
                              <a:gd name="connsiteX722" fmla="*/ 4385775 w 5495992"/>
                              <a:gd name="connsiteY722" fmla="*/ 2021392 h 2374809"/>
                              <a:gd name="connsiteX723" fmla="*/ 4401037 w 5495992"/>
                              <a:gd name="connsiteY723" fmla="*/ 2009561 h 2374809"/>
                              <a:gd name="connsiteX724" fmla="*/ 4437568 w 5495992"/>
                              <a:gd name="connsiteY724" fmla="*/ 2015243 h 2374809"/>
                              <a:gd name="connsiteX725" fmla="*/ 4473611 w 5495992"/>
                              <a:gd name="connsiteY725" fmla="*/ 2033325 h 2374809"/>
                              <a:gd name="connsiteX726" fmla="*/ 4481080 w 5495992"/>
                              <a:gd name="connsiteY726" fmla="*/ 2016613 h 2374809"/>
                              <a:gd name="connsiteX727" fmla="*/ 4507585 w 5495992"/>
                              <a:gd name="connsiteY727" fmla="*/ 2010831 h 2374809"/>
                              <a:gd name="connsiteX728" fmla="*/ 4538270 w 5495992"/>
                              <a:gd name="connsiteY728" fmla="*/ 2025704 h 2374809"/>
                              <a:gd name="connsiteX729" fmla="*/ 4533400 w 5495992"/>
                              <a:gd name="connsiteY729" fmla="*/ 2008290 h 2374809"/>
                              <a:gd name="connsiteX730" fmla="*/ 4541518 w 5495992"/>
                              <a:gd name="connsiteY730" fmla="*/ 1996559 h 2374809"/>
                              <a:gd name="connsiteX731" fmla="*/ 4562787 w 5495992"/>
                              <a:gd name="connsiteY731" fmla="*/ 1992314 h 2374809"/>
                              <a:gd name="connsiteX732" fmla="*/ 4536079 w 5495992"/>
                              <a:gd name="connsiteY732" fmla="*/ 1972260 h 2374809"/>
                              <a:gd name="connsiteX733" fmla="*/ 4565385 w 5495992"/>
                              <a:gd name="connsiteY733" fmla="*/ 1963804 h 2374809"/>
                              <a:gd name="connsiteX734" fmla="*/ 4632521 w 5495992"/>
                              <a:gd name="connsiteY734" fmla="*/ 1966043 h 2374809"/>
                              <a:gd name="connsiteX735" fmla="*/ 4651029 w 5495992"/>
                              <a:gd name="connsiteY735" fmla="*/ 1983423 h 2374809"/>
                              <a:gd name="connsiteX736" fmla="*/ 4680254 w 5495992"/>
                              <a:gd name="connsiteY736" fmla="*/ 1987735 h 2374809"/>
                              <a:gd name="connsiteX737" fmla="*/ 4701239 w 5495992"/>
                              <a:gd name="connsiteY737" fmla="*/ 2012970 h 2374809"/>
                              <a:gd name="connsiteX738" fmla="*/ 4781688 w 5495992"/>
                              <a:gd name="connsiteY738" fmla="*/ 2048232 h 2374809"/>
                              <a:gd name="connsiteX739" fmla="*/ 4803079 w 5495992"/>
                              <a:gd name="connsiteY739" fmla="*/ 2071628 h 2374809"/>
                              <a:gd name="connsiteX740" fmla="*/ 4820572 w 5495992"/>
                              <a:gd name="connsiteY740" fmla="*/ 2083527 h 2374809"/>
                              <a:gd name="connsiteX741" fmla="*/ 4861528 w 5495992"/>
                              <a:gd name="connsiteY741" fmla="*/ 2095961 h 2374809"/>
                              <a:gd name="connsiteX742" fmla="*/ 4897003 w 5495992"/>
                              <a:gd name="connsiteY742" fmla="*/ 2106924 h 2374809"/>
                              <a:gd name="connsiteX743" fmla="*/ 4970512 w 5495992"/>
                              <a:gd name="connsiteY743" fmla="*/ 2131690 h 2374809"/>
                              <a:gd name="connsiteX744" fmla="*/ 5050148 w 5495992"/>
                              <a:gd name="connsiteY744" fmla="*/ 2165114 h 2374809"/>
                              <a:gd name="connsiteX745" fmla="*/ 5063989 w 5495992"/>
                              <a:gd name="connsiteY745" fmla="*/ 2173771 h 2374809"/>
                              <a:gd name="connsiteX746" fmla="*/ 5098937 w 5495992"/>
                              <a:gd name="connsiteY746" fmla="*/ 2205556 h 2374809"/>
                              <a:gd name="connsiteX747" fmla="*/ 5123088 w 5495992"/>
                              <a:gd name="connsiteY747" fmla="*/ 2187642 h 2374809"/>
                              <a:gd name="connsiteX748" fmla="*/ 5113630 w 5495992"/>
                              <a:gd name="connsiteY748" fmla="*/ 2150441 h 2374809"/>
                              <a:gd name="connsiteX749" fmla="*/ 5109571 w 5495992"/>
                              <a:gd name="connsiteY749" fmla="*/ 2130654 h 2374809"/>
                              <a:gd name="connsiteX750" fmla="*/ 5082254 w 5495992"/>
                              <a:gd name="connsiteY750" fmla="*/ 2109698 h 2374809"/>
                              <a:gd name="connsiteX751" fmla="*/ 5107218 w 5495992"/>
                              <a:gd name="connsiteY751" fmla="*/ 2116850 h 2374809"/>
                              <a:gd name="connsiteX752" fmla="*/ 5129014 w 5495992"/>
                              <a:gd name="connsiteY752" fmla="*/ 2146932 h 2374809"/>
                              <a:gd name="connsiteX753" fmla="*/ 5199641 w 5495992"/>
                              <a:gd name="connsiteY753" fmla="*/ 2180121 h 2374809"/>
                              <a:gd name="connsiteX754" fmla="*/ 5222006 w 5495992"/>
                              <a:gd name="connsiteY754" fmla="*/ 2177949 h 2374809"/>
                              <a:gd name="connsiteX755" fmla="*/ 5216119 w 5495992"/>
                              <a:gd name="connsiteY755" fmla="*/ 2163844 h 2374809"/>
                              <a:gd name="connsiteX756" fmla="*/ 5231422 w 5495992"/>
                              <a:gd name="connsiteY756" fmla="*/ 2165950 h 2374809"/>
                              <a:gd name="connsiteX757" fmla="*/ 5260566 w 5495992"/>
                              <a:gd name="connsiteY757" fmla="*/ 2179954 h 2374809"/>
                              <a:gd name="connsiteX758" fmla="*/ 5242463 w 5495992"/>
                              <a:gd name="connsiteY758" fmla="*/ 2186639 h 2374809"/>
                              <a:gd name="connsiteX759" fmla="*/ 5260809 w 5495992"/>
                              <a:gd name="connsiteY759" fmla="*/ 2212241 h 2374809"/>
                              <a:gd name="connsiteX760" fmla="*/ 5308421 w 5495992"/>
                              <a:gd name="connsiteY760" fmla="*/ 2262143 h 2374809"/>
                              <a:gd name="connsiteX761" fmla="*/ 5328473 w 5495992"/>
                              <a:gd name="connsiteY761" fmla="*/ 2297538 h 2374809"/>
                              <a:gd name="connsiteX762" fmla="*/ 5338254 w 5495992"/>
                              <a:gd name="connsiteY762" fmla="*/ 2309671 h 2374809"/>
                              <a:gd name="connsiteX763" fmla="*/ 5353313 w 5495992"/>
                              <a:gd name="connsiteY763" fmla="*/ 2328355 h 2374809"/>
                              <a:gd name="connsiteX764" fmla="*/ 5380468 w 5495992"/>
                              <a:gd name="connsiteY764" fmla="*/ 2348242 h 2374809"/>
                              <a:gd name="connsiteX765" fmla="*/ 5376409 w 5495992"/>
                              <a:gd name="connsiteY765" fmla="*/ 2332065 h 2374809"/>
                              <a:gd name="connsiteX766" fmla="*/ 5392645 w 5495992"/>
                              <a:gd name="connsiteY766" fmla="*/ 2343730 h 2374809"/>
                              <a:gd name="connsiteX767" fmla="*/ 5406283 w 5495992"/>
                              <a:gd name="connsiteY767" fmla="*/ 2335307 h 2374809"/>
                              <a:gd name="connsiteX768" fmla="*/ 5413670 w 5495992"/>
                              <a:gd name="connsiteY768" fmla="*/ 2324210 h 2374809"/>
                              <a:gd name="connsiteX769" fmla="*/ 5448699 w 5495992"/>
                              <a:gd name="connsiteY769" fmla="*/ 2358703 h 2374809"/>
                              <a:gd name="connsiteX770" fmla="*/ 5440865 w 5495992"/>
                              <a:gd name="connsiteY770" fmla="*/ 2345869 h 2374809"/>
                              <a:gd name="connsiteX771" fmla="*/ 5463717 w 5495992"/>
                              <a:gd name="connsiteY771" fmla="*/ 2364920 h 2374809"/>
                              <a:gd name="connsiteX772" fmla="*/ 5480481 w 5495992"/>
                              <a:gd name="connsiteY772" fmla="*/ 2366224 h 2374809"/>
                              <a:gd name="connsiteX773" fmla="*/ 5492658 w 5495992"/>
                              <a:gd name="connsiteY773" fmla="*/ 2368864 h 2374809"/>
                              <a:gd name="connsiteX774" fmla="*/ 2856475 w 5495992"/>
                              <a:gd name="connsiteY774" fmla="*/ 1286441 h 2374809"/>
                              <a:gd name="connsiteX775" fmla="*/ 2777162 w 5495992"/>
                              <a:gd name="connsiteY775" fmla="*/ 1279757 h 2374809"/>
                              <a:gd name="connsiteX776" fmla="*/ 2761576 w 5495992"/>
                              <a:gd name="connsiteY776" fmla="*/ 1285305 h 2374809"/>
                              <a:gd name="connsiteX777" fmla="*/ 2727643 w 5495992"/>
                              <a:gd name="connsiteY777" fmla="*/ 1282230 h 2374809"/>
                              <a:gd name="connsiteX778" fmla="*/ 2697931 w 5495992"/>
                              <a:gd name="connsiteY778" fmla="*/ 1269061 h 2374809"/>
                              <a:gd name="connsiteX779" fmla="*/ 2764052 w 5495992"/>
                              <a:gd name="connsiteY779" fmla="*/ 1269696 h 2374809"/>
                              <a:gd name="connsiteX780" fmla="*/ 2843324 w 5495992"/>
                              <a:gd name="connsiteY780" fmla="*/ 1264883 h 2374809"/>
                              <a:gd name="connsiteX781" fmla="*/ 2914964 w 5495992"/>
                              <a:gd name="connsiteY781" fmla="*/ 1242790 h 2374809"/>
                              <a:gd name="connsiteX782" fmla="*/ 2907253 w 5495992"/>
                              <a:gd name="connsiteY782" fmla="*/ 1263646 h 2374809"/>
                              <a:gd name="connsiteX783" fmla="*/ 2856475 w 5495992"/>
                              <a:gd name="connsiteY783" fmla="*/ 1286575 h 2374809"/>
                              <a:gd name="connsiteX784" fmla="*/ 3272236 w 5495992"/>
                              <a:gd name="connsiteY784" fmla="*/ 790669 h 2374809"/>
                              <a:gd name="connsiteX785" fmla="*/ 3250521 w 5495992"/>
                              <a:gd name="connsiteY785" fmla="*/ 792875 h 2374809"/>
                              <a:gd name="connsiteX786" fmla="*/ 3296224 w 5495992"/>
                              <a:gd name="connsiteY786" fmla="*/ 809587 h 2374809"/>
                              <a:gd name="connsiteX787" fmla="*/ 3272236 w 5495992"/>
                              <a:gd name="connsiteY787" fmla="*/ 790536 h 2374809"/>
                              <a:gd name="connsiteX788" fmla="*/ 1454951 w 5495992"/>
                              <a:gd name="connsiteY788" fmla="*/ 46493 h 2374809"/>
                              <a:gd name="connsiteX789" fmla="*/ 1482227 w 5495992"/>
                              <a:gd name="connsiteY789" fmla="*/ 45189 h 2374809"/>
                              <a:gd name="connsiteX790" fmla="*/ 1518393 w 5495992"/>
                              <a:gd name="connsiteY790" fmla="*/ 50404 h 2374809"/>
                              <a:gd name="connsiteX791" fmla="*/ 1519813 w 5495992"/>
                              <a:gd name="connsiteY791" fmla="*/ 44321 h 2374809"/>
                              <a:gd name="connsiteX792" fmla="*/ 1484419 w 5495992"/>
                              <a:gd name="connsiteY792" fmla="*/ 37168 h 2374809"/>
                              <a:gd name="connsiteX793" fmla="*/ 1460715 w 5495992"/>
                              <a:gd name="connsiteY793" fmla="*/ 35630 h 2374809"/>
                              <a:gd name="connsiteX794" fmla="*/ 1455600 w 5495992"/>
                              <a:gd name="connsiteY794" fmla="*/ 38271 h 2374809"/>
                              <a:gd name="connsiteX795" fmla="*/ 1408110 w 5495992"/>
                              <a:gd name="connsiteY795" fmla="*/ 32756 h 2374809"/>
                              <a:gd name="connsiteX796" fmla="*/ 1454951 w 5495992"/>
                              <a:gd name="connsiteY796" fmla="*/ 46493 h 2374809"/>
                              <a:gd name="connsiteX797" fmla="*/ 1311507 w 5495992"/>
                              <a:gd name="connsiteY797" fmla="*/ 58325 h 2374809"/>
                              <a:gd name="connsiteX798" fmla="*/ 1265072 w 5495992"/>
                              <a:gd name="connsiteY798" fmla="*/ 53980 h 2374809"/>
                              <a:gd name="connsiteX799" fmla="*/ 1311547 w 5495992"/>
                              <a:gd name="connsiteY799" fmla="*/ 58325 h 2374809"/>
                              <a:gd name="connsiteX800" fmla="*/ 1453896 w 5495992"/>
                              <a:gd name="connsiteY800" fmla="*/ 74101 h 2374809"/>
                              <a:gd name="connsiteX801" fmla="*/ 1401373 w 5495992"/>
                              <a:gd name="connsiteY801" fmla="*/ 80451 h 2374809"/>
                              <a:gd name="connsiteX802" fmla="*/ 1479589 w 5495992"/>
                              <a:gd name="connsiteY802" fmla="*/ 91448 h 2374809"/>
                              <a:gd name="connsiteX803" fmla="*/ 1512669 w 5495992"/>
                              <a:gd name="connsiteY803" fmla="*/ 84329 h 2374809"/>
                              <a:gd name="connsiteX804" fmla="*/ 1453896 w 5495992"/>
                              <a:gd name="connsiteY804" fmla="*/ 74101 h 2374809"/>
                              <a:gd name="connsiteX805" fmla="*/ 1453936 w 5495992"/>
                              <a:gd name="connsiteY805" fmla="*/ 74101 h 2374809"/>
                              <a:gd name="connsiteX806" fmla="*/ 1642679 w 5495992"/>
                              <a:gd name="connsiteY806" fmla="*/ 97130 h 2374809"/>
                              <a:gd name="connsiteX807" fmla="*/ 1604118 w 5495992"/>
                              <a:gd name="connsiteY807" fmla="*/ 77076 h 2374809"/>
                              <a:gd name="connsiteX808" fmla="*/ 1571646 w 5495992"/>
                              <a:gd name="connsiteY808" fmla="*/ 72697 h 2374809"/>
                              <a:gd name="connsiteX809" fmla="*/ 1556994 w 5495992"/>
                              <a:gd name="connsiteY809" fmla="*/ 77744 h 2374809"/>
                              <a:gd name="connsiteX810" fmla="*/ 1534669 w 5495992"/>
                              <a:gd name="connsiteY810" fmla="*/ 82657 h 2374809"/>
                              <a:gd name="connsiteX811" fmla="*/ 1567669 w 5495992"/>
                              <a:gd name="connsiteY811" fmla="*/ 93687 h 2374809"/>
                              <a:gd name="connsiteX812" fmla="*/ 1642841 w 5495992"/>
                              <a:gd name="connsiteY812" fmla="*/ 97030 h 2374809"/>
                              <a:gd name="connsiteX813" fmla="*/ 1471187 w 5495992"/>
                              <a:gd name="connsiteY813" fmla="*/ 58960 h 2374809"/>
                              <a:gd name="connsiteX814" fmla="*/ 1444641 w 5495992"/>
                              <a:gd name="connsiteY814" fmla="*/ 48933 h 2374809"/>
                              <a:gd name="connsiteX815" fmla="*/ 1384487 w 5495992"/>
                              <a:gd name="connsiteY815" fmla="*/ 33525 h 2374809"/>
                              <a:gd name="connsiteX816" fmla="*/ 1382052 w 5495992"/>
                              <a:gd name="connsiteY816" fmla="*/ 41045 h 2374809"/>
                              <a:gd name="connsiteX817" fmla="*/ 1348078 w 5495992"/>
                              <a:gd name="connsiteY817" fmla="*/ 41246 h 2374809"/>
                              <a:gd name="connsiteX818" fmla="*/ 1396014 w 5495992"/>
                              <a:gd name="connsiteY818" fmla="*/ 57690 h 2374809"/>
                              <a:gd name="connsiteX819" fmla="*/ 1471187 w 5495992"/>
                              <a:gd name="connsiteY819" fmla="*/ 58960 h 2374809"/>
                              <a:gd name="connsiteX820" fmla="*/ 1246888 w 5495992"/>
                              <a:gd name="connsiteY820" fmla="*/ 308501 h 2374809"/>
                              <a:gd name="connsiteX821" fmla="*/ 1212549 w 5495992"/>
                              <a:gd name="connsiteY821" fmla="*/ 313180 h 2374809"/>
                              <a:gd name="connsiteX822" fmla="*/ 1228785 w 5495992"/>
                              <a:gd name="connsiteY822" fmla="*/ 326282 h 2374809"/>
                              <a:gd name="connsiteX823" fmla="*/ 1207840 w 5495992"/>
                              <a:gd name="connsiteY823" fmla="*/ 330460 h 2374809"/>
                              <a:gd name="connsiteX824" fmla="*/ 1186937 w 5495992"/>
                              <a:gd name="connsiteY824" fmla="*/ 335006 h 2374809"/>
                              <a:gd name="connsiteX825" fmla="*/ 1157753 w 5495992"/>
                              <a:gd name="connsiteY825" fmla="*/ 341155 h 2374809"/>
                              <a:gd name="connsiteX826" fmla="*/ 1186166 w 5495992"/>
                              <a:gd name="connsiteY826" fmla="*/ 351684 h 2374809"/>
                              <a:gd name="connsiteX827" fmla="*/ 1193391 w 5495992"/>
                              <a:gd name="connsiteY827" fmla="*/ 361210 h 2374809"/>
                              <a:gd name="connsiteX828" fmla="*/ 1212711 w 5495992"/>
                              <a:gd name="connsiteY828" fmla="*/ 369198 h 2374809"/>
                              <a:gd name="connsiteX829" fmla="*/ 1220017 w 5495992"/>
                              <a:gd name="connsiteY829" fmla="*/ 361276 h 2374809"/>
                              <a:gd name="connsiteX830" fmla="*/ 1240312 w 5495992"/>
                              <a:gd name="connsiteY830" fmla="*/ 371972 h 2374809"/>
                              <a:gd name="connsiteX831" fmla="*/ 1234427 w 5495992"/>
                              <a:gd name="connsiteY831" fmla="*/ 380863 h 2374809"/>
                              <a:gd name="connsiteX832" fmla="*/ 1306595 w 5495992"/>
                              <a:gd name="connsiteY832" fmla="*/ 400917 h 2374809"/>
                              <a:gd name="connsiteX833" fmla="*/ 1371011 w 5495992"/>
                              <a:gd name="connsiteY833" fmla="*/ 409607 h 2374809"/>
                              <a:gd name="connsiteX834" fmla="*/ 1348240 w 5495992"/>
                              <a:gd name="connsiteY834" fmla="*/ 394132 h 2374809"/>
                              <a:gd name="connsiteX835" fmla="*/ 1311426 w 5495992"/>
                              <a:gd name="connsiteY835" fmla="*/ 364619 h 2374809"/>
                              <a:gd name="connsiteX836" fmla="*/ 1341583 w 5495992"/>
                              <a:gd name="connsiteY836" fmla="*/ 334337 h 2374809"/>
                              <a:gd name="connsiteX837" fmla="*/ 1374542 w 5495992"/>
                              <a:gd name="connsiteY837" fmla="*/ 322238 h 2374809"/>
                              <a:gd name="connsiteX838" fmla="*/ 1381889 w 5495992"/>
                              <a:gd name="connsiteY838" fmla="*/ 316723 h 2374809"/>
                              <a:gd name="connsiteX839" fmla="*/ 1402509 w 5495992"/>
                              <a:gd name="connsiteY839" fmla="*/ 315586 h 2374809"/>
                              <a:gd name="connsiteX840" fmla="*/ 1421789 w 5495992"/>
                              <a:gd name="connsiteY840" fmla="*/ 308467 h 2374809"/>
                              <a:gd name="connsiteX841" fmla="*/ 1441028 w 5495992"/>
                              <a:gd name="connsiteY841" fmla="*/ 297571 h 2374809"/>
                              <a:gd name="connsiteX842" fmla="*/ 1462744 w 5495992"/>
                              <a:gd name="connsiteY842" fmla="*/ 296836 h 2374809"/>
                              <a:gd name="connsiteX843" fmla="*/ 1481334 w 5495992"/>
                              <a:gd name="connsiteY843" fmla="*/ 295064 h 2374809"/>
                              <a:gd name="connsiteX844" fmla="*/ 1508976 w 5495992"/>
                              <a:gd name="connsiteY844" fmla="*/ 296568 h 2374809"/>
                              <a:gd name="connsiteX845" fmla="*/ 1562392 w 5495992"/>
                              <a:gd name="connsiteY845" fmla="*/ 290118 h 2374809"/>
                              <a:gd name="connsiteX846" fmla="*/ 1669265 w 5495992"/>
                              <a:gd name="connsiteY846" fmla="*/ 291989 h 2374809"/>
                              <a:gd name="connsiteX847" fmla="*/ 1838727 w 5495992"/>
                              <a:gd name="connsiteY847" fmla="*/ 287811 h 2374809"/>
                              <a:gd name="connsiteX848" fmla="*/ 1750363 w 5495992"/>
                              <a:gd name="connsiteY848" fmla="*/ 271801 h 2374809"/>
                              <a:gd name="connsiteX849" fmla="*/ 1714116 w 5495992"/>
                              <a:gd name="connsiteY849" fmla="*/ 273773 h 2374809"/>
                              <a:gd name="connsiteX850" fmla="*/ 1655464 w 5495992"/>
                              <a:gd name="connsiteY850" fmla="*/ 268492 h 2374809"/>
                              <a:gd name="connsiteX851" fmla="*/ 1603834 w 5495992"/>
                              <a:gd name="connsiteY851" fmla="*/ 262911 h 2374809"/>
                              <a:gd name="connsiteX852" fmla="*/ 1554355 w 5495992"/>
                              <a:gd name="connsiteY852" fmla="*/ 254455 h 2374809"/>
                              <a:gd name="connsiteX853" fmla="*/ 1452881 w 5495992"/>
                              <a:gd name="connsiteY853" fmla="*/ 251112 h 2374809"/>
                              <a:gd name="connsiteX854" fmla="*/ 1427309 w 5495992"/>
                              <a:gd name="connsiteY854" fmla="*/ 255190 h 2374809"/>
                              <a:gd name="connsiteX855" fmla="*/ 1397394 w 5495992"/>
                              <a:gd name="connsiteY855" fmla="*/ 261373 h 2374809"/>
                              <a:gd name="connsiteX856" fmla="*/ 1361878 w 5495992"/>
                              <a:gd name="connsiteY856" fmla="*/ 259301 h 2374809"/>
                              <a:gd name="connsiteX857" fmla="*/ 1360417 w 5495992"/>
                              <a:gd name="connsiteY857" fmla="*/ 272336 h 2374809"/>
                              <a:gd name="connsiteX858" fmla="*/ 1331355 w 5495992"/>
                              <a:gd name="connsiteY858" fmla="*/ 286174 h 2374809"/>
                              <a:gd name="connsiteX859" fmla="*/ 1286707 w 5495992"/>
                              <a:gd name="connsiteY859" fmla="*/ 287912 h 2374809"/>
                              <a:gd name="connsiteX860" fmla="*/ 1298275 w 5495992"/>
                              <a:gd name="connsiteY860" fmla="*/ 299510 h 2374809"/>
                              <a:gd name="connsiteX861" fmla="*/ 1279076 w 5495992"/>
                              <a:gd name="connsiteY861" fmla="*/ 307899 h 2374809"/>
                              <a:gd name="connsiteX862" fmla="*/ 1246604 w 5495992"/>
                              <a:gd name="connsiteY862" fmla="*/ 308567 h 2374809"/>
                              <a:gd name="connsiteX863" fmla="*/ 1246969 w 5495992"/>
                              <a:gd name="connsiteY863" fmla="*/ 308501 h 237480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  <a:cxn ang="0">
                                <a:pos x="connsiteX24" y="connsiteY24"/>
                              </a:cxn>
                              <a:cxn ang="0">
                                <a:pos x="connsiteX25" y="connsiteY25"/>
                              </a:cxn>
                              <a:cxn ang="0">
                                <a:pos x="connsiteX26" y="connsiteY26"/>
                              </a:cxn>
                              <a:cxn ang="0">
                                <a:pos x="connsiteX27" y="connsiteY27"/>
                              </a:cxn>
                              <a:cxn ang="0">
                                <a:pos x="connsiteX28" y="connsiteY28"/>
                              </a:cxn>
                              <a:cxn ang="0">
                                <a:pos x="connsiteX29" y="connsiteY29"/>
                              </a:cxn>
                              <a:cxn ang="0">
                                <a:pos x="connsiteX30" y="connsiteY30"/>
                              </a:cxn>
                              <a:cxn ang="0">
                                <a:pos x="connsiteX31" y="connsiteY31"/>
                              </a:cxn>
                              <a:cxn ang="0">
                                <a:pos x="connsiteX32" y="connsiteY32"/>
                              </a:cxn>
                              <a:cxn ang="0">
                                <a:pos x="connsiteX33" y="connsiteY33"/>
                              </a:cxn>
                              <a:cxn ang="0">
                                <a:pos x="connsiteX34" y="connsiteY34"/>
                              </a:cxn>
                              <a:cxn ang="0">
                                <a:pos x="connsiteX35" y="connsiteY35"/>
                              </a:cxn>
                              <a:cxn ang="0">
                                <a:pos x="connsiteX36" y="connsiteY36"/>
                              </a:cxn>
                              <a:cxn ang="0">
                                <a:pos x="connsiteX37" y="connsiteY37"/>
                              </a:cxn>
                              <a:cxn ang="0">
                                <a:pos x="connsiteX38" y="connsiteY38"/>
                              </a:cxn>
                              <a:cxn ang="0">
                                <a:pos x="connsiteX39" y="connsiteY39"/>
                              </a:cxn>
                              <a:cxn ang="0">
                                <a:pos x="connsiteX40" y="connsiteY40"/>
                              </a:cxn>
                              <a:cxn ang="0">
                                <a:pos x="connsiteX41" y="connsiteY41"/>
                              </a:cxn>
                              <a:cxn ang="0">
                                <a:pos x="connsiteX42" y="connsiteY42"/>
                              </a:cxn>
                              <a:cxn ang="0">
                                <a:pos x="connsiteX43" y="connsiteY43"/>
                              </a:cxn>
                              <a:cxn ang="0">
                                <a:pos x="connsiteX44" y="connsiteY44"/>
                              </a:cxn>
                              <a:cxn ang="0">
                                <a:pos x="connsiteX45" y="connsiteY45"/>
                              </a:cxn>
                              <a:cxn ang="0">
                                <a:pos x="connsiteX46" y="connsiteY46"/>
                              </a:cxn>
                              <a:cxn ang="0">
                                <a:pos x="connsiteX47" y="connsiteY47"/>
                              </a:cxn>
                              <a:cxn ang="0">
                                <a:pos x="connsiteX48" y="connsiteY48"/>
                              </a:cxn>
                              <a:cxn ang="0">
                                <a:pos x="connsiteX49" y="connsiteY49"/>
                              </a:cxn>
                              <a:cxn ang="0">
                                <a:pos x="connsiteX50" y="connsiteY50"/>
                              </a:cxn>
                              <a:cxn ang="0">
                                <a:pos x="connsiteX51" y="connsiteY51"/>
                              </a:cxn>
                              <a:cxn ang="0">
                                <a:pos x="connsiteX52" y="connsiteY52"/>
                              </a:cxn>
                              <a:cxn ang="0">
                                <a:pos x="connsiteX53" y="connsiteY53"/>
                              </a:cxn>
                              <a:cxn ang="0">
                                <a:pos x="connsiteX54" y="connsiteY54"/>
                              </a:cxn>
                              <a:cxn ang="0">
                                <a:pos x="connsiteX55" y="connsiteY55"/>
                              </a:cxn>
                              <a:cxn ang="0">
                                <a:pos x="connsiteX56" y="connsiteY56"/>
                              </a:cxn>
                              <a:cxn ang="0">
                                <a:pos x="connsiteX57" y="connsiteY57"/>
                              </a:cxn>
                              <a:cxn ang="0">
                                <a:pos x="connsiteX58" y="connsiteY58"/>
                              </a:cxn>
                              <a:cxn ang="0">
                                <a:pos x="connsiteX59" y="connsiteY59"/>
                              </a:cxn>
                              <a:cxn ang="0">
                                <a:pos x="connsiteX60" y="connsiteY60"/>
                              </a:cxn>
                              <a:cxn ang="0">
                                <a:pos x="connsiteX61" y="connsiteY61"/>
                              </a:cxn>
                              <a:cxn ang="0">
                                <a:pos x="connsiteX62" y="connsiteY62"/>
                              </a:cxn>
                              <a:cxn ang="0">
                                <a:pos x="connsiteX63" y="connsiteY63"/>
                              </a:cxn>
                              <a:cxn ang="0">
                                <a:pos x="connsiteX64" y="connsiteY64"/>
                              </a:cxn>
                              <a:cxn ang="0">
                                <a:pos x="connsiteX65" y="connsiteY65"/>
                              </a:cxn>
                              <a:cxn ang="0">
                                <a:pos x="connsiteX66" y="connsiteY66"/>
                              </a:cxn>
                              <a:cxn ang="0">
                                <a:pos x="connsiteX67" y="connsiteY67"/>
                              </a:cxn>
                              <a:cxn ang="0">
                                <a:pos x="connsiteX68" y="connsiteY68"/>
                              </a:cxn>
                              <a:cxn ang="0">
                                <a:pos x="connsiteX69" y="connsiteY69"/>
                              </a:cxn>
                              <a:cxn ang="0">
                                <a:pos x="connsiteX70" y="connsiteY70"/>
                              </a:cxn>
                              <a:cxn ang="0">
                                <a:pos x="connsiteX71" y="connsiteY71"/>
                              </a:cxn>
                              <a:cxn ang="0">
                                <a:pos x="connsiteX72" y="connsiteY72"/>
                              </a:cxn>
                              <a:cxn ang="0">
                                <a:pos x="connsiteX73" y="connsiteY73"/>
                              </a:cxn>
                              <a:cxn ang="0">
                                <a:pos x="connsiteX74" y="connsiteY74"/>
                              </a:cxn>
                              <a:cxn ang="0">
                                <a:pos x="connsiteX75" y="connsiteY75"/>
                              </a:cxn>
                              <a:cxn ang="0">
                                <a:pos x="connsiteX76" y="connsiteY76"/>
                              </a:cxn>
                              <a:cxn ang="0">
                                <a:pos x="connsiteX77" y="connsiteY77"/>
                              </a:cxn>
                              <a:cxn ang="0">
                                <a:pos x="connsiteX78" y="connsiteY78"/>
                              </a:cxn>
                              <a:cxn ang="0">
                                <a:pos x="connsiteX79" y="connsiteY79"/>
                              </a:cxn>
                              <a:cxn ang="0">
                                <a:pos x="connsiteX80" y="connsiteY80"/>
                              </a:cxn>
                              <a:cxn ang="0">
                                <a:pos x="connsiteX81" y="connsiteY81"/>
                              </a:cxn>
                              <a:cxn ang="0">
                                <a:pos x="connsiteX82" y="connsiteY82"/>
                              </a:cxn>
                              <a:cxn ang="0">
                                <a:pos x="connsiteX83" y="connsiteY83"/>
                              </a:cxn>
                              <a:cxn ang="0">
                                <a:pos x="connsiteX84" y="connsiteY84"/>
                              </a:cxn>
                              <a:cxn ang="0">
                                <a:pos x="connsiteX85" y="connsiteY85"/>
                              </a:cxn>
                              <a:cxn ang="0">
                                <a:pos x="connsiteX86" y="connsiteY86"/>
                              </a:cxn>
                              <a:cxn ang="0">
                                <a:pos x="connsiteX87" y="connsiteY87"/>
                              </a:cxn>
                              <a:cxn ang="0">
                                <a:pos x="connsiteX88" y="connsiteY88"/>
                              </a:cxn>
                              <a:cxn ang="0">
                                <a:pos x="connsiteX89" y="connsiteY89"/>
                              </a:cxn>
                              <a:cxn ang="0">
                                <a:pos x="connsiteX90" y="connsiteY90"/>
                              </a:cxn>
                              <a:cxn ang="0">
                                <a:pos x="connsiteX91" y="connsiteY91"/>
                              </a:cxn>
                              <a:cxn ang="0">
                                <a:pos x="connsiteX92" y="connsiteY92"/>
                              </a:cxn>
                              <a:cxn ang="0">
                                <a:pos x="connsiteX93" y="connsiteY93"/>
                              </a:cxn>
                              <a:cxn ang="0">
                                <a:pos x="connsiteX94" y="connsiteY94"/>
                              </a:cxn>
                              <a:cxn ang="0">
                                <a:pos x="connsiteX95" y="connsiteY95"/>
                              </a:cxn>
                              <a:cxn ang="0">
                                <a:pos x="connsiteX96" y="connsiteY96"/>
                              </a:cxn>
                              <a:cxn ang="0">
                                <a:pos x="connsiteX97" y="connsiteY97"/>
                              </a:cxn>
                              <a:cxn ang="0">
                                <a:pos x="connsiteX98" y="connsiteY98"/>
                              </a:cxn>
                              <a:cxn ang="0">
                                <a:pos x="connsiteX99" y="connsiteY99"/>
                              </a:cxn>
                              <a:cxn ang="0">
                                <a:pos x="connsiteX100" y="connsiteY100"/>
                              </a:cxn>
                              <a:cxn ang="0">
                                <a:pos x="connsiteX101" y="connsiteY101"/>
                              </a:cxn>
                              <a:cxn ang="0">
                                <a:pos x="connsiteX102" y="connsiteY102"/>
                              </a:cxn>
                              <a:cxn ang="0">
                                <a:pos x="connsiteX103" y="connsiteY103"/>
                              </a:cxn>
                              <a:cxn ang="0">
                                <a:pos x="connsiteX104" y="connsiteY104"/>
                              </a:cxn>
                              <a:cxn ang="0">
                                <a:pos x="connsiteX105" y="connsiteY105"/>
                              </a:cxn>
                              <a:cxn ang="0">
                                <a:pos x="connsiteX106" y="connsiteY106"/>
                              </a:cxn>
                              <a:cxn ang="0">
                                <a:pos x="connsiteX107" y="connsiteY107"/>
                              </a:cxn>
                              <a:cxn ang="0">
                                <a:pos x="connsiteX108" y="connsiteY108"/>
                              </a:cxn>
                              <a:cxn ang="0">
                                <a:pos x="connsiteX109" y="connsiteY109"/>
                              </a:cxn>
                              <a:cxn ang="0">
                                <a:pos x="connsiteX110" y="connsiteY110"/>
                              </a:cxn>
                              <a:cxn ang="0">
                                <a:pos x="connsiteX111" y="connsiteY111"/>
                              </a:cxn>
                              <a:cxn ang="0">
                                <a:pos x="connsiteX112" y="connsiteY112"/>
                              </a:cxn>
                              <a:cxn ang="0">
                                <a:pos x="connsiteX113" y="connsiteY113"/>
                              </a:cxn>
                              <a:cxn ang="0">
                                <a:pos x="connsiteX114" y="connsiteY114"/>
                              </a:cxn>
                              <a:cxn ang="0">
                                <a:pos x="connsiteX115" y="connsiteY115"/>
                              </a:cxn>
                              <a:cxn ang="0">
                                <a:pos x="connsiteX116" y="connsiteY116"/>
                              </a:cxn>
                              <a:cxn ang="0">
                                <a:pos x="connsiteX117" y="connsiteY117"/>
                              </a:cxn>
                              <a:cxn ang="0">
                                <a:pos x="connsiteX118" y="connsiteY118"/>
                              </a:cxn>
                              <a:cxn ang="0">
                                <a:pos x="connsiteX119" y="connsiteY119"/>
                              </a:cxn>
                              <a:cxn ang="0">
                                <a:pos x="connsiteX120" y="connsiteY120"/>
                              </a:cxn>
                              <a:cxn ang="0">
                                <a:pos x="connsiteX121" y="connsiteY121"/>
                              </a:cxn>
                              <a:cxn ang="0">
                                <a:pos x="connsiteX122" y="connsiteY122"/>
                              </a:cxn>
                              <a:cxn ang="0">
                                <a:pos x="connsiteX123" y="connsiteY123"/>
                              </a:cxn>
                              <a:cxn ang="0">
                                <a:pos x="connsiteX124" y="connsiteY124"/>
                              </a:cxn>
                              <a:cxn ang="0">
                                <a:pos x="connsiteX125" y="connsiteY125"/>
                              </a:cxn>
                              <a:cxn ang="0">
                                <a:pos x="connsiteX126" y="connsiteY126"/>
                              </a:cxn>
                              <a:cxn ang="0">
                                <a:pos x="connsiteX127" y="connsiteY127"/>
                              </a:cxn>
                              <a:cxn ang="0">
                                <a:pos x="connsiteX128" y="connsiteY128"/>
                              </a:cxn>
                              <a:cxn ang="0">
                                <a:pos x="connsiteX129" y="connsiteY129"/>
                              </a:cxn>
                              <a:cxn ang="0">
                                <a:pos x="connsiteX130" y="connsiteY130"/>
                              </a:cxn>
                              <a:cxn ang="0">
                                <a:pos x="connsiteX131" y="connsiteY131"/>
                              </a:cxn>
                              <a:cxn ang="0">
                                <a:pos x="connsiteX132" y="connsiteY132"/>
                              </a:cxn>
                              <a:cxn ang="0">
                                <a:pos x="connsiteX133" y="connsiteY133"/>
                              </a:cxn>
                              <a:cxn ang="0">
                                <a:pos x="connsiteX134" y="connsiteY134"/>
                              </a:cxn>
                              <a:cxn ang="0">
                                <a:pos x="connsiteX135" y="connsiteY135"/>
                              </a:cxn>
                              <a:cxn ang="0">
                                <a:pos x="connsiteX136" y="connsiteY136"/>
                              </a:cxn>
                              <a:cxn ang="0">
                                <a:pos x="connsiteX137" y="connsiteY137"/>
                              </a:cxn>
                              <a:cxn ang="0">
                                <a:pos x="connsiteX138" y="connsiteY138"/>
                              </a:cxn>
                              <a:cxn ang="0">
                                <a:pos x="connsiteX139" y="connsiteY139"/>
                              </a:cxn>
                              <a:cxn ang="0">
                                <a:pos x="connsiteX140" y="connsiteY140"/>
                              </a:cxn>
                              <a:cxn ang="0">
                                <a:pos x="connsiteX141" y="connsiteY141"/>
                              </a:cxn>
                              <a:cxn ang="0">
                                <a:pos x="connsiteX142" y="connsiteY142"/>
                              </a:cxn>
                              <a:cxn ang="0">
                                <a:pos x="connsiteX143" y="connsiteY143"/>
                              </a:cxn>
                              <a:cxn ang="0">
                                <a:pos x="connsiteX144" y="connsiteY144"/>
                              </a:cxn>
                              <a:cxn ang="0">
                                <a:pos x="connsiteX145" y="connsiteY145"/>
                              </a:cxn>
                              <a:cxn ang="0">
                                <a:pos x="connsiteX146" y="connsiteY146"/>
                              </a:cxn>
                              <a:cxn ang="0">
                                <a:pos x="connsiteX147" y="connsiteY147"/>
                              </a:cxn>
                              <a:cxn ang="0">
                                <a:pos x="connsiteX148" y="connsiteY148"/>
                              </a:cxn>
                              <a:cxn ang="0">
                                <a:pos x="connsiteX149" y="connsiteY149"/>
                              </a:cxn>
                              <a:cxn ang="0">
                                <a:pos x="connsiteX150" y="connsiteY150"/>
                              </a:cxn>
                              <a:cxn ang="0">
                                <a:pos x="connsiteX151" y="connsiteY151"/>
                              </a:cxn>
                              <a:cxn ang="0">
                                <a:pos x="connsiteX152" y="connsiteY152"/>
                              </a:cxn>
                              <a:cxn ang="0">
                                <a:pos x="connsiteX153" y="connsiteY153"/>
                              </a:cxn>
                              <a:cxn ang="0">
                                <a:pos x="connsiteX154" y="connsiteY154"/>
                              </a:cxn>
                              <a:cxn ang="0">
                                <a:pos x="connsiteX155" y="connsiteY155"/>
                              </a:cxn>
                              <a:cxn ang="0">
                                <a:pos x="connsiteX156" y="connsiteY156"/>
                              </a:cxn>
                              <a:cxn ang="0">
                                <a:pos x="connsiteX157" y="connsiteY157"/>
                              </a:cxn>
                              <a:cxn ang="0">
                                <a:pos x="connsiteX158" y="connsiteY158"/>
                              </a:cxn>
                              <a:cxn ang="0">
                                <a:pos x="connsiteX159" y="connsiteY159"/>
                              </a:cxn>
                              <a:cxn ang="0">
                                <a:pos x="connsiteX160" y="connsiteY160"/>
                              </a:cxn>
                              <a:cxn ang="0">
                                <a:pos x="connsiteX161" y="connsiteY161"/>
                              </a:cxn>
                              <a:cxn ang="0">
                                <a:pos x="connsiteX162" y="connsiteY162"/>
                              </a:cxn>
                              <a:cxn ang="0">
                                <a:pos x="connsiteX163" y="connsiteY163"/>
                              </a:cxn>
                              <a:cxn ang="0">
                                <a:pos x="connsiteX164" y="connsiteY164"/>
                              </a:cxn>
                              <a:cxn ang="0">
                                <a:pos x="connsiteX165" y="connsiteY165"/>
                              </a:cxn>
                              <a:cxn ang="0">
                                <a:pos x="connsiteX166" y="connsiteY166"/>
                              </a:cxn>
                              <a:cxn ang="0">
                                <a:pos x="connsiteX167" y="connsiteY167"/>
                              </a:cxn>
                              <a:cxn ang="0">
                                <a:pos x="connsiteX168" y="connsiteY168"/>
                              </a:cxn>
                              <a:cxn ang="0">
                                <a:pos x="connsiteX169" y="connsiteY169"/>
                              </a:cxn>
                              <a:cxn ang="0">
                                <a:pos x="connsiteX170" y="connsiteY170"/>
                              </a:cxn>
                              <a:cxn ang="0">
                                <a:pos x="connsiteX171" y="connsiteY171"/>
                              </a:cxn>
                              <a:cxn ang="0">
                                <a:pos x="connsiteX172" y="connsiteY172"/>
                              </a:cxn>
                              <a:cxn ang="0">
                                <a:pos x="connsiteX173" y="connsiteY173"/>
                              </a:cxn>
                              <a:cxn ang="0">
                                <a:pos x="connsiteX174" y="connsiteY174"/>
                              </a:cxn>
                              <a:cxn ang="0">
                                <a:pos x="connsiteX175" y="connsiteY175"/>
                              </a:cxn>
                              <a:cxn ang="0">
                                <a:pos x="connsiteX176" y="connsiteY176"/>
                              </a:cxn>
                              <a:cxn ang="0">
                                <a:pos x="connsiteX177" y="connsiteY177"/>
                              </a:cxn>
                              <a:cxn ang="0">
                                <a:pos x="connsiteX178" y="connsiteY178"/>
                              </a:cxn>
                              <a:cxn ang="0">
                                <a:pos x="connsiteX179" y="connsiteY179"/>
                              </a:cxn>
                              <a:cxn ang="0">
                                <a:pos x="connsiteX180" y="connsiteY180"/>
                              </a:cxn>
                              <a:cxn ang="0">
                                <a:pos x="connsiteX181" y="connsiteY181"/>
                              </a:cxn>
                              <a:cxn ang="0">
                                <a:pos x="connsiteX182" y="connsiteY182"/>
                              </a:cxn>
                              <a:cxn ang="0">
                                <a:pos x="connsiteX183" y="connsiteY183"/>
                              </a:cxn>
                              <a:cxn ang="0">
                                <a:pos x="connsiteX184" y="connsiteY184"/>
                              </a:cxn>
                              <a:cxn ang="0">
                                <a:pos x="connsiteX185" y="connsiteY185"/>
                              </a:cxn>
                              <a:cxn ang="0">
                                <a:pos x="connsiteX186" y="connsiteY186"/>
                              </a:cxn>
                              <a:cxn ang="0">
                                <a:pos x="connsiteX187" y="connsiteY187"/>
                              </a:cxn>
                              <a:cxn ang="0">
                                <a:pos x="connsiteX188" y="connsiteY188"/>
                              </a:cxn>
                              <a:cxn ang="0">
                                <a:pos x="connsiteX189" y="connsiteY189"/>
                              </a:cxn>
                              <a:cxn ang="0">
                                <a:pos x="connsiteX190" y="connsiteY190"/>
                              </a:cxn>
                              <a:cxn ang="0">
                                <a:pos x="connsiteX191" y="connsiteY191"/>
                              </a:cxn>
                              <a:cxn ang="0">
                                <a:pos x="connsiteX192" y="connsiteY192"/>
                              </a:cxn>
                              <a:cxn ang="0">
                                <a:pos x="connsiteX193" y="connsiteY193"/>
                              </a:cxn>
                              <a:cxn ang="0">
                                <a:pos x="connsiteX194" y="connsiteY194"/>
                              </a:cxn>
                              <a:cxn ang="0">
                                <a:pos x="connsiteX195" y="connsiteY195"/>
                              </a:cxn>
                              <a:cxn ang="0">
                                <a:pos x="connsiteX196" y="connsiteY196"/>
                              </a:cxn>
                              <a:cxn ang="0">
                                <a:pos x="connsiteX197" y="connsiteY197"/>
                              </a:cxn>
                              <a:cxn ang="0">
                                <a:pos x="connsiteX198" y="connsiteY198"/>
                              </a:cxn>
                              <a:cxn ang="0">
                                <a:pos x="connsiteX199" y="connsiteY199"/>
                              </a:cxn>
                              <a:cxn ang="0">
                                <a:pos x="connsiteX200" y="connsiteY200"/>
                              </a:cxn>
                              <a:cxn ang="0">
                                <a:pos x="connsiteX201" y="connsiteY201"/>
                              </a:cxn>
                              <a:cxn ang="0">
                                <a:pos x="connsiteX202" y="connsiteY202"/>
                              </a:cxn>
                              <a:cxn ang="0">
                                <a:pos x="connsiteX203" y="connsiteY203"/>
                              </a:cxn>
                              <a:cxn ang="0">
                                <a:pos x="connsiteX204" y="connsiteY204"/>
                              </a:cxn>
                              <a:cxn ang="0">
                                <a:pos x="connsiteX205" y="connsiteY205"/>
                              </a:cxn>
                              <a:cxn ang="0">
                                <a:pos x="connsiteX206" y="connsiteY206"/>
                              </a:cxn>
                              <a:cxn ang="0">
                                <a:pos x="connsiteX207" y="connsiteY207"/>
                              </a:cxn>
                              <a:cxn ang="0">
                                <a:pos x="connsiteX208" y="connsiteY208"/>
                              </a:cxn>
                              <a:cxn ang="0">
                                <a:pos x="connsiteX209" y="connsiteY209"/>
                              </a:cxn>
                              <a:cxn ang="0">
                                <a:pos x="connsiteX210" y="connsiteY210"/>
                              </a:cxn>
                              <a:cxn ang="0">
                                <a:pos x="connsiteX211" y="connsiteY211"/>
                              </a:cxn>
                              <a:cxn ang="0">
                                <a:pos x="connsiteX212" y="connsiteY212"/>
                              </a:cxn>
                              <a:cxn ang="0">
                                <a:pos x="connsiteX213" y="connsiteY213"/>
                              </a:cxn>
                              <a:cxn ang="0">
                                <a:pos x="connsiteX214" y="connsiteY214"/>
                              </a:cxn>
                              <a:cxn ang="0">
                                <a:pos x="connsiteX215" y="connsiteY215"/>
                              </a:cxn>
                              <a:cxn ang="0">
                                <a:pos x="connsiteX216" y="connsiteY216"/>
                              </a:cxn>
                              <a:cxn ang="0">
                                <a:pos x="connsiteX217" y="connsiteY217"/>
                              </a:cxn>
                              <a:cxn ang="0">
                                <a:pos x="connsiteX218" y="connsiteY218"/>
                              </a:cxn>
                              <a:cxn ang="0">
                                <a:pos x="connsiteX219" y="connsiteY219"/>
                              </a:cxn>
                              <a:cxn ang="0">
                                <a:pos x="connsiteX220" y="connsiteY220"/>
                              </a:cxn>
                              <a:cxn ang="0">
                                <a:pos x="connsiteX221" y="connsiteY221"/>
                              </a:cxn>
                              <a:cxn ang="0">
                                <a:pos x="connsiteX222" y="connsiteY222"/>
                              </a:cxn>
                              <a:cxn ang="0">
                                <a:pos x="connsiteX223" y="connsiteY223"/>
                              </a:cxn>
                              <a:cxn ang="0">
                                <a:pos x="connsiteX224" y="connsiteY224"/>
                              </a:cxn>
                              <a:cxn ang="0">
                                <a:pos x="connsiteX225" y="connsiteY225"/>
                              </a:cxn>
                              <a:cxn ang="0">
                                <a:pos x="connsiteX226" y="connsiteY226"/>
                              </a:cxn>
                              <a:cxn ang="0">
                                <a:pos x="connsiteX227" y="connsiteY227"/>
                              </a:cxn>
                              <a:cxn ang="0">
                                <a:pos x="connsiteX228" y="connsiteY228"/>
                              </a:cxn>
                              <a:cxn ang="0">
                                <a:pos x="connsiteX229" y="connsiteY229"/>
                              </a:cxn>
                              <a:cxn ang="0">
                                <a:pos x="connsiteX230" y="connsiteY230"/>
                              </a:cxn>
                              <a:cxn ang="0">
                                <a:pos x="connsiteX231" y="connsiteY231"/>
                              </a:cxn>
                              <a:cxn ang="0">
                                <a:pos x="connsiteX232" y="connsiteY232"/>
                              </a:cxn>
                              <a:cxn ang="0">
                                <a:pos x="connsiteX233" y="connsiteY233"/>
                              </a:cxn>
                              <a:cxn ang="0">
                                <a:pos x="connsiteX234" y="connsiteY234"/>
                              </a:cxn>
                              <a:cxn ang="0">
                                <a:pos x="connsiteX235" y="connsiteY235"/>
                              </a:cxn>
                              <a:cxn ang="0">
                                <a:pos x="connsiteX236" y="connsiteY236"/>
                              </a:cxn>
                              <a:cxn ang="0">
                                <a:pos x="connsiteX237" y="connsiteY237"/>
                              </a:cxn>
                              <a:cxn ang="0">
                                <a:pos x="connsiteX238" y="connsiteY238"/>
                              </a:cxn>
                              <a:cxn ang="0">
                                <a:pos x="connsiteX239" y="connsiteY239"/>
                              </a:cxn>
                              <a:cxn ang="0">
                                <a:pos x="connsiteX240" y="connsiteY240"/>
                              </a:cxn>
                              <a:cxn ang="0">
                                <a:pos x="connsiteX241" y="connsiteY241"/>
                              </a:cxn>
                              <a:cxn ang="0">
                                <a:pos x="connsiteX242" y="connsiteY242"/>
                              </a:cxn>
                              <a:cxn ang="0">
                                <a:pos x="connsiteX243" y="connsiteY243"/>
                              </a:cxn>
                              <a:cxn ang="0">
                                <a:pos x="connsiteX244" y="connsiteY244"/>
                              </a:cxn>
                              <a:cxn ang="0">
                                <a:pos x="connsiteX245" y="connsiteY245"/>
                              </a:cxn>
                              <a:cxn ang="0">
                                <a:pos x="connsiteX246" y="connsiteY246"/>
                              </a:cxn>
                              <a:cxn ang="0">
                                <a:pos x="connsiteX247" y="connsiteY247"/>
                              </a:cxn>
                              <a:cxn ang="0">
                                <a:pos x="connsiteX248" y="connsiteY248"/>
                              </a:cxn>
                              <a:cxn ang="0">
                                <a:pos x="connsiteX249" y="connsiteY249"/>
                              </a:cxn>
                              <a:cxn ang="0">
                                <a:pos x="connsiteX250" y="connsiteY250"/>
                              </a:cxn>
                              <a:cxn ang="0">
                                <a:pos x="connsiteX251" y="connsiteY251"/>
                              </a:cxn>
                              <a:cxn ang="0">
                                <a:pos x="connsiteX252" y="connsiteY252"/>
                              </a:cxn>
                              <a:cxn ang="0">
                                <a:pos x="connsiteX253" y="connsiteY253"/>
                              </a:cxn>
                              <a:cxn ang="0">
                                <a:pos x="connsiteX254" y="connsiteY254"/>
                              </a:cxn>
                              <a:cxn ang="0">
                                <a:pos x="connsiteX255" y="connsiteY255"/>
                              </a:cxn>
                              <a:cxn ang="0">
                                <a:pos x="connsiteX256" y="connsiteY256"/>
                              </a:cxn>
                              <a:cxn ang="0">
                                <a:pos x="connsiteX257" y="connsiteY257"/>
                              </a:cxn>
                              <a:cxn ang="0">
                                <a:pos x="connsiteX258" y="connsiteY258"/>
                              </a:cxn>
                              <a:cxn ang="0">
                                <a:pos x="connsiteX259" y="connsiteY259"/>
                              </a:cxn>
                              <a:cxn ang="0">
                                <a:pos x="connsiteX260" y="connsiteY260"/>
                              </a:cxn>
                              <a:cxn ang="0">
                                <a:pos x="connsiteX261" y="connsiteY261"/>
                              </a:cxn>
                              <a:cxn ang="0">
                                <a:pos x="connsiteX262" y="connsiteY262"/>
                              </a:cxn>
                              <a:cxn ang="0">
                                <a:pos x="connsiteX263" y="connsiteY263"/>
                              </a:cxn>
                              <a:cxn ang="0">
                                <a:pos x="connsiteX264" y="connsiteY264"/>
                              </a:cxn>
                              <a:cxn ang="0">
                                <a:pos x="connsiteX265" y="connsiteY265"/>
                              </a:cxn>
                              <a:cxn ang="0">
                                <a:pos x="connsiteX266" y="connsiteY266"/>
                              </a:cxn>
                              <a:cxn ang="0">
                                <a:pos x="connsiteX267" y="connsiteY267"/>
                              </a:cxn>
                              <a:cxn ang="0">
                                <a:pos x="connsiteX268" y="connsiteY268"/>
                              </a:cxn>
                              <a:cxn ang="0">
                                <a:pos x="connsiteX269" y="connsiteY269"/>
                              </a:cxn>
                              <a:cxn ang="0">
                                <a:pos x="connsiteX270" y="connsiteY270"/>
                              </a:cxn>
                              <a:cxn ang="0">
                                <a:pos x="connsiteX271" y="connsiteY271"/>
                              </a:cxn>
                              <a:cxn ang="0">
                                <a:pos x="connsiteX272" y="connsiteY272"/>
                              </a:cxn>
                              <a:cxn ang="0">
                                <a:pos x="connsiteX273" y="connsiteY273"/>
                              </a:cxn>
                              <a:cxn ang="0">
                                <a:pos x="connsiteX274" y="connsiteY274"/>
                              </a:cxn>
                              <a:cxn ang="0">
                                <a:pos x="connsiteX275" y="connsiteY275"/>
                              </a:cxn>
                              <a:cxn ang="0">
                                <a:pos x="connsiteX276" y="connsiteY276"/>
                              </a:cxn>
                              <a:cxn ang="0">
                                <a:pos x="connsiteX277" y="connsiteY277"/>
                              </a:cxn>
                              <a:cxn ang="0">
                                <a:pos x="connsiteX278" y="connsiteY278"/>
                              </a:cxn>
                              <a:cxn ang="0">
                                <a:pos x="connsiteX279" y="connsiteY279"/>
                              </a:cxn>
                              <a:cxn ang="0">
                                <a:pos x="connsiteX280" y="connsiteY280"/>
                              </a:cxn>
                              <a:cxn ang="0">
                                <a:pos x="connsiteX281" y="connsiteY281"/>
                              </a:cxn>
                              <a:cxn ang="0">
                                <a:pos x="connsiteX282" y="connsiteY282"/>
                              </a:cxn>
                              <a:cxn ang="0">
                                <a:pos x="connsiteX283" y="connsiteY283"/>
                              </a:cxn>
                              <a:cxn ang="0">
                                <a:pos x="connsiteX284" y="connsiteY284"/>
                              </a:cxn>
                              <a:cxn ang="0">
                                <a:pos x="connsiteX285" y="connsiteY285"/>
                              </a:cxn>
                              <a:cxn ang="0">
                                <a:pos x="connsiteX286" y="connsiteY286"/>
                              </a:cxn>
                              <a:cxn ang="0">
                                <a:pos x="connsiteX287" y="connsiteY287"/>
                              </a:cxn>
                              <a:cxn ang="0">
                                <a:pos x="connsiteX288" y="connsiteY288"/>
                              </a:cxn>
                              <a:cxn ang="0">
                                <a:pos x="connsiteX289" y="connsiteY289"/>
                              </a:cxn>
                              <a:cxn ang="0">
                                <a:pos x="connsiteX290" y="connsiteY290"/>
                              </a:cxn>
                              <a:cxn ang="0">
                                <a:pos x="connsiteX291" y="connsiteY291"/>
                              </a:cxn>
                              <a:cxn ang="0">
                                <a:pos x="connsiteX292" y="connsiteY292"/>
                              </a:cxn>
                              <a:cxn ang="0">
                                <a:pos x="connsiteX293" y="connsiteY293"/>
                              </a:cxn>
                              <a:cxn ang="0">
                                <a:pos x="connsiteX294" y="connsiteY294"/>
                              </a:cxn>
                              <a:cxn ang="0">
                                <a:pos x="connsiteX295" y="connsiteY295"/>
                              </a:cxn>
                              <a:cxn ang="0">
                                <a:pos x="connsiteX296" y="connsiteY296"/>
                              </a:cxn>
                              <a:cxn ang="0">
                                <a:pos x="connsiteX297" y="connsiteY297"/>
                              </a:cxn>
                              <a:cxn ang="0">
                                <a:pos x="connsiteX298" y="connsiteY298"/>
                              </a:cxn>
                              <a:cxn ang="0">
                                <a:pos x="connsiteX299" y="connsiteY299"/>
                              </a:cxn>
                              <a:cxn ang="0">
                                <a:pos x="connsiteX300" y="connsiteY300"/>
                              </a:cxn>
                              <a:cxn ang="0">
                                <a:pos x="connsiteX301" y="connsiteY301"/>
                              </a:cxn>
                              <a:cxn ang="0">
                                <a:pos x="connsiteX302" y="connsiteY302"/>
                              </a:cxn>
                              <a:cxn ang="0">
                                <a:pos x="connsiteX303" y="connsiteY303"/>
                              </a:cxn>
                              <a:cxn ang="0">
                                <a:pos x="connsiteX304" y="connsiteY304"/>
                              </a:cxn>
                              <a:cxn ang="0">
                                <a:pos x="connsiteX305" y="connsiteY305"/>
                              </a:cxn>
                              <a:cxn ang="0">
                                <a:pos x="connsiteX306" y="connsiteY306"/>
                              </a:cxn>
                              <a:cxn ang="0">
                                <a:pos x="connsiteX307" y="connsiteY307"/>
                              </a:cxn>
                              <a:cxn ang="0">
                                <a:pos x="connsiteX308" y="connsiteY308"/>
                              </a:cxn>
                              <a:cxn ang="0">
                                <a:pos x="connsiteX309" y="connsiteY309"/>
                              </a:cxn>
                              <a:cxn ang="0">
                                <a:pos x="connsiteX310" y="connsiteY310"/>
                              </a:cxn>
                              <a:cxn ang="0">
                                <a:pos x="connsiteX311" y="connsiteY311"/>
                              </a:cxn>
                              <a:cxn ang="0">
                                <a:pos x="connsiteX312" y="connsiteY312"/>
                              </a:cxn>
                              <a:cxn ang="0">
                                <a:pos x="connsiteX313" y="connsiteY313"/>
                              </a:cxn>
                              <a:cxn ang="0">
                                <a:pos x="connsiteX314" y="connsiteY314"/>
                              </a:cxn>
                              <a:cxn ang="0">
                                <a:pos x="connsiteX315" y="connsiteY315"/>
                              </a:cxn>
                              <a:cxn ang="0">
                                <a:pos x="connsiteX316" y="connsiteY316"/>
                              </a:cxn>
                              <a:cxn ang="0">
                                <a:pos x="connsiteX317" y="connsiteY317"/>
                              </a:cxn>
                              <a:cxn ang="0">
                                <a:pos x="connsiteX318" y="connsiteY318"/>
                              </a:cxn>
                              <a:cxn ang="0">
                                <a:pos x="connsiteX319" y="connsiteY319"/>
                              </a:cxn>
                              <a:cxn ang="0">
                                <a:pos x="connsiteX320" y="connsiteY320"/>
                              </a:cxn>
                              <a:cxn ang="0">
                                <a:pos x="connsiteX321" y="connsiteY321"/>
                              </a:cxn>
                              <a:cxn ang="0">
                                <a:pos x="connsiteX322" y="connsiteY322"/>
                              </a:cxn>
                              <a:cxn ang="0">
                                <a:pos x="connsiteX323" y="connsiteY323"/>
                              </a:cxn>
                              <a:cxn ang="0">
                                <a:pos x="connsiteX324" y="connsiteY324"/>
                              </a:cxn>
                              <a:cxn ang="0">
                                <a:pos x="connsiteX325" y="connsiteY325"/>
                              </a:cxn>
                              <a:cxn ang="0">
                                <a:pos x="connsiteX326" y="connsiteY326"/>
                              </a:cxn>
                              <a:cxn ang="0">
                                <a:pos x="connsiteX327" y="connsiteY327"/>
                              </a:cxn>
                              <a:cxn ang="0">
                                <a:pos x="connsiteX328" y="connsiteY328"/>
                              </a:cxn>
                              <a:cxn ang="0">
                                <a:pos x="connsiteX329" y="connsiteY329"/>
                              </a:cxn>
                              <a:cxn ang="0">
                                <a:pos x="connsiteX330" y="connsiteY330"/>
                              </a:cxn>
                              <a:cxn ang="0">
                                <a:pos x="connsiteX331" y="connsiteY331"/>
                              </a:cxn>
                              <a:cxn ang="0">
                                <a:pos x="connsiteX332" y="connsiteY332"/>
                              </a:cxn>
                              <a:cxn ang="0">
                                <a:pos x="connsiteX333" y="connsiteY333"/>
                              </a:cxn>
                              <a:cxn ang="0">
                                <a:pos x="connsiteX334" y="connsiteY334"/>
                              </a:cxn>
                              <a:cxn ang="0">
                                <a:pos x="connsiteX335" y="connsiteY335"/>
                              </a:cxn>
                              <a:cxn ang="0">
                                <a:pos x="connsiteX336" y="connsiteY336"/>
                              </a:cxn>
                              <a:cxn ang="0">
                                <a:pos x="connsiteX337" y="connsiteY337"/>
                              </a:cxn>
                              <a:cxn ang="0">
                                <a:pos x="connsiteX338" y="connsiteY338"/>
                              </a:cxn>
                              <a:cxn ang="0">
                                <a:pos x="connsiteX339" y="connsiteY339"/>
                              </a:cxn>
                              <a:cxn ang="0">
                                <a:pos x="connsiteX340" y="connsiteY340"/>
                              </a:cxn>
                              <a:cxn ang="0">
                                <a:pos x="connsiteX341" y="connsiteY341"/>
                              </a:cxn>
                              <a:cxn ang="0">
                                <a:pos x="connsiteX342" y="connsiteY342"/>
                              </a:cxn>
                              <a:cxn ang="0">
                                <a:pos x="connsiteX343" y="connsiteY343"/>
                              </a:cxn>
                              <a:cxn ang="0">
                                <a:pos x="connsiteX344" y="connsiteY344"/>
                              </a:cxn>
                              <a:cxn ang="0">
                                <a:pos x="connsiteX345" y="connsiteY345"/>
                              </a:cxn>
                              <a:cxn ang="0">
                                <a:pos x="connsiteX346" y="connsiteY346"/>
                              </a:cxn>
                              <a:cxn ang="0">
                                <a:pos x="connsiteX347" y="connsiteY347"/>
                              </a:cxn>
                              <a:cxn ang="0">
                                <a:pos x="connsiteX348" y="connsiteY348"/>
                              </a:cxn>
                              <a:cxn ang="0">
                                <a:pos x="connsiteX349" y="connsiteY349"/>
                              </a:cxn>
                              <a:cxn ang="0">
                                <a:pos x="connsiteX350" y="connsiteY350"/>
                              </a:cxn>
                              <a:cxn ang="0">
                                <a:pos x="connsiteX351" y="connsiteY351"/>
                              </a:cxn>
                              <a:cxn ang="0">
                                <a:pos x="connsiteX352" y="connsiteY352"/>
                              </a:cxn>
                              <a:cxn ang="0">
                                <a:pos x="connsiteX353" y="connsiteY353"/>
                              </a:cxn>
                              <a:cxn ang="0">
                                <a:pos x="connsiteX354" y="connsiteY354"/>
                              </a:cxn>
                              <a:cxn ang="0">
                                <a:pos x="connsiteX355" y="connsiteY355"/>
                              </a:cxn>
                              <a:cxn ang="0">
                                <a:pos x="connsiteX356" y="connsiteY356"/>
                              </a:cxn>
                              <a:cxn ang="0">
                                <a:pos x="connsiteX357" y="connsiteY357"/>
                              </a:cxn>
                              <a:cxn ang="0">
                                <a:pos x="connsiteX358" y="connsiteY358"/>
                              </a:cxn>
                              <a:cxn ang="0">
                                <a:pos x="connsiteX359" y="connsiteY359"/>
                              </a:cxn>
                              <a:cxn ang="0">
                                <a:pos x="connsiteX360" y="connsiteY360"/>
                              </a:cxn>
                              <a:cxn ang="0">
                                <a:pos x="connsiteX361" y="connsiteY361"/>
                              </a:cxn>
                              <a:cxn ang="0">
                                <a:pos x="connsiteX362" y="connsiteY362"/>
                              </a:cxn>
                              <a:cxn ang="0">
                                <a:pos x="connsiteX363" y="connsiteY363"/>
                              </a:cxn>
                              <a:cxn ang="0">
                                <a:pos x="connsiteX364" y="connsiteY364"/>
                              </a:cxn>
                              <a:cxn ang="0">
                                <a:pos x="connsiteX365" y="connsiteY365"/>
                              </a:cxn>
                              <a:cxn ang="0">
                                <a:pos x="connsiteX366" y="connsiteY366"/>
                              </a:cxn>
                              <a:cxn ang="0">
                                <a:pos x="connsiteX367" y="connsiteY367"/>
                              </a:cxn>
                              <a:cxn ang="0">
                                <a:pos x="connsiteX368" y="connsiteY368"/>
                              </a:cxn>
                              <a:cxn ang="0">
                                <a:pos x="connsiteX369" y="connsiteY369"/>
                              </a:cxn>
                              <a:cxn ang="0">
                                <a:pos x="connsiteX370" y="connsiteY370"/>
                              </a:cxn>
                              <a:cxn ang="0">
                                <a:pos x="connsiteX371" y="connsiteY371"/>
                              </a:cxn>
                              <a:cxn ang="0">
                                <a:pos x="connsiteX372" y="connsiteY372"/>
                              </a:cxn>
                              <a:cxn ang="0">
                                <a:pos x="connsiteX373" y="connsiteY373"/>
                              </a:cxn>
                              <a:cxn ang="0">
                                <a:pos x="connsiteX374" y="connsiteY374"/>
                              </a:cxn>
                              <a:cxn ang="0">
                                <a:pos x="connsiteX375" y="connsiteY375"/>
                              </a:cxn>
                              <a:cxn ang="0">
                                <a:pos x="connsiteX376" y="connsiteY376"/>
                              </a:cxn>
                              <a:cxn ang="0">
                                <a:pos x="connsiteX377" y="connsiteY377"/>
                              </a:cxn>
                              <a:cxn ang="0">
                                <a:pos x="connsiteX378" y="connsiteY378"/>
                              </a:cxn>
                              <a:cxn ang="0">
                                <a:pos x="connsiteX379" y="connsiteY379"/>
                              </a:cxn>
                              <a:cxn ang="0">
                                <a:pos x="connsiteX380" y="connsiteY380"/>
                              </a:cxn>
                              <a:cxn ang="0">
                                <a:pos x="connsiteX381" y="connsiteY381"/>
                              </a:cxn>
                              <a:cxn ang="0">
                                <a:pos x="connsiteX382" y="connsiteY382"/>
                              </a:cxn>
                              <a:cxn ang="0">
                                <a:pos x="connsiteX383" y="connsiteY383"/>
                              </a:cxn>
                              <a:cxn ang="0">
                                <a:pos x="connsiteX384" y="connsiteY384"/>
                              </a:cxn>
                              <a:cxn ang="0">
                                <a:pos x="connsiteX385" y="connsiteY385"/>
                              </a:cxn>
                              <a:cxn ang="0">
                                <a:pos x="connsiteX386" y="connsiteY386"/>
                              </a:cxn>
                              <a:cxn ang="0">
                                <a:pos x="connsiteX387" y="connsiteY387"/>
                              </a:cxn>
                              <a:cxn ang="0">
                                <a:pos x="connsiteX388" y="connsiteY388"/>
                              </a:cxn>
                              <a:cxn ang="0">
                                <a:pos x="connsiteX389" y="connsiteY389"/>
                              </a:cxn>
                              <a:cxn ang="0">
                                <a:pos x="connsiteX390" y="connsiteY390"/>
                              </a:cxn>
                              <a:cxn ang="0">
                                <a:pos x="connsiteX391" y="connsiteY391"/>
                              </a:cxn>
                              <a:cxn ang="0">
                                <a:pos x="connsiteX392" y="connsiteY392"/>
                              </a:cxn>
                              <a:cxn ang="0">
                                <a:pos x="connsiteX393" y="connsiteY393"/>
                              </a:cxn>
                              <a:cxn ang="0">
                                <a:pos x="connsiteX394" y="connsiteY394"/>
                              </a:cxn>
                              <a:cxn ang="0">
                                <a:pos x="connsiteX395" y="connsiteY395"/>
                              </a:cxn>
                              <a:cxn ang="0">
                                <a:pos x="connsiteX396" y="connsiteY396"/>
                              </a:cxn>
                              <a:cxn ang="0">
                                <a:pos x="connsiteX397" y="connsiteY397"/>
                              </a:cxn>
                              <a:cxn ang="0">
                                <a:pos x="connsiteX398" y="connsiteY398"/>
                              </a:cxn>
                              <a:cxn ang="0">
                                <a:pos x="connsiteX399" y="connsiteY399"/>
                              </a:cxn>
                              <a:cxn ang="0">
                                <a:pos x="connsiteX400" y="connsiteY400"/>
                              </a:cxn>
                              <a:cxn ang="0">
                                <a:pos x="connsiteX401" y="connsiteY401"/>
                              </a:cxn>
                              <a:cxn ang="0">
                                <a:pos x="connsiteX402" y="connsiteY402"/>
                              </a:cxn>
                              <a:cxn ang="0">
                                <a:pos x="connsiteX403" y="connsiteY403"/>
                              </a:cxn>
                              <a:cxn ang="0">
                                <a:pos x="connsiteX404" y="connsiteY404"/>
                              </a:cxn>
                              <a:cxn ang="0">
                                <a:pos x="connsiteX405" y="connsiteY405"/>
                              </a:cxn>
                              <a:cxn ang="0">
                                <a:pos x="connsiteX406" y="connsiteY406"/>
                              </a:cxn>
                              <a:cxn ang="0">
                                <a:pos x="connsiteX407" y="connsiteY407"/>
                              </a:cxn>
                              <a:cxn ang="0">
                                <a:pos x="connsiteX408" y="connsiteY408"/>
                              </a:cxn>
                              <a:cxn ang="0">
                                <a:pos x="connsiteX409" y="connsiteY409"/>
                              </a:cxn>
                              <a:cxn ang="0">
                                <a:pos x="connsiteX410" y="connsiteY410"/>
                              </a:cxn>
                              <a:cxn ang="0">
                                <a:pos x="connsiteX411" y="connsiteY411"/>
                              </a:cxn>
                              <a:cxn ang="0">
                                <a:pos x="connsiteX412" y="connsiteY412"/>
                              </a:cxn>
                              <a:cxn ang="0">
                                <a:pos x="connsiteX413" y="connsiteY413"/>
                              </a:cxn>
                              <a:cxn ang="0">
                                <a:pos x="connsiteX414" y="connsiteY414"/>
                              </a:cxn>
                              <a:cxn ang="0">
                                <a:pos x="connsiteX415" y="connsiteY415"/>
                              </a:cxn>
                              <a:cxn ang="0">
                                <a:pos x="connsiteX416" y="connsiteY416"/>
                              </a:cxn>
                              <a:cxn ang="0">
                                <a:pos x="connsiteX417" y="connsiteY417"/>
                              </a:cxn>
                              <a:cxn ang="0">
                                <a:pos x="connsiteX418" y="connsiteY418"/>
                              </a:cxn>
                              <a:cxn ang="0">
                                <a:pos x="connsiteX419" y="connsiteY419"/>
                              </a:cxn>
                              <a:cxn ang="0">
                                <a:pos x="connsiteX420" y="connsiteY420"/>
                              </a:cxn>
                              <a:cxn ang="0">
                                <a:pos x="connsiteX421" y="connsiteY421"/>
                              </a:cxn>
                              <a:cxn ang="0">
                                <a:pos x="connsiteX422" y="connsiteY422"/>
                              </a:cxn>
                              <a:cxn ang="0">
                                <a:pos x="connsiteX423" y="connsiteY423"/>
                              </a:cxn>
                              <a:cxn ang="0">
                                <a:pos x="connsiteX424" y="connsiteY424"/>
                              </a:cxn>
                              <a:cxn ang="0">
                                <a:pos x="connsiteX425" y="connsiteY425"/>
                              </a:cxn>
                              <a:cxn ang="0">
                                <a:pos x="connsiteX426" y="connsiteY426"/>
                              </a:cxn>
                              <a:cxn ang="0">
                                <a:pos x="connsiteX427" y="connsiteY427"/>
                              </a:cxn>
                              <a:cxn ang="0">
                                <a:pos x="connsiteX428" y="connsiteY428"/>
                              </a:cxn>
                              <a:cxn ang="0">
                                <a:pos x="connsiteX429" y="connsiteY429"/>
                              </a:cxn>
                              <a:cxn ang="0">
                                <a:pos x="connsiteX430" y="connsiteY430"/>
                              </a:cxn>
                              <a:cxn ang="0">
                                <a:pos x="connsiteX431" y="connsiteY431"/>
                              </a:cxn>
                              <a:cxn ang="0">
                                <a:pos x="connsiteX432" y="connsiteY432"/>
                              </a:cxn>
                              <a:cxn ang="0">
                                <a:pos x="connsiteX433" y="connsiteY433"/>
                              </a:cxn>
                              <a:cxn ang="0">
                                <a:pos x="connsiteX434" y="connsiteY434"/>
                              </a:cxn>
                              <a:cxn ang="0">
                                <a:pos x="connsiteX435" y="connsiteY435"/>
                              </a:cxn>
                              <a:cxn ang="0">
                                <a:pos x="connsiteX436" y="connsiteY436"/>
                              </a:cxn>
                              <a:cxn ang="0">
                                <a:pos x="connsiteX437" y="connsiteY437"/>
                              </a:cxn>
                              <a:cxn ang="0">
                                <a:pos x="connsiteX438" y="connsiteY438"/>
                              </a:cxn>
                              <a:cxn ang="0">
                                <a:pos x="connsiteX439" y="connsiteY439"/>
                              </a:cxn>
                              <a:cxn ang="0">
                                <a:pos x="connsiteX440" y="connsiteY440"/>
                              </a:cxn>
                              <a:cxn ang="0">
                                <a:pos x="connsiteX441" y="connsiteY441"/>
                              </a:cxn>
                              <a:cxn ang="0">
                                <a:pos x="connsiteX442" y="connsiteY442"/>
                              </a:cxn>
                              <a:cxn ang="0">
                                <a:pos x="connsiteX443" y="connsiteY443"/>
                              </a:cxn>
                              <a:cxn ang="0">
                                <a:pos x="connsiteX444" y="connsiteY444"/>
                              </a:cxn>
                              <a:cxn ang="0">
                                <a:pos x="connsiteX445" y="connsiteY445"/>
                              </a:cxn>
                              <a:cxn ang="0">
                                <a:pos x="connsiteX446" y="connsiteY446"/>
                              </a:cxn>
                              <a:cxn ang="0">
                                <a:pos x="connsiteX447" y="connsiteY447"/>
                              </a:cxn>
                              <a:cxn ang="0">
                                <a:pos x="connsiteX448" y="connsiteY448"/>
                              </a:cxn>
                              <a:cxn ang="0">
                                <a:pos x="connsiteX449" y="connsiteY449"/>
                              </a:cxn>
                              <a:cxn ang="0">
                                <a:pos x="connsiteX450" y="connsiteY450"/>
                              </a:cxn>
                              <a:cxn ang="0">
                                <a:pos x="connsiteX451" y="connsiteY451"/>
                              </a:cxn>
                              <a:cxn ang="0">
                                <a:pos x="connsiteX452" y="connsiteY452"/>
                              </a:cxn>
                              <a:cxn ang="0">
                                <a:pos x="connsiteX453" y="connsiteY453"/>
                              </a:cxn>
                              <a:cxn ang="0">
                                <a:pos x="connsiteX454" y="connsiteY454"/>
                              </a:cxn>
                              <a:cxn ang="0">
                                <a:pos x="connsiteX455" y="connsiteY455"/>
                              </a:cxn>
                              <a:cxn ang="0">
                                <a:pos x="connsiteX456" y="connsiteY456"/>
                              </a:cxn>
                              <a:cxn ang="0">
                                <a:pos x="connsiteX457" y="connsiteY457"/>
                              </a:cxn>
                              <a:cxn ang="0">
                                <a:pos x="connsiteX458" y="connsiteY458"/>
                              </a:cxn>
                              <a:cxn ang="0">
                                <a:pos x="connsiteX459" y="connsiteY459"/>
                              </a:cxn>
                              <a:cxn ang="0">
                                <a:pos x="connsiteX460" y="connsiteY460"/>
                              </a:cxn>
                              <a:cxn ang="0">
                                <a:pos x="connsiteX461" y="connsiteY461"/>
                              </a:cxn>
                              <a:cxn ang="0">
                                <a:pos x="connsiteX462" y="connsiteY462"/>
                              </a:cxn>
                              <a:cxn ang="0">
                                <a:pos x="connsiteX463" y="connsiteY463"/>
                              </a:cxn>
                              <a:cxn ang="0">
                                <a:pos x="connsiteX464" y="connsiteY464"/>
                              </a:cxn>
                              <a:cxn ang="0">
                                <a:pos x="connsiteX465" y="connsiteY465"/>
                              </a:cxn>
                              <a:cxn ang="0">
                                <a:pos x="connsiteX466" y="connsiteY466"/>
                              </a:cxn>
                              <a:cxn ang="0">
                                <a:pos x="connsiteX467" y="connsiteY467"/>
                              </a:cxn>
                              <a:cxn ang="0">
                                <a:pos x="connsiteX468" y="connsiteY468"/>
                              </a:cxn>
                              <a:cxn ang="0">
                                <a:pos x="connsiteX469" y="connsiteY469"/>
                              </a:cxn>
                              <a:cxn ang="0">
                                <a:pos x="connsiteX470" y="connsiteY470"/>
                              </a:cxn>
                              <a:cxn ang="0">
                                <a:pos x="connsiteX471" y="connsiteY471"/>
                              </a:cxn>
                              <a:cxn ang="0">
                                <a:pos x="connsiteX472" y="connsiteY472"/>
                              </a:cxn>
                              <a:cxn ang="0">
                                <a:pos x="connsiteX473" y="connsiteY473"/>
                              </a:cxn>
                              <a:cxn ang="0">
                                <a:pos x="connsiteX474" y="connsiteY474"/>
                              </a:cxn>
                              <a:cxn ang="0">
                                <a:pos x="connsiteX475" y="connsiteY475"/>
                              </a:cxn>
                              <a:cxn ang="0">
                                <a:pos x="connsiteX476" y="connsiteY476"/>
                              </a:cxn>
                              <a:cxn ang="0">
                                <a:pos x="connsiteX477" y="connsiteY477"/>
                              </a:cxn>
                              <a:cxn ang="0">
                                <a:pos x="connsiteX478" y="connsiteY478"/>
                              </a:cxn>
                              <a:cxn ang="0">
                                <a:pos x="connsiteX479" y="connsiteY479"/>
                              </a:cxn>
                              <a:cxn ang="0">
                                <a:pos x="connsiteX480" y="connsiteY480"/>
                              </a:cxn>
                              <a:cxn ang="0">
                                <a:pos x="connsiteX481" y="connsiteY481"/>
                              </a:cxn>
                              <a:cxn ang="0">
                                <a:pos x="connsiteX482" y="connsiteY482"/>
                              </a:cxn>
                              <a:cxn ang="0">
                                <a:pos x="connsiteX483" y="connsiteY483"/>
                              </a:cxn>
                              <a:cxn ang="0">
                                <a:pos x="connsiteX484" y="connsiteY484"/>
                              </a:cxn>
                              <a:cxn ang="0">
                                <a:pos x="connsiteX485" y="connsiteY485"/>
                              </a:cxn>
                              <a:cxn ang="0">
                                <a:pos x="connsiteX486" y="connsiteY486"/>
                              </a:cxn>
                              <a:cxn ang="0">
                                <a:pos x="connsiteX487" y="connsiteY487"/>
                              </a:cxn>
                              <a:cxn ang="0">
                                <a:pos x="connsiteX488" y="connsiteY488"/>
                              </a:cxn>
                              <a:cxn ang="0">
                                <a:pos x="connsiteX489" y="connsiteY489"/>
                              </a:cxn>
                              <a:cxn ang="0">
                                <a:pos x="connsiteX490" y="connsiteY490"/>
                              </a:cxn>
                              <a:cxn ang="0">
                                <a:pos x="connsiteX491" y="connsiteY491"/>
                              </a:cxn>
                              <a:cxn ang="0">
                                <a:pos x="connsiteX492" y="connsiteY492"/>
                              </a:cxn>
                              <a:cxn ang="0">
                                <a:pos x="connsiteX493" y="connsiteY493"/>
                              </a:cxn>
                              <a:cxn ang="0">
                                <a:pos x="connsiteX494" y="connsiteY494"/>
                              </a:cxn>
                              <a:cxn ang="0">
                                <a:pos x="connsiteX495" y="connsiteY495"/>
                              </a:cxn>
                              <a:cxn ang="0">
                                <a:pos x="connsiteX496" y="connsiteY496"/>
                              </a:cxn>
                              <a:cxn ang="0">
                                <a:pos x="connsiteX497" y="connsiteY497"/>
                              </a:cxn>
                              <a:cxn ang="0">
                                <a:pos x="connsiteX498" y="connsiteY498"/>
                              </a:cxn>
                              <a:cxn ang="0">
                                <a:pos x="connsiteX499" y="connsiteY499"/>
                              </a:cxn>
                              <a:cxn ang="0">
                                <a:pos x="connsiteX500" y="connsiteY500"/>
                              </a:cxn>
                              <a:cxn ang="0">
                                <a:pos x="connsiteX501" y="connsiteY501"/>
                              </a:cxn>
                              <a:cxn ang="0">
                                <a:pos x="connsiteX502" y="connsiteY502"/>
                              </a:cxn>
                              <a:cxn ang="0">
                                <a:pos x="connsiteX503" y="connsiteY503"/>
                              </a:cxn>
                              <a:cxn ang="0">
                                <a:pos x="connsiteX504" y="connsiteY504"/>
                              </a:cxn>
                              <a:cxn ang="0">
                                <a:pos x="connsiteX505" y="connsiteY505"/>
                              </a:cxn>
                              <a:cxn ang="0">
                                <a:pos x="connsiteX506" y="connsiteY506"/>
                              </a:cxn>
                              <a:cxn ang="0">
                                <a:pos x="connsiteX507" y="connsiteY507"/>
                              </a:cxn>
                              <a:cxn ang="0">
                                <a:pos x="connsiteX508" y="connsiteY508"/>
                              </a:cxn>
                              <a:cxn ang="0">
                                <a:pos x="connsiteX509" y="connsiteY509"/>
                              </a:cxn>
                              <a:cxn ang="0">
                                <a:pos x="connsiteX510" y="connsiteY510"/>
                              </a:cxn>
                              <a:cxn ang="0">
                                <a:pos x="connsiteX511" y="connsiteY511"/>
                              </a:cxn>
                              <a:cxn ang="0">
                                <a:pos x="connsiteX512" y="connsiteY512"/>
                              </a:cxn>
                              <a:cxn ang="0">
                                <a:pos x="connsiteX513" y="connsiteY513"/>
                              </a:cxn>
                              <a:cxn ang="0">
                                <a:pos x="connsiteX514" y="connsiteY514"/>
                              </a:cxn>
                              <a:cxn ang="0">
                                <a:pos x="connsiteX515" y="connsiteY515"/>
                              </a:cxn>
                              <a:cxn ang="0">
                                <a:pos x="connsiteX516" y="connsiteY516"/>
                              </a:cxn>
                              <a:cxn ang="0">
                                <a:pos x="connsiteX517" y="connsiteY517"/>
                              </a:cxn>
                              <a:cxn ang="0">
                                <a:pos x="connsiteX518" y="connsiteY518"/>
                              </a:cxn>
                              <a:cxn ang="0">
                                <a:pos x="connsiteX519" y="connsiteY519"/>
                              </a:cxn>
                              <a:cxn ang="0">
                                <a:pos x="connsiteX520" y="connsiteY520"/>
                              </a:cxn>
                              <a:cxn ang="0">
                                <a:pos x="connsiteX521" y="connsiteY521"/>
                              </a:cxn>
                              <a:cxn ang="0">
                                <a:pos x="connsiteX522" y="connsiteY522"/>
                              </a:cxn>
                              <a:cxn ang="0">
                                <a:pos x="connsiteX523" y="connsiteY523"/>
                              </a:cxn>
                              <a:cxn ang="0">
                                <a:pos x="connsiteX524" y="connsiteY524"/>
                              </a:cxn>
                              <a:cxn ang="0">
                                <a:pos x="connsiteX525" y="connsiteY525"/>
                              </a:cxn>
                              <a:cxn ang="0">
                                <a:pos x="connsiteX526" y="connsiteY526"/>
                              </a:cxn>
                              <a:cxn ang="0">
                                <a:pos x="connsiteX527" y="connsiteY527"/>
                              </a:cxn>
                              <a:cxn ang="0">
                                <a:pos x="connsiteX528" y="connsiteY528"/>
                              </a:cxn>
                              <a:cxn ang="0">
                                <a:pos x="connsiteX529" y="connsiteY529"/>
                              </a:cxn>
                              <a:cxn ang="0">
                                <a:pos x="connsiteX530" y="connsiteY530"/>
                              </a:cxn>
                              <a:cxn ang="0">
                                <a:pos x="connsiteX531" y="connsiteY531"/>
                              </a:cxn>
                              <a:cxn ang="0">
                                <a:pos x="connsiteX532" y="connsiteY532"/>
                              </a:cxn>
                              <a:cxn ang="0">
                                <a:pos x="connsiteX533" y="connsiteY533"/>
                              </a:cxn>
                              <a:cxn ang="0">
                                <a:pos x="connsiteX534" y="connsiteY534"/>
                              </a:cxn>
                              <a:cxn ang="0">
                                <a:pos x="connsiteX535" y="connsiteY535"/>
                              </a:cxn>
                              <a:cxn ang="0">
                                <a:pos x="connsiteX536" y="connsiteY536"/>
                              </a:cxn>
                              <a:cxn ang="0">
                                <a:pos x="connsiteX537" y="connsiteY537"/>
                              </a:cxn>
                              <a:cxn ang="0">
                                <a:pos x="connsiteX538" y="connsiteY538"/>
                              </a:cxn>
                              <a:cxn ang="0">
                                <a:pos x="connsiteX539" y="connsiteY539"/>
                              </a:cxn>
                              <a:cxn ang="0">
                                <a:pos x="connsiteX540" y="connsiteY540"/>
                              </a:cxn>
                              <a:cxn ang="0">
                                <a:pos x="connsiteX541" y="connsiteY541"/>
                              </a:cxn>
                              <a:cxn ang="0">
                                <a:pos x="connsiteX542" y="connsiteY542"/>
                              </a:cxn>
                              <a:cxn ang="0">
                                <a:pos x="connsiteX543" y="connsiteY543"/>
                              </a:cxn>
                              <a:cxn ang="0">
                                <a:pos x="connsiteX544" y="connsiteY544"/>
                              </a:cxn>
                              <a:cxn ang="0">
                                <a:pos x="connsiteX545" y="connsiteY545"/>
                              </a:cxn>
                              <a:cxn ang="0">
                                <a:pos x="connsiteX546" y="connsiteY546"/>
                              </a:cxn>
                              <a:cxn ang="0">
                                <a:pos x="connsiteX547" y="connsiteY547"/>
                              </a:cxn>
                              <a:cxn ang="0">
                                <a:pos x="connsiteX548" y="connsiteY548"/>
                              </a:cxn>
                              <a:cxn ang="0">
                                <a:pos x="connsiteX549" y="connsiteY549"/>
                              </a:cxn>
                              <a:cxn ang="0">
                                <a:pos x="connsiteX550" y="connsiteY550"/>
                              </a:cxn>
                              <a:cxn ang="0">
                                <a:pos x="connsiteX551" y="connsiteY551"/>
                              </a:cxn>
                              <a:cxn ang="0">
                                <a:pos x="connsiteX552" y="connsiteY552"/>
                              </a:cxn>
                              <a:cxn ang="0">
                                <a:pos x="connsiteX553" y="connsiteY553"/>
                              </a:cxn>
                              <a:cxn ang="0">
                                <a:pos x="connsiteX554" y="connsiteY554"/>
                              </a:cxn>
                              <a:cxn ang="0">
                                <a:pos x="connsiteX555" y="connsiteY555"/>
                              </a:cxn>
                              <a:cxn ang="0">
                                <a:pos x="connsiteX556" y="connsiteY556"/>
                              </a:cxn>
                              <a:cxn ang="0">
                                <a:pos x="connsiteX557" y="connsiteY557"/>
                              </a:cxn>
                              <a:cxn ang="0">
                                <a:pos x="connsiteX558" y="connsiteY558"/>
                              </a:cxn>
                              <a:cxn ang="0">
                                <a:pos x="connsiteX559" y="connsiteY559"/>
                              </a:cxn>
                              <a:cxn ang="0">
                                <a:pos x="connsiteX560" y="connsiteY560"/>
                              </a:cxn>
                              <a:cxn ang="0">
                                <a:pos x="connsiteX561" y="connsiteY561"/>
                              </a:cxn>
                              <a:cxn ang="0">
                                <a:pos x="connsiteX562" y="connsiteY562"/>
                              </a:cxn>
                              <a:cxn ang="0">
                                <a:pos x="connsiteX563" y="connsiteY563"/>
                              </a:cxn>
                              <a:cxn ang="0">
                                <a:pos x="connsiteX564" y="connsiteY564"/>
                              </a:cxn>
                              <a:cxn ang="0">
                                <a:pos x="connsiteX565" y="connsiteY565"/>
                              </a:cxn>
                              <a:cxn ang="0">
                                <a:pos x="connsiteX566" y="connsiteY566"/>
                              </a:cxn>
                              <a:cxn ang="0">
                                <a:pos x="connsiteX567" y="connsiteY567"/>
                              </a:cxn>
                              <a:cxn ang="0">
                                <a:pos x="connsiteX568" y="connsiteY568"/>
                              </a:cxn>
                              <a:cxn ang="0">
                                <a:pos x="connsiteX569" y="connsiteY569"/>
                              </a:cxn>
                              <a:cxn ang="0">
                                <a:pos x="connsiteX570" y="connsiteY570"/>
                              </a:cxn>
                              <a:cxn ang="0">
                                <a:pos x="connsiteX571" y="connsiteY571"/>
                              </a:cxn>
                              <a:cxn ang="0">
                                <a:pos x="connsiteX572" y="connsiteY572"/>
                              </a:cxn>
                              <a:cxn ang="0">
                                <a:pos x="connsiteX573" y="connsiteY573"/>
                              </a:cxn>
                              <a:cxn ang="0">
                                <a:pos x="connsiteX574" y="connsiteY574"/>
                              </a:cxn>
                              <a:cxn ang="0">
                                <a:pos x="connsiteX575" y="connsiteY575"/>
                              </a:cxn>
                              <a:cxn ang="0">
                                <a:pos x="connsiteX576" y="connsiteY576"/>
                              </a:cxn>
                              <a:cxn ang="0">
                                <a:pos x="connsiteX577" y="connsiteY577"/>
                              </a:cxn>
                              <a:cxn ang="0">
                                <a:pos x="connsiteX578" y="connsiteY578"/>
                              </a:cxn>
                              <a:cxn ang="0">
                                <a:pos x="connsiteX579" y="connsiteY579"/>
                              </a:cxn>
                              <a:cxn ang="0">
                                <a:pos x="connsiteX580" y="connsiteY580"/>
                              </a:cxn>
                              <a:cxn ang="0">
                                <a:pos x="connsiteX581" y="connsiteY581"/>
                              </a:cxn>
                              <a:cxn ang="0">
                                <a:pos x="connsiteX582" y="connsiteY582"/>
                              </a:cxn>
                              <a:cxn ang="0">
                                <a:pos x="connsiteX583" y="connsiteY583"/>
                              </a:cxn>
                              <a:cxn ang="0">
                                <a:pos x="connsiteX584" y="connsiteY584"/>
                              </a:cxn>
                              <a:cxn ang="0">
                                <a:pos x="connsiteX585" y="connsiteY585"/>
                              </a:cxn>
                              <a:cxn ang="0">
                                <a:pos x="connsiteX586" y="connsiteY586"/>
                              </a:cxn>
                              <a:cxn ang="0">
                                <a:pos x="connsiteX587" y="connsiteY587"/>
                              </a:cxn>
                              <a:cxn ang="0">
                                <a:pos x="connsiteX588" y="connsiteY588"/>
                              </a:cxn>
                              <a:cxn ang="0">
                                <a:pos x="connsiteX589" y="connsiteY589"/>
                              </a:cxn>
                              <a:cxn ang="0">
                                <a:pos x="connsiteX590" y="connsiteY590"/>
                              </a:cxn>
                              <a:cxn ang="0">
                                <a:pos x="connsiteX591" y="connsiteY591"/>
                              </a:cxn>
                              <a:cxn ang="0">
                                <a:pos x="connsiteX592" y="connsiteY592"/>
                              </a:cxn>
                              <a:cxn ang="0">
                                <a:pos x="connsiteX593" y="connsiteY593"/>
                              </a:cxn>
                              <a:cxn ang="0">
                                <a:pos x="connsiteX594" y="connsiteY594"/>
                              </a:cxn>
                              <a:cxn ang="0">
                                <a:pos x="connsiteX595" y="connsiteY595"/>
                              </a:cxn>
                              <a:cxn ang="0">
                                <a:pos x="connsiteX596" y="connsiteY596"/>
                              </a:cxn>
                              <a:cxn ang="0">
                                <a:pos x="connsiteX597" y="connsiteY597"/>
                              </a:cxn>
                              <a:cxn ang="0">
                                <a:pos x="connsiteX598" y="connsiteY598"/>
                              </a:cxn>
                              <a:cxn ang="0">
                                <a:pos x="connsiteX599" y="connsiteY599"/>
                              </a:cxn>
                              <a:cxn ang="0">
                                <a:pos x="connsiteX600" y="connsiteY600"/>
                              </a:cxn>
                              <a:cxn ang="0">
                                <a:pos x="connsiteX601" y="connsiteY601"/>
                              </a:cxn>
                              <a:cxn ang="0">
                                <a:pos x="connsiteX602" y="connsiteY602"/>
                              </a:cxn>
                              <a:cxn ang="0">
                                <a:pos x="connsiteX603" y="connsiteY603"/>
                              </a:cxn>
                              <a:cxn ang="0">
                                <a:pos x="connsiteX604" y="connsiteY604"/>
                              </a:cxn>
                              <a:cxn ang="0">
                                <a:pos x="connsiteX605" y="connsiteY605"/>
                              </a:cxn>
                              <a:cxn ang="0">
                                <a:pos x="connsiteX606" y="connsiteY606"/>
                              </a:cxn>
                              <a:cxn ang="0">
                                <a:pos x="connsiteX607" y="connsiteY607"/>
                              </a:cxn>
                              <a:cxn ang="0">
                                <a:pos x="connsiteX608" y="connsiteY608"/>
                              </a:cxn>
                              <a:cxn ang="0">
                                <a:pos x="connsiteX609" y="connsiteY609"/>
                              </a:cxn>
                              <a:cxn ang="0">
                                <a:pos x="connsiteX610" y="connsiteY610"/>
                              </a:cxn>
                              <a:cxn ang="0">
                                <a:pos x="connsiteX611" y="connsiteY611"/>
                              </a:cxn>
                              <a:cxn ang="0">
                                <a:pos x="connsiteX612" y="connsiteY612"/>
                              </a:cxn>
                              <a:cxn ang="0">
                                <a:pos x="connsiteX613" y="connsiteY613"/>
                              </a:cxn>
                              <a:cxn ang="0">
                                <a:pos x="connsiteX614" y="connsiteY614"/>
                              </a:cxn>
                              <a:cxn ang="0">
                                <a:pos x="connsiteX615" y="connsiteY615"/>
                              </a:cxn>
                              <a:cxn ang="0">
                                <a:pos x="connsiteX616" y="connsiteY616"/>
                              </a:cxn>
                              <a:cxn ang="0">
                                <a:pos x="connsiteX617" y="connsiteY617"/>
                              </a:cxn>
                              <a:cxn ang="0">
                                <a:pos x="connsiteX618" y="connsiteY618"/>
                              </a:cxn>
                              <a:cxn ang="0">
                                <a:pos x="connsiteX619" y="connsiteY619"/>
                              </a:cxn>
                              <a:cxn ang="0">
                                <a:pos x="connsiteX620" y="connsiteY620"/>
                              </a:cxn>
                              <a:cxn ang="0">
                                <a:pos x="connsiteX621" y="connsiteY621"/>
                              </a:cxn>
                              <a:cxn ang="0">
                                <a:pos x="connsiteX622" y="connsiteY622"/>
                              </a:cxn>
                              <a:cxn ang="0">
                                <a:pos x="connsiteX623" y="connsiteY623"/>
                              </a:cxn>
                              <a:cxn ang="0">
                                <a:pos x="connsiteX624" y="connsiteY624"/>
                              </a:cxn>
                              <a:cxn ang="0">
                                <a:pos x="connsiteX625" y="connsiteY625"/>
                              </a:cxn>
                              <a:cxn ang="0">
                                <a:pos x="connsiteX626" y="connsiteY626"/>
                              </a:cxn>
                              <a:cxn ang="0">
                                <a:pos x="connsiteX627" y="connsiteY627"/>
                              </a:cxn>
                              <a:cxn ang="0">
                                <a:pos x="connsiteX628" y="connsiteY628"/>
                              </a:cxn>
                              <a:cxn ang="0">
                                <a:pos x="connsiteX629" y="connsiteY629"/>
                              </a:cxn>
                              <a:cxn ang="0">
                                <a:pos x="connsiteX630" y="connsiteY630"/>
                              </a:cxn>
                              <a:cxn ang="0">
                                <a:pos x="connsiteX631" y="connsiteY631"/>
                              </a:cxn>
                              <a:cxn ang="0">
                                <a:pos x="connsiteX632" y="connsiteY632"/>
                              </a:cxn>
                              <a:cxn ang="0">
                                <a:pos x="connsiteX633" y="connsiteY633"/>
                              </a:cxn>
                              <a:cxn ang="0">
                                <a:pos x="connsiteX634" y="connsiteY634"/>
                              </a:cxn>
                              <a:cxn ang="0">
                                <a:pos x="connsiteX635" y="connsiteY635"/>
                              </a:cxn>
                              <a:cxn ang="0">
                                <a:pos x="connsiteX636" y="connsiteY636"/>
                              </a:cxn>
                              <a:cxn ang="0">
                                <a:pos x="connsiteX637" y="connsiteY637"/>
                              </a:cxn>
                              <a:cxn ang="0">
                                <a:pos x="connsiteX638" y="connsiteY638"/>
                              </a:cxn>
                              <a:cxn ang="0">
                                <a:pos x="connsiteX639" y="connsiteY639"/>
                              </a:cxn>
                              <a:cxn ang="0">
                                <a:pos x="connsiteX640" y="connsiteY640"/>
                              </a:cxn>
                              <a:cxn ang="0">
                                <a:pos x="connsiteX641" y="connsiteY641"/>
                              </a:cxn>
                              <a:cxn ang="0">
                                <a:pos x="connsiteX642" y="connsiteY642"/>
                              </a:cxn>
                              <a:cxn ang="0">
                                <a:pos x="connsiteX643" y="connsiteY643"/>
                              </a:cxn>
                              <a:cxn ang="0">
                                <a:pos x="connsiteX644" y="connsiteY644"/>
                              </a:cxn>
                              <a:cxn ang="0">
                                <a:pos x="connsiteX645" y="connsiteY645"/>
                              </a:cxn>
                              <a:cxn ang="0">
                                <a:pos x="connsiteX646" y="connsiteY646"/>
                              </a:cxn>
                              <a:cxn ang="0">
                                <a:pos x="connsiteX647" y="connsiteY647"/>
                              </a:cxn>
                              <a:cxn ang="0">
                                <a:pos x="connsiteX648" y="connsiteY648"/>
                              </a:cxn>
                              <a:cxn ang="0">
                                <a:pos x="connsiteX649" y="connsiteY649"/>
                              </a:cxn>
                              <a:cxn ang="0">
                                <a:pos x="connsiteX650" y="connsiteY650"/>
                              </a:cxn>
                              <a:cxn ang="0">
                                <a:pos x="connsiteX651" y="connsiteY651"/>
                              </a:cxn>
                              <a:cxn ang="0">
                                <a:pos x="connsiteX652" y="connsiteY652"/>
                              </a:cxn>
                              <a:cxn ang="0">
                                <a:pos x="connsiteX653" y="connsiteY653"/>
                              </a:cxn>
                              <a:cxn ang="0">
                                <a:pos x="connsiteX654" y="connsiteY654"/>
                              </a:cxn>
                              <a:cxn ang="0">
                                <a:pos x="connsiteX655" y="connsiteY655"/>
                              </a:cxn>
                              <a:cxn ang="0">
                                <a:pos x="connsiteX656" y="connsiteY656"/>
                              </a:cxn>
                              <a:cxn ang="0">
                                <a:pos x="connsiteX657" y="connsiteY657"/>
                              </a:cxn>
                              <a:cxn ang="0">
                                <a:pos x="connsiteX658" y="connsiteY658"/>
                              </a:cxn>
                              <a:cxn ang="0">
                                <a:pos x="connsiteX659" y="connsiteY659"/>
                              </a:cxn>
                              <a:cxn ang="0">
                                <a:pos x="connsiteX660" y="connsiteY660"/>
                              </a:cxn>
                              <a:cxn ang="0">
                                <a:pos x="connsiteX661" y="connsiteY661"/>
                              </a:cxn>
                              <a:cxn ang="0">
                                <a:pos x="connsiteX662" y="connsiteY662"/>
                              </a:cxn>
                              <a:cxn ang="0">
                                <a:pos x="connsiteX663" y="connsiteY663"/>
                              </a:cxn>
                              <a:cxn ang="0">
                                <a:pos x="connsiteX664" y="connsiteY664"/>
                              </a:cxn>
                              <a:cxn ang="0">
                                <a:pos x="connsiteX665" y="connsiteY665"/>
                              </a:cxn>
                              <a:cxn ang="0">
                                <a:pos x="connsiteX666" y="connsiteY666"/>
                              </a:cxn>
                              <a:cxn ang="0">
                                <a:pos x="connsiteX667" y="connsiteY667"/>
                              </a:cxn>
                              <a:cxn ang="0">
                                <a:pos x="connsiteX668" y="connsiteY668"/>
                              </a:cxn>
                              <a:cxn ang="0">
                                <a:pos x="connsiteX669" y="connsiteY669"/>
                              </a:cxn>
                              <a:cxn ang="0">
                                <a:pos x="connsiteX670" y="connsiteY670"/>
                              </a:cxn>
                              <a:cxn ang="0">
                                <a:pos x="connsiteX671" y="connsiteY671"/>
                              </a:cxn>
                              <a:cxn ang="0">
                                <a:pos x="connsiteX672" y="connsiteY672"/>
                              </a:cxn>
                              <a:cxn ang="0">
                                <a:pos x="connsiteX673" y="connsiteY673"/>
                              </a:cxn>
                              <a:cxn ang="0">
                                <a:pos x="connsiteX674" y="connsiteY674"/>
                              </a:cxn>
                              <a:cxn ang="0">
                                <a:pos x="connsiteX675" y="connsiteY675"/>
                              </a:cxn>
                              <a:cxn ang="0">
                                <a:pos x="connsiteX676" y="connsiteY676"/>
                              </a:cxn>
                              <a:cxn ang="0">
                                <a:pos x="connsiteX677" y="connsiteY677"/>
                              </a:cxn>
                              <a:cxn ang="0">
                                <a:pos x="connsiteX678" y="connsiteY678"/>
                              </a:cxn>
                              <a:cxn ang="0">
                                <a:pos x="connsiteX679" y="connsiteY679"/>
                              </a:cxn>
                              <a:cxn ang="0">
                                <a:pos x="connsiteX680" y="connsiteY680"/>
                              </a:cxn>
                              <a:cxn ang="0">
                                <a:pos x="connsiteX681" y="connsiteY681"/>
                              </a:cxn>
                              <a:cxn ang="0">
                                <a:pos x="connsiteX682" y="connsiteY682"/>
                              </a:cxn>
                              <a:cxn ang="0">
                                <a:pos x="connsiteX683" y="connsiteY683"/>
                              </a:cxn>
                              <a:cxn ang="0">
                                <a:pos x="connsiteX684" y="connsiteY684"/>
                              </a:cxn>
                              <a:cxn ang="0">
                                <a:pos x="connsiteX685" y="connsiteY685"/>
                              </a:cxn>
                              <a:cxn ang="0">
                                <a:pos x="connsiteX686" y="connsiteY686"/>
                              </a:cxn>
                              <a:cxn ang="0">
                                <a:pos x="connsiteX687" y="connsiteY687"/>
                              </a:cxn>
                              <a:cxn ang="0">
                                <a:pos x="connsiteX688" y="connsiteY688"/>
                              </a:cxn>
                              <a:cxn ang="0">
                                <a:pos x="connsiteX689" y="connsiteY689"/>
                              </a:cxn>
                              <a:cxn ang="0">
                                <a:pos x="connsiteX690" y="connsiteY690"/>
                              </a:cxn>
                              <a:cxn ang="0">
                                <a:pos x="connsiteX691" y="connsiteY691"/>
                              </a:cxn>
                              <a:cxn ang="0">
                                <a:pos x="connsiteX692" y="connsiteY692"/>
                              </a:cxn>
                              <a:cxn ang="0">
                                <a:pos x="connsiteX693" y="connsiteY693"/>
                              </a:cxn>
                              <a:cxn ang="0">
                                <a:pos x="connsiteX694" y="connsiteY694"/>
                              </a:cxn>
                              <a:cxn ang="0">
                                <a:pos x="connsiteX695" y="connsiteY695"/>
                              </a:cxn>
                              <a:cxn ang="0">
                                <a:pos x="connsiteX696" y="connsiteY696"/>
                              </a:cxn>
                              <a:cxn ang="0">
                                <a:pos x="connsiteX697" y="connsiteY697"/>
                              </a:cxn>
                              <a:cxn ang="0">
                                <a:pos x="connsiteX698" y="connsiteY698"/>
                              </a:cxn>
                              <a:cxn ang="0">
                                <a:pos x="connsiteX699" y="connsiteY699"/>
                              </a:cxn>
                              <a:cxn ang="0">
                                <a:pos x="connsiteX700" y="connsiteY700"/>
                              </a:cxn>
                              <a:cxn ang="0">
                                <a:pos x="connsiteX701" y="connsiteY701"/>
                              </a:cxn>
                              <a:cxn ang="0">
                                <a:pos x="connsiteX702" y="connsiteY702"/>
                              </a:cxn>
                              <a:cxn ang="0">
                                <a:pos x="connsiteX703" y="connsiteY703"/>
                              </a:cxn>
                              <a:cxn ang="0">
                                <a:pos x="connsiteX704" y="connsiteY704"/>
                              </a:cxn>
                              <a:cxn ang="0">
                                <a:pos x="connsiteX705" y="connsiteY705"/>
                              </a:cxn>
                              <a:cxn ang="0">
                                <a:pos x="connsiteX706" y="connsiteY706"/>
                              </a:cxn>
                              <a:cxn ang="0">
                                <a:pos x="connsiteX707" y="connsiteY707"/>
                              </a:cxn>
                              <a:cxn ang="0">
                                <a:pos x="connsiteX708" y="connsiteY708"/>
                              </a:cxn>
                              <a:cxn ang="0">
                                <a:pos x="connsiteX709" y="connsiteY709"/>
                              </a:cxn>
                              <a:cxn ang="0">
                                <a:pos x="connsiteX710" y="connsiteY710"/>
                              </a:cxn>
                              <a:cxn ang="0">
                                <a:pos x="connsiteX711" y="connsiteY711"/>
                              </a:cxn>
                              <a:cxn ang="0">
                                <a:pos x="connsiteX712" y="connsiteY712"/>
                              </a:cxn>
                              <a:cxn ang="0">
                                <a:pos x="connsiteX713" y="connsiteY713"/>
                              </a:cxn>
                              <a:cxn ang="0">
                                <a:pos x="connsiteX714" y="connsiteY714"/>
                              </a:cxn>
                              <a:cxn ang="0">
                                <a:pos x="connsiteX715" y="connsiteY715"/>
                              </a:cxn>
                              <a:cxn ang="0">
                                <a:pos x="connsiteX716" y="connsiteY716"/>
                              </a:cxn>
                              <a:cxn ang="0">
                                <a:pos x="connsiteX717" y="connsiteY717"/>
                              </a:cxn>
                              <a:cxn ang="0">
                                <a:pos x="connsiteX718" y="connsiteY718"/>
                              </a:cxn>
                              <a:cxn ang="0">
                                <a:pos x="connsiteX719" y="connsiteY719"/>
                              </a:cxn>
                              <a:cxn ang="0">
                                <a:pos x="connsiteX720" y="connsiteY720"/>
                              </a:cxn>
                              <a:cxn ang="0">
                                <a:pos x="connsiteX721" y="connsiteY721"/>
                              </a:cxn>
                              <a:cxn ang="0">
                                <a:pos x="connsiteX722" y="connsiteY722"/>
                              </a:cxn>
                              <a:cxn ang="0">
                                <a:pos x="connsiteX723" y="connsiteY723"/>
                              </a:cxn>
                              <a:cxn ang="0">
                                <a:pos x="connsiteX724" y="connsiteY724"/>
                              </a:cxn>
                              <a:cxn ang="0">
                                <a:pos x="connsiteX725" y="connsiteY725"/>
                              </a:cxn>
                              <a:cxn ang="0">
                                <a:pos x="connsiteX726" y="connsiteY726"/>
                              </a:cxn>
                              <a:cxn ang="0">
                                <a:pos x="connsiteX727" y="connsiteY727"/>
                              </a:cxn>
                              <a:cxn ang="0">
                                <a:pos x="connsiteX728" y="connsiteY728"/>
                              </a:cxn>
                              <a:cxn ang="0">
                                <a:pos x="connsiteX729" y="connsiteY729"/>
                              </a:cxn>
                              <a:cxn ang="0">
                                <a:pos x="connsiteX730" y="connsiteY730"/>
                              </a:cxn>
                              <a:cxn ang="0">
                                <a:pos x="connsiteX731" y="connsiteY731"/>
                              </a:cxn>
                              <a:cxn ang="0">
                                <a:pos x="connsiteX732" y="connsiteY732"/>
                              </a:cxn>
                              <a:cxn ang="0">
                                <a:pos x="connsiteX733" y="connsiteY733"/>
                              </a:cxn>
                              <a:cxn ang="0">
                                <a:pos x="connsiteX734" y="connsiteY734"/>
                              </a:cxn>
                              <a:cxn ang="0">
                                <a:pos x="connsiteX735" y="connsiteY735"/>
                              </a:cxn>
                              <a:cxn ang="0">
                                <a:pos x="connsiteX736" y="connsiteY736"/>
                              </a:cxn>
                              <a:cxn ang="0">
                                <a:pos x="connsiteX737" y="connsiteY737"/>
                              </a:cxn>
                              <a:cxn ang="0">
                                <a:pos x="connsiteX738" y="connsiteY738"/>
                              </a:cxn>
                              <a:cxn ang="0">
                                <a:pos x="connsiteX739" y="connsiteY739"/>
                              </a:cxn>
                              <a:cxn ang="0">
                                <a:pos x="connsiteX740" y="connsiteY740"/>
                              </a:cxn>
                              <a:cxn ang="0">
                                <a:pos x="connsiteX741" y="connsiteY741"/>
                              </a:cxn>
                              <a:cxn ang="0">
                                <a:pos x="connsiteX742" y="connsiteY742"/>
                              </a:cxn>
                              <a:cxn ang="0">
                                <a:pos x="connsiteX743" y="connsiteY743"/>
                              </a:cxn>
                              <a:cxn ang="0">
                                <a:pos x="connsiteX744" y="connsiteY744"/>
                              </a:cxn>
                              <a:cxn ang="0">
                                <a:pos x="connsiteX745" y="connsiteY745"/>
                              </a:cxn>
                              <a:cxn ang="0">
                                <a:pos x="connsiteX746" y="connsiteY746"/>
                              </a:cxn>
                              <a:cxn ang="0">
                                <a:pos x="connsiteX747" y="connsiteY747"/>
                              </a:cxn>
                              <a:cxn ang="0">
                                <a:pos x="connsiteX748" y="connsiteY748"/>
                              </a:cxn>
                              <a:cxn ang="0">
                                <a:pos x="connsiteX749" y="connsiteY749"/>
                              </a:cxn>
                              <a:cxn ang="0">
                                <a:pos x="connsiteX750" y="connsiteY750"/>
                              </a:cxn>
                              <a:cxn ang="0">
                                <a:pos x="connsiteX751" y="connsiteY751"/>
                              </a:cxn>
                              <a:cxn ang="0">
                                <a:pos x="connsiteX752" y="connsiteY752"/>
                              </a:cxn>
                              <a:cxn ang="0">
                                <a:pos x="connsiteX753" y="connsiteY753"/>
                              </a:cxn>
                              <a:cxn ang="0">
                                <a:pos x="connsiteX754" y="connsiteY754"/>
                              </a:cxn>
                              <a:cxn ang="0">
                                <a:pos x="connsiteX755" y="connsiteY755"/>
                              </a:cxn>
                              <a:cxn ang="0">
                                <a:pos x="connsiteX756" y="connsiteY756"/>
                              </a:cxn>
                              <a:cxn ang="0">
                                <a:pos x="connsiteX757" y="connsiteY757"/>
                              </a:cxn>
                              <a:cxn ang="0">
                                <a:pos x="connsiteX758" y="connsiteY758"/>
                              </a:cxn>
                              <a:cxn ang="0">
                                <a:pos x="connsiteX759" y="connsiteY759"/>
                              </a:cxn>
                              <a:cxn ang="0">
                                <a:pos x="connsiteX760" y="connsiteY760"/>
                              </a:cxn>
                              <a:cxn ang="0">
                                <a:pos x="connsiteX761" y="connsiteY761"/>
                              </a:cxn>
                              <a:cxn ang="0">
                                <a:pos x="connsiteX762" y="connsiteY762"/>
                              </a:cxn>
                              <a:cxn ang="0">
                                <a:pos x="connsiteX763" y="connsiteY763"/>
                              </a:cxn>
                              <a:cxn ang="0">
                                <a:pos x="connsiteX764" y="connsiteY764"/>
                              </a:cxn>
                              <a:cxn ang="0">
                                <a:pos x="connsiteX765" y="connsiteY765"/>
                              </a:cxn>
                              <a:cxn ang="0">
                                <a:pos x="connsiteX766" y="connsiteY766"/>
                              </a:cxn>
                              <a:cxn ang="0">
                                <a:pos x="connsiteX767" y="connsiteY767"/>
                              </a:cxn>
                              <a:cxn ang="0">
                                <a:pos x="connsiteX768" y="connsiteY768"/>
                              </a:cxn>
                              <a:cxn ang="0">
                                <a:pos x="connsiteX769" y="connsiteY769"/>
                              </a:cxn>
                              <a:cxn ang="0">
                                <a:pos x="connsiteX770" y="connsiteY770"/>
                              </a:cxn>
                              <a:cxn ang="0">
                                <a:pos x="connsiteX771" y="connsiteY771"/>
                              </a:cxn>
                              <a:cxn ang="0">
                                <a:pos x="connsiteX772" y="connsiteY772"/>
                              </a:cxn>
                              <a:cxn ang="0">
                                <a:pos x="connsiteX773" y="connsiteY773"/>
                              </a:cxn>
                              <a:cxn ang="0">
                                <a:pos x="connsiteX774" y="connsiteY774"/>
                              </a:cxn>
                              <a:cxn ang="0">
                                <a:pos x="connsiteX775" y="connsiteY775"/>
                              </a:cxn>
                              <a:cxn ang="0">
                                <a:pos x="connsiteX776" y="connsiteY776"/>
                              </a:cxn>
                              <a:cxn ang="0">
                                <a:pos x="connsiteX777" y="connsiteY777"/>
                              </a:cxn>
                              <a:cxn ang="0">
                                <a:pos x="connsiteX778" y="connsiteY778"/>
                              </a:cxn>
                              <a:cxn ang="0">
                                <a:pos x="connsiteX779" y="connsiteY779"/>
                              </a:cxn>
                              <a:cxn ang="0">
                                <a:pos x="connsiteX780" y="connsiteY780"/>
                              </a:cxn>
                              <a:cxn ang="0">
                                <a:pos x="connsiteX781" y="connsiteY781"/>
                              </a:cxn>
                              <a:cxn ang="0">
                                <a:pos x="connsiteX782" y="connsiteY782"/>
                              </a:cxn>
                              <a:cxn ang="0">
                                <a:pos x="connsiteX783" y="connsiteY783"/>
                              </a:cxn>
                              <a:cxn ang="0">
                                <a:pos x="connsiteX784" y="connsiteY784"/>
                              </a:cxn>
                              <a:cxn ang="0">
                                <a:pos x="connsiteX785" y="connsiteY785"/>
                              </a:cxn>
                              <a:cxn ang="0">
                                <a:pos x="connsiteX786" y="connsiteY786"/>
                              </a:cxn>
                              <a:cxn ang="0">
                                <a:pos x="connsiteX787" y="connsiteY787"/>
                              </a:cxn>
                              <a:cxn ang="0">
                                <a:pos x="connsiteX788" y="connsiteY788"/>
                              </a:cxn>
                              <a:cxn ang="0">
                                <a:pos x="connsiteX789" y="connsiteY789"/>
                              </a:cxn>
                              <a:cxn ang="0">
                                <a:pos x="connsiteX790" y="connsiteY790"/>
                              </a:cxn>
                              <a:cxn ang="0">
                                <a:pos x="connsiteX791" y="connsiteY791"/>
                              </a:cxn>
                              <a:cxn ang="0">
                                <a:pos x="connsiteX792" y="connsiteY792"/>
                              </a:cxn>
                              <a:cxn ang="0">
                                <a:pos x="connsiteX793" y="connsiteY793"/>
                              </a:cxn>
                              <a:cxn ang="0">
                                <a:pos x="connsiteX794" y="connsiteY794"/>
                              </a:cxn>
                              <a:cxn ang="0">
                                <a:pos x="connsiteX795" y="connsiteY795"/>
                              </a:cxn>
                              <a:cxn ang="0">
                                <a:pos x="connsiteX796" y="connsiteY796"/>
                              </a:cxn>
                              <a:cxn ang="0">
                                <a:pos x="connsiteX797" y="connsiteY797"/>
                              </a:cxn>
                              <a:cxn ang="0">
                                <a:pos x="connsiteX798" y="connsiteY798"/>
                              </a:cxn>
                              <a:cxn ang="0">
                                <a:pos x="connsiteX799" y="connsiteY799"/>
                              </a:cxn>
                              <a:cxn ang="0">
                                <a:pos x="connsiteX800" y="connsiteY800"/>
                              </a:cxn>
                              <a:cxn ang="0">
                                <a:pos x="connsiteX801" y="connsiteY801"/>
                              </a:cxn>
                              <a:cxn ang="0">
                                <a:pos x="connsiteX802" y="connsiteY802"/>
                              </a:cxn>
                              <a:cxn ang="0">
                                <a:pos x="connsiteX803" y="connsiteY803"/>
                              </a:cxn>
                              <a:cxn ang="0">
                                <a:pos x="connsiteX804" y="connsiteY804"/>
                              </a:cxn>
                              <a:cxn ang="0">
                                <a:pos x="connsiteX805" y="connsiteY805"/>
                              </a:cxn>
                              <a:cxn ang="0">
                                <a:pos x="connsiteX806" y="connsiteY806"/>
                              </a:cxn>
                              <a:cxn ang="0">
                                <a:pos x="connsiteX807" y="connsiteY807"/>
                              </a:cxn>
                              <a:cxn ang="0">
                                <a:pos x="connsiteX808" y="connsiteY808"/>
                              </a:cxn>
                              <a:cxn ang="0">
                                <a:pos x="connsiteX809" y="connsiteY809"/>
                              </a:cxn>
                              <a:cxn ang="0">
                                <a:pos x="connsiteX810" y="connsiteY810"/>
                              </a:cxn>
                              <a:cxn ang="0">
                                <a:pos x="connsiteX811" y="connsiteY811"/>
                              </a:cxn>
                              <a:cxn ang="0">
                                <a:pos x="connsiteX812" y="connsiteY812"/>
                              </a:cxn>
                              <a:cxn ang="0">
                                <a:pos x="connsiteX813" y="connsiteY813"/>
                              </a:cxn>
                              <a:cxn ang="0">
                                <a:pos x="connsiteX814" y="connsiteY814"/>
                              </a:cxn>
                              <a:cxn ang="0">
                                <a:pos x="connsiteX815" y="connsiteY815"/>
                              </a:cxn>
                              <a:cxn ang="0">
                                <a:pos x="connsiteX816" y="connsiteY816"/>
                              </a:cxn>
                              <a:cxn ang="0">
                                <a:pos x="connsiteX817" y="connsiteY817"/>
                              </a:cxn>
                              <a:cxn ang="0">
                                <a:pos x="connsiteX818" y="connsiteY818"/>
                              </a:cxn>
                              <a:cxn ang="0">
                                <a:pos x="connsiteX819" y="connsiteY819"/>
                              </a:cxn>
                              <a:cxn ang="0">
                                <a:pos x="connsiteX820" y="connsiteY820"/>
                              </a:cxn>
                              <a:cxn ang="0">
                                <a:pos x="connsiteX821" y="connsiteY821"/>
                              </a:cxn>
                              <a:cxn ang="0">
                                <a:pos x="connsiteX822" y="connsiteY822"/>
                              </a:cxn>
                              <a:cxn ang="0">
                                <a:pos x="connsiteX823" y="connsiteY823"/>
                              </a:cxn>
                              <a:cxn ang="0">
                                <a:pos x="connsiteX824" y="connsiteY824"/>
                              </a:cxn>
                              <a:cxn ang="0">
                                <a:pos x="connsiteX825" y="connsiteY825"/>
                              </a:cxn>
                              <a:cxn ang="0">
                                <a:pos x="connsiteX826" y="connsiteY826"/>
                              </a:cxn>
                              <a:cxn ang="0">
                                <a:pos x="connsiteX827" y="connsiteY827"/>
                              </a:cxn>
                              <a:cxn ang="0">
                                <a:pos x="connsiteX828" y="connsiteY828"/>
                              </a:cxn>
                              <a:cxn ang="0">
                                <a:pos x="connsiteX829" y="connsiteY829"/>
                              </a:cxn>
                              <a:cxn ang="0">
                                <a:pos x="connsiteX830" y="connsiteY830"/>
                              </a:cxn>
                              <a:cxn ang="0">
                                <a:pos x="connsiteX831" y="connsiteY831"/>
                              </a:cxn>
                              <a:cxn ang="0">
                                <a:pos x="connsiteX832" y="connsiteY832"/>
                              </a:cxn>
                              <a:cxn ang="0">
                                <a:pos x="connsiteX833" y="connsiteY833"/>
                              </a:cxn>
                              <a:cxn ang="0">
                                <a:pos x="connsiteX834" y="connsiteY834"/>
                              </a:cxn>
                              <a:cxn ang="0">
                                <a:pos x="connsiteX835" y="connsiteY835"/>
                              </a:cxn>
                              <a:cxn ang="0">
                                <a:pos x="connsiteX836" y="connsiteY836"/>
                              </a:cxn>
                              <a:cxn ang="0">
                                <a:pos x="connsiteX837" y="connsiteY837"/>
                              </a:cxn>
                              <a:cxn ang="0">
                                <a:pos x="connsiteX838" y="connsiteY838"/>
                              </a:cxn>
                              <a:cxn ang="0">
                                <a:pos x="connsiteX839" y="connsiteY839"/>
                              </a:cxn>
                              <a:cxn ang="0">
                                <a:pos x="connsiteX840" y="connsiteY840"/>
                              </a:cxn>
                              <a:cxn ang="0">
                                <a:pos x="connsiteX841" y="connsiteY841"/>
                              </a:cxn>
                              <a:cxn ang="0">
                                <a:pos x="connsiteX842" y="connsiteY842"/>
                              </a:cxn>
                              <a:cxn ang="0">
                                <a:pos x="connsiteX843" y="connsiteY843"/>
                              </a:cxn>
                              <a:cxn ang="0">
                                <a:pos x="connsiteX844" y="connsiteY844"/>
                              </a:cxn>
                              <a:cxn ang="0">
                                <a:pos x="connsiteX845" y="connsiteY845"/>
                              </a:cxn>
                              <a:cxn ang="0">
                                <a:pos x="connsiteX846" y="connsiteY846"/>
                              </a:cxn>
                              <a:cxn ang="0">
                                <a:pos x="connsiteX847" y="connsiteY847"/>
                              </a:cxn>
                              <a:cxn ang="0">
                                <a:pos x="connsiteX848" y="connsiteY848"/>
                              </a:cxn>
                              <a:cxn ang="0">
                                <a:pos x="connsiteX849" y="connsiteY849"/>
                              </a:cxn>
                              <a:cxn ang="0">
                                <a:pos x="connsiteX850" y="connsiteY850"/>
                              </a:cxn>
                              <a:cxn ang="0">
                                <a:pos x="connsiteX851" y="connsiteY851"/>
                              </a:cxn>
                              <a:cxn ang="0">
                                <a:pos x="connsiteX852" y="connsiteY852"/>
                              </a:cxn>
                              <a:cxn ang="0">
                                <a:pos x="connsiteX853" y="connsiteY853"/>
                              </a:cxn>
                              <a:cxn ang="0">
                                <a:pos x="connsiteX854" y="connsiteY854"/>
                              </a:cxn>
                              <a:cxn ang="0">
                                <a:pos x="connsiteX855" y="connsiteY855"/>
                              </a:cxn>
                              <a:cxn ang="0">
                                <a:pos x="connsiteX856" y="connsiteY856"/>
                              </a:cxn>
                              <a:cxn ang="0">
                                <a:pos x="connsiteX857" y="connsiteY857"/>
                              </a:cxn>
                              <a:cxn ang="0">
                                <a:pos x="connsiteX858" y="connsiteY858"/>
                              </a:cxn>
                              <a:cxn ang="0">
                                <a:pos x="connsiteX859" y="connsiteY859"/>
                              </a:cxn>
                              <a:cxn ang="0">
                                <a:pos x="connsiteX860" y="connsiteY860"/>
                              </a:cxn>
                              <a:cxn ang="0">
                                <a:pos x="connsiteX861" y="connsiteY861"/>
                              </a:cxn>
                              <a:cxn ang="0">
                                <a:pos x="connsiteX862" y="connsiteY862"/>
                              </a:cxn>
                              <a:cxn ang="0">
                                <a:pos x="connsiteX863" y="connsiteY863"/>
                              </a:cxn>
                            </a:cxnLst>
                            <a:rect l="l" t="t" r="r" b="b"/>
                            <a:pathLst>
                              <a:path w="5495992" h="2374809">
                                <a:moveTo>
                                  <a:pt x="86305" y="704436"/>
                                </a:moveTo>
                                <a:cubicBezTo>
                                  <a:pt x="80825" y="704841"/>
                                  <a:pt x="75345" y="703975"/>
                                  <a:pt x="70434" y="701930"/>
                                </a:cubicBezTo>
                                <a:cubicBezTo>
                                  <a:pt x="61220" y="698587"/>
                                  <a:pt x="58014" y="698086"/>
                                  <a:pt x="46080" y="698253"/>
                                </a:cubicBezTo>
                                <a:cubicBezTo>
                                  <a:pt x="58257" y="702531"/>
                                  <a:pt x="46608" y="703968"/>
                                  <a:pt x="40722" y="706342"/>
                                </a:cubicBezTo>
                                <a:cubicBezTo>
                                  <a:pt x="34837" y="708715"/>
                                  <a:pt x="46892" y="714798"/>
                                  <a:pt x="32199" y="713327"/>
                                </a:cubicBezTo>
                                <a:cubicBezTo>
                                  <a:pt x="21889" y="712324"/>
                                  <a:pt x="26110" y="706475"/>
                                  <a:pt x="14826" y="706308"/>
                                </a:cubicBezTo>
                                <a:cubicBezTo>
                                  <a:pt x="1269" y="706108"/>
                                  <a:pt x="-7498" y="712057"/>
                                  <a:pt x="8697" y="715567"/>
                                </a:cubicBezTo>
                                <a:cubicBezTo>
                                  <a:pt x="30047" y="720179"/>
                                  <a:pt x="55375" y="720948"/>
                                  <a:pt x="78025" y="721883"/>
                                </a:cubicBezTo>
                                <a:cubicBezTo>
                                  <a:pt x="93692" y="722518"/>
                                  <a:pt x="100917" y="724424"/>
                                  <a:pt x="103068" y="716536"/>
                                </a:cubicBezTo>
                                <a:cubicBezTo>
                                  <a:pt x="104164" y="712425"/>
                                  <a:pt x="101201" y="701228"/>
                                  <a:pt x="86224" y="704436"/>
                                </a:cubicBezTo>
                                <a:close/>
                                <a:moveTo>
                                  <a:pt x="1722803" y="109497"/>
                                </a:moveTo>
                                <a:cubicBezTo>
                                  <a:pt x="1731976" y="110767"/>
                                  <a:pt x="1773256" y="113307"/>
                                  <a:pt x="1754504" y="102478"/>
                                </a:cubicBezTo>
                                <a:cubicBezTo>
                                  <a:pt x="1735751" y="91648"/>
                                  <a:pt x="1724386" y="101274"/>
                                  <a:pt x="1707866" y="97330"/>
                                </a:cubicBezTo>
                                <a:cubicBezTo>
                                  <a:pt x="1700032" y="95425"/>
                                  <a:pt x="1663704" y="90111"/>
                                  <a:pt x="1661512" y="95058"/>
                                </a:cubicBezTo>
                                <a:cubicBezTo>
                                  <a:pt x="1658265" y="102310"/>
                                  <a:pt x="1715172" y="108427"/>
                                  <a:pt x="1722803" y="109497"/>
                                </a:cubicBezTo>
                                <a:cubicBezTo>
                                  <a:pt x="1764570" y="115513"/>
                                  <a:pt x="1701858" y="106555"/>
                                  <a:pt x="1722843" y="109563"/>
                                </a:cubicBezTo>
                                <a:close/>
                                <a:moveTo>
                                  <a:pt x="1846642" y="423177"/>
                                </a:moveTo>
                                <a:cubicBezTo>
                                  <a:pt x="1857317" y="426218"/>
                                  <a:pt x="1923763" y="434675"/>
                                  <a:pt x="1895350" y="422141"/>
                                </a:cubicBezTo>
                                <a:cubicBezTo>
                                  <a:pt x="1883173" y="416793"/>
                                  <a:pt x="1860645" y="409574"/>
                                  <a:pt x="1847981" y="412882"/>
                                </a:cubicBezTo>
                                <a:cubicBezTo>
                                  <a:pt x="1842664" y="414253"/>
                                  <a:pt x="1836373" y="420236"/>
                                  <a:pt x="1846520" y="423177"/>
                                </a:cubicBezTo>
                                <a:close/>
                                <a:moveTo>
                                  <a:pt x="2713233" y="374412"/>
                                </a:moveTo>
                                <a:cubicBezTo>
                                  <a:pt x="2732514" y="384673"/>
                                  <a:pt x="2716237" y="382266"/>
                                  <a:pt x="2702071" y="378055"/>
                                </a:cubicBezTo>
                                <a:cubicBezTo>
                                  <a:pt x="2698743" y="377052"/>
                                  <a:pt x="2658072" y="368028"/>
                                  <a:pt x="2674348" y="376317"/>
                                </a:cubicBezTo>
                                <a:cubicBezTo>
                                  <a:pt x="2685917" y="382266"/>
                                  <a:pt x="2687621" y="389118"/>
                                  <a:pt x="2701746" y="395101"/>
                                </a:cubicBezTo>
                                <a:cubicBezTo>
                                  <a:pt x="2714816" y="400649"/>
                                  <a:pt x="2748100" y="406097"/>
                                  <a:pt x="2748790" y="396338"/>
                                </a:cubicBezTo>
                                <a:cubicBezTo>
                                  <a:pt x="2749237" y="389820"/>
                                  <a:pt x="2810122" y="404192"/>
                                  <a:pt x="2818279" y="405964"/>
                                </a:cubicBezTo>
                                <a:cubicBezTo>
                                  <a:pt x="2829645" y="408370"/>
                                  <a:pt x="2841091" y="411011"/>
                                  <a:pt x="2852457" y="413183"/>
                                </a:cubicBezTo>
                                <a:cubicBezTo>
                                  <a:pt x="2867190" y="415991"/>
                                  <a:pt x="2857774" y="407134"/>
                                  <a:pt x="2858423" y="403156"/>
                                </a:cubicBezTo>
                                <a:cubicBezTo>
                                  <a:pt x="2859316" y="397842"/>
                                  <a:pt x="2879367" y="408370"/>
                                  <a:pt x="2882047" y="404727"/>
                                </a:cubicBezTo>
                                <a:cubicBezTo>
                                  <a:pt x="2885213" y="400415"/>
                                  <a:pt x="2849169" y="388015"/>
                                  <a:pt x="2844176" y="384071"/>
                                </a:cubicBezTo>
                                <a:cubicBezTo>
                                  <a:pt x="2829563" y="372039"/>
                                  <a:pt x="2851401" y="363716"/>
                                  <a:pt x="2816494" y="362480"/>
                                </a:cubicBezTo>
                                <a:cubicBezTo>
                                  <a:pt x="2807442" y="362045"/>
                                  <a:pt x="2719971" y="346637"/>
                                  <a:pt x="2737628" y="356965"/>
                                </a:cubicBezTo>
                                <a:cubicBezTo>
                                  <a:pt x="2753174" y="366023"/>
                                  <a:pt x="2727846" y="366758"/>
                                  <a:pt x="2716967" y="363148"/>
                                </a:cubicBezTo>
                                <a:cubicBezTo>
                                  <a:pt x="2696673" y="356463"/>
                                  <a:pt x="2702153" y="368496"/>
                                  <a:pt x="2713233" y="374378"/>
                                </a:cubicBezTo>
                                <a:close/>
                                <a:moveTo>
                                  <a:pt x="2763078" y="404493"/>
                                </a:moveTo>
                                <a:cubicBezTo>
                                  <a:pt x="2761130" y="408805"/>
                                  <a:pt x="2743473" y="407000"/>
                                  <a:pt x="2736451" y="407835"/>
                                </a:cubicBezTo>
                                <a:cubicBezTo>
                                  <a:pt x="2719849" y="409607"/>
                                  <a:pt x="2750901" y="420035"/>
                                  <a:pt x="2757314" y="422709"/>
                                </a:cubicBezTo>
                                <a:cubicBezTo>
                                  <a:pt x="2766812" y="426619"/>
                                  <a:pt x="2767786" y="434875"/>
                                  <a:pt x="2775377" y="439722"/>
                                </a:cubicBezTo>
                                <a:cubicBezTo>
                                  <a:pt x="2782966" y="444568"/>
                                  <a:pt x="2799731" y="448011"/>
                                  <a:pt x="2809147" y="452255"/>
                                </a:cubicBezTo>
                                <a:cubicBezTo>
                                  <a:pt x="2834718" y="463586"/>
                                  <a:pt x="2867881" y="484710"/>
                                  <a:pt x="2897917" y="488553"/>
                                </a:cubicBezTo>
                                <a:cubicBezTo>
                                  <a:pt x="2905547" y="489556"/>
                                  <a:pt x="2917156" y="488754"/>
                                  <a:pt x="2915208" y="483573"/>
                                </a:cubicBezTo>
                                <a:cubicBezTo>
                                  <a:pt x="2914397" y="481434"/>
                                  <a:pt x="2910946" y="481167"/>
                                  <a:pt x="2909201" y="479362"/>
                                </a:cubicBezTo>
                                <a:cubicBezTo>
                                  <a:pt x="2905913" y="476020"/>
                                  <a:pt x="2917319" y="473245"/>
                                  <a:pt x="2920079" y="472376"/>
                                </a:cubicBezTo>
                                <a:cubicBezTo>
                                  <a:pt x="2939887" y="466293"/>
                                  <a:pt x="2948776" y="461480"/>
                                  <a:pt x="2917360" y="447008"/>
                                </a:cubicBezTo>
                                <a:cubicBezTo>
                                  <a:pt x="2910662" y="443933"/>
                                  <a:pt x="2899581" y="439187"/>
                                  <a:pt x="2892153" y="439521"/>
                                </a:cubicBezTo>
                                <a:cubicBezTo>
                                  <a:pt x="2882614" y="439956"/>
                                  <a:pt x="2884725" y="447175"/>
                                  <a:pt x="2873807" y="435878"/>
                                </a:cubicBezTo>
                                <a:cubicBezTo>
                                  <a:pt x="2860046" y="421706"/>
                                  <a:pt x="2856353" y="419768"/>
                                  <a:pt x="2827412" y="413217"/>
                                </a:cubicBezTo>
                                <a:cubicBezTo>
                                  <a:pt x="2818767" y="411044"/>
                                  <a:pt x="2766000" y="398577"/>
                                  <a:pt x="2763240" y="404460"/>
                                </a:cubicBezTo>
                                <a:close/>
                                <a:moveTo>
                                  <a:pt x="2146113" y="499784"/>
                                </a:moveTo>
                                <a:cubicBezTo>
                                  <a:pt x="2161213" y="507705"/>
                                  <a:pt x="2174079" y="509343"/>
                                  <a:pt x="2174851" y="501087"/>
                                </a:cubicBezTo>
                                <a:cubicBezTo>
                                  <a:pt x="2175622" y="492832"/>
                                  <a:pt x="2134423" y="493467"/>
                                  <a:pt x="2146439" y="499884"/>
                                </a:cubicBezTo>
                                <a:close/>
                                <a:moveTo>
                                  <a:pt x="2700367" y="332666"/>
                                </a:moveTo>
                                <a:cubicBezTo>
                                  <a:pt x="2707713" y="326716"/>
                                  <a:pt x="2635869" y="309269"/>
                                  <a:pt x="2651375" y="321569"/>
                                </a:cubicBezTo>
                                <a:cubicBezTo>
                                  <a:pt x="2657098" y="325714"/>
                                  <a:pt x="2693345" y="338448"/>
                                  <a:pt x="2700691" y="332766"/>
                                </a:cubicBezTo>
                                <a:close/>
                                <a:moveTo>
                                  <a:pt x="5296001" y="2021426"/>
                                </a:moveTo>
                                <a:cubicBezTo>
                                  <a:pt x="5304646" y="2032422"/>
                                  <a:pt x="5316782" y="2034795"/>
                                  <a:pt x="5328473" y="2042550"/>
                                </a:cubicBezTo>
                                <a:cubicBezTo>
                                  <a:pt x="5339025" y="2049602"/>
                                  <a:pt x="5343816" y="2059261"/>
                                  <a:pt x="5355789" y="2067216"/>
                                </a:cubicBezTo>
                                <a:cubicBezTo>
                                  <a:pt x="5362486" y="2071495"/>
                                  <a:pt x="5407745" y="2101041"/>
                                  <a:pt x="5408961" y="2093354"/>
                                </a:cubicBezTo>
                                <a:cubicBezTo>
                                  <a:pt x="5411316" y="2078915"/>
                                  <a:pt x="5369671" y="2048599"/>
                                  <a:pt x="5352380" y="2038272"/>
                                </a:cubicBezTo>
                                <a:cubicBezTo>
                                  <a:pt x="5346819" y="2034929"/>
                                  <a:pt x="5281388" y="2002709"/>
                                  <a:pt x="5296123" y="2021560"/>
                                </a:cubicBezTo>
                                <a:close/>
                                <a:moveTo>
                                  <a:pt x="2893858" y="521476"/>
                                </a:moveTo>
                                <a:cubicBezTo>
                                  <a:pt x="2903234" y="527692"/>
                                  <a:pt x="2922515" y="530901"/>
                                  <a:pt x="2934001" y="533508"/>
                                </a:cubicBezTo>
                                <a:cubicBezTo>
                                  <a:pt x="2953687" y="537830"/>
                                  <a:pt x="2973130" y="542960"/>
                                  <a:pt x="2992207" y="548883"/>
                                </a:cubicBezTo>
                                <a:cubicBezTo>
                                  <a:pt x="3021634" y="557800"/>
                                  <a:pt x="3051995" y="564515"/>
                                  <a:pt x="3082925" y="568937"/>
                                </a:cubicBezTo>
                                <a:cubicBezTo>
                                  <a:pt x="3103220" y="572012"/>
                                  <a:pt x="3134393" y="574318"/>
                                  <a:pt x="3104357" y="557573"/>
                                </a:cubicBezTo>
                                <a:cubicBezTo>
                                  <a:pt x="3092180" y="550888"/>
                                  <a:pt x="3080286" y="539424"/>
                                  <a:pt x="3067623" y="534177"/>
                                </a:cubicBezTo>
                                <a:cubicBezTo>
                                  <a:pt x="3048707" y="526289"/>
                                  <a:pt x="3037018" y="528862"/>
                                  <a:pt x="3021878" y="529497"/>
                                </a:cubicBezTo>
                                <a:cubicBezTo>
                                  <a:pt x="3010838" y="529932"/>
                                  <a:pt x="3031295" y="522010"/>
                                  <a:pt x="3034055" y="521743"/>
                                </a:cubicBezTo>
                                <a:cubicBezTo>
                                  <a:pt x="3046759" y="520573"/>
                                  <a:pt x="3042619" y="512685"/>
                                  <a:pt x="3030930" y="506803"/>
                                </a:cubicBezTo>
                                <a:cubicBezTo>
                                  <a:pt x="3019239" y="500920"/>
                                  <a:pt x="3021634" y="506535"/>
                                  <a:pt x="3013030" y="505366"/>
                                </a:cubicBezTo>
                                <a:cubicBezTo>
                                  <a:pt x="3003694" y="504129"/>
                                  <a:pt x="2987863" y="496040"/>
                                  <a:pt x="2979786" y="497244"/>
                                </a:cubicBezTo>
                                <a:cubicBezTo>
                                  <a:pt x="2975200" y="497945"/>
                                  <a:pt x="2960304" y="503928"/>
                                  <a:pt x="2959491" y="506736"/>
                                </a:cubicBezTo>
                                <a:cubicBezTo>
                                  <a:pt x="2958558" y="510078"/>
                                  <a:pt x="2941024" y="502458"/>
                                  <a:pt x="2935625" y="503159"/>
                                </a:cubicBezTo>
                                <a:cubicBezTo>
                                  <a:pt x="2924463" y="504563"/>
                                  <a:pt x="2922230" y="513187"/>
                                  <a:pt x="2908998" y="514724"/>
                                </a:cubicBezTo>
                                <a:cubicBezTo>
                                  <a:pt x="2904005" y="515359"/>
                                  <a:pt x="2884644" y="515627"/>
                                  <a:pt x="2893695" y="521643"/>
                                </a:cubicBezTo>
                                <a:close/>
                                <a:moveTo>
                                  <a:pt x="4121901" y="1134598"/>
                                </a:moveTo>
                                <a:cubicBezTo>
                                  <a:pt x="4138381" y="1148870"/>
                                  <a:pt x="4136716" y="1158897"/>
                                  <a:pt x="4162815" y="1168255"/>
                                </a:cubicBezTo>
                                <a:cubicBezTo>
                                  <a:pt x="4178524" y="1173871"/>
                                  <a:pt x="4192568" y="1175174"/>
                                  <a:pt x="4201457" y="1186271"/>
                                </a:cubicBezTo>
                                <a:cubicBezTo>
                                  <a:pt x="4209251" y="1196064"/>
                                  <a:pt x="4238759" y="1200576"/>
                                  <a:pt x="4252803" y="1208163"/>
                                </a:cubicBezTo>
                                <a:cubicBezTo>
                                  <a:pt x="4264655" y="1214547"/>
                                  <a:pt x="4290511" y="1232830"/>
                                  <a:pt x="4288604" y="1218658"/>
                                </a:cubicBezTo>
                                <a:cubicBezTo>
                                  <a:pt x="4288035" y="1214380"/>
                                  <a:pt x="4281540" y="1195262"/>
                                  <a:pt x="4298953" y="1206258"/>
                                </a:cubicBezTo>
                                <a:cubicBezTo>
                                  <a:pt x="4313119" y="1215182"/>
                                  <a:pt x="4295626" y="1215048"/>
                                  <a:pt x="4300131" y="1223338"/>
                                </a:cubicBezTo>
                                <a:cubicBezTo>
                                  <a:pt x="4306219" y="1234568"/>
                                  <a:pt x="4329477" y="1251547"/>
                                  <a:pt x="4347337" y="1255458"/>
                                </a:cubicBezTo>
                                <a:cubicBezTo>
                                  <a:pt x="4358864" y="1257998"/>
                                  <a:pt x="4353182" y="1246133"/>
                                  <a:pt x="4366048" y="1249876"/>
                                </a:cubicBezTo>
                                <a:cubicBezTo>
                                  <a:pt x="4391905" y="1257396"/>
                                  <a:pt x="4371772" y="1236206"/>
                                  <a:pt x="4361015" y="1227449"/>
                                </a:cubicBezTo>
                                <a:cubicBezTo>
                                  <a:pt x="4344008" y="1213611"/>
                                  <a:pt x="4319086" y="1204721"/>
                                  <a:pt x="4302770" y="1190683"/>
                                </a:cubicBezTo>
                                <a:cubicBezTo>
                                  <a:pt x="4292500" y="1181892"/>
                                  <a:pt x="4268917" y="1165348"/>
                                  <a:pt x="4256619" y="1170094"/>
                                </a:cubicBezTo>
                                <a:cubicBezTo>
                                  <a:pt x="4247323" y="1173670"/>
                                  <a:pt x="4245456" y="1173436"/>
                                  <a:pt x="4234984" y="1162172"/>
                                </a:cubicBezTo>
                                <a:cubicBezTo>
                                  <a:pt x="4216516" y="1142686"/>
                                  <a:pt x="4206896" y="1123568"/>
                                  <a:pt x="4171948" y="1118722"/>
                                </a:cubicBezTo>
                                <a:cubicBezTo>
                                  <a:pt x="4156443" y="1116549"/>
                                  <a:pt x="4098318" y="1114009"/>
                                  <a:pt x="4121901" y="1134398"/>
                                </a:cubicBezTo>
                                <a:close/>
                                <a:moveTo>
                                  <a:pt x="4277806" y="1290084"/>
                                </a:moveTo>
                                <a:cubicBezTo>
                                  <a:pt x="4299238" y="1298541"/>
                                  <a:pt x="4267294" y="1263346"/>
                                  <a:pt x="4263235" y="1260003"/>
                                </a:cubicBezTo>
                                <a:cubicBezTo>
                                  <a:pt x="4245538" y="1245029"/>
                                  <a:pt x="4213188" y="1231025"/>
                                  <a:pt x="4192405" y="1232997"/>
                                </a:cubicBezTo>
                                <a:cubicBezTo>
                                  <a:pt x="4177265" y="1234367"/>
                                  <a:pt x="4265062" y="1284770"/>
                                  <a:pt x="4277644" y="1289817"/>
                                </a:cubicBezTo>
                                <a:close/>
                                <a:moveTo>
                                  <a:pt x="4224391" y="1222937"/>
                                </a:moveTo>
                                <a:cubicBezTo>
                                  <a:pt x="4229261" y="1216452"/>
                                  <a:pt x="4171217" y="1199039"/>
                                  <a:pt x="4190052" y="1212909"/>
                                </a:cubicBezTo>
                                <a:cubicBezTo>
                                  <a:pt x="4200037" y="1220563"/>
                                  <a:pt x="4219520" y="1229354"/>
                                  <a:pt x="4224391" y="1222937"/>
                                </a:cubicBezTo>
                                <a:close/>
                                <a:moveTo>
                                  <a:pt x="4408505" y="1282263"/>
                                </a:moveTo>
                                <a:cubicBezTo>
                                  <a:pt x="4420439" y="1289416"/>
                                  <a:pt x="4427988" y="1298407"/>
                                  <a:pt x="4436594" y="1306663"/>
                                </a:cubicBezTo>
                                <a:cubicBezTo>
                                  <a:pt x="4453885" y="1322422"/>
                                  <a:pt x="4473733" y="1336122"/>
                                  <a:pt x="4495612" y="1347372"/>
                                </a:cubicBezTo>
                                <a:cubicBezTo>
                                  <a:pt x="4515500" y="1358168"/>
                                  <a:pt x="4584625" y="1388851"/>
                                  <a:pt x="4540706" y="1353222"/>
                                </a:cubicBezTo>
                                <a:cubicBezTo>
                                  <a:pt x="4528123" y="1343195"/>
                                  <a:pt x="4518990" y="1340487"/>
                                  <a:pt x="4505231" y="1333435"/>
                                </a:cubicBezTo>
                                <a:cubicBezTo>
                                  <a:pt x="4497843" y="1329625"/>
                                  <a:pt x="4494028" y="1323408"/>
                                  <a:pt x="4488670" y="1318728"/>
                                </a:cubicBezTo>
                                <a:cubicBezTo>
                                  <a:pt x="4481485" y="1312579"/>
                                  <a:pt x="4471419" y="1310038"/>
                                  <a:pt x="4462733" y="1305560"/>
                                </a:cubicBezTo>
                                <a:cubicBezTo>
                                  <a:pt x="4454047" y="1301081"/>
                                  <a:pt x="4444509" y="1294998"/>
                                  <a:pt x="4439962" y="1288614"/>
                                </a:cubicBezTo>
                                <a:cubicBezTo>
                                  <a:pt x="4436918" y="1284369"/>
                                  <a:pt x="4437851" y="1280793"/>
                                  <a:pt x="4429450" y="1278587"/>
                                </a:cubicBezTo>
                                <a:cubicBezTo>
                                  <a:pt x="4425391" y="1277517"/>
                                  <a:pt x="4398480" y="1276381"/>
                                  <a:pt x="4408505" y="1282330"/>
                                </a:cubicBezTo>
                                <a:cubicBezTo>
                                  <a:pt x="4430180" y="1295365"/>
                                  <a:pt x="4397709" y="1275779"/>
                                  <a:pt x="4408505" y="1282263"/>
                                </a:cubicBezTo>
                                <a:close/>
                                <a:moveTo>
                                  <a:pt x="1056440" y="10797"/>
                                </a:moveTo>
                                <a:cubicBezTo>
                                  <a:pt x="1069511" y="7287"/>
                                  <a:pt x="1085097" y="8791"/>
                                  <a:pt x="1100359" y="11699"/>
                                </a:cubicBezTo>
                                <a:cubicBezTo>
                                  <a:pt x="1102510" y="12100"/>
                                  <a:pt x="1123535" y="16746"/>
                                  <a:pt x="1120329" y="12200"/>
                                </a:cubicBezTo>
                                <a:cubicBezTo>
                                  <a:pt x="1115174" y="4780"/>
                                  <a:pt x="1071134" y="2173"/>
                                  <a:pt x="1060053" y="2574"/>
                                </a:cubicBezTo>
                                <a:cubicBezTo>
                                  <a:pt x="1042153" y="2942"/>
                                  <a:pt x="1013659" y="-2071"/>
                                  <a:pt x="998113" y="302"/>
                                </a:cubicBezTo>
                                <a:cubicBezTo>
                                  <a:pt x="989995" y="1505"/>
                                  <a:pt x="1004283" y="6986"/>
                                  <a:pt x="1006962" y="7889"/>
                                </a:cubicBezTo>
                                <a:cubicBezTo>
                                  <a:pt x="1022589" y="13437"/>
                                  <a:pt x="1040042" y="14463"/>
                                  <a:pt x="1056440" y="10797"/>
                                </a:cubicBezTo>
                                <a:close/>
                                <a:moveTo>
                                  <a:pt x="3890662" y="1777668"/>
                                </a:moveTo>
                                <a:cubicBezTo>
                                  <a:pt x="3890662" y="1765368"/>
                                  <a:pt x="3922808" y="1760221"/>
                                  <a:pt x="3910956" y="1745247"/>
                                </a:cubicBezTo>
                                <a:cubicBezTo>
                                  <a:pt x="3906125" y="1739341"/>
                                  <a:pt x="3904990" y="1731901"/>
                                  <a:pt x="3907872" y="1725193"/>
                                </a:cubicBezTo>
                                <a:cubicBezTo>
                                  <a:pt x="3908643" y="1722786"/>
                                  <a:pt x="3909454" y="1716436"/>
                                  <a:pt x="3901580" y="1718241"/>
                                </a:cubicBezTo>
                                <a:cubicBezTo>
                                  <a:pt x="3895166" y="1719711"/>
                                  <a:pt x="3894639" y="1725527"/>
                                  <a:pt x="3888388" y="1727165"/>
                                </a:cubicBezTo>
                                <a:cubicBezTo>
                                  <a:pt x="3882137" y="1728802"/>
                                  <a:pt x="3873167" y="1721215"/>
                                  <a:pt x="3870326" y="1726463"/>
                                </a:cubicBezTo>
                                <a:cubicBezTo>
                                  <a:pt x="3863426" y="1739297"/>
                                  <a:pt x="3850031" y="1747252"/>
                                  <a:pt x="3849259" y="1762995"/>
                                </a:cubicBezTo>
                                <a:cubicBezTo>
                                  <a:pt x="3847799" y="1786057"/>
                                  <a:pt x="3826083" y="1798156"/>
                                  <a:pt x="3810943" y="1815069"/>
                                </a:cubicBezTo>
                                <a:cubicBezTo>
                                  <a:pt x="3805747" y="1820851"/>
                                  <a:pt x="3805706" y="1828438"/>
                                  <a:pt x="3800592" y="1834053"/>
                                </a:cubicBezTo>
                                <a:cubicBezTo>
                                  <a:pt x="3792474" y="1843078"/>
                                  <a:pt x="3780297" y="1849662"/>
                                  <a:pt x="3771449" y="1858452"/>
                                </a:cubicBezTo>
                                <a:cubicBezTo>
                                  <a:pt x="3765442" y="1864502"/>
                                  <a:pt x="3770150" y="1869549"/>
                                  <a:pt x="3779567" y="1864803"/>
                                </a:cubicBezTo>
                                <a:cubicBezTo>
                                  <a:pt x="3794585" y="1857350"/>
                                  <a:pt x="3803921" y="1872891"/>
                                  <a:pt x="3806681" y="1882217"/>
                                </a:cubicBezTo>
                                <a:cubicBezTo>
                                  <a:pt x="3810740" y="1896321"/>
                                  <a:pt x="3821821" y="1883453"/>
                                  <a:pt x="3818655" y="1876134"/>
                                </a:cubicBezTo>
                                <a:cubicBezTo>
                                  <a:pt x="3816504" y="1871154"/>
                                  <a:pt x="3809563" y="1869449"/>
                                  <a:pt x="3808386" y="1863132"/>
                                </a:cubicBezTo>
                                <a:cubicBezTo>
                                  <a:pt x="3807087" y="1856447"/>
                                  <a:pt x="3806235" y="1846921"/>
                                  <a:pt x="3810131" y="1841874"/>
                                </a:cubicBezTo>
                                <a:cubicBezTo>
                                  <a:pt x="3814839" y="1835724"/>
                                  <a:pt x="3837407" y="1818879"/>
                                  <a:pt x="3852303" y="1826232"/>
                                </a:cubicBezTo>
                                <a:cubicBezTo>
                                  <a:pt x="3861234" y="1830577"/>
                                  <a:pt x="3885141" y="1862998"/>
                                  <a:pt x="3881610" y="1844749"/>
                                </a:cubicBezTo>
                                <a:cubicBezTo>
                                  <a:pt x="3876982" y="1820985"/>
                                  <a:pt x="3890418" y="1800229"/>
                                  <a:pt x="3890621" y="1777601"/>
                                </a:cubicBezTo>
                                <a:cubicBezTo>
                                  <a:pt x="3890783" y="1760421"/>
                                  <a:pt x="3890336" y="1794948"/>
                                  <a:pt x="3890662" y="1777668"/>
                                </a:cubicBezTo>
                                <a:close/>
                                <a:moveTo>
                                  <a:pt x="1160594" y="19788"/>
                                </a:moveTo>
                                <a:cubicBezTo>
                                  <a:pt x="1170052" y="24433"/>
                                  <a:pt x="1140299" y="21559"/>
                                  <a:pt x="1137092" y="21358"/>
                                </a:cubicBezTo>
                                <a:cubicBezTo>
                                  <a:pt x="1119842" y="20189"/>
                                  <a:pt x="1109573" y="23163"/>
                                  <a:pt x="1093865" y="22963"/>
                                </a:cubicBezTo>
                                <a:cubicBezTo>
                                  <a:pt x="1042031" y="22328"/>
                                  <a:pt x="1106042" y="38973"/>
                                  <a:pt x="1128772" y="36901"/>
                                </a:cubicBezTo>
                                <a:cubicBezTo>
                                  <a:pt x="1134129" y="36399"/>
                                  <a:pt x="1132181" y="33558"/>
                                  <a:pt x="1138797" y="33825"/>
                                </a:cubicBezTo>
                                <a:cubicBezTo>
                                  <a:pt x="1145413" y="34093"/>
                                  <a:pt x="1154668" y="36566"/>
                                  <a:pt x="1161000" y="35630"/>
                                </a:cubicBezTo>
                                <a:cubicBezTo>
                                  <a:pt x="1165059" y="34995"/>
                                  <a:pt x="1166236" y="31386"/>
                                  <a:pt x="1170539" y="30316"/>
                                </a:cubicBezTo>
                                <a:cubicBezTo>
                                  <a:pt x="1181254" y="27676"/>
                                  <a:pt x="1196516" y="28712"/>
                                  <a:pt x="1209261" y="30082"/>
                                </a:cubicBezTo>
                                <a:cubicBezTo>
                                  <a:pt x="1245792" y="34059"/>
                                  <a:pt x="1230327" y="22094"/>
                                  <a:pt x="1205202" y="15877"/>
                                </a:cubicBezTo>
                                <a:cubicBezTo>
                                  <a:pt x="1197652" y="13972"/>
                                  <a:pt x="1141801" y="10663"/>
                                  <a:pt x="1160553" y="19788"/>
                                </a:cubicBezTo>
                                <a:close/>
                                <a:moveTo>
                                  <a:pt x="1035131" y="415824"/>
                                </a:moveTo>
                                <a:cubicBezTo>
                                  <a:pt x="1049013" y="424581"/>
                                  <a:pt x="1066020" y="424347"/>
                                  <a:pt x="1082134" y="421138"/>
                                </a:cubicBezTo>
                                <a:cubicBezTo>
                                  <a:pt x="1088669" y="419834"/>
                                  <a:pt x="1110953" y="419133"/>
                                  <a:pt x="1103159" y="414453"/>
                                </a:cubicBezTo>
                                <a:cubicBezTo>
                                  <a:pt x="1090982" y="407033"/>
                                  <a:pt x="1069186" y="400014"/>
                                  <a:pt x="1051205" y="400750"/>
                                </a:cubicBezTo>
                                <a:cubicBezTo>
                                  <a:pt x="1035740" y="401385"/>
                                  <a:pt x="1021858" y="407434"/>
                                  <a:pt x="1034969" y="415824"/>
                                </a:cubicBezTo>
                                <a:cubicBezTo>
                                  <a:pt x="1060703" y="431967"/>
                                  <a:pt x="1015811" y="403657"/>
                                  <a:pt x="1035131" y="415824"/>
                                </a:cubicBezTo>
                                <a:close/>
                                <a:moveTo>
                                  <a:pt x="5491440" y="2368263"/>
                                </a:moveTo>
                                <a:cubicBezTo>
                                  <a:pt x="5477396" y="2351551"/>
                                  <a:pt x="5473946" y="2336143"/>
                                  <a:pt x="5465707" y="2320066"/>
                                </a:cubicBezTo>
                                <a:cubicBezTo>
                                  <a:pt x="5460713" y="2311877"/>
                                  <a:pt x="5454220" y="2304390"/>
                                  <a:pt x="5446466" y="2297839"/>
                                </a:cubicBezTo>
                                <a:cubicBezTo>
                                  <a:pt x="5441433" y="2293260"/>
                                  <a:pt x="5431084" y="2289115"/>
                                  <a:pt x="5428729" y="2285640"/>
                                </a:cubicBezTo>
                                <a:cubicBezTo>
                                  <a:pt x="5424264" y="2278955"/>
                                  <a:pt x="5426293" y="2276047"/>
                                  <a:pt x="5419515" y="2269462"/>
                                </a:cubicBezTo>
                                <a:cubicBezTo>
                                  <a:pt x="5412209" y="2262076"/>
                                  <a:pt x="5403726" y="2255558"/>
                                  <a:pt x="5394309" y="2250010"/>
                                </a:cubicBezTo>
                                <a:cubicBezTo>
                                  <a:pt x="5382944" y="2243894"/>
                                  <a:pt x="5395364" y="2261474"/>
                                  <a:pt x="5395973" y="2264215"/>
                                </a:cubicBezTo>
                                <a:cubicBezTo>
                                  <a:pt x="5396379" y="2266120"/>
                                  <a:pt x="5383106" y="2270331"/>
                                  <a:pt x="5381604" y="2269864"/>
                                </a:cubicBezTo>
                                <a:cubicBezTo>
                                  <a:pt x="5376855" y="2268359"/>
                                  <a:pt x="5368615" y="2251447"/>
                                  <a:pt x="5368981" y="2249007"/>
                                </a:cubicBezTo>
                                <a:cubicBezTo>
                                  <a:pt x="5370118" y="2242322"/>
                                  <a:pt x="5384324" y="2242757"/>
                                  <a:pt x="5384446" y="2236273"/>
                                </a:cubicBezTo>
                                <a:cubicBezTo>
                                  <a:pt x="5383391" y="2230491"/>
                                  <a:pt x="5381604" y="2224808"/>
                                  <a:pt x="5379169" y="2219327"/>
                                </a:cubicBezTo>
                                <a:cubicBezTo>
                                  <a:pt x="5374785" y="2208866"/>
                                  <a:pt x="5365125" y="2196900"/>
                                  <a:pt x="5356967" y="2186338"/>
                                </a:cubicBezTo>
                                <a:cubicBezTo>
                                  <a:pt x="5340731" y="2165114"/>
                                  <a:pt x="5323358" y="2145695"/>
                                  <a:pt x="5310451" y="2124772"/>
                                </a:cubicBezTo>
                                <a:cubicBezTo>
                                  <a:pt x="5304322" y="2114745"/>
                                  <a:pt x="5291820" y="2104985"/>
                                  <a:pt x="5283864" y="2095292"/>
                                </a:cubicBezTo>
                                <a:cubicBezTo>
                                  <a:pt x="5275909" y="2085599"/>
                                  <a:pt x="5272255" y="2075840"/>
                                  <a:pt x="5264666" y="2066080"/>
                                </a:cubicBezTo>
                                <a:cubicBezTo>
                                  <a:pt x="5248105" y="2044722"/>
                                  <a:pt x="5228378" y="2027108"/>
                                  <a:pt x="5207637" y="2007288"/>
                                </a:cubicBezTo>
                                <a:cubicBezTo>
                                  <a:pt x="5201670" y="2001539"/>
                                  <a:pt x="5201426" y="1993918"/>
                                  <a:pt x="5193674" y="1989373"/>
                                </a:cubicBezTo>
                                <a:cubicBezTo>
                                  <a:pt x="5181294" y="1981475"/>
                                  <a:pt x="5169441" y="1973029"/>
                                  <a:pt x="5158158" y="1964071"/>
                                </a:cubicBezTo>
                                <a:cubicBezTo>
                                  <a:pt x="5147848" y="1956384"/>
                                  <a:pt x="5137335" y="1948629"/>
                                  <a:pt x="5127635" y="1940675"/>
                                </a:cubicBezTo>
                                <a:cubicBezTo>
                                  <a:pt x="5117933" y="1932720"/>
                                  <a:pt x="5106284" y="1931517"/>
                                  <a:pt x="5097394" y="1922158"/>
                                </a:cubicBezTo>
                                <a:cubicBezTo>
                                  <a:pt x="5082742" y="1906783"/>
                                  <a:pt x="5064720" y="1886161"/>
                                  <a:pt x="5044628" y="1873493"/>
                                </a:cubicBezTo>
                                <a:cubicBezTo>
                                  <a:pt x="5033426" y="1866441"/>
                                  <a:pt x="5031680" y="1877972"/>
                                  <a:pt x="5021979" y="1873226"/>
                                </a:cubicBezTo>
                                <a:cubicBezTo>
                                  <a:pt x="5011588" y="1868179"/>
                                  <a:pt x="5024617" y="1891609"/>
                                  <a:pt x="5025551" y="1893280"/>
                                </a:cubicBezTo>
                                <a:cubicBezTo>
                                  <a:pt x="5040731" y="1921757"/>
                                  <a:pt x="4977898" y="1891575"/>
                                  <a:pt x="4972460" y="1867443"/>
                                </a:cubicBezTo>
                                <a:cubicBezTo>
                                  <a:pt x="4970673" y="1859489"/>
                                  <a:pt x="4956224" y="1851868"/>
                                  <a:pt x="4952977" y="1843846"/>
                                </a:cubicBezTo>
                                <a:cubicBezTo>
                                  <a:pt x="4948430" y="1832950"/>
                                  <a:pt x="4962718" y="1833819"/>
                                  <a:pt x="4969659" y="1845718"/>
                                </a:cubicBezTo>
                                <a:cubicBezTo>
                                  <a:pt x="4974286" y="1853606"/>
                                  <a:pt x="4996611" y="1863700"/>
                                  <a:pt x="4995718" y="1854442"/>
                                </a:cubicBezTo>
                                <a:cubicBezTo>
                                  <a:pt x="4994905" y="1846186"/>
                                  <a:pt x="4975423" y="1831379"/>
                                  <a:pt x="4964950" y="1825029"/>
                                </a:cubicBezTo>
                                <a:cubicBezTo>
                                  <a:pt x="4951962" y="1817007"/>
                                  <a:pt x="4937552" y="1818846"/>
                                  <a:pt x="4925619" y="1816439"/>
                                </a:cubicBezTo>
                                <a:cubicBezTo>
                                  <a:pt x="4914579" y="1814200"/>
                                  <a:pt x="4905324" y="1808150"/>
                                  <a:pt x="4895258" y="1801298"/>
                                </a:cubicBezTo>
                                <a:cubicBezTo>
                                  <a:pt x="4876141" y="1788096"/>
                                  <a:pt x="4862786" y="1773958"/>
                                  <a:pt x="4845982" y="1760455"/>
                                </a:cubicBezTo>
                                <a:cubicBezTo>
                                  <a:pt x="4829178" y="1746951"/>
                                  <a:pt x="4807299" y="1735253"/>
                                  <a:pt x="4788385" y="1724591"/>
                                </a:cubicBezTo>
                                <a:cubicBezTo>
                                  <a:pt x="4764031" y="1710887"/>
                                  <a:pt x="4754858" y="1705005"/>
                                  <a:pt x="4743249" y="1716135"/>
                                </a:cubicBezTo>
                                <a:cubicBezTo>
                                  <a:pt x="4742600" y="1717315"/>
                                  <a:pt x="4741017" y="1717937"/>
                                  <a:pt x="4739474" y="1717606"/>
                                </a:cubicBezTo>
                                <a:cubicBezTo>
                                  <a:pt x="4734929" y="1716001"/>
                                  <a:pt x="4740855" y="1704236"/>
                                  <a:pt x="4741422" y="1703133"/>
                                </a:cubicBezTo>
                                <a:cubicBezTo>
                                  <a:pt x="4744304" y="1697418"/>
                                  <a:pt x="4742681" y="1694276"/>
                                  <a:pt x="4731641" y="1686421"/>
                                </a:cubicBezTo>
                                <a:cubicBezTo>
                                  <a:pt x="4729042" y="1684550"/>
                                  <a:pt x="4699534" y="1667570"/>
                                  <a:pt x="4710858" y="1668874"/>
                                </a:cubicBezTo>
                                <a:cubicBezTo>
                                  <a:pt x="4716826" y="1669542"/>
                                  <a:pt x="4713862" y="1664328"/>
                                  <a:pt x="4717353" y="1663092"/>
                                </a:cubicBezTo>
                                <a:cubicBezTo>
                                  <a:pt x="4722386" y="1661354"/>
                                  <a:pt x="4729774" y="1666200"/>
                                  <a:pt x="4728312" y="1659549"/>
                                </a:cubicBezTo>
                                <a:cubicBezTo>
                                  <a:pt x="4719504" y="1619641"/>
                                  <a:pt x="4636823" y="1572648"/>
                                  <a:pt x="4586004" y="1549251"/>
                                </a:cubicBezTo>
                                <a:cubicBezTo>
                                  <a:pt x="4557591" y="1536182"/>
                                  <a:pt x="4532507" y="1521509"/>
                                  <a:pt x="4505353" y="1506369"/>
                                </a:cubicBezTo>
                                <a:cubicBezTo>
                                  <a:pt x="4489603" y="1497645"/>
                                  <a:pt x="4504784" y="1501455"/>
                                  <a:pt x="4502958" y="1494871"/>
                                </a:cubicBezTo>
                                <a:cubicBezTo>
                                  <a:pt x="4500969" y="1487718"/>
                                  <a:pt x="4485302" y="1475485"/>
                                  <a:pt x="4475559" y="1470071"/>
                                </a:cubicBezTo>
                                <a:cubicBezTo>
                                  <a:pt x="4471785" y="1467998"/>
                                  <a:pt x="4465534" y="1468065"/>
                                  <a:pt x="4462774" y="1466294"/>
                                </a:cubicBezTo>
                                <a:cubicBezTo>
                                  <a:pt x="4456401" y="1462249"/>
                                  <a:pt x="4460623" y="1460679"/>
                                  <a:pt x="4458390" y="1457169"/>
                                </a:cubicBezTo>
                                <a:cubicBezTo>
                                  <a:pt x="4453601" y="1449615"/>
                                  <a:pt x="4439760" y="1439555"/>
                                  <a:pt x="4429977" y="1433772"/>
                                </a:cubicBezTo>
                                <a:cubicBezTo>
                                  <a:pt x="4421859" y="1429127"/>
                                  <a:pt x="4408911" y="1415590"/>
                                  <a:pt x="4425594" y="1424848"/>
                                </a:cubicBezTo>
                                <a:cubicBezTo>
                                  <a:pt x="4430627" y="1427656"/>
                                  <a:pt x="4454007" y="1442931"/>
                                  <a:pt x="4455630" y="1436847"/>
                                </a:cubicBezTo>
                                <a:cubicBezTo>
                                  <a:pt x="4458146" y="1427355"/>
                                  <a:pt x="4424822" y="1407936"/>
                                  <a:pt x="4412930" y="1400382"/>
                                </a:cubicBezTo>
                                <a:cubicBezTo>
                                  <a:pt x="4403431" y="1394266"/>
                                  <a:pt x="4369540" y="1370301"/>
                                  <a:pt x="4358134" y="1370100"/>
                                </a:cubicBezTo>
                                <a:cubicBezTo>
                                  <a:pt x="4347946" y="1370100"/>
                                  <a:pt x="4344130" y="1375615"/>
                                  <a:pt x="4331791" y="1374646"/>
                                </a:cubicBezTo>
                                <a:cubicBezTo>
                                  <a:pt x="4322130" y="1373877"/>
                                  <a:pt x="4298223" y="1366725"/>
                                  <a:pt x="4298426" y="1357299"/>
                                </a:cubicBezTo>
                                <a:cubicBezTo>
                                  <a:pt x="4298426" y="1349645"/>
                                  <a:pt x="4355779" y="1374412"/>
                                  <a:pt x="4313200" y="1348944"/>
                                </a:cubicBezTo>
                                <a:cubicBezTo>
                                  <a:pt x="4309792" y="1346905"/>
                                  <a:pt x="4286534" y="1330995"/>
                                  <a:pt x="4304027" y="1335908"/>
                                </a:cubicBezTo>
                                <a:cubicBezTo>
                                  <a:pt x="4317544" y="1339685"/>
                                  <a:pt x="4330086" y="1352419"/>
                                  <a:pt x="4343116" y="1358569"/>
                                </a:cubicBezTo>
                                <a:cubicBezTo>
                                  <a:pt x="4358905" y="1366090"/>
                                  <a:pt x="4343116" y="1352854"/>
                                  <a:pt x="4338813" y="1350080"/>
                                </a:cubicBezTo>
                                <a:cubicBezTo>
                                  <a:pt x="4324281" y="1340420"/>
                                  <a:pt x="4309832" y="1330794"/>
                                  <a:pt x="4295260" y="1321202"/>
                                </a:cubicBezTo>
                                <a:cubicBezTo>
                                  <a:pt x="4269161" y="1303955"/>
                                  <a:pt x="4233969" y="1288614"/>
                                  <a:pt x="4211158" y="1270398"/>
                                </a:cubicBezTo>
                                <a:cubicBezTo>
                                  <a:pt x="4206571" y="1266688"/>
                                  <a:pt x="4182420" y="1248205"/>
                                  <a:pt x="4182745" y="1258232"/>
                                </a:cubicBezTo>
                                <a:cubicBezTo>
                                  <a:pt x="4183070" y="1269061"/>
                                  <a:pt x="4168417" y="1262243"/>
                                  <a:pt x="4152708" y="1252650"/>
                                </a:cubicBezTo>
                                <a:cubicBezTo>
                                  <a:pt x="4144590" y="1247770"/>
                                  <a:pt x="4120034" y="1237476"/>
                                  <a:pt x="4116543" y="1243793"/>
                                </a:cubicBezTo>
                                <a:cubicBezTo>
                                  <a:pt x="4111754" y="1252349"/>
                                  <a:pt x="4144956" y="1258833"/>
                                  <a:pt x="4142805" y="1261407"/>
                                </a:cubicBezTo>
                                <a:cubicBezTo>
                                  <a:pt x="4140653" y="1263981"/>
                                  <a:pt x="4125189" y="1257329"/>
                                  <a:pt x="4126001" y="1261207"/>
                                </a:cubicBezTo>
                                <a:cubicBezTo>
                                  <a:pt x="4126650" y="1264549"/>
                                  <a:pt x="4141587" y="1280024"/>
                                  <a:pt x="4128152" y="1278854"/>
                                </a:cubicBezTo>
                                <a:cubicBezTo>
                                  <a:pt x="4114717" y="1277684"/>
                                  <a:pt x="4108994" y="1267523"/>
                                  <a:pt x="4101200" y="1261507"/>
                                </a:cubicBezTo>
                                <a:cubicBezTo>
                                  <a:pt x="4095355" y="1256962"/>
                                  <a:pt x="4057932" y="1243525"/>
                                  <a:pt x="4058337" y="1244160"/>
                                </a:cubicBezTo>
                                <a:cubicBezTo>
                                  <a:pt x="4061098" y="1248038"/>
                                  <a:pt x="4075101" y="1252984"/>
                                  <a:pt x="4074168" y="1257296"/>
                                </a:cubicBezTo>
                                <a:cubicBezTo>
                                  <a:pt x="4073234" y="1261608"/>
                                  <a:pt x="4052208" y="1250611"/>
                                  <a:pt x="4049408" y="1247269"/>
                                </a:cubicBezTo>
                                <a:cubicBezTo>
                                  <a:pt x="4045917" y="1243191"/>
                                  <a:pt x="4047825" y="1237643"/>
                                  <a:pt x="4039544" y="1234568"/>
                                </a:cubicBezTo>
                                <a:cubicBezTo>
                                  <a:pt x="4027368" y="1230122"/>
                                  <a:pt x="4016246" y="1220597"/>
                                  <a:pt x="4006342" y="1214180"/>
                                </a:cubicBezTo>
                                <a:cubicBezTo>
                                  <a:pt x="3986047" y="1200810"/>
                                  <a:pt x="3966077" y="1202214"/>
                                  <a:pt x="3944930" y="1190783"/>
                                </a:cubicBezTo>
                                <a:cubicBezTo>
                                  <a:pt x="3932712" y="1184399"/>
                                  <a:pt x="3921956" y="1176287"/>
                                  <a:pt x="3913148" y="1166818"/>
                                </a:cubicBezTo>
                                <a:cubicBezTo>
                                  <a:pt x="3906654" y="1159198"/>
                                  <a:pt x="3907668" y="1152680"/>
                                  <a:pt x="3892854" y="1153917"/>
                                </a:cubicBezTo>
                                <a:cubicBezTo>
                                  <a:pt x="3884370" y="1154652"/>
                                  <a:pt x="3879945" y="1158696"/>
                                  <a:pt x="3873330" y="1160902"/>
                                </a:cubicBezTo>
                                <a:cubicBezTo>
                                  <a:pt x="3867444" y="1162841"/>
                                  <a:pt x="3857905" y="1159766"/>
                                  <a:pt x="3851005" y="1161404"/>
                                </a:cubicBezTo>
                                <a:cubicBezTo>
                                  <a:pt x="3835418" y="1165147"/>
                                  <a:pt x="3826408" y="1158329"/>
                                  <a:pt x="3812648" y="1147032"/>
                                </a:cubicBezTo>
                                <a:cubicBezTo>
                                  <a:pt x="3800024" y="1136670"/>
                                  <a:pt x="3787198" y="1121028"/>
                                  <a:pt x="3784235" y="1110533"/>
                                </a:cubicBezTo>
                                <a:cubicBezTo>
                                  <a:pt x="3783382" y="1107425"/>
                                  <a:pt x="3765482" y="1078112"/>
                                  <a:pt x="3763940" y="1078413"/>
                                </a:cubicBezTo>
                                <a:cubicBezTo>
                                  <a:pt x="3772382" y="1076708"/>
                                  <a:pt x="3788294" y="1101442"/>
                                  <a:pt x="3803880" y="1097932"/>
                                </a:cubicBezTo>
                                <a:cubicBezTo>
                                  <a:pt x="3820116" y="1094256"/>
                                  <a:pt x="3788578" y="1080719"/>
                                  <a:pt x="3795762" y="1078146"/>
                                </a:cubicBezTo>
                                <a:cubicBezTo>
                                  <a:pt x="3804449" y="1075104"/>
                                  <a:pt x="3805464" y="1078814"/>
                                  <a:pt x="3801486" y="1068553"/>
                                </a:cubicBezTo>
                                <a:cubicBezTo>
                                  <a:pt x="3799253" y="1062871"/>
                                  <a:pt x="3803150" y="1066614"/>
                                  <a:pt x="3807858" y="1065545"/>
                                </a:cubicBezTo>
                                <a:cubicBezTo>
                                  <a:pt x="3814678" y="1063941"/>
                                  <a:pt x="3796006" y="1054081"/>
                                  <a:pt x="3793530" y="1052175"/>
                                </a:cubicBezTo>
                                <a:cubicBezTo>
                                  <a:pt x="3782814" y="1044154"/>
                                  <a:pt x="3785777" y="1039441"/>
                                  <a:pt x="3772545" y="1032556"/>
                                </a:cubicBezTo>
                                <a:cubicBezTo>
                                  <a:pt x="3769501" y="1030951"/>
                                  <a:pt x="3740073" y="1016446"/>
                                  <a:pt x="3739667" y="1020523"/>
                                </a:cubicBezTo>
                                <a:cubicBezTo>
                                  <a:pt x="3738936" y="1028879"/>
                                  <a:pt x="3724081" y="1010496"/>
                                  <a:pt x="3725258" y="1011165"/>
                                </a:cubicBezTo>
                                <a:cubicBezTo>
                                  <a:pt x="3707195" y="1000001"/>
                                  <a:pt x="3684668" y="991979"/>
                                  <a:pt x="3676551" y="977741"/>
                                </a:cubicBezTo>
                                <a:cubicBezTo>
                                  <a:pt x="3671599" y="969151"/>
                                  <a:pt x="3667418" y="970254"/>
                                  <a:pt x="3660315" y="973195"/>
                                </a:cubicBezTo>
                                <a:cubicBezTo>
                                  <a:pt x="3653211" y="976137"/>
                                  <a:pt x="3625123" y="956784"/>
                                  <a:pt x="3629222" y="972460"/>
                                </a:cubicBezTo>
                                <a:cubicBezTo>
                                  <a:pt x="3630278" y="976538"/>
                                  <a:pt x="3623499" y="989807"/>
                                  <a:pt x="3612459" y="983189"/>
                                </a:cubicBezTo>
                                <a:cubicBezTo>
                                  <a:pt x="3596223" y="973396"/>
                                  <a:pt x="3593260" y="974766"/>
                                  <a:pt x="3576172" y="968516"/>
                                </a:cubicBezTo>
                                <a:cubicBezTo>
                                  <a:pt x="3559936" y="962567"/>
                                  <a:pt x="3542198" y="951804"/>
                                  <a:pt x="3526368" y="944652"/>
                                </a:cubicBezTo>
                                <a:cubicBezTo>
                                  <a:pt x="3511229" y="937633"/>
                                  <a:pt x="3520848" y="933355"/>
                                  <a:pt x="3503516" y="932118"/>
                                </a:cubicBezTo>
                                <a:cubicBezTo>
                                  <a:pt x="3493409" y="931382"/>
                                  <a:pt x="3476362" y="922091"/>
                                  <a:pt x="3468406" y="917144"/>
                                </a:cubicBezTo>
                                <a:cubicBezTo>
                                  <a:pt x="3444823" y="902471"/>
                                  <a:pt x="3478757" y="910861"/>
                                  <a:pt x="3480583" y="908186"/>
                                </a:cubicBezTo>
                                <a:cubicBezTo>
                                  <a:pt x="3482409" y="905513"/>
                                  <a:pt x="3430739" y="884389"/>
                                  <a:pt x="3424813" y="881047"/>
                                </a:cubicBezTo>
                                <a:cubicBezTo>
                                  <a:pt x="3403097" y="868446"/>
                                  <a:pt x="3381990" y="861393"/>
                                  <a:pt x="3357230" y="853171"/>
                                </a:cubicBezTo>
                                <a:cubicBezTo>
                                  <a:pt x="3341441" y="847924"/>
                                  <a:pt x="3320699" y="839367"/>
                                  <a:pt x="3304464" y="836961"/>
                                </a:cubicBezTo>
                                <a:cubicBezTo>
                                  <a:pt x="3297279" y="835891"/>
                                  <a:pt x="3303733" y="843144"/>
                                  <a:pt x="3299959" y="844214"/>
                                </a:cubicBezTo>
                                <a:cubicBezTo>
                                  <a:pt x="3289933" y="846955"/>
                                  <a:pt x="3292327" y="835423"/>
                                  <a:pt x="3293220" y="834187"/>
                                </a:cubicBezTo>
                                <a:cubicBezTo>
                                  <a:pt x="3294560" y="832482"/>
                                  <a:pt x="3299106" y="812495"/>
                                  <a:pt x="3283723" y="816506"/>
                                </a:cubicBezTo>
                                <a:cubicBezTo>
                                  <a:pt x="3275605" y="818645"/>
                                  <a:pt x="3256771" y="817308"/>
                                  <a:pt x="3246623" y="807147"/>
                                </a:cubicBezTo>
                                <a:cubicBezTo>
                                  <a:pt x="3234446" y="794948"/>
                                  <a:pt x="3213177" y="779840"/>
                                  <a:pt x="3190123" y="776865"/>
                                </a:cubicBezTo>
                                <a:cubicBezTo>
                                  <a:pt x="3183628" y="776030"/>
                                  <a:pt x="3172345" y="775161"/>
                                  <a:pt x="3169462" y="778102"/>
                                </a:cubicBezTo>
                                <a:cubicBezTo>
                                  <a:pt x="3165403" y="782447"/>
                                  <a:pt x="3189270" y="786792"/>
                                  <a:pt x="3188540" y="789700"/>
                                </a:cubicBezTo>
                                <a:cubicBezTo>
                                  <a:pt x="3187687" y="793042"/>
                                  <a:pt x="3157407" y="782347"/>
                                  <a:pt x="3152943" y="781177"/>
                                </a:cubicBezTo>
                                <a:cubicBezTo>
                                  <a:pt x="3142673" y="778436"/>
                                  <a:pt x="3132120" y="780007"/>
                                  <a:pt x="3120471" y="777634"/>
                                </a:cubicBezTo>
                                <a:cubicBezTo>
                                  <a:pt x="3100744" y="773590"/>
                                  <a:pt x="3081951" y="767607"/>
                                  <a:pt x="3062346" y="762527"/>
                                </a:cubicBezTo>
                                <a:cubicBezTo>
                                  <a:pt x="3057313" y="761190"/>
                                  <a:pt x="3021228" y="757413"/>
                                  <a:pt x="3021472" y="757613"/>
                                </a:cubicBezTo>
                                <a:cubicBezTo>
                                  <a:pt x="3013923" y="751163"/>
                                  <a:pt x="3054553" y="750594"/>
                                  <a:pt x="3059505" y="751630"/>
                                </a:cubicBezTo>
                                <a:cubicBezTo>
                                  <a:pt x="3067379" y="753195"/>
                                  <a:pt x="3075497" y="753803"/>
                                  <a:pt x="3083574" y="753435"/>
                                </a:cubicBezTo>
                                <a:cubicBezTo>
                                  <a:pt x="3094006" y="753435"/>
                                  <a:pt x="3107928" y="758783"/>
                                  <a:pt x="3118523" y="761758"/>
                                </a:cubicBezTo>
                                <a:cubicBezTo>
                                  <a:pt x="3133825" y="765936"/>
                                  <a:pt x="3155946" y="764432"/>
                                  <a:pt x="3171289" y="766103"/>
                                </a:cubicBezTo>
                                <a:cubicBezTo>
                                  <a:pt x="3189514" y="768075"/>
                                  <a:pt x="3201082" y="765334"/>
                                  <a:pt x="3220971" y="768910"/>
                                </a:cubicBezTo>
                                <a:cubicBezTo>
                                  <a:pt x="3234324" y="771317"/>
                                  <a:pt x="3256203" y="779573"/>
                                  <a:pt x="3265620" y="776130"/>
                                </a:cubicBezTo>
                                <a:cubicBezTo>
                                  <a:pt x="3276213" y="772219"/>
                                  <a:pt x="3298092" y="779138"/>
                                  <a:pt x="3313718" y="781611"/>
                                </a:cubicBezTo>
                                <a:cubicBezTo>
                                  <a:pt x="3323176" y="783115"/>
                                  <a:pt x="3331821" y="783918"/>
                                  <a:pt x="3337626" y="781043"/>
                                </a:cubicBezTo>
                                <a:cubicBezTo>
                                  <a:pt x="3346393" y="776631"/>
                                  <a:pt x="3328168" y="773322"/>
                                  <a:pt x="3328209" y="768075"/>
                                </a:cubicBezTo>
                                <a:cubicBezTo>
                                  <a:pt x="3328209" y="764732"/>
                                  <a:pt x="3347245" y="773623"/>
                                  <a:pt x="3351589" y="771818"/>
                                </a:cubicBezTo>
                                <a:cubicBezTo>
                                  <a:pt x="3360193" y="768209"/>
                                  <a:pt x="3340954" y="762627"/>
                                  <a:pt x="3339412" y="760454"/>
                                </a:cubicBezTo>
                                <a:cubicBezTo>
                                  <a:pt x="3336935" y="757112"/>
                                  <a:pt x="3352157" y="756477"/>
                                  <a:pt x="3339980" y="749892"/>
                                </a:cubicBezTo>
                                <a:cubicBezTo>
                                  <a:pt x="3336368" y="747954"/>
                                  <a:pt x="3320375" y="745547"/>
                                  <a:pt x="3322486" y="742539"/>
                                </a:cubicBezTo>
                                <a:cubicBezTo>
                                  <a:pt x="3324597" y="739531"/>
                                  <a:pt x="3329913" y="729170"/>
                                  <a:pt x="3319442" y="725360"/>
                                </a:cubicBezTo>
                                <a:cubicBezTo>
                                  <a:pt x="3305276" y="720179"/>
                                  <a:pt x="3301582" y="722652"/>
                                  <a:pt x="3288837" y="713661"/>
                                </a:cubicBezTo>
                                <a:cubicBezTo>
                                  <a:pt x="3273657" y="702932"/>
                                  <a:pt x="3254051" y="698353"/>
                                  <a:pt x="3239642" y="690465"/>
                                </a:cubicBezTo>
                                <a:cubicBezTo>
                                  <a:pt x="3222919" y="681341"/>
                                  <a:pt x="3201285" y="678901"/>
                                  <a:pt x="3183060" y="669375"/>
                                </a:cubicBezTo>
                                <a:cubicBezTo>
                                  <a:pt x="3168245" y="661688"/>
                                  <a:pt x="3165403" y="667604"/>
                                  <a:pt x="3155702" y="667871"/>
                                </a:cubicBezTo>
                                <a:cubicBezTo>
                                  <a:pt x="3146002" y="668138"/>
                                  <a:pt x="3130131" y="660651"/>
                                  <a:pt x="3121445" y="657075"/>
                                </a:cubicBezTo>
                                <a:cubicBezTo>
                                  <a:pt x="3100906" y="648652"/>
                                  <a:pt x="3137031" y="650391"/>
                                  <a:pt x="3144825" y="648519"/>
                                </a:cubicBezTo>
                                <a:cubicBezTo>
                                  <a:pt x="3148884" y="647549"/>
                                  <a:pt x="3104478" y="632275"/>
                                  <a:pt x="3099080" y="630236"/>
                                </a:cubicBezTo>
                                <a:cubicBezTo>
                                  <a:pt x="3092260" y="627629"/>
                                  <a:pt x="3090191" y="624988"/>
                                  <a:pt x="3084142" y="622047"/>
                                </a:cubicBezTo>
                                <a:cubicBezTo>
                                  <a:pt x="3075213" y="617702"/>
                                  <a:pt x="3052807" y="612254"/>
                                  <a:pt x="3046516" y="607508"/>
                                </a:cubicBezTo>
                                <a:cubicBezTo>
                                  <a:pt x="3051590" y="611318"/>
                                  <a:pt x="3097010" y="617301"/>
                                  <a:pt x="3104235" y="617836"/>
                                </a:cubicBezTo>
                                <a:cubicBezTo>
                                  <a:pt x="3123109" y="619206"/>
                                  <a:pt x="3070220" y="594807"/>
                                  <a:pt x="3068638" y="594038"/>
                                </a:cubicBezTo>
                                <a:cubicBezTo>
                                  <a:pt x="3046273" y="582306"/>
                                  <a:pt x="3031822" y="578964"/>
                                  <a:pt x="3006698" y="573483"/>
                                </a:cubicBezTo>
                                <a:cubicBezTo>
                                  <a:pt x="2981573" y="568001"/>
                                  <a:pt x="2975281" y="570542"/>
                                  <a:pt x="2954986" y="571277"/>
                                </a:cubicBezTo>
                                <a:cubicBezTo>
                                  <a:pt x="2947599" y="571544"/>
                                  <a:pt x="2915168" y="568503"/>
                                  <a:pt x="2917846" y="575589"/>
                                </a:cubicBezTo>
                                <a:cubicBezTo>
                                  <a:pt x="2920119" y="577387"/>
                                  <a:pt x="2922555" y="579061"/>
                                  <a:pt x="2925112" y="580602"/>
                                </a:cubicBezTo>
                                <a:cubicBezTo>
                                  <a:pt x="2924827" y="582510"/>
                                  <a:pt x="2924219" y="584372"/>
                                  <a:pt x="2923245" y="586117"/>
                                </a:cubicBezTo>
                                <a:cubicBezTo>
                                  <a:pt x="2923245" y="591164"/>
                                  <a:pt x="2906238" y="584145"/>
                                  <a:pt x="2902463" y="582540"/>
                                </a:cubicBezTo>
                                <a:cubicBezTo>
                                  <a:pt x="2887932" y="576478"/>
                                  <a:pt x="2872630" y="571835"/>
                                  <a:pt x="2856800" y="568703"/>
                                </a:cubicBezTo>
                                <a:cubicBezTo>
                                  <a:pt x="2831471" y="563990"/>
                                  <a:pt x="2869545" y="582306"/>
                                  <a:pt x="2866866" y="583978"/>
                                </a:cubicBezTo>
                                <a:cubicBezTo>
                                  <a:pt x="2864187" y="585649"/>
                                  <a:pt x="2825870" y="565628"/>
                                  <a:pt x="2814870" y="565795"/>
                                </a:cubicBezTo>
                                <a:cubicBezTo>
                                  <a:pt x="2805250" y="565795"/>
                                  <a:pt x="2803424" y="568803"/>
                                  <a:pt x="2791328" y="563890"/>
                                </a:cubicBezTo>
                                <a:cubicBezTo>
                                  <a:pt x="2787269" y="562286"/>
                                  <a:pt x="2761982" y="555401"/>
                                  <a:pt x="2762509" y="554130"/>
                                </a:cubicBezTo>
                                <a:cubicBezTo>
                                  <a:pt x="2763646" y="551189"/>
                                  <a:pt x="2791613" y="552560"/>
                                  <a:pt x="2769572" y="545674"/>
                                </a:cubicBezTo>
                                <a:cubicBezTo>
                                  <a:pt x="2749764" y="539524"/>
                                  <a:pt x="2744082" y="547178"/>
                                  <a:pt x="2728089" y="537653"/>
                                </a:cubicBezTo>
                                <a:cubicBezTo>
                                  <a:pt x="2720702" y="533241"/>
                                  <a:pt x="2714086" y="534310"/>
                                  <a:pt x="2705805" y="533675"/>
                                </a:cubicBezTo>
                                <a:cubicBezTo>
                                  <a:pt x="2692411" y="532706"/>
                                  <a:pt x="2685510" y="530132"/>
                                  <a:pt x="2672562" y="525720"/>
                                </a:cubicBezTo>
                                <a:cubicBezTo>
                                  <a:pt x="2642445" y="515426"/>
                                  <a:pt x="2679584" y="537285"/>
                                  <a:pt x="2679584" y="537084"/>
                                </a:cubicBezTo>
                                <a:cubicBezTo>
                                  <a:pt x="2679584" y="536884"/>
                                  <a:pt x="2580870" y="515426"/>
                                  <a:pt x="2575106" y="513989"/>
                                </a:cubicBezTo>
                                <a:cubicBezTo>
                                  <a:pt x="2563539" y="510646"/>
                                  <a:pt x="2560048" y="511816"/>
                                  <a:pt x="2550996" y="512652"/>
                                </a:cubicBezTo>
                                <a:cubicBezTo>
                                  <a:pt x="2540280" y="513655"/>
                                  <a:pt x="2526033" y="508340"/>
                                  <a:pt x="2514466" y="507538"/>
                                </a:cubicBezTo>
                                <a:cubicBezTo>
                                  <a:pt x="2503547" y="506836"/>
                                  <a:pt x="2498716" y="511515"/>
                                  <a:pt x="2486053" y="507538"/>
                                </a:cubicBezTo>
                                <a:cubicBezTo>
                                  <a:pt x="2483414" y="506736"/>
                                  <a:pt x="2460969" y="493099"/>
                                  <a:pt x="2459344" y="499316"/>
                                </a:cubicBezTo>
                                <a:cubicBezTo>
                                  <a:pt x="2458980" y="500753"/>
                                  <a:pt x="2472292" y="505399"/>
                                  <a:pt x="2459588" y="504329"/>
                                </a:cubicBezTo>
                                <a:cubicBezTo>
                                  <a:pt x="2455895" y="503995"/>
                                  <a:pt x="2438238" y="498580"/>
                                  <a:pt x="2437832" y="502591"/>
                                </a:cubicBezTo>
                                <a:cubicBezTo>
                                  <a:pt x="2437832" y="504129"/>
                                  <a:pt x="2459629" y="509276"/>
                                  <a:pt x="2447411" y="511983"/>
                                </a:cubicBezTo>
                                <a:cubicBezTo>
                                  <a:pt x="2442622" y="513120"/>
                                  <a:pt x="2431175" y="506903"/>
                                  <a:pt x="2427116" y="505299"/>
                                </a:cubicBezTo>
                                <a:cubicBezTo>
                                  <a:pt x="2420216" y="502591"/>
                                  <a:pt x="2411529" y="502658"/>
                                  <a:pt x="2420662" y="507839"/>
                                </a:cubicBezTo>
                                <a:cubicBezTo>
                                  <a:pt x="2428456" y="512284"/>
                                  <a:pt x="2442703" y="513788"/>
                                  <a:pt x="2447005" y="519571"/>
                                </a:cubicBezTo>
                                <a:cubicBezTo>
                                  <a:pt x="2455895" y="531536"/>
                                  <a:pt x="2413884" y="510814"/>
                                  <a:pt x="2420013" y="518601"/>
                                </a:cubicBezTo>
                                <a:cubicBezTo>
                                  <a:pt x="2423706" y="523214"/>
                                  <a:pt x="2457274" y="534043"/>
                                  <a:pt x="2439780" y="538655"/>
                                </a:cubicBezTo>
                                <a:cubicBezTo>
                                  <a:pt x="2423544" y="542900"/>
                                  <a:pt x="2434869" y="540026"/>
                                  <a:pt x="2416603" y="533776"/>
                                </a:cubicBezTo>
                                <a:cubicBezTo>
                                  <a:pt x="2410718" y="531804"/>
                                  <a:pt x="2399678" y="528361"/>
                                  <a:pt x="2394157" y="529598"/>
                                </a:cubicBezTo>
                                <a:cubicBezTo>
                                  <a:pt x="2383279" y="532104"/>
                                  <a:pt x="2383767" y="530199"/>
                                  <a:pt x="2373376" y="525954"/>
                                </a:cubicBezTo>
                                <a:cubicBezTo>
                                  <a:pt x="2356611" y="519069"/>
                                  <a:pt x="2329823" y="516429"/>
                                  <a:pt x="2311395" y="511983"/>
                                </a:cubicBezTo>
                                <a:cubicBezTo>
                                  <a:pt x="2288503" y="506502"/>
                                  <a:pt x="2265244" y="500720"/>
                                  <a:pt x="2242108" y="496742"/>
                                </a:cubicBezTo>
                                <a:cubicBezTo>
                                  <a:pt x="2226278" y="494001"/>
                                  <a:pt x="2202492" y="497377"/>
                                  <a:pt x="2215360" y="508608"/>
                                </a:cubicBezTo>
                                <a:cubicBezTo>
                                  <a:pt x="2228227" y="519838"/>
                                  <a:pt x="2202452" y="517899"/>
                                  <a:pt x="2223478" y="530099"/>
                                </a:cubicBezTo>
                                <a:cubicBezTo>
                                  <a:pt x="2236953" y="537954"/>
                                  <a:pt x="2261754" y="544304"/>
                                  <a:pt x="2270197" y="553495"/>
                                </a:cubicBezTo>
                                <a:cubicBezTo>
                                  <a:pt x="2281115" y="565428"/>
                                  <a:pt x="2263134" y="568202"/>
                                  <a:pt x="2245599" y="560481"/>
                                </a:cubicBezTo>
                                <a:cubicBezTo>
                                  <a:pt x="2226278" y="552025"/>
                                  <a:pt x="2214588" y="540427"/>
                                  <a:pt x="2195836" y="531837"/>
                                </a:cubicBezTo>
                                <a:cubicBezTo>
                                  <a:pt x="2178423" y="523892"/>
                                  <a:pt x="2160076" y="517472"/>
                                  <a:pt x="2141040" y="512685"/>
                                </a:cubicBezTo>
                                <a:cubicBezTo>
                                  <a:pt x="2124519" y="508574"/>
                                  <a:pt x="2125129" y="500352"/>
                                  <a:pt x="2105564" y="498079"/>
                                </a:cubicBezTo>
                                <a:cubicBezTo>
                                  <a:pt x="2099476" y="497377"/>
                                  <a:pt x="2087258" y="496709"/>
                                  <a:pt x="2084539" y="499683"/>
                                </a:cubicBezTo>
                                <a:cubicBezTo>
                                  <a:pt x="2081819" y="502658"/>
                                  <a:pt x="2105768" y="504597"/>
                                  <a:pt x="2105077" y="507237"/>
                                </a:cubicBezTo>
                                <a:cubicBezTo>
                                  <a:pt x="2103169" y="507815"/>
                                  <a:pt x="2101302" y="508531"/>
                                  <a:pt x="2099517" y="509376"/>
                                </a:cubicBezTo>
                                <a:cubicBezTo>
                                  <a:pt x="2100003" y="511114"/>
                                  <a:pt x="2117701" y="517431"/>
                                  <a:pt x="2119202" y="518167"/>
                                </a:cubicBezTo>
                                <a:cubicBezTo>
                                  <a:pt x="2130121" y="523448"/>
                                  <a:pt x="2113764" y="521843"/>
                                  <a:pt x="2108934" y="520807"/>
                                </a:cubicBezTo>
                                <a:cubicBezTo>
                                  <a:pt x="2094443" y="517766"/>
                                  <a:pt x="2086040" y="509410"/>
                                  <a:pt x="2071550" y="507137"/>
                                </a:cubicBezTo>
                                <a:cubicBezTo>
                                  <a:pt x="2062945" y="505767"/>
                                  <a:pt x="2046912" y="505834"/>
                                  <a:pt x="2050362" y="512017"/>
                                </a:cubicBezTo>
                                <a:cubicBezTo>
                                  <a:pt x="2059535" y="528528"/>
                                  <a:pt x="2094118" y="531804"/>
                                  <a:pt x="2109623" y="544471"/>
                                </a:cubicBezTo>
                                <a:cubicBezTo>
                                  <a:pt x="2113114" y="547312"/>
                                  <a:pt x="2122409" y="552693"/>
                                  <a:pt x="2124438" y="555167"/>
                                </a:cubicBezTo>
                                <a:cubicBezTo>
                                  <a:pt x="2128944" y="560648"/>
                                  <a:pt x="2104143" y="552493"/>
                                  <a:pt x="2101830" y="551356"/>
                                </a:cubicBezTo>
                                <a:cubicBezTo>
                                  <a:pt x="2077477" y="538555"/>
                                  <a:pt x="2067816" y="532907"/>
                                  <a:pt x="2037414" y="526289"/>
                                </a:cubicBezTo>
                                <a:cubicBezTo>
                                  <a:pt x="2030473" y="524751"/>
                                  <a:pt x="2014481" y="521810"/>
                                  <a:pt x="2016307" y="516529"/>
                                </a:cubicBezTo>
                                <a:cubicBezTo>
                                  <a:pt x="2017728" y="514868"/>
                                  <a:pt x="2019270" y="513273"/>
                                  <a:pt x="2020934" y="511749"/>
                                </a:cubicBezTo>
                                <a:cubicBezTo>
                                  <a:pt x="2022193" y="508808"/>
                                  <a:pt x="2015861" y="506435"/>
                                  <a:pt x="2018337" y="503159"/>
                                </a:cubicBezTo>
                                <a:cubicBezTo>
                                  <a:pt x="2024507" y="494971"/>
                                  <a:pt x="2059495" y="484208"/>
                                  <a:pt x="2025400" y="470672"/>
                                </a:cubicBezTo>
                                <a:cubicBezTo>
                                  <a:pt x="2012370" y="465525"/>
                                  <a:pt x="2009691" y="487150"/>
                                  <a:pt x="1999179" y="490291"/>
                                </a:cubicBezTo>
                                <a:cubicBezTo>
                                  <a:pt x="1985094" y="494469"/>
                                  <a:pt x="1964880" y="487785"/>
                                  <a:pt x="1951810" y="492598"/>
                                </a:cubicBezTo>
                                <a:cubicBezTo>
                                  <a:pt x="1948928" y="493667"/>
                                  <a:pt x="1931515" y="494336"/>
                                  <a:pt x="1936670" y="498046"/>
                                </a:cubicBezTo>
                                <a:cubicBezTo>
                                  <a:pt x="1942231" y="502277"/>
                                  <a:pt x="1947426" y="506823"/>
                                  <a:pt x="1952216" y="511649"/>
                                </a:cubicBezTo>
                                <a:cubicBezTo>
                                  <a:pt x="1963134" y="521977"/>
                                  <a:pt x="1974337" y="529664"/>
                                  <a:pt x="1960334" y="536550"/>
                                </a:cubicBezTo>
                                <a:cubicBezTo>
                                  <a:pt x="1944098" y="544705"/>
                                  <a:pt x="1935047" y="553261"/>
                                  <a:pt x="1933788" y="566631"/>
                                </a:cubicBezTo>
                                <a:cubicBezTo>
                                  <a:pt x="1932692" y="578262"/>
                                  <a:pt x="1990614" y="581270"/>
                                  <a:pt x="2002142" y="582942"/>
                                </a:cubicBezTo>
                                <a:cubicBezTo>
                                  <a:pt x="2024993" y="586284"/>
                                  <a:pt x="2046790" y="600355"/>
                                  <a:pt x="2064324" y="609246"/>
                                </a:cubicBezTo>
                                <a:cubicBezTo>
                                  <a:pt x="2071022" y="612588"/>
                                  <a:pt x="2074878" y="623451"/>
                                  <a:pt x="2073052" y="626994"/>
                                </a:cubicBezTo>
                                <a:cubicBezTo>
                                  <a:pt x="2071509" y="630002"/>
                                  <a:pt x="2058724" y="628698"/>
                                  <a:pt x="2054827" y="630838"/>
                                </a:cubicBezTo>
                                <a:cubicBezTo>
                                  <a:pt x="2039281" y="639327"/>
                                  <a:pt x="2085391" y="648485"/>
                                  <a:pt x="2087299" y="655337"/>
                                </a:cubicBezTo>
                                <a:cubicBezTo>
                                  <a:pt x="2087948" y="657510"/>
                                  <a:pt x="2061687" y="649120"/>
                                  <a:pt x="2059982" y="648652"/>
                                </a:cubicBezTo>
                                <a:cubicBezTo>
                                  <a:pt x="2046140" y="643839"/>
                                  <a:pt x="2042610" y="639996"/>
                                  <a:pt x="2039078" y="632442"/>
                                </a:cubicBezTo>
                                <a:cubicBezTo>
                                  <a:pt x="2035547" y="624888"/>
                                  <a:pt x="2054056" y="625055"/>
                                  <a:pt x="2050402" y="617936"/>
                                </a:cubicBezTo>
                                <a:cubicBezTo>
                                  <a:pt x="2047927" y="613090"/>
                                  <a:pt x="2031934" y="599319"/>
                                  <a:pt x="2024060" y="596010"/>
                                </a:cubicBezTo>
                                <a:cubicBezTo>
                                  <a:pt x="2009691" y="589894"/>
                                  <a:pt x="1959644" y="583811"/>
                                  <a:pt x="1956518" y="593203"/>
                                </a:cubicBezTo>
                                <a:cubicBezTo>
                                  <a:pt x="1954367" y="599620"/>
                                  <a:pt x="1965205" y="609714"/>
                                  <a:pt x="1961592" y="615195"/>
                                </a:cubicBezTo>
                                <a:cubicBezTo>
                                  <a:pt x="1957980" y="620677"/>
                                  <a:pt x="1939674" y="620911"/>
                                  <a:pt x="1930988" y="623518"/>
                                </a:cubicBezTo>
                                <a:cubicBezTo>
                                  <a:pt x="1920718" y="626660"/>
                                  <a:pt x="1922870" y="630637"/>
                                  <a:pt x="1906634" y="631038"/>
                                </a:cubicBezTo>
                                <a:cubicBezTo>
                                  <a:pt x="1894051" y="631339"/>
                                  <a:pt x="1871483" y="629634"/>
                                  <a:pt x="1863771" y="634782"/>
                                </a:cubicBezTo>
                                <a:cubicBezTo>
                                  <a:pt x="1856059" y="639929"/>
                                  <a:pt x="1852325" y="640798"/>
                                  <a:pt x="1836535" y="633445"/>
                                </a:cubicBezTo>
                                <a:cubicBezTo>
                                  <a:pt x="1819244" y="625423"/>
                                  <a:pt x="1800410" y="628565"/>
                                  <a:pt x="1783769" y="621345"/>
                                </a:cubicBezTo>
                                <a:cubicBezTo>
                                  <a:pt x="1779263" y="619373"/>
                                  <a:pt x="1776462" y="616064"/>
                                  <a:pt x="1771267" y="614661"/>
                                </a:cubicBezTo>
                                <a:cubicBezTo>
                                  <a:pt x="1764123" y="612655"/>
                                  <a:pt x="1756817" y="614360"/>
                                  <a:pt x="1751216" y="609814"/>
                                </a:cubicBezTo>
                                <a:cubicBezTo>
                                  <a:pt x="1739444" y="600255"/>
                                  <a:pt x="1768020" y="600790"/>
                                  <a:pt x="1768101" y="609279"/>
                                </a:cubicBezTo>
                                <a:cubicBezTo>
                                  <a:pt x="1768101" y="614594"/>
                                  <a:pt x="1791034" y="610015"/>
                                  <a:pt x="1797001" y="615964"/>
                                </a:cubicBezTo>
                                <a:cubicBezTo>
                                  <a:pt x="1805849" y="624821"/>
                                  <a:pt x="1815753" y="618638"/>
                                  <a:pt x="1825414" y="621178"/>
                                </a:cubicBezTo>
                                <a:cubicBezTo>
                                  <a:pt x="1840513" y="625189"/>
                                  <a:pt x="1830690" y="616064"/>
                                  <a:pt x="1845709" y="616165"/>
                                </a:cubicBezTo>
                                <a:cubicBezTo>
                                  <a:pt x="1854557" y="615901"/>
                                  <a:pt x="1863041" y="613220"/>
                                  <a:pt x="1869819" y="608544"/>
                                </a:cubicBezTo>
                                <a:cubicBezTo>
                                  <a:pt x="1872133" y="606706"/>
                                  <a:pt x="1889099" y="603564"/>
                                  <a:pt x="1894741" y="604834"/>
                                </a:cubicBezTo>
                                <a:cubicBezTo>
                                  <a:pt x="1906593" y="607475"/>
                                  <a:pt x="1903346" y="592434"/>
                                  <a:pt x="1910977" y="590195"/>
                                </a:cubicBezTo>
                                <a:cubicBezTo>
                                  <a:pt x="1922748" y="586852"/>
                                  <a:pt x="1924655" y="587387"/>
                                  <a:pt x="1912073" y="578864"/>
                                </a:cubicBezTo>
                                <a:cubicBezTo>
                                  <a:pt x="1901682" y="571812"/>
                                  <a:pt x="1896852" y="567634"/>
                                  <a:pt x="1898313" y="560381"/>
                                </a:cubicBezTo>
                                <a:cubicBezTo>
                                  <a:pt x="1899774" y="553128"/>
                                  <a:pt x="1903955" y="546477"/>
                                  <a:pt x="1905335" y="539257"/>
                                </a:cubicBezTo>
                                <a:cubicBezTo>
                                  <a:pt x="1907283" y="529230"/>
                                  <a:pt x="1913778" y="524216"/>
                                  <a:pt x="1920637" y="515493"/>
                                </a:cubicBezTo>
                                <a:cubicBezTo>
                                  <a:pt x="1933260" y="499316"/>
                                  <a:pt x="1868804" y="487350"/>
                                  <a:pt x="1913899" y="480532"/>
                                </a:cubicBezTo>
                                <a:cubicBezTo>
                                  <a:pt x="1930541" y="478058"/>
                                  <a:pt x="1949131" y="458472"/>
                                  <a:pt x="1928309" y="449414"/>
                                </a:cubicBezTo>
                                <a:cubicBezTo>
                                  <a:pt x="1905660" y="439588"/>
                                  <a:pt x="1877084" y="435443"/>
                                  <a:pt x="1851878" y="429360"/>
                                </a:cubicBezTo>
                                <a:cubicBezTo>
                                  <a:pt x="1842177" y="426987"/>
                                  <a:pt x="1825738" y="420737"/>
                                  <a:pt x="1817458" y="423645"/>
                                </a:cubicBezTo>
                                <a:cubicBezTo>
                                  <a:pt x="1806255" y="428070"/>
                                  <a:pt x="1795783" y="433689"/>
                                  <a:pt x="1786366" y="440357"/>
                                </a:cubicBezTo>
                                <a:cubicBezTo>
                                  <a:pt x="1776990" y="446440"/>
                                  <a:pt x="1772728" y="453024"/>
                                  <a:pt x="1755680" y="454628"/>
                                </a:cubicBezTo>
                                <a:cubicBezTo>
                                  <a:pt x="1743909" y="455731"/>
                                  <a:pt x="1728688" y="453559"/>
                                  <a:pt x="1717932" y="455665"/>
                                </a:cubicBezTo>
                                <a:cubicBezTo>
                                  <a:pt x="1705755" y="458105"/>
                                  <a:pt x="1698327" y="467864"/>
                                  <a:pt x="1719312" y="471039"/>
                                </a:cubicBezTo>
                                <a:cubicBezTo>
                                  <a:pt x="1733802" y="473245"/>
                                  <a:pt x="1724995" y="483707"/>
                                  <a:pt x="1717486" y="485044"/>
                                </a:cubicBezTo>
                                <a:cubicBezTo>
                                  <a:pt x="1714482" y="485612"/>
                                  <a:pt x="1718257" y="489757"/>
                                  <a:pt x="1717242" y="491027"/>
                                </a:cubicBezTo>
                                <a:cubicBezTo>
                                  <a:pt x="1715172" y="493634"/>
                                  <a:pt x="1704213" y="493801"/>
                                  <a:pt x="1700316" y="495806"/>
                                </a:cubicBezTo>
                                <a:cubicBezTo>
                                  <a:pt x="1689722" y="501254"/>
                                  <a:pt x="1709043" y="506569"/>
                                  <a:pt x="1718662" y="509945"/>
                                </a:cubicBezTo>
                                <a:cubicBezTo>
                                  <a:pt x="1736035" y="515994"/>
                                  <a:pt x="1740784" y="519103"/>
                                  <a:pt x="1744437" y="528796"/>
                                </a:cubicBezTo>
                                <a:cubicBezTo>
                                  <a:pt x="1747238" y="536182"/>
                                  <a:pt x="1772119" y="541262"/>
                                  <a:pt x="1765016" y="546677"/>
                                </a:cubicBezTo>
                                <a:cubicBezTo>
                                  <a:pt x="1748253" y="559445"/>
                                  <a:pt x="1735751" y="554197"/>
                                  <a:pt x="1717648" y="540828"/>
                                </a:cubicBezTo>
                                <a:cubicBezTo>
                                  <a:pt x="1697881" y="526222"/>
                                  <a:pt x="1671051" y="515627"/>
                                  <a:pt x="1643693" y="504764"/>
                                </a:cubicBezTo>
                                <a:cubicBezTo>
                                  <a:pt x="1617878" y="494503"/>
                                  <a:pt x="1593403" y="480264"/>
                                  <a:pt x="1564137" y="473546"/>
                                </a:cubicBezTo>
                                <a:cubicBezTo>
                                  <a:pt x="1545588" y="469201"/>
                                  <a:pt x="1483323" y="461547"/>
                                  <a:pt x="1473379" y="451086"/>
                                </a:cubicBezTo>
                                <a:cubicBezTo>
                                  <a:pt x="1467574" y="444802"/>
                                  <a:pt x="1410667" y="416659"/>
                                  <a:pt x="1410749" y="433171"/>
                                </a:cubicBezTo>
                                <a:cubicBezTo>
                                  <a:pt x="1410749" y="448311"/>
                                  <a:pt x="1467574" y="450450"/>
                                  <a:pt x="1469685" y="461480"/>
                                </a:cubicBezTo>
                                <a:cubicBezTo>
                                  <a:pt x="1470497" y="465658"/>
                                  <a:pt x="1468548" y="468366"/>
                                  <a:pt x="1472323" y="472778"/>
                                </a:cubicBezTo>
                                <a:cubicBezTo>
                                  <a:pt x="1475327" y="476354"/>
                                  <a:pt x="1482836" y="480197"/>
                                  <a:pt x="1484297" y="483841"/>
                                </a:cubicBezTo>
                                <a:cubicBezTo>
                                  <a:pt x="1487950" y="492932"/>
                                  <a:pt x="1460634" y="486581"/>
                                  <a:pt x="1452272" y="486047"/>
                                </a:cubicBezTo>
                                <a:cubicBezTo>
                                  <a:pt x="1435427" y="484910"/>
                                  <a:pt x="1451379" y="495305"/>
                                  <a:pt x="1438350" y="493734"/>
                                </a:cubicBezTo>
                                <a:cubicBezTo>
                                  <a:pt x="1420287" y="491562"/>
                                  <a:pt x="1412494" y="484242"/>
                                  <a:pt x="1427066" y="480365"/>
                                </a:cubicBezTo>
                                <a:cubicBezTo>
                                  <a:pt x="1434291" y="478393"/>
                                  <a:pt x="1409409" y="468967"/>
                                  <a:pt x="1404904" y="468499"/>
                                </a:cubicBezTo>
                                <a:cubicBezTo>
                                  <a:pt x="1393335" y="467296"/>
                                  <a:pt x="1380793" y="469669"/>
                                  <a:pt x="1370605" y="470906"/>
                                </a:cubicBezTo>
                                <a:cubicBezTo>
                                  <a:pt x="1360417" y="472142"/>
                                  <a:pt x="1351447" y="473981"/>
                                  <a:pt x="1339514" y="471441"/>
                                </a:cubicBezTo>
                                <a:cubicBezTo>
                                  <a:pt x="1319787" y="467296"/>
                                  <a:pt x="1296448" y="460778"/>
                                  <a:pt x="1277493" y="464488"/>
                                </a:cubicBezTo>
                                <a:cubicBezTo>
                                  <a:pt x="1272460" y="465491"/>
                                  <a:pt x="1264057" y="471674"/>
                                  <a:pt x="1257198" y="469870"/>
                                </a:cubicBezTo>
                                <a:cubicBezTo>
                                  <a:pt x="1243965" y="466360"/>
                                  <a:pt x="1229150" y="466527"/>
                                  <a:pt x="1215837" y="462784"/>
                                </a:cubicBezTo>
                                <a:cubicBezTo>
                                  <a:pt x="1192092" y="456333"/>
                                  <a:pt x="1220221" y="458372"/>
                                  <a:pt x="1227202" y="458706"/>
                                </a:cubicBezTo>
                                <a:cubicBezTo>
                                  <a:pt x="1234183" y="459040"/>
                                  <a:pt x="1232641" y="456467"/>
                                  <a:pt x="1229800" y="454161"/>
                                </a:cubicBezTo>
                                <a:cubicBezTo>
                                  <a:pt x="1225132" y="450350"/>
                                  <a:pt x="1235198" y="447476"/>
                                  <a:pt x="1238527" y="445537"/>
                                </a:cubicBezTo>
                                <a:cubicBezTo>
                                  <a:pt x="1244655" y="441894"/>
                                  <a:pt x="1197937" y="441827"/>
                                  <a:pt x="1191117" y="443498"/>
                                </a:cubicBezTo>
                                <a:cubicBezTo>
                                  <a:pt x="1181620" y="445771"/>
                                  <a:pt x="1186734" y="457703"/>
                                  <a:pt x="1172365" y="447509"/>
                                </a:cubicBezTo>
                                <a:cubicBezTo>
                                  <a:pt x="1165384" y="442529"/>
                                  <a:pt x="1148254" y="443030"/>
                                  <a:pt x="1139000" y="442730"/>
                                </a:cubicBezTo>
                                <a:cubicBezTo>
                                  <a:pt x="1125322" y="442128"/>
                                  <a:pt x="1111643" y="442319"/>
                                  <a:pt x="1098005" y="443298"/>
                                </a:cubicBezTo>
                                <a:cubicBezTo>
                                  <a:pt x="1086477" y="444234"/>
                                  <a:pt x="1078237" y="447710"/>
                                  <a:pt x="1066304" y="448378"/>
                                </a:cubicBezTo>
                                <a:cubicBezTo>
                                  <a:pt x="1057415" y="448846"/>
                                  <a:pt x="1051164" y="452088"/>
                                  <a:pt x="1043696" y="452255"/>
                                </a:cubicBezTo>
                                <a:cubicBezTo>
                                  <a:pt x="1031519" y="452523"/>
                                  <a:pt x="1007773" y="447910"/>
                                  <a:pt x="1003755" y="455330"/>
                                </a:cubicBezTo>
                                <a:cubicBezTo>
                                  <a:pt x="1001360" y="459709"/>
                                  <a:pt x="1005419" y="468967"/>
                                  <a:pt x="993405" y="469602"/>
                                </a:cubicBezTo>
                                <a:cubicBezTo>
                                  <a:pt x="981390" y="470237"/>
                                  <a:pt x="967387" y="468031"/>
                                  <a:pt x="955250" y="466460"/>
                                </a:cubicBezTo>
                                <a:cubicBezTo>
                                  <a:pt x="943114" y="464890"/>
                                  <a:pt x="933860" y="464622"/>
                                  <a:pt x="927284" y="458238"/>
                                </a:cubicBezTo>
                                <a:cubicBezTo>
                                  <a:pt x="922170" y="453258"/>
                                  <a:pt x="906543" y="446607"/>
                                  <a:pt x="910074" y="441961"/>
                                </a:cubicBezTo>
                                <a:cubicBezTo>
                                  <a:pt x="915959" y="434207"/>
                                  <a:pt x="926310" y="438418"/>
                                  <a:pt x="939948" y="436012"/>
                                </a:cubicBezTo>
                                <a:cubicBezTo>
                                  <a:pt x="945022" y="435109"/>
                                  <a:pt x="973110" y="440891"/>
                                  <a:pt x="971892" y="437716"/>
                                </a:cubicBezTo>
                                <a:cubicBezTo>
                                  <a:pt x="969579" y="431466"/>
                                  <a:pt x="953302" y="426954"/>
                                  <a:pt x="952896" y="420269"/>
                                </a:cubicBezTo>
                                <a:cubicBezTo>
                                  <a:pt x="952409" y="412983"/>
                                  <a:pt x="926107" y="409674"/>
                                  <a:pt x="915757" y="409072"/>
                                </a:cubicBezTo>
                                <a:cubicBezTo>
                                  <a:pt x="897775" y="408003"/>
                                  <a:pt x="882513" y="407434"/>
                                  <a:pt x="866156" y="401585"/>
                                </a:cubicBezTo>
                                <a:cubicBezTo>
                                  <a:pt x="854385" y="397407"/>
                                  <a:pt x="862340" y="406599"/>
                                  <a:pt x="871270" y="408771"/>
                                </a:cubicBezTo>
                                <a:cubicBezTo>
                                  <a:pt x="901753" y="416225"/>
                                  <a:pt x="855318" y="443298"/>
                                  <a:pt x="860676" y="444601"/>
                                </a:cubicBezTo>
                                <a:cubicBezTo>
                                  <a:pt x="874477" y="447944"/>
                                  <a:pt x="884705" y="446273"/>
                                  <a:pt x="884584" y="455832"/>
                                </a:cubicBezTo>
                                <a:cubicBezTo>
                                  <a:pt x="884584" y="463653"/>
                                  <a:pt x="879145" y="466126"/>
                                  <a:pt x="872163" y="471975"/>
                                </a:cubicBezTo>
                                <a:cubicBezTo>
                                  <a:pt x="863558" y="479195"/>
                                  <a:pt x="863518" y="469301"/>
                                  <a:pt x="855927" y="472410"/>
                                </a:cubicBezTo>
                                <a:cubicBezTo>
                                  <a:pt x="850082" y="474783"/>
                                  <a:pt x="846795" y="467095"/>
                                  <a:pt x="846510" y="466260"/>
                                </a:cubicBezTo>
                                <a:cubicBezTo>
                                  <a:pt x="845293" y="462650"/>
                                  <a:pt x="830640" y="461848"/>
                                  <a:pt x="825850" y="461280"/>
                                </a:cubicBezTo>
                                <a:cubicBezTo>
                                  <a:pt x="810142" y="459408"/>
                                  <a:pt x="800197" y="455564"/>
                                  <a:pt x="789076" y="461982"/>
                                </a:cubicBezTo>
                                <a:cubicBezTo>
                                  <a:pt x="779902" y="467229"/>
                                  <a:pt x="763829" y="463853"/>
                                  <a:pt x="751855" y="465525"/>
                                </a:cubicBezTo>
                                <a:cubicBezTo>
                                  <a:pt x="739719" y="467259"/>
                                  <a:pt x="728029" y="470528"/>
                                  <a:pt x="717110" y="475217"/>
                                </a:cubicBezTo>
                                <a:cubicBezTo>
                                  <a:pt x="704162" y="481902"/>
                                  <a:pt x="730180" y="491662"/>
                                  <a:pt x="733914" y="498814"/>
                                </a:cubicBezTo>
                                <a:cubicBezTo>
                                  <a:pt x="740774" y="511816"/>
                                  <a:pt x="697384" y="498814"/>
                                  <a:pt x="689266" y="495873"/>
                                </a:cubicBezTo>
                                <a:cubicBezTo>
                                  <a:pt x="678225" y="491695"/>
                                  <a:pt x="664912" y="492898"/>
                                  <a:pt x="654440" y="489790"/>
                                </a:cubicBezTo>
                                <a:cubicBezTo>
                                  <a:pt x="642263" y="486247"/>
                                  <a:pt x="633860" y="476788"/>
                                  <a:pt x="619979" y="475217"/>
                                </a:cubicBezTo>
                                <a:cubicBezTo>
                                  <a:pt x="612795" y="474609"/>
                                  <a:pt x="605651" y="476655"/>
                                  <a:pt x="600496" y="480799"/>
                                </a:cubicBezTo>
                                <a:cubicBezTo>
                                  <a:pt x="593068" y="485946"/>
                                  <a:pt x="602566" y="488019"/>
                                  <a:pt x="606625" y="493533"/>
                                </a:cubicBezTo>
                                <a:cubicBezTo>
                                  <a:pt x="613160" y="502424"/>
                                  <a:pt x="648960" y="498982"/>
                                  <a:pt x="644982" y="508307"/>
                                </a:cubicBezTo>
                                <a:cubicBezTo>
                                  <a:pt x="639665" y="520673"/>
                                  <a:pt x="620628" y="512017"/>
                                  <a:pt x="606016" y="510145"/>
                                </a:cubicBezTo>
                                <a:cubicBezTo>
                                  <a:pt x="602322" y="509644"/>
                                  <a:pt x="588400" y="509309"/>
                                  <a:pt x="588400" y="506134"/>
                                </a:cubicBezTo>
                                <a:cubicBezTo>
                                  <a:pt x="588400" y="499617"/>
                                  <a:pt x="568349" y="494703"/>
                                  <a:pt x="557836" y="494636"/>
                                </a:cubicBezTo>
                                <a:cubicBezTo>
                                  <a:pt x="547323" y="494570"/>
                                  <a:pt x="540910" y="491896"/>
                                  <a:pt x="540626" y="486782"/>
                                </a:cubicBezTo>
                                <a:cubicBezTo>
                                  <a:pt x="540342" y="481668"/>
                                  <a:pt x="533158" y="474415"/>
                                  <a:pt x="534375" y="470404"/>
                                </a:cubicBezTo>
                                <a:cubicBezTo>
                                  <a:pt x="535593" y="466394"/>
                                  <a:pt x="527962" y="461581"/>
                                  <a:pt x="536770" y="459441"/>
                                </a:cubicBezTo>
                                <a:cubicBezTo>
                                  <a:pt x="545578" y="457302"/>
                                  <a:pt x="541803" y="446941"/>
                                  <a:pt x="535755" y="443432"/>
                                </a:cubicBezTo>
                                <a:cubicBezTo>
                                  <a:pt x="527637" y="438652"/>
                                  <a:pt x="518018" y="439187"/>
                                  <a:pt x="508926" y="436012"/>
                                </a:cubicBezTo>
                                <a:cubicBezTo>
                                  <a:pt x="501375" y="433338"/>
                                  <a:pt x="498169" y="429327"/>
                                  <a:pt x="489605" y="426619"/>
                                </a:cubicBezTo>
                                <a:cubicBezTo>
                                  <a:pt x="479985" y="423768"/>
                                  <a:pt x="471177" y="419343"/>
                                  <a:pt x="463709" y="413618"/>
                                </a:cubicBezTo>
                                <a:cubicBezTo>
                                  <a:pt x="459650" y="410041"/>
                                  <a:pt x="452912" y="408704"/>
                                  <a:pt x="449136" y="405763"/>
                                </a:cubicBezTo>
                                <a:cubicBezTo>
                                  <a:pt x="446255" y="403524"/>
                                  <a:pt x="464926" y="406900"/>
                                  <a:pt x="462856" y="406432"/>
                                </a:cubicBezTo>
                                <a:cubicBezTo>
                                  <a:pt x="472719" y="408838"/>
                                  <a:pt x="478443" y="413283"/>
                                  <a:pt x="486723" y="416659"/>
                                </a:cubicBezTo>
                                <a:cubicBezTo>
                                  <a:pt x="505759" y="424414"/>
                                  <a:pt x="529829" y="425650"/>
                                  <a:pt x="550449" y="431733"/>
                                </a:cubicBezTo>
                                <a:cubicBezTo>
                                  <a:pt x="585193" y="441928"/>
                                  <a:pt x="641491" y="454094"/>
                                  <a:pt x="680336" y="455832"/>
                                </a:cubicBezTo>
                                <a:cubicBezTo>
                                  <a:pt x="703878" y="456801"/>
                                  <a:pt x="762571" y="452255"/>
                                  <a:pt x="773246" y="440657"/>
                                </a:cubicBezTo>
                                <a:cubicBezTo>
                                  <a:pt x="777305" y="436312"/>
                                  <a:pt x="773246" y="421773"/>
                                  <a:pt x="763788" y="418364"/>
                                </a:cubicBezTo>
                                <a:cubicBezTo>
                                  <a:pt x="749136" y="413083"/>
                                  <a:pt x="741789" y="403390"/>
                                  <a:pt x="722793" y="401652"/>
                                </a:cubicBezTo>
                                <a:cubicBezTo>
                                  <a:pt x="709033" y="400315"/>
                                  <a:pt x="705136" y="392494"/>
                                  <a:pt x="690930" y="390723"/>
                                </a:cubicBezTo>
                                <a:cubicBezTo>
                                  <a:pt x="674004" y="388584"/>
                                  <a:pt x="657768" y="379158"/>
                                  <a:pt x="645023" y="373677"/>
                                </a:cubicBezTo>
                                <a:cubicBezTo>
                                  <a:pt x="625093" y="365117"/>
                                  <a:pt x="604068" y="358338"/>
                                  <a:pt x="582393" y="353455"/>
                                </a:cubicBezTo>
                                <a:cubicBezTo>
                                  <a:pt x="577847" y="352419"/>
                                  <a:pt x="569607" y="350113"/>
                                  <a:pt x="564574" y="350915"/>
                                </a:cubicBezTo>
                                <a:cubicBezTo>
                                  <a:pt x="550368" y="352887"/>
                                  <a:pt x="552397" y="349277"/>
                                  <a:pt x="541641" y="345935"/>
                                </a:cubicBezTo>
                                <a:cubicBezTo>
                                  <a:pt x="530884" y="342593"/>
                                  <a:pt x="525161" y="347172"/>
                                  <a:pt x="515622" y="346603"/>
                                </a:cubicBezTo>
                                <a:cubicBezTo>
                                  <a:pt x="506084" y="346035"/>
                                  <a:pt x="499062" y="342225"/>
                                  <a:pt x="488468" y="342593"/>
                                </a:cubicBezTo>
                                <a:cubicBezTo>
                                  <a:pt x="469756" y="343294"/>
                                  <a:pt x="459731" y="334437"/>
                                  <a:pt x="484409" y="335273"/>
                                </a:cubicBezTo>
                                <a:cubicBezTo>
                                  <a:pt x="513309" y="336276"/>
                                  <a:pt x="471096" y="325814"/>
                                  <a:pt x="463505" y="324477"/>
                                </a:cubicBezTo>
                                <a:cubicBezTo>
                                  <a:pt x="443210" y="320834"/>
                                  <a:pt x="448000" y="333969"/>
                                  <a:pt x="423565" y="324678"/>
                                </a:cubicBezTo>
                                <a:cubicBezTo>
                                  <a:pt x="419506" y="332632"/>
                                  <a:pt x="399698" y="328889"/>
                                  <a:pt x="387318" y="332332"/>
                                </a:cubicBezTo>
                                <a:cubicBezTo>
                                  <a:pt x="378348" y="334805"/>
                                  <a:pt x="367876" y="333468"/>
                                  <a:pt x="359433" y="336510"/>
                                </a:cubicBezTo>
                                <a:cubicBezTo>
                                  <a:pt x="352695" y="338916"/>
                                  <a:pt x="351315" y="344932"/>
                                  <a:pt x="342021" y="345300"/>
                                </a:cubicBezTo>
                                <a:cubicBezTo>
                                  <a:pt x="325785" y="345902"/>
                                  <a:pt x="329519" y="360307"/>
                                  <a:pt x="334186" y="365354"/>
                                </a:cubicBezTo>
                                <a:cubicBezTo>
                                  <a:pt x="338854" y="370401"/>
                                  <a:pt x="362599" y="375381"/>
                                  <a:pt x="371651" y="380629"/>
                                </a:cubicBezTo>
                                <a:cubicBezTo>
                                  <a:pt x="396776" y="395235"/>
                                  <a:pt x="331061" y="395770"/>
                                  <a:pt x="349935" y="411679"/>
                                </a:cubicBezTo>
                                <a:cubicBezTo>
                                  <a:pt x="359880" y="420135"/>
                                  <a:pt x="373315" y="429594"/>
                                  <a:pt x="378632" y="438919"/>
                                </a:cubicBezTo>
                                <a:cubicBezTo>
                                  <a:pt x="382326" y="445437"/>
                                  <a:pt x="354278" y="441025"/>
                                  <a:pt x="361747" y="451587"/>
                                </a:cubicBezTo>
                                <a:cubicBezTo>
                                  <a:pt x="362721" y="452991"/>
                                  <a:pt x="369865" y="458105"/>
                                  <a:pt x="366496" y="459609"/>
                                </a:cubicBezTo>
                                <a:cubicBezTo>
                                  <a:pt x="363127" y="461113"/>
                                  <a:pt x="353345" y="461280"/>
                                  <a:pt x="361381" y="464254"/>
                                </a:cubicBezTo>
                                <a:cubicBezTo>
                                  <a:pt x="364710" y="465525"/>
                                  <a:pt x="379078" y="467764"/>
                                  <a:pt x="374208" y="470638"/>
                                </a:cubicBezTo>
                                <a:cubicBezTo>
                                  <a:pt x="369337" y="473513"/>
                                  <a:pt x="365481" y="476387"/>
                                  <a:pt x="374208" y="480030"/>
                                </a:cubicBezTo>
                                <a:cubicBezTo>
                                  <a:pt x="388009" y="485846"/>
                                  <a:pt x="391093" y="489623"/>
                                  <a:pt x="373396" y="492397"/>
                                </a:cubicBezTo>
                                <a:cubicBezTo>
                                  <a:pt x="352736" y="495740"/>
                                  <a:pt x="379444" y="503026"/>
                                  <a:pt x="388252" y="506402"/>
                                </a:cubicBezTo>
                                <a:cubicBezTo>
                                  <a:pt x="399130" y="510580"/>
                                  <a:pt x="421171" y="519771"/>
                                  <a:pt x="416421" y="527325"/>
                                </a:cubicBezTo>
                                <a:cubicBezTo>
                                  <a:pt x="411144" y="535814"/>
                                  <a:pt x="389145" y="538889"/>
                                  <a:pt x="375588" y="543335"/>
                                </a:cubicBezTo>
                                <a:cubicBezTo>
                                  <a:pt x="362031" y="547780"/>
                                  <a:pt x="355293" y="555066"/>
                                  <a:pt x="339829" y="559010"/>
                                </a:cubicBezTo>
                                <a:cubicBezTo>
                                  <a:pt x="319777" y="564191"/>
                                  <a:pt x="303663" y="568235"/>
                                  <a:pt x="289619" y="577326"/>
                                </a:cubicBezTo>
                                <a:cubicBezTo>
                                  <a:pt x="311213" y="575889"/>
                                  <a:pt x="308818" y="576090"/>
                                  <a:pt x="321157" y="585682"/>
                                </a:cubicBezTo>
                                <a:cubicBezTo>
                                  <a:pt x="325216" y="588724"/>
                                  <a:pt x="357688" y="592367"/>
                                  <a:pt x="355537" y="595008"/>
                                </a:cubicBezTo>
                                <a:cubicBezTo>
                                  <a:pt x="353872" y="596779"/>
                                  <a:pt x="327367" y="594038"/>
                                  <a:pt x="321035" y="595342"/>
                                </a:cubicBezTo>
                                <a:cubicBezTo>
                                  <a:pt x="309549" y="597227"/>
                                  <a:pt x="298305" y="599948"/>
                                  <a:pt x="287386" y="603464"/>
                                </a:cubicBezTo>
                                <a:cubicBezTo>
                                  <a:pt x="294611" y="609547"/>
                                  <a:pt x="276955" y="616064"/>
                                  <a:pt x="269933" y="619908"/>
                                </a:cubicBezTo>
                                <a:cubicBezTo>
                                  <a:pt x="261531" y="624487"/>
                                  <a:pt x="269933" y="636887"/>
                                  <a:pt x="275656" y="641700"/>
                                </a:cubicBezTo>
                                <a:cubicBezTo>
                                  <a:pt x="281379" y="646513"/>
                                  <a:pt x="258649" y="645043"/>
                                  <a:pt x="265346" y="652630"/>
                                </a:cubicBezTo>
                                <a:cubicBezTo>
                                  <a:pt x="268634" y="656306"/>
                                  <a:pt x="275291" y="658579"/>
                                  <a:pt x="274479" y="662924"/>
                                </a:cubicBezTo>
                                <a:cubicBezTo>
                                  <a:pt x="273667" y="667269"/>
                                  <a:pt x="271313" y="668372"/>
                                  <a:pt x="277239" y="672951"/>
                                </a:cubicBezTo>
                                <a:cubicBezTo>
                                  <a:pt x="284301" y="678232"/>
                                  <a:pt x="284992" y="686989"/>
                                  <a:pt x="295058" y="690666"/>
                                </a:cubicBezTo>
                                <a:cubicBezTo>
                                  <a:pt x="302039" y="693239"/>
                                  <a:pt x="308046" y="691301"/>
                                  <a:pt x="315353" y="692571"/>
                                </a:cubicBezTo>
                                <a:cubicBezTo>
                                  <a:pt x="324526" y="694209"/>
                                  <a:pt x="323998" y="700927"/>
                                  <a:pt x="335079" y="699790"/>
                                </a:cubicBezTo>
                                <a:cubicBezTo>
                                  <a:pt x="364710" y="696749"/>
                                  <a:pt x="379444" y="706141"/>
                                  <a:pt x="374654" y="720379"/>
                                </a:cubicBezTo>
                                <a:cubicBezTo>
                                  <a:pt x="370961" y="731543"/>
                                  <a:pt x="398359" y="746684"/>
                                  <a:pt x="415244" y="753435"/>
                                </a:cubicBezTo>
                                <a:cubicBezTo>
                                  <a:pt x="428598" y="758716"/>
                                  <a:pt x="431480" y="764498"/>
                                  <a:pt x="415691" y="767574"/>
                                </a:cubicBezTo>
                                <a:cubicBezTo>
                                  <a:pt x="407573" y="769144"/>
                                  <a:pt x="390728" y="762894"/>
                                  <a:pt x="386547" y="765000"/>
                                </a:cubicBezTo>
                                <a:cubicBezTo>
                                  <a:pt x="380134" y="768342"/>
                                  <a:pt x="389754" y="781712"/>
                                  <a:pt x="391743" y="785455"/>
                                </a:cubicBezTo>
                                <a:cubicBezTo>
                                  <a:pt x="396248" y="794112"/>
                                  <a:pt x="408547" y="790402"/>
                                  <a:pt x="418897" y="788196"/>
                                </a:cubicBezTo>
                                <a:cubicBezTo>
                                  <a:pt x="424864" y="786926"/>
                                  <a:pt x="444428" y="788965"/>
                                  <a:pt x="451734" y="789466"/>
                                </a:cubicBezTo>
                                <a:cubicBezTo>
                                  <a:pt x="467240" y="790502"/>
                                  <a:pt x="473166" y="795750"/>
                                  <a:pt x="472029" y="803604"/>
                                </a:cubicBezTo>
                                <a:cubicBezTo>
                                  <a:pt x="469553" y="823291"/>
                                  <a:pt x="507464" y="815302"/>
                                  <a:pt x="513715" y="832850"/>
                                </a:cubicBezTo>
                                <a:cubicBezTo>
                                  <a:pt x="517327" y="842877"/>
                                  <a:pt x="523051" y="836426"/>
                                  <a:pt x="535715" y="842609"/>
                                </a:cubicBezTo>
                                <a:cubicBezTo>
                                  <a:pt x="542980" y="846152"/>
                                  <a:pt x="548622" y="847957"/>
                                  <a:pt x="557877" y="845952"/>
                                </a:cubicBezTo>
                                <a:cubicBezTo>
                                  <a:pt x="561936" y="845049"/>
                                  <a:pt x="573016" y="843278"/>
                                  <a:pt x="576142" y="846821"/>
                                </a:cubicBezTo>
                                <a:cubicBezTo>
                                  <a:pt x="589618" y="862095"/>
                                  <a:pt x="625905" y="863232"/>
                                  <a:pt x="651639" y="871320"/>
                                </a:cubicBezTo>
                                <a:cubicBezTo>
                                  <a:pt x="673030" y="878005"/>
                                  <a:pt x="644617" y="879977"/>
                                  <a:pt x="652370" y="884088"/>
                                </a:cubicBezTo>
                                <a:cubicBezTo>
                                  <a:pt x="667104" y="891976"/>
                                  <a:pt x="640680" y="887598"/>
                                  <a:pt x="646159" y="893280"/>
                                </a:cubicBezTo>
                                <a:cubicBezTo>
                                  <a:pt x="653993" y="901402"/>
                                  <a:pt x="645713" y="899964"/>
                                  <a:pt x="644576" y="907785"/>
                                </a:cubicBezTo>
                                <a:cubicBezTo>
                                  <a:pt x="644333" y="909590"/>
                                  <a:pt x="618437" y="904443"/>
                                  <a:pt x="614621" y="905112"/>
                                </a:cubicBezTo>
                                <a:cubicBezTo>
                                  <a:pt x="610806" y="905780"/>
                                  <a:pt x="590024" y="910326"/>
                                  <a:pt x="588847" y="912632"/>
                                </a:cubicBezTo>
                                <a:cubicBezTo>
                                  <a:pt x="583367" y="923394"/>
                                  <a:pt x="608005" y="918247"/>
                                  <a:pt x="620304" y="921088"/>
                                </a:cubicBezTo>
                                <a:cubicBezTo>
                                  <a:pt x="631669" y="923695"/>
                                  <a:pt x="579267" y="931115"/>
                                  <a:pt x="579308" y="931416"/>
                                </a:cubicBezTo>
                                <a:cubicBezTo>
                                  <a:pt x="580404" y="937298"/>
                                  <a:pt x="602525" y="940808"/>
                                  <a:pt x="583367" y="943716"/>
                                </a:cubicBezTo>
                                <a:cubicBezTo>
                                  <a:pt x="568714" y="945922"/>
                                  <a:pt x="575249" y="955715"/>
                                  <a:pt x="559338" y="955314"/>
                                </a:cubicBezTo>
                                <a:cubicBezTo>
                                  <a:pt x="514121" y="954278"/>
                                  <a:pt x="587061" y="977173"/>
                                  <a:pt x="597533" y="982821"/>
                                </a:cubicBezTo>
                                <a:cubicBezTo>
                                  <a:pt x="606949" y="987805"/>
                                  <a:pt x="615920" y="993393"/>
                                  <a:pt x="624281" y="999533"/>
                                </a:cubicBezTo>
                                <a:cubicBezTo>
                                  <a:pt x="632399" y="1005583"/>
                                  <a:pt x="633860" y="1001839"/>
                                  <a:pt x="644576" y="1002073"/>
                                </a:cubicBezTo>
                                <a:cubicBezTo>
                                  <a:pt x="663085" y="1002541"/>
                                  <a:pt x="674044" y="1011566"/>
                                  <a:pt x="690321" y="1014306"/>
                                </a:cubicBezTo>
                                <a:cubicBezTo>
                                  <a:pt x="698439" y="1015643"/>
                                  <a:pt x="726487" y="1015276"/>
                                  <a:pt x="731195" y="1019621"/>
                                </a:cubicBezTo>
                                <a:cubicBezTo>
                                  <a:pt x="737608" y="1025537"/>
                                  <a:pt x="761475" y="1036032"/>
                                  <a:pt x="772921" y="1035564"/>
                                </a:cubicBezTo>
                                <a:cubicBezTo>
                                  <a:pt x="782298" y="1035196"/>
                                  <a:pt x="808803" y="1036199"/>
                                  <a:pt x="814769" y="1042249"/>
                                </a:cubicBezTo>
                                <a:cubicBezTo>
                                  <a:pt x="817814" y="1045390"/>
                                  <a:pt x="816068" y="1048933"/>
                                  <a:pt x="818828" y="1052075"/>
                                </a:cubicBezTo>
                                <a:cubicBezTo>
                                  <a:pt x="823293" y="1054134"/>
                                  <a:pt x="827880" y="1055952"/>
                                  <a:pt x="832629" y="1057523"/>
                                </a:cubicBezTo>
                                <a:cubicBezTo>
                                  <a:pt x="844806" y="1063473"/>
                                  <a:pt x="856414" y="1069255"/>
                                  <a:pt x="868429" y="1075204"/>
                                </a:cubicBezTo>
                                <a:cubicBezTo>
                                  <a:pt x="877278" y="1079583"/>
                                  <a:pt x="902037" y="1077744"/>
                                  <a:pt x="906908" y="1072363"/>
                                </a:cubicBezTo>
                                <a:cubicBezTo>
                                  <a:pt x="896273" y="1062837"/>
                                  <a:pt x="879835" y="1051106"/>
                                  <a:pt x="876263" y="1040277"/>
                                </a:cubicBezTo>
                                <a:cubicBezTo>
                                  <a:pt x="872691" y="1029447"/>
                                  <a:pt x="886045" y="1025136"/>
                                  <a:pt x="868145" y="1013805"/>
                                </a:cubicBezTo>
                                <a:cubicBezTo>
                                  <a:pt x="836322" y="993751"/>
                                  <a:pt x="931221" y="984158"/>
                                  <a:pt x="949324" y="980682"/>
                                </a:cubicBezTo>
                                <a:cubicBezTo>
                                  <a:pt x="945265" y="978409"/>
                                  <a:pt x="916853" y="967915"/>
                                  <a:pt x="933819" y="967647"/>
                                </a:cubicBezTo>
                                <a:cubicBezTo>
                                  <a:pt x="948999" y="967380"/>
                                  <a:pt x="923347" y="947326"/>
                                  <a:pt x="917583" y="943616"/>
                                </a:cubicBezTo>
                                <a:cubicBezTo>
                                  <a:pt x="910804" y="939103"/>
                                  <a:pt x="884827" y="942345"/>
                                  <a:pt x="884259" y="936931"/>
                                </a:cubicBezTo>
                                <a:cubicBezTo>
                                  <a:pt x="883122" y="926904"/>
                                  <a:pt x="888561" y="928408"/>
                                  <a:pt x="871311" y="922191"/>
                                </a:cubicBezTo>
                                <a:cubicBezTo>
                                  <a:pt x="864451" y="919718"/>
                                  <a:pt x="872772" y="912164"/>
                                  <a:pt x="878130" y="911395"/>
                                </a:cubicBezTo>
                                <a:cubicBezTo>
                                  <a:pt x="900657" y="908454"/>
                                  <a:pt x="881580" y="906950"/>
                                  <a:pt x="880403" y="900633"/>
                                </a:cubicBezTo>
                                <a:cubicBezTo>
                                  <a:pt x="879713" y="896956"/>
                                  <a:pt x="889170" y="895285"/>
                                  <a:pt x="893879" y="894249"/>
                                </a:cubicBezTo>
                                <a:cubicBezTo>
                                  <a:pt x="901672" y="892511"/>
                                  <a:pt x="899561" y="889670"/>
                                  <a:pt x="903539" y="886361"/>
                                </a:cubicBezTo>
                                <a:cubicBezTo>
                                  <a:pt x="915716" y="876334"/>
                                  <a:pt x="929395" y="894416"/>
                                  <a:pt x="935727" y="898494"/>
                                </a:cubicBezTo>
                                <a:cubicBezTo>
                                  <a:pt x="949324" y="907251"/>
                                  <a:pt x="951232" y="895151"/>
                                  <a:pt x="950095" y="890773"/>
                                </a:cubicBezTo>
                                <a:cubicBezTo>
                                  <a:pt x="947457" y="881013"/>
                                  <a:pt x="964870" y="884890"/>
                                  <a:pt x="972298" y="878640"/>
                                </a:cubicBezTo>
                                <a:cubicBezTo>
                                  <a:pt x="976073" y="875465"/>
                                  <a:pt x="998600" y="876267"/>
                                  <a:pt x="1006110" y="875298"/>
                                </a:cubicBezTo>
                                <a:cubicBezTo>
                                  <a:pt x="1018286" y="873426"/>
                                  <a:pt x="1033670" y="869749"/>
                                  <a:pt x="1045725" y="875532"/>
                                </a:cubicBezTo>
                                <a:cubicBezTo>
                                  <a:pt x="1057780" y="881314"/>
                                  <a:pt x="1059566" y="872189"/>
                                  <a:pt x="1072230" y="874730"/>
                                </a:cubicBezTo>
                                <a:cubicBezTo>
                                  <a:pt x="1081769" y="876668"/>
                                  <a:pt x="1086964" y="882116"/>
                                  <a:pt x="1097517" y="884757"/>
                                </a:cubicBezTo>
                                <a:cubicBezTo>
                                  <a:pt x="1108558" y="887183"/>
                                  <a:pt x="1119071" y="891104"/>
                                  <a:pt x="1128569" y="896355"/>
                                </a:cubicBezTo>
                                <a:cubicBezTo>
                                  <a:pt x="1131166" y="897758"/>
                                  <a:pt x="1149675" y="912565"/>
                                  <a:pt x="1149513" y="912598"/>
                                </a:cubicBezTo>
                                <a:cubicBezTo>
                                  <a:pt x="1156616" y="911462"/>
                                  <a:pt x="1149838" y="904343"/>
                                  <a:pt x="1162827" y="909958"/>
                                </a:cubicBezTo>
                                <a:cubicBezTo>
                                  <a:pt x="1172852" y="914270"/>
                                  <a:pt x="1184379" y="920654"/>
                                  <a:pt x="1197165" y="918180"/>
                                </a:cubicBezTo>
                                <a:cubicBezTo>
                                  <a:pt x="1206785" y="916375"/>
                                  <a:pt x="1210438" y="913133"/>
                                  <a:pt x="1223143" y="914136"/>
                                </a:cubicBezTo>
                                <a:cubicBezTo>
                                  <a:pt x="1232600" y="914871"/>
                                  <a:pt x="1238201" y="922258"/>
                                  <a:pt x="1246198" y="921756"/>
                                </a:cubicBezTo>
                                <a:cubicBezTo>
                                  <a:pt x="1255737" y="921155"/>
                                  <a:pt x="1259876" y="918414"/>
                                  <a:pt x="1271038" y="920520"/>
                                </a:cubicBezTo>
                                <a:cubicBezTo>
                                  <a:pt x="1283946" y="923060"/>
                                  <a:pt x="1281470" y="928542"/>
                                  <a:pt x="1291333" y="932251"/>
                                </a:cubicBezTo>
                                <a:cubicBezTo>
                                  <a:pt x="1302617" y="936463"/>
                                  <a:pt x="1305946" y="936897"/>
                                  <a:pt x="1314916" y="942479"/>
                                </a:cubicBezTo>
                                <a:cubicBezTo>
                                  <a:pt x="1320842" y="946156"/>
                                  <a:pt x="1325591" y="937733"/>
                                  <a:pt x="1328636" y="936964"/>
                                </a:cubicBezTo>
                                <a:cubicBezTo>
                                  <a:pt x="1334927" y="935393"/>
                                  <a:pt x="1373041" y="958890"/>
                                  <a:pt x="1376897" y="944284"/>
                                </a:cubicBezTo>
                                <a:cubicBezTo>
                                  <a:pt x="1381484" y="926971"/>
                                  <a:pt x="1353639" y="931483"/>
                                  <a:pt x="1340731" y="918815"/>
                                </a:cubicBezTo>
                                <a:cubicBezTo>
                                  <a:pt x="1333385" y="911596"/>
                                  <a:pt x="1347551" y="912999"/>
                                  <a:pt x="1355343" y="912131"/>
                                </a:cubicBezTo>
                                <a:cubicBezTo>
                                  <a:pt x="1368251" y="910627"/>
                                  <a:pt x="1363461" y="907251"/>
                                  <a:pt x="1364436" y="901468"/>
                                </a:cubicBezTo>
                                <a:cubicBezTo>
                                  <a:pt x="1365775" y="892110"/>
                                  <a:pt x="1410667" y="901970"/>
                                  <a:pt x="1409937" y="899931"/>
                                </a:cubicBezTo>
                                <a:cubicBezTo>
                                  <a:pt x="1408760" y="896589"/>
                                  <a:pt x="1390048" y="892010"/>
                                  <a:pt x="1385583" y="889302"/>
                                </a:cubicBezTo>
                                <a:cubicBezTo>
                                  <a:pt x="1380225" y="886194"/>
                                  <a:pt x="1377465" y="874228"/>
                                  <a:pt x="1385299" y="873025"/>
                                </a:cubicBezTo>
                                <a:cubicBezTo>
                                  <a:pt x="1392321" y="871989"/>
                                  <a:pt x="1416431" y="877270"/>
                                  <a:pt x="1424630" y="879108"/>
                                </a:cubicBezTo>
                                <a:cubicBezTo>
                                  <a:pt x="1443748" y="883319"/>
                                  <a:pt x="1455682" y="880512"/>
                                  <a:pt x="1474190" y="882116"/>
                                </a:cubicBezTo>
                                <a:cubicBezTo>
                                  <a:pt x="1490426" y="883520"/>
                                  <a:pt x="1506297" y="887899"/>
                                  <a:pt x="1522127" y="887497"/>
                                </a:cubicBezTo>
                                <a:cubicBezTo>
                                  <a:pt x="1535968" y="887594"/>
                                  <a:pt x="1549809" y="888610"/>
                                  <a:pt x="1563447" y="890539"/>
                                </a:cubicBezTo>
                                <a:cubicBezTo>
                                  <a:pt x="1584514" y="892778"/>
                                  <a:pt x="1612155" y="896221"/>
                                  <a:pt x="1631882" y="895185"/>
                                </a:cubicBezTo>
                                <a:cubicBezTo>
                                  <a:pt x="1652988" y="894048"/>
                                  <a:pt x="1663826" y="892611"/>
                                  <a:pt x="1686678" y="901201"/>
                                </a:cubicBezTo>
                                <a:cubicBezTo>
                                  <a:pt x="1698084" y="905479"/>
                                  <a:pt x="1716552" y="904543"/>
                                  <a:pt x="1722194" y="913534"/>
                                </a:cubicBezTo>
                                <a:cubicBezTo>
                                  <a:pt x="1724345" y="916877"/>
                                  <a:pt x="1722600" y="921489"/>
                                  <a:pt x="1724061" y="925132"/>
                                </a:cubicBezTo>
                                <a:cubicBezTo>
                                  <a:pt x="1725766" y="929377"/>
                                  <a:pt x="1715294" y="931817"/>
                                  <a:pt x="1718541" y="935159"/>
                                </a:cubicBezTo>
                                <a:cubicBezTo>
                                  <a:pt x="1723330" y="939939"/>
                                  <a:pt x="1743179" y="940708"/>
                                  <a:pt x="1748943" y="939037"/>
                                </a:cubicBezTo>
                                <a:cubicBezTo>
                                  <a:pt x="1756574" y="936764"/>
                                  <a:pt x="1767046" y="954411"/>
                                  <a:pt x="1768872" y="949064"/>
                                </a:cubicBezTo>
                                <a:cubicBezTo>
                                  <a:pt x="1770171" y="945053"/>
                                  <a:pt x="1786610" y="955013"/>
                                  <a:pt x="1791156" y="955514"/>
                                </a:cubicBezTo>
                                <a:cubicBezTo>
                                  <a:pt x="1811207" y="957620"/>
                                  <a:pt x="1791156" y="960662"/>
                                  <a:pt x="1785879" y="962567"/>
                                </a:cubicBezTo>
                                <a:cubicBezTo>
                                  <a:pt x="1774677" y="966745"/>
                                  <a:pt x="1797325" y="968182"/>
                                  <a:pt x="1801384" y="967814"/>
                                </a:cubicBezTo>
                                <a:cubicBezTo>
                                  <a:pt x="1807351" y="967280"/>
                                  <a:pt x="1810558" y="969719"/>
                                  <a:pt x="1816444" y="970522"/>
                                </a:cubicBezTo>
                                <a:cubicBezTo>
                                  <a:pt x="1823100" y="971110"/>
                                  <a:pt x="1829797" y="970953"/>
                                  <a:pt x="1836373" y="970054"/>
                                </a:cubicBezTo>
                                <a:cubicBezTo>
                                  <a:pt x="1850620" y="968917"/>
                                  <a:pt x="1866166" y="969151"/>
                                  <a:pt x="1881021" y="968349"/>
                                </a:cubicBezTo>
                                <a:cubicBezTo>
                                  <a:pt x="1887678" y="968279"/>
                                  <a:pt x="1894294" y="969418"/>
                                  <a:pt x="1900383" y="971691"/>
                                </a:cubicBezTo>
                                <a:cubicBezTo>
                                  <a:pt x="1907649" y="974399"/>
                                  <a:pt x="1898962" y="975268"/>
                                  <a:pt x="1896689" y="976638"/>
                                </a:cubicBezTo>
                                <a:cubicBezTo>
                                  <a:pt x="1888571" y="981518"/>
                                  <a:pt x="1905051" y="987668"/>
                                  <a:pt x="1911708" y="991645"/>
                                </a:cubicBezTo>
                                <a:cubicBezTo>
                                  <a:pt x="1921489" y="998002"/>
                                  <a:pt x="1929729" y="1005800"/>
                                  <a:pt x="1936061" y="1014641"/>
                                </a:cubicBezTo>
                                <a:cubicBezTo>
                                  <a:pt x="1950268" y="1032556"/>
                                  <a:pt x="1958954" y="1050036"/>
                                  <a:pt x="1968533" y="1068118"/>
                                </a:cubicBezTo>
                                <a:cubicBezTo>
                                  <a:pt x="1979614" y="1088908"/>
                                  <a:pt x="1990817" y="1061166"/>
                                  <a:pt x="2005916" y="1074536"/>
                                </a:cubicBezTo>
                                <a:cubicBezTo>
                                  <a:pt x="2013750" y="1082357"/>
                                  <a:pt x="2023695" y="1088520"/>
                                  <a:pt x="2035019" y="1092518"/>
                                </a:cubicBezTo>
                                <a:cubicBezTo>
                                  <a:pt x="2050971" y="1098868"/>
                                  <a:pt x="2063432" y="1094924"/>
                                  <a:pt x="2079262" y="1098768"/>
                                </a:cubicBezTo>
                                <a:cubicBezTo>
                                  <a:pt x="2088598" y="1101228"/>
                                  <a:pt x="2096188" y="1106863"/>
                                  <a:pt x="2100125" y="1114243"/>
                                </a:cubicBezTo>
                                <a:cubicBezTo>
                                  <a:pt x="2103332" y="1123334"/>
                                  <a:pt x="2114656" y="1123468"/>
                                  <a:pt x="2120420" y="1129852"/>
                                </a:cubicBezTo>
                                <a:cubicBezTo>
                                  <a:pt x="2125615" y="1135601"/>
                                  <a:pt x="2117823" y="1142285"/>
                                  <a:pt x="2134099" y="1146564"/>
                                </a:cubicBezTo>
                                <a:cubicBezTo>
                                  <a:pt x="2140430" y="1148235"/>
                                  <a:pt x="2171645" y="1150875"/>
                                  <a:pt x="2171198" y="1154552"/>
                                </a:cubicBezTo>
                                <a:cubicBezTo>
                                  <a:pt x="2168153" y="1180455"/>
                                  <a:pt x="2268613" y="1174606"/>
                                  <a:pt x="2287690" y="1174606"/>
                                </a:cubicBezTo>
                                <a:cubicBezTo>
                                  <a:pt x="2305347" y="1174405"/>
                                  <a:pt x="2334044" y="1171565"/>
                                  <a:pt x="2352188" y="1180121"/>
                                </a:cubicBezTo>
                                <a:cubicBezTo>
                                  <a:pt x="2361807" y="1184700"/>
                                  <a:pt x="2372280" y="1188811"/>
                                  <a:pt x="2382427" y="1192822"/>
                                </a:cubicBezTo>
                                <a:cubicBezTo>
                                  <a:pt x="2397567" y="1198805"/>
                                  <a:pt x="2393955" y="1197969"/>
                                  <a:pt x="2398378" y="1207194"/>
                                </a:cubicBezTo>
                                <a:cubicBezTo>
                                  <a:pt x="2405279" y="1221600"/>
                                  <a:pt x="2440795" y="1222803"/>
                                  <a:pt x="2454961" y="1233231"/>
                                </a:cubicBezTo>
                                <a:cubicBezTo>
                                  <a:pt x="2466285" y="1241554"/>
                                  <a:pt x="2471197" y="1237743"/>
                                  <a:pt x="2484713" y="1239448"/>
                                </a:cubicBezTo>
                                <a:cubicBezTo>
                                  <a:pt x="2492385" y="1240417"/>
                                  <a:pt x="2514059" y="1240651"/>
                                  <a:pt x="2503871" y="1231526"/>
                                </a:cubicBezTo>
                                <a:cubicBezTo>
                                  <a:pt x="2485687" y="1215282"/>
                                  <a:pt x="2509432" y="1208798"/>
                                  <a:pt x="2530498" y="1210570"/>
                                </a:cubicBezTo>
                                <a:cubicBezTo>
                                  <a:pt x="2546734" y="1211907"/>
                                  <a:pt x="2542675" y="1205222"/>
                                  <a:pt x="2560413" y="1215316"/>
                                </a:cubicBezTo>
                                <a:cubicBezTo>
                                  <a:pt x="2572590" y="1222201"/>
                                  <a:pt x="2587040" y="1228117"/>
                                  <a:pt x="2598405" y="1235370"/>
                                </a:cubicBezTo>
                                <a:cubicBezTo>
                                  <a:pt x="2608390" y="1241426"/>
                                  <a:pt x="2618740" y="1247005"/>
                                  <a:pt x="2629497" y="1252082"/>
                                </a:cubicBezTo>
                                <a:cubicBezTo>
                                  <a:pt x="2642486" y="1258466"/>
                                  <a:pt x="2633556" y="1262610"/>
                                  <a:pt x="2632825" y="1268794"/>
                                </a:cubicBezTo>
                                <a:cubicBezTo>
                                  <a:pt x="2631891" y="1277350"/>
                                  <a:pt x="2666068" y="1298875"/>
                                  <a:pt x="2680315" y="1299744"/>
                                </a:cubicBezTo>
                                <a:cubicBezTo>
                                  <a:pt x="2724680" y="1301983"/>
                                  <a:pt x="2762144" y="1323943"/>
                                  <a:pt x="2795793" y="1344832"/>
                                </a:cubicBezTo>
                                <a:cubicBezTo>
                                  <a:pt x="2802043" y="1350224"/>
                                  <a:pt x="2807158" y="1356437"/>
                                  <a:pt x="2810893" y="1363215"/>
                                </a:cubicBezTo>
                                <a:cubicBezTo>
                                  <a:pt x="2812435" y="1367928"/>
                                  <a:pt x="2830863" y="1373242"/>
                                  <a:pt x="2836748" y="1375615"/>
                                </a:cubicBezTo>
                                <a:cubicBezTo>
                                  <a:pt x="2844339" y="1378590"/>
                                  <a:pt x="2882493" y="1400650"/>
                                  <a:pt x="2888378" y="1396004"/>
                                </a:cubicBezTo>
                                <a:cubicBezTo>
                                  <a:pt x="2890570" y="1394166"/>
                                  <a:pt x="2942038" y="1408170"/>
                                  <a:pt x="2949263" y="1410008"/>
                                </a:cubicBezTo>
                                <a:cubicBezTo>
                                  <a:pt x="2957827" y="1412147"/>
                                  <a:pt x="2971019" y="1410008"/>
                                  <a:pt x="2980517" y="1411044"/>
                                </a:cubicBezTo>
                                <a:cubicBezTo>
                                  <a:pt x="2994480" y="1412167"/>
                                  <a:pt x="3007834" y="1416245"/>
                                  <a:pt x="3019280" y="1422876"/>
                                </a:cubicBezTo>
                                <a:cubicBezTo>
                                  <a:pt x="3028819" y="1428425"/>
                                  <a:pt x="3028738" y="1433605"/>
                                  <a:pt x="3042700" y="1438318"/>
                                </a:cubicBezTo>
                                <a:cubicBezTo>
                                  <a:pt x="3053822" y="1442095"/>
                                  <a:pt x="3065350" y="1444769"/>
                                  <a:pt x="3073102" y="1452323"/>
                                </a:cubicBezTo>
                                <a:cubicBezTo>
                                  <a:pt x="3091896" y="1470672"/>
                                  <a:pt x="3102895" y="1469268"/>
                                  <a:pt x="3130659" y="1473580"/>
                                </a:cubicBezTo>
                                <a:cubicBezTo>
                                  <a:pt x="3147666" y="1476220"/>
                                  <a:pt x="3146448" y="1474215"/>
                                  <a:pt x="3156514" y="1469970"/>
                                </a:cubicBezTo>
                                <a:cubicBezTo>
                                  <a:pt x="3163617" y="1466995"/>
                                  <a:pt x="3171735" y="1464923"/>
                                  <a:pt x="3178757" y="1461882"/>
                                </a:cubicBezTo>
                                <a:cubicBezTo>
                                  <a:pt x="3194993" y="1454829"/>
                                  <a:pt x="3225071" y="1461882"/>
                                  <a:pt x="3222919" y="1445170"/>
                                </a:cubicBezTo>
                                <a:cubicBezTo>
                                  <a:pt x="3222391" y="1441025"/>
                                  <a:pt x="3210011" y="1436680"/>
                                  <a:pt x="3212122" y="1434174"/>
                                </a:cubicBezTo>
                                <a:cubicBezTo>
                                  <a:pt x="3217277" y="1427923"/>
                                  <a:pt x="3236111" y="1429695"/>
                                  <a:pt x="3248410" y="1433839"/>
                                </a:cubicBezTo>
                                <a:cubicBezTo>
                                  <a:pt x="3266269" y="1439822"/>
                                  <a:pt x="3295615" y="1448512"/>
                                  <a:pt x="3310269" y="1457704"/>
                                </a:cubicBezTo>
                                <a:cubicBezTo>
                                  <a:pt x="3331862" y="1471073"/>
                                  <a:pt x="3362670" y="1482404"/>
                                  <a:pt x="3377972" y="1499116"/>
                                </a:cubicBezTo>
                                <a:cubicBezTo>
                                  <a:pt x="3385806" y="1507672"/>
                                  <a:pt x="3389621" y="1510279"/>
                                  <a:pt x="3386739" y="1517398"/>
                                </a:cubicBezTo>
                                <a:cubicBezTo>
                                  <a:pt x="3385075" y="1521509"/>
                                  <a:pt x="3394857" y="1530333"/>
                                  <a:pt x="3393396" y="1535915"/>
                                </a:cubicBezTo>
                                <a:cubicBezTo>
                                  <a:pt x="3390433" y="1548783"/>
                                  <a:pt x="3401514" y="1567300"/>
                                  <a:pt x="3403381" y="1581605"/>
                                </a:cubicBezTo>
                                <a:cubicBezTo>
                                  <a:pt x="3404071" y="1586752"/>
                                  <a:pt x="3393761" y="1589760"/>
                                  <a:pt x="3401717" y="1595977"/>
                                </a:cubicBezTo>
                                <a:cubicBezTo>
                                  <a:pt x="3404477" y="1598150"/>
                                  <a:pt x="3431064" y="1617803"/>
                                  <a:pt x="3433620" y="1618271"/>
                                </a:cubicBezTo>
                                <a:cubicBezTo>
                                  <a:pt x="3442713" y="1619808"/>
                                  <a:pt x="3455620" y="1633679"/>
                                  <a:pt x="3458827" y="1638325"/>
                                </a:cubicBezTo>
                                <a:cubicBezTo>
                                  <a:pt x="3466701" y="1649822"/>
                                  <a:pt x="3474535" y="1647717"/>
                                  <a:pt x="3473277" y="1658780"/>
                                </a:cubicBezTo>
                                <a:cubicBezTo>
                                  <a:pt x="3472546" y="1665164"/>
                                  <a:pt x="3469218" y="1672584"/>
                                  <a:pt x="3478554" y="1679570"/>
                                </a:cubicBezTo>
                                <a:cubicBezTo>
                                  <a:pt x="3485941" y="1685018"/>
                                  <a:pt x="3510173" y="1698387"/>
                                  <a:pt x="3519874" y="1699189"/>
                                </a:cubicBezTo>
                                <a:cubicBezTo>
                                  <a:pt x="3531239" y="1699640"/>
                                  <a:pt x="3542361" y="1701910"/>
                                  <a:pt x="3552671" y="1705874"/>
                                </a:cubicBezTo>
                                <a:cubicBezTo>
                                  <a:pt x="3560788" y="1708581"/>
                                  <a:pt x="3572194" y="1708347"/>
                                  <a:pt x="3578120" y="1715166"/>
                                </a:cubicBezTo>
                                <a:cubicBezTo>
                                  <a:pt x="3581246" y="1718742"/>
                                  <a:pt x="3576984" y="1729504"/>
                                  <a:pt x="3575603" y="1732780"/>
                                </a:cubicBezTo>
                                <a:cubicBezTo>
                                  <a:pt x="3574710" y="1734952"/>
                                  <a:pt x="3568663" y="1733348"/>
                                  <a:pt x="3565822" y="1733682"/>
                                </a:cubicBezTo>
                                <a:cubicBezTo>
                                  <a:pt x="3559286" y="1734795"/>
                                  <a:pt x="3553198" y="1737322"/>
                                  <a:pt x="3548205" y="1741002"/>
                                </a:cubicBezTo>
                                <a:cubicBezTo>
                                  <a:pt x="3539723" y="1746250"/>
                                  <a:pt x="3531969" y="1744545"/>
                                  <a:pt x="3520767" y="1746584"/>
                                </a:cubicBezTo>
                                <a:cubicBezTo>
                                  <a:pt x="3516708" y="1747352"/>
                                  <a:pt x="3497793" y="1749258"/>
                                  <a:pt x="3496413" y="1751430"/>
                                </a:cubicBezTo>
                                <a:cubicBezTo>
                                  <a:pt x="3492638" y="1756878"/>
                                  <a:pt x="3473724" y="1742573"/>
                                  <a:pt x="3470760" y="1739364"/>
                                </a:cubicBezTo>
                                <a:cubicBezTo>
                                  <a:pt x="3466701" y="1735086"/>
                                  <a:pt x="3444012" y="1732680"/>
                                  <a:pt x="3439100" y="1733214"/>
                                </a:cubicBezTo>
                                <a:cubicBezTo>
                                  <a:pt x="3425421" y="1734718"/>
                                  <a:pt x="3420591" y="1762961"/>
                                  <a:pt x="3417019" y="1770716"/>
                                </a:cubicBezTo>
                                <a:cubicBezTo>
                                  <a:pt x="3439587" y="1772353"/>
                                  <a:pt x="3447908" y="1774058"/>
                                  <a:pt x="3460044" y="1789566"/>
                                </a:cubicBezTo>
                                <a:cubicBezTo>
                                  <a:pt x="3469299" y="1801332"/>
                                  <a:pt x="3479609" y="1803304"/>
                                  <a:pt x="3495764" y="1805877"/>
                                </a:cubicBezTo>
                                <a:cubicBezTo>
                                  <a:pt x="3525516" y="1810657"/>
                                  <a:pt x="3544836" y="1809721"/>
                                  <a:pt x="3570245" y="1808351"/>
                                </a:cubicBezTo>
                                <a:cubicBezTo>
                                  <a:pt x="3607223" y="1806379"/>
                                  <a:pt x="3652156" y="1809855"/>
                                  <a:pt x="3681746" y="1799092"/>
                                </a:cubicBezTo>
                                <a:cubicBezTo>
                                  <a:pt x="3705085" y="1790469"/>
                                  <a:pt x="3742225" y="1796953"/>
                                  <a:pt x="3762926" y="1785155"/>
                                </a:cubicBezTo>
                                <a:cubicBezTo>
                                  <a:pt x="3778147" y="1776531"/>
                                  <a:pt x="3786589" y="1752165"/>
                                  <a:pt x="3809887" y="1750027"/>
                                </a:cubicBezTo>
                                <a:cubicBezTo>
                                  <a:pt x="3817437" y="1749358"/>
                                  <a:pt x="3819142" y="1744612"/>
                                  <a:pt x="3828356" y="1745247"/>
                                </a:cubicBezTo>
                                <a:cubicBezTo>
                                  <a:pt x="3841222" y="1746149"/>
                                  <a:pt x="3838138" y="1740334"/>
                                  <a:pt x="3841507" y="1734986"/>
                                </a:cubicBezTo>
                                <a:cubicBezTo>
                                  <a:pt x="3842806" y="1732947"/>
                                  <a:pt x="3845161" y="1724424"/>
                                  <a:pt x="3847636" y="1723421"/>
                                </a:cubicBezTo>
                                <a:cubicBezTo>
                                  <a:pt x="3854780" y="1720513"/>
                                  <a:pt x="3860300" y="1722118"/>
                                  <a:pt x="3848164" y="1711155"/>
                                </a:cubicBezTo>
                                <a:cubicBezTo>
                                  <a:pt x="3842806" y="1706308"/>
                                  <a:pt x="3833592" y="1699557"/>
                                  <a:pt x="3835987" y="1694777"/>
                                </a:cubicBezTo>
                                <a:cubicBezTo>
                                  <a:pt x="3838381" y="1689998"/>
                                  <a:pt x="3828843" y="1678701"/>
                                  <a:pt x="3819386" y="1674489"/>
                                </a:cubicBezTo>
                                <a:cubicBezTo>
                                  <a:pt x="3811795" y="1671147"/>
                                  <a:pt x="3805586" y="1666200"/>
                                  <a:pt x="3798279" y="1662590"/>
                                </a:cubicBezTo>
                                <a:cubicBezTo>
                                  <a:pt x="3790973" y="1658981"/>
                                  <a:pt x="3794220" y="1671047"/>
                                  <a:pt x="3784519" y="1664328"/>
                                </a:cubicBezTo>
                                <a:cubicBezTo>
                                  <a:pt x="3787239" y="1666234"/>
                                  <a:pt x="3740844" y="1659816"/>
                                  <a:pt x="3747379" y="1656407"/>
                                </a:cubicBezTo>
                                <a:cubicBezTo>
                                  <a:pt x="3751438" y="1654335"/>
                                  <a:pt x="3758257" y="1657477"/>
                                  <a:pt x="3755497" y="1651627"/>
                                </a:cubicBezTo>
                                <a:cubicBezTo>
                                  <a:pt x="3753834" y="1648285"/>
                                  <a:pt x="3763819" y="1641400"/>
                                  <a:pt x="3764549" y="1641901"/>
                                </a:cubicBezTo>
                                <a:cubicBezTo>
                                  <a:pt x="3757243" y="1637055"/>
                                  <a:pt x="3725826" y="1647951"/>
                                  <a:pt x="3730575" y="1635684"/>
                                </a:cubicBezTo>
                                <a:cubicBezTo>
                                  <a:pt x="3732280" y="1631279"/>
                                  <a:pt x="3735892" y="1627529"/>
                                  <a:pt x="3740682" y="1625122"/>
                                </a:cubicBezTo>
                                <a:cubicBezTo>
                                  <a:pt x="3744417" y="1623351"/>
                                  <a:pt x="3718318" y="1613525"/>
                                  <a:pt x="3716328" y="1612622"/>
                                </a:cubicBezTo>
                                <a:cubicBezTo>
                                  <a:pt x="3681259" y="1596712"/>
                                  <a:pt x="3707236" y="1598116"/>
                                  <a:pt x="3725096" y="1599253"/>
                                </a:cubicBezTo>
                                <a:cubicBezTo>
                                  <a:pt x="3733700" y="1599721"/>
                                  <a:pt x="3737881" y="1597815"/>
                                  <a:pt x="3747258" y="1599620"/>
                                </a:cubicBezTo>
                                <a:cubicBezTo>
                                  <a:pt x="3759150" y="1601926"/>
                                  <a:pt x="3770800" y="1603464"/>
                                  <a:pt x="3782570" y="1605369"/>
                                </a:cubicBezTo>
                                <a:cubicBezTo>
                                  <a:pt x="3803312" y="1608712"/>
                                  <a:pt x="3812689" y="1602027"/>
                                  <a:pt x="3833023" y="1605369"/>
                                </a:cubicBezTo>
                                <a:cubicBezTo>
                                  <a:pt x="3857865" y="1609046"/>
                                  <a:pt x="3887699" y="1614260"/>
                                  <a:pt x="3908521" y="1610917"/>
                                </a:cubicBezTo>
                                <a:cubicBezTo>
                                  <a:pt x="3918182" y="1609347"/>
                                  <a:pt x="3951059" y="1618104"/>
                                  <a:pt x="3955361" y="1613625"/>
                                </a:cubicBezTo>
                                <a:cubicBezTo>
                                  <a:pt x="3961125" y="1607508"/>
                                  <a:pt x="4004435" y="1622248"/>
                                  <a:pt x="4015150" y="1626092"/>
                                </a:cubicBezTo>
                                <a:cubicBezTo>
                                  <a:pt x="4036866" y="1634250"/>
                                  <a:pt x="4056917" y="1645207"/>
                                  <a:pt x="4074452" y="1658546"/>
                                </a:cubicBezTo>
                                <a:cubicBezTo>
                                  <a:pt x="4080012" y="1662724"/>
                                  <a:pt x="4086304" y="1672584"/>
                                  <a:pt x="4093367" y="1674289"/>
                                </a:cubicBezTo>
                                <a:cubicBezTo>
                                  <a:pt x="4104975" y="1677096"/>
                                  <a:pt x="4107492" y="1677363"/>
                                  <a:pt x="4118857" y="1684650"/>
                                </a:cubicBezTo>
                                <a:cubicBezTo>
                                  <a:pt x="4127056" y="1690272"/>
                                  <a:pt x="4136311" y="1694784"/>
                                  <a:pt x="4146214" y="1698019"/>
                                </a:cubicBezTo>
                                <a:cubicBezTo>
                                  <a:pt x="4156443" y="1701362"/>
                                  <a:pt x="4161761" y="1709517"/>
                                  <a:pt x="4171867" y="1712793"/>
                                </a:cubicBezTo>
                                <a:cubicBezTo>
                                  <a:pt x="4181974" y="1716068"/>
                                  <a:pt x="4186967" y="1711690"/>
                                  <a:pt x="4198412" y="1716402"/>
                                </a:cubicBezTo>
                                <a:cubicBezTo>
                                  <a:pt x="4207992" y="1720316"/>
                                  <a:pt x="4216719" y="1725500"/>
                                  <a:pt x="4224269" y="1731744"/>
                                </a:cubicBezTo>
                                <a:cubicBezTo>
                                  <a:pt x="4229749" y="1736523"/>
                                  <a:pt x="4230642" y="1742272"/>
                                  <a:pt x="4238881" y="1746116"/>
                                </a:cubicBezTo>
                                <a:cubicBezTo>
                                  <a:pt x="4251058" y="1751898"/>
                                  <a:pt x="4253412" y="1748823"/>
                                  <a:pt x="4257633" y="1758650"/>
                                </a:cubicBezTo>
                                <a:cubicBezTo>
                                  <a:pt x="4259095" y="1761992"/>
                                  <a:pt x="4274275" y="1773791"/>
                                  <a:pt x="4260393" y="1769479"/>
                                </a:cubicBezTo>
                                <a:cubicBezTo>
                                  <a:pt x="4257390" y="1768510"/>
                                  <a:pt x="4229424" y="1753603"/>
                                  <a:pt x="4240748" y="1766137"/>
                                </a:cubicBezTo>
                                <a:cubicBezTo>
                                  <a:pt x="4248866" y="1774860"/>
                                  <a:pt x="4262099" y="1774392"/>
                                  <a:pt x="4271758" y="1780743"/>
                                </a:cubicBezTo>
                                <a:cubicBezTo>
                                  <a:pt x="4285519" y="1789767"/>
                                  <a:pt x="4297452" y="1791071"/>
                                  <a:pt x="4310847" y="1798056"/>
                                </a:cubicBezTo>
                                <a:cubicBezTo>
                                  <a:pt x="4321481" y="1803671"/>
                                  <a:pt x="4318599" y="1805075"/>
                                  <a:pt x="4331425" y="1809019"/>
                                </a:cubicBezTo>
                                <a:cubicBezTo>
                                  <a:pt x="4338042" y="1811025"/>
                                  <a:pt x="4356753" y="1822923"/>
                                  <a:pt x="4361381" y="1823024"/>
                                </a:cubicBezTo>
                                <a:cubicBezTo>
                                  <a:pt x="4368444" y="1823024"/>
                                  <a:pt x="4338691" y="1804975"/>
                                  <a:pt x="4343683" y="1801298"/>
                                </a:cubicBezTo>
                                <a:cubicBezTo>
                                  <a:pt x="4353587" y="1793945"/>
                                  <a:pt x="4377211" y="1797221"/>
                                  <a:pt x="4395192" y="1800730"/>
                                </a:cubicBezTo>
                                <a:cubicBezTo>
                                  <a:pt x="4402174" y="1802034"/>
                                  <a:pt x="4441464" y="1813230"/>
                                  <a:pt x="4443047" y="1811426"/>
                                </a:cubicBezTo>
                                <a:cubicBezTo>
                                  <a:pt x="4447878" y="1805978"/>
                                  <a:pt x="4460988" y="1802535"/>
                                  <a:pt x="4473814" y="1810590"/>
                                </a:cubicBezTo>
                                <a:cubicBezTo>
                                  <a:pt x="4492324" y="1822221"/>
                                  <a:pt x="4507220" y="1828037"/>
                                  <a:pt x="4526134" y="1837329"/>
                                </a:cubicBezTo>
                                <a:cubicBezTo>
                                  <a:pt x="4541680" y="1845083"/>
                                  <a:pt x="4525729" y="1849595"/>
                                  <a:pt x="4549920" y="1854876"/>
                                </a:cubicBezTo>
                                <a:cubicBezTo>
                                  <a:pt x="4575208" y="1860491"/>
                                  <a:pt x="4540869" y="1862163"/>
                                  <a:pt x="4538150" y="1862463"/>
                                </a:cubicBezTo>
                                <a:cubicBezTo>
                                  <a:pt x="4516637" y="1864836"/>
                                  <a:pt x="4550976" y="1877571"/>
                                  <a:pt x="4545821" y="1880880"/>
                                </a:cubicBezTo>
                                <a:cubicBezTo>
                                  <a:pt x="4544319" y="1881816"/>
                                  <a:pt x="4529057" y="1876735"/>
                                  <a:pt x="4532954" y="1880880"/>
                                </a:cubicBezTo>
                                <a:cubicBezTo>
                                  <a:pt x="4537784" y="1886127"/>
                                  <a:pt x="4549676" y="1889369"/>
                                  <a:pt x="4555846" y="1890907"/>
                                </a:cubicBezTo>
                                <a:cubicBezTo>
                                  <a:pt x="4580688" y="1897090"/>
                                  <a:pt x="4605853" y="1895252"/>
                                  <a:pt x="4630856" y="1913167"/>
                                </a:cubicBezTo>
                                <a:cubicBezTo>
                                  <a:pt x="4643480" y="1922292"/>
                                  <a:pt x="4646077" y="1899798"/>
                                  <a:pt x="4660202" y="1902705"/>
                                </a:cubicBezTo>
                                <a:cubicBezTo>
                                  <a:pt x="4667184" y="1904076"/>
                                  <a:pt x="4720763" y="1928843"/>
                                  <a:pt x="4711468" y="1935494"/>
                                </a:cubicBezTo>
                                <a:cubicBezTo>
                                  <a:pt x="4712604" y="1934658"/>
                                  <a:pt x="4686262" y="1921256"/>
                                  <a:pt x="4679767" y="1922125"/>
                                </a:cubicBezTo>
                                <a:cubicBezTo>
                                  <a:pt x="4671040" y="1923194"/>
                                  <a:pt x="4664952" y="1929110"/>
                                  <a:pt x="4657117" y="1931483"/>
                                </a:cubicBezTo>
                                <a:cubicBezTo>
                                  <a:pt x="4653830" y="1932452"/>
                                  <a:pt x="4657889" y="1935895"/>
                                  <a:pt x="4655738" y="1937031"/>
                                </a:cubicBezTo>
                                <a:cubicBezTo>
                                  <a:pt x="4653587" y="1938168"/>
                                  <a:pt x="4647620" y="1935327"/>
                                  <a:pt x="4644616" y="1934993"/>
                                </a:cubicBezTo>
                                <a:cubicBezTo>
                                  <a:pt x="4639461" y="1934424"/>
                                  <a:pt x="4640070" y="1938937"/>
                                  <a:pt x="4634712" y="1938335"/>
                                </a:cubicBezTo>
                                <a:cubicBezTo>
                                  <a:pt x="4628502" y="1937767"/>
                                  <a:pt x="4619045" y="1932051"/>
                                  <a:pt x="4612916" y="1929110"/>
                                </a:cubicBezTo>
                                <a:cubicBezTo>
                                  <a:pt x="4605487" y="1925534"/>
                                  <a:pt x="4587506" y="1916209"/>
                                  <a:pt x="4582717" y="1920219"/>
                                </a:cubicBezTo>
                                <a:cubicBezTo>
                                  <a:pt x="4576831" y="1925032"/>
                                  <a:pt x="4557511" y="1916509"/>
                                  <a:pt x="4548216" y="1917913"/>
                                </a:cubicBezTo>
                                <a:cubicBezTo>
                                  <a:pt x="4540098" y="1919150"/>
                                  <a:pt x="4527474" y="1915406"/>
                                  <a:pt x="4517570" y="1913234"/>
                                </a:cubicBezTo>
                                <a:cubicBezTo>
                                  <a:pt x="4498615" y="1909156"/>
                                  <a:pt x="4484084" y="1909223"/>
                                  <a:pt x="4466955" y="1908588"/>
                                </a:cubicBezTo>
                                <a:cubicBezTo>
                                  <a:pt x="4449826" y="1907953"/>
                                  <a:pt x="4428678" y="1899864"/>
                                  <a:pt x="4411266" y="1895486"/>
                                </a:cubicBezTo>
                                <a:cubicBezTo>
                                  <a:pt x="4405177" y="1893982"/>
                                  <a:pt x="4386099" y="1880479"/>
                                  <a:pt x="4382325" y="1881548"/>
                                </a:cubicBezTo>
                                <a:cubicBezTo>
                                  <a:pt x="4379484" y="1882317"/>
                                  <a:pt x="4378916" y="1886361"/>
                                  <a:pt x="4377454" y="1887999"/>
                                </a:cubicBezTo>
                                <a:cubicBezTo>
                                  <a:pt x="4372503" y="1893514"/>
                                  <a:pt x="4362760" y="1892678"/>
                                  <a:pt x="4352533" y="1892779"/>
                                </a:cubicBezTo>
                                <a:cubicBezTo>
                                  <a:pt x="4302323" y="1893447"/>
                                  <a:pt x="4287589" y="1931316"/>
                                  <a:pt x="4278375" y="1961029"/>
                                </a:cubicBezTo>
                                <a:cubicBezTo>
                                  <a:pt x="4276913" y="1965943"/>
                                  <a:pt x="4278050" y="1971825"/>
                                  <a:pt x="4276061" y="1976471"/>
                                </a:cubicBezTo>
                                <a:cubicBezTo>
                                  <a:pt x="4273220" y="1983156"/>
                                  <a:pt x="4265792" y="1988270"/>
                                  <a:pt x="4264940" y="1995857"/>
                                </a:cubicBezTo>
                                <a:cubicBezTo>
                                  <a:pt x="4264696" y="1997996"/>
                                  <a:pt x="4262991" y="2012869"/>
                                  <a:pt x="4265670" y="2013973"/>
                                </a:cubicBezTo>
                                <a:cubicBezTo>
                                  <a:pt x="4277401" y="2018852"/>
                                  <a:pt x="4293190" y="2016312"/>
                                  <a:pt x="4304230" y="2017850"/>
                                </a:cubicBezTo>
                                <a:cubicBezTo>
                                  <a:pt x="4312348" y="2018953"/>
                                  <a:pt x="4328584" y="2019822"/>
                                  <a:pt x="4333253" y="2016914"/>
                                </a:cubicBezTo>
                                <a:cubicBezTo>
                                  <a:pt x="4339381" y="2013237"/>
                                  <a:pt x="4340071" y="2005851"/>
                                  <a:pt x="4352694" y="2009561"/>
                                </a:cubicBezTo>
                                <a:cubicBezTo>
                                  <a:pt x="4365318" y="2013271"/>
                                  <a:pt x="4373395" y="2014106"/>
                                  <a:pt x="4385775" y="2021392"/>
                                </a:cubicBezTo>
                                <a:cubicBezTo>
                                  <a:pt x="4402782" y="2031420"/>
                                  <a:pt x="4394177" y="2011633"/>
                                  <a:pt x="4401037" y="2009561"/>
                                </a:cubicBezTo>
                                <a:cubicBezTo>
                                  <a:pt x="4409398" y="2007087"/>
                                  <a:pt x="4426609" y="2012903"/>
                                  <a:pt x="4437568" y="2015243"/>
                                </a:cubicBezTo>
                                <a:cubicBezTo>
                                  <a:pt x="4451124" y="2018084"/>
                                  <a:pt x="4459202" y="2031520"/>
                                  <a:pt x="4473611" y="2033325"/>
                                </a:cubicBezTo>
                                <a:cubicBezTo>
                                  <a:pt x="4488021" y="2035130"/>
                                  <a:pt x="4483677" y="2024534"/>
                                  <a:pt x="4481080" y="2016613"/>
                                </a:cubicBezTo>
                                <a:cubicBezTo>
                                  <a:pt x="4478807" y="2009928"/>
                                  <a:pt x="4501375" y="2010263"/>
                                  <a:pt x="4507585" y="2010831"/>
                                </a:cubicBezTo>
                                <a:cubicBezTo>
                                  <a:pt x="4520940" y="2011967"/>
                                  <a:pt x="4526013" y="2023966"/>
                                  <a:pt x="4538270" y="2025704"/>
                                </a:cubicBezTo>
                                <a:cubicBezTo>
                                  <a:pt x="4549068" y="2027242"/>
                                  <a:pt x="4541396" y="2012535"/>
                                  <a:pt x="4533400" y="2008290"/>
                                </a:cubicBezTo>
                                <a:cubicBezTo>
                                  <a:pt x="4524795" y="2003711"/>
                                  <a:pt x="4539246" y="1997060"/>
                                  <a:pt x="4541518" y="1996559"/>
                                </a:cubicBezTo>
                                <a:cubicBezTo>
                                  <a:pt x="4547201" y="1995422"/>
                                  <a:pt x="4573990" y="2002876"/>
                                  <a:pt x="4562787" y="1992314"/>
                                </a:cubicBezTo>
                                <a:cubicBezTo>
                                  <a:pt x="4555765" y="1985629"/>
                                  <a:pt x="4537540" y="1979245"/>
                                  <a:pt x="4536079" y="1972260"/>
                                </a:cubicBezTo>
                                <a:cubicBezTo>
                                  <a:pt x="4533725" y="1960996"/>
                                  <a:pt x="4551990" y="1960929"/>
                                  <a:pt x="4565385" y="1963804"/>
                                </a:cubicBezTo>
                                <a:cubicBezTo>
                                  <a:pt x="4584178" y="1967815"/>
                                  <a:pt x="4613483" y="1953008"/>
                                  <a:pt x="4632521" y="1966043"/>
                                </a:cubicBezTo>
                                <a:cubicBezTo>
                                  <a:pt x="4641532" y="1972226"/>
                                  <a:pt x="4649203" y="1976638"/>
                                  <a:pt x="4651029" y="1983423"/>
                                </a:cubicBezTo>
                                <a:cubicBezTo>
                                  <a:pt x="4652369" y="1988403"/>
                                  <a:pt x="4677088" y="1987468"/>
                                  <a:pt x="4680254" y="1987735"/>
                                </a:cubicBezTo>
                                <a:cubicBezTo>
                                  <a:pt x="4721899" y="1991077"/>
                                  <a:pt x="4676601" y="2008926"/>
                                  <a:pt x="4701239" y="2012970"/>
                                </a:cubicBezTo>
                                <a:cubicBezTo>
                                  <a:pt x="4730707" y="2017850"/>
                                  <a:pt x="4754817" y="2028278"/>
                                  <a:pt x="4781688" y="2048232"/>
                                </a:cubicBezTo>
                                <a:cubicBezTo>
                                  <a:pt x="4791632" y="2055618"/>
                                  <a:pt x="4800115" y="2062938"/>
                                  <a:pt x="4803079" y="2071628"/>
                                </a:cubicBezTo>
                                <a:cubicBezTo>
                                  <a:pt x="4806042" y="2080318"/>
                                  <a:pt x="4810262" y="2089276"/>
                                  <a:pt x="4820572" y="2083527"/>
                                </a:cubicBezTo>
                                <a:cubicBezTo>
                                  <a:pt x="4826093" y="2080452"/>
                                  <a:pt x="4852639" y="2093253"/>
                                  <a:pt x="4861528" y="2095961"/>
                                </a:cubicBezTo>
                                <a:cubicBezTo>
                                  <a:pt x="4872041" y="2099303"/>
                                  <a:pt x="4887059" y="2105252"/>
                                  <a:pt x="4897003" y="2106924"/>
                                </a:cubicBezTo>
                                <a:cubicBezTo>
                                  <a:pt x="4923102" y="2111486"/>
                                  <a:pt x="4948025" y="2119858"/>
                                  <a:pt x="4970512" y="2131690"/>
                                </a:cubicBezTo>
                                <a:cubicBezTo>
                                  <a:pt x="4990197" y="2141717"/>
                                  <a:pt x="5031599" y="2166351"/>
                                  <a:pt x="5050148" y="2165114"/>
                                </a:cubicBezTo>
                                <a:cubicBezTo>
                                  <a:pt x="5059849" y="2164512"/>
                                  <a:pt x="5058794" y="2166016"/>
                                  <a:pt x="5063989" y="2173771"/>
                                </a:cubicBezTo>
                                <a:cubicBezTo>
                                  <a:pt x="5069185" y="2181525"/>
                                  <a:pt x="5089886" y="2198270"/>
                                  <a:pt x="5098937" y="2205556"/>
                                </a:cubicBezTo>
                                <a:cubicBezTo>
                                  <a:pt x="5127716" y="2228719"/>
                                  <a:pt x="5127959" y="2199707"/>
                                  <a:pt x="5123088" y="2187642"/>
                                </a:cubicBezTo>
                                <a:cubicBezTo>
                                  <a:pt x="5117040" y="2172768"/>
                                  <a:pt x="5137173" y="2167587"/>
                                  <a:pt x="5113630" y="2150441"/>
                                </a:cubicBezTo>
                                <a:cubicBezTo>
                                  <a:pt x="5100074" y="2140414"/>
                                  <a:pt x="5110018" y="2137072"/>
                                  <a:pt x="5109571" y="2130654"/>
                                </a:cubicBezTo>
                                <a:cubicBezTo>
                                  <a:pt x="5109329" y="2126944"/>
                                  <a:pt x="5086395" y="2117753"/>
                                  <a:pt x="5082254" y="2109698"/>
                                </a:cubicBezTo>
                                <a:cubicBezTo>
                                  <a:pt x="5075517" y="2096529"/>
                                  <a:pt x="5101900" y="2112372"/>
                                  <a:pt x="5107218" y="2116850"/>
                                </a:cubicBezTo>
                                <a:cubicBezTo>
                                  <a:pt x="5120613" y="2128081"/>
                                  <a:pt x="5115336" y="2136503"/>
                                  <a:pt x="5129014" y="2146932"/>
                                </a:cubicBezTo>
                                <a:cubicBezTo>
                                  <a:pt x="5143302" y="2157794"/>
                                  <a:pt x="5185069" y="2180355"/>
                                  <a:pt x="5199641" y="2180121"/>
                                </a:cubicBezTo>
                                <a:cubicBezTo>
                                  <a:pt x="5204024" y="2180121"/>
                                  <a:pt x="5221843" y="2180121"/>
                                  <a:pt x="5222006" y="2177949"/>
                                </a:cubicBezTo>
                                <a:cubicBezTo>
                                  <a:pt x="5222370" y="2173503"/>
                                  <a:pt x="5216080" y="2168122"/>
                                  <a:pt x="5216119" y="2163844"/>
                                </a:cubicBezTo>
                                <a:cubicBezTo>
                                  <a:pt x="5216119" y="2156290"/>
                                  <a:pt x="5225780" y="2164613"/>
                                  <a:pt x="5231422" y="2165950"/>
                                </a:cubicBezTo>
                                <a:cubicBezTo>
                                  <a:pt x="5238606" y="2167654"/>
                                  <a:pt x="5253503" y="2171799"/>
                                  <a:pt x="5260566" y="2179954"/>
                                </a:cubicBezTo>
                                <a:cubicBezTo>
                                  <a:pt x="5261012" y="2180489"/>
                                  <a:pt x="5241408" y="2181592"/>
                                  <a:pt x="5242463" y="2186639"/>
                                </a:cubicBezTo>
                                <a:cubicBezTo>
                                  <a:pt x="5244614" y="2196432"/>
                                  <a:pt x="5247456" y="2203150"/>
                                  <a:pt x="5260809" y="2212241"/>
                                </a:cubicBezTo>
                                <a:cubicBezTo>
                                  <a:pt x="5281429" y="2226346"/>
                                  <a:pt x="5311425" y="2243592"/>
                                  <a:pt x="5308421" y="2262143"/>
                                </a:cubicBezTo>
                                <a:cubicBezTo>
                                  <a:pt x="5306757" y="2272470"/>
                                  <a:pt x="5316133" y="2285740"/>
                                  <a:pt x="5328473" y="2297538"/>
                                </a:cubicBezTo>
                                <a:cubicBezTo>
                                  <a:pt x="5331720" y="2300647"/>
                                  <a:pt x="5338823" y="2306329"/>
                                  <a:pt x="5338254" y="2309671"/>
                                </a:cubicBezTo>
                                <a:cubicBezTo>
                                  <a:pt x="5336874" y="2317726"/>
                                  <a:pt x="5346616" y="2320935"/>
                                  <a:pt x="5353313" y="2328355"/>
                                </a:cubicBezTo>
                                <a:cubicBezTo>
                                  <a:pt x="5358590" y="2334171"/>
                                  <a:pt x="5372188" y="2346036"/>
                                  <a:pt x="5380468" y="2348242"/>
                                </a:cubicBezTo>
                                <a:cubicBezTo>
                                  <a:pt x="5390940" y="2351016"/>
                                  <a:pt x="5370564" y="2331998"/>
                                  <a:pt x="5376409" y="2332065"/>
                                </a:cubicBezTo>
                                <a:cubicBezTo>
                                  <a:pt x="5382254" y="2332131"/>
                                  <a:pt x="5387977" y="2350080"/>
                                  <a:pt x="5392645" y="2343730"/>
                                </a:cubicBezTo>
                                <a:cubicBezTo>
                                  <a:pt x="5395973" y="2339117"/>
                                  <a:pt x="5402832" y="2340387"/>
                                  <a:pt x="5406283" y="2335307"/>
                                </a:cubicBezTo>
                                <a:cubicBezTo>
                                  <a:pt x="5407987" y="2332733"/>
                                  <a:pt x="5405958" y="2317459"/>
                                  <a:pt x="5413670" y="2324210"/>
                                </a:cubicBezTo>
                                <a:cubicBezTo>
                                  <a:pt x="5414563" y="2324912"/>
                                  <a:pt x="5446142" y="2363583"/>
                                  <a:pt x="5448699" y="2358703"/>
                                </a:cubicBezTo>
                                <a:cubicBezTo>
                                  <a:pt x="5450525" y="2355361"/>
                                  <a:pt x="5439688" y="2348142"/>
                                  <a:pt x="5440865" y="2345869"/>
                                </a:cubicBezTo>
                                <a:cubicBezTo>
                                  <a:pt x="5443098" y="2341591"/>
                                  <a:pt x="5457710" y="2367594"/>
                                  <a:pt x="5463717" y="2364920"/>
                                </a:cubicBezTo>
                                <a:cubicBezTo>
                                  <a:pt x="5469238" y="2363082"/>
                                  <a:pt x="5475489" y="2363583"/>
                                  <a:pt x="5480481" y="2366224"/>
                                </a:cubicBezTo>
                                <a:cubicBezTo>
                                  <a:pt x="5483688" y="2367761"/>
                                  <a:pt x="5503658" y="2382200"/>
                                  <a:pt x="5492658" y="2368864"/>
                                </a:cubicBezTo>
                                <a:close/>
                                <a:moveTo>
                                  <a:pt x="2856475" y="1286441"/>
                                </a:moveTo>
                                <a:cubicBezTo>
                                  <a:pt x="2831552" y="1288246"/>
                                  <a:pt x="2802856" y="1279757"/>
                                  <a:pt x="2777162" y="1279757"/>
                                </a:cubicBezTo>
                                <a:cubicBezTo>
                                  <a:pt x="2767542" y="1279757"/>
                                  <a:pt x="2768314" y="1283634"/>
                                  <a:pt x="2761576" y="1285305"/>
                                </a:cubicBezTo>
                                <a:cubicBezTo>
                                  <a:pt x="2752768" y="1287477"/>
                                  <a:pt x="2738277" y="1284536"/>
                                  <a:pt x="2727643" y="1282230"/>
                                </a:cubicBezTo>
                                <a:cubicBezTo>
                                  <a:pt x="2722041" y="1280960"/>
                                  <a:pt x="2676987" y="1266253"/>
                                  <a:pt x="2697931" y="1269061"/>
                                </a:cubicBezTo>
                                <a:cubicBezTo>
                                  <a:pt x="2724843" y="1272637"/>
                                  <a:pt x="2743432" y="1276247"/>
                                  <a:pt x="2764052" y="1269696"/>
                                </a:cubicBezTo>
                                <a:cubicBezTo>
                                  <a:pt x="2785280" y="1263011"/>
                                  <a:pt x="2818442" y="1267557"/>
                                  <a:pt x="2843324" y="1264883"/>
                                </a:cubicBezTo>
                                <a:cubicBezTo>
                                  <a:pt x="2872061" y="1261808"/>
                                  <a:pt x="2886389" y="1244829"/>
                                  <a:pt x="2914964" y="1242790"/>
                                </a:cubicBezTo>
                                <a:cubicBezTo>
                                  <a:pt x="2931200" y="1241687"/>
                                  <a:pt x="2908998" y="1262243"/>
                                  <a:pt x="2907253" y="1263646"/>
                                </a:cubicBezTo>
                                <a:cubicBezTo>
                                  <a:pt x="2895360" y="1273172"/>
                                  <a:pt x="2879205" y="1284904"/>
                                  <a:pt x="2856475" y="1286575"/>
                                </a:cubicBezTo>
                                <a:close/>
                                <a:moveTo>
                                  <a:pt x="3272236" y="790669"/>
                                </a:moveTo>
                                <a:cubicBezTo>
                                  <a:pt x="3267771" y="792273"/>
                                  <a:pt x="3239764" y="784285"/>
                                  <a:pt x="3250521" y="792875"/>
                                </a:cubicBezTo>
                                <a:cubicBezTo>
                                  <a:pt x="3261276" y="801465"/>
                                  <a:pt x="3282342" y="807348"/>
                                  <a:pt x="3296224" y="809587"/>
                                </a:cubicBezTo>
                                <a:cubicBezTo>
                                  <a:pt x="3335597" y="816272"/>
                                  <a:pt x="3286604" y="785355"/>
                                  <a:pt x="3272236" y="790536"/>
                                </a:cubicBezTo>
                                <a:close/>
                                <a:moveTo>
                                  <a:pt x="1454951" y="46493"/>
                                </a:moveTo>
                                <a:cubicBezTo>
                                  <a:pt x="1468386" y="48699"/>
                                  <a:pt x="1471918" y="46493"/>
                                  <a:pt x="1482227" y="45189"/>
                                </a:cubicBezTo>
                                <a:cubicBezTo>
                                  <a:pt x="1491725" y="43853"/>
                                  <a:pt x="1507758" y="49568"/>
                                  <a:pt x="1518393" y="50404"/>
                                </a:cubicBezTo>
                                <a:cubicBezTo>
                                  <a:pt x="1529027" y="51239"/>
                                  <a:pt x="1528094" y="47061"/>
                                  <a:pt x="1519813" y="44321"/>
                                </a:cubicBezTo>
                                <a:cubicBezTo>
                                  <a:pt x="1508367" y="40908"/>
                                  <a:pt x="1496474" y="38512"/>
                                  <a:pt x="1484419" y="37168"/>
                                </a:cubicBezTo>
                                <a:cubicBezTo>
                                  <a:pt x="1477397" y="36232"/>
                                  <a:pt x="1467087" y="34628"/>
                                  <a:pt x="1460715" y="35630"/>
                                </a:cubicBezTo>
                                <a:cubicBezTo>
                                  <a:pt x="1456656" y="36265"/>
                                  <a:pt x="1462501" y="38505"/>
                                  <a:pt x="1455600" y="38271"/>
                                </a:cubicBezTo>
                                <a:cubicBezTo>
                                  <a:pt x="1451542" y="38104"/>
                                  <a:pt x="1408191" y="32923"/>
                                  <a:pt x="1408110" y="32756"/>
                                </a:cubicBezTo>
                                <a:cubicBezTo>
                                  <a:pt x="1411276" y="39508"/>
                                  <a:pt x="1444803" y="44822"/>
                                  <a:pt x="1454951" y="46493"/>
                                </a:cubicBezTo>
                                <a:close/>
                                <a:moveTo>
                                  <a:pt x="1311507" y="58325"/>
                                </a:moveTo>
                                <a:cubicBezTo>
                                  <a:pt x="1313293" y="50303"/>
                                  <a:pt x="1254397" y="50671"/>
                                  <a:pt x="1265072" y="53980"/>
                                </a:cubicBezTo>
                                <a:cubicBezTo>
                                  <a:pt x="1274610" y="56888"/>
                                  <a:pt x="1309761" y="66213"/>
                                  <a:pt x="1311547" y="58325"/>
                                </a:cubicBezTo>
                                <a:close/>
                                <a:moveTo>
                                  <a:pt x="1453896" y="74101"/>
                                </a:moveTo>
                                <a:cubicBezTo>
                                  <a:pt x="1457589" y="81220"/>
                                  <a:pt x="1376775" y="65778"/>
                                  <a:pt x="1401373" y="80451"/>
                                </a:cubicBezTo>
                                <a:cubicBezTo>
                                  <a:pt x="1416147" y="89175"/>
                                  <a:pt x="1462257" y="93988"/>
                                  <a:pt x="1479589" y="91448"/>
                                </a:cubicBezTo>
                                <a:cubicBezTo>
                                  <a:pt x="1488721" y="90011"/>
                                  <a:pt x="1544939" y="94389"/>
                                  <a:pt x="1512669" y="84329"/>
                                </a:cubicBezTo>
                                <a:cubicBezTo>
                                  <a:pt x="1508002" y="82824"/>
                                  <a:pt x="1452029" y="70424"/>
                                  <a:pt x="1453896" y="74101"/>
                                </a:cubicBezTo>
                                <a:cubicBezTo>
                                  <a:pt x="1456250" y="78747"/>
                                  <a:pt x="1451623" y="69589"/>
                                  <a:pt x="1453936" y="74101"/>
                                </a:cubicBezTo>
                                <a:close/>
                                <a:moveTo>
                                  <a:pt x="1642679" y="97130"/>
                                </a:moveTo>
                                <a:cubicBezTo>
                                  <a:pt x="1653232" y="93487"/>
                                  <a:pt x="1612114" y="78747"/>
                                  <a:pt x="1604118" y="77076"/>
                                </a:cubicBezTo>
                                <a:cubicBezTo>
                                  <a:pt x="1594620" y="75037"/>
                                  <a:pt x="1580860" y="71962"/>
                                  <a:pt x="1571646" y="72697"/>
                                </a:cubicBezTo>
                                <a:cubicBezTo>
                                  <a:pt x="1566695" y="73098"/>
                                  <a:pt x="1564178" y="77009"/>
                                  <a:pt x="1556994" y="77744"/>
                                </a:cubicBezTo>
                                <a:cubicBezTo>
                                  <a:pt x="1552123" y="78245"/>
                                  <a:pt x="1532640" y="78647"/>
                                  <a:pt x="1534669" y="82657"/>
                                </a:cubicBezTo>
                                <a:cubicBezTo>
                                  <a:pt x="1537226" y="88072"/>
                                  <a:pt x="1559023" y="92217"/>
                                  <a:pt x="1567669" y="93687"/>
                                </a:cubicBezTo>
                                <a:cubicBezTo>
                                  <a:pt x="1586746" y="97030"/>
                                  <a:pt x="1627741" y="102277"/>
                                  <a:pt x="1642841" y="97030"/>
                                </a:cubicBezTo>
                                <a:close/>
                                <a:moveTo>
                                  <a:pt x="1471187" y="58960"/>
                                </a:moveTo>
                                <a:cubicBezTo>
                                  <a:pt x="1475246" y="52275"/>
                                  <a:pt x="1454139" y="50303"/>
                                  <a:pt x="1444641" y="48933"/>
                                </a:cubicBezTo>
                                <a:cubicBezTo>
                                  <a:pt x="1421789" y="45591"/>
                                  <a:pt x="1405999" y="38104"/>
                                  <a:pt x="1384487" y="33525"/>
                                </a:cubicBezTo>
                                <a:cubicBezTo>
                                  <a:pt x="1364720" y="29313"/>
                                  <a:pt x="1387004" y="39975"/>
                                  <a:pt x="1382052" y="41045"/>
                                </a:cubicBezTo>
                                <a:cubicBezTo>
                                  <a:pt x="1373122" y="42917"/>
                                  <a:pt x="1358306" y="41045"/>
                                  <a:pt x="1348078" y="41246"/>
                                </a:cubicBezTo>
                                <a:cubicBezTo>
                                  <a:pt x="1320599" y="41981"/>
                                  <a:pt x="1388668" y="56587"/>
                                  <a:pt x="1396014" y="57690"/>
                                </a:cubicBezTo>
                                <a:cubicBezTo>
                                  <a:pt x="1410789" y="59796"/>
                                  <a:pt x="1465707" y="68185"/>
                                  <a:pt x="1471187" y="58960"/>
                                </a:cubicBezTo>
                                <a:close/>
                                <a:moveTo>
                                  <a:pt x="1246888" y="308501"/>
                                </a:moveTo>
                                <a:cubicBezTo>
                                  <a:pt x="1246888" y="318528"/>
                                  <a:pt x="1213239" y="310472"/>
                                  <a:pt x="1212549" y="313180"/>
                                </a:cubicBezTo>
                                <a:cubicBezTo>
                                  <a:pt x="1211656" y="316856"/>
                                  <a:pt x="1228095" y="321837"/>
                                  <a:pt x="1228785" y="326282"/>
                                </a:cubicBezTo>
                                <a:cubicBezTo>
                                  <a:pt x="1229475" y="330727"/>
                                  <a:pt x="1212224" y="327753"/>
                                  <a:pt x="1207840" y="330460"/>
                                </a:cubicBezTo>
                                <a:cubicBezTo>
                                  <a:pt x="1200494" y="334939"/>
                                  <a:pt x="1202361" y="336777"/>
                                  <a:pt x="1186937" y="335006"/>
                                </a:cubicBezTo>
                                <a:cubicBezTo>
                                  <a:pt x="1173258" y="333435"/>
                                  <a:pt x="1157955" y="332666"/>
                                  <a:pt x="1157753" y="341155"/>
                                </a:cubicBezTo>
                                <a:cubicBezTo>
                                  <a:pt x="1157753" y="347840"/>
                                  <a:pt x="1176261" y="350113"/>
                                  <a:pt x="1186166" y="351684"/>
                                </a:cubicBezTo>
                                <a:cubicBezTo>
                                  <a:pt x="1203254" y="354391"/>
                                  <a:pt x="1196435" y="355628"/>
                                  <a:pt x="1193391" y="361210"/>
                                </a:cubicBezTo>
                                <a:cubicBezTo>
                                  <a:pt x="1191280" y="365154"/>
                                  <a:pt x="1209342" y="373710"/>
                                  <a:pt x="1212711" y="369198"/>
                                </a:cubicBezTo>
                                <a:cubicBezTo>
                                  <a:pt x="1215228" y="365855"/>
                                  <a:pt x="1204228" y="356597"/>
                                  <a:pt x="1220017" y="361276"/>
                                </a:cubicBezTo>
                                <a:cubicBezTo>
                                  <a:pt x="1227770" y="363583"/>
                                  <a:pt x="1237268" y="367694"/>
                                  <a:pt x="1240312" y="371972"/>
                                </a:cubicBezTo>
                                <a:cubicBezTo>
                                  <a:pt x="1243356" y="376250"/>
                                  <a:pt x="1229069" y="376350"/>
                                  <a:pt x="1234427" y="380863"/>
                                </a:cubicBezTo>
                                <a:cubicBezTo>
                                  <a:pt x="1247010" y="391391"/>
                                  <a:pt x="1286260" y="396271"/>
                                  <a:pt x="1306595" y="400917"/>
                                </a:cubicBezTo>
                                <a:cubicBezTo>
                                  <a:pt x="1315241" y="402822"/>
                                  <a:pt x="1367480" y="416826"/>
                                  <a:pt x="1371011" y="409607"/>
                                </a:cubicBezTo>
                                <a:cubicBezTo>
                                  <a:pt x="1373162" y="405095"/>
                                  <a:pt x="1353882" y="397240"/>
                                  <a:pt x="1348240" y="394132"/>
                                </a:cubicBezTo>
                                <a:cubicBezTo>
                                  <a:pt x="1332004" y="385308"/>
                                  <a:pt x="1318164" y="375548"/>
                                  <a:pt x="1311426" y="364619"/>
                                </a:cubicBezTo>
                                <a:cubicBezTo>
                                  <a:pt x="1299249" y="344765"/>
                                  <a:pt x="1330990" y="347272"/>
                                  <a:pt x="1341583" y="334337"/>
                                </a:cubicBezTo>
                                <a:cubicBezTo>
                                  <a:pt x="1347064" y="327652"/>
                                  <a:pt x="1366952" y="328354"/>
                                  <a:pt x="1374542" y="322238"/>
                                </a:cubicBezTo>
                                <a:cubicBezTo>
                                  <a:pt x="1376775" y="320433"/>
                                  <a:pt x="1378114" y="317893"/>
                                  <a:pt x="1381889" y="316723"/>
                                </a:cubicBezTo>
                                <a:cubicBezTo>
                                  <a:pt x="1387450" y="314985"/>
                                  <a:pt x="1399140" y="318695"/>
                                  <a:pt x="1402509" y="315586"/>
                                </a:cubicBezTo>
                                <a:cubicBezTo>
                                  <a:pt x="1409693" y="308902"/>
                                  <a:pt x="1402834" y="309236"/>
                                  <a:pt x="1421789" y="308467"/>
                                </a:cubicBezTo>
                                <a:cubicBezTo>
                                  <a:pt x="1433073" y="307999"/>
                                  <a:pt x="1440826" y="303153"/>
                                  <a:pt x="1441028" y="297571"/>
                                </a:cubicBezTo>
                                <a:cubicBezTo>
                                  <a:pt x="1441232" y="291989"/>
                                  <a:pt x="1452840" y="296134"/>
                                  <a:pt x="1462744" y="296836"/>
                                </a:cubicBezTo>
                                <a:cubicBezTo>
                                  <a:pt x="1470618" y="297437"/>
                                  <a:pt x="1474434" y="295566"/>
                                  <a:pt x="1481334" y="295064"/>
                                </a:cubicBezTo>
                                <a:cubicBezTo>
                                  <a:pt x="1490061" y="294396"/>
                                  <a:pt x="1499884" y="296134"/>
                                  <a:pt x="1508976" y="296568"/>
                                </a:cubicBezTo>
                                <a:cubicBezTo>
                                  <a:pt x="1525212" y="297337"/>
                                  <a:pt x="1544695" y="290586"/>
                                  <a:pt x="1562392" y="290118"/>
                                </a:cubicBezTo>
                                <a:cubicBezTo>
                                  <a:pt x="1597218" y="289182"/>
                                  <a:pt x="1633302" y="290118"/>
                                  <a:pt x="1669265" y="291989"/>
                                </a:cubicBezTo>
                                <a:cubicBezTo>
                                  <a:pt x="1689884" y="292491"/>
                                  <a:pt x="1862310" y="309436"/>
                                  <a:pt x="1838727" y="287811"/>
                                </a:cubicBezTo>
                                <a:cubicBezTo>
                                  <a:pt x="1823181" y="273372"/>
                                  <a:pt x="1772972" y="271935"/>
                                  <a:pt x="1750363" y="271801"/>
                                </a:cubicBezTo>
                                <a:cubicBezTo>
                                  <a:pt x="1737699" y="271801"/>
                                  <a:pt x="1726496" y="273740"/>
                                  <a:pt x="1714116" y="273773"/>
                                </a:cubicBezTo>
                                <a:cubicBezTo>
                                  <a:pt x="1694836" y="273773"/>
                                  <a:pt x="1675232" y="268259"/>
                                  <a:pt x="1655464" y="268492"/>
                                </a:cubicBezTo>
                                <a:cubicBezTo>
                                  <a:pt x="1638011" y="268820"/>
                                  <a:pt x="1620598" y="266938"/>
                                  <a:pt x="1603834" y="262911"/>
                                </a:cubicBezTo>
                                <a:cubicBezTo>
                                  <a:pt x="1582443" y="257362"/>
                                  <a:pt x="1577572" y="252884"/>
                                  <a:pt x="1554355" y="254455"/>
                                </a:cubicBezTo>
                                <a:cubicBezTo>
                                  <a:pt x="1522452" y="256761"/>
                                  <a:pt x="1484784" y="248505"/>
                                  <a:pt x="1452881" y="251112"/>
                                </a:cubicBezTo>
                                <a:cubicBezTo>
                                  <a:pt x="1442449" y="251914"/>
                                  <a:pt x="1438674" y="255591"/>
                                  <a:pt x="1427309" y="255190"/>
                                </a:cubicBezTo>
                                <a:cubicBezTo>
                                  <a:pt x="1410546" y="254622"/>
                                  <a:pt x="1411966" y="261106"/>
                                  <a:pt x="1397394" y="261373"/>
                                </a:cubicBezTo>
                                <a:cubicBezTo>
                                  <a:pt x="1385217" y="261607"/>
                                  <a:pt x="1364923" y="249007"/>
                                  <a:pt x="1361878" y="259301"/>
                                </a:cubicBezTo>
                                <a:cubicBezTo>
                                  <a:pt x="1360296" y="265150"/>
                                  <a:pt x="1378764" y="271701"/>
                                  <a:pt x="1360417" y="272336"/>
                                </a:cubicBezTo>
                                <a:cubicBezTo>
                                  <a:pt x="1340975" y="273038"/>
                                  <a:pt x="1338824" y="278720"/>
                                  <a:pt x="1331355" y="286174"/>
                                </a:cubicBezTo>
                                <a:cubicBezTo>
                                  <a:pt x="1325916" y="291588"/>
                                  <a:pt x="1296854" y="284837"/>
                                  <a:pt x="1286707" y="287912"/>
                                </a:cubicBezTo>
                                <a:cubicBezTo>
                                  <a:pt x="1267710" y="293660"/>
                                  <a:pt x="1295677" y="296000"/>
                                  <a:pt x="1298275" y="299510"/>
                                </a:cubicBezTo>
                                <a:cubicBezTo>
                                  <a:pt x="1295677" y="296167"/>
                                  <a:pt x="1279076" y="307865"/>
                                  <a:pt x="1279076" y="307899"/>
                                </a:cubicBezTo>
                                <a:cubicBezTo>
                                  <a:pt x="1274083" y="311241"/>
                                  <a:pt x="1246604" y="304055"/>
                                  <a:pt x="1246604" y="308567"/>
                                </a:cubicBezTo>
                                <a:cubicBezTo>
                                  <a:pt x="1246888" y="313614"/>
                                  <a:pt x="1247010" y="303387"/>
                                  <a:pt x="1246969" y="308501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accent3"/>
                          </a:solidFill>
                          <a:ln w="3021" cap="flat">
                            <a:solidFill>
                              <a:schemeClr val="accent3">
                                <a:alpha val="44000"/>
                              </a:schemeClr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GB" dirty="0"/>
                          </a:p>
                        </p:txBody>
                      </p:sp>
                    </p:grpSp>
                  </p:grpSp>
                </p:grpSp>
                <p:sp>
                  <p:nvSpPr>
                    <p:cNvPr id="260" name="Freeform: Shape 259">
                      <a:extLst>
                        <a:ext uri="{FF2B5EF4-FFF2-40B4-BE49-F238E27FC236}">
                          <a16:creationId xmlns:a16="http://schemas.microsoft.com/office/drawing/2014/main" id="{D1F5AF92-CDAC-4937-AA20-3A75FF1B06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00955" y="4465021"/>
                      <a:ext cx="178579" cy="26976"/>
                    </a:xfrm>
                    <a:custGeom>
                      <a:avLst/>
                      <a:gdLst>
                        <a:gd name="connsiteX0" fmla="*/ 136343 w 183284"/>
                        <a:gd name="connsiteY0" fmla="*/ 4659 h 36936"/>
                        <a:gd name="connsiteX1" fmla="*/ 117510 w 183284"/>
                        <a:gd name="connsiteY1" fmla="*/ 2420 h 36936"/>
                        <a:gd name="connsiteX2" fmla="*/ 88772 w 183284"/>
                        <a:gd name="connsiteY2" fmla="*/ 1518 h 36936"/>
                        <a:gd name="connsiteX3" fmla="*/ 45910 w 183284"/>
                        <a:gd name="connsiteY3" fmla="*/ 3155 h 36936"/>
                        <a:gd name="connsiteX4" fmla="*/ 27685 w 183284"/>
                        <a:gd name="connsiteY4" fmla="*/ 11545 h 36936"/>
                        <a:gd name="connsiteX5" fmla="*/ 3331 w 183284"/>
                        <a:gd name="connsiteY5" fmla="*/ 15388 h 36936"/>
                        <a:gd name="connsiteX6" fmla="*/ 29389 w 183284"/>
                        <a:gd name="connsiteY6" fmla="*/ 36011 h 36936"/>
                        <a:gd name="connsiteX7" fmla="*/ 59223 w 183284"/>
                        <a:gd name="connsiteY7" fmla="*/ 32468 h 36936"/>
                        <a:gd name="connsiteX8" fmla="*/ 95753 w 183284"/>
                        <a:gd name="connsiteY8" fmla="*/ 28791 h 36936"/>
                        <a:gd name="connsiteX9" fmla="*/ 126399 w 183284"/>
                        <a:gd name="connsiteY9" fmla="*/ 20469 h 36936"/>
                        <a:gd name="connsiteX10" fmla="*/ 173767 w 183284"/>
                        <a:gd name="connsiteY10" fmla="*/ 30730 h 36936"/>
                        <a:gd name="connsiteX11" fmla="*/ 183225 w 183284"/>
                        <a:gd name="connsiteY11" fmla="*/ 12180 h 36936"/>
                        <a:gd name="connsiteX12" fmla="*/ 136141 w 183284"/>
                        <a:gd name="connsiteY12" fmla="*/ 4659 h 36936"/>
                        <a:gd name="connsiteX13" fmla="*/ 136343 w 183284"/>
                        <a:gd name="connsiteY13" fmla="*/ 4659 h 3693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183284" h="36936">
                          <a:moveTo>
                            <a:pt x="136343" y="4659"/>
                          </a:moveTo>
                          <a:cubicBezTo>
                            <a:pt x="129443" y="4659"/>
                            <a:pt x="124166" y="2888"/>
                            <a:pt x="117510" y="2420"/>
                          </a:cubicBezTo>
                          <a:cubicBezTo>
                            <a:pt x="107281" y="1718"/>
                            <a:pt x="99366" y="3623"/>
                            <a:pt x="88772" y="1518"/>
                          </a:cubicBezTo>
                          <a:cubicBezTo>
                            <a:pt x="75418" y="-1123"/>
                            <a:pt x="55854" y="-1257"/>
                            <a:pt x="45910" y="3155"/>
                          </a:cubicBezTo>
                          <a:cubicBezTo>
                            <a:pt x="39455" y="5996"/>
                            <a:pt x="35681" y="9840"/>
                            <a:pt x="27685" y="11545"/>
                          </a:cubicBezTo>
                          <a:cubicBezTo>
                            <a:pt x="20703" y="13216"/>
                            <a:pt x="8607" y="12246"/>
                            <a:pt x="3331" y="15388"/>
                          </a:cubicBezTo>
                          <a:cubicBezTo>
                            <a:pt x="-8846" y="23042"/>
                            <a:pt x="14574" y="34640"/>
                            <a:pt x="29389" y="36011"/>
                          </a:cubicBezTo>
                          <a:cubicBezTo>
                            <a:pt x="42743" y="37214"/>
                            <a:pt x="50618" y="36813"/>
                            <a:pt x="59223" y="32468"/>
                          </a:cubicBezTo>
                          <a:cubicBezTo>
                            <a:pt x="68762" y="27655"/>
                            <a:pt x="84876" y="31097"/>
                            <a:pt x="95753" y="28791"/>
                          </a:cubicBezTo>
                          <a:cubicBezTo>
                            <a:pt x="105049" y="26819"/>
                            <a:pt x="116048" y="18931"/>
                            <a:pt x="126399" y="20469"/>
                          </a:cubicBezTo>
                          <a:cubicBezTo>
                            <a:pt x="143406" y="22942"/>
                            <a:pt x="157085" y="28123"/>
                            <a:pt x="173767" y="30730"/>
                          </a:cubicBezTo>
                          <a:cubicBezTo>
                            <a:pt x="158871" y="23142"/>
                            <a:pt x="176162" y="18263"/>
                            <a:pt x="183225" y="12180"/>
                          </a:cubicBezTo>
                          <a:cubicBezTo>
                            <a:pt x="166989" y="10308"/>
                            <a:pt x="152904" y="4325"/>
                            <a:pt x="136141" y="4659"/>
                          </a:cubicBezTo>
                          <a:cubicBezTo>
                            <a:pt x="125425" y="4826"/>
                            <a:pt x="147181" y="4459"/>
                            <a:pt x="136343" y="4659"/>
                          </a:cubicBez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021" cap="flat">
                      <a:solidFill>
                        <a:schemeClr val="accent3">
                          <a:alpha val="44000"/>
                        </a:schemeClr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258" name="Freeform: Shape 257">
                    <a:extLst>
                      <a:ext uri="{FF2B5EF4-FFF2-40B4-BE49-F238E27FC236}">
                        <a16:creationId xmlns:a16="http://schemas.microsoft.com/office/drawing/2014/main" id="{4C3A9CEF-13E9-4526-8F70-FEBBCE64C8F0}"/>
                      </a:ext>
                    </a:extLst>
                  </p:cNvPr>
                  <p:cNvSpPr/>
                  <p:nvPr/>
                </p:nvSpPr>
                <p:spPr>
                  <a:xfrm>
                    <a:off x="5960781" y="4373543"/>
                    <a:ext cx="285432" cy="123807"/>
                  </a:xfrm>
                  <a:custGeom>
                    <a:avLst/>
                    <a:gdLst>
                      <a:gd name="connsiteX0" fmla="*/ 35907 w 292952"/>
                      <a:gd name="connsiteY0" fmla="*/ 44750 h 169520"/>
                      <a:gd name="connsiteX1" fmla="*/ 26693 w 292952"/>
                      <a:gd name="connsiteY1" fmla="*/ 57083 h 169520"/>
                      <a:gd name="connsiteX2" fmla="*/ 18575 w 292952"/>
                      <a:gd name="connsiteY2" fmla="*/ 71255 h 169520"/>
                      <a:gd name="connsiteX3" fmla="*/ 5139 w 292952"/>
                      <a:gd name="connsiteY3" fmla="*/ 72425 h 169520"/>
                      <a:gd name="connsiteX4" fmla="*/ 3394 w 292952"/>
                      <a:gd name="connsiteY4" fmla="*/ 80513 h 169520"/>
                      <a:gd name="connsiteX5" fmla="*/ 7697 w 292952"/>
                      <a:gd name="connsiteY5" fmla="*/ 102372 h 169520"/>
                      <a:gd name="connsiteX6" fmla="*/ 6276 w 292952"/>
                      <a:gd name="connsiteY6" fmla="*/ 114371 h 169520"/>
                      <a:gd name="connsiteX7" fmla="*/ 12973 w 292952"/>
                      <a:gd name="connsiteY7" fmla="*/ 125267 h 169520"/>
                      <a:gd name="connsiteX8" fmla="*/ 41386 w 292952"/>
                      <a:gd name="connsiteY8" fmla="*/ 132152 h 169520"/>
                      <a:gd name="connsiteX9" fmla="*/ 65740 w 292952"/>
                      <a:gd name="connsiteY9" fmla="*/ 140575 h 169520"/>
                      <a:gd name="connsiteX10" fmla="*/ 50235 w 292952"/>
                      <a:gd name="connsiteY10" fmla="*/ 165075 h 169520"/>
                      <a:gd name="connsiteX11" fmla="*/ 112946 w 292952"/>
                      <a:gd name="connsiteY11" fmla="*/ 166278 h 169520"/>
                      <a:gd name="connsiteX12" fmla="*/ 132794 w 292952"/>
                      <a:gd name="connsiteY12" fmla="*/ 168450 h 169520"/>
                      <a:gd name="connsiteX13" fmla="*/ 156336 w 292952"/>
                      <a:gd name="connsiteY13" fmla="*/ 166011 h 169520"/>
                      <a:gd name="connsiteX14" fmla="*/ 179716 w 292952"/>
                      <a:gd name="connsiteY14" fmla="*/ 166211 h 169520"/>
                      <a:gd name="connsiteX15" fmla="*/ 209225 w 292952"/>
                      <a:gd name="connsiteY15" fmla="*/ 162568 h 169520"/>
                      <a:gd name="connsiteX16" fmla="*/ 223350 w 292952"/>
                      <a:gd name="connsiteY16" fmla="*/ 164373 h 169520"/>
                      <a:gd name="connsiteX17" fmla="*/ 226841 w 292952"/>
                      <a:gd name="connsiteY17" fmla="*/ 152073 h 169520"/>
                      <a:gd name="connsiteX18" fmla="*/ 257364 w 292952"/>
                      <a:gd name="connsiteY18" fmla="*/ 141444 h 169520"/>
                      <a:gd name="connsiteX19" fmla="*/ 223553 w 292952"/>
                      <a:gd name="connsiteY19" fmla="*/ 126704 h 169520"/>
                      <a:gd name="connsiteX20" fmla="*/ 210605 w 292952"/>
                      <a:gd name="connsiteY20" fmla="*/ 103308 h 169520"/>
                      <a:gd name="connsiteX21" fmla="*/ 245065 w 292952"/>
                      <a:gd name="connsiteY21" fmla="*/ 96623 h 169520"/>
                      <a:gd name="connsiteX22" fmla="*/ 272220 w 292952"/>
                      <a:gd name="connsiteY22" fmla="*/ 90473 h 169520"/>
                      <a:gd name="connsiteX23" fmla="*/ 289836 w 292952"/>
                      <a:gd name="connsiteY23" fmla="*/ 90473 h 169520"/>
                      <a:gd name="connsiteX24" fmla="*/ 285452 w 292952"/>
                      <a:gd name="connsiteY24" fmla="*/ 75600 h 169520"/>
                      <a:gd name="connsiteX25" fmla="*/ 271489 w 292952"/>
                      <a:gd name="connsiteY25" fmla="*/ 49797 h 169520"/>
                      <a:gd name="connsiteX26" fmla="*/ 270393 w 292952"/>
                      <a:gd name="connsiteY26" fmla="*/ 25197 h 169520"/>
                      <a:gd name="connsiteX27" fmla="*/ 256146 w 292952"/>
                      <a:gd name="connsiteY27" fmla="*/ 15638 h 169520"/>
                      <a:gd name="connsiteX28" fmla="*/ 247744 w 292952"/>
                      <a:gd name="connsiteY28" fmla="*/ 10658 h 169520"/>
                      <a:gd name="connsiteX29" fmla="*/ 221239 w 292952"/>
                      <a:gd name="connsiteY29" fmla="*/ 9254 h 169520"/>
                      <a:gd name="connsiteX30" fmla="*/ 166037 w 292952"/>
                      <a:gd name="connsiteY30" fmla="*/ 19582 h 169520"/>
                      <a:gd name="connsiteX31" fmla="*/ 169000 w 292952"/>
                      <a:gd name="connsiteY31" fmla="*/ 9555 h 169520"/>
                      <a:gd name="connsiteX32" fmla="*/ 140222 w 292952"/>
                      <a:gd name="connsiteY32" fmla="*/ 11226 h 169520"/>
                      <a:gd name="connsiteX33" fmla="*/ 120171 w 292952"/>
                      <a:gd name="connsiteY33" fmla="*/ 1199 h 169520"/>
                      <a:gd name="connsiteX34" fmla="*/ 84776 w 292952"/>
                      <a:gd name="connsiteY34" fmla="*/ -339 h 169520"/>
                      <a:gd name="connsiteX35" fmla="*/ 99714 w 292952"/>
                      <a:gd name="connsiteY35" fmla="*/ 22256 h 169520"/>
                      <a:gd name="connsiteX36" fmla="*/ 83478 w 292952"/>
                      <a:gd name="connsiteY36" fmla="*/ 30712 h 169520"/>
                      <a:gd name="connsiteX37" fmla="*/ 45973 w 292952"/>
                      <a:gd name="connsiteY37" fmla="*/ 27370 h 169520"/>
                      <a:gd name="connsiteX38" fmla="*/ 36150 w 292952"/>
                      <a:gd name="connsiteY38" fmla="*/ 45151 h 169520"/>
                      <a:gd name="connsiteX39" fmla="*/ 35907 w 292952"/>
                      <a:gd name="connsiteY39" fmla="*/ 44750 h 1695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92952" h="169520">
                        <a:moveTo>
                          <a:pt x="35907" y="44750"/>
                        </a:moveTo>
                        <a:cubicBezTo>
                          <a:pt x="26693" y="52069"/>
                          <a:pt x="14394" y="49697"/>
                          <a:pt x="26693" y="57083"/>
                        </a:cubicBezTo>
                        <a:cubicBezTo>
                          <a:pt x="31807" y="60158"/>
                          <a:pt x="26206" y="69416"/>
                          <a:pt x="18575" y="71255"/>
                        </a:cubicBezTo>
                        <a:cubicBezTo>
                          <a:pt x="14191" y="72100"/>
                          <a:pt x="9645" y="72495"/>
                          <a:pt x="5139" y="72425"/>
                        </a:cubicBezTo>
                        <a:cubicBezTo>
                          <a:pt x="1649" y="72425"/>
                          <a:pt x="4206" y="79510"/>
                          <a:pt x="3394" y="80513"/>
                        </a:cubicBezTo>
                        <a:cubicBezTo>
                          <a:pt x="-3222" y="88835"/>
                          <a:pt x="471" y="95253"/>
                          <a:pt x="7697" y="102372"/>
                        </a:cubicBezTo>
                        <a:cubicBezTo>
                          <a:pt x="12527" y="107118"/>
                          <a:pt x="-705" y="108756"/>
                          <a:pt x="6276" y="114371"/>
                        </a:cubicBezTo>
                        <a:cubicBezTo>
                          <a:pt x="9889" y="117296"/>
                          <a:pt x="12243" y="121126"/>
                          <a:pt x="12973" y="125267"/>
                        </a:cubicBezTo>
                        <a:cubicBezTo>
                          <a:pt x="24460" y="126838"/>
                          <a:pt x="28032" y="132320"/>
                          <a:pt x="41386" y="132152"/>
                        </a:cubicBezTo>
                        <a:cubicBezTo>
                          <a:pt x="47718" y="132152"/>
                          <a:pt x="76902" y="135495"/>
                          <a:pt x="65740" y="140575"/>
                        </a:cubicBezTo>
                        <a:cubicBezTo>
                          <a:pt x="51290" y="147260"/>
                          <a:pt x="54781" y="156552"/>
                          <a:pt x="50235" y="165075"/>
                        </a:cubicBezTo>
                        <a:cubicBezTo>
                          <a:pt x="73452" y="165877"/>
                          <a:pt x="90824" y="160897"/>
                          <a:pt x="112946" y="166278"/>
                        </a:cubicBezTo>
                        <a:cubicBezTo>
                          <a:pt x="122119" y="168517"/>
                          <a:pt x="122688" y="164941"/>
                          <a:pt x="132794" y="168450"/>
                        </a:cubicBezTo>
                        <a:cubicBezTo>
                          <a:pt x="140912" y="171325"/>
                          <a:pt x="146067" y="164707"/>
                          <a:pt x="156336" y="166011"/>
                        </a:cubicBezTo>
                        <a:cubicBezTo>
                          <a:pt x="164454" y="167080"/>
                          <a:pt x="171923" y="170289"/>
                          <a:pt x="179716" y="166211"/>
                        </a:cubicBezTo>
                        <a:cubicBezTo>
                          <a:pt x="186210" y="162869"/>
                          <a:pt x="200660" y="162267"/>
                          <a:pt x="209225" y="162568"/>
                        </a:cubicBezTo>
                        <a:cubicBezTo>
                          <a:pt x="214136" y="162568"/>
                          <a:pt x="218357" y="164707"/>
                          <a:pt x="223350" y="164373"/>
                        </a:cubicBezTo>
                        <a:cubicBezTo>
                          <a:pt x="232199" y="163771"/>
                          <a:pt x="222741" y="154914"/>
                          <a:pt x="226841" y="152073"/>
                        </a:cubicBezTo>
                        <a:cubicBezTo>
                          <a:pt x="233741" y="147293"/>
                          <a:pt x="250667" y="146090"/>
                          <a:pt x="257364" y="141444"/>
                        </a:cubicBezTo>
                        <a:cubicBezTo>
                          <a:pt x="261423" y="138737"/>
                          <a:pt x="227774" y="128075"/>
                          <a:pt x="223553" y="126704"/>
                        </a:cubicBezTo>
                        <a:cubicBezTo>
                          <a:pt x="217627" y="124465"/>
                          <a:pt x="203501" y="103976"/>
                          <a:pt x="210605" y="103308"/>
                        </a:cubicBezTo>
                        <a:cubicBezTo>
                          <a:pt x="222051" y="101971"/>
                          <a:pt x="236014" y="100868"/>
                          <a:pt x="245065" y="96623"/>
                        </a:cubicBezTo>
                        <a:cubicBezTo>
                          <a:pt x="252696" y="93114"/>
                          <a:pt x="265360" y="93983"/>
                          <a:pt x="272220" y="90473"/>
                        </a:cubicBezTo>
                        <a:cubicBezTo>
                          <a:pt x="276969" y="88100"/>
                          <a:pt x="286264" y="93013"/>
                          <a:pt x="289836" y="90473"/>
                        </a:cubicBezTo>
                        <a:cubicBezTo>
                          <a:pt x="297548" y="84724"/>
                          <a:pt x="288618" y="80981"/>
                          <a:pt x="285452" y="75600"/>
                        </a:cubicBezTo>
                        <a:cubicBezTo>
                          <a:pt x="282286" y="70219"/>
                          <a:pt x="283504" y="53473"/>
                          <a:pt x="271489" y="49797"/>
                        </a:cubicBezTo>
                        <a:cubicBezTo>
                          <a:pt x="262762" y="47123"/>
                          <a:pt x="274980" y="31648"/>
                          <a:pt x="270393" y="25197"/>
                        </a:cubicBezTo>
                        <a:cubicBezTo>
                          <a:pt x="267512" y="21052"/>
                          <a:pt x="266741" y="16674"/>
                          <a:pt x="256146" y="15638"/>
                        </a:cubicBezTo>
                        <a:cubicBezTo>
                          <a:pt x="246486" y="14702"/>
                          <a:pt x="240276" y="15638"/>
                          <a:pt x="247744" y="10658"/>
                        </a:cubicBezTo>
                        <a:cubicBezTo>
                          <a:pt x="263615" y="-71"/>
                          <a:pt x="227450" y="10323"/>
                          <a:pt x="221239" y="9254"/>
                        </a:cubicBezTo>
                        <a:cubicBezTo>
                          <a:pt x="203258" y="6079"/>
                          <a:pt x="180893" y="29007"/>
                          <a:pt x="166037" y="19582"/>
                        </a:cubicBezTo>
                        <a:cubicBezTo>
                          <a:pt x="160395" y="16039"/>
                          <a:pt x="172897" y="11426"/>
                          <a:pt x="169000" y="9555"/>
                        </a:cubicBezTo>
                        <a:cubicBezTo>
                          <a:pt x="165104" y="7683"/>
                          <a:pt x="146757" y="12028"/>
                          <a:pt x="140222" y="11226"/>
                        </a:cubicBezTo>
                        <a:cubicBezTo>
                          <a:pt x="124351" y="9221"/>
                          <a:pt x="136163" y="931"/>
                          <a:pt x="120171" y="1199"/>
                        </a:cubicBezTo>
                        <a:cubicBezTo>
                          <a:pt x="108684" y="1399"/>
                          <a:pt x="96507" y="-305"/>
                          <a:pt x="84776" y="-339"/>
                        </a:cubicBezTo>
                        <a:cubicBezTo>
                          <a:pt x="93625" y="6145"/>
                          <a:pt x="91839" y="14635"/>
                          <a:pt x="99714" y="22256"/>
                        </a:cubicBezTo>
                        <a:cubicBezTo>
                          <a:pt x="102595" y="25063"/>
                          <a:pt x="87821" y="29843"/>
                          <a:pt x="83478" y="30712"/>
                        </a:cubicBezTo>
                        <a:cubicBezTo>
                          <a:pt x="72721" y="32751"/>
                          <a:pt x="58393" y="26300"/>
                          <a:pt x="45973" y="27370"/>
                        </a:cubicBezTo>
                        <a:cubicBezTo>
                          <a:pt x="24582" y="29074"/>
                          <a:pt x="44105" y="38767"/>
                          <a:pt x="36150" y="45151"/>
                        </a:cubicBezTo>
                        <a:cubicBezTo>
                          <a:pt x="28195" y="51535"/>
                          <a:pt x="38707" y="42510"/>
                          <a:pt x="35907" y="44750"/>
                        </a:cubicBezTo>
                        <a:close/>
                      </a:path>
                    </a:pathLst>
                  </a:custGeom>
                  <a:solidFill>
                    <a:schemeClr val="accent3"/>
                  </a:solidFill>
                  <a:ln w="3021" cap="flat">
                    <a:solidFill>
                      <a:schemeClr val="accent3">
                        <a:alpha val="44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</p:grp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F7DFFC24-9140-4468-8E16-3FAACEE07D91}"/>
                </a:ext>
              </a:extLst>
            </p:cNvPr>
            <p:cNvSpPr/>
            <p:nvPr/>
          </p:nvSpPr>
          <p:spPr>
            <a:xfrm>
              <a:off x="6076057" y="4470871"/>
              <a:ext cx="231593" cy="41694"/>
            </a:xfrm>
            <a:custGeom>
              <a:avLst/>
              <a:gdLst>
                <a:gd name="connsiteX0" fmla="*/ 203062 w 237694"/>
                <a:gd name="connsiteY0" fmla="*/ 5372 h 57088"/>
                <a:gd name="connsiteX1" fmla="*/ 172173 w 237694"/>
                <a:gd name="connsiteY1" fmla="*/ 1228 h 57088"/>
                <a:gd name="connsiteX2" fmla="*/ 138768 w 237694"/>
                <a:gd name="connsiteY2" fmla="*/ 8213 h 57088"/>
                <a:gd name="connsiteX3" fmla="*/ 111613 w 237694"/>
                <a:gd name="connsiteY3" fmla="*/ 17438 h 57088"/>
                <a:gd name="connsiteX4" fmla="*/ 101425 w 237694"/>
                <a:gd name="connsiteY4" fmla="*/ 30808 h 57088"/>
                <a:gd name="connsiteX5" fmla="*/ 65462 w 237694"/>
                <a:gd name="connsiteY5" fmla="*/ 31443 h 57088"/>
                <a:gd name="connsiteX6" fmla="*/ 48374 w 237694"/>
                <a:gd name="connsiteY6" fmla="*/ 34785 h 57088"/>
                <a:gd name="connsiteX7" fmla="*/ 27146 w 237694"/>
                <a:gd name="connsiteY7" fmla="*/ 33114 h 57088"/>
                <a:gd name="connsiteX8" fmla="*/ 14401 w 237694"/>
                <a:gd name="connsiteY8" fmla="*/ 35153 h 57088"/>
                <a:gd name="connsiteX9" fmla="*/ -50 w 237694"/>
                <a:gd name="connsiteY9" fmla="*/ 36724 h 57088"/>
                <a:gd name="connsiteX10" fmla="*/ 31083 w 237694"/>
                <a:gd name="connsiteY10" fmla="*/ 46751 h 57088"/>
                <a:gd name="connsiteX11" fmla="*/ 87909 w 237694"/>
                <a:gd name="connsiteY11" fmla="*/ 48890 h 57088"/>
                <a:gd name="connsiteX12" fmla="*/ 136007 w 237694"/>
                <a:gd name="connsiteY12" fmla="*/ 54472 h 57088"/>
                <a:gd name="connsiteX13" fmla="*/ 159590 w 237694"/>
                <a:gd name="connsiteY13" fmla="*/ 56243 h 57088"/>
                <a:gd name="connsiteX14" fmla="*/ 183944 w 237694"/>
                <a:gd name="connsiteY14" fmla="*/ 51831 h 57088"/>
                <a:gd name="connsiteX15" fmla="*/ 203833 w 237694"/>
                <a:gd name="connsiteY15" fmla="*/ 48790 h 57088"/>
                <a:gd name="connsiteX16" fmla="*/ 211951 w 237694"/>
                <a:gd name="connsiteY16" fmla="*/ 44545 h 57088"/>
                <a:gd name="connsiteX17" fmla="*/ 226523 w 237694"/>
                <a:gd name="connsiteY17" fmla="*/ 30841 h 57088"/>
                <a:gd name="connsiteX18" fmla="*/ 232854 w 237694"/>
                <a:gd name="connsiteY18" fmla="*/ 14530 h 57088"/>
                <a:gd name="connsiteX19" fmla="*/ 226198 w 237694"/>
                <a:gd name="connsiteY19" fmla="*/ 7846 h 57088"/>
                <a:gd name="connsiteX20" fmla="*/ 203102 w 237694"/>
                <a:gd name="connsiteY20" fmla="*/ 5439 h 57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694" h="57088">
                  <a:moveTo>
                    <a:pt x="203062" y="5372"/>
                  </a:moveTo>
                  <a:cubicBezTo>
                    <a:pt x="199003" y="2866"/>
                    <a:pt x="174649" y="-3184"/>
                    <a:pt x="172173" y="1228"/>
                  </a:cubicBezTo>
                  <a:cubicBezTo>
                    <a:pt x="167261" y="10286"/>
                    <a:pt x="155369" y="10720"/>
                    <a:pt x="138768" y="8213"/>
                  </a:cubicBezTo>
                  <a:cubicBezTo>
                    <a:pt x="133694" y="11556"/>
                    <a:pt x="119122" y="15232"/>
                    <a:pt x="111613" y="17438"/>
                  </a:cubicBezTo>
                  <a:cubicBezTo>
                    <a:pt x="101790" y="20313"/>
                    <a:pt x="115672" y="32646"/>
                    <a:pt x="101425" y="30808"/>
                  </a:cubicBezTo>
                  <a:cubicBezTo>
                    <a:pt x="88842" y="29337"/>
                    <a:pt x="78167" y="28435"/>
                    <a:pt x="65462" y="31443"/>
                  </a:cubicBezTo>
                  <a:cubicBezTo>
                    <a:pt x="59211" y="32913"/>
                    <a:pt x="56127" y="35520"/>
                    <a:pt x="48374" y="34785"/>
                  </a:cubicBezTo>
                  <a:cubicBezTo>
                    <a:pt x="40621" y="34050"/>
                    <a:pt x="35061" y="31008"/>
                    <a:pt x="27146" y="33114"/>
                  </a:cubicBezTo>
                  <a:cubicBezTo>
                    <a:pt x="21301" y="34685"/>
                    <a:pt x="21706" y="37693"/>
                    <a:pt x="14401" y="35153"/>
                  </a:cubicBezTo>
                  <a:cubicBezTo>
                    <a:pt x="8312" y="33014"/>
                    <a:pt x="154" y="30741"/>
                    <a:pt x="-50" y="36724"/>
                  </a:cubicBezTo>
                  <a:cubicBezTo>
                    <a:pt x="-537" y="48856"/>
                    <a:pt x="16958" y="43408"/>
                    <a:pt x="31083" y="46751"/>
                  </a:cubicBezTo>
                  <a:cubicBezTo>
                    <a:pt x="51378" y="51230"/>
                    <a:pt x="76746" y="35420"/>
                    <a:pt x="87909" y="48890"/>
                  </a:cubicBezTo>
                  <a:cubicBezTo>
                    <a:pt x="92536" y="54472"/>
                    <a:pt x="125901" y="53201"/>
                    <a:pt x="136007" y="54472"/>
                  </a:cubicBezTo>
                  <a:cubicBezTo>
                    <a:pt x="142705" y="55307"/>
                    <a:pt x="152730" y="57814"/>
                    <a:pt x="159590" y="56243"/>
                  </a:cubicBezTo>
                  <a:cubicBezTo>
                    <a:pt x="167708" y="54438"/>
                    <a:pt x="174568" y="51697"/>
                    <a:pt x="183944" y="51831"/>
                  </a:cubicBezTo>
                  <a:cubicBezTo>
                    <a:pt x="190722" y="51778"/>
                    <a:pt x="197460" y="50748"/>
                    <a:pt x="203833" y="48790"/>
                  </a:cubicBezTo>
                  <a:cubicBezTo>
                    <a:pt x="207445" y="47854"/>
                    <a:pt x="207648" y="44779"/>
                    <a:pt x="211951" y="44545"/>
                  </a:cubicBezTo>
                  <a:cubicBezTo>
                    <a:pt x="223803" y="43910"/>
                    <a:pt x="209718" y="30373"/>
                    <a:pt x="226523" y="30841"/>
                  </a:cubicBezTo>
                  <a:cubicBezTo>
                    <a:pt x="244382" y="31343"/>
                    <a:pt x="236142" y="18541"/>
                    <a:pt x="232854" y="14530"/>
                  </a:cubicBezTo>
                  <a:cubicBezTo>
                    <a:pt x="231678" y="13060"/>
                    <a:pt x="229851" y="7344"/>
                    <a:pt x="226198" y="7846"/>
                  </a:cubicBezTo>
                  <a:cubicBezTo>
                    <a:pt x="218567" y="8915"/>
                    <a:pt x="208826" y="8949"/>
                    <a:pt x="203102" y="5439"/>
                  </a:cubicBezTo>
                  <a:close/>
                </a:path>
              </a:pathLst>
            </a:custGeom>
            <a:solidFill>
              <a:schemeClr val="accent3"/>
            </a:solidFill>
            <a:ln w="3021" cap="flat">
              <a:solidFill>
                <a:schemeClr val="accent3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4BB88A66-DB12-4C63-B337-C4EA9CE9CE4C}"/>
                </a:ext>
              </a:extLst>
            </p:cNvPr>
            <p:cNvSpPr/>
            <p:nvPr/>
          </p:nvSpPr>
          <p:spPr>
            <a:xfrm>
              <a:off x="4920851" y="4185207"/>
              <a:ext cx="359966" cy="71367"/>
            </a:xfrm>
            <a:custGeom>
              <a:avLst/>
              <a:gdLst>
                <a:gd name="connsiteX0" fmla="*/ 316361 w 369449"/>
                <a:gd name="connsiteY0" fmla="*/ 58298 h 97718"/>
                <a:gd name="connsiteX1" fmla="*/ 339862 w 369449"/>
                <a:gd name="connsiteY1" fmla="*/ 45564 h 97718"/>
                <a:gd name="connsiteX2" fmla="*/ 367585 w 369449"/>
                <a:gd name="connsiteY2" fmla="*/ 30155 h 97718"/>
                <a:gd name="connsiteX3" fmla="*/ 339172 w 369449"/>
                <a:gd name="connsiteY3" fmla="*/ 17655 h 97718"/>
                <a:gd name="connsiteX4" fmla="*/ 320095 w 369449"/>
                <a:gd name="connsiteY4" fmla="*/ 1144 h 97718"/>
                <a:gd name="connsiteX5" fmla="*/ 281819 w 369449"/>
                <a:gd name="connsiteY5" fmla="*/ 2146 h 97718"/>
                <a:gd name="connsiteX6" fmla="*/ 259292 w 369449"/>
                <a:gd name="connsiteY6" fmla="*/ 7528 h 97718"/>
                <a:gd name="connsiteX7" fmla="*/ 238753 w 369449"/>
                <a:gd name="connsiteY7" fmla="*/ 12942 h 97718"/>
                <a:gd name="connsiteX8" fmla="*/ 205064 w 369449"/>
                <a:gd name="connsiteY8" fmla="*/ 18123 h 97718"/>
                <a:gd name="connsiteX9" fmla="*/ 168127 w 369449"/>
                <a:gd name="connsiteY9" fmla="*/ 21465 h 97718"/>
                <a:gd name="connsiteX10" fmla="*/ 150227 w 369449"/>
                <a:gd name="connsiteY10" fmla="*/ 25276 h 97718"/>
                <a:gd name="connsiteX11" fmla="*/ 138050 w 369449"/>
                <a:gd name="connsiteY11" fmla="*/ 35303 h 97718"/>
                <a:gd name="connsiteX12" fmla="*/ 109921 w 369449"/>
                <a:gd name="connsiteY12" fmla="*/ 47937 h 97718"/>
                <a:gd name="connsiteX13" fmla="*/ 95512 w 369449"/>
                <a:gd name="connsiteY13" fmla="*/ 37509 h 97718"/>
                <a:gd name="connsiteX14" fmla="*/ 86054 w 369449"/>
                <a:gd name="connsiteY14" fmla="*/ 28685 h 97718"/>
                <a:gd name="connsiteX15" fmla="*/ 46399 w 369449"/>
                <a:gd name="connsiteY15" fmla="*/ 24407 h 97718"/>
                <a:gd name="connsiteX16" fmla="*/ 52852 w 369449"/>
                <a:gd name="connsiteY16" fmla="*/ 35002 h 97718"/>
                <a:gd name="connsiteX17" fmla="*/ 25170 w 369449"/>
                <a:gd name="connsiteY17" fmla="*/ 35002 h 97718"/>
                <a:gd name="connsiteX18" fmla="*/ 1222 w 369449"/>
                <a:gd name="connsiteY18" fmla="*/ 56928 h 97718"/>
                <a:gd name="connsiteX19" fmla="*/ 69494 w 369449"/>
                <a:gd name="connsiteY19" fmla="*/ 56393 h 97718"/>
                <a:gd name="connsiteX20" fmla="*/ 63081 w 369449"/>
                <a:gd name="connsiteY20" fmla="*/ 64749 h 97718"/>
                <a:gd name="connsiteX21" fmla="*/ 14373 w 369449"/>
                <a:gd name="connsiteY21" fmla="*/ 75879 h 97718"/>
                <a:gd name="connsiteX22" fmla="*/ 46439 w 369449"/>
                <a:gd name="connsiteY22" fmla="*/ 71901 h 97718"/>
                <a:gd name="connsiteX23" fmla="*/ 67140 w 369449"/>
                <a:gd name="connsiteY23" fmla="*/ 75411 h 97718"/>
                <a:gd name="connsiteX24" fmla="*/ 86542 w 369449"/>
                <a:gd name="connsiteY24" fmla="*/ 78753 h 97718"/>
                <a:gd name="connsiteX25" fmla="*/ 69981 w 369449"/>
                <a:gd name="connsiteY25" fmla="*/ 90351 h 97718"/>
                <a:gd name="connsiteX26" fmla="*/ 76841 w 369449"/>
                <a:gd name="connsiteY26" fmla="*/ 97036 h 97718"/>
                <a:gd name="connsiteX27" fmla="*/ 136711 w 369449"/>
                <a:gd name="connsiteY27" fmla="*/ 91187 h 97718"/>
                <a:gd name="connsiteX28" fmla="*/ 185946 w 369449"/>
                <a:gd name="connsiteY28" fmla="*/ 95766 h 97718"/>
                <a:gd name="connsiteX29" fmla="*/ 228971 w 369449"/>
                <a:gd name="connsiteY29" fmla="*/ 83065 h 97718"/>
                <a:gd name="connsiteX30" fmla="*/ 266030 w 369449"/>
                <a:gd name="connsiteY30" fmla="*/ 73439 h 97718"/>
                <a:gd name="connsiteX31" fmla="*/ 315996 w 369449"/>
                <a:gd name="connsiteY31" fmla="*/ 58632 h 9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69449" h="97718">
                  <a:moveTo>
                    <a:pt x="316361" y="58298"/>
                  </a:moveTo>
                  <a:cubicBezTo>
                    <a:pt x="332353" y="56426"/>
                    <a:pt x="329715" y="49775"/>
                    <a:pt x="339862" y="45564"/>
                  </a:cubicBezTo>
                  <a:cubicBezTo>
                    <a:pt x="352039" y="40617"/>
                    <a:pt x="360888" y="38244"/>
                    <a:pt x="367585" y="30155"/>
                  </a:cubicBezTo>
                  <a:cubicBezTo>
                    <a:pt x="376352" y="19493"/>
                    <a:pt x="350943" y="18858"/>
                    <a:pt x="339172" y="17655"/>
                  </a:cubicBezTo>
                  <a:cubicBezTo>
                    <a:pt x="330283" y="16719"/>
                    <a:pt x="319730" y="5723"/>
                    <a:pt x="320095" y="1144"/>
                  </a:cubicBezTo>
                  <a:cubicBezTo>
                    <a:pt x="320095" y="2046"/>
                    <a:pt x="287948" y="3684"/>
                    <a:pt x="281819" y="2146"/>
                  </a:cubicBezTo>
                  <a:cubicBezTo>
                    <a:pt x="268221" y="-1196"/>
                    <a:pt x="256491" y="-2633"/>
                    <a:pt x="259292" y="7528"/>
                  </a:cubicBezTo>
                  <a:cubicBezTo>
                    <a:pt x="261403" y="15315"/>
                    <a:pt x="238185" y="8931"/>
                    <a:pt x="238753" y="12942"/>
                  </a:cubicBezTo>
                  <a:cubicBezTo>
                    <a:pt x="239971" y="20964"/>
                    <a:pt x="201695" y="7996"/>
                    <a:pt x="205064" y="18123"/>
                  </a:cubicBezTo>
                  <a:cubicBezTo>
                    <a:pt x="205064" y="18390"/>
                    <a:pt x="175961" y="15349"/>
                    <a:pt x="168127" y="21465"/>
                  </a:cubicBezTo>
                  <a:cubicBezTo>
                    <a:pt x="160293" y="27582"/>
                    <a:pt x="165854" y="35403"/>
                    <a:pt x="150227" y="25276"/>
                  </a:cubicBezTo>
                  <a:cubicBezTo>
                    <a:pt x="135371" y="15616"/>
                    <a:pt x="136183" y="31659"/>
                    <a:pt x="138050" y="35303"/>
                  </a:cubicBezTo>
                  <a:cubicBezTo>
                    <a:pt x="141622" y="41753"/>
                    <a:pt x="117106" y="40684"/>
                    <a:pt x="109921" y="47937"/>
                  </a:cubicBezTo>
                  <a:cubicBezTo>
                    <a:pt x="106228" y="51613"/>
                    <a:pt x="92874" y="41052"/>
                    <a:pt x="95512" y="37509"/>
                  </a:cubicBezTo>
                  <a:cubicBezTo>
                    <a:pt x="99571" y="31860"/>
                    <a:pt x="98475" y="31325"/>
                    <a:pt x="86054" y="28685"/>
                  </a:cubicBezTo>
                  <a:cubicBezTo>
                    <a:pt x="73147" y="25784"/>
                    <a:pt x="59793" y="24343"/>
                    <a:pt x="46399" y="24407"/>
                  </a:cubicBezTo>
                  <a:cubicBezTo>
                    <a:pt x="18919" y="25142"/>
                    <a:pt x="51716" y="32930"/>
                    <a:pt x="52852" y="35002"/>
                  </a:cubicBezTo>
                  <a:cubicBezTo>
                    <a:pt x="53664" y="36439"/>
                    <a:pt x="27930" y="33899"/>
                    <a:pt x="25170" y="35002"/>
                  </a:cubicBezTo>
                  <a:cubicBezTo>
                    <a:pt x="18838" y="37141"/>
                    <a:pt x="-5922" y="54120"/>
                    <a:pt x="1222" y="56928"/>
                  </a:cubicBezTo>
                  <a:cubicBezTo>
                    <a:pt x="10923" y="60705"/>
                    <a:pt x="96568" y="40517"/>
                    <a:pt x="69494" y="56393"/>
                  </a:cubicBezTo>
                  <a:cubicBezTo>
                    <a:pt x="63122" y="60103"/>
                    <a:pt x="84350" y="61573"/>
                    <a:pt x="63081" y="64749"/>
                  </a:cubicBezTo>
                  <a:cubicBezTo>
                    <a:pt x="59428" y="65250"/>
                    <a:pt x="7391" y="70999"/>
                    <a:pt x="14373" y="75879"/>
                  </a:cubicBezTo>
                  <a:cubicBezTo>
                    <a:pt x="18432" y="78453"/>
                    <a:pt x="41325" y="72771"/>
                    <a:pt x="46439" y="71901"/>
                  </a:cubicBezTo>
                  <a:cubicBezTo>
                    <a:pt x="64258" y="68793"/>
                    <a:pt x="59590" y="69762"/>
                    <a:pt x="67140" y="75411"/>
                  </a:cubicBezTo>
                  <a:cubicBezTo>
                    <a:pt x="73350" y="80057"/>
                    <a:pt x="80412" y="71333"/>
                    <a:pt x="86542" y="78753"/>
                  </a:cubicBezTo>
                  <a:cubicBezTo>
                    <a:pt x="92671" y="86173"/>
                    <a:pt x="90195" y="86407"/>
                    <a:pt x="69981" y="90351"/>
                  </a:cubicBezTo>
                  <a:cubicBezTo>
                    <a:pt x="51838" y="93928"/>
                    <a:pt x="63243" y="98707"/>
                    <a:pt x="76841" y="97036"/>
                  </a:cubicBezTo>
                  <a:cubicBezTo>
                    <a:pt x="100789" y="93694"/>
                    <a:pt x="112641" y="87845"/>
                    <a:pt x="136711" y="91187"/>
                  </a:cubicBezTo>
                  <a:cubicBezTo>
                    <a:pt x="152500" y="93426"/>
                    <a:pt x="168127" y="97471"/>
                    <a:pt x="185946" y="95766"/>
                  </a:cubicBezTo>
                  <a:cubicBezTo>
                    <a:pt x="197798" y="94629"/>
                    <a:pt x="224790" y="90284"/>
                    <a:pt x="228971" y="83065"/>
                  </a:cubicBezTo>
                  <a:cubicBezTo>
                    <a:pt x="232381" y="77149"/>
                    <a:pt x="257059" y="75912"/>
                    <a:pt x="266030" y="73439"/>
                  </a:cubicBezTo>
                  <a:cubicBezTo>
                    <a:pt x="283930" y="68526"/>
                    <a:pt x="295092" y="61106"/>
                    <a:pt x="315996" y="58632"/>
                  </a:cubicBezTo>
                  <a:close/>
                </a:path>
              </a:pathLst>
            </a:custGeom>
            <a:solidFill>
              <a:schemeClr val="accent3"/>
            </a:solidFill>
            <a:ln w="3021" cap="flat">
              <a:solidFill>
                <a:schemeClr val="accent3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78" name="UK&amp;I">
            <a:extLst>
              <a:ext uri="{FF2B5EF4-FFF2-40B4-BE49-F238E27FC236}">
                <a16:creationId xmlns:a16="http://schemas.microsoft.com/office/drawing/2014/main" id="{8E4778D4-13A6-48CA-B128-881F9A2714B7}"/>
              </a:ext>
            </a:extLst>
          </p:cNvPr>
          <p:cNvGrpSpPr/>
          <p:nvPr/>
        </p:nvGrpSpPr>
        <p:grpSpPr>
          <a:xfrm>
            <a:off x="5425910" y="4273302"/>
            <a:ext cx="394631" cy="192812"/>
            <a:chOff x="5425910" y="4273302"/>
            <a:chExt cx="394631" cy="192812"/>
          </a:xfrm>
        </p:grpSpPr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95AC3BE1-9981-467C-97DE-D01A2752C370}"/>
                </a:ext>
              </a:extLst>
            </p:cNvPr>
            <p:cNvSpPr/>
            <p:nvPr/>
          </p:nvSpPr>
          <p:spPr>
            <a:xfrm>
              <a:off x="5425910" y="4384007"/>
              <a:ext cx="134333" cy="63777"/>
            </a:xfrm>
            <a:custGeom>
              <a:avLst/>
              <a:gdLst>
                <a:gd name="connsiteX0" fmla="*/ 126488 w 137872"/>
                <a:gd name="connsiteY0" fmla="*/ 22099 h 87325"/>
                <a:gd name="connsiteX1" fmla="*/ 99253 w 137872"/>
                <a:gd name="connsiteY1" fmla="*/ 16450 h 87325"/>
                <a:gd name="connsiteX2" fmla="*/ 85249 w 137872"/>
                <a:gd name="connsiteY2" fmla="*/ 22801 h 87325"/>
                <a:gd name="connsiteX3" fmla="*/ 89511 w 137872"/>
                <a:gd name="connsiteY3" fmla="*/ 374 h 87325"/>
                <a:gd name="connsiteX4" fmla="*/ 57486 w 137872"/>
                <a:gd name="connsiteY4" fmla="*/ 1343 h 87325"/>
                <a:gd name="connsiteX5" fmla="*/ 62478 w 137872"/>
                <a:gd name="connsiteY5" fmla="*/ 10635 h 87325"/>
                <a:gd name="connsiteX6" fmla="*/ 56552 w 137872"/>
                <a:gd name="connsiteY6" fmla="*/ 17821 h 87325"/>
                <a:gd name="connsiteX7" fmla="*/ 35486 w 137872"/>
                <a:gd name="connsiteY7" fmla="*/ 23670 h 87325"/>
                <a:gd name="connsiteX8" fmla="*/ 13892 w 137872"/>
                <a:gd name="connsiteY8" fmla="*/ 23369 h 87325"/>
                <a:gd name="connsiteX9" fmla="*/ 9833 w 137872"/>
                <a:gd name="connsiteY9" fmla="*/ 30622 h 87325"/>
                <a:gd name="connsiteX10" fmla="*/ 9833 w 137872"/>
                <a:gd name="connsiteY10" fmla="*/ 42655 h 87325"/>
                <a:gd name="connsiteX11" fmla="*/ 33619 w 137872"/>
                <a:gd name="connsiteY11" fmla="*/ 52114 h 87325"/>
                <a:gd name="connsiteX12" fmla="*/ 25014 w 137872"/>
                <a:gd name="connsiteY12" fmla="*/ 58063 h 87325"/>
                <a:gd name="connsiteX13" fmla="*/ 20143 w 137872"/>
                <a:gd name="connsiteY13" fmla="*/ 66085 h 87325"/>
                <a:gd name="connsiteX14" fmla="*/ 376 w 137872"/>
                <a:gd name="connsiteY14" fmla="*/ 75811 h 87325"/>
                <a:gd name="connsiteX15" fmla="*/ 19737 w 137872"/>
                <a:gd name="connsiteY15" fmla="*/ 86139 h 87325"/>
                <a:gd name="connsiteX16" fmla="*/ 90526 w 137872"/>
                <a:gd name="connsiteY16" fmla="*/ 70998 h 87325"/>
                <a:gd name="connsiteX17" fmla="*/ 137813 w 137872"/>
                <a:gd name="connsiteY17" fmla="*/ 52982 h 87325"/>
                <a:gd name="connsiteX18" fmla="*/ 134200 w 137872"/>
                <a:gd name="connsiteY18" fmla="*/ 36271 h 87325"/>
                <a:gd name="connsiteX19" fmla="*/ 126082 w 137872"/>
                <a:gd name="connsiteY19" fmla="*/ 22032 h 87325"/>
                <a:gd name="connsiteX20" fmla="*/ 126488 w 137872"/>
                <a:gd name="connsiteY20" fmla="*/ 22099 h 87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7872" h="87325">
                  <a:moveTo>
                    <a:pt x="126488" y="22099"/>
                  </a:moveTo>
                  <a:cubicBezTo>
                    <a:pt x="120765" y="20294"/>
                    <a:pt x="106193" y="11069"/>
                    <a:pt x="99253" y="16450"/>
                  </a:cubicBezTo>
                  <a:cubicBezTo>
                    <a:pt x="93733" y="20729"/>
                    <a:pt x="98075" y="25542"/>
                    <a:pt x="85249" y="22801"/>
                  </a:cubicBezTo>
                  <a:cubicBezTo>
                    <a:pt x="60327" y="17487"/>
                    <a:pt x="85817" y="11404"/>
                    <a:pt x="89511" y="374"/>
                  </a:cubicBezTo>
                  <a:cubicBezTo>
                    <a:pt x="78511" y="1009"/>
                    <a:pt x="68567" y="-2167"/>
                    <a:pt x="57486" y="1343"/>
                  </a:cubicBezTo>
                  <a:cubicBezTo>
                    <a:pt x="46405" y="4853"/>
                    <a:pt x="53995" y="9732"/>
                    <a:pt x="62478" y="10635"/>
                  </a:cubicBezTo>
                  <a:cubicBezTo>
                    <a:pt x="76319" y="12139"/>
                    <a:pt x="62925" y="16517"/>
                    <a:pt x="56552" y="17821"/>
                  </a:cubicBezTo>
                  <a:cubicBezTo>
                    <a:pt x="49571" y="19292"/>
                    <a:pt x="42670" y="22834"/>
                    <a:pt x="35486" y="23670"/>
                  </a:cubicBezTo>
                  <a:cubicBezTo>
                    <a:pt x="28302" y="24506"/>
                    <a:pt x="21239" y="22901"/>
                    <a:pt x="13892" y="23369"/>
                  </a:cubicBezTo>
                  <a:cubicBezTo>
                    <a:pt x="457" y="24272"/>
                    <a:pt x="4151" y="27681"/>
                    <a:pt x="9833" y="30622"/>
                  </a:cubicBezTo>
                  <a:cubicBezTo>
                    <a:pt x="18316" y="34967"/>
                    <a:pt x="4841" y="39011"/>
                    <a:pt x="9833" y="42655"/>
                  </a:cubicBezTo>
                  <a:cubicBezTo>
                    <a:pt x="14826" y="46298"/>
                    <a:pt x="35648" y="46766"/>
                    <a:pt x="33619" y="52114"/>
                  </a:cubicBezTo>
                  <a:cubicBezTo>
                    <a:pt x="32767" y="54420"/>
                    <a:pt x="27652" y="56325"/>
                    <a:pt x="25014" y="58063"/>
                  </a:cubicBezTo>
                  <a:cubicBezTo>
                    <a:pt x="20955" y="60837"/>
                    <a:pt x="22781" y="63177"/>
                    <a:pt x="20143" y="66085"/>
                  </a:cubicBezTo>
                  <a:cubicBezTo>
                    <a:pt x="16084" y="70563"/>
                    <a:pt x="3664" y="71165"/>
                    <a:pt x="376" y="75811"/>
                  </a:cubicBezTo>
                  <a:cubicBezTo>
                    <a:pt x="-2912" y="80457"/>
                    <a:pt x="13283" y="85036"/>
                    <a:pt x="19737" y="86139"/>
                  </a:cubicBezTo>
                  <a:cubicBezTo>
                    <a:pt x="42508" y="89982"/>
                    <a:pt x="74818" y="80022"/>
                    <a:pt x="90526" y="70998"/>
                  </a:cubicBezTo>
                  <a:cubicBezTo>
                    <a:pt x="108142" y="60971"/>
                    <a:pt x="137123" y="70998"/>
                    <a:pt x="137813" y="52982"/>
                  </a:cubicBezTo>
                  <a:cubicBezTo>
                    <a:pt x="137813" y="47280"/>
                    <a:pt x="136595" y="41618"/>
                    <a:pt x="134200" y="36271"/>
                  </a:cubicBezTo>
                  <a:cubicBezTo>
                    <a:pt x="132861" y="32928"/>
                    <a:pt x="124621" y="25441"/>
                    <a:pt x="126082" y="22032"/>
                  </a:cubicBezTo>
                  <a:cubicBezTo>
                    <a:pt x="122429" y="20762"/>
                    <a:pt x="126123" y="22834"/>
                    <a:pt x="126488" y="22099"/>
                  </a:cubicBezTo>
                  <a:close/>
                </a:path>
              </a:pathLst>
            </a:custGeom>
            <a:solidFill>
              <a:schemeClr val="bg2"/>
            </a:solidFill>
            <a:ln w="3021" cap="flat">
              <a:solidFill>
                <a:schemeClr val="bg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407C452C-3E81-49AA-8F20-B762A90D74C9}"/>
                </a:ext>
              </a:extLst>
            </p:cNvPr>
            <p:cNvSpPr/>
            <p:nvPr/>
          </p:nvSpPr>
          <p:spPr>
            <a:xfrm>
              <a:off x="5496399" y="4273302"/>
              <a:ext cx="324142" cy="192812"/>
            </a:xfrm>
            <a:custGeom>
              <a:avLst/>
              <a:gdLst>
                <a:gd name="connsiteX0" fmla="*/ 58729 w 332681"/>
                <a:gd name="connsiteY0" fmla="*/ 145939 h 264004"/>
                <a:gd name="connsiteX1" fmla="*/ 22929 w 332681"/>
                <a:gd name="connsiteY1" fmla="*/ 151086 h 264004"/>
                <a:gd name="connsiteX2" fmla="*/ 117 w 332681"/>
                <a:gd name="connsiteY2" fmla="*/ 169469 h 264004"/>
                <a:gd name="connsiteX3" fmla="*/ 23619 w 332681"/>
                <a:gd name="connsiteY3" fmla="*/ 173513 h 264004"/>
                <a:gd name="connsiteX4" fmla="*/ 54143 w 332681"/>
                <a:gd name="connsiteY4" fmla="*/ 173680 h 264004"/>
                <a:gd name="connsiteX5" fmla="*/ 79146 w 332681"/>
                <a:gd name="connsiteY5" fmla="*/ 163954 h 264004"/>
                <a:gd name="connsiteX6" fmla="*/ 58851 w 332681"/>
                <a:gd name="connsiteY6" fmla="*/ 145939 h 264004"/>
                <a:gd name="connsiteX7" fmla="*/ 332548 w 332681"/>
                <a:gd name="connsiteY7" fmla="*/ 196074 h 264004"/>
                <a:gd name="connsiteX8" fmla="*/ 313511 w 332681"/>
                <a:gd name="connsiteY8" fmla="*/ 187384 h 264004"/>
                <a:gd name="connsiteX9" fmla="*/ 292851 w 332681"/>
                <a:gd name="connsiteY9" fmla="*/ 191128 h 264004"/>
                <a:gd name="connsiteX10" fmla="*/ 281608 w 332681"/>
                <a:gd name="connsiteY10" fmla="*/ 179697 h 264004"/>
                <a:gd name="connsiteX11" fmla="*/ 268619 w 332681"/>
                <a:gd name="connsiteY11" fmla="*/ 168500 h 264004"/>
                <a:gd name="connsiteX12" fmla="*/ 256888 w 332681"/>
                <a:gd name="connsiteY12" fmla="*/ 155130 h 264004"/>
                <a:gd name="connsiteX13" fmla="*/ 231885 w 332681"/>
                <a:gd name="connsiteY13" fmla="*/ 147309 h 264004"/>
                <a:gd name="connsiteX14" fmla="*/ 219708 w 332681"/>
                <a:gd name="connsiteY14" fmla="*/ 132971 h 264004"/>
                <a:gd name="connsiteX15" fmla="*/ 195355 w 332681"/>
                <a:gd name="connsiteY15" fmla="*/ 122943 h 264004"/>
                <a:gd name="connsiteX16" fmla="*/ 164872 w 332681"/>
                <a:gd name="connsiteY16" fmla="*/ 121874 h 264004"/>
                <a:gd name="connsiteX17" fmla="*/ 176034 w 332681"/>
                <a:gd name="connsiteY17" fmla="*/ 110209 h 264004"/>
                <a:gd name="connsiteX18" fmla="*/ 199901 w 332681"/>
                <a:gd name="connsiteY18" fmla="*/ 79326 h 264004"/>
                <a:gd name="connsiteX19" fmla="*/ 144536 w 332681"/>
                <a:gd name="connsiteY19" fmla="*/ 79326 h 264004"/>
                <a:gd name="connsiteX20" fmla="*/ 122374 w 332681"/>
                <a:gd name="connsiteY20" fmla="*/ 77889 h 264004"/>
                <a:gd name="connsiteX21" fmla="*/ 147012 w 332681"/>
                <a:gd name="connsiteY21" fmla="*/ 64519 h 264004"/>
                <a:gd name="connsiteX22" fmla="*/ 142953 w 332681"/>
                <a:gd name="connsiteY22" fmla="*/ 55428 h 264004"/>
                <a:gd name="connsiteX23" fmla="*/ 83326 w 332681"/>
                <a:gd name="connsiteY23" fmla="*/ 72908 h 264004"/>
                <a:gd name="connsiteX24" fmla="*/ 71637 w 332681"/>
                <a:gd name="connsiteY24" fmla="*/ 83871 h 264004"/>
                <a:gd name="connsiteX25" fmla="*/ 61246 w 332681"/>
                <a:gd name="connsiteY25" fmla="*/ 92996 h 264004"/>
                <a:gd name="connsiteX26" fmla="*/ 38110 w 332681"/>
                <a:gd name="connsiteY26" fmla="*/ 92729 h 264004"/>
                <a:gd name="connsiteX27" fmla="*/ 69364 w 332681"/>
                <a:gd name="connsiteY27" fmla="*/ 99413 h 264004"/>
                <a:gd name="connsiteX28" fmla="*/ 67253 w 332681"/>
                <a:gd name="connsiteY28" fmla="*/ 117696 h 264004"/>
                <a:gd name="connsiteX29" fmla="*/ 47689 w 332681"/>
                <a:gd name="connsiteY29" fmla="*/ 134007 h 264004"/>
                <a:gd name="connsiteX30" fmla="*/ 69729 w 332681"/>
                <a:gd name="connsiteY30" fmla="*/ 126887 h 264004"/>
                <a:gd name="connsiteX31" fmla="*/ 74438 w 332681"/>
                <a:gd name="connsiteY31" fmla="*/ 134508 h 264004"/>
                <a:gd name="connsiteX32" fmla="*/ 102850 w 332681"/>
                <a:gd name="connsiteY32" fmla="*/ 121974 h 264004"/>
                <a:gd name="connsiteX33" fmla="*/ 107478 w 332681"/>
                <a:gd name="connsiteY33" fmla="*/ 136413 h 264004"/>
                <a:gd name="connsiteX34" fmla="*/ 95828 w 332681"/>
                <a:gd name="connsiteY34" fmla="*/ 151420 h 264004"/>
                <a:gd name="connsiteX35" fmla="*/ 143603 w 332681"/>
                <a:gd name="connsiteY35" fmla="*/ 146574 h 264004"/>
                <a:gd name="connsiteX36" fmla="*/ 152897 w 332681"/>
                <a:gd name="connsiteY36" fmla="*/ 151153 h 264004"/>
                <a:gd name="connsiteX37" fmla="*/ 165399 w 332681"/>
                <a:gd name="connsiteY37" fmla="*/ 162283 h 264004"/>
                <a:gd name="connsiteX38" fmla="*/ 166820 w 332681"/>
                <a:gd name="connsiteY38" fmla="*/ 175151 h 264004"/>
                <a:gd name="connsiteX39" fmla="*/ 149325 w 332681"/>
                <a:gd name="connsiteY39" fmla="*/ 186382 h 264004"/>
                <a:gd name="connsiteX40" fmla="*/ 130167 w 332681"/>
                <a:gd name="connsiteY40" fmla="*/ 184276 h 264004"/>
                <a:gd name="connsiteX41" fmla="*/ 119086 w 332681"/>
                <a:gd name="connsiteY41" fmla="*/ 194303 h 264004"/>
                <a:gd name="connsiteX42" fmla="*/ 119086 w 332681"/>
                <a:gd name="connsiteY42" fmla="*/ 214357 h 264004"/>
                <a:gd name="connsiteX43" fmla="*/ 97574 w 332681"/>
                <a:gd name="connsiteY43" fmla="*/ 223916 h 264004"/>
                <a:gd name="connsiteX44" fmla="*/ 120142 w 332681"/>
                <a:gd name="connsiteY44" fmla="*/ 223716 h 264004"/>
                <a:gd name="connsiteX45" fmla="*/ 142953 w 332681"/>
                <a:gd name="connsiteY45" fmla="*/ 226323 h 264004"/>
                <a:gd name="connsiteX46" fmla="*/ 162883 w 332681"/>
                <a:gd name="connsiteY46" fmla="*/ 228094 h 264004"/>
                <a:gd name="connsiteX47" fmla="*/ 180823 w 332681"/>
                <a:gd name="connsiteY47" fmla="*/ 225487 h 264004"/>
                <a:gd name="connsiteX48" fmla="*/ 166982 w 332681"/>
                <a:gd name="connsiteY48" fmla="*/ 233041 h 264004"/>
                <a:gd name="connsiteX49" fmla="*/ 134998 w 332681"/>
                <a:gd name="connsiteY49" fmla="*/ 236383 h 264004"/>
                <a:gd name="connsiteX50" fmla="*/ 98467 w 332681"/>
                <a:gd name="connsiteY50" fmla="*/ 259780 h 264004"/>
                <a:gd name="connsiteX51" fmla="*/ 134024 w 332681"/>
                <a:gd name="connsiteY51" fmla="*/ 254900 h 264004"/>
                <a:gd name="connsiteX52" fmla="*/ 152654 w 332681"/>
                <a:gd name="connsiteY52" fmla="*/ 254332 h 264004"/>
                <a:gd name="connsiteX53" fmla="*/ 170027 w 332681"/>
                <a:gd name="connsiteY53" fmla="*/ 247647 h 264004"/>
                <a:gd name="connsiteX54" fmla="*/ 204731 w 332681"/>
                <a:gd name="connsiteY54" fmla="*/ 243202 h 264004"/>
                <a:gd name="connsiteX55" fmla="*/ 228273 w 332681"/>
                <a:gd name="connsiteY55" fmla="*/ 243001 h 264004"/>
                <a:gd name="connsiteX56" fmla="*/ 283434 w 332681"/>
                <a:gd name="connsiteY56" fmla="*/ 236951 h 264004"/>
                <a:gd name="connsiteX57" fmla="*/ 303729 w 332681"/>
                <a:gd name="connsiteY57" fmla="*/ 223749 h 264004"/>
                <a:gd name="connsiteX58" fmla="*/ 311035 w 332681"/>
                <a:gd name="connsiteY58" fmla="*/ 210981 h 264004"/>
                <a:gd name="connsiteX59" fmla="*/ 332264 w 332681"/>
                <a:gd name="connsiteY59" fmla="*/ 196308 h 264004"/>
                <a:gd name="connsiteX60" fmla="*/ 332548 w 332681"/>
                <a:gd name="connsiteY60" fmla="*/ 195907 h 264004"/>
                <a:gd name="connsiteX61" fmla="*/ 26014 w 332681"/>
                <a:gd name="connsiteY61" fmla="*/ 83905 h 264004"/>
                <a:gd name="connsiteX62" fmla="*/ 47121 w 332681"/>
                <a:gd name="connsiteY62" fmla="*/ 67427 h 264004"/>
                <a:gd name="connsiteX63" fmla="*/ 26014 w 332681"/>
                <a:gd name="connsiteY63" fmla="*/ 83738 h 264004"/>
                <a:gd name="connsiteX64" fmla="*/ 215974 w 332681"/>
                <a:gd name="connsiteY64" fmla="*/ 18996 h 264004"/>
                <a:gd name="connsiteX65" fmla="*/ 220317 w 332681"/>
                <a:gd name="connsiteY65" fmla="*/ -122 h 264004"/>
                <a:gd name="connsiteX66" fmla="*/ 215974 w 332681"/>
                <a:gd name="connsiteY66" fmla="*/ 18829 h 264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32681" h="264004">
                  <a:moveTo>
                    <a:pt x="58729" y="145939"/>
                  </a:moveTo>
                  <a:cubicBezTo>
                    <a:pt x="47364" y="141293"/>
                    <a:pt x="33645" y="148713"/>
                    <a:pt x="22929" y="151086"/>
                  </a:cubicBezTo>
                  <a:cubicBezTo>
                    <a:pt x="17856" y="152223"/>
                    <a:pt x="2635" y="165024"/>
                    <a:pt x="117" y="169469"/>
                  </a:cubicBezTo>
                  <a:cubicBezTo>
                    <a:pt x="-2399" y="173914"/>
                    <a:pt x="22726" y="177190"/>
                    <a:pt x="23619" y="173513"/>
                  </a:cubicBezTo>
                  <a:cubicBezTo>
                    <a:pt x="26501" y="160512"/>
                    <a:pt x="43386" y="170171"/>
                    <a:pt x="54143" y="173680"/>
                  </a:cubicBezTo>
                  <a:cubicBezTo>
                    <a:pt x="56294" y="169235"/>
                    <a:pt x="73504" y="167297"/>
                    <a:pt x="79146" y="163954"/>
                  </a:cubicBezTo>
                  <a:cubicBezTo>
                    <a:pt x="90511" y="157270"/>
                    <a:pt x="66360" y="149081"/>
                    <a:pt x="58851" y="145939"/>
                  </a:cubicBezTo>
                  <a:close/>
                  <a:moveTo>
                    <a:pt x="332548" y="196074"/>
                  </a:moveTo>
                  <a:cubicBezTo>
                    <a:pt x="332954" y="191128"/>
                    <a:pt x="321061" y="188420"/>
                    <a:pt x="313511" y="187384"/>
                  </a:cubicBezTo>
                  <a:cubicBezTo>
                    <a:pt x="299873" y="185579"/>
                    <a:pt x="302633" y="188821"/>
                    <a:pt x="292851" y="191128"/>
                  </a:cubicBezTo>
                  <a:cubicBezTo>
                    <a:pt x="277630" y="194737"/>
                    <a:pt x="281121" y="182705"/>
                    <a:pt x="281608" y="179697"/>
                  </a:cubicBezTo>
                  <a:cubicBezTo>
                    <a:pt x="281608" y="178694"/>
                    <a:pt x="269431" y="171909"/>
                    <a:pt x="268619" y="168500"/>
                  </a:cubicBezTo>
                  <a:cubicBezTo>
                    <a:pt x="266589" y="163102"/>
                    <a:pt x="262490" y="158403"/>
                    <a:pt x="256888" y="155130"/>
                  </a:cubicBezTo>
                  <a:cubicBezTo>
                    <a:pt x="249866" y="150618"/>
                    <a:pt x="239232" y="151086"/>
                    <a:pt x="231885" y="147309"/>
                  </a:cubicBezTo>
                  <a:cubicBezTo>
                    <a:pt x="224538" y="143532"/>
                    <a:pt x="222266" y="137951"/>
                    <a:pt x="219708" y="132971"/>
                  </a:cubicBezTo>
                  <a:cubicBezTo>
                    <a:pt x="215650" y="124715"/>
                    <a:pt x="204649" y="128124"/>
                    <a:pt x="195355" y="122943"/>
                  </a:cubicBezTo>
                  <a:cubicBezTo>
                    <a:pt x="187237" y="118130"/>
                    <a:pt x="175384" y="120972"/>
                    <a:pt x="164872" y="121874"/>
                  </a:cubicBezTo>
                  <a:cubicBezTo>
                    <a:pt x="154359" y="122776"/>
                    <a:pt x="174491" y="110811"/>
                    <a:pt x="176034" y="110209"/>
                  </a:cubicBezTo>
                  <a:cubicBezTo>
                    <a:pt x="189631" y="104861"/>
                    <a:pt x="200388" y="87548"/>
                    <a:pt x="199901" y="79326"/>
                  </a:cubicBezTo>
                  <a:cubicBezTo>
                    <a:pt x="199535" y="73777"/>
                    <a:pt x="150868" y="78557"/>
                    <a:pt x="144536" y="79326"/>
                  </a:cubicBezTo>
                  <a:cubicBezTo>
                    <a:pt x="138204" y="80094"/>
                    <a:pt x="122049" y="84172"/>
                    <a:pt x="122374" y="77889"/>
                  </a:cubicBezTo>
                  <a:cubicBezTo>
                    <a:pt x="122374" y="75148"/>
                    <a:pt x="143359" y="67561"/>
                    <a:pt x="147012" y="64519"/>
                  </a:cubicBezTo>
                  <a:cubicBezTo>
                    <a:pt x="155130" y="57834"/>
                    <a:pt x="157403" y="42025"/>
                    <a:pt x="142953" y="55428"/>
                  </a:cubicBezTo>
                  <a:cubicBezTo>
                    <a:pt x="128503" y="68831"/>
                    <a:pt x="86493" y="50782"/>
                    <a:pt x="83326" y="72908"/>
                  </a:cubicBezTo>
                  <a:cubicBezTo>
                    <a:pt x="82556" y="78356"/>
                    <a:pt x="78578" y="79593"/>
                    <a:pt x="71637" y="83871"/>
                  </a:cubicBezTo>
                  <a:cubicBezTo>
                    <a:pt x="68552" y="85743"/>
                    <a:pt x="71353" y="96840"/>
                    <a:pt x="61246" y="92996"/>
                  </a:cubicBezTo>
                  <a:cubicBezTo>
                    <a:pt x="57471" y="91559"/>
                    <a:pt x="38556" y="84272"/>
                    <a:pt x="38110" y="92729"/>
                  </a:cubicBezTo>
                  <a:cubicBezTo>
                    <a:pt x="37744" y="99848"/>
                    <a:pt x="63275" y="96940"/>
                    <a:pt x="69364" y="99413"/>
                  </a:cubicBezTo>
                  <a:cubicBezTo>
                    <a:pt x="75452" y="101887"/>
                    <a:pt x="36527" y="113718"/>
                    <a:pt x="67253" y="117696"/>
                  </a:cubicBezTo>
                  <a:cubicBezTo>
                    <a:pt x="91323" y="120804"/>
                    <a:pt x="36648" y="131667"/>
                    <a:pt x="47689" y="134007"/>
                  </a:cubicBezTo>
                  <a:cubicBezTo>
                    <a:pt x="53372" y="135210"/>
                    <a:pt x="65346" y="128358"/>
                    <a:pt x="69729" y="126887"/>
                  </a:cubicBezTo>
                  <a:cubicBezTo>
                    <a:pt x="74113" y="125417"/>
                    <a:pt x="73545" y="133405"/>
                    <a:pt x="74438" y="134508"/>
                  </a:cubicBezTo>
                  <a:cubicBezTo>
                    <a:pt x="84382" y="146540"/>
                    <a:pt x="102850" y="121974"/>
                    <a:pt x="102850" y="121974"/>
                  </a:cubicBezTo>
                  <a:cubicBezTo>
                    <a:pt x="104474" y="121974"/>
                    <a:pt x="107680" y="134909"/>
                    <a:pt x="107478" y="136413"/>
                  </a:cubicBezTo>
                  <a:cubicBezTo>
                    <a:pt x="106828" y="141393"/>
                    <a:pt x="94164" y="146674"/>
                    <a:pt x="95828" y="151420"/>
                  </a:cubicBezTo>
                  <a:cubicBezTo>
                    <a:pt x="98223" y="158105"/>
                    <a:pt x="138448" y="149649"/>
                    <a:pt x="143603" y="146574"/>
                  </a:cubicBezTo>
                  <a:cubicBezTo>
                    <a:pt x="153425" y="140625"/>
                    <a:pt x="160326" y="146306"/>
                    <a:pt x="152897" y="151153"/>
                  </a:cubicBezTo>
                  <a:cubicBezTo>
                    <a:pt x="142344" y="158038"/>
                    <a:pt x="155008" y="160578"/>
                    <a:pt x="165399" y="162283"/>
                  </a:cubicBezTo>
                  <a:cubicBezTo>
                    <a:pt x="174329" y="163787"/>
                    <a:pt x="166373" y="171341"/>
                    <a:pt x="166820" y="175151"/>
                  </a:cubicBezTo>
                  <a:cubicBezTo>
                    <a:pt x="167713" y="183072"/>
                    <a:pt x="165318" y="185512"/>
                    <a:pt x="149325" y="186382"/>
                  </a:cubicBezTo>
                  <a:cubicBezTo>
                    <a:pt x="140640" y="186883"/>
                    <a:pt x="136743" y="184610"/>
                    <a:pt x="130167" y="184276"/>
                  </a:cubicBezTo>
                  <a:cubicBezTo>
                    <a:pt x="119777" y="183774"/>
                    <a:pt x="123429" y="191228"/>
                    <a:pt x="119086" y="194303"/>
                  </a:cubicBezTo>
                  <a:cubicBezTo>
                    <a:pt x="103175" y="205199"/>
                    <a:pt x="155901" y="202358"/>
                    <a:pt x="119086" y="214357"/>
                  </a:cubicBezTo>
                  <a:cubicBezTo>
                    <a:pt x="114743" y="215761"/>
                    <a:pt x="89618" y="219705"/>
                    <a:pt x="97574" y="223916"/>
                  </a:cubicBezTo>
                  <a:cubicBezTo>
                    <a:pt x="105529" y="228128"/>
                    <a:pt x="111659" y="224651"/>
                    <a:pt x="120142" y="223716"/>
                  </a:cubicBezTo>
                  <a:cubicBezTo>
                    <a:pt x="123673" y="223315"/>
                    <a:pt x="138813" y="225955"/>
                    <a:pt x="142953" y="226323"/>
                  </a:cubicBezTo>
                  <a:cubicBezTo>
                    <a:pt x="149529" y="227409"/>
                    <a:pt x="156185" y="228000"/>
                    <a:pt x="162883" y="228094"/>
                  </a:cubicBezTo>
                  <a:cubicBezTo>
                    <a:pt x="166942" y="227860"/>
                    <a:pt x="176764" y="224417"/>
                    <a:pt x="180823" y="225487"/>
                  </a:cubicBezTo>
                  <a:cubicBezTo>
                    <a:pt x="185897" y="226857"/>
                    <a:pt x="168240" y="232807"/>
                    <a:pt x="166982" y="233041"/>
                  </a:cubicBezTo>
                  <a:cubicBezTo>
                    <a:pt x="156388" y="234779"/>
                    <a:pt x="144414" y="232372"/>
                    <a:pt x="134998" y="236383"/>
                  </a:cubicBezTo>
                  <a:cubicBezTo>
                    <a:pt x="121075" y="242366"/>
                    <a:pt x="105489" y="250989"/>
                    <a:pt x="98467" y="259780"/>
                  </a:cubicBezTo>
                  <a:cubicBezTo>
                    <a:pt x="88969" y="271177"/>
                    <a:pt x="125581" y="253763"/>
                    <a:pt x="134024" y="254900"/>
                  </a:cubicBezTo>
                  <a:cubicBezTo>
                    <a:pt x="141046" y="255836"/>
                    <a:pt x="147743" y="259780"/>
                    <a:pt x="152654" y="254332"/>
                  </a:cubicBezTo>
                  <a:cubicBezTo>
                    <a:pt x="157565" y="248883"/>
                    <a:pt x="159960" y="249886"/>
                    <a:pt x="170027" y="247647"/>
                  </a:cubicBezTo>
                  <a:cubicBezTo>
                    <a:pt x="181676" y="244973"/>
                    <a:pt x="193650" y="247212"/>
                    <a:pt x="204731" y="243202"/>
                  </a:cubicBezTo>
                  <a:cubicBezTo>
                    <a:pt x="214513" y="239659"/>
                    <a:pt x="217760" y="241029"/>
                    <a:pt x="228273" y="243001"/>
                  </a:cubicBezTo>
                  <a:cubicBezTo>
                    <a:pt x="238785" y="244973"/>
                    <a:pt x="272150" y="239057"/>
                    <a:pt x="283434" y="236951"/>
                  </a:cubicBezTo>
                  <a:cubicBezTo>
                    <a:pt x="294718" y="234846"/>
                    <a:pt x="340706" y="219638"/>
                    <a:pt x="303729" y="223749"/>
                  </a:cubicBezTo>
                  <a:cubicBezTo>
                    <a:pt x="287128" y="225654"/>
                    <a:pt x="307788" y="212385"/>
                    <a:pt x="311035" y="210981"/>
                  </a:cubicBezTo>
                  <a:cubicBezTo>
                    <a:pt x="319722" y="207037"/>
                    <a:pt x="331736" y="202826"/>
                    <a:pt x="332264" y="196308"/>
                  </a:cubicBezTo>
                  <a:cubicBezTo>
                    <a:pt x="333197" y="188320"/>
                    <a:pt x="331939" y="203494"/>
                    <a:pt x="332548" y="195907"/>
                  </a:cubicBezTo>
                  <a:close/>
                  <a:moveTo>
                    <a:pt x="26014" y="83905"/>
                  </a:moveTo>
                  <a:cubicBezTo>
                    <a:pt x="39449" y="82802"/>
                    <a:pt x="53899" y="70301"/>
                    <a:pt x="47121" y="67427"/>
                  </a:cubicBezTo>
                  <a:cubicBezTo>
                    <a:pt x="40342" y="64553"/>
                    <a:pt x="15948" y="84573"/>
                    <a:pt x="26014" y="83738"/>
                  </a:cubicBezTo>
                  <a:close/>
                  <a:moveTo>
                    <a:pt x="215974" y="18996"/>
                  </a:moveTo>
                  <a:cubicBezTo>
                    <a:pt x="224092" y="14350"/>
                    <a:pt x="233347" y="-2428"/>
                    <a:pt x="220317" y="-122"/>
                  </a:cubicBezTo>
                  <a:cubicBezTo>
                    <a:pt x="207288" y="2184"/>
                    <a:pt x="212443" y="20868"/>
                    <a:pt x="215974" y="18829"/>
                  </a:cubicBezTo>
                  <a:close/>
                </a:path>
              </a:pathLst>
            </a:custGeom>
            <a:solidFill>
              <a:schemeClr val="bg2"/>
            </a:solidFill>
            <a:ln w="3021" cap="flat">
              <a:solidFill>
                <a:schemeClr val="bg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81" name="N ASIA">
            <a:extLst>
              <a:ext uri="{FF2B5EF4-FFF2-40B4-BE49-F238E27FC236}">
                <a16:creationId xmlns:a16="http://schemas.microsoft.com/office/drawing/2014/main" id="{91A39E43-CAB4-4BEC-8156-9220EA606DD7}"/>
              </a:ext>
            </a:extLst>
          </p:cNvPr>
          <p:cNvGrpSpPr/>
          <p:nvPr/>
        </p:nvGrpSpPr>
        <p:grpSpPr>
          <a:xfrm>
            <a:off x="7235455" y="4496335"/>
            <a:ext cx="2925776" cy="843955"/>
            <a:chOff x="7235455" y="4496335"/>
            <a:chExt cx="2925776" cy="843955"/>
          </a:xfrm>
        </p:grpSpPr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328F0E32-6020-44F2-BFB3-ECBC199E1838}"/>
                </a:ext>
              </a:extLst>
            </p:cNvPr>
            <p:cNvSpPr/>
            <p:nvPr/>
          </p:nvSpPr>
          <p:spPr>
            <a:xfrm>
              <a:off x="9487915" y="5172288"/>
              <a:ext cx="111090" cy="59339"/>
            </a:xfrm>
            <a:custGeom>
              <a:avLst/>
              <a:gdLst>
                <a:gd name="connsiteX0" fmla="*/ 57038 w 114017"/>
                <a:gd name="connsiteY0" fmla="*/ 620 h 81248"/>
                <a:gd name="connsiteX1" fmla="*/ 36175 w 114017"/>
                <a:gd name="connsiteY1" fmla="*/ 3060 h 81248"/>
                <a:gd name="connsiteX2" fmla="*/ 43765 w 114017"/>
                <a:gd name="connsiteY2" fmla="*/ 17165 h 81248"/>
                <a:gd name="connsiteX3" fmla="*/ 29518 w 114017"/>
                <a:gd name="connsiteY3" fmla="*/ 15794 h 81248"/>
                <a:gd name="connsiteX4" fmla="*/ 23389 w 114017"/>
                <a:gd name="connsiteY4" fmla="*/ 30634 h 81248"/>
                <a:gd name="connsiteX5" fmla="*/ 2363 w 114017"/>
                <a:gd name="connsiteY5" fmla="*/ 44806 h 81248"/>
                <a:gd name="connsiteX6" fmla="*/ 1105 w 114017"/>
                <a:gd name="connsiteY6" fmla="*/ 57707 h 81248"/>
                <a:gd name="connsiteX7" fmla="*/ 22699 w 114017"/>
                <a:gd name="connsiteY7" fmla="*/ 65829 h 81248"/>
                <a:gd name="connsiteX8" fmla="*/ 78956 w 114017"/>
                <a:gd name="connsiteY8" fmla="*/ 71678 h 81248"/>
                <a:gd name="connsiteX9" fmla="*/ 97384 w 114017"/>
                <a:gd name="connsiteY9" fmla="*/ 80101 h 81248"/>
                <a:gd name="connsiteX10" fmla="*/ 106719 w 114017"/>
                <a:gd name="connsiteY10" fmla="*/ 69807 h 81248"/>
                <a:gd name="connsiteX11" fmla="*/ 111185 w 114017"/>
                <a:gd name="connsiteY11" fmla="*/ 30367 h 81248"/>
                <a:gd name="connsiteX12" fmla="*/ 105298 w 114017"/>
                <a:gd name="connsiteY12" fmla="*/ 18769 h 81248"/>
                <a:gd name="connsiteX13" fmla="*/ 90768 w 114017"/>
                <a:gd name="connsiteY13" fmla="*/ 11416 h 81248"/>
                <a:gd name="connsiteX14" fmla="*/ 57038 w 114017"/>
                <a:gd name="connsiteY14" fmla="*/ 620 h 81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4017" h="81248">
                  <a:moveTo>
                    <a:pt x="57038" y="620"/>
                  </a:moveTo>
                  <a:cubicBezTo>
                    <a:pt x="48635" y="1121"/>
                    <a:pt x="36540" y="-3124"/>
                    <a:pt x="36175" y="3060"/>
                  </a:cubicBezTo>
                  <a:cubicBezTo>
                    <a:pt x="35890" y="8274"/>
                    <a:pt x="44698" y="13455"/>
                    <a:pt x="43765" y="17165"/>
                  </a:cubicBezTo>
                  <a:cubicBezTo>
                    <a:pt x="42384" y="22646"/>
                    <a:pt x="34510" y="16596"/>
                    <a:pt x="29518" y="15794"/>
                  </a:cubicBezTo>
                  <a:cubicBezTo>
                    <a:pt x="19451" y="14157"/>
                    <a:pt x="22009" y="26757"/>
                    <a:pt x="23389" y="30634"/>
                  </a:cubicBezTo>
                  <a:cubicBezTo>
                    <a:pt x="26880" y="40026"/>
                    <a:pt x="-2305" y="37887"/>
                    <a:pt x="2363" y="44806"/>
                  </a:cubicBezTo>
                  <a:cubicBezTo>
                    <a:pt x="5123" y="48884"/>
                    <a:pt x="-2954" y="54833"/>
                    <a:pt x="1105" y="57707"/>
                  </a:cubicBezTo>
                  <a:cubicBezTo>
                    <a:pt x="7721" y="61371"/>
                    <a:pt x="15027" y="64115"/>
                    <a:pt x="22699" y="65829"/>
                  </a:cubicBezTo>
                  <a:cubicBezTo>
                    <a:pt x="44373" y="71912"/>
                    <a:pt x="58864" y="67902"/>
                    <a:pt x="78956" y="71678"/>
                  </a:cubicBezTo>
                  <a:cubicBezTo>
                    <a:pt x="86506" y="73116"/>
                    <a:pt x="90280" y="78363"/>
                    <a:pt x="97384" y="80101"/>
                  </a:cubicBezTo>
                  <a:cubicBezTo>
                    <a:pt x="110697" y="83644"/>
                    <a:pt x="106435" y="74687"/>
                    <a:pt x="106719" y="69807"/>
                  </a:cubicBezTo>
                  <a:cubicBezTo>
                    <a:pt x="107531" y="54465"/>
                    <a:pt x="119140" y="48081"/>
                    <a:pt x="111185" y="30367"/>
                  </a:cubicBezTo>
                  <a:cubicBezTo>
                    <a:pt x="109439" y="26523"/>
                    <a:pt x="107490" y="22646"/>
                    <a:pt x="105298" y="18769"/>
                  </a:cubicBezTo>
                  <a:cubicBezTo>
                    <a:pt x="100104" y="9577"/>
                    <a:pt x="101443" y="14524"/>
                    <a:pt x="90768" y="11416"/>
                  </a:cubicBezTo>
                  <a:cubicBezTo>
                    <a:pt x="80092" y="8307"/>
                    <a:pt x="67793" y="-48"/>
                    <a:pt x="57038" y="620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F351D885-926B-441D-854F-F122E9F26E63}"/>
                </a:ext>
              </a:extLst>
            </p:cNvPr>
            <p:cNvSpPr/>
            <p:nvPr/>
          </p:nvSpPr>
          <p:spPr>
            <a:xfrm>
              <a:off x="8160991" y="4945413"/>
              <a:ext cx="206994" cy="82913"/>
            </a:xfrm>
            <a:custGeom>
              <a:avLst/>
              <a:gdLst>
                <a:gd name="connsiteX0" fmla="*/ 212266 w 212447"/>
                <a:gd name="connsiteY0" fmla="*/ 93374 h 113527"/>
                <a:gd name="connsiteX1" fmla="*/ 143020 w 212447"/>
                <a:gd name="connsiteY1" fmla="*/ 65599 h 113527"/>
                <a:gd name="connsiteX2" fmla="*/ 83069 w 212447"/>
                <a:gd name="connsiteY2" fmla="*/ 22850 h 113527"/>
                <a:gd name="connsiteX3" fmla="*/ 61191 w 212447"/>
                <a:gd name="connsiteY3" fmla="*/ 5169 h 113527"/>
                <a:gd name="connsiteX4" fmla="*/ 31154 w 212447"/>
                <a:gd name="connsiteY4" fmla="*/ 356 h 113527"/>
                <a:gd name="connsiteX5" fmla="*/ 4324 w 212447"/>
                <a:gd name="connsiteY5" fmla="*/ 8812 h 113527"/>
                <a:gd name="connsiteX6" fmla="*/ 13092 w 212447"/>
                <a:gd name="connsiteY6" fmla="*/ 28165 h 113527"/>
                <a:gd name="connsiteX7" fmla="*/ 65859 w 212447"/>
                <a:gd name="connsiteY7" fmla="*/ 59215 h 113527"/>
                <a:gd name="connsiteX8" fmla="*/ 92445 w 212447"/>
                <a:gd name="connsiteY8" fmla="*/ 68240 h 113527"/>
                <a:gd name="connsiteX9" fmla="*/ 115297 w 212447"/>
                <a:gd name="connsiteY9" fmla="*/ 84116 h 113527"/>
                <a:gd name="connsiteX10" fmla="*/ 170905 w 212447"/>
                <a:gd name="connsiteY10" fmla="*/ 108916 h 113527"/>
                <a:gd name="connsiteX11" fmla="*/ 200860 w 212447"/>
                <a:gd name="connsiteY11" fmla="*/ 112726 h 113527"/>
                <a:gd name="connsiteX12" fmla="*/ 212388 w 212447"/>
                <a:gd name="connsiteY12" fmla="*/ 93374 h 113527"/>
                <a:gd name="connsiteX13" fmla="*/ 212266 w 212447"/>
                <a:gd name="connsiteY13" fmla="*/ 93374 h 11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2447" h="113527">
                  <a:moveTo>
                    <a:pt x="212266" y="93374"/>
                  </a:moveTo>
                  <a:cubicBezTo>
                    <a:pt x="188196" y="85907"/>
                    <a:pt x="165020" y="76609"/>
                    <a:pt x="143020" y="65599"/>
                  </a:cubicBezTo>
                  <a:cubicBezTo>
                    <a:pt x="119883" y="53233"/>
                    <a:pt x="102105" y="37289"/>
                    <a:pt x="83069" y="22850"/>
                  </a:cubicBezTo>
                  <a:cubicBezTo>
                    <a:pt x="75722" y="17269"/>
                    <a:pt x="69309" y="10350"/>
                    <a:pt x="61191" y="5169"/>
                  </a:cubicBezTo>
                  <a:cubicBezTo>
                    <a:pt x="49014" y="-2652"/>
                    <a:pt x="43778" y="2696"/>
                    <a:pt x="31154" y="356"/>
                  </a:cubicBezTo>
                  <a:cubicBezTo>
                    <a:pt x="16867" y="-2251"/>
                    <a:pt x="10007" y="2896"/>
                    <a:pt x="4324" y="8812"/>
                  </a:cubicBezTo>
                  <a:cubicBezTo>
                    <a:pt x="-3793" y="17068"/>
                    <a:pt x="-505" y="19876"/>
                    <a:pt x="13092" y="28165"/>
                  </a:cubicBezTo>
                  <a:cubicBezTo>
                    <a:pt x="30140" y="38526"/>
                    <a:pt x="50556" y="47818"/>
                    <a:pt x="65859" y="59215"/>
                  </a:cubicBezTo>
                  <a:cubicBezTo>
                    <a:pt x="75032" y="66101"/>
                    <a:pt x="78807" y="66970"/>
                    <a:pt x="92445" y="68240"/>
                  </a:cubicBezTo>
                  <a:cubicBezTo>
                    <a:pt x="110873" y="69944"/>
                    <a:pt x="106489" y="76796"/>
                    <a:pt x="115297" y="84116"/>
                  </a:cubicBezTo>
                  <a:cubicBezTo>
                    <a:pt x="125810" y="92839"/>
                    <a:pt x="154913" y="105139"/>
                    <a:pt x="170905" y="108916"/>
                  </a:cubicBezTo>
                  <a:cubicBezTo>
                    <a:pt x="179023" y="110888"/>
                    <a:pt x="193148" y="114464"/>
                    <a:pt x="200860" y="112726"/>
                  </a:cubicBezTo>
                  <a:cubicBezTo>
                    <a:pt x="213037" y="109952"/>
                    <a:pt x="201510" y="96015"/>
                    <a:pt x="212388" y="93374"/>
                  </a:cubicBezTo>
                  <a:cubicBezTo>
                    <a:pt x="210318" y="92706"/>
                    <a:pt x="210764" y="93742"/>
                    <a:pt x="212266" y="93374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675A7AC2-D3EA-4DB0-BAB9-77E340AABC00}"/>
                </a:ext>
              </a:extLst>
            </p:cNvPr>
            <p:cNvSpPr/>
            <p:nvPr/>
          </p:nvSpPr>
          <p:spPr>
            <a:xfrm>
              <a:off x="8422834" y="5060170"/>
              <a:ext cx="239190" cy="225073"/>
            </a:xfrm>
            <a:custGeom>
              <a:avLst/>
              <a:gdLst>
                <a:gd name="connsiteX0" fmla="*/ 125571 w 245491"/>
                <a:gd name="connsiteY0" fmla="*/ 288130 h 308176"/>
                <a:gd name="connsiteX1" fmla="*/ 122242 w 245491"/>
                <a:gd name="connsiteY1" fmla="*/ 276298 h 308176"/>
                <a:gd name="connsiteX2" fmla="*/ 125449 w 245491"/>
                <a:gd name="connsiteY2" fmla="*/ 259385 h 308176"/>
                <a:gd name="connsiteX3" fmla="*/ 113718 w 245491"/>
                <a:gd name="connsiteY3" fmla="*/ 237393 h 308176"/>
                <a:gd name="connsiteX4" fmla="*/ 124961 w 245491"/>
                <a:gd name="connsiteY4" fmla="*/ 225962 h 308176"/>
                <a:gd name="connsiteX5" fmla="*/ 131415 w 245491"/>
                <a:gd name="connsiteY5" fmla="*/ 220614 h 308176"/>
                <a:gd name="connsiteX6" fmla="*/ 132024 w 245491"/>
                <a:gd name="connsiteY6" fmla="*/ 208047 h 308176"/>
                <a:gd name="connsiteX7" fmla="*/ 118467 w 245491"/>
                <a:gd name="connsiteY7" fmla="*/ 179770 h 308176"/>
                <a:gd name="connsiteX8" fmla="*/ 134703 w 245491"/>
                <a:gd name="connsiteY8" fmla="*/ 157911 h 308176"/>
                <a:gd name="connsiteX9" fmla="*/ 176754 w 245491"/>
                <a:gd name="connsiteY9" fmla="*/ 159215 h 308176"/>
                <a:gd name="connsiteX10" fmla="*/ 218075 w 245491"/>
                <a:gd name="connsiteY10" fmla="*/ 158847 h 308176"/>
                <a:gd name="connsiteX11" fmla="*/ 245432 w 245491"/>
                <a:gd name="connsiteY11" fmla="*/ 148987 h 308176"/>
                <a:gd name="connsiteX12" fmla="*/ 217019 w 245491"/>
                <a:gd name="connsiteY12" fmla="*/ 140464 h 308176"/>
                <a:gd name="connsiteX13" fmla="*/ 203462 w 245491"/>
                <a:gd name="connsiteY13" fmla="*/ 125992 h 308176"/>
                <a:gd name="connsiteX14" fmla="*/ 209510 w 245491"/>
                <a:gd name="connsiteY14" fmla="*/ 110015 h 308176"/>
                <a:gd name="connsiteX15" fmla="*/ 196481 w 245491"/>
                <a:gd name="connsiteY15" fmla="*/ 90663 h 308176"/>
                <a:gd name="connsiteX16" fmla="*/ 183816 w 245491"/>
                <a:gd name="connsiteY16" fmla="*/ 80034 h 308176"/>
                <a:gd name="connsiteX17" fmla="*/ 171639 w 245491"/>
                <a:gd name="connsiteY17" fmla="*/ 71244 h 308176"/>
                <a:gd name="connsiteX18" fmla="*/ 221119 w 245491"/>
                <a:gd name="connsiteY18" fmla="*/ 41163 h 308176"/>
                <a:gd name="connsiteX19" fmla="*/ 219535 w 245491"/>
                <a:gd name="connsiteY19" fmla="*/ 22613 h 308176"/>
                <a:gd name="connsiteX20" fmla="*/ 211093 w 245491"/>
                <a:gd name="connsiteY20" fmla="*/ 4831 h 308176"/>
                <a:gd name="connsiteX21" fmla="*/ 178621 w 245491"/>
                <a:gd name="connsiteY21" fmla="*/ 17031 h 308176"/>
                <a:gd name="connsiteX22" fmla="*/ 166079 w 245491"/>
                <a:gd name="connsiteY22" fmla="*/ 13120 h 308176"/>
                <a:gd name="connsiteX23" fmla="*/ 133607 w 245491"/>
                <a:gd name="connsiteY23" fmla="*/ 11917 h 308176"/>
                <a:gd name="connsiteX24" fmla="*/ 86279 w 245491"/>
                <a:gd name="connsiteY24" fmla="*/ 45775 h 308176"/>
                <a:gd name="connsiteX25" fmla="*/ 70937 w 245491"/>
                <a:gd name="connsiteY25" fmla="*/ 50588 h 308176"/>
                <a:gd name="connsiteX26" fmla="*/ 53483 w 245491"/>
                <a:gd name="connsiteY26" fmla="*/ 46210 h 308176"/>
                <a:gd name="connsiteX27" fmla="*/ 28318 w 245491"/>
                <a:gd name="connsiteY27" fmla="*/ 73149 h 308176"/>
                <a:gd name="connsiteX28" fmla="*/ 11269 w 245491"/>
                <a:gd name="connsiteY28" fmla="*/ 80970 h 308176"/>
                <a:gd name="connsiteX29" fmla="*/ 3679 w 245491"/>
                <a:gd name="connsiteY29" fmla="*/ 93337 h 308176"/>
                <a:gd name="connsiteX30" fmla="*/ 27708 w 245491"/>
                <a:gd name="connsiteY30" fmla="*/ 116733 h 308176"/>
                <a:gd name="connsiteX31" fmla="*/ 35826 w 245491"/>
                <a:gd name="connsiteY31" fmla="*/ 145912 h 308176"/>
                <a:gd name="connsiteX32" fmla="*/ 24461 w 245491"/>
                <a:gd name="connsiteY32" fmla="*/ 171448 h 308176"/>
                <a:gd name="connsiteX33" fmla="*/ 28033 w 245491"/>
                <a:gd name="connsiteY33" fmla="*/ 186087 h 308176"/>
                <a:gd name="connsiteX34" fmla="*/ 61520 w 245491"/>
                <a:gd name="connsiteY34" fmla="*/ 191068 h 308176"/>
                <a:gd name="connsiteX35" fmla="*/ 91434 w 245491"/>
                <a:gd name="connsiteY35" fmla="*/ 182912 h 308176"/>
                <a:gd name="connsiteX36" fmla="*/ 98862 w 245491"/>
                <a:gd name="connsiteY36" fmla="*/ 224926 h 308176"/>
                <a:gd name="connsiteX37" fmla="*/ 96751 w 245491"/>
                <a:gd name="connsiteY37" fmla="*/ 248322 h 308176"/>
                <a:gd name="connsiteX38" fmla="*/ 104585 w 245491"/>
                <a:gd name="connsiteY38" fmla="*/ 273089 h 308176"/>
                <a:gd name="connsiteX39" fmla="*/ 96914 w 245491"/>
                <a:gd name="connsiteY39" fmla="*/ 285790 h 308176"/>
                <a:gd name="connsiteX40" fmla="*/ 90055 w 245491"/>
                <a:gd name="connsiteY40" fmla="*/ 307081 h 308176"/>
                <a:gd name="connsiteX41" fmla="*/ 125571 w 245491"/>
                <a:gd name="connsiteY41" fmla="*/ 288130 h 308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45491" h="308176">
                  <a:moveTo>
                    <a:pt x="125571" y="288130"/>
                  </a:moveTo>
                  <a:cubicBezTo>
                    <a:pt x="127600" y="283918"/>
                    <a:pt x="123216" y="280609"/>
                    <a:pt x="122242" y="276298"/>
                  </a:cubicBezTo>
                  <a:cubicBezTo>
                    <a:pt x="120902" y="270482"/>
                    <a:pt x="126585" y="265468"/>
                    <a:pt x="125449" y="259385"/>
                  </a:cubicBezTo>
                  <a:cubicBezTo>
                    <a:pt x="124068" y="251832"/>
                    <a:pt x="114651" y="245047"/>
                    <a:pt x="113718" y="237393"/>
                  </a:cubicBezTo>
                  <a:cubicBezTo>
                    <a:pt x="112906" y="230507"/>
                    <a:pt x="122161" y="231243"/>
                    <a:pt x="124961" y="225962"/>
                  </a:cubicBezTo>
                  <a:cubicBezTo>
                    <a:pt x="127234" y="221583"/>
                    <a:pt x="126260" y="222051"/>
                    <a:pt x="131415" y="220614"/>
                  </a:cubicBezTo>
                  <a:cubicBezTo>
                    <a:pt x="140142" y="218208"/>
                    <a:pt x="130116" y="212325"/>
                    <a:pt x="132024" y="208047"/>
                  </a:cubicBezTo>
                  <a:cubicBezTo>
                    <a:pt x="136083" y="198655"/>
                    <a:pt x="114205" y="188962"/>
                    <a:pt x="118467" y="179770"/>
                  </a:cubicBezTo>
                  <a:cubicBezTo>
                    <a:pt x="122079" y="172016"/>
                    <a:pt x="129020" y="164964"/>
                    <a:pt x="134703" y="157911"/>
                  </a:cubicBezTo>
                  <a:cubicBezTo>
                    <a:pt x="143064" y="147116"/>
                    <a:pt x="164577" y="164596"/>
                    <a:pt x="176754" y="159215"/>
                  </a:cubicBezTo>
                  <a:cubicBezTo>
                    <a:pt x="183005" y="156374"/>
                    <a:pt x="208576" y="158580"/>
                    <a:pt x="218075" y="158847"/>
                  </a:cubicBezTo>
                  <a:cubicBezTo>
                    <a:pt x="226193" y="159048"/>
                    <a:pt x="235812" y="145812"/>
                    <a:pt x="245432" y="148987"/>
                  </a:cubicBezTo>
                  <a:cubicBezTo>
                    <a:pt x="243808" y="144843"/>
                    <a:pt x="221890" y="147550"/>
                    <a:pt x="217019" y="140464"/>
                  </a:cubicBezTo>
                  <a:cubicBezTo>
                    <a:pt x="211296" y="132509"/>
                    <a:pt x="221402" y="131774"/>
                    <a:pt x="203462" y="125992"/>
                  </a:cubicBezTo>
                  <a:cubicBezTo>
                    <a:pt x="194329" y="123084"/>
                    <a:pt x="212960" y="114561"/>
                    <a:pt x="209510" y="110015"/>
                  </a:cubicBezTo>
                  <a:cubicBezTo>
                    <a:pt x="203421" y="102127"/>
                    <a:pt x="189581" y="100423"/>
                    <a:pt x="196481" y="90663"/>
                  </a:cubicBezTo>
                  <a:cubicBezTo>
                    <a:pt x="199930" y="85750"/>
                    <a:pt x="193274" y="83009"/>
                    <a:pt x="183816" y="80034"/>
                  </a:cubicBezTo>
                  <a:cubicBezTo>
                    <a:pt x="171639" y="76224"/>
                    <a:pt x="167946" y="79266"/>
                    <a:pt x="171639" y="71244"/>
                  </a:cubicBezTo>
                  <a:cubicBezTo>
                    <a:pt x="179352" y="55100"/>
                    <a:pt x="215233" y="58042"/>
                    <a:pt x="221119" y="41163"/>
                  </a:cubicBezTo>
                  <a:cubicBezTo>
                    <a:pt x="222661" y="36751"/>
                    <a:pt x="230616" y="26858"/>
                    <a:pt x="219535" y="22613"/>
                  </a:cubicBezTo>
                  <a:cubicBezTo>
                    <a:pt x="204802" y="16964"/>
                    <a:pt x="219535" y="11817"/>
                    <a:pt x="211093" y="4831"/>
                  </a:cubicBezTo>
                  <a:cubicBezTo>
                    <a:pt x="194857" y="-8538"/>
                    <a:pt x="173182" y="7104"/>
                    <a:pt x="178621" y="17031"/>
                  </a:cubicBezTo>
                  <a:cubicBezTo>
                    <a:pt x="182680" y="24184"/>
                    <a:pt x="166931" y="17031"/>
                    <a:pt x="166079" y="13120"/>
                  </a:cubicBezTo>
                  <a:cubicBezTo>
                    <a:pt x="164821" y="7505"/>
                    <a:pt x="137138" y="11683"/>
                    <a:pt x="133607" y="11917"/>
                  </a:cubicBezTo>
                  <a:cubicBezTo>
                    <a:pt x="105194" y="13689"/>
                    <a:pt x="103327" y="35314"/>
                    <a:pt x="86279" y="45775"/>
                  </a:cubicBezTo>
                  <a:cubicBezTo>
                    <a:pt x="81084" y="49118"/>
                    <a:pt x="80272" y="54298"/>
                    <a:pt x="70937" y="50588"/>
                  </a:cubicBezTo>
                  <a:cubicBezTo>
                    <a:pt x="65498" y="48449"/>
                    <a:pt x="56568" y="41931"/>
                    <a:pt x="53483" y="46210"/>
                  </a:cubicBezTo>
                  <a:cubicBezTo>
                    <a:pt x="51129" y="49552"/>
                    <a:pt x="34081" y="74887"/>
                    <a:pt x="28318" y="73149"/>
                  </a:cubicBezTo>
                  <a:cubicBezTo>
                    <a:pt x="21335" y="71077"/>
                    <a:pt x="13949" y="78597"/>
                    <a:pt x="11269" y="80970"/>
                  </a:cubicBezTo>
                  <a:cubicBezTo>
                    <a:pt x="4532" y="86987"/>
                    <a:pt x="-5616" y="80068"/>
                    <a:pt x="3679" y="93337"/>
                  </a:cubicBezTo>
                  <a:cubicBezTo>
                    <a:pt x="9687" y="101994"/>
                    <a:pt x="22309" y="107976"/>
                    <a:pt x="27708" y="116733"/>
                  </a:cubicBezTo>
                  <a:cubicBezTo>
                    <a:pt x="32863" y="125881"/>
                    <a:pt x="35623" y="135825"/>
                    <a:pt x="35826" y="145912"/>
                  </a:cubicBezTo>
                  <a:cubicBezTo>
                    <a:pt x="36557" y="155639"/>
                    <a:pt x="33837" y="164830"/>
                    <a:pt x="24461" y="171448"/>
                  </a:cubicBezTo>
                  <a:cubicBezTo>
                    <a:pt x="15085" y="178066"/>
                    <a:pt x="16546" y="178133"/>
                    <a:pt x="28033" y="186087"/>
                  </a:cubicBezTo>
                  <a:cubicBezTo>
                    <a:pt x="40616" y="194811"/>
                    <a:pt x="48693" y="193842"/>
                    <a:pt x="61520" y="191068"/>
                  </a:cubicBezTo>
                  <a:cubicBezTo>
                    <a:pt x="65010" y="190265"/>
                    <a:pt x="92855" y="184115"/>
                    <a:pt x="91434" y="182912"/>
                  </a:cubicBezTo>
                  <a:cubicBezTo>
                    <a:pt x="107143" y="196282"/>
                    <a:pt x="102394" y="212994"/>
                    <a:pt x="98862" y="224926"/>
                  </a:cubicBezTo>
                  <a:cubicBezTo>
                    <a:pt x="96021" y="232493"/>
                    <a:pt x="95291" y="240491"/>
                    <a:pt x="96751" y="248322"/>
                  </a:cubicBezTo>
                  <a:cubicBezTo>
                    <a:pt x="99106" y="257246"/>
                    <a:pt x="106494" y="264031"/>
                    <a:pt x="104585" y="273089"/>
                  </a:cubicBezTo>
                  <a:cubicBezTo>
                    <a:pt x="103530" y="278170"/>
                    <a:pt x="98822" y="281211"/>
                    <a:pt x="96914" y="285790"/>
                  </a:cubicBezTo>
                  <a:cubicBezTo>
                    <a:pt x="93707" y="293477"/>
                    <a:pt x="96386" y="300129"/>
                    <a:pt x="90055" y="307081"/>
                  </a:cubicBezTo>
                  <a:cubicBezTo>
                    <a:pt x="100932" y="311927"/>
                    <a:pt x="121024" y="292074"/>
                    <a:pt x="125571" y="288130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D76B5107-8F3D-4A6C-8E55-A5217D0716B5}"/>
                </a:ext>
              </a:extLst>
            </p:cNvPr>
            <p:cNvSpPr/>
            <p:nvPr/>
          </p:nvSpPr>
          <p:spPr>
            <a:xfrm>
              <a:off x="9558594" y="5227598"/>
              <a:ext cx="602637" cy="112692"/>
            </a:xfrm>
            <a:custGeom>
              <a:avLst/>
              <a:gdLst>
                <a:gd name="connsiteX0" fmla="*/ 589973 w 618513"/>
                <a:gd name="connsiteY0" fmla="*/ 78168 h 154301"/>
                <a:gd name="connsiteX1" fmla="*/ 556285 w 618513"/>
                <a:gd name="connsiteY1" fmla="*/ 65033 h 154301"/>
                <a:gd name="connsiteX2" fmla="*/ 528643 w 618513"/>
                <a:gd name="connsiteY2" fmla="*/ 34617 h 154301"/>
                <a:gd name="connsiteX3" fmla="*/ 512407 w 618513"/>
                <a:gd name="connsiteY3" fmla="*/ 6241 h 154301"/>
                <a:gd name="connsiteX4" fmla="*/ 495197 w 618513"/>
                <a:gd name="connsiteY4" fmla="*/ 291 h 154301"/>
                <a:gd name="connsiteX5" fmla="*/ 493208 w 618513"/>
                <a:gd name="connsiteY5" fmla="*/ 12157 h 154301"/>
                <a:gd name="connsiteX6" fmla="*/ 469991 w 618513"/>
                <a:gd name="connsiteY6" fmla="*/ 24824 h 154301"/>
                <a:gd name="connsiteX7" fmla="*/ 440604 w 618513"/>
                <a:gd name="connsiteY7" fmla="*/ 24022 h 154301"/>
                <a:gd name="connsiteX8" fmla="*/ 426640 w 618513"/>
                <a:gd name="connsiteY8" fmla="*/ 23821 h 154301"/>
                <a:gd name="connsiteX9" fmla="*/ 406345 w 618513"/>
                <a:gd name="connsiteY9" fmla="*/ 23821 h 154301"/>
                <a:gd name="connsiteX10" fmla="*/ 407401 w 618513"/>
                <a:gd name="connsiteY10" fmla="*/ 33849 h 154301"/>
                <a:gd name="connsiteX11" fmla="*/ 397091 w 618513"/>
                <a:gd name="connsiteY11" fmla="*/ 43876 h 154301"/>
                <a:gd name="connsiteX12" fmla="*/ 420187 w 618513"/>
                <a:gd name="connsiteY12" fmla="*/ 47218 h 154301"/>
                <a:gd name="connsiteX13" fmla="*/ 431268 w 618513"/>
                <a:gd name="connsiteY13" fmla="*/ 50059 h 154301"/>
                <a:gd name="connsiteX14" fmla="*/ 433581 w 618513"/>
                <a:gd name="connsiteY14" fmla="*/ 37458 h 154301"/>
                <a:gd name="connsiteX15" fmla="*/ 480503 w 618513"/>
                <a:gd name="connsiteY15" fmla="*/ 65334 h 154301"/>
                <a:gd name="connsiteX16" fmla="*/ 515004 w 618513"/>
                <a:gd name="connsiteY16" fmla="*/ 74759 h 154301"/>
                <a:gd name="connsiteX17" fmla="*/ 570774 w 618513"/>
                <a:gd name="connsiteY17" fmla="*/ 94646 h 154301"/>
                <a:gd name="connsiteX18" fmla="*/ 573737 w 618513"/>
                <a:gd name="connsiteY18" fmla="*/ 89465 h 154301"/>
                <a:gd name="connsiteX19" fmla="*/ 584494 w 618513"/>
                <a:gd name="connsiteY19" fmla="*/ 87694 h 154301"/>
                <a:gd name="connsiteX20" fmla="*/ 618427 w 618513"/>
                <a:gd name="connsiteY20" fmla="*/ 88195 h 154301"/>
                <a:gd name="connsiteX21" fmla="*/ 589731 w 618513"/>
                <a:gd name="connsiteY21" fmla="*/ 78168 h 154301"/>
                <a:gd name="connsiteX22" fmla="*/ 392545 w 618513"/>
                <a:gd name="connsiteY22" fmla="*/ 56877 h 154301"/>
                <a:gd name="connsiteX23" fmla="*/ 373995 w 618513"/>
                <a:gd name="connsiteY23" fmla="*/ 76063 h 154301"/>
                <a:gd name="connsiteX24" fmla="*/ 355771 w 618513"/>
                <a:gd name="connsiteY24" fmla="*/ 80809 h 154301"/>
                <a:gd name="connsiteX25" fmla="*/ 338074 w 618513"/>
                <a:gd name="connsiteY25" fmla="*/ 89933 h 154301"/>
                <a:gd name="connsiteX26" fmla="*/ 291964 w 618513"/>
                <a:gd name="connsiteY26" fmla="*/ 89933 h 154301"/>
                <a:gd name="connsiteX27" fmla="*/ 266108 w 618513"/>
                <a:gd name="connsiteY27" fmla="*/ 79505 h 154301"/>
                <a:gd name="connsiteX28" fmla="*/ 266636 w 618513"/>
                <a:gd name="connsiteY28" fmla="*/ 72820 h 154301"/>
                <a:gd name="connsiteX29" fmla="*/ 229456 w 618513"/>
                <a:gd name="connsiteY29" fmla="*/ 81377 h 154301"/>
                <a:gd name="connsiteX30" fmla="*/ 212124 w 618513"/>
                <a:gd name="connsiteY30" fmla="*/ 81377 h 154301"/>
                <a:gd name="connsiteX31" fmla="*/ 201976 w 618513"/>
                <a:gd name="connsiteY31" fmla="*/ 84452 h 154301"/>
                <a:gd name="connsiteX32" fmla="*/ 192884 w 618513"/>
                <a:gd name="connsiteY32" fmla="*/ 76163 h 154301"/>
                <a:gd name="connsiteX33" fmla="*/ 166217 w 618513"/>
                <a:gd name="connsiteY33" fmla="*/ 65902 h 154301"/>
                <a:gd name="connsiteX34" fmla="*/ 109025 w 618513"/>
                <a:gd name="connsiteY34" fmla="*/ 45647 h 154301"/>
                <a:gd name="connsiteX35" fmla="*/ 72982 w 618513"/>
                <a:gd name="connsiteY35" fmla="*/ 45146 h 154301"/>
                <a:gd name="connsiteX36" fmla="*/ 49318 w 618513"/>
                <a:gd name="connsiteY36" fmla="*/ 43307 h 154301"/>
                <a:gd name="connsiteX37" fmla="*/ 87432 w 618513"/>
                <a:gd name="connsiteY37" fmla="*/ 61456 h 154301"/>
                <a:gd name="connsiteX38" fmla="*/ 144258 w 618513"/>
                <a:gd name="connsiteY38" fmla="*/ 77399 h 154301"/>
                <a:gd name="connsiteX39" fmla="*/ 170032 w 618513"/>
                <a:gd name="connsiteY39" fmla="*/ 99994 h 154301"/>
                <a:gd name="connsiteX40" fmla="*/ 199459 w 618513"/>
                <a:gd name="connsiteY40" fmla="*/ 119212 h 154301"/>
                <a:gd name="connsiteX41" fmla="*/ 216466 w 618513"/>
                <a:gd name="connsiteY41" fmla="*/ 114032 h 154301"/>
                <a:gd name="connsiteX42" fmla="*/ 226249 w 618513"/>
                <a:gd name="connsiteY42" fmla="*/ 115903 h 154301"/>
                <a:gd name="connsiteX43" fmla="*/ 245853 w 618513"/>
                <a:gd name="connsiteY43" fmla="*/ 130376 h 154301"/>
                <a:gd name="connsiteX44" fmla="*/ 271101 w 618513"/>
                <a:gd name="connsiteY44" fmla="*/ 132615 h 154301"/>
                <a:gd name="connsiteX45" fmla="*/ 286078 w 618513"/>
                <a:gd name="connsiteY45" fmla="*/ 144113 h 154301"/>
                <a:gd name="connsiteX46" fmla="*/ 305033 w 618513"/>
                <a:gd name="connsiteY46" fmla="*/ 141406 h 154301"/>
                <a:gd name="connsiteX47" fmla="*/ 307672 w 618513"/>
                <a:gd name="connsiteY47" fmla="*/ 148090 h 154301"/>
                <a:gd name="connsiteX48" fmla="*/ 332472 w 618513"/>
                <a:gd name="connsiteY48" fmla="*/ 153906 h 154301"/>
                <a:gd name="connsiteX49" fmla="*/ 355284 w 618513"/>
                <a:gd name="connsiteY49" fmla="*/ 137194 h 154301"/>
                <a:gd name="connsiteX50" fmla="*/ 378623 w 618513"/>
                <a:gd name="connsiteY50" fmla="*/ 118243 h 154301"/>
                <a:gd name="connsiteX51" fmla="*/ 410201 w 618513"/>
                <a:gd name="connsiteY51" fmla="*/ 115135 h 154301"/>
                <a:gd name="connsiteX52" fmla="*/ 429644 w 618513"/>
                <a:gd name="connsiteY52" fmla="*/ 79973 h 154301"/>
                <a:gd name="connsiteX53" fmla="*/ 427655 w 618513"/>
                <a:gd name="connsiteY53" fmla="*/ 64197 h 154301"/>
                <a:gd name="connsiteX54" fmla="*/ 392586 w 618513"/>
                <a:gd name="connsiteY54" fmla="*/ 57145 h 154301"/>
                <a:gd name="connsiteX55" fmla="*/ 129239 w 618513"/>
                <a:gd name="connsiteY55" fmla="*/ 80040 h 154301"/>
                <a:gd name="connsiteX56" fmla="*/ 83941 w 618513"/>
                <a:gd name="connsiteY56" fmla="*/ 75127 h 154301"/>
                <a:gd name="connsiteX57" fmla="*/ 100665 w 618513"/>
                <a:gd name="connsiteY57" fmla="*/ 92707 h 154301"/>
                <a:gd name="connsiteX58" fmla="*/ 127819 w 618513"/>
                <a:gd name="connsiteY58" fmla="*/ 99192 h 154301"/>
                <a:gd name="connsiteX59" fmla="*/ 152700 w 618513"/>
                <a:gd name="connsiteY59" fmla="*/ 98156 h 154301"/>
                <a:gd name="connsiteX60" fmla="*/ 129239 w 618513"/>
                <a:gd name="connsiteY60" fmla="*/ 80040 h 154301"/>
                <a:gd name="connsiteX61" fmla="*/ 60561 w 618513"/>
                <a:gd name="connsiteY61" fmla="*/ 70381 h 154301"/>
                <a:gd name="connsiteX62" fmla="*/ 46761 w 618513"/>
                <a:gd name="connsiteY62" fmla="*/ 54103 h 154301"/>
                <a:gd name="connsiteX63" fmla="*/ 5197 w 618513"/>
                <a:gd name="connsiteY63" fmla="*/ 44845 h 154301"/>
                <a:gd name="connsiteX64" fmla="*/ 13558 w 618513"/>
                <a:gd name="connsiteY64" fmla="*/ 55407 h 154301"/>
                <a:gd name="connsiteX65" fmla="*/ 20256 w 618513"/>
                <a:gd name="connsiteY65" fmla="*/ 65434 h 154301"/>
                <a:gd name="connsiteX66" fmla="*/ 3614 w 618513"/>
                <a:gd name="connsiteY66" fmla="*/ 84352 h 154301"/>
                <a:gd name="connsiteX67" fmla="*/ 26994 w 618513"/>
                <a:gd name="connsiteY67" fmla="*/ 91705 h 154301"/>
                <a:gd name="connsiteX68" fmla="*/ 64824 w 618513"/>
                <a:gd name="connsiteY68" fmla="*/ 81678 h 154301"/>
                <a:gd name="connsiteX69" fmla="*/ 60561 w 618513"/>
                <a:gd name="connsiteY69" fmla="*/ 70381 h 154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618513" h="154301">
                  <a:moveTo>
                    <a:pt x="589973" y="78168"/>
                  </a:moveTo>
                  <a:cubicBezTo>
                    <a:pt x="586767" y="70280"/>
                    <a:pt x="564199" y="69946"/>
                    <a:pt x="556285" y="65033"/>
                  </a:cubicBezTo>
                  <a:cubicBezTo>
                    <a:pt x="543701" y="57178"/>
                    <a:pt x="535137" y="43942"/>
                    <a:pt x="528643" y="34617"/>
                  </a:cubicBezTo>
                  <a:cubicBezTo>
                    <a:pt x="522148" y="25292"/>
                    <a:pt x="519754" y="14931"/>
                    <a:pt x="512407" y="6241"/>
                  </a:cubicBezTo>
                  <a:cubicBezTo>
                    <a:pt x="508348" y="1662"/>
                    <a:pt x="500027" y="-1815"/>
                    <a:pt x="495197" y="291"/>
                  </a:cubicBezTo>
                  <a:cubicBezTo>
                    <a:pt x="490366" y="2397"/>
                    <a:pt x="496536" y="8981"/>
                    <a:pt x="493208" y="12157"/>
                  </a:cubicBezTo>
                  <a:cubicBezTo>
                    <a:pt x="488580" y="16602"/>
                    <a:pt x="478595" y="23788"/>
                    <a:pt x="469991" y="24824"/>
                  </a:cubicBezTo>
                  <a:cubicBezTo>
                    <a:pt x="455825" y="26562"/>
                    <a:pt x="461426" y="33414"/>
                    <a:pt x="440604" y="24022"/>
                  </a:cubicBezTo>
                  <a:cubicBezTo>
                    <a:pt x="431998" y="20145"/>
                    <a:pt x="430294" y="20212"/>
                    <a:pt x="426640" y="23821"/>
                  </a:cubicBezTo>
                  <a:cubicBezTo>
                    <a:pt x="422988" y="27431"/>
                    <a:pt x="412271" y="22050"/>
                    <a:pt x="406345" y="23821"/>
                  </a:cubicBezTo>
                  <a:cubicBezTo>
                    <a:pt x="400419" y="25593"/>
                    <a:pt x="408132" y="30306"/>
                    <a:pt x="407401" y="33849"/>
                  </a:cubicBezTo>
                  <a:cubicBezTo>
                    <a:pt x="406914" y="36121"/>
                    <a:pt x="394940" y="41603"/>
                    <a:pt x="397091" y="43876"/>
                  </a:cubicBezTo>
                  <a:cubicBezTo>
                    <a:pt x="401637" y="48388"/>
                    <a:pt x="414504" y="44611"/>
                    <a:pt x="420187" y="47218"/>
                  </a:cubicBezTo>
                  <a:cubicBezTo>
                    <a:pt x="423069" y="48555"/>
                    <a:pt x="431998" y="56443"/>
                    <a:pt x="431268" y="50059"/>
                  </a:cubicBezTo>
                  <a:cubicBezTo>
                    <a:pt x="430821" y="45781"/>
                    <a:pt x="410404" y="21816"/>
                    <a:pt x="433581" y="37458"/>
                  </a:cubicBezTo>
                  <a:cubicBezTo>
                    <a:pt x="450061" y="48622"/>
                    <a:pt x="466581" y="49858"/>
                    <a:pt x="480503" y="65334"/>
                  </a:cubicBezTo>
                  <a:cubicBezTo>
                    <a:pt x="501163" y="88396"/>
                    <a:pt x="491341" y="73288"/>
                    <a:pt x="515004" y="74759"/>
                  </a:cubicBezTo>
                  <a:cubicBezTo>
                    <a:pt x="534447" y="75962"/>
                    <a:pt x="553524" y="93543"/>
                    <a:pt x="570774" y="94646"/>
                  </a:cubicBezTo>
                  <a:cubicBezTo>
                    <a:pt x="575118" y="94913"/>
                    <a:pt x="576092" y="92407"/>
                    <a:pt x="573737" y="89465"/>
                  </a:cubicBezTo>
                  <a:cubicBezTo>
                    <a:pt x="571384" y="86524"/>
                    <a:pt x="582992" y="87627"/>
                    <a:pt x="584494" y="87694"/>
                  </a:cubicBezTo>
                  <a:cubicBezTo>
                    <a:pt x="590907" y="87961"/>
                    <a:pt x="616316" y="92473"/>
                    <a:pt x="618427" y="88195"/>
                  </a:cubicBezTo>
                  <a:cubicBezTo>
                    <a:pt x="619442" y="86056"/>
                    <a:pt x="591962" y="83683"/>
                    <a:pt x="589731" y="78168"/>
                  </a:cubicBezTo>
                  <a:close/>
                  <a:moveTo>
                    <a:pt x="392545" y="56877"/>
                  </a:moveTo>
                  <a:cubicBezTo>
                    <a:pt x="372250" y="52666"/>
                    <a:pt x="375213" y="68876"/>
                    <a:pt x="373995" y="76063"/>
                  </a:cubicBezTo>
                  <a:cubicBezTo>
                    <a:pt x="373265" y="80274"/>
                    <a:pt x="360641" y="79940"/>
                    <a:pt x="355771" y="80809"/>
                  </a:cubicBezTo>
                  <a:cubicBezTo>
                    <a:pt x="347409" y="82313"/>
                    <a:pt x="345989" y="88663"/>
                    <a:pt x="338074" y="89933"/>
                  </a:cubicBezTo>
                  <a:cubicBezTo>
                    <a:pt x="322853" y="92497"/>
                    <a:pt x="307185" y="92497"/>
                    <a:pt x="291964" y="89933"/>
                  </a:cubicBezTo>
                  <a:cubicBezTo>
                    <a:pt x="284293" y="88697"/>
                    <a:pt x="266879" y="88329"/>
                    <a:pt x="266108" y="79505"/>
                  </a:cubicBezTo>
                  <a:cubicBezTo>
                    <a:pt x="265905" y="76965"/>
                    <a:pt x="273333" y="74592"/>
                    <a:pt x="266636" y="72820"/>
                  </a:cubicBezTo>
                  <a:cubicBezTo>
                    <a:pt x="244352" y="66437"/>
                    <a:pt x="245042" y="80909"/>
                    <a:pt x="229456" y="81377"/>
                  </a:cubicBezTo>
                  <a:cubicBezTo>
                    <a:pt x="225397" y="81377"/>
                    <a:pt x="214072" y="78903"/>
                    <a:pt x="212124" y="81377"/>
                  </a:cubicBezTo>
                  <a:cubicBezTo>
                    <a:pt x="209566" y="84719"/>
                    <a:pt x="211799" y="87594"/>
                    <a:pt x="201976" y="84452"/>
                  </a:cubicBezTo>
                  <a:cubicBezTo>
                    <a:pt x="192153" y="81310"/>
                    <a:pt x="195036" y="80441"/>
                    <a:pt x="192884" y="76163"/>
                  </a:cubicBezTo>
                  <a:cubicBezTo>
                    <a:pt x="190408" y="71183"/>
                    <a:pt x="171331" y="67205"/>
                    <a:pt x="166217" y="65902"/>
                  </a:cubicBezTo>
                  <a:cubicBezTo>
                    <a:pt x="145232" y="60487"/>
                    <a:pt x="128265" y="44811"/>
                    <a:pt x="109025" y="45647"/>
                  </a:cubicBezTo>
                  <a:cubicBezTo>
                    <a:pt x="97011" y="46476"/>
                    <a:pt x="84956" y="46309"/>
                    <a:pt x="72982" y="45146"/>
                  </a:cubicBezTo>
                  <a:cubicBezTo>
                    <a:pt x="65960" y="44277"/>
                    <a:pt x="52118" y="38227"/>
                    <a:pt x="49318" y="43307"/>
                  </a:cubicBezTo>
                  <a:cubicBezTo>
                    <a:pt x="45259" y="50694"/>
                    <a:pt x="80004" y="63027"/>
                    <a:pt x="87432" y="61456"/>
                  </a:cubicBezTo>
                  <a:cubicBezTo>
                    <a:pt x="99609" y="58849"/>
                    <a:pt x="131268" y="72386"/>
                    <a:pt x="144258" y="77399"/>
                  </a:cubicBezTo>
                  <a:cubicBezTo>
                    <a:pt x="161873" y="84084"/>
                    <a:pt x="183345" y="91003"/>
                    <a:pt x="170032" y="99994"/>
                  </a:cubicBezTo>
                  <a:cubicBezTo>
                    <a:pt x="155825" y="109586"/>
                    <a:pt x="184482" y="120449"/>
                    <a:pt x="199459" y="119212"/>
                  </a:cubicBezTo>
                  <a:cubicBezTo>
                    <a:pt x="206481" y="118577"/>
                    <a:pt x="222717" y="122555"/>
                    <a:pt x="216466" y="114032"/>
                  </a:cubicBezTo>
                  <a:cubicBezTo>
                    <a:pt x="210216" y="105509"/>
                    <a:pt x="223854" y="108617"/>
                    <a:pt x="226249" y="115903"/>
                  </a:cubicBezTo>
                  <a:cubicBezTo>
                    <a:pt x="228197" y="121853"/>
                    <a:pt x="237614" y="127602"/>
                    <a:pt x="245853" y="130376"/>
                  </a:cubicBezTo>
                  <a:cubicBezTo>
                    <a:pt x="252997" y="132749"/>
                    <a:pt x="266473" y="129674"/>
                    <a:pt x="271101" y="132615"/>
                  </a:cubicBezTo>
                  <a:cubicBezTo>
                    <a:pt x="276946" y="136325"/>
                    <a:pt x="276621" y="142976"/>
                    <a:pt x="286078" y="144113"/>
                  </a:cubicBezTo>
                  <a:cubicBezTo>
                    <a:pt x="292451" y="143565"/>
                    <a:pt x="298782" y="142662"/>
                    <a:pt x="305033" y="141406"/>
                  </a:cubicBezTo>
                  <a:cubicBezTo>
                    <a:pt x="307063" y="143979"/>
                    <a:pt x="302720" y="144748"/>
                    <a:pt x="307672" y="148090"/>
                  </a:cubicBezTo>
                  <a:cubicBezTo>
                    <a:pt x="314896" y="152288"/>
                    <a:pt x="323665" y="154337"/>
                    <a:pt x="332472" y="153906"/>
                  </a:cubicBezTo>
                  <a:cubicBezTo>
                    <a:pt x="347085" y="153304"/>
                    <a:pt x="342945" y="139233"/>
                    <a:pt x="355284" y="137194"/>
                  </a:cubicBezTo>
                  <a:cubicBezTo>
                    <a:pt x="367623" y="135155"/>
                    <a:pt x="380409" y="128370"/>
                    <a:pt x="378623" y="118243"/>
                  </a:cubicBezTo>
                  <a:cubicBezTo>
                    <a:pt x="376958" y="108751"/>
                    <a:pt x="400948" y="114199"/>
                    <a:pt x="410201" y="115135"/>
                  </a:cubicBezTo>
                  <a:cubicBezTo>
                    <a:pt x="432647" y="117341"/>
                    <a:pt x="428224" y="90969"/>
                    <a:pt x="429644" y="79973"/>
                  </a:cubicBezTo>
                  <a:cubicBezTo>
                    <a:pt x="430131" y="76196"/>
                    <a:pt x="436382" y="67840"/>
                    <a:pt x="427655" y="64197"/>
                  </a:cubicBezTo>
                  <a:cubicBezTo>
                    <a:pt x="416169" y="59417"/>
                    <a:pt x="403951" y="59518"/>
                    <a:pt x="392586" y="57145"/>
                  </a:cubicBezTo>
                  <a:close/>
                  <a:moveTo>
                    <a:pt x="129239" y="80040"/>
                  </a:moveTo>
                  <a:cubicBezTo>
                    <a:pt x="117062" y="85922"/>
                    <a:pt x="96767" y="63094"/>
                    <a:pt x="83941" y="75127"/>
                  </a:cubicBezTo>
                  <a:cubicBezTo>
                    <a:pt x="76838" y="81811"/>
                    <a:pt x="87189" y="101865"/>
                    <a:pt x="100665" y="92707"/>
                  </a:cubicBezTo>
                  <a:cubicBezTo>
                    <a:pt x="106793" y="88596"/>
                    <a:pt x="120959" y="93042"/>
                    <a:pt x="127819" y="99192"/>
                  </a:cubicBezTo>
                  <a:cubicBezTo>
                    <a:pt x="135327" y="106077"/>
                    <a:pt x="148925" y="100662"/>
                    <a:pt x="152700" y="98156"/>
                  </a:cubicBezTo>
                  <a:cubicBezTo>
                    <a:pt x="162929" y="91471"/>
                    <a:pt x="139265" y="75160"/>
                    <a:pt x="129239" y="80040"/>
                  </a:cubicBezTo>
                  <a:close/>
                  <a:moveTo>
                    <a:pt x="60561" y="70381"/>
                  </a:moveTo>
                  <a:cubicBezTo>
                    <a:pt x="64093" y="65267"/>
                    <a:pt x="44325" y="59250"/>
                    <a:pt x="46761" y="54103"/>
                  </a:cubicBezTo>
                  <a:cubicBezTo>
                    <a:pt x="50048" y="46349"/>
                    <a:pt x="9784" y="44577"/>
                    <a:pt x="5197" y="44845"/>
                  </a:cubicBezTo>
                  <a:cubicBezTo>
                    <a:pt x="-5275" y="45346"/>
                    <a:pt x="1138" y="58214"/>
                    <a:pt x="13558" y="55407"/>
                  </a:cubicBezTo>
                  <a:cubicBezTo>
                    <a:pt x="26994" y="52265"/>
                    <a:pt x="25735" y="58749"/>
                    <a:pt x="20256" y="65434"/>
                  </a:cubicBezTo>
                  <a:cubicBezTo>
                    <a:pt x="14776" y="72119"/>
                    <a:pt x="1991" y="73723"/>
                    <a:pt x="3614" y="84352"/>
                  </a:cubicBezTo>
                  <a:cubicBezTo>
                    <a:pt x="5359" y="95649"/>
                    <a:pt x="18348" y="94111"/>
                    <a:pt x="26994" y="91705"/>
                  </a:cubicBezTo>
                  <a:cubicBezTo>
                    <a:pt x="39171" y="88362"/>
                    <a:pt x="53255" y="85655"/>
                    <a:pt x="64824" y="81678"/>
                  </a:cubicBezTo>
                  <a:cubicBezTo>
                    <a:pt x="72738" y="78937"/>
                    <a:pt x="57923" y="74224"/>
                    <a:pt x="60561" y="70381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A7CB719E-067C-456A-8928-64A9CD9A1986}"/>
                </a:ext>
              </a:extLst>
            </p:cNvPr>
            <p:cNvSpPr/>
            <p:nvPr/>
          </p:nvSpPr>
          <p:spPr>
            <a:xfrm>
              <a:off x="8039524" y="4707455"/>
              <a:ext cx="1837251" cy="604801"/>
            </a:xfrm>
            <a:custGeom>
              <a:avLst/>
              <a:gdLst>
                <a:gd name="connsiteX0" fmla="*/ 1884214 w 1885653"/>
                <a:gd name="connsiteY0" fmla="*/ 558738 h 828110"/>
                <a:gd name="connsiteX1" fmla="*/ 1853407 w 1885653"/>
                <a:gd name="connsiteY1" fmla="*/ 541491 h 828110"/>
                <a:gd name="connsiteX2" fmla="*/ 1825928 w 1885653"/>
                <a:gd name="connsiteY2" fmla="*/ 536912 h 828110"/>
                <a:gd name="connsiteX3" fmla="*/ 1796541 w 1885653"/>
                <a:gd name="connsiteY3" fmla="*/ 524412 h 828110"/>
                <a:gd name="connsiteX4" fmla="*/ 1780994 w 1885653"/>
                <a:gd name="connsiteY4" fmla="*/ 492693 h 828110"/>
                <a:gd name="connsiteX5" fmla="*/ 1742597 w 1885653"/>
                <a:gd name="connsiteY5" fmla="*/ 457063 h 828110"/>
                <a:gd name="connsiteX6" fmla="*/ 1704889 w 1885653"/>
                <a:gd name="connsiteY6" fmla="*/ 430324 h 828110"/>
                <a:gd name="connsiteX7" fmla="*/ 1709435 w 1885653"/>
                <a:gd name="connsiteY7" fmla="*/ 419194 h 828110"/>
                <a:gd name="connsiteX8" fmla="*/ 1705376 w 1885653"/>
                <a:gd name="connsiteY8" fmla="*/ 399140 h 828110"/>
                <a:gd name="connsiteX9" fmla="*/ 1700667 w 1885653"/>
                <a:gd name="connsiteY9" fmla="*/ 387241 h 828110"/>
                <a:gd name="connsiteX10" fmla="*/ 1698922 w 1885653"/>
                <a:gd name="connsiteY10" fmla="*/ 365315 h 828110"/>
                <a:gd name="connsiteX11" fmla="*/ 1692671 w 1885653"/>
                <a:gd name="connsiteY11" fmla="*/ 355021 h 828110"/>
                <a:gd name="connsiteX12" fmla="*/ 1687354 w 1885653"/>
                <a:gd name="connsiteY12" fmla="*/ 340248 h 828110"/>
                <a:gd name="connsiteX13" fmla="*/ 1581212 w 1885653"/>
                <a:gd name="connsiteY13" fmla="*/ 281690 h 828110"/>
                <a:gd name="connsiteX14" fmla="*/ 1541393 w 1885653"/>
                <a:gd name="connsiteY14" fmla="*/ 268320 h 828110"/>
                <a:gd name="connsiteX15" fmla="*/ 1517932 w 1885653"/>
                <a:gd name="connsiteY15" fmla="*/ 273467 h 828110"/>
                <a:gd name="connsiteX16" fmla="*/ 1528851 w 1885653"/>
                <a:gd name="connsiteY16" fmla="*/ 282826 h 828110"/>
                <a:gd name="connsiteX17" fmla="*/ 1502751 w 1885653"/>
                <a:gd name="connsiteY17" fmla="*/ 294691 h 828110"/>
                <a:gd name="connsiteX18" fmla="*/ 1462446 w 1885653"/>
                <a:gd name="connsiteY18" fmla="*/ 307760 h 828110"/>
                <a:gd name="connsiteX19" fmla="*/ 1440933 w 1885653"/>
                <a:gd name="connsiteY19" fmla="*/ 312305 h 828110"/>
                <a:gd name="connsiteX20" fmla="*/ 1411871 w 1885653"/>
                <a:gd name="connsiteY20" fmla="*/ 308963 h 828110"/>
                <a:gd name="connsiteX21" fmla="*/ 1375341 w 1885653"/>
                <a:gd name="connsiteY21" fmla="*/ 287305 h 828110"/>
                <a:gd name="connsiteX22" fmla="*/ 1340839 w 1885653"/>
                <a:gd name="connsiteY22" fmla="*/ 300674 h 828110"/>
                <a:gd name="connsiteX23" fmla="*/ 1332721 w 1885653"/>
                <a:gd name="connsiteY23" fmla="*/ 306891 h 828110"/>
                <a:gd name="connsiteX24" fmla="*/ 1319733 w 1885653"/>
                <a:gd name="connsiteY24" fmla="*/ 311704 h 828110"/>
                <a:gd name="connsiteX25" fmla="*/ 1344655 w 1885653"/>
                <a:gd name="connsiteY25" fmla="*/ 326377 h 828110"/>
                <a:gd name="connsiteX26" fmla="*/ 1374772 w 1885653"/>
                <a:gd name="connsiteY26" fmla="*/ 342587 h 828110"/>
                <a:gd name="connsiteX27" fmla="*/ 1401318 w 1885653"/>
                <a:gd name="connsiteY27" fmla="*/ 344626 h 828110"/>
                <a:gd name="connsiteX28" fmla="*/ 1425672 w 1885653"/>
                <a:gd name="connsiteY28" fmla="*/ 370563 h 828110"/>
                <a:gd name="connsiteX29" fmla="*/ 1436307 w 1885653"/>
                <a:gd name="connsiteY29" fmla="*/ 388645 h 828110"/>
                <a:gd name="connsiteX30" fmla="*/ 1404443 w 1885653"/>
                <a:gd name="connsiteY30" fmla="*/ 378050 h 828110"/>
                <a:gd name="connsiteX31" fmla="*/ 1363650 w 1885653"/>
                <a:gd name="connsiteY31" fmla="*/ 366519 h 828110"/>
                <a:gd name="connsiteX32" fmla="*/ 1310884 w 1885653"/>
                <a:gd name="connsiteY32" fmla="*/ 362374 h 828110"/>
                <a:gd name="connsiteX33" fmla="*/ 1274800 w 1885653"/>
                <a:gd name="connsiteY33" fmla="*/ 357695 h 828110"/>
                <a:gd name="connsiteX34" fmla="*/ 1230151 w 1885653"/>
                <a:gd name="connsiteY34" fmla="*/ 351010 h 828110"/>
                <a:gd name="connsiteX35" fmla="*/ 1190576 w 1885653"/>
                <a:gd name="connsiteY35" fmla="*/ 335435 h 828110"/>
                <a:gd name="connsiteX36" fmla="*/ 1155953 w 1885653"/>
                <a:gd name="connsiteY36" fmla="*/ 330622 h 828110"/>
                <a:gd name="connsiteX37" fmla="*/ 1157130 w 1885653"/>
                <a:gd name="connsiteY37" fmla="*/ 349439 h 828110"/>
                <a:gd name="connsiteX38" fmla="*/ 1127052 w 1885653"/>
                <a:gd name="connsiteY38" fmla="*/ 350275 h 828110"/>
                <a:gd name="connsiteX39" fmla="*/ 1083094 w 1885653"/>
                <a:gd name="connsiteY39" fmla="*/ 351010 h 828110"/>
                <a:gd name="connsiteX40" fmla="*/ 1041490 w 1885653"/>
                <a:gd name="connsiteY40" fmla="*/ 338309 h 828110"/>
                <a:gd name="connsiteX41" fmla="*/ 943871 w 1885653"/>
                <a:gd name="connsiteY41" fmla="*/ 318790 h 828110"/>
                <a:gd name="connsiteX42" fmla="*/ 917691 w 1885653"/>
                <a:gd name="connsiteY42" fmla="*/ 310467 h 828110"/>
                <a:gd name="connsiteX43" fmla="*/ 880430 w 1885653"/>
                <a:gd name="connsiteY43" fmla="*/ 291215 h 828110"/>
                <a:gd name="connsiteX44" fmla="*/ 850718 w 1885653"/>
                <a:gd name="connsiteY44" fmla="*/ 277111 h 828110"/>
                <a:gd name="connsiteX45" fmla="*/ 815080 w 1885653"/>
                <a:gd name="connsiteY45" fmla="*/ 256789 h 828110"/>
                <a:gd name="connsiteX46" fmla="*/ 742018 w 1885653"/>
                <a:gd name="connsiteY46" fmla="*/ 231487 h 828110"/>
                <a:gd name="connsiteX47" fmla="*/ 682270 w 1885653"/>
                <a:gd name="connsiteY47" fmla="*/ 207523 h 828110"/>
                <a:gd name="connsiteX48" fmla="*/ 672367 w 1885653"/>
                <a:gd name="connsiteY48" fmla="*/ 183290 h 828110"/>
                <a:gd name="connsiteX49" fmla="*/ 646673 w 1885653"/>
                <a:gd name="connsiteY49" fmla="*/ 160696 h 828110"/>
                <a:gd name="connsiteX50" fmla="*/ 588752 w 1885653"/>
                <a:gd name="connsiteY50" fmla="*/ 129378 h 828110"/>
                <a:gd name="connsiteX51" fmla="*/ 554981 w 1885653"/>
                <a:gd name="connsiteY51" fmla="*/ 112666 h 828110"/>
                <a:gd name="connsiteX52" fmla="*/ 571582 w 1885653"/>
                <a:gd name="connsiteY52" fmla="*/ 92612 h 828110"/>
                <a:gd name="connsiteX53" fmla="*/ 563464 w 1885653"/>
                <a:gd name="connsiteY53" fmla="*/ 66943 h 828110"/>
                <a:gd name="connsiteX54" fmla="*/ 534362 w 1885653"/>
                <a:gd name="connsiteY54" fmla="*/ 45184 h 828110"/>
                <a:gd name="connsiteX55" fmla="*/ 503960 w 1885653"/>
                <a:gd name="connsiteY55" fmla="*/ 22155 h 828110"/>
                <a:gd name="connsiteX56" fmla="*/ 499901 w 1885653"/>
                <a:gd name="connsiteY56" fmla="*/ 8786 h 828110"/>
                <a:gd name="connsiteX57" fmla="*/ 481107 w 1885653"/>
                <a:gd name="connsiteY57" fmla="*/ -339 h 828110"/>
                <a:gd name="connsiteX58" fmla="*/ 465967 w 1885653"/>
                <a:gd name="connsiteY58" fmla="*/ 7081 h 828110"/>
                <a:gd name="connsiteX59" fmla="*/ 443684 w 1885653"/>
                <a:gd name="connsiteY59" fmla="*/ 11293 h 828110"/>
                <a:gd name="connsiteX60" fmla="*/ 423389 w 1885653"/>
                <a:gd name="connsiteY60" fmla="*/ 19013 h 828110"/>
                <a:gd name="connsiteX61" fmla="*/ 422699 w 1885653"/>
                <a:gd name="connsiteY61" fmla="*/ 33152 h 828110"/>
                <a:gd name="connsiteX62" fmla="*/ 370541 w 1885653"/>
                <a:gd name="connsiteY62" fmla="*/ 24261 h 828110"/>
                <a:gd name="connsiteX63" fmla="*/ 345132 w 1885653"/>
                <a:gd name="connsiteY63" fmla="*/ 14234 h 828110"/>
                <a:gd name="connsiteX64" fmla="*/ 331007 w 1885653"/>
                <a:gd name="connsiteY64" fmla="*/ 24528 h 828110"/>
                <a:gd name="connsiteX65" fmla="*/ 310346 w 1885653"/>
                <a:gd name="connsiteY65" fmla="*/ 42744 h 828110"/>
                <a:gd name="connsiteX66" fmla="*/ 298778 w 1885653"/>
                <a:gd name="connsiteY66" fmla="*/ 47892 h 828110"/>
                <a:gd name="connsiteX67" fmla="*/ 269837 w 1885653"/>
                <a:gd name="connsiteY67" fmla="*/ 39034 h 828110"/>
                <a:gd name="connsiteX68" fmla="*/ 238178 w 1885653"/>
                <a:gd name="connsiteY68" fmla="*/ 41775 h 828110"/>
                <a:gd name="connsiteX69" fmla="*/ 237244 w 1885653"/>
                <a:gd name="connsiteY69" fmla="*/ 57116 h 828110"/>
                <a:gd name="connsiteX70" fmla="*/ 243739 w 1885653"/>
                <a:gd name="connsiteY70" fmla="*/ 74229 h 828110"/>
                <a:gd name="connsiteX71" fmla="*/ 228761 w 1885653"/>
                <a:gd name="connsiteY71" fmla="*/ 80246 h 828110"/>
                <a:gd name="connsiteX72" fmla="*/ 215935 w 1885653"/>
                <a:gd name="connsiteY72" fmla="*/ 93916 h 828110"/>
                <a:gd name="connsiteX73" fmla="*/ 155618 w 1885653"/>
                <a:gd name="connsiteY73" fmla="*/ 97559 h 828110"/>
                <a:gd name="connsiteX74" fmla="*/ 102405 w 1885653"/>
                <a:gd name="connsiteY74" fmla="*/ 94685 h 828110"/>
                <a:gd name="connsiteX75" fmla="*/ 81663 w 1885653"/>
                <a:gd name="connsiteY75" fmla="*/ 96857 h 828110"/>
                <a:gd name="connsiteX76" fmla="*/ 57310 w 1885653"/>
                <a:gd name="connsiteY76" fmla="*/ 88100 h 828110"/>
                <a:gd name="connsiteX77" fmla="*/ 31698 w 1885653"/>
                <a:gd name="connsiteY77" fmla="*/ 89470 h 828110"/>
                <a:gd name="connsiteX78" fmla="*/ 7059 w 1885653"/>
                <a:gd name="connsiteY78" fmla="*/ 95253 h 828110"/>
                <a:gd name="connsiteX79" fmla="*/ 1945 w 1885653"/>
                <a:gd name="connsiteY79" fmla="*/ 113703 h 828110"/>
                <a:gd name="connsiteX80" fmla="*/ 28735 w 1885653"/>
                <a:gd name="connsiteY80" fmla="*/ 130982 h 828110"/>
                <a:gd name="connsiteX81" fmla="*/ 26380 w 1885653"/>
                <a:gd name="connsiteY81" fmla="*/ 154379 h 828110"/>
                <a:gd name="connsiteX82" fmla="*/ 49192 w 1885653"/>
                <a:gd name="connsiteY82" fmla="*/ 171458 h 828110"/>
                <a:gd name="connsiteX83" fmla="*/ 55848 w 1885653"/>
                <a:gd name="connsiteY83" fmla="*/ 185530 h 828110"/>
                <a:gd name="connsiteX84" fmla="*/ 84261 w 1885653"/>
                <a:gd name="connsiteY84" fmla="*/ 200136 h 828110"/>
                <a:gd name="connsiteX85" fmla="*/ 102161 w 1885653"/>
                <a:gd name="connsiteY85" fmla="*/ 207155 h 828110"/>
                <a:gd name="connsiteX86" fmla="*/ 169540 w 1885653"/>
                <a:gd name="connsiteY86" fmla="*/ 229114 h 828110"/>
                <a:gd name="connsiteX87" fmla="*/ 135770 w 1885653"/>
                <a:gd name="connsiteY87" fmla="*/ 241147 h 828110"/>
                <a:gd name="connsiteX88" fmla="*/ 116692 w 1885653"/>
                <a:gd name="connsiteY88" fmla="*/ 241782 h 828110"/>
                <a:gd name="connsiteX89" fmla="*/ 123877 w 1885653"/>
                <a:gd name="connsiteY89" fmla="*/ 257992 h 828110"/>
                <a:gd name="connsiteX90" fmla="*/ 120711 w 1885653"/>
                <a:gd name="connsiteY90" fmla="*/ 268019 h 828110"/>
                <a:gd name="connsiteX91" fmla="*/ 102770 w 1885653"/>
                <a:gd name="connsiteY91" fmla="*/ 261702 h 828110"/>
                <a:gd name="connsiteX92" fmla="*/ 100091 w 1885653"/>
                <a:gd name="connsiteY92" fmla="*/ 282926 h 828110"/>
                <a:gd name="connsiteX93" fmla="*/ 148149 w 1885653"/>
                <a:gd name="connsiteY93" fmla="*/ 324405 h 828110"/>
                <a:gd name="connsiteX94" fmla="*/ 174411 w 1885653"/>
                <a:gd name="connsiteY94" fmla="*/ 325875 h 828110"/>
                <a:gd name="connsiteX95" fmla="*/ 198765 w 1885653"/>
                <a:gd name="connsiteY95" fmla="*/ 341752 h 828110"/>
                <a:gd name="connsiteX96" fmla="*/ 249908 w 1885653"/>
                <a:gd name="connsiteY96" fmla="*/ 380824 h 828110"/>
                <a:gd name="connsiteX97" fmla="*/ 315096 w 1885653"/>
                <a:gd name="connsiteY97" fmla="*/ 411707 h 828110"/>
                <a:gd name="connsiteX98" fmla="*/ 336405 w 1885653"/>
                <a:gd name="connsiteY98" fmla="*/ 418793 h 828110"/>
                <a:gd name="connsiteX99" fmla="*/ 350976 w 1885653"/>
                <a:gd name="connsiteY99" fmla="*/ 417189 h 828110"/>
                <a:gd name="connsiteX100" fmla="*/ 352072 w 1885653"/>
                <a:gd name="connsiteY100" fmla="*/ 435873 h 828110"/>
                <a:gd name="connsiteX101" fmla="*/ 382109 w 1885653"/>
                <a:gd name="connsiteY101" fmla="*/ 426982 h 828110"/>
                <a:gd name="connsiteX102" fmla="*/ 413769 w 1885653"/>
                <a:gd name="connsiteY102" fmla="*/ 438078 h 828110"/>
                <a:gd name="connsiteX103" fmla="*/ 441005 w 1885653"/>
                <a:gd name="connsiteY103" fmla="*/ 450746 h 828110"/>
                <a:gd name="connsiteX104" fmla="*/ 478104 w 1885653"/>
                <a:gd name="connsiteY104" fmla="*/ 445231 h 828110"/>
                <a:gd name="connsiteX105" fmla="*/ 491458 w 1885653"/>
                <a:gd name="connsiteY105" fmla="*/ 446702 h 828110"/>
                <a:gd name="connsiteX106" fmla="*/ 512443 w 1885653"/>
                <a:gd name="connsiteY106" fmla="*/ 444763 h 828110"/>
                <a:gd name="connsiteX107" fmla="*/ 547269 w 1885653"/>
                <a:gd name="connsiteY107" fmla="*/ 454790 h 828110"/>
                <a:gd name="connsiteX108" fmla="*/ 567928 w 1885653"/>
                <a:gd name="connsiteY108" fmla="*/ 468728 h 828110"/>
                <a:gd name="connsiteX109" fmla="*/ 575844 w 1885653"/>
                <a:gd name="connsiteY109" fmla="*/ 478588 h 828110"/>
                <a:gd name="connsiteX110" fmla="*/ 594556 w 1885653"/>
                <a:gd name="connsiteY110" fmla="*/ 483000 h 828110"/>
                <a:gd name="connsiteX111" fmla="*/ 605231 w 1885653"/>
                <a:gd name="connsiteY111" fmla="*/ 501349 h 828110"/>
                <a:gd name="connsiteX112" fmla="*/ 616677 w 1885653"/>
                <a:gd name="connsiteY112" fmla="*/ 515487 h 828110"/>
                <a:gd name="connsiteX113" fmla="*/ 598736 w 1885653"/>
                <a:gd name="connsiteY113" fmla="*/ 536511 h 828110"/>
                <a:gd name="connsiteX114" fmla="*/ 565372 w 1885653"/>
                <a:gd name="connsiteY114" fmla="*/ 549546 h 828110"/>
                <a:gd name="connsiteX115" fmla="*/ 591471 w 1885653"/>
                <a:gd name="connsiteY115" fmla="*/ 570570 h 828110"/>
                <a:gd name="connsiteX116" fmla="*/ 590293 w 1885653"/>
                <a:gd name="connsiteY116" fmla="*/ 585543 h 828110"/>
                <a:gd name="connsiteX117" fmla="*/ 602024 w 1885653"/>
                <a:gd name="connsiteY117" fmla="*/ 592696 h 828110"/>
                <a:gd name="connsiteX118" fmla="*/ 594191 w 1885653"/>
                <a:gd name="connsiteY118" fmla="*/ 603826 h 828110"/>
                <a:gd name="connsiteX119" fmla="*/ 609655 w 1885653"/>
                <a:gd name="connsiteY119" fmla="*/ 617998 h 828110"/>
                <a:gd name="connsiteX120" fmla="*/ 631615 w 1885653"/>
                <a:gd name="connsiteY120" fmla="*/ 629529 h 828110"/>
                <a:gd name="connsiteX121" fmla="*/ 644766 w 1885653"/>
                <a:gd name="connsiteY121" fmla="*/ 641060 h 828110"/>
                <a:gd name="connsiteX122" fmla="*/ 656455 w 1885653"/>
                <a:gd name="connsiteY122" fmla="*/ 633406 h 828110"/>
                <a:gd name="connsiteX123" fmla="*/ 664086 w 1885653"/>
                <a:gd name="connsiteY123" fmla="*/ 624950 h 828110"/>
                <a:gd name="connsiteX124" fmla="*/ 693919 w 1885653"/>
                <a:gd name="connsiteY124" fmla="*/ 629596 h 828110"/>
                <a:gd name="connsiteX125" fmla="*/ 719572 w 1885653"/>
                <a:gd name="connsiteY125" fmla="*/ 637818 h 828110"/>
                <a:gd name="connsiteX126" fmla="*/ 751192 w 1885653"/>
                <a:gd name="connsiteY126" fmla="*/ 646341 h 828110"/>
                <a:gd name="connsiteX127" fmla="*/ 797464 w 1885653"/>
                <a:gd name="connsiteY127" fmla="*/ 660947 h 828110"/>
                <a:gd name="connsiteX128" fmla="*/ 800427 w 1885653"/>
                <a:gd name="connsiteY128" fmla="*/ 672979 h 828110"/>
                <a:gd name="connsiteX129" fmla="*/ 818855 w 1885653"/>
                <a:gd name="connsiteY129" fmla="*/ 692733 h 828110"/>
                <a:gd name="connsiteX130" fmla="*/ 841098 w 1885653"/>
                <a:gd name="connsiteY130" fmla="*/ 703395 h 828110"/>
                <a:gd name="connsiteX131" fmla="*/ 853275 w 1885653"/>
                <a:gd name="connsiteY131" fmla="*/ 702659 h 828110"/>
                <a:gd name="connsiteX132" fmla="*/ 861393 w 1885653"/>
                <a:gd name="connsiteY132" fmla="*/ 711751 h 828110"/>
                <a:gd name="connsiteX133" fmla="*/ 883920 w 1885653"/>
                <a:gd name="connsiteY133" fmla="*/ 718435 h 828110"/>
                <a:gd name="connsiteX134" fmla="*/ 875802 w 1885653"/>
                <a:gd name="connsiteY134" fmla="*/ 735147 h 828110"/>
                <a:gd name="connsiteX135" fmla="*/ 889441 w 1885653"/>
                <a:gd name="connsiteY135" fmla="*/ 735481 h 828110"/>
                <a:gd name="connsiteX136" fmla="*/ 918381 w 1885653"/>
                <a:gd name="connsiteY136" fmla="*/ 734178 h 828110"/>
                <a:gd name="connsiteX137" fmla="*/ 974395 w 1885653"/>
                <a:gd name="connsiteY137" fmla="*/ 740863 h 828110"/>
                <a:gd name="connsiteX138" fmla="*/ 1001265 w 1885653"/>
                <a:gd name="connsiteY138" fmla="*/ 739760 h 828110"/>
                <a:gd name="connsiteX139" fmla="*/ 1026674 w 1885653"/>
                <a:gd name="connsiteY139" fmla="*/ 750689 h 828110"/>
                <a:gd name="connsiteX140" fmla="*/ 1064626 w 1885653"/>
                <a:gd name="connsiteY140" fmla="*/ 760716 h 828110"/>
                <a:gd name="connsiteX141" fmla="*/ 1098234 w 1885653"/>
                <a:gd name="connsiteY141" fmla="*/ 763791 h 828110"/>
                <a:gd name="connsiteX142" fmla="*/ 1137850 w 1885653"/>
                <a:gd name="connsiteY142" fmla="*/ 762053 h 828110"/>
                <a:gd name="connsiteX143" fmla="*/ 1160864 w 1885653"/>
                <a:gd name="connsiteY143" fmla="*/ 762053 h 828110"/>
                <a:gd name="connsiteX144" fmla="*/ 1184203 w 1885653"/>
                <a:gd name="connsiteY144" fmla="*/ 758109 h 828110"/>
                <a:gd name="connsiteX145" fmla="*/ 1196989 w 1885653"/>
                <a:gd name="connsiteY145" fmla="*/ 758811 h 828110"/>
                <a:gd name="connsiteX146" fmla="*/ 1204335 w 1885653"/>
                <a:gd name="connsiteY146" fmla="*/ 748784 h 828110"/>
                <a:gd name="connsiteX147" fmla="*/ 1210871 w 1885653"/>
                <a:gd name="connsiteY147" fmla="*/ 745442 h 828110"/>
                <a:gd name="connsiteX148" fmla="*/ 1213956 w 1885653"/>
                <a:gd name="connsiteY148" fmla="*/ 739225 h 828110"/>
                <a:gd name="connsiteX149" fmla="*/ 1246753 w 1885653"/>
                <a:gd name="connsiteY149" fmla="*/ 739559 h 828110"/>
                <a:gd name="connsiteX150" fmla="*/ 1258483 w 1885653"/>
                <a:gd name="connsiteY150" fmla="*/ 734546 h 828110"/>
                <a:gd name="connsiteX151" fmla="*/ 1278452 w 1885653"/>
                <a:gd name="connsiteY151" fmla="*/ 735147 h 828110"/>
                <a:gd name="connsiteX152" fmla="*/ 1287423 w 1885653"/>
                <a:gd name="connsiteY152" fmla="*/ 725488 h 828110"/>
                <a:gd name="connsiteX153" fmla="*/ 1296312 w 1885653"/>
                <a:gd name="connsiteY153" fmla="*/ 722948 h 828110"/>
                <a:gd name="connsiteX154" fmla="*/ 1297083 w 1885653"/>
                <a:gd name="connsiteY154" fmla="*/ 717533 h 828110"/>
                <a:gd name="connsiteX155" fmla="*/ 1317053 w 1885653"/>
                <a:gd name="connsiteY155" fmla="*/ 717533 h 828110"/>
                <a:gd name="connsiteX156" fmla="*/ 1302806 w 1885653"/>
                <a:gd name="connsiteY156" fmla="*/ 710548 h 828110"/>
                <a:gd name="connsiteX157" fmla="*/ 1291563 w 1885653"/>
                <a:gd name="connsiteY157" fmla="*/ 700888 h 828110"/>
                <a:gd name="connsiteX158" fmla="*/ 1278169 w 1885653"/>
                <a:gd name="connsiteY158" fmla="*/ 696443 h 828110"/>
                <a:gd name="connsiteX159" fmla="*/ 1292254 w 1885653"/>
                <a:gd name="connsiteY159" fmla="*/ 695306 h 828110"/>
                <a:gd name="connsiteX160" fmla="*/ 1310031 w 1885653"/>
                <a:gd name="connsiteY160" fmla="*/ 686951 h 828110"/>
                <a:gd name="connsiteX161" fmla="*/ 1294688 w 1885653"/>
                <a:gd name="connsiteY161" fmla="*/ 674082 h 828110"/>
                <a:gd name="connsiteX162" fmla="*/ 1281619 w 1885653"/>
                <a:gd name="connsiteY162" fmla="*/ 660713 h 828110"/>
                <a:gd name="connsiteX163" fmla="*/ 1320219 w 1885653"/>
                <a:gd name="connsiteY163" fmla="*/ 671342 h 828110"/>
                <a:gd name="connsiteX164" fmla="*/ 1308042 w 1885653"/>
                <a:gd name="connsiteY164" fmla="*/ 650352 h 828110"/>
                <a:gd name="connsiteX165" fmla="*/ 1303131 w 1885653"/>
                <a:gd name="connsiteY165" fmla="*/ 626955 h 828110"/>
                <a:gd name="connsiteX166" fmla="*/ 1288681 w 1885653"/>
                <a:gd name="connsiteY166" fmla="*/ 605664 h 828110"/>
                <a:gd name="connsiteX167" fmla="*/ 1291928 w 1885653"/>
                <a:gd name="connsiteY167" fmla="*/ 591025 h 828110"/>
                <a:gd name="connsiteX168" fmla="*/ 1311939 w 1885653"/>
                <a:gd name="connsiteY168" fmla="*/ 591392 h 828110"/>
                <a:gd name="connsiteX169" fmla="*/ 1320707 w 1885653"/>
                <a:gd name="connsiteY169" fmla="*/ 587749 h 828110"/>
                <a:gd name="connsiteX170" fmla="*/ 1332071 w 1885653"/>
                <a:gd name="connsiteY170" fmla="*/ 591092 h 828110"/>
                <a:gd name="connsiteX171" fmla="*/ 1353301 w 1885653"/>
                <a:gd name="connsiteY171" fmla="*/ 589354 h 828110"/>
                <a:gd name="connsiteX172" fmla="*/ 1401683 w 1885653"/>
                <a:gd name="connsiteY172" fmla="*/ 594568 h 828110"/>
                <a:gd name="connsiteX173" fmla="*/ 1376030 w 1885653"/>
                <a:gd name="connsiteY173" fmla="*/ 578357 h 828110"/>
                <a:gd name="connsiteX174" fmla="*/ 1350459 w 1885653"/>
                <a:gd name="connsiteY174" fmla="*/ 561813 h 828110"/>
                <a:gd name="connsiteX175" fmla="*/ 1303902 w 1885653"/>
                <a:gd name="connsiteY175" fmla="*/ 545870 h 828110"/>
                <a:gd name="connsiteX176" fmla="*/ 1272081 w 1885653"/>
                <a:gd name="connsiteY176" fmla="*/ 514585 h 828110"/>
                <a:gd name="connsiteX177" fmla="*/ 1314902 w 1885653"/>
                <a:gd name="connsiteY177" fmla="*/ 517627 h 828110"/>
                <a:gd name="connsiteX178" fmla="*/ 1343843 w 1885653"/>
                <a:gd name="connsiteY178" fmla="*/ 513482 h 828110"/>
                <a:gd name="connsiteX179" fmla="*/ 1388492 w 1885653"/>
                <a:gd name="connsiteY179" fmla="*/ 515955 h 828110"/>
                <a:gd name="connsiteX180" fmla="*/ 1412846 w 1885653"/>
                <a:gd name="connsiteY180" fmla="*/ 537647 h 828110"/>
                <a:gd name="connsiteX181" fmla="*/ 1390237 w 1885653"/>
                <a:gd name="connsiteY181" fmla="*/ 546271 h 828110"/>
                <a:gd name="connsiteX182" fmla="*/ 1394296 w 1885653"/>
                <a:gd name="connsiteY182" fmla="*/ 557267 h 828110"/>
                <a:gd name="connsiteX183" fmla="*/ 1449701 w 1885653"/>
                <a:gd name="connsiteY183" fmla="*/ 562548 h 828110"/>
                <a:gd name="connsiteX184" fmla="*/ 1474055 w 1885653"/>
                <a:gd name="connsiteY184" fmla="*/ 567294 h 828110"/>
                <a:gd name="connsiteX185" fmla="*/ 1493619 w 1885653"/>
                <a:gd name="connsiteY185" fmla="*/ 567294 h 828110"/>
                <a:gd name="connsiteX186" fmla="*/ 1562621 w 1885653"/>
                <a:gd name="connsiteY186" fmla="*/ 574179 h 828110"/>
                <a:gd name="connsiteX187" fmla="*/ 1589736 w 1885653"/>
                <a:gd name="connsiteY187" fmla="*/ 578324 h 828110"/>
                <a:gd name="connsiteX188" fmla="*/ 1619488 w 1885653"/>
                <a:gd name="connsiteY188" fmla="*/ 593164 h 828110"/>
                <a:gd name="connsiteX189" fmla="*/ 1634628 w 1885653"/>
                <a:gd name="connsiteY189" fmla="*/ 589654 h 828110"/>
                <a:gd name="connsiteX190" fmla="*/ 1663974 w 1885653"/>
                <a:gd name="connsiteY190" fmla="*/ 592128 h 828110"/>
                <a:gd name="connsiteX191" fmla="*/ 1689221 w 1885653"/>
                <a:gd name="connsiteY191" fmla="*/ 590289 h 828110"/>
                <a:gd name="connsiteX192" fmla="*/ 1727010 w 1885653"/>
                <a:gd name="connsiteY192" fmla="*/ 599414 h 828110"/>
                <a:gd name="connsiteX193" fmla="*/ 1736954 w 1885653"/>
                <a:gd name="connsiteY193" fmla="*/ 577020 h 828110"/>
                <a:gd name="connsiteX194" fmla="*/ 1767113 w 1885653"/>
                <a:gd name="connsiteY194" fmla="*/ 572775 h 828110"/>
                <a:gd name="connsiteX195" fmla="*/ 1798894 w 1885653"/>
                <a:gd name="connsiteY195" fmla="*/ 589487 h 828110"/>
                <a:gd name="connsiteX196" fmla="*/ 1831123 w 1885653"/>
                <a:gd name="connsiteY196" fmla="*/ 583337 h 828110"/>
                <a:gd name="connsiteX197" fmla="*/ 1866233 w 1885653"/>
                <a:gd name="connsiteY197" fmla="*/ 571773 h 828110"/>
                <a:gd name="connsiteX198" fmla="*/ 1880642 w 1885653"/>
                <a:gd name="connsiteY198" fmla="*/ 569868 h 828110"/>
                <a:gd name="connsiteX199" fmla="*/ 1883199 w 1885653"/>
                <a:gd name="connsiteY199" fmla="*/ 558203 h 828110"/>
                <a:gd name="connsiteX200" fmla="*/ 1197476 w 1885653"/>
                <a:gd name="connsiteY200" fmla="*/ 795577 h 828110"/>
                <a:gd name="connsiteX201" fmla="*/ 1196218 w 1885653"/>
                <a:gd name="connsiteY201" fmla="*/ 827764 h 828110"/>
                <a:gd name="connsiteX202" fmla="*/ 1236807 w 1885653"/>
                <a:gd name="connsiteY202" fmla="*/ 812690 h 828110"/>
                <a:gd name="connsiteX203" fmla="*/ 1258158 w 1885653"/>
                <a:gd name="connsiteY203" fmla="*/ 793037 h 828110"/>
                <a:gd name="connsiteX204" fmla="*/ 1197517 w 1885653"/>
                <a:gd name="connsiteY204" fmla="*/ 795577 h 828110"/>
                <a:gd name="connsiteX205" fmla="*/ 869795 w 1885653"/>
                <a:gd name="connsiteY205" fmla="*/ 744004 h 828110"/>
                <a:gd name="connsiteX206" fmla="*/ 862489 w 1885653"/>
                <a:gd name="connsiteY206" fmla="*/ 772582 h 828110"/>
                <a:gd name="connsiteX207" fmla="*/ 894960 w 1885653"/>
                <a:gd name="connsiteY207" fmla="*/ 763591 h 828110"/>
                <a:gd name="connsiteX208" fmla="*/ 869795 w 1885653"/>
                <a:gd name="connsiteY208" fmla="*/ 744004 h 82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885653" h="828110">
                  <a:moveTo>
                    <a:pt x="1884214" y="558738"/>
                  </a:moveTo>
                  <a:cubicBezTo>
                    <a:pt x="1892332" y="549145"/>
                    <a:pt x="1862377" y="545101"/>
                    <a:pt x="1853407" y="541491"/>
                  </a:cubicBezTo>
                  <a:cubicBezTo>
                    <a:pt x="1839931" y="536010"/>
                    <a:pt x="1837739" y="537881"/>
                    <a:pt x="1825928" y="536912"/>
                  </a:cubicBezTo>
                  <a:cubicBezTo>
                    <a:pt x="1818621" y="536310"/>
                    <a:pt x="1803319" y="527754"/>
                    <a:pt x="1796541" y="524412"/>
                  </a:cubicBezTo>
                  <a:cubicBezTo>
                    <a:pt x="1777666" y="515220"/>
                    <a:pt x="1772673" y="501550"/>
                    <a:pt x="1780994" y="492693"/>
                  </a:cubicBezTo>
                  <a:cubicBezTo>
                    <a:pt x="1784282" y="489350"/>
                    <a:pt x="1750511" y="461141"/>
                    <a:pt x="1742597" y="457063"/>
                  </a:cubicBezTo>
                  <a:cubicBezTo>
                    <a:pt x="1734682" y="452985"/>
                    <a:pt x="1707243" y="435405"/>
                    <a:pt x="1704889" y="430324"/>
                  </a:cubicBezTo>
                  <a:cubicBezTo>
                    <a:pt x="1702534" y="425244"/>
                    <a:pt x="1710044" y="423639"/>
                    <a:pt x="1709435" y="419194"/>
                  </a:cubicBezTo>
                  <a:cubicBezTo>
                    <a:pt x="1708541" y="412509"/>
                    <a:pt x="1704685" y="405290"/>
                    <a:pt x="1705376" y="399140"/>
                  </a:cubicBezTo>
                  <a:cubicBezTo>
                    <a:pt x="1705863" y="395463"/>
                    <a:pt x="1702453" y="391218"/>
                    <a:pt x="1700667" y="387241"/>
                  </a:cubicBezTo>
                  <a:cubicBezTo>
                    <a:pt x="1697014" y="379153"/>
                    <a:pt x="1701885" y="373136"/>
                    <a:pt x="1698922" y="365315"/>
                  </a:cubicBezTo>
                  <a:cubicBezTo>
                    <a:pt x="1697826" y="362374"/>
                    <a:pt x="1691656" y="357528"/>
                    <a:pt x="1692671" y="355021"/>
                  </a:cubicBezTo>
                  <a:cubicBezTo>
                    <a:pt x="1694944" y="349339"/>
                    <a:pt x="1694822" y="347501"/>
                    <a:pt x="1687354" y="340248"/>
                  </a:cubicBezTo>
                  <a:cubicBezTo>
                    <a:pt x="1663447" y="316851"/>
                    <a:pt x="1620056" y="293889"/>
                    <a:pt x="1581212" y="281690"/>
                  </a:cubicBezTo>
                  <a:cubicBezTo>
                    <a:pt x="1567898" y="277512"/>
                    <a:pt x="1554991" y="270192"/>
                    <a:pt x="1541393" y="268320"/>
                  </a:cubicBezTo>
                  <a:cubicBezTo>
                    <a:pt x="1535711" y="267518"/>
                    <a:pt x="1514361" y="267685"/>
                    <a:pt x="1517932" y="273467"/>
                  </a:cubicBezTo>
                  <a:cubicBezTo>
                    <a:pt x="1520652" y="277946"/>
                    <a:pt x="1528120" y="276810"/>
                    <a:pt x="1528851" y="282826"/>
                  </a:cubicBezTo>
                  <a:cubicBezTo>
                    <a:pt x="1530637" y="296997"/>
                    <a:pt x="1518298" y="292184"/>
                    <a:pt x="1502751" y="294691"/>
                  </a:cubicBezTo>
                  <a:cubicBezTo>
                    <a:pt x="1488667" y="297542"/>
                    <a:pt x="1475110" y="301937"/>
                    <a:pt x="1462446" y="307760"/>
                  </a:cubicBezTo>
                  <a:cubicBezTo>
                    <a:pt x="1455424" y="310701"/>
                    <a:pt x="1455302" y="316884"/>
                    <a:pt x="1440933" y="312305"/>
                  </a:cubicBezTo>
                  <a:cubicBezTo>
                    <a:pt x="1431719" y="309364"/>
                    <a:pt x="1420638" y="309966"/>
                    <a:pt x="1411871" y="308963"/>
                  </a:cubicBezTo>
                  <a:cubicBezTo>
                    <a:pt x="1392997" y="306991"/>
                    <a:pt x="1386625" y="294959"/>
                    <a:pt x="1375341" y="287305"/>
                  </a:cubicBezTo>
                  <a:cubicBezTo>
                    <a:pt x="1363813" y="291760"/>
                    <a:pt x="1352326" y="296219"/>
                    <a:pt x="1340839" y="300674"/>
                  </a:cubicBezTo>
                  <a:cubicBezTo>
                    <a:pt x="1337470" y="302085"/>
                    <a:pt x="1334670" y="304237"/>
                    <a:pt x="1332721" y="306891"/>
                  </a:cubicBezTo>
                  <a:cubicBezTo>
                    <a:pt x="1329921" y="309932"/>
                    <a:pt x="1318961" y="307091"/>
                    <a:pt x="1319733" y="311704"/>
                  </a:cubicBezTo>
                  <a:cubicBezTo>
                    <a:pt x="1321356" y="321062"/>
                    <a:pt x="1333249" y="323135"/>
                    <a:pt x="1344655" y="326377"/>
                  </a:cubicBezTo>
                  <a:cubicBezTo>
                    <a:pt x="1358617" y="330388"/>
                    <a:pt x="1363367" y="337340"/>
                    <a:pt x="1374772" y="342587"/>
                  </a:cubicBezTo>
                  <a:cubicBezTo>
                    <a:pt x="1381551" y="345696"/>
                    <a:pt x="1389871" y="339044"/>
                    <a:pt x="1401318" y="344626"/>
                  </a:cubicBezTo>
                  <a:cubicBezTo>
                    <a:pt x="1411709" y="349706"/>
                    <a:pt x="1419705" y="363711"/>
                    <a:pt x="1425672" y="370563"/>
                  </a:cubicBezTo>
                  <a:cubicBezTo>
                    <a:pt x="1429244" y="374641"/>
                    <a:pt x="1440366" y="385236"/>
                    <a:pt x="1436307" y="388645"/>
                  </a:cubicBezTo>
                  <a:cubicBezTo>
                    <a:pt x="1430259" y="393725"/>
                    <a:pt x="1410735" y="381960"/>
                    <a:pt x="1404443" y="378050"/>
                  </a:cubicBezTo>
                  <a:cubicBezTo>
                    <a:pt x="1392673" y="370496"/>
                    <a:pt x="1376559" y="371666"/>
                    <a:pt x="1363650" y="366519"/>
                  </a:cubicBezTo>
                  <a:cubicBezTo>
                    <a:pt x="1344736" y="358931"/>
                    <a:pt x="1325131" y="357828"/>
                    <a:pt x="1310884" y="362374"/>
                  </a:cubicBezTo>
                  <a:cubicBezTo>
                    <a:pt x="1299154" y="366084"/>
                    <a:pt x="1289533" y="362574"/>
                    <a:pt x="1274800" y="357695"/>
                  </a:cubicBezTo>
                  <a:cubicBezTo>
                    <a:pt x="1258564" y="352280"/>
                    <a:pt x="1246102" y="353450"/>
                    <a:pt x="1230151" y="351010"/>
                  </a:cubicBezTo>
                  <a:cubicBezTo>
                    <a:pt x="1215498" y="348794"/>
                    <a:pt x="1201860" y="343420"/>
                    <a:pt x="1190576" y="335435"/>
                  </a:cubicBezTo>
                  <a:cubicBezTo>
                    <a:pt x="1180754" y="328148"/>
                    <a:pt x="1162163" y="323569"/>
                    <a:pt x="1155953" y="330622"/>
                  </a:cubicBezTo>
                  <a:cubicBezTo>
                    <a:pt x="1151488" y="335735"/>
                    <a:pt x="1161879" y="343991"/>
                    <a:pt x="1157130" y="349439"/>
                  </a:cubicBezTo>
                  <a:cubicBezTo>
                    <a:pt x="1152381" y="354887"/>
                    <a:pt x="1136835" y="350843"/>
                    <a:pt x="1127052" y="350275"/>
                  </a:cubicBezTo>
                  <a:cubicBezTo>
                    <a:pt x="1111467" y="349339"/>
                    <a:pt x="1099493" y="352948"/>
                    <a:pt x="1083094" y="351010"/>
                  </a:cubicBezTo>
                  <a:cubicBezTo>
                    <a:pt x="1068319" y="349098"/>
                    <a:pt x="1054194" y="344780"/>
                    <a:pt x="1041490" y="338309"/>
                  </a:cubicBezTo>
                  <a:cubicBezTo>
                    <a:pt x="1006542" y="321898"/>
                    <a:pt x="979509" y="319425"/>
                    <a:pt x="943871" y="318790"/>
                  </a:cubicBezTo>
                  <a:cubicBezTo>
                    <a:pt x="933277" y="318589"/>
                    <a:pt x="923861" y="318155"/>
                    <a:pt x="917691" y="310467"/>
                  </a:cubicBezTo>
                  <a:cubicBezTo>
                    <a:pt x="910344" y="301242"/>
                    <a:pt x="891754" y="299304"/>
                    <a:pt x="880430" y="291215"/>
                  </a:cubicBezTo>
                  <a:cubicBezTo>
                    <a:pt x="870972" y="284530"/>
                    <a:pt x="860378" y="283127"/>
                    <a:pt x="850718" y="277111"/>
                  </a:cubicBezTo>
                  <a:cubicBezTo>
                    <a:pt x="838216" y="269356"/>
                    <a:pt x="830423" y="262805"/>
                    <a:pt x="815080" y="256789"/>
                  </a:cubicBezTo>
                  <a:cubicBezTo>
                    <a:pt x="791092" y="247464"/>
                    <a:pt x="766779" y="239476"/>
                    <a:pt x="742018" y="231487"/>
                  </a:cubicBezTo>
                  <a:cubicBezTo>
                    <a:pt x="725133" y="225972"/>
                    <a:pt x="687871" y="218118"/>
                    <a:pt x="682270" y="207523"/>
                  </a:cubicBezTo>
                  <a:cubicBezTo>
                    <a:pt x="677927" y="199762"/>
                    <a:pt x="674598" y="191636"/>
                    <a:pt x="672367" y="183290"/>
                  </a:cubicBezTo>
                  <a:cubicBezTo>
                    <a:pt x="669565" y="172762"/>
                    <a:pt x="653898" y="169687"/>
                    <a:pt x="646673" y="160696"/>
                  </a:cubicBezTo>
                  <a:cubicBezTo>
                    <a:pt x="633968" y="144887"/>
                    <a:pt x="612497" y="138737"/>
                    <a:pt x="588752" y="129378"/>
                  </a:cubicBezTo>
                  <a:cubicBezTo>
                    <a:pt x="577671" y="125000"/>
                    <a:pt x="562531" y="119351"/>
                    <a:pt x="554981" y="112666"/>
                  </a:cubicBezTo>
                  <a:cubicBezTo>
                    <a:pt x="548446" y="106817"/>
                    <a:pt x="567157" y="97057"/>
                    <a:pt x="571582" y="92612"/>
                  </a:cubicBezTo>
                  <a:cubicBezTo>
                    <a:pt x="580715" y="83387"/>
                    <a:pt x="562043" y="77371"/>
                    <a:pt x="563464" y="66943"/>
                  </a:cubicBezTo>
                  <a:cubicBezTo>
                    <a:pt x="564763" y="57718"/>
                    <a:pt x="545604" y="50799"/>
                    <a:pt x="534362" y="45184"/>
                  </a:cubicBezTo>
                  <a:cubicBezTo>
                    <a:pt x="522793" y="38881"/>
                    <a:pt x="512564" y="31106"/>
                    <a:pt x="503960" y="22155"/>
                  </a:cubicBezTo>
                  <a:cubicBezTo>
                    <a:pt x="499901" y="17576"/>
                    <a:pt x="500591" y="13231"/>
                    <a:pt x="499901" y="8786"/>
                  </a:cubicBezTo>
                  <a:cubicBezTo>
                    <a:pt x="492837" y="6379"/>
                    <a:pt x="485248" y="3973"/>
                    <a:pt x="481107" y="-339"/>
                  </a:cubicBezTo>
                  <a:cubicBezTo>
                    <a:pt x="477536" y="2803"/>
                    <a:pt x="467550" y="3004"/>
                    <a:pt x="465967" y="7081"/>
                  </a:cubicBezTo>
                  <a:cubicBezTo>
                    <a:pt x="463045" y="14234"/>
                    <a:pt x="455332" y="12797"/>
                    <a:pt x="443684" y="11293"/>
                  </a:cubicBezTo>
                  <a:cubicBezTo>
                    <a:pt x="432725" y="9855"/>
                    <a:pt x="425825" y="14000"/>
                    <a:pt x="423389" y="19013"/>
                  </a:cubicBezTo>
                  <a:cubicBezTo>
                    <a:pt x="421644" y="22356"/>
                    <a:pt x="427732" y="31113"/>
                    <a:pt x="422699" y="33152"/>
                  </a:cubicBezTo>
                  <a:cubicBezTo>
                    <a:pt x="408290" y="39068"/>
                    <a:pt x="386168" y="28539"/>
                    <a:pt x="370541" y="24261"/>
                  </a:cubicBezTo>
                  <a:cubicBezTo>
                    <a:pt x="365873" y="22957"/>
                    <a:pt x="348542" y="13398"/>
                    <a:pt x="345132" y="14234"/>
                  </a:cubicBezTo>
                  <a:cubicBezTo>
                    <a:pt x="339531" y="15404"/>
                    <a:pt x="334659" y="22022"/>
                    <a:pt x="331007" y="24528"/>
                  </a:cubicBezTo>
                  <a:cubicBezTo>
                    <a:pt x="327354" y="27035"/>
                    <a:pt x="305313" y="38399"/>
                    <a:pt x="310346" y="42744"/>
                  </a:cubicBezTo>
                  <a:cubicBezTo>
                    <a:pt x="319601" y="50799"/>
                    <a:pt x="310022" y="51635"/>
                    <a:pt x="298778" y="47892"/>
                  </a:cubicBezTo>
                  <a:cubicBezTo>
                    <a:pt x="285262" y="43446"/>
                    <a:pt x="285140" y="39870"/>
                    <a:pt x="269837" y="39034"/>
                  </a:cubicBezTo>
                  <a:cubicBezTo>
                    <a:pt x="257093" y="38299"/>
                    <a:pt x="232292" y="31313"/>
                    <a:pt x="238178" y="41775"/>
                  </a:cubicBezTo>
                  <a:cubicBezTo>
                    <a:pt x="241385" y="47490"/>
                    <a:pt x="235824" y="51802"/>
                    <a:pt x="237244" y="57116"/>
                  </a:cubicBezTo>
                  <a:cubicBezTo>
                    <a:pt x="238665" y="62431"/>
                    <a:pt x="244022" y="68748"/>
                    <a:pt x="243739" y="74229"/>
                  </a:cubicBezTo>
                  <a:cubicBezTo>
                    <a:pt x="243495" y="78207"/>
                    <a:pt x="233591" y="78875"/>
                    <a:pt x="228761" y="80246"/>
                  </a:cubicBezTo>
                  <a:cubicBezTo>
                    <a:pt x="221211" y="82351"/>
                    <a:pt x="223038" y="94083"/>
                    <a:pt x="215935" y="93916"/>
                  </a:cubicBezTo>
                  <a:cubicBezTo>
                    <a:pt x="196533" y="93481"/>
                    <a:pt x="169703" y="91810"/>
                    <a:pt x="155618" y="97559"/>
                  </a:cubicBezTo>
                  <a:cubicBezTo>
                    <a:pt x="139382" y="104244"/>
                    <a:pt x="119859" y="88902"/>
                    <a:pt x="102405" y="94685"/>
                  </a:cubicBezTo>
                  <a:cubicBezTo>
                    <a:pt x="95342" y="97057"/>
                    <a:pt x="89092" y="95654"/>
                    <a:pt x="81663" y="96857"/>
                  </a:cubicBezTo>
                  <a:cubicBezTo>
                    <a:pt x="71475" y="98562"/>
                    <a:pt x="67863" y="88133"/>
                    <a:pt x="57310" y="88100"/>
                  </a:cubicBezTo>
                  <a:cubicBezTo>
                    <a:pt x="48745" y="87729"/>
                    <a:pt x="40140" y="88190"/>
                    <a:pt x="31698" y="89470"/>
                  </a:cubicBezTo>
                  <a:cubicBezTo>
                    <a:pt x="16517" y="92378"/>
                    <a:pt x="15827" y="86763"/>
                    <a:pt x="7059" y="95253"/>
                  </a:cubicBezTo>
                  <a:cubicBezTo>
                    <a:pt x="2595" y="99598"/>
                    <a:pt x="-3169" y="107085"/>
                    <a:pt x="1945" y="113703"/>
                  </a:cubicBezTo>
                  <a:cubicBezTo>
                    <a:pt x="6329" y="119385"/>
                    <a:pt x="29587" y="123028"/>
                    <a:pt x="28735" y="130982"/>
                  </a:cubicBezTo>
                  <a:cubicBezTo>
                    <a:pt x="28491" y="133556"/>
                    <a:pt x="27801" y="154379"/>
                    <a:pt x="26380" y="154379"/>
                  </a:cubicBezTo>
                  <a:cubicBezTo>
                    <a:pt x="33646" y="159927"/>
                    <a:pt x="43509" y="165375"/>
                    <a:pt x="49192" y="171458"/>
                  </a:cubicBezTo>
                  <a:cubicBezTo>
                    <a:pt x="53251" y="176004"/>
                    <a:pt x="49192" y="180249"/>
                    <a:pt x="55848" y="185530"/>
                  </a:cubicBezTo>
                  <a:cubicBezTo>
                    <a:pt x="64453" y="191479"/>
                    <a:pt x="73992" y="196396"/>
                    <a:pt x="84261" y="200136"/>
                  </a:cubicBezTo>
                  <a:cubicBezTo>
                    <a:pt x="93678" y="203177"/>
                    <a:pt x="96032" y="200738"/>
                    <a:pt x="102161" y="207155"/>
                  </a:cubicBezTo>
                  <a:cubicBezTo>
                    <a:pt x="118884" y="191379"/>
                    <a:pt x="182326" y="218953"/>
                    <a:pt x="169540" y="229114"/>
                  </a:cubicBezTo>
                  <a:cubicBezTo>
                    <a:pt x="159880" y="235648"/>
                    <a:pt x="148190" y="239816"/>
                    <a:pt x="135770" y="241147"/>
                  </a:cubicBezTo>
                  <a:cubicBezTo>
                    <a:pt x="126597" y="242049"/>
                    <a:pt x="121198" y="236133"/>
                    <a:pt x="116692" y="241782"/>
                  </a:cubicBezTo>
                  <a:cubicBezTo>
                    <a:pt x="112633" y="246728"/>
                    <a:pt x="119980" y="252578"/>
                    <a:pt x="123877" y="257992"/>
                  </a:cubicBezTo>
                  <a:cubicBezTo>
                    <a:pt x="126759" y="262036"/>
                    <a:pt x="130006" y="267652"/>
                    <a:pt x="120711" y="268019"/>
                  </a:cubicBezTo>
                  <a:cubicBezTo>
                    <a:pt x="111416" y="268387"/>
                    <a:pt x="110036" y="263307"/>
                    <a:pt x="102770" y="261702"/>
                  </a:cubicBezTo>
                  <a:cubicBezTo>
                    <a:pt x="92947" y="259496"/>
                    <a:pt x="97250" y="279951"/>
                    <a:pt x="100091" y="282926"/>
                  </a:cubicBezTo>
                  <a:cubicBezTo>
                    <a:pt x="104922" y="287873"/>
                    <a:pt x="157282" y="319692"/>
                    <a:pt x="148149" y="324405"/>
                  </a:cubicBezTo>
                  <a:cubicBezTo>
                    <a:pt x="157648" y="326243"/>
                    <a:pt x="167064" y="324104"/>
                    <a:pt x="174411" y="325875"/>
                  </a:cubicBezTo>
                  <a:cubicBezTo>
                    <a:pt x="185898" y="328650"/>
                    <a:pt x="191702" y="336170"/>
                    <a:pt x="198765" y="341752"/>
                  </a:cubicBezTo>
                  <a:cubicBezTo>
                    <a:pt x="215001" y="354620"/>
                    <a:pt x="231683" y="368791"/>
                    <a:pt x="249908" y="380824"/>
                  </a:cubicBezTo>
                  <a:cubicBezTo>
                    <a:pt x="269473" y="393792"/>
                    <a:pt x="292365" y="401680"/>
                    <a:pt x="315096" y="411707"/>
                  </a:cubicBezTo>
                  <a:cubicBezTo>
                    <a:pt x="322036" y="414391"/>
                    <a:pt x="329140" y="416757"/>
                    <a:pt x="336405" y="418793"/>
                  </a:cubicBezTo>
                  <a:cubicBezTo>
                    <a:pt x="341154" y="417657"/>
                    <a:pt x="346065" y="417115"/>
                    <a:pt x="350976" y="417189"/>
                  </a:cubicBezTo>
                  <a:cubicBezTo>
                    <a:pt x="360881" y="419963"/>
                    <a:pt x="350976" y="432296"/>
                    <a:pt x="352072" y="435873"/>
                  </a:cubicBezTo>
                  <a:cubicBezTo>
                    <a:pt x="362911" y="431728"/>
                    <a:pt x="366929" y="426681"/>
                    <a:pt x="382109" y="426982"/>
                  </a:cubicBezTo>
                  <a:cubicBezTo>
                    <a:pt x="398669" y="427349"/>
                    <a:pt x="399238" y="432329"/>
                    <a:pt x="413769" y="438078"/>
                  </a:cubicBezTo>
                  <a:cubicBezTo>
                    <a:pt x="425621" y="442791"/>
                    <a:pt x="432440" y="441955"/>
                    <a:pt x="441005" y="450746"/>
                  </a:cubicBezTo>
                  <a:cubicBezTo>
                    <a:pt x="458256" y="451481"/>
                    <a:pt x="463491" y="448206"/>
                    <a:pt x="478104" y="445231"/>
                  </a:cubicBezTo>
                  <a:cubicBezTo>
                    <a:pt x="481392" y="444563"/>
                    <a:pt x="487399" y="447203"/>
                    <a:pt x="491458" y="446702"/>
                  </a:cubicBezTo>
                  <a:cubicBezTo>
                    <a:pt x="498399" y="445602"/>
                    <a:pt x="505380" y="444954"/>
                    <a:pt x="512443" y="444763"/>
                  </a:cubicBezTo>
                  <a:cubicBezTo>
                    <a:pt x="524294" y="444763"/>
                    <a:pt x="537892" y="455826"/>
                    <a:pt x="547269" y="454790"/>
                  </a:cubicBezTo>
                  <a:cubicBezTo>
                    <a:pt x="564195" y="452685"/>
                    <a:pt x="563220" y="460606"/>
                    <a:pt x="567928" y="468728"/>
                  </a:cubicBezTo>
                  <a:cubicBezTo>
                    <a:pt x="570324" y="472839"/>
                    <a:pt x="569918" y="475078"/>
                    <a:pt x="575844" y="478588"/>
                  </a:cubicBezTo>
                  <a:cubicBezTo>
                    <a:pt x="584205" y="483568"/>
                    <a:pt x="585545" y="480894"/>
                    <a:pt x="594556" y="483000"/>
                  </a:cubicBezTo>
                  <a:cubicBezTo>
                    <a:pt x="612699" y="487211"/>
                    <a:pt x="601984" y="494798"/>
                    <a:pt x="605231" y="501349"/>
                  </a:cubicBezTo>
                  <a:cubicBezTo>
                    <a:pt x="608721" y="508468"/>
                    <a:pt x="621467" y="505561"/>
                    <a:pt x="616677" y="515487"/>
                  </a:cubicBezTo>
                  <a:cubicBezTo>
                    <a:pt x="612943" y="523476"/>
                    <a:pt x="613349" y="533770"/>
                    <a:pt x="598736" y="536511"/>
                  </a:cubicBezTo>
                  <a:cubicBezTo>
                    <a:pt x="587169" y="538683"/>
                    <a:pt x="570608" y="542627"/>
                    <a:pt x="565372" y="549546"/>
                  </a:cubicBezTo>
                  <a:cubicBezTo>
                    <a:pt x="552221" y="566859"/>
                    <a:pt x="585179" y="556498"/>
                    <a:pt x="591471" y="570570"/>
                  </a:cubicBezTo>
                  <a:cubicBezTo>
                    <a:pt x="593622" y="575383"/>
                    <a:pt x="583353" y="578625"/>
                    <a:pt x="590293" y="585543"/>
                  </a:cubicBezTo>
                  <a:cubicBezTo>
                    <a:pt x="593378" y="588585"/>
                    <a:pt x="599346" y="589287"/>
                    <a:pt x="602024" y="592696"/>
                  </a:cubicBezTo>
                  <a:cubicBezTo>
                    <a:pt x="605718" y="597542"/>
                    <a:pt x="596666" y="600718"/>
                    <a:pt x="594191" y="603826"/>
                  </a:cubicBezTo>
                  <a:cubicBezTo>
                    <a:pt x="588711" y="610511"/>
                    <a:pt x="615379" y="611279"/>
                    <a:pt x="609655" y="617998"/>
                  </a:cubicBezTo>
                  <a:cubicBezTo>
                    <a:pt x="602917" y="625852"/>
                    <a:pt x="623334" y="628827"/>
                    <a:pt x="631615" y="629529"/>
                  </a:cubicBezTo>
                  <a:cubicBezTo>
                    <a:pt x="642005" y="630364"/>
                    <a:pt x="640544" y="636581"/>
                    <a:pt x="644766" y="641060"/>
                  </a:cubicBezTo>
                  <a:cubicBezTo>
                    <a:pt x="653939" y="650786"/>
                    <a:pt x="657348" y="637149"/>
                    <a:pt x="656455" y="633406"/>
                  </a:cubicBezTo>
                  <a:cubicBezTo>
                    <a:pt x="656050" y="631634"/>
                    <a:pt x="660514" y="620672"/>
                    <a:pt x="664086" y="624950"/>
                  </a:cubicBezTo>
                  <a:cubicBezTo>
                    <a:pt x="669769" y="631935"/>
                    <a:pt x="685801" y="625284"/>
                    <a:pt x="693919" y="629596"/>
                  </a:cubicBezTo>
                  <a:cubicBezTo>
                    <a:pt x="704189" y="635044"/>
                    <a:pt x="709465" y="631868"/>
                    <a:pt x="719572" y="637818"/>
                  </a:cubicBezTo>
                  <a:cubicBezTo>
                    <a:pt x="723631" y="640091"/>
                    <a:pt x="747579" y="647845"/>
                    <a:pt x="751192" y="646341"/>
                  </a:cubicBezTo>
                  <a:cubicBezTo>
                    <a:pt x="774084" y="636648"/>
                    <a:pt x="778549" y="652691"/>
                    <a:pt x="797464" y="660947"/>
                  </a:cubicBezTo>
                  <a:cubicBezTo>
                    <a:pt x="811995" y="667297"/>
                    <a:pt x="803147" y="667632"/>
                    <a:pt x="800427" y="672979"/>
                  </a:cubicBezTo>
                  <a:cubicBezTo>
                    <a:pt x="798033" y="677592"/>
                    <a:pt x="813335" y="689156"/>
                    <a:pt x="818855" y="692733"/>
                  </a:cubicBezTo>
                  <a:cubicBezTo>
                    <a:pt x="825917" y="697379"/>
                    <a:pt x="830504" y="702125"/>
                    <a:pt x="841098" y="703395"/>
                  </a:cubicBezTo>
                  <a:cubicBezTo>
                    <a:pt x="846415" y="703996"/>
                    <a:pt x="846943" y="699819"/>
                    <a:pt x="853275" y="702659"/>
                  </a:cubicBezTo>
                  <a:cubicBezTo>
                    <a:pt x="859607" y="705501"/>
                    <a:pt x="858633" y="708475"/>
                    <a:pt x="861393" y="711751"/>
                  </a:cubicBezTo>
                  <a:cubicBezTo>
                    <a:pt x="867035" y="718001"/>
                    <a:pt x="882459" y="710748"/>
                    <a:pt x="883920" y="718435"/>
                  </a:cubicBezTo>
                  <a:cubicBezTo>
                    <a:pt x="885382" y="726123"/>
                    <a:pt x="871459" y="725120"/>
                    <a:pt x="875802" y="735147"/>
                  </a:cubicBezTo>
                  <a:cubicBezTo>
                    <a:pt x="880146" y="745174"/>
                    <a:pt x="888507" y="742668"/>
                    <a:pt x="889441" y="735481"/>
                  </a:cubicBezTo>
                  <a:cubicBezTo>
                    <a:pt x="890171" y="729499"/>
                    <a:pt x="912049" y="733309"/>
                    <a:pt x="918381" y="734178"/>
                  </a:cubicBezTo>
                  <a:cubicBezTo>
                    <a:pt x="936890" y="737236"/>
                    <a:pt x="955601" y="739469"/>
                    <a:pt x="974395" y="740863"/>
                  </a:cubicBezTo>
                  <a:cubicBezTo>
                    <a:pt x="979062" y="741063"/>
                    <a:pt x="997571" y="738490"/>
                    <a:pt x="1001265" y="739760"/>
                  </a:cubicBezTo>
                  <a:cubicBezTo>
                    <a:pt x="1009952" y="742701"/>
                    <a:pt x="1016445" y="750990"/>
                    <a:pt x="1026674" y="750689"/>
                  </a:cubicBezTo>
                  <a:cubicBezTo>
                    <a:pt x="1037836" y="750355"/>
                    <a:pt x="1053748" y="756772"/>
                    <a:pt x="1064626" y="760716"/>
                  </a:cubicBezTo>
                  <a:cubicBezTo>
                    <a:pt x="1081309" y="766565"/>
                    <a:pt x="1082851" y="764393"/>
                    <a:pt x="1098234" y="763791"/>
                  </a:cubicBezTo>
                  <a:cubicBezTo>
                    <a:pt x="1109396" y="763290"/>
                    <a:pt x="1129976" y="765730"/>
                    <a:pt x="1137850" y="762053"/>
                  </a:cubicBezTo>
                  <a:cubicBezTo>
                    <a:pt x="1145724" y="758377"/>
                    <a:pt x="1150554" y="762053"/>
                    <a:pt x="1160864" y="762053"/>
                  </a:cubicBezTo>
                  <a:cubicBezTo>
                    <a:pt x="1169469" y="761853"/>
                    <a:pt x="1176695" y="759112"/>
                    <a:pt x="1184203" y="758109"/>
                  </a:cubicBezTo>
                  <a:cubicBezTo>
                    <a:pt x="1188262" y="757575"/>
                    <a:pt x="1193011" y="759680"/>
                    <a:pt x="1196989" y="758811"/>
                  </a:cubicBezTo>
                  <a:cubicBezTo>
                    <a:pt x="1202550" y="757541"/>
                    <a:pt x="1200358" y="751191"/>
                    <a:pt x="1204335" y="748784"/>
                  </a:cubicBezTo>
                  <a:cubicBezTo>
                    <a:pt x="1207502" y="747013"/>
                    <a:pt x="1212453" y="750288"/>
                    <a:pt x="1210871" y="745442"/>
                  </a:cubicBezTo>
                  <a:cubicBezTo>
                    <a:pt x="1209653" y="741765"/>
                    <a:pt x="1205635" y="737554"/>
                    <a:pt x="1213956" y="739225"/>
                  </a:cubicBezTo>
                  <a:cubicBezTo>
                    <a:pt x="1226538" y="741765"/>
                    <a:pt x="1237863" y="744305"/>
                    <a:pt x="1246753" y="739559"/>
                  </a:cubicBezTo>
                  <a:cubicBezTo>
                    <a:pt x="1250812" y="737353"/>
                    <a:pt x="1252232" y="735047"/>
                    <a:pt x="1258483" y="734546"/>
                  </a:cubicBezTo>
                  <a:cubicBezTo>
                    <a:pt x="1264734" y="734044"/>
                    <a:pt x="1273582" y="736584"/>
                    <a:pt x="1278452" y="735147"/>
                  </a:cubicBezTo>
                  <a:cubicBezTo>
                    <a:pt x="1283243" y="733392"/>
                    <a:pt x="1286611" y="729753"/>
                    <a:pt x="1287423" y="725488"/>
                  </a:cubicBezTo>
                  <a:cubicBezTo>
                    <a:pt x="1288600" y="721009"/>
                    <a:pt x="1294202" y="724920"/>
                    <a:pt x="1296312" y="722948"/>
                  </a:cubicBezTo>
                  <a:cubicBezTo>
                    <a:pt x="1298423" y="720976"/>
                    <a:pt x="1292984" y="719305"/>
                    <a:pt x="1297083" y="717533"/>
                  </a:cubicBezTo>
                  <a:cubicBezTo>
                    <a:pt x="1301183" y="715762"/>
                    <a:pt x="1314415" y="719338"/>
                    <a:pt x="1317053" y="717533"/>
                  </a:cubicBezTo>
                  <a:cubicBezTo>
                    <a:pt x="1319692" y="715728"/>
                    <a:pt x="1304876" y="710514"/>
                    <a:pt x="1302806" y="710548"/>
                  </a:cubicBezTo>
                  <a:cubicBezTo>
                    <a:pt x="1296677" y="710548"/>
                    <a:pt x="1296109" y="702793"/>
                    <a:pt x="1291563" y="700888"/>
                  </a:cubicBezTo>
                  <a:cubicBezTo>
                    <a:pt x="1286246" y="698615"/>
                    <a:pt x="1283445" y="701423"/>
                    <a:pt x="1278169" y="696443"/>
                  </a:cubicBezTo>
                  <a:cubicBezTo>
                    <a:pt x="1271715" y="690092"/>
                    <a:pt x="1288437" y="694872"/>
                    <a:pt x="1292254" y="695306"/>
                  </a:cubicBezTo>
                  <a:cubicBezTo>
                    <a:pt x="1307312" y="697044"/>
                    <a:pt x="1326064" y="701256"/>
                    <a:pt x="1310031" y="686951"/>
                  </a:cubicBezTo>
                  <a:cubicBezTo>
                    <a:pt x="1304268" y="681803"/>
                    <a:pt x="1298625" y="680266"/>
                    <a:pt x="1294688" y="674082"/>
                  </a:cubicBezTo>
                  <a:cubicBezTo>
                    <a:pt x="1294039" y="673046"/>
                    <a:pt x="1281822" y="659777"/>
                    <a:pt x="1281619" y="660713"/>
                  </a:cubicBezTo>
                  <a:cubicBezTo>
                    <a:pt x="1282836" y="656000"/>
                    <a:pt x="1340352" y="699518"/>
                    <a:pt x="1320219" y="671342"/>
                  </a:cubicBezTo>
                  <a:cubicBezTo>
                    <a:pt x="1315917" y="665325"/>
                    <a:pt x="1303984" y="655499"/>
                    <a:pt x="1308042" y="650352"/>
                  </a:cubicBezTo>
                  <a:cubicBezTo>
                    <a:pt x="1312101" y="645204"/>
                    <a:pt x="1304227" y="633640"/>
                    <a:pt x="1303131" y="626955"/>
                  </a:cubicBezTo>
                  <a:cubicBezTo>
                    <a:pt x="1301588" y="617797"/>
                    <a:pt x="1299762" y="614154"/>
                    <a:pt x="1288681" y="605664"/>
                  </a:cubicBezTo>
                  <a:cubicBezTo>
                    <a:pt x="1279508" y="598612"/>
                    <a:pt x="1281862" y="593097"/>
                    <a:pt x="1291928" y="591025"/>
                  </a:cubicBezTo>
                  <a:cubicBezTo>
                    <a:pt x="1298261" y="589755"/>
                    <a:pt x="1305445" y="592027"/>
                    <a:pt x="1311939" y="591392"/>
                  </a:cubicBezTo>
                  <a:cubicBezTo>
                    <a:pt x="1315998" y="590958"/>
                    <a:pt x="1316972" y="588284"/>
                    <a:pt x="1320707" y="587749"/>
                  </a:cubicBezTo>
                  <a:cubicBezTo>
                    <a:pt x="1323182" y="587415"/>
                    <a:pt x="1328825" y="591092"/>
                    <a:pt x="1332071" y="591092"/>
                  </a:cubicBezTo>
                  <a:cubicBezTo>
                    <a:pt x="1340189" y="591559"/>
                    <a:pt x="1343802" y="586111"/>
                    <a:pt x="1353301" y="589354"/>
                  </a:cubicBezTo>
                  <a:cubicBezTo>
                    <a:pt x="1362798" y="592596"/>
                    <a:pt x="1406635" y="605430"/>
                    <a:pt x="1401683" y="594568"/>
                  </a:cubicBezTo>
                  <a:cubicBezTo>
                    <a:pt x="1397299" y="585042"/>
                    <a:pt x="1386340" y="584541"/>
                    <a:pt x="1376030" y="578357"/>
                  </a:cubicBezTo>
                  <a:cubicBezTo>
                    <a:pt x="1364219" y="571271"/>
                    <a:pt x="1366898" y="561378"/>
                    <a:pt x="1350459" y="561813"/>
                  </a:cubicBezTo>
                  <a:cubicBezTo>
                    <a:pt x="1337754" y="562147"/>
                    <a:pt x="1288519" y="565389"/>
                    <a:pt x="1303902" y="545870"/>
                  </a:cubicBezTo>
                  <a:cubicBezTo>
                    <a:pt x="1316485" y="529926"/>
                    <a:pt x="1264896" y="530194"/>
                    <a:pt x="1272081" y="514585"/>
                  </a:cubicBezTo>
                  <a:cubicBezTo>
                    <a:pt x="1279630" y="498107"/>
                    <a:pt x="1296028" y="512513"/>
                    <a:pt x="1314902" y="517627"/>
                  </a:cubicBezTo>
                  <a:cubicBezTo>
                    <a:pt x="1328703" y="521336"/>
                    <a:pt x="1330936" y="510674"/>
                    <a:pt x="1343843" y="513482"/>
                  </a:cubicBezTo>
                  <a:cubicBezTo>
                    <a:pt x="1362595" y="517593"/>
                    <a:pt x="1370835" y="516256"/>
                    <a:pt x="1388492" y="515955"/>
                  </a:cubicBezTo>
                  <a:cubicBezTo>
                    <a:pt x="1414550" y="515521"/>
                    <a:pt x="1446697" y="534405"/>
                    <a:pt x="1412846" y="537647"/>
                  </a:cubicBezTo>
                  <a:cubicBezTo>
                    <a:pt x="1402129" y="538683"/>
                    <a:pt x="1392022" y="538617"/>
                    <a:pt x="1390237" y="546271"/>
                  </a:cubicBezTo>
                  <a:cubicBezTo>
                    <a:pt x="1388978" y="551752"/>
                    <a:pt x="1367304" y="552955"/>
                    <a:pt x="1394296" y="557267"/>
                  </a:cubicBezTo>
                  <a:cubicBezTo>
                    <a:pt x="1412927" y="560208"/>
                    <a:pt x="1431152" y="560108"/>
                    <a:pt x="1449701" y="562548"/>
                  </a:cubicBezTo>
                  <a:cubicBezTo>
                    <a:pt x="1458021" y="563280"/>
                    <a:pt x="1466221" y="564874"/>
                    <a:pt x="1474055" y="567294"/>
                  </a:cubicBezTo>
                  <a:cubicBezTo>
                    <a:pt x="1486841" y="571840"/>
                    <a:pt x="1482173" y="565523"/>
                    <a:pt x="1493619" y="567294"/>
                  </a:cubicBezTo>
                  <a:cubicBezTo>
                    <a:pt x="1515010" y="570403"/>
                    <a:pt x="1545006" y="578524"/>
                    <a:pt x="1562621" y="574179"/>
                  </a:cubicBezTo>
                  <a:cubicBezTo>
                    <a:pt x="1571227" y="572040"/>
                    <a:pt x="1581658" y="568765"/>
                    <a:pt x="1589736" y="578324"/>
                  </a:cubicBezTo>
                  <a:cubicBezTo>
                    <a:pt x="1592130" y="581131"/>
                    <a:pt x="1615876" y="595871"/>
                    <a:pt x="1619488" y="593164"/>
                  </a:cubicBezTo>
                  <a:cubicBezTo>
                    <a:pt x="1626226" y="588084"/>
                    <a:pt x="1613927" y="582234"/>
                    <a:pt x="1634628" y="589654"/>
                  </a:cubicBezTo>
                  <a:cubicBezTo>
                    <a:pt x="1641000" y="591961"/>
                    <a:pt x="1657926" y="591994"/>
                    <a:pt x="1663974" y="592128"/>
                  </a:cubicBezTo>
                  <a:cubicBezTo>
                    <a:pt x="1672092" y="592128"/>
                    <a:pt x="1678546" y="580730"/>
                    <a:pt x="1689221" y="590289"/>
                  </a:cubicBezTo>
                  <a:cubicBezTo>
                    <a:pt x="1704442" y="603960"/>
                    <a:pt x="1717633" y="614120"/>
                    <a:pt x="1727010" y="599414"/>
                  </a:cubicBezTo>
                  <a:cubicBezTo>
                    <a:pt x="1731109" y="592201"/>
                    <a:pt x="1734438" y="584708"/>
                    <a:pt x="1736954" y="577020"/>
                  </a:cubicBezTo>
                  <a:cubicBezTo>
                    <a:pt x="1740120" y="568898"/>
                    <a:pt x="1753434" y="570904"/>
                    <a:pt x="1767113" y="572775"/>
                  </a:cubicBezTo>
                  <a:cubicBezTo>
                    <a:pt x="1778762" y="574346"/>
                    <a:pt x="1785460" y="589755"/>
                    <a:pt x="1798894" y="589487"/>
                  </a:cubicBezTo>
                  <a:cubicBezTo>
                    <a:pt x="1810259" y="589487"/>
                    <a:pt x="1819189" y="583204"/>
                    <a:pt x="1831123" y="583337"/>
                  </a:cubicBezTo>
                  <a:cubicBezTo>
                    <a:pt x="1849023" y="583605"/>
                    <a:pt x="1852757" y="575917"/>
                    <a:pt x="1866233" y="571773"/>
                  </a:cubicBezTo>
                  <a:cubicBezTo>
                    <a:pt x="1869318" y="570804"/>
                    <a:pt x="1879709" y="572107"/>
                    <a:pt x="1880642" y="569868"/>
                  </a:cubicBezTo>
                  <a:cubicBezTo>
                    <a:pt x="1882266" y="566024"/>
                    <a:pt x="1880155" y="561712"/>
                    <a:pt x="1883199" y="558203"/>
                  </a:cubicBezTo>
                  <a:close/>
                  <a:moveTo>
                    <a:pt x="1197476" y="795577"/>
                  </a:moveTo>
                  <a:cubicBezTo>
                    <a:pt x="1195203" y="797215"/>
                    <a:pt x="1179454" y="827396"/>
                    <a:pt x="1196218" y="827764"/>
                  </a:cubicBezTo>
                  <a:cubicBezTo>
                    <a:pt x="1211196" y="828098"/>
                    <a:pt x="1226944" y="817737"/>
                    <a:pt x="1236807" y="812690"/>
                  </a:cubicBezTo>
                  <a:cubicBezTo>
                    <a:pt x="1241962" y="810083"/>
                    <a:pt x="1266194" y="800457"/>
                    <a:pt x="1258158" y="793037"/>
                  </a:cubicBezTo>
                  <a:cubicBezTo>
                    <a:pt x="1242287" y="778431"/>
                    <a:pt x="1205838" y="789695"/>
                    <a:pt x="1197517" y="795577"/>
                  </a:cubicBezTo>
                  <a:close/>
                  <a:moveTo>
                    <a:pt x="869795" y="744004"/>
                  </a:moveTo>
                  <a:cubicBezTo>
                    <a:pt x="830139" y="729599"/>
                    <a:pt x="815161" y="766733"/>
                    <a:pt x="862489" y="772582"/>
                  </a:cubicBezTo>
                  <a:cubicBezTo>
                    <a:pt x="877750" y="774487"/>
                    <a:pt x="884083" y="767468"/>
                    <a:pt x="894960" y="763591"/>
                  </a:cubicBezTo>
                  <a:cubicBezTo>
                    <a:pt x="915743" y="756037"/>
                    <a:pt x="883758" y="749152"/>
                    <a:pt x="869795" y="744004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5B2BF034-286D-4651-AD4E-33C16E7B0800}"/>
                </a:ext>
              </a:extLst>
            </p:cNvPr>
            <p:cNvSpPr/>
            <p:nvPr/>
          </p:nvSpPr>
          <p:spPr>
            <a:xfrm>
              <a:off x="7235455" y="4496335"/>
              <a:ext cx="1272653" cy="277761"/>
            </a:xfrm>
            <a:custGeom>
              <a:avLst/>
              <a:gdLst>
                <a:gd name="connsiteX0" fmla="*/ 1302626 w 1306181"/>
                <a:gd name="connsiteY0" fmla="*/ 281447 h 380318"/>
                <a:gd name="connsiteX1" fmla="*/ 1252944 w 1306181"/>
                <a:gd name="connsiteY1" fmla="*/ 259454 h 380318"/>
                <a:gd name="connsiteX2" fmla="*/ 1233866 w 1306181"/>
                <a:gd name="connsiteY2" fmla="*/ 245449 h 380318"/>
                <a:gd name="connsiteX3" fmla="*/ 1210690 w 1306181"/>
                <a:gd name="connsiteY3" fmla="*/ 225395 h 380318"/>
                <a:gd name="connsiteX4" fmla="*/ 1174159 w 1306181"/>
                <a:gd name="connsiteY4" fmla="*/ 221886 h 380318"/>
                <a:gd name="connsiteX5" fmla="*/ 1140389 w 1306181"/>
                <a:gd name="connsiteY5" fmla="*/ 204238 h 380318"/>
                <a:gd name="connsiteX6" fmla="*/ 1099799 w 1306181"/>
                <a:gd name="connsiteY6" fmla="*/ 194746 h 380318"/>
                <a:gd name="connsiteX7" fmla="*/ 1070656 w 1306181"/>
                <a:gd name="connsiteY7" fmla="*/ 145747 h 380318"/>
                <a:gd name="connsiteX8" fmla="*/ 1047276 w 1306181"/>
                <a:gd name="connsiteY8" fmla="*/ 121247 h 380318"/>
                <a:gd name="connsiteX9" fmla="*/ 1027793 w 1306181"/>
                <a:gd name="connsiteY9" fmla="*/ 103266 h 380318"/>
                <a:gd name="connsiteX10" fmla="*/ 1018660 w 1306181"/>
                <a:gd name="connsiteY10" fmla="*/ 95411 h 380318"/>
                <a:gd name="connsiteX11" fmla="*/ 974011 w 1306181"/>
                <a:gd name="connsiteY11" fmla="*/ 96447 h 380318"/>
                <a:gd name="connsiteX12" fmla="*/ 937156 w 1306181"/>
                <a:gd name="connsiteY12" fmla="*/ 94575 h 380318"/>
                <a:gd name="connsiteX13" fmla="*/ 917064 w 1306181"/>
                <a:gd name="connsiteY13" fmla="*/ 89328 h 380318"/>
                <a:gd name="connsiteX14" fmla="*/ 927130 w 1306181"/>
                <a:gd name="connsiteY14" fmla="*/ 82643 h 380318"/>
                <a:gd name="connsiteX15" fmla="*/ 902411 w 1306181"/>
                <a:gd name="connsiteY15" fmla="*/ 74555 h 380318"/>
                <a:gd name="connsiteX16" fmla="*/ 892791 w 1306181"/>
                <a:gd name="connsiteY16" fmla="*/ 75190 h 380318"/>
                <a:gd name="connsiteX17" fmla="*/ 886215 w 1306181"/>
                <a:gd name="connsiteY17" fmla="*/ 66065 h 380318"/>
                <a:gd name="connsiteX18" fmla="*/ 849685 w 1306181"/>
                <a:gd name="connsiteY18" fmla="*/ 61920 h 380318"/>
                <a:gd name="connsiteX19" fmla="*/ 855530 w 1306181"/>
                <a:gd name="connsiteY19" fmla="*/ 55737 h 380318"/>
                <a:gd name="connsiteX20" fmla="*/ 853460 w 1306181"/>
                <a:gd name="connsiteY20" fmla="*/ 42802 h 380318"/>
                <a:gd name="connsiteX21" fmla="*/ 826386 w 1306181"/>
                <a:gd name="connsiteY21" fmla="*/ 30569 h 380318"/>
                <a:gd name="connsiteX22" fmla="*/ 790059 w 1306181"/>
                <a:gd name="connsiteY22" fmla="*/ 20375 h 380318"/>
                <a:gd name="connsiteX23" fmla="*/ 763026 w 1306181"/>
                <a:gd name="connsiteY23" fmla="*/ 21879 h 380318"/>
                <a:gd name="connsiteX24" fmla="*/ 701695 w 1306181"/>
                <a:gd name="connsiteY24" fmla="*/ 17968 h 380318"/>
                <a:gd name="connsiteX25" fmla="*/ 661714 w 1306181"/>
                <a:gd name="connsiteY25" fmla="*/ 13991 h 380318"/>
                <a:gd name="connsiteX26" fmla="*/ 605294 w 1306181"/>
                <a:gd name="connsiteY26" fmla="*/ 8810 h 380318"/>
                <a:gd name="connsiteX27" fmla="*/ 562756 w 1306181"/>
                <a:gd name="connsiteY27" fmla="*/ 7340 h 380318"/>
                <a:gd name="connsiteX28" fmla="*/ 521517 w 1306181"/>
                <a:gd name="connsiteY28" fmla="*/ 87 h 380318"/>
                <a:gd name="connsiteX29" fmla="*/ 514170 w 1306181"/>
                <a:gd name="connsiteY29" fmla="*/ 14024 h 380318"/>
                <a:gd name="connsiteX30" fmla="*/ 541162 w 1306181"/>
                <a:gd name="connsiteY30" fmla="*/ 26625 h 380318"/>
                <a:gd name="connsiteX31" fmla="*/ 496879 w 1306181"/>
                <a:gd name="connsiteY31" fmla="*/ 25388 h 380318"/>
                <a:gd name="connsiteX32" fmla="*/ 492251 w 1306181"/>
                <a:gd name="connsiteY32" fmla="*/ 37856 h 380318"/>
                <a:gd name="connsiteX33" fmla="*/ 470049 w 1306181"/>
                <a:gd name="connsiteY33" fmla="*/ 42669 h 380318"/>
                <a:gd name="connsiteX34" fmla="*/ 508812 w 1306181"/>
                <a:gd name="connsiteY34" fmla="*/ 64761 h 380318"/>
                <a:gd name="connsiteX35" fmla="*/ 494524 w 1306181"/>
                <a:gd name="connsiteY35" fmla="*/ 74454 h 380318"/>
                <a:gd name="connsiteX36" fmla="*/ 463392 w 1306181"/>
                <a:gd name="connsiteY36" fmla="*/ 63859 h 380318"/>
                <a:gd name="connsiteX37" fmla="*/ 452879 w 1306181"/>
                <a:gd name="connsiteY37" fmla="*/ 69006 h 380318"/>
                <a:gd name="connsiteX38" fmla="*/ 435304 w 1306181"/>
                <a:gd name="connsiteY38" fmla="*/ 62121 h 380318"/>
                <a:gd name="connsiteX39" fmla="*/ 383511 w 1306181"/>
                <a:gd name="connsiteY39" fmla="*/ 47248 h 380318"/>
                <a:gd name="connsiteX40" fmla="*/ 331963 w 1306181"/>
                <a:gd name="connsiteY40" fmla="*/ 43471 h 380318"/>
                <a:gd name="connsiteX41" fmla="*/ 301317 w 1306181"/>
                <a:gd name="connsiteY41" fmla="*/ 40128 h 380318"/>
                <a:gd name="connsiteX42" fmla="*/ 288369 w 1306181"/>
                <a:gd name="connsiteY42" fmla="*/ 34647 h 380318"/>
                <a:gd name="connsiteX43" fmla="*/ 280698 w 1306181"/>
                <a:gd name="connsiteY43" fmla="*/ 39259 h 380318"/>
                <a:gd name="connsiteX44" fmla="*/ 234831 w 1306181"/>
                <a:gd name="connsiteY44" fmla="*/ 12888 h 380318"/>
                <a:gd name="connsiteX45" fmla="*/ 211654 w 1306181"/>
                <a:gd name="connsiteY45" fmla="*/ 4398 h 380318"/>
                <a:gd name="connsiteX46" fmla="*/ 181374 w 1306181"/>
                <a:gd name="connsiteY46" fmla="*/ 4064 h 380318"/>
                <a:gd name="connsiteX47" fmla="*/ 147239 w 1306181"/>
                <a:gd name="connsiteY47" fmla="*/ 521 h 380318"/>
                <a:gd name="connsiteX48" fmla="*/ 110708 w 1306181"/>
                <a:gd name="connsiteY48" fmla="*/ 3864 h 380318"/>
                <a:gd name="connsiteX49" fmla="*/ 101250 w 1306181"/>
                <a:gd name="connsiteY49" fmla="*/ 7406 h 380318"/>
                <a:gd name="connsiteX50" fmla="*/ 84324 w 1306181"/>
                <a:gd name="connsiteY50" fmla="*/ 10448 h 380318"/>
                <a:gd name="connsiteX51" fmla="*/ 76206 w 1306181"/>
                <a:gd name="connsiteY51" fmla="*/ 27628 h 380318"/>
                <a:gd name="connsiteX52" fmla="*/ 52340 w 1306181"/>
                <a:gd name="connsiteY52" fmla="*/ 13055 h 380318"/>
                <a:gd name="connsiteX53" fmla="*/ 24901 w 1306181"/>
                <a:gd name="connsiteY53" fmla="*/ 21043 h 380318"/>
                <a:gd name="connsiteX54" fmla="*/ 20314 w 1306181"/>
                <a:gd name="connsiteY54" fmla="*/ 33009 h 380318"/>
                <a:gd name="connsiteX55" fmla="*/ 1318 w 1306181"/>
                <a:gd name="connsiteY55" fmla="*/ 43404 h 380318"/>
                <a:gd name="connsiteX56" fmla="*/ 14591 w 1306181"/>
                <a:gd name="connsiteY56" fmla="*/ 52829 h 380318"/>
                <a:gd name="connsiteX57" fmla="*/ 21572 w 1306181"/>
                <a:gd name="connsiteY57" fmla="*/ 66533 h 380318"/>
                <a:gd name="connsiteX58" fmla="*/ 56723 w 1306181"/>
                <a:gd name="connsiteY58" fmla="*/ 78031 h 380318"/>
                <a:gd name="connsiteX59" fmla="*/ 70726 w 1306181"/>
                <a:gd name="connsiteY59" fmla="*/ 91400 h 380318"/>
                <a:gd name="connsiteX60" fmla="*/ 59037 w 1306181"/>
                <a:gd name="connsiteY60" fmla="*/ 96748 h 380318"/>
                <a:gd name="connsiteX61" fmla="*/ 75272 w 1306181"/>
                <a:gd name="connsiteY61" fmla="*/ 104769 h 380318"/>
                <a:gd name="connsiteX62" fmla="*/ 92726 w 1306181"/>
                <a:gd name="connsiteY62" fmla="*/ 104134 h 380318"/>
                <a:gd name="connsiteX63" fmla="*/ 140866 w 1306181"/>
                <a:gd name="connsiteY63" fmla="*/ 100792 h 380318"/>
                <a:gd name="connsiteX64" fmla="*/ 188884 w 1306181"/>
                <a:gd name="connsiteY64" fmla="*/ 109348 h 380318"/>
                <a:gd name="connsiteX65" fmla="*/ 205120 w 1306181"/>
                <a:gd name="connsiteY65" fmla="*/ 131408 h 380318"/>
                <a:gd name="connsiteX66" fmla="*/ 193267 w 1306181"/>
                <a:gd name="connsiteY66" fmla="*/ 144243 h 380318"/>
                <a:gd name="connsiteX67" fmla="*/ 150972 w 1306181"/>
                <a:gd name="connsiteY67" fmla="*/ 138895 h 380318"/>
                <a:gd name="connsiteX68" fmla="*/ 130921 w 1306181"/>
                <a:gd name="connsiteY68" fmla="*/ 144945 h 380318"/>
                <a:gd name="connsiteX69" fmla="*/ 122803 w 1306181"/>
                <a:gd name="connsiteY69" fmla="*/ 151629 h 380318"/>
                <a:gd name="connsiteX70" fmla="*/ 101453 w 1306181"/>
                <a:gd name="connsiteY70" fmla="*/ 152599 h 380318"/>
                <a:gd name="connsiteX71" fmla="*/ 126944 w 1306181"/>
                <a:gd name="connsiteY71" fmla="*/ 165968 h 380318"/>
                <a:gd name="connsiteX72" fmla="*/ 131530 w 1306181"/>
                <a:gd name="connsiteY72" fmla="*/ 182680 h 380318"/>
                <a:gd name="connsiteX73" fmla="*/ 142367 w 1306181"/>
                <a:gd name="connsiteY73" fmla="*/ 185621 h 380318"/>
                <a:gd name="connsiteX74" fmla="*/ 156574 w 1306181"/>
                <a:gd name="connsiteY74" fmla="*/ 193542 h 380318"/>
                <a:gd name="connsiteX75" fmla="*/ 166965 w 1306181"/>
                <a:gd name="connsiteY75" fmla="*/ 206076 h 380318"/>
                <a:gd name="connsiteX76" fmla="*/ 170131 w 1306181"/>
                <a:gd name="connsiteY76" fmla="*/ 223757 h 380318"/>
                <a:gd name="connsiteX77" fmla="*/ 182064 w 1306181"/>
                <a:gd name="connsiteY77" fmla="*/ 215235 h 380318"/>
                <a:gd name="connsiteX78" fmla="*/ 204307 w 1306181"/>
                <a:gd name="connsiteY78" fmla="*/ 209352 h 380318"/>
                <a:gd name="connsiteX79" fmla="*/ 231787 w 1306181"/>
                <a:gd name="connsiteY79" fmla="*/ 217139 h 380318"/>
                <a:gd name="connsiteX80" fmla="*/ 263488 w 1306181"/>
                <a:gd name="connsiteY80" fmla="*/ 239132 h 380318"/>
                <a:gd name="connsiteX81" fmla="*/ 277328 w 1306181"/>
                <a:gd name="connsiteY81" fmla="*/ 225763 h 380318"/>
                <a:gd name="connsiteX82" fmla="*/ 294498 w 1306181"/>
                <a:gd name="connsiteY82" fmla="*/ 166135 h 380318"/>
                <a:gd name="connsiteX83" fmla="*/ 381401 w 1306181"/>
                <a:gd name="connsiteY83" fmla="*/ 165032 h 380318"/>
                <a:gd name="connsiteX84" fmla="*/ 410504 w 1306181"/>
                <a:gd name="connsiteY84" fmla="*/ 170480 h 380318"/>
                <a:gd name="connsiteX85" fmla="*/ 425725 w 1306181"/>
                <a:gd name="connsiteY85" fmla="*/ 164865 h 380318"/>
                <a:gd name="connsiteX86" fmla="*/ 430758 w 1306181"/>
                <a:gd name="connsiteY86" fmla="*/ 176029 h 380318"/>
                <a:gd name="connsiteX87" fmla="*/ 443868 w 1306181"/>
                <a:gd name="connsiteY87" fmla="*/ 197353 h 380318"/>
                <a:gd name="connsiteX88" fmla="*/ 477679 w 1306181"/>
                <a:gd name="connsiteY88" fmla="*/ 230776 h 380318"/>
                <a:gd name="connsiteX89" fmla="*/ 508447 w 1306181"/>
                <a:gd name="connsiteY89" fmla="*/ 233684 h 380318"/>
                <a:gd name="connsiteX90" fmla="*/ 535885 w 1306181"/>
                <a:gd name="connsiteY90" fmla="*/ 239834 h 380318"/>
                <a:gd name="connsiteX91" fmla="*/ 571482 w 1306181"/>
                <a:gd name="connsiteY91" fmla="*/ 246920 h 380318"/>
                <a:gd name="connsiteX92" fmla="*/ 594862 w 1306181"/>
                <a:gd name="connsiteY92" fmla="*/ 260289 h 380318"/>
                <a:gd name="connsiteX93" fmla="*/ 602980 w 1306181"/>
                <a:gd name="connsiteY93" fmla="*/ 280076 h 380318"/>
                <a:gd name="connsiteX94" fmla="*/ 621570 w 1306181"/>
                <a:gd name="connsiteY94" fmla="*/ 305244 h 380318"/>
                <a:gd name="connsiteX95" fmla="*/ 659197 w 1306181"/>
                <a:gd name="connsiteY95" fmla="*/ 317344 h 380318"/>
                <a:gd name="connsiteX96" fmla="*/ 677463 w 1306181"/>
                <a:gd name="connsiteY96" fmla="*/ 325933 h 380318"/>
                <a:gd name="connsiteX97" fmla="*/ 706728 w 1306181"/>
                <a:gd name="connsiteY97" fmla="*/ 317878 h 380318"/>
                <a:gd name="connsiteX98" fmla="*/ 729823 w 1306181"/>
                <a:gd name="connsiteY98" fmla="*/ 319015 h 380318"/>
                <a:gd name="connsiteX99" fmla="*/ 746627 w 1306181"/>
                <a:gd name="connsiteY99" fmla="*/ 313333 h 380318"/>
                <a:gd name="connsiteX100" fmla="*/ 771509 w 1306181"/>
                <a:gd name="connsiteY100" fmla="*/ 304977 h 380318"/>
                <a:gd name="connsiteX101" fmla="*/ 806091 w 1306181"/>
                <a:gd name="connsiteY101" fmla="*/ 312196 h 380318"/>
                <a:gd name="connsiteX102" fmla="*/ 838563 w 1306181"/>
                <a:gd name="connsiteY102" fmla="*/ 321388 h 380318"/>
                <a:gd name="connsiteX103" fmla="*/ 867504 w 1306181"/>
                <a:gd name="connsiteY103" fmla="*/ 316775 h 380318"/>
                <a:gd name="connsiteX104" fmla="*/ 909027 w 1306181"/>
                <a:gd name="connsiteY104" fmla="*/ 334456 h 380318"/>
                <a:gd name="connsiteX105" fmla="*/ 957045 w 1306181"/>
                <a:gd name="connsiteY105" fmla="*/ 344918 h 380318"/>
                <a:gd name="connsiteX106" fmla="*/ 1004616 w 1306181"/>
                <a:gd name="connsiteY106" fmla="*/ 359758 h 380318"/>
                <a:gd name="connsiteX107" fmla="*/ 1021420 w 1306181"/>
                <a:gd name="connsiteY107" fmla="*/ 368214 h 380318"/>
                <a:gd name="connsiteX108" fmla="*/ 1045408 w 1306181"/>
                <a:gd name="connsiteY108" fmla="*/ 379979 h 380318"/>
                <a:gd name="connsiteX109" fmla="*/ 1059453 w 1306181"/>
                <a:gd name="connsiteY109" fmla="*/ 367780 h 380318"/>
                <a:gd name="connsiteX110" fmla="*/ 1067205 w 1306181"/>
                <a:gd name="connsiteY110" fmla="*/ 356549 h 380318"/>
                <a:gd name="connsiteX111" fmla="*/ 1062213 w 1306181"/>
                <a:gd name="connsiteY111" fmla="*/ 325599 h 380318"/>
                <a:gd name="connsiteX112" fmla="*/ 1087825 w 1306181"/>
                <a:gd name="connsiteY112" fmla="*/ 327270 h 380318"/>
                <a:gd name="connsiteX113" fmla="*/ 1108119 w 1306181"/>
                <a:gd name="connsiteY113" fmla="*/ 328975 h 380318"/>
                <a:gd name="connsiteX114" fmla="*/ 1124355 w 1306181"/>
                <a:gd name="connsiteY114" fmla="*/ 336729 h 380318"/>
                <a:gd name="connsiteX115" fmla="*/ 1135964 w 1306181"/>
                <a:gd name="connsiteY115" fmla="*/ 331582 h 380318"/>
                <a:gd name="connsiteX116" fmla="*/ 1145990 w 1306181"/>
                <a:gd name="connsiteY116" fmla="*/ 320719 h 380318"/>
                <a:gd name="connsiteX117" fmla="*/ 1178462 w 1306181"/>
                <a:gd name="connsiteY117" fmla="*/ 305578 h 380318"/>
                <a:gd name="connsiteX118" fmla="*/ 1244461 w 1306181"/>
                <a:gd name="connsiteY118" fmla="*/ 322992 h 380318"/>
                <a:gd name="connsiteX119" fmla="*/ 1269423 w 1306181"/>
                <a:gd name="connsiteY119" fmla="*/ 300231 h 380318"/>
                <a:gd name="connsiteX120" fmla="*/ 1291707 w 1306181"/>
                <a:gd name="connsiteY120" fmla="*/ 296019 h 380318"/>
                <a:gd name="connsiteX121" fmla="*/ 1302869 w 1306181"/>
                <a:gd name="connsiteY121" fmla="*/ 290872 h 380318"/>
                <a:gd name="connsiteX122" fmla="*/ 1302869 w 1306181"/>
                <a:gd name="connsiteY122" fmla="*/ 280845 h 380318"/>
                <a:gd name="connsiteX123" fmla="*/ 476299 w 1306181"/>
                <a:gd name="connsiteY123" fmla="*/ 171149 h 380318"/>
                <a:gd name="connsiteX124" fmla="*/ 433721 w 1306181"/>
                <a:gd name="connsiteY124" fmla="*/ 157044 h 380318"/>
                <a:gd name="connsiteX125" fmla="*/ 476299 w 1306181"/>
                <a:gd name="connsiteY125" fmla="*/ 171082 h 380318"/>
                <a:gd name="connsiteX126" fmla="*/ 1008431 w 1306181"/>
                <a:gd name="connsiteY126" fmla="*/ 281045 h 380318"/>
                <a:gd name="connsiteX127" fmla="*/ 899245 w 1306181"/>
                <a:gd name="connsiteY127" fmla="*/ 262161 h 380318"/>
                <a:gd name="connsiteX128" fmla="*/ 881385 w 1306181"/>
                <a:gd name="connsiteY128" fmla="*/ 272957 h 380318"/>
                <a:gd name="connsiteX129" fmla="*/ 875459 w 1306181"/>
                <a:gd name="connsiteY129" fmla="*/ 279241 h 380318"/>
                <a:gd name="connsiteX130" fmla="*/ 871847 w 1306181"/>
                <a:gd name="connsiteY130" fmla="*/ 257415 h 380318"/>
                <a:gd name="connsiteX131" fmla="*/ 984159 w 1306181"/>
                <a:gd name="connsiteY131" fmla="*/ 270016 h 380318"/>
                <a:gd name="connsiteX132" fmla="*/ 1041593 w 1306181"/>
                <a:gd name="connsiteY132" fmla="*/ 280611 h 380318"/>
                <a:gd name="connsiteX133" fmla="*/ 1042121 w 1306181"/>
                <a:gd name="connsiteY133" fmla="*/ 283953 h 380318"/>
                <a:gd name="connsiteX134" fmla="*/ 1008431 w 1306181"/>
                <a:gd name="connsiteY134" fmla="*/ 280979 h 38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306181" h="380318">
                  <a:moveTo>
                    <a:pt x="1302626" y="281447"/>
                  </a:moveTo>
                  <a:cubicBezTo>
                    <a:pt x="1303031" y="278104"/>
                    <a:pt x="1253350" y="276433"/>
                    <a:pt x="1252944" y="259454"/>
                  </a:cubicBezTo>
                  <a:cubicBezTo>
                    <a:pt x="1252944" y="254674"/>
                    <a:pt x="1237683" y="250864"/>
                    <a:pt x="1233866" y="245449"/>
                  </a:cubicBezTo>
                  <a:cubicBezTo>
                    <a:pt x="1229077" y="238598"/>
                    <a:pt x="1225748" y="229206"/>
                    <a:pt x="1210690" y="225395"/>
                  </a:cubicBezTo>
                  <a:cubicBezTo>
                    <a:pt x="1198513" y="222454"/>
                    <a:pt x="1186336" y="225395"/>
                    <a:pt x="1174159" y="221886"/>
                  </a:cubicBezTo>
                  <a:cubicBezTo>
                    <a:pt x="1160115" y="217741"/>
                    <a:pt x="1147613" y="212126"/>
                    <a:pt x="1140389" y="204238"/>
                  </a:cubicBezTo>
                  <a:cubicBezTo>
                    <a:pt x="1123787" y="186189"/>
                    <a:pt x="1110961" y="215435"/>
                    <a:pt x="1099799" y="194746"/>
                  </a:cubicBezTo>
                  <a:cubicBezTo>
                    <a:pt x="1091519" y="177860"/>
                    <a:pt x="1081777" y="161486"/>
                    <a:pt x="1070656" y="145747"/>
                  </a:cubicBezTo>
                  <a:cubicBezTo>
                    <a:pt x="1064405" y="136659"/>
                    <a:pt x="1056530" y="128400"/>
                    <a:pt x="1047276" y="121247"/>
                  </a:cubicBezTo>
                  <a:cubicBezTo>
                    <a:pt x="1040700" y="116401"/>
                    <a:pt x="1018863" y="108747"/>
                    <a:pt x="1027793" y="103266"/>
                  </a:cubicBezTo>
                  <a:cubicBezTo>
                    <a:pt x="1034693" y="99154"/>
                    <a:pt x="1034490" y="97283"/>
                    <a:pt x="1018660" y="95411"/>
                  </a:cubicBezTo>
                  <a:cubicBezTo>
                    <a:pt x="1005266" y="93840"/>
                    <a:pt x="987122" y="96079"/>
                    <a:pt x="974011" y="96447"/>
                  </a:cubicBezTo>
                  <a:cubicBezTo>
                    <a:pt x="961672" y="96781"/>
                    <a:pt x="949333" y="96153"/>
                    <a:pt x="937156" y="94575"/>
                  </a:cubicBezTo>
                  <a:cubicBezTo>
                    <a:pt x="936750" y="94575"/>
                    <a:pt x="902533" y="94575"/>
                    <a:pt x="917064" y="89328"/>
                  </a:cubicBezTo>
                  <a:cubicBezTo>
                    <a:pt x="918606" y="88760"/>
                    <a:pt x="941215" y="84715"/>
                    <a:pt x="927130" y="82643"/>
                  </a:cubicBezTo>
                  <a:cubicBezTo>
                    <a:pt x="918038" y="81406"/>
                    <a:pt x="909473" y="74722"/>
                    <a:pt x="902411" y="74555"/>
                  </a:cubicBezTo>
                  <a:cubicBezTo>
                    <a:pt x="897987" y="74555"/>
                    <a:pt x="899164" y="79568"/>
                    <a:pt x="892791" y="75190"/>
                  </a:cubicBezTo>
                  <a:cubicBezTo>
                    <a:pt x="888407" y="72181"/>
                    <a:pt x="893075" y="68906"/>
                    <a:pt x="886215" y="66065"/>
                  </a:cubicBezTo>
                  <a:cubicBezTo>
                    <a:pt x="878097" y="62723"/>
                    <a:pt x="858290" y="70444"/>
                    <a:pt x="849685" y="61920"/>
                  </a:cubicBezTo>
                  <a:cubicBezTo>
                    <a:pt x="846397" y="58578"/>
                    <a:pt x="854271" y="57943"/>
                    <a:pt x="855530" y="55737"/>
                  </a:cubicBezTo>
                  <a:cubicBezTo>
                    <a:pt x="857762" y="51760"/>
                    <a:pt x="850537" y="46780"/>
                    <a:pt x="853460" y="42802"/>
                  </a:cubicBezTo>
                  <a:cubicBezTo>
                    <a:pt x="859020" y="35282"/>
                    <a:pt x="833165" y="32207"/>
                    <a:pt x="826386" y="30569"/>
                  </a:cubicBezTo>
                  <a:cubicBezTo>
                    <a:pt x="812504" y="27227"/>
                    <a:pt x="804995" y="22113"/>
                    <a:pt x="790059" y="20375"/>
                  </a:cubicBezTo>
                  <a:cubicBezTo>
                    <a:pt x="777435" y="18904"/>
                    <a:pt x="773051" y="21344"/>
                    <a:pt x="763026" y="21879"/>
                  </a:cubicBezTo>
                  <a:cubicBezTo>
                    <a:pt x="744963" y="22815"/>
                    <a:pt x="720812" y="19874"/>
                    <a:pt x="701695" y="17968"/>
                  </a:cubicBezTo>
                  <a:cubicBezTo>
                    <a:pt x="688787" y="16665"/>
                    <a:pt x="674337" y="13924"/>
                    <a:pt x="661714" y="13991"/>
                  </a:cubicBezTo>
                  <a:cubicBezTo>
                    <a:pt x="641825" y="13991"/>
                    <a:pt x="625183" y="10649"/>
                    <a:pt x="605294" y="8810"/>
                  </a:cubicBezTo>
                  <a:cubicBezTo>
                    <a:pt x="590113" y="7507"/>
                    <a:pt x="578180" y="10582"/>
                    <a:pt x="562756" y="7340"/>
                  </a:cubicBezTo>
                  <a:cubicBezTo>
                    <a:pt x="549118" y="4465"/>
                    <a:pt x="535317" y="2393"/>
                    <a:pt x="521517" y="87"/>
                  </a:cubicBezTo>
                  <a:cubicBezTo>
                    <a:pt x="508812" y="-2052"/>
                    <a:pt x="511045" y="9913"/>
                    <a:pt x="514170" y="14024"/>
                  </a:cubicBezTo>
                  <a:cubicBezTo>
                    <a:pt x="518229" y="19305"/>
                    <a:pt x="539538" y="21879"/>
                    <a:pt x="541162" y="26625"/>
                  </a:cubicBezTo>
                  <a:cubicBezTo>
                    <a:pt x="541811" y="28497"/>
                    <a:pt x="500572" y="21177"/>
                    <a:pt x="496879" y="25388"/>
                  </a:cubicBezTo>
                  <a:cubicBezTo>
                    <a:pt x="493185" y="29600"/>
                    <a:pt x="500938" y="35683"/>
                    <a:pt x="492251" y="37856"/>
                  </a:cubicBezTo>
                  <a:cubicBezTo>
                    <a:pt x="486609" y="39259"/>
                    <a:pt x="468547" y="37856"/>
                    <a:pt x="470049" y="42669"/>
                  </a:cubicBezTo>
                  <a:cubicBezTo>
                    <a:pt x="473377" y="53598"/>
                    <a:pt x="507797" y="52963"/>
                    <a:pt x="508812" y="64761"/>
                  </a:cubicBezTo>
                  <a:cubicBezTo>
                    <a:pt x="509299" y="70678"/>
                    <a:pt x="507675" y="75658"/>
                    <a:pt x="494524" y="74454"/>
                  </a:cubicBezTo>
                  <a:cubicBezTo>
                    <a:pt x="479668" y="73117"/>
                    <a:pt x="475609" y="67368"/>
                    <a:pt x="463392" y="63859"/>
                  </a:cubicBezTo>
                  <a:cubicBezTo>
                    <a:pt x="457506" y="62188"/>
                    <a:pt x="455274" y="67569"/>
                    <a:pt x="452879" y="69006"/>
                  </a:cubicBezTo>
                  <a:cubicBezTo>
                    <a:pt x="446344" y="73017"/>
                    <a:pt x="441758" y="63224"/>
                    <a:pt x="435304" y="62121"/>
                  </a:cubicBezTo>
                  <a:cubicBezTo>
                    <a:pt x="416551" y="58779"/>
                    <a:pt x="405633" y="40362"/>
                    <a:pt x="383511" y="47248"/>
                  </a:cubicBezTo>
                  <a:cubicBezTo>
                    <a:pt x="370279" y="51325"/>
                    <a:pt x="345722" y="31572"/>
                    <a:pt x="331963" y="43471"/>
                  </a:cubicBezTo>
                  <a:cubicBezTo>
                    <a:pt x="326321" y="48350"/>
                    <a:pt x="308015" y="43471"/>
                    <a:pt x="301317" y="40128"/>
                  </a:cubicBezTo>
                  <a:cubicBezTo>
                    <a:pt x="297299" y="37835"/>
                    <a:pt x="292955" y="35990"/>
                    <a:pt x="288369" y="34647"/>
                  </a:cubicBezTo>
                  <a:cubicBezTo>
                    <a:pt x="280778" y="33009"/>
                    <a:pt x="284878" y="38591"/>
                    <a:pt x="280698" y="39259"/>
                  </a:cubicBezTo>
                  <a:cubicBezTo>
                    <a:pt x="285568" y="38457"/>
                    <a:pt x="243477" y="15027"/>
                    <a:pt x="234831" y="12888"/>
                  </a:cubicBezTo>
                  <a:cubicBezTo>
                    <a:pt x="224278" y="10281"/>
                    <a:pt x="218798" y="8877"/>
                    <a:pt x="211654" y="4398"/>
                  </a:cubicBezTo>
                  <a:cubicBezTo>
                    <a:pt x="198097" y="-4124"/>
                    <a:pt x="190994" y="7005"/>
                    <a:pt x="181374" y="4064"/>
                  </a:cubicBezTo>
                  <a:cubicBezTo>
                    <a:pt x="166924" y="-314"/>
                    <a:pt x="163353" y="-1284"/>
                    <a:pt x="147239" y="521"/>
                  </a:cubicBezTo>
                  <a:cubicBezTo>
                    <a:pt x="135954" y="1791"/>
                    <a:pt x="123372" y="5669"/>
                    <a:pt x="110708" y="3864"/>
                  </a:cubicBezTo>
                  <a:cubicBezTo>
                    <a:pt x="104903" y="3095"/>
                    <a:pt x="103645" y="5535"/>
                    <a:pt x="101250" y="7406"/>
                  </a:cubicBezTo>
                  <a:cubicBezTo>
                    <a:pt x="97191" y="10749"/>
                    <a:pt x="90128" y="8777"/>
                    <a:pt x="84324" y="10448"/>
                  </a:cubicBezTo>
                  <a:cubicBezTo>
                    <a:pt x="72147" y="13790"/>
                    <a:pt x="93985" y="26592"/>
                    <a:pt x="76206" y="27628"/>
                  </a:cubicBezTo>
                  <a:cubicBezTo>
                    <a:pt x="64030" y="28397"/>
                    <a:pt x="59321" y="16765"/>
                    <a:pt x="52340" y="13055"/>
                  </a:cubicBezTo>
                  <a:cubicBezTo>
                    <a:pt x="36104" y="4465"/>
                    <a:pt x="34074" y="19005"/>
                    <a:pt x="24901" y="21043"/>
                  </a:cubicBezTo>
                  <a:cubicBezTo>
                    <a:pt x="10532" y="24386"/>
                    <a:pt x="9193" y="26826"/>
                    <a:pt x="20314" y="33009"/>
                  </a:cubicBezTo>
                  <a:cubicBezTo>
                    <a:pt x="23642" y="34847"/>
                    <a:pt x="3835" y="40563"/>
                    <a:pt x="1318" y="43404"/>
                  </a:cubicBezTo>
                  <a:cubicBezTo>
                    <a:pt x="-3999" y="49386"/>
                    <a:pt x="7285" y="49453"/>
                    <a:pt x="14591" y="52829"/>
                  </a:cubicBezTo>
                  <a:cubicBezTo>
                    <a:pt x="21897" y="56205"/>
                    <a:pt x="8949" y="67101"/>
                    <a:pt x="21572" y="66533"/>
                  </a:cubicBezTo>
                  <a:cubicBezTo>
                    <a:pt x="39960" y="65697"/>
                    <a:pt x="48281" y="69508"/>
                    <a:pt x="56723" y="78031"/>
                  </a:cubicBezTo>
                  <a:cubicBezTo>
                    <a:pt x="60782" y="82175"/>
                    <a:pt x="68900" y="86888"/>
                    <a:pt x="70726" y="91400"/>
                  </a:cubicBezTo>
                  <a:cubicBezTo>
                    <a:pt x="72553" y="95912"/>
                    <a:pt x="55790" y="92603"/>
                    <a:pt x="59037" y="96748"/>
                  </a:cubicBezTo>
                  <a:cubicBezTo>
                    <a:pt x="61797" y="100090"/>
                    <a:pt x="70159" y="102330"/>
                    <a:pt x="75272" y="104769"/>
                  </a:cubicBezTo>
                  <a:cubicBezTo>
                    <a:pt x="83390" y="108647"/>
                    <a:pt x="84690" y="105973"/>
                    <a:pt x="92726" y="104134"/>
                  </a:cubicBezTo>
                  <a:cubicBezTo>
                    <a:pt x="108353" y="100471"/>
                    <a:pt x="124711" y="99335"/>
                    <a:pt x="140866" y="100792"/>
                  </a:cubicBezTo>
                  <a:cubicBezTo>
                    <a:pt x="156412" y="102330"/>
                    <a:pt x="173337" y="106708"/>
                    <a:pt x="188884" y="109348"/>
                  </a:cubicBezTo>
                  <a:cubicBezTo>
                    <a:pt x="209544" y="112891"/>
                    <a:pt x="208407" y="122985"/>
                    <a:pt x="205120" y="131408"/>
                  </a:cubicBezTo>
                  <a:cubicBezTo>
                    <a:pt x="202887" y="136856"/>
                    <a:pt x="207068" y="144778"/>
                    <a:pt x="193267" y="144243"/>
                  </a:cubicBezTo>
                  <a:cubicBezTo>
                    <a:pt x="179467" y="143708"/>
                    <a:pt x="165463" y="139329"/>
                    <a:pt x="150972" y="138895"/>
                  </a:cubicBezTo>
                  <a:cubicBezTo>
                    <a:pt x="141880" y="138628"/>
                    <a:pt x="126984" y="138226"/>
                    <a:pt x="130921" y="144945"/>
                  </a:cubicBezTo>
                  <a:cubicBezTo>
                    <a:pt x="133884" y="149992"/>
                    <a:pt x="137212" y="158080"/>
                    <a:pt x="122803" y="151629"/>
                  </a:cubicBezTo>
                  <a:cubicBezTo>
                    <a:pt x="117567" y="149223"/>
                    <a:pt x="99708" y="145981"/>
                    <a:pt x="101453" y="152599"/>
                  </a:cubicBezTo>
                  <a:cubicBezTo>
                    <a:pt x="102346" y="155941"/>
                    <a:pt x="123128" y="160620"/>
                    <a:pt x="126944" y="165968"/>
                  </a:cubicBezTo>
                  <a:cubicBezTo>
                    <a:pt x="130231" y="170681"/>
                    <a:pt x="122519" y="178769"/>
                    <a:pt x="131530" y="182680"/>
                  </a:cubicBezTo>
                  <a:cubicBezTo>
                    <a:pt x="135589" y="184418"/>
                    <a:pt x="138958" y="182847"/>
                    <a:pt x="142367" y="185621"/>
                  </a:cubicBezTo>
                  <a:cubicBezTo>
                    <a:pt x="146426" y="188963"/>
                    <a:pt x="148537" y="192707"/>
                    <a:pt x="156574" y="193542"/>
                  </a:cubicBezTo>
                  <a:cubicBezTo>
                    <a:pt x="177559" y="195782"/>
                    <a:pt x="173135" y="199425"/>
                    <a:pt x="166965" y="206076"/>
                  </a:cubicBezTo>
                  <a:cubicBezTo>
                    <a:pt x="162540" y="210856"/>
                    <a:pt x="165423" y="218543"/>
                    <a:pt x="170131" y="223757"/>
                  </a:cubicBezTo>
                  <a:cubicBezTo>
                    <a:pt x="177194" y="231545"/>
                    <a:pt x="179304" y="217073"/>
                    <a:pt x="182064" y="215235"/>
                  </a:cubicBezTo>
                  <a:cubicBezTo>
                    <a:pt x="178005" y="207647"/>
                    <a:pt x="195337" y="208550"/>
                    <a:pt x="204307" y="209352"/>
                  </a:cubicBezTo>
                  <a:cubicBezTo>
                    <a:pt x="214171" y="209823"/>
                    <a:pt x="223669" y="212517"/>
                    <a:pt x="231787" y="217139"/>
                  </a:cubicBezTo>
                  <a:cubicBezTo>
                    <a:pt x="241203" y="222688"/>
                    <a:pt x="250702" y="236659"/>
                    <a:pt x="263488" y="239132"/>
                  </a:cubicBezTo>
                  <a:cubicBezTo>
                    <a:pt x="278424" y="242007"/>
                    <a:pt x="275665" y="230877"/>
                    <a:pt x="277328" y="225763"/>
                  </a:cubicBezTo>
                  <a:lnTo>
                    <a:pt x="294498" y="166135"/>
                  </a:lnTo>
                  <a:cubicBezTo>
                    <a:pt x="295959" y="161021"/>
                    <a:pt x="370929" y="170280"/>
                    <a:pt x="381401" y="165032"/>
                  </a:cubicBezTo>
                  <a:cubicBezTo>
                    <a:pt x="391873" y="159785"/>
                    <a:pt x="402101" y="165333"/>
                    <a:pt x="410504" y="170480"/>
                  </a:cubicBezTo>
                  <a:cubicBezTo>
                    <a:pt x="411031" y="170814"/>
                    <a:pt x="419474" y="163495"/>
                    <a:pt x="425725" y="164865"/>
                  </a:cubicBezTo>
                  <a:cubicBezTo>
                    <a:pt x="436603" y="167272"/>
                    <a:pt x="422315" y="174591"/>
                    <a:pt x="430758" y="176029"/>
                  </a:cubicBezTo>
                  <a:cubicBezTo>
                    <a:pt x="442610" y="178101"/>
                    <a:pt x="445046" y="193108"/>
                    <a:pt x="443868" y="197353"/>
                  </a:cubicBezTo>
                  <a:cubicBezTo>
                    <a:pt x="442691" y="201598"/>
                    <a:pt x="467898" y="228671"/>
                    <a:pt x="477679" y="230776"/>
                  </a:cubicBezTo>
                  <a:cubicBezTo>
                    <a:pt x="487462" y="232882"/>
                    <a:pt x="498421" y="232648"/>
                    <a:pt x="508447" y="233684"/>
                  </a:cubicBezTo>
                  <a:cubicBezTo>
                    <a:pt x="517336" y="234620"/>
                    <a:pt x="527118" y="238029"/>
                    <a:pt x="535885" y="239834"/>
                  </a:cubicBezTo>
                  <a:cubicBezTo>
                    <a:pt x="547737" y="242308"/>
                    <a:pt x="559590" y="244614"/>
                    <a:pt x="571482" y="246920"/>
                  </a:cubicBezTo>
                  <a:cubicBezTo>
                    <a:pt x="584715" y="249460"/>
                    <a:pt x="586338" y="254340"/>
                    <a:pt x="594862" y="260289"/>
                  </a:cubicBezTo>
                  <a:cubicBezTo>
                    <a:pt x="607283" y="268812"/>
                    <a:pt x="603630" y="270317"/>
                    <a:pt x="602980" y="280076"/>
                  </a:cubicBezTo>
                  <a:cubicBezTo>
                    <a:pt x="602655" y="284388"/>
                    <a:pt x="614061" y="303038"/>
                    <a:pt x="621570" y="305244"/>
                  </a:cubicBezTo>
                  <a:cubicBezTo>
                    <a:pt x="634843" y="309121"/>
                    <a:pt x="647994" y="310659"/>
                    <a:pt x="659197" y="317344"/>
                  </a:cubicBezTo>
                  <a:cubicBezTo>
                    <a:pt x="665610" y="321187"/>
                    <a:pt x="665123" y="331348"/>
                    <a:pt x="677463" y="325933"/>
                  </a:cubicBezTo>
                  <a:cubicBezTo>
                    <a:pt x="687326" y="321588"/>
                    <a:pt x="691831" y="318614"/>
                    <a:pt x="706728" y="317878"/>
                  </a:cubicBezTo>
                  <a:cubicBezTo>
                    <a:pt x="714440" y="317166"/>
                    <a:pt x="722273" y="317551"/>
                    <a:pt x="729823" y="319015"/>
                  </a:cubicBezTo>
                  <a:cubicBezTo>
                    <a:pt x="741229" y="321856"/>
                    <a:pt x="736602" y="313466"/>
                    <a:pt x="746627" y="313333"/>
                  </a:cubicBezTo>
                  <a:cubicBezTo>
                    <a:pt x="760468" y="313166"/>
                    <a:pt x="762092" y="307818"/>
                    <a:pt x="771509" y="304977"/>
                  </a:cubicBezTo>
                  <a:cubicBezTo>
                    <a:pt x="780276" y="302336"/>
                    <a:pt x="798055" y="308754"/>
                    <a:pt x="806091" y="312196"/>
                  </a:cubicBezTo>
                  <a:cubicBezTo>
                    <a:pt x="813154" y="315171"/>
                    <a:pt x="830730" y="326702"/>
                    <a:pt x="838563" y="321388"/>
                  </a:cubicBezTo>
                  <a:cubicBezTo>
                    <a:pt x="846397" y="316073"/>
                    <a:pt x="850984" y="313099"/>
                    <a:pt x="867504" y="316775"/>
                  </a:cubicBezTo>
                  <a:cubicBezTo>
                    <a:pt x="883090" y="320118"/>
                    <a:pt x="892750" y="330780"/>
                    <a:pt x="909027" y="334456"/>
                  </a:cubicBezTo>
                  <a:cubicBezTo>
                    <a:pt x="925303" y="338133"/>
                    <a:pt x="940768" y="340239"/>
                    <a:pt x="957045" y="344918"/>
                  </a:cubicBezTo>
                  <a:cubicBezTo>
                    <a:pt x="972225" y="349263"/>
                    <a:pt x="989030" y="356850"/>
                    <a:pt x="1004616" y="359758"/>
                  </a:cubicBezTo>
                  <a:cubicBezTo>
                    <a:pt x="1011394" y="360584"/>
                    <a:pt x="1017442" y="363635"/>
                    <a:pt x="1021420" y="368214"/>
                  </a:cubicBezTo>
                  <a:cubicBezTo>
                    <a:pt x="1027305" y="374899"/>
                    <a:pt x="1038265" y="374264"/>
                    <a:pt x="1045408" y="379979"/>
                  </a:cubicBezTo>
                  <a:cubicBezTo>
                    <a:pt x="1047682" y="373295"/>
                    <a:pt x="1048128" y="370353"/>
                    <a:pt x="1059453" y="367780"/>
                  </a:cubicBezTo>
                  <a:cubicBezTo>
                    <a:pt x="1069235" y="365540"/>
                    <a:pt x="1070128" y="363201"/>
                    <a:pt x="1067205" y="356549"/>
                  </a:cubicBezTo>
                  <a:cubicBezTo>
                    <a:pt x="1065095" y="351669"/>
                    <a:pt x="1057992" y="326468"/>
                    <a:pt x="1062213" y="325599"/>
                  </a:cubicBezTo>
                  <a:cubicBezTo>
                    <a:pt x="1070736" y="324095"/>
                    <a:pt x="1078692" y="326234"/>
                    <a:pt x="1087825" y="327270"/>
                  </a:cubicBezTo>
                  <a:cubicBezTo>
                    <a:pt x="1094604" y="327521"/>
                    <a:pt x="1101382" y="328089"/>
                    <a:pt x="1108119" y="328975"/>
                  </a:cubicBezTo>
                  <a:cubicBezTo>
                    <a:pt x="1113559" y="330178"/>
                    <a:pt x="1118551" y="334857"/>
                    <a:pt x="1124355" y="336729"/>
                  </a:cubicBezTo>
                  <a:cubicBezTo>
                    <a:pt x="1135639" y="340473"/>
                    <a:pt x="1145178" y="339637"/>
                    <a:pt x="1135964" y="331582"/>
                  </a:cubicBezTo>
                  <a:cubicBezTo>
                    <a:pt x="1132473" y="328574"/>
                    <a:pt x="1143839" y="322223"/>
                    <a:pt x="1145990" y="320719"/>
                  </a:cubicBezTo>
                  <a:cubicBezTo>
                    <a:pt x="1151145" y="317009"/>
                    <a:pt x="1168192" y="299328"/>
                    <a:pt x="1178462" y="305578"/>
                  </a:cubicBezTo>
                  <a:cubicBezTo>
                    <a:pt x="1192871" y="314436"/>
                    <a:pt x="1226439" y="325198"/>
                    <a:pt x="1244461" y="322992"/>
                  </a:cubicBezTo>
                  <a:cubicBezTo>
                    <a:pt x="1260453" y="321054"/>
                    <a:pt x="1237601" y="296253"/>
                    <a:pt x="1269423" y="300231"/>
                  </a:cubicBezTo>
                  <a:cubicBezTo>
                    <a:pt x="1281113" y="301735"/>
                    <a:pt x="1288825" y="303172"/>
                    <a:pt x="1291707" y="296019"/>
                  </a:cubicBezTo>
                  <a:cubicBezTo>
                    <a:pt x="1292925" y="293111"/>
                    <a:pt x="1299135" y="292343"/>
                    <a:pt x="1302869" y="290872"/>
                  </a:cubicBezTo>
                  <a:cubicBezTo>
                    <a:pt x="1310541" y="287864"/>
                    <a:pt x="1302139" y="285558"/>
                    <a:pt x="1302869" y="280845"/>
                  </a:cubicBezTo>
                  <a:close/>
                  <a:moveTo>
                    <a:pt x="476299" y="171149"/>
                  </a:moveTo>
                  <a:cubicBezTo>
                    <a:pt x="471794" y="173154"/>
                    <a:pt x="435710" y="161556"/>
                    <a:pt x="433721" y="157044"/>
                  </a:cubicBezTo>
                  <a:cubicBezTo>
                    <a:pt x="431732" y="152532"/>
                    <a:pt x="486000" y="166703"/>
                    <a:pt x="476299" y="171082"/>
                  </a:cubicBezTo>
                  <a:close/>
                  <a:moveTo>
                    <a:pt x="1008431" y="281045"/>
                  </a:moveTo>
                  <a:cubicBezTo>
                    <a:pt x="976284" y="273224"/>
                    <a:pt x="929606" y="253638"/>
                    <a:pt x="899245" y="262161"/>
                  </a:cubicBezTo>
                  <a:cubicBezTo>
                    <a:pt x="891127" y="264434"/>
                    <a:pt x="883861" y="267776"/>
                    <a:pt x="881385" y="272957"/>
                  </a:cubicBezTo>
                  <a:cubicBezTo>
                    <a:pt x="880411" y="275029"/>
                    <a:pt x="881629" y="280043"/>
                    <a:pt x="875459" y="279241"/>
                  </a:cubicBezTo>
                  <a:cubicBezTo>
                    <a:pt x="862105" y="277569"/>
                    <a:pt x="869533" y="260323"/>
                    <a:pt x="871847" y="257415"/>
                  </a:cubicBezTo>
                  <a:cubicBezTo>
                    <a:pt x="888082" y="236559"/>
                    <a:pt x="955502" y="263231"/>
                    <a:pt x="984159" y="270016"/>
                  </a:cubicBezTo>
                  <a:cubicBezTo>
                    <a:pt x="1003155" y="274428"/>
                    <a:pt x="1022759" y="276065"/>
                    <a:pt x="1041593" y="280611"/>
                  </a:cubicBezTo>
                  <a:cubicBezTo>
                    <a:pt x="1045977" y="281680"/>
                    <a:pt x="1045652" y="283251"/>
                    <a:pt x="1042121" y="283953"/>
                  </a:cubicBezTo>
                  <a:cubicBezTo>
                    <a:pt x="1032704" y="285858"/>
                    <a:pt x="1018863" y="283485"/>
                    <a:pt x="1008431" y="280979"/>
                  </a:cubicBezTo>
                  <a:close/>
                </a:path>
              </a:pathLst>
            </a:custGeom>
            <a:solidFill>
              <a:schemeClr val="accent6"/>
            </a:solidFill>
            <a:ln w="3021" cap="flat">
              <a:solidFill>
                <a:schemeClr val="accent6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88" name="SAMEA">
            <a:extLst>
              <a:ext uri="{FF2B5EF4-FFF2-40B4-BE49-F238E27FC236}">
                <a16:creationId xmlns:a16="http://schemas.microsoft.com/office/drawing/2014/main" id="{FFC4C600-2DF5-4266-B5A8-BFA86C84C50D}"/>
              </a:ext>
            </a:extLst>
          </p:cNvPr>
          <p:cNvGrpSpPr/>
          <p:nvPr/>
        </p:nvGrpSpPr>
        <p:grpSpPr>
          <a:xfrm>
            <a:off x="5489121" y="4490152"/>
            <a:ext cx="4676854" cy="2035192"/>
            <a:chOff x="5489121" y="4490152"/>
            <a:chExt cx="4676854" cy="2035192"/>
          </a:xfrm>
        </p:grpSpPr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8F71D9DF-EC1E-44E1-90C1-FC329A0161A9}"/>
                </a:ext>
              </a:extLst>
            </p:cNvPr>
            <p:cNvSpPr/>
            <p:nvPr/>
          </p:nvSpPr>
          <p:spPr>
            <a:xfrm>
              <a:off x="9781882" y="6178974"/>
              <a:ext cx="37773" cy="49548"/>
            </a:xfrm>
            <a:custGeom>
              <a:avLst/>
              <a:gdLst>
                <a:gd name="connsiteX0" fmla="*/ 163 w 38768"/>
                <a:gd name="connsiteY0" fmla="*/ -11 h 67843"/>
                <a:gd name="connsiteX1" fmla="*/ 36978 w 38768"/>
                <a:gd name="connsiteY1" fmla="*/ 67472 h 67843"/>
                <a:gd name="connsiteX2" fmla="*/ 163 w 38768"/>
                <a:gd name="connsiteY2" fmla="*/ -11 h 6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768" h="67843">
                  <a:moveTo>
                    <a:pt x="163" y="-11"/>
                  </a:moveTo>
                  <a:cubicBezTo>
                    <a:pt x="3735" y="-5893"/>
                    <a:pt x="47897" y="69310"/>
                    <a:pt x="36978" y="67472"/>
                  </a:cubicBezTo>
                  <a:cubicBezTo>
                    <a:pt x="26059" y="65633"/>
                    <a:pt x="-2881" y="5605"/>
                    <a:pt x="163" y="-11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80C968CF-DE31-4F5A-94F6-1725FE644F10}"/>
                </a:ext>
              </a:extLst>
            </p:cNvPr>
            <p:cNvSpPr/>
            <p:nvPr/>
          </p:nvSpPr>
          <p:spPr>
            <a:xfrm>
              <a:off x="6912864" y="5340172"/>
              <a:ext cx="206776" cy="165737"/>
            </a:xfrm>
            <a:custGeom>
              <a:avLst/>
              <a:gdLst>
                <a:gd name="connsiteX0" fmla="*/ 193875 w 212223"/>
                <a:gd name="connsiteY0" fmla="*/ 3008 h 226932"/>
                <a:gd name="connsiteX1" fmla="*/ 192413 w 212223"/>
                <a:gd name="connsiteY1" fmla="*/ -130 h 226932"/>
                <a:gd name="connsiteX2" fmla="*/ 191074 w 212223"/>
                <a:gd name="connsiteY2" fmla="*/ -334 h 226932"/>
                <a:gd name="connsiteX3" fmla="*/ 170779 w 212223"/>
                <a:gd name="connsiteY3" fmla="*/ 22795 h 226932"/>
                <a:gd name="connsiteX4" fmla="*/ 147643 w 212223"/>
                <a:gd name="connsiteY4" fmla="*/ 24299 h 226932"/>
                <a:gd name="connsiteX5" fmla="*/ 142041 w 212223"/>
                <a:gd name="connsiteY5" fmla="*/ 35462 h 226932"/>
                <a:gd name="connsiteX6" fmla="*/ 127916 w 212223"/>
                <a:gd name="connsiteY6" fmla="*/ 46091 h 226932"/>
                <a:gd name="connsiteX7" fmla="*/ 101858 w 212223"/>
                <a:gd name="connsiteY7" fmla="*/ 50470 h 226932"/>
                <a:gd name="connsiteX8" fmla="*/ 75190 w 212223"/>
                <a:gd name="connsiteY8" fmla="*/ 52943 h 226932"/>
                <a:gd name="connsiteX9" fmla="*/ 42718 w 212223"/>
                <a:gd name="connsiteY9" fmla="*/ 54982 h 226932"/>
                <a:gd name="connsiteX10" fmla="*/ 36102 w 212223"/>
                <a:gd name="connsiteY10" fmla="*/ 71694 h 226932"/>
                <a:gd name="connsiteX11" fmla="*/ 27375 w 212223"/>
                <a:gd name="connsiteY11" fmla="*/ 94422 h 226932"/>
                <a:gd name="connsiteX12" fmla="*/ 24818 w 212223"/>
                <a:gd name="connsiteY12" fmla="*/ 135967 h 226932"/>
                <a:gd name="connsiteX13" fmla="*/ 1236 w 212223"/>
                <a:gd name="connsiteY13" fmla="*/ 175607 h 226932"/>
                <a:gd name="connsiteX14" fmla="*/ 21003 w 212223"/>
                <a:gd name="connsiteY14" fmla="*/ 217688 h 226932"/>
                <a:gd name="connsiteX15" fmla="*/ 46088 w 212223"/>
                <a:gd name="connsiteY15" fmla="*/ 226345 h 226932"/>
                <a:gd name="connsiteX16" fmla="*/ 68696 w 212223"/>
                <a:gd name="connsiteY16" fmla="*/ 224272 h 226932"/>
                <a:gd name="connsiteX17" fmla="*/ 100153 w 212223"/>
                <a:gd name="connsiteY17" fmla="*/ 206792 h 226932"/>
                <a:gd name="connsiteX18" fmla="*/ 160713 w 212223"/>
                <a:gd name="connsiteY18" fmla="*/ 122999 h 226932"/>
                <a:gd name="connsiteX19" fmla="*/ 177355 w 212223"/>
                <a:gd name="connsiteY19" fmla="*/ 94255 h 226932"/>
                <a:gd name="connsiteX20" fmla="*/ 186244 w 212223"/>
                <a:gd name="connsiteY20" fmla="*/ 79615 h 226932"/>
                <a:gd name="connsiteX21" fmla="*/ 194849 w 212223"/>
                <a:gd name="connsiteY21" fmla="*/ 66446 h 226932"/>
                <a:gd name="connsiteX22" fmla="*/ 210841 w 212223"/>
                <a:gd name="connsiteY22" fmla="*/ 66446 h 226932"/>
                <a:gd name="connsiteX23" fmla="*/ 208649 w 212223"/>
                <a:gd name="connsiteY23" fmla="*/ 46760 h 226932"/>
                <a:gd name="connsiteX24" fmla="*/ 205808 w 212223"/>
                <a:gd name="connsiteY24" fmla="*/ 24399 h 226932"/>
                <a:gd name="connsiteX25" fmla="*/ 193631 w 212223"/>
                <a:gd name="connsiteY25" fmla="*/ 2807 h 226932"/>
                <a:gd name="connsiteX26" fmla="*/ 193875 w 212223"/>
                <a:gd name="connsiteY26" fmla="*/ 3008 h 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2223" h="226932">
                  <a:moveTo>
                    <a:pt x="193875" y="3008"/>
                  </a:moveTo>
                  <a:cubicBezTo>
                    <a:pt x="194524" y="1812"/>
                    <a:pt x="193875" y="408"/>
                    <a:pt x="192413" y="-130"/>
                  </a:cubicBezTo>
                  <a:cubicBezTo>
                    <a:pt x="192008" y="-287"/>
                    <a:pt x="191521" y="-358"/>
                    <a:pt x="191074" y="-334"/>
                  </a:cubicBezTo>
                  <a:cubicBezTo>
                    <a:pt x="178085" y="3911"/>
                    <a:pt x="182712" y="19386"/>
                    <a:pt x="170779" y="22795"/>
                  </a:cubicBezTo>
                  <a:cubicBezTo>
                    <a:pt x="163311" y="24934"/>
                    <a:pt x="154543" y="21190"/>
                    <a:pt x="147643" y="24299"/>
                  </a:cubicBezTo>
                  <a:cubicBezTo>
                    <a:pt x="144477" y="25736"/>
                    <a:pt x="143097" y="32889"/>
                    <a:pt x="142041" y="35462"/>
                  </a:cubicBezTo>
                  <a:cubicBezTo>
                    <a:pt x="139403" y="41779"/>
                    <a:pt x="142041" y="44988"/>
                    <a:pt x="127916" y="46091"/>
                  </a:cubicBezTo>
                  <a:cubicBezTo>
                    <a:pt x="118987" y="46355"/>
                    <a:pt x="110179" y="47836"/>
                    <a:pt x="101858" y="50470"/>
                  </a:cubicBezTo>
                  <a:cubicBezTo>
                    <a:pt x="91589" y="53812"/>
                    <a:pt x="86434" y="53077"/>
                    <a:pt x="75190" y="52943"/>
                  </a:cubicBezTo>
                  <a:cubicBezTo>
                    <a:pt x="69995" y="52943"/>
                    <a:pt x="44992" y="52442"/>
                    <a:pt x="42718" y="54982"/>
                  </a:cubicBezTo>
                  <a:cubicBezTo>
                    <a:pt x="38416" y="59795"/>
                    <a:pt x="39512" y="66480"/>
                    <a:pt x="36102" y="71694"/>
                  </a:cubicBezTo>
                  <a:cubicBezTo>
                    <a:pt x="30745" y="79849"/>
                    <a:pt x="25427" y="84729"/>
                    <a:pt x="27375" y="94422"/>
                  </a:cubicBezTo>
                  <a:cubicBezTo>
                    <a:pt x="30541" y="110030"/>
                    <a:pt x="42556" y="122932"/>
                    <a:pt x="24818" y="135967"/>
                  </a:cubicBezTo>
                  <a:cubicBezTo>
                    <a:pt x="9070" y="147532"/>
                    <a:pt x="-4366" y="158328"/>
                    <a:pt x="1236" y="175607"/>
                  </a:cubicBezTo>
                  <a:cubicBezTo>
                    <a:pt x="5538" y="188810"/>
                    <a:pt x="3752" y="208129"/>
                    <a:pt x="21003" y="217688"/>
                  </a:cubicBezTo>
                  <a:cubicBezTo>
                    <a:pt x="28553" y="221932"/>
                    <a:pt x="37117" y="224907"/>
                    <a:pt x="46088" y="226345"/>
                  </a:cubicBezTo>
                  <a:cubicBezTo>
                    <a:pt x="54936" y="227648"/>
                    <a:pt x="60213" y="223370"/>
                    <a:pt x="68696" y="224272"/>
                  </a:cubicBezTo>
                  <a:cubicBezTo>
                    <a:pt x="87367" y="226211"/>
                    <a:pt x="93050" y="216083"/>
                    <a:pt x="100153" y="206792"/>
                  </a:cubicBezTo>
                  <a:cubicBezTo>
                    <a:pt x="121057" y="179217"/>
                    <a:pt x="140743" y="150941"/>
                    <a:pt x="160713" y="122999"/>
                  </a:cubicBezTo>
                  <a:cubicBezTo>
                    <a:pt x="166436" y="114877"/>
                    <a:pt x="177598" y="103780"/>
                    <a:pt x="177355" y="94255"/>
                  </a:cubicBezTo>
                  <a:cubicBezTo>
                    <a:pt x="177355" y="88472"/>
                    <a:pt x="185473" y="85130"/>
                    <a:pt x="186244" y="79615"/>
                  </a:cubicBezTo>
                  <a:cubicBezTo>
                    <a:pt x="186244" y="78880"/>
                    <a:pt x="188071" y="55851"/>
                    <a:pt x="194849" y="66446"/>
                  </a:cubicBezTo>
                  <a:cubicBezTo>
                    <a:pt x="199192" y="73131"/>
                    <a:pt x="207472" y="73131"/>
                    <a:pt x="210841" y="66446"/>
                  </a:cubicBezTo>
                  <a:cubicBezTo>
                    <a:pt x="214210" y="59761"/>
                    <a:pt x="210273" y="53077"/>
                    <a:pt x="208649" y="46760"/>
                  </a:cubicBezTo>
                  <a:cubicBezTo>
                    <a:pt x="206701" y="39306"/>
                    <a:pt x="208649" y="31752"/>
                    <a:pt x="205808" y="24399"/>
                  </a:cubicBezTo>
                  <a:cubicBezTo>
                    <a:pt x="202967" y="17046"/>
                    <a:pt x="195376" y="10127"/>
                    <a:pt x="193631" y="2807"/>
                  </a:cubicBezTo>
                  <a:cubicBezTo>
                    <a:pt x="191926" y="-5615"/>
                    <a:pt x="195174" y="8957"/>
                    <a:pt x="193875" y="300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535299AC-736A-4F63-A11D-6D8620D97063}"/>
                </a:ext>
              </a:extLst>
            </p:cNvPr>
            <p:cNvSpPr/>
            <p:nvPr/>
          </p:nvSpPr>
          <p:spPr>
            <a:xfrm>
              <a:off x="5526359" y="4654230"/>
              <a:ext cx="623231" cy="250047"/>
            </a:xfrm>
            <a:custGeom>
              <a:avLst/>
              <a:gdLst>
                <a:gd name="connsiteX0" fmla="*/ 213394 w 639650"/>
                <a:gd name="connsiteY0" fmla="*/ 71368 h 342371"/>
                <a:gd name="connsiteX1" fmla="*/ 216438 w 639650"/>
                <a:gd name="connsiteY1" fmla="*/ 86810 h 342371"/>
                <a:gd name="connsiteX2" fmla="*/ 229468 w 639650"/>
                <a:gd name="connsiteY2" fmla="*/ 100915 h 342371"/>
                <a:gd name="connsiteX3" fmla="*/ 178203 w 639650"/>
                <a:gd name="connsiteY3" fmla="*/ 107265 h 342371"/>
                <a:gd name="connsiteX4" fmla="*/ 168298 w 639650"/>
                <a:gd name="connsiteY4" fmla="*/ 113950 h 342371"/>
                <a:gd name="connsiteX5" fmla="*/ 151576 w 639650"/>
                <a:gd name="connsiteY5" fmla="*/ 115788 h 342371"/>
                <a:gd name="connsiteX6" fmla="*/ 146705 w 639650"/>
                <a:gd name="connsiteY6" fmla="*/ 130929 h 342371"/>
                <a:gd name="connsiteX7" fmla="*/ 138100 w 639650"/>
                <a:gd name="connsiteY7" fmla="*/ 135374 h 342371"/>
                <a:gd name="connsiteX8" fmla="*/ 121012 w 639650"/>
                <a:gd name="connsiteY8" fmla="*/ 137681 h 342371"/>
                <a:gd name="connsiteX9" fmla="*/ 101691 w 639650"/>
                <a:gd name="connsiteY9" fmla="*/ 151585 h 342371"/>
                <a:gd name="connsiteX10" fmla="*/ 72913 w 639650"/>
                <a:gd name="connsiteY10" fmla="*/ 155362 h 342371"/>
                <a:gd name="connsiteX11" fmla="*/ 67108 w 639650"/>
                <a:gd name="connsiteY11" fmla="*/ 160141 h 342371"/>
                <a:gd name="connsiteX12" fmla="*/ 53348 w 639650"/>
                <a:gd name="connsiteY12" fmla="*/ 161712 h 342371"/>
                <a:gd name="connsiteX13" fmla="*/ 4316 w 639650"/>
                <a:gd name="connsiteY13" fmla="*/ 181766 h 342371"/>
                <a:gd name="connsiteX14" fmla="*/ 12434 w 639650"/>
                <a:gd name="connsiteY14" fmla="*/ 209842 h 342371"/>
                <a:gd name="connsiteX15" fmla="*/ 35935 w 639650"/>
                <a:gd name="connsiteY15" fmla="*/ 216527 h 342371"/>
                <a:gd name="connsiteX16" fmla="*/ 241726 w 639650"/>
                <a:gd name="connsiteY16" fmla="*/ 280032 h 342371"/>
                <a:gd name="connsiteX17" fmla="*/ 309592 w 639650"/>
                <a:gd name="connsiteY17" fmla="*/ 303428 h 342371"/>
                <a:gd name="connsiteX18" fmla="*/ 337436 w 639650"/>
                <a:gd name="connsiteY18" fmla="*/ 319806 h 342371"/>
                <a:gd name="connsiteX19" fmla="*/ 381233 w 639650"/>
                <a:gd name="connsiteY19" fmla="*/ 342033 h 342371"/>
                <a:gd name="connsiteX20" fmla="*/ 461763 w 639650"/>
                <a:gd name="connsiteY20" fmla="*/ 325655 h 342371"/>
                <a:gd name="connsiteX21" fmla="*/ 517290 w 639650"/>
                <a:gd name="connsiteY21" fmla="*/ 299819 h 342371"/>
                <a:gd name="connsiteX22" fmla="*/ 605369 w 639650"/>
                <a:gd name="connsiteY22" fmla="*/ 268100 h 342371"/>
                <a:gd name="connsiteX23" fmla="*/ 637029 w 639650"/>
                <a:gd name="connsiteY23" fmla="*/ 257003 h 342371"/>
                <a:gd name="connsiteX24" fmla="*/ 636826 w 639650"/>
                <a:gd name="connsiteY24" fmla="*/ 251722 h 342371"/>
                <a:gd name="connsiteX25" fmla="*/ 613325 w 639650"/>
                <a:gd name="connsiteY25" fmla="*/ 239890 h 342371"/>
                <a:gd name="connsiteX26" fmla="*/ 583045 w 639650"/>
                <a:gd name="connsiteY26" fmla="*/ 234041 h 342371"/>
                <a:gd name="connsiteX27" fmla="*/ 572126 w 639650"/>
                <a:gd name="connsiteY27" fmla="*/ 214221 h 342371"/>
                <a:gd name="connsiteX28" fmla="*/ 569447 w 639650"/>
                <a:gd name="connsiteY28" fmla="*/ 202456 h 342371"/>
                <a:gd name="connsiteX29" fmla="*/ 571152 w 639650"/>
                <a:gd name="connsiteY29" fmla="*/ 187682 h 342371"/>
                <a:gd name="connsiteX30" fmla="*/ 574277 w 639650"/>
                <a:gd name="connsiteY30" fmla="*/ 168798 h 342371"/>
                <a:gd name="connsiteX31" fmla="*/ 571274 w 639650"/>
                <a:gd name="connsiteY31" fmla="*/ 146705 h 342371"/>
                <a:gd name="connsiteX32" fmla="*/ 563156 w 639650"/>
                <a:gd name="connsiteY32" fmla="*/ 133603 h 342371"/>
                <a:gd name="connsiteX33" fmla="*/ 561329 w 639650"/>
                <a:gd name="connsiteY33" fmla="*/ 114719 h 342371"/>
                <a:gd name="connsiteX34" fmla="*/ 551872 w 639650"/>
                <a:gd name="connsiteY34" fmla="*/ 98675 h 342371"/>
                <a:gd name="connsiteX35" fmla="*/ 527518 w 639650"/>
                <a:gd name="connsiteY35" fmla="*/ 88648 h 342371"/>
                <a:gd name="connsiteX36" fmla="*/ 519400 w 639650"/>
                <a:gd name="connsiteY36" fmla="*/ 78153 h 342371"/>
                <a:gd name="connsiteX37" fmla="*/ 498131 w 639650"/>
                <a:gd name="connsiteY37" fmla="*/ 64784 h 342371"/>
                <a:gd name="connsiteX38" fmla="*/ 527315 w 639650"/>
                <a:gd name="connsiteY38" fmla="*/ 42557 h 342371"/>
                <a:gd name="connsiteX39" fmla="*/ 527315 w 639650"/>
                <a:gd name="connsiteY39" fmla="*/ 26447 h 342371"/>
                <a:gd name="connsiteX40" fmla="*/ 529020 w 639650"/>
                <a:gd name="connsiteY40" fmla="*/ 2014 h 342371"/>
                <a:gd name="connsiteX41" fmla="*/ 481327 w 639650"/>
                <a:gd name="connsiteY41" fmla="*/ 176 h 342371"/>
                <a:gd name="connsiteX42" fmla="*/ 438424 w 639650"/>
                <a:gd name="connsiteY42" fmla="*/ 7128 h 342371"/>
                <a:gd name="connsiteX43" fmla="*/ 412892 w 639650"/>
                <a:gd name="connsiteY43" fmla="*/ 5925 h 342371"/>
                <a:gd name="connsiteX44" fmla="*/ 367108 w 639650"/>
                <a:gd name="connsiteY44" fmla="*/ 8599 h 342371"/>
                <a:gd name="connsiteX45" fmla="*/ 282397 w 639650"/>
                <a:gd name="connsiteY45" fmla="*/ 19929 h 342371"/>
                <a:gd name="connsiteX46" fmla="*/ 251020 w 639650"/>
                <a:gd name="connsiteY46" fmla="*/ 30458 h 342371"/>
                <a:gd name="connsiteX47" fmla="*/ 197807 w 639650"/>
                <a:gd name="connsiteY47" fmla="*/ 49108 h 342371"/>
                <a:gd name="connsiteX48" fmla="*/ 213394 w 639650"/>
                <a:gd name="connsiteY48" fmla="*/ 71368 h 342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39650" h="342371">
                  <a:moveTo>
                    <a:pt x="213394" y="71368"/>
                  </a:moveTo>
                  <a:cubicBezTo>
                    <a:pt x="213394" y="73674"/>
                    <a:pt x="209335" y="86476"/>
                    <a:pt x="216438" y="86810"/>
                  </a:cubicBezTo>
                  <a:cubicBezTo>
                    <a:pt x="224556" y="87178"/>
                    <a:pt x="230685" y="97104"/>
                    <a:pt x="229468" y="100915"/>
                  </a:cubicBezTo>
                  <a:cubicBezTo>
                    <a:pt x="226748" y="109605"/>
                    <a:pt x="188878" y="102786"/>
                    <a:pt x="178203" y="107265"/>
                  </a:cubicBezTo>
                  <a:cubicBezTo>
                    <a:pt x="172277" y="109805"/>
                    <a:pt x="177431" y="111543"/>
                    <a:pt x="168298" y="113950"/>
                  </a:cubicBezTo>
                  <a:cubicBezTo>
                    <a:pt x="164240" y="114953"/>
                    <a:pt x="155107" y="114418"/>
                    <a:pt x="151576" y="115788"/>
                  </a:cubicBezTo>
                  <a:cubicBezTo>
                    <a:pt x="145487" y="118195"/>
                    <a:pt x="155878" y="130461"/>
                    <a:pt x="146705" y="130929"/>
                  </a:cubicBezTo>
                  <a:cubicBezTo>
                    <a:pt x="142240" y="131163"/>
                    <a:pt x="141063" y="134037"/>
                    <a:pt x="138100" y="135374"/>
                  </a:cubicBezTo>
                  <a:cubicBezTo>
                    <a:pt x="133595" y="137413"/>
                    <a:pt x="126207" y="137146"/>
                    <a:pt x="121012" y="137681"/>
                  </a:cubicBezTo>
                  <a:cubicBezTo>
                    <a:pt x="105547" y="139285"/>
                    <a:pt x="113502" y="147206"/>
                    <a:pt x="101691" y="151585"/>
                  </a:cubicBezTo>
                  <a:cubicBezTo>
                    <a:pt x="92761" y="154927"/>
                    <a:pt x="82452" y="153523"/>
                    <a:pt x="72913" y="155362"/>
                  </a:cubicBezTo>
                  <a:cubicBezTo>
                    <a:pt x="66865" y="156498"/>
                    <a:pt x="70721" y="158336"/>
                    <a:pt x="67108" y="160141"/>
                  </a:cubicBezTo>
                  <a:cubicBezTo>
                    <a:pt x="63496" y="161946"/>
                    <a:pt x="57204" y="161244"/>
                    <a:pt x="53348" y="161712"/>
                  </a:cubicBezTo>
                  <a:cubicBezTo>
                    <a:pt x="37518" y="163718"/>
                    <a:pt x="15884" y="175650"/>
                    <a:pt x="4316" y="181766"/>
                  </a:cubicBezTo>
                  <a:cubicBezTo>
                    <a:pt x="-5223" y="186914"/>
                    <a:pt x="2368" y="207235"/>
                    <a:pt x="12434" y="209842"/>
                  </a:cubicBezTo>
                  <a:cubicBezTo>
                    <a:pt x="20552" y="211948"/>
                    <a:pt x="28142" y="214221"/>
                    <a:pt x="35935" y="216527"/>
                  </a:cubicBezTo>
                  <a:cubicBezTo>
                    <a:pt x="105669" y="236581"/>
                    <a:pt x="174266" y="257748"/>
                    <a:pt x="241726" y="280032"/>
                  </a:cubicBezTo>
                  <a:cubicBezTo>
                    <a:pt x="264537" y="287552"/>
                    <a:pt x="287714" y="294905"/>
                    <a:pt x="309592" y="303428"/>
                  </a:cubicBezTo>
                  <a:cubicBezTo>
                    <a:pt x="320632" y="307640"/>
                    <a:pt x="324569" y="318837"/>
                    <a:pt x="337436" y="319806"/>
                  </a:cubicBezTo>
                  <a:cubicBezTo>
                    <a:pt x="361466" y="321577"/>
                    <a:pt x="379974" y="327092"/>
                    <a:pt x="381233" y="342033"/>
                  </a:cubicBezTo>
                  <a:cubicBezTo>
                    <a:pt x="406479" y="338122"/>
                    <a:pt x="441184" y="335615"/>
                    <a:pt x="461763" y="325655"/>
                  </a:cubicBezTo>
                  <a:cubicBezTo>
                    <a:pt x="479866" y="316898"/>
                    <a:pt x="497319" y="307138"/>
                    <a:pt x="517290" y="299819"/>
                  </a:cubicBezTo>
                  <a:cubicBezTo>
                    <a:pt x="546473" y="289080"/>
                    <a:pt x="575820" y="278504"/>
                    <a:pt x="605369" y="268100"/>
                  </a:cubicBezTo>
                  <a:cubicBezTo>
                    <a:pt x="615882" y="264399"/>
                    <a:pt x="626435" y="260703"/>
                    <a:pt x="637029" y="257003"/>
                  </a:cubicBezTo>
                  <a:cubicBezTo>
                    <a:pt x="641088" y="255532"/>
                    <a:pt x="639789" y="257003"/>
                    <a:pt x="636826" y="251722"/>
                  </a:cubicBezTo>
                  <a:cubicBezTo>
                    <a:pt x="631631" y="242731"/>
                    <a:pt x="626557" y="243466"/>
                    <a:pt x="613325" y="239890"/>
                  </a:cubicBezTo>
                  <a:cubicBezTo>
                    <a:pt x="603705" y="237283"/>
                    <a:pt x="590716" y="238887"/>
                    <a:pt x="583045" y="234041"/>
                  </a:cubicBezTo>
                  <a:cubicBezTo>
                    <a:pt x="575373" y="229194"/>
                    <a:pt x="581381" y="220471"/>
                    <a:pt x="572126" y="214221"/>
                  </a:cubicBezTo>
                  <a:cubicBezTo>
                    <a:pt x="565185" y="209575"/>
                    <a:pt x="560315" y="207536"/>
                    <a:pt x="569447" y="202456"/>
                  </a:cubicBezTo>
                  <a:cubicBezTo>
                    <a:pt x="579473" y="197008"/>
                    <a:pt x="574196" y="195102"/>
                    <a:pt x="571152" y="187682"/>
                  </a:cubicBezTo>
                  <a:cubicBezTo>
                    <a:pt x="568108" y="180262"/>
                    <a:pt x="581259" y="176452"/>
                    <a:pt x="574277" y="168798"/>
                  </a:cubicBezTo>
                  <a:cubicBezTo>
                    <a:pt x="568027" y="161913"/>
                    <a:pt x="579473" y="154827"/>
                    <a:pt x="571274" y="146705"/>
                  </a:cubicBezTo>
                  <a:cubicBezTo>
                    <a:pt x="568351" y="143831"/>
                    <a:pt x="556540" y="136845"/>
                    <a:pt x="563156" y="133603"/>
                  </a:cubicBezTo>
                  <a:cubicBezTo>
                    <a:pt x="569772" y="130361"/>
                    <a:pt x="563602" y="119999"/>
                    <a:pt x="561329" y="114719"/>
                  </a:cubicBezTo>
                  <a:cubicBezTo>
                    <a:pt x="559178" y="109007"/>
                    <a:pt x="556012" y="103595"/>
                    <a:pt x="551872" y="98675"/>
                  </a:cubicBezTo>
                  <a:cubicBezTo>
                    <a:pt x="546920" y="93294"/>
                    <a:pt x="534662" y="92726"/>
                    <a:pt x="527518" y="88648"/>
                  </a:cubicBezTo>
                  <a:cubicBezTo>
                    <a:pt x="522566" y="85841"/>
                    <a:pt x="526503" y="81228"/>
                    <a:pt x="519400" y="78153"/>
                  </a:cubicBezTo>
                  <a:cubicBezTo>
                    <a:pt x="509415" y="73842"/>
                    <a:pt x="501865" y="72204"/>
                    <a:pt x="498131" y="64784"/>
                  </a:cubicBezTo>
                  <a:cubicBezTo>
                    <a:pt x="493585" y="55893"/>
                    <a:pt x="519441" y="49910"/>
                    <a:pt x="527315" y="42557"/>
                  </a:cubicBezTo>
                  <a:cubicBezTo>
                    <a:pt x="534013" y="36240"/>
                    <a:pt x="530359" y="32530"/>
                    <a:pt x="527315" y="26447"/>
                  </a:cubicBezTo>
                  <a:cubicBezTo>
                    <a:pt x="523581" y="18826"/>
                    <a:pt x="526990" y="9735"/>
                    <a:pt x="529020" y="2014"/>
                  </a:cubicBezTo>
                  <a:cubicBezTo>
                    <a:pt x="511769" y="2014"/>
                    <a:pt x="498659" y="-1662"/>
                    <a:pt x="481327" y="176"/>
                  </a:cubicBezTo>
                  <a:cubicBezTo>
                    <a:pt x="465944" y="1780"/>
                    <a:pt x="453280" y="4588"/>
                    <a:pt x="438424" y="7128"/>
                  </a:cubicBezTo>
                  <a:cubicBezTo>
                    <a:pt x="428520" y="8799"/>
                    <a:pt x="422472" y="5958"/>
                    <a:pt x="412892" y="5925"/>
                  </a:cubicBezTo>
                  <a:cubicBezTo>
                    <a:pt x="397590" y="6162"/>
                    <a:pt x="382288" y="7055"/>
                    <a:pt x="367108" y="8599"/>
                  </a:cubicBezTo>
                  <a:cubicBezTo>
                    <a:pt x="342104" y="10671"/>
                    <a:pt x="302570" y="10471"/>
                    <a:pt x="282397" y="19929"/>
                  </a:cubicBezTo>
                  <a:cubicBezTo>
                    <a:pt x="270910" y="25311"/>
                    <a:pt x="265552" y="28319"/>
                    <a:pt x="251020" y="30458"/>
                  </a:cubicBezTo>
                  <a:cubicBezTo>
                    <a:pt x="231375" y="33366"/>
                    <a:pt x="215342" y="48139"/>
                    <a:pt x="197807" y="49108"/>
                  </a:cubicBezTo>
                  <a:cubicBezTo>
                    <a:pt x="204748" y="56796"/>
                    <a:pt x="212785" y="61943"/>
                    <a:pt x="213394" y="7136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2F282397-6368-4D3E-897F-BAAA6463CD6F}"/>
                </a:ext>
              </a:extLst>
            </p:cNvPr>
            <p:cNvSpPr/>
            <p:nvPr/>
          </p:nvSpPr>
          <p:spPr>
            <a:xfrm>
              <a:off x="6609845" y="4490152"/>
              <a:ext cx="93244" cy="48235"/>
            </a:xfrm>
            <a:custGeom>
              <a:avLst/>
              <a:gdLst>
                <a:gd name="connsiteX0" fmla="*/ 71785 w 95700"/>
                <a:gd name="connsiteY0" fmla="*/ 18513 h 66045"/>
                <a:gd name="connsiteX1" fmla="*/ 44955 w 95700"/>
                <a:gd name="connsiteY1" fmla="*/ 6948 h 66045"/>
                <a:gd name="connsiteX2" fmla="*/ -60 w 95700"/>
                <a:gd name="connsiteY2" fmla="*/ 832 h 66045"/>
                <a:gd name="connsiteX3" fmla="*/ 36471 w 95700"/>
                <a:gd name="connsiteY3" fmla="*/ 36294 h 66045"/>
                <a:gd name="connsiteX4" fmla="*/ 42235 w 95700"/>
                <a:gd name="connsiteY4" fmla="*/ 65707 h 66045"/>
                <a:gd name="connsiteX5" fmla="*/ 61880 w 95700"/>
                <a:gd name="connsiteY5" fmla="*/ 51770 h 66045"/>
                <a:gd name="connsiteX6" fmla="*/ 83190 w 95700"/>
                <a:gd name="connsiteY6" fmla="*/ 46756 h 66045"/>
                <a:gd name="connsiteX7" fmla="*/ 71663 w 95700"/>
                <a:gd name="connsiteY7" fmla="*/ 18513 h 66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700" h="66045">
                  <a:moveTo>
                    <a:pt x="71785" y="18513"/>
                  </a:moveTo>
                  <a:cubicBezTo>
                    <a:pt x="67726" y="10057"/>
                    <a:pt x="55549" y="10959"/>
                    <a:pt x="44955" y="6948"/>
                  </a:cubicBezTo>
                  <a:cubicBezTo>
                    <a:pt x="26202" y="-70"/>
                    <a:pt x="23320" y="-1809"/>
                    <a:pt x="-60" y="832"/>
                  </a:cubicBezTo>
                  <a:cubicBezTo>
                    <a:pt x="10778" y="12998"/>
                    <a:pt x="26649" y="24061"/>
                    <a:pt x="36471" y="36294"/>
                  </a:cubicBezTo>
                  <a:cubicBezTo>
                    <a:pt x="44224" y="45887"/>
                    <a:pt x="24660" y="56850"/>
                    <a:pt x="42235" y="65707"/>
                  </a:cubicBezTo>
                  <a:cubicBezTo>
                    <a:pt x="47958" y="62365"/>
                    <a:pt x="61434" y="56750"/>
                    <a:pt x="61880" y="51770"/>
                  </a:cubicBezTo>
                  <a:cubicBezTo>
                    <a:pt x="62571" y="44015"/>
                    <a:pt x="70729" y="43948"/>
                    <a:pt x="83190" y="46756"/>
                  </a:cubicBezTo>
                  <a:cubicBezTo>
                    <a:pt x="115662" y="54176"/>
                    <a:pt x="74707" y="24663"/>
                    <a:pt x="71663" y="1851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107A77D0-E6E6-4385-BA3C-C61636E3261B}"/>
                </a:ext>
              </a:extLst>
            </p:cNvPr>
            <p:cNvSpPr/>
            <p:nvPr/>
          </p:nvSpPr>
          <p:spPr>
            <a:xfrm>
              <a:off x="6136141" y="5215977"/>
              <a:ext cx="308608" cy="156726"/>
            </a:xfrm>
            <a:custGeom>
              <a:avLst/>
              <a:gdLst>
                <a:gd name="connsiteX0" fmla="*/ 17719 w 316738"/>
                <a:gd name="connsiteY0" fmla="*/ 193782 h 214593"/>
                <a:gd name="connsiteX1" fmla="*/ 25430 w 316738"/>
                <a:gd name="connsiteY1" fmla="*/ 197859 h 214593"/>
                <a:gd name="connsiteX2" fmla="*/ 48810 w 316738"/>
                <a:gd name="connsiteY2" fmla="*/ 196322 h 214593"/>
                <a:gd name="connsiteX3" fmla="*/ 87411 w 316738"/>
                <a:gd name="connsiteY3" fmla="*/ 203007 h 214593"/>
                <a:gd name="connsiteX4" fmla="*/ 164532 w 316738"/>
                <a:gd name="connsiteY4" fmla="*/ 204477 h 214593"/>
                <a:gd name="connsiteX5" fmla="*/ 177926 w 316738"/>
                <a:gd name="connsiteY5" fmla="*/ 210159 h 214593"/>
                <a:gd name="connsiteX6" fmla="*/ 205000 w 316738"/>
                <a:gd name="connsiteY6" fmla="*/ 210594 h 214593"/>
                <a:gd name="connsiteX7" fmla="*/ 240678 w 316738"/>
                <a:gd name="connsiteY7" fmla="*/ 213401 h 214593"/>
                <a:gd name="connsiteX8" fmla="*/ 285327 w 316738"/>
                <a:gd name="connsiteY8" fmla="*/ 211530 h 214593"/>
                <a:gd name="connsiteX9" fmla="*/ 257280 w 316738"/>
                <a:gd name="connsiteY9" fmla="*/ 177137 h 214593"/>
                <a:gd name="connsiteX10" fmla="*/ 262393 w 316738"/>
                <a:gd name="connsiteY10" fmla="*/ 127235 h 214593"/>
                <a:gd name="connsiteX11" fmla="*/ 301522 w 316738"/>
                <a:gd name="connsiteY11" fmla="*/ 129608 h 214593"/>
                <a:gd name="connsiteX12" fmla="*/ 312928 w 316738"/>
                <a:gd name="connsiteY12" fmla="*/ 110256 h 214593"/>
                <a:gd name="connsiteX13" fmla="*/ 316541 w 316738"/>
                <a:gd name="connsiteY13" fmla="*/ 94781 h 214593"/>
                <a:gd name="connsiteX14" fmla="*/ 301725 w 316738"/>
                <a:gd name="connsiteY14" fmla="*/ 92575 h 214593"/>
                <a:gd name="connsiteX15" fmla="*/ 280659 w 316738"/>
                <a:gd name="connsiteY15" fmla="*/ 92575 h 214593"/>
                <a:gd name="connsiteX16" fmla="*/ 271161 w 316738"/>
                <a:gd name="connsiteY16" fmla="*/ 95917 h 214593"/>
                <a:gd name="connsiteX17" fmla="*/ 271729 w 316738"/>
                <a:gd name="connsiteY17" fmla="*/ 79740 h 214593"/>
                <a:gd name="connsiteX18" fmla="*/ 258010 w 316738"/>
                <a:gd name="connsiteY18" fmla="*/ 64733 h 214593"/>
                <a:gd name="connsiteX19" fmla="*/ 264585 w 316738"/>
                <a:gd name="connsiteY19" fmla="*/ 47286 h 214593"/>
                <a:gd name="connsiteX20" fmla="*/ 260202 w 316738"/>
                <a:gd name="connsiteY20" fmla="*/ 30407 h 214593"/>
                <a:gd name="connsiteX21" fmla="*/ 235848 w 316738"/>
                <a:gd name="connsiteY21" fmla="*/ 27065 h 214593"/>
                <a:gd name="connsiteX22" fmla="*/ 200697 w 316738"/>
                <a:gd name="connsiteY22" fmla="*/ 29772 h 214593"/>
                <a:gd name="connsiteX23" fmla="*/ 185598 w 316738"/>
                <a:gd name="connsiteY23" fmla="*/ 37426 h 214593"/>
                <a:gd name="connsiteX24" fmla="*/ 146713 w 316738"/>
                <a:gd name="connsiteY24" fmla="*/ 36123 h 214593"/>
                <a:gd name="connsiteX25" fmla="*/ 129909 w 316738"/>
                <a:gd name="connsiteY25" fmla="*/ 18742 h 214593"/>
                <a:gd name="connsiteX26" fmla="*/ 125850 w 316738"/>
                <a:gd name="connsiteY26" fmla="*/ 1195 h 214593"/>
                <a:gd name="connsiteX27" fmla="*/ 87046 w 316738"/>
                <a:gd name="connsiteY27" fmla="*/ 326 h 214593"/>
                <a:gd name="connsiteX28" fmla="*/ 38338 w 316738"/>
                <a:gd name="connsiteY28" fmla="*/ -8 h 214593"/>
                <a:gd name="connsiteX29" fmla="*/ 40043 w 316738"/>
                <a:gd name="connsiteY29" fmla="*/ 34351 h 214593"/>
                <a:gd name="connsiteX30" fmla="*/ 45685 w 316738"/>
                <a:gd name="connsiteY30" fmla="*/ 72187 h 214593"/>
                <a:gd name="connsiteX31" fmla="*/ 41626 w 316738"/>
                <a:gd name="connsiteY31" fmla="*/ 116339 h 214593"/>
                <a:gd name="connsiteX32" fmla="*/ 22792 w 316738"/>
                <a:gd name="connsiteY32" fmla="*/ 136627 h 214593"/>
                <a:gd name="connsiteX33" fmla="*/ 14675 w 316738"/>
                <a:gd name="connsiteY33" fmla="*/ 160224 h 214593"/>
                <a:gd name="connsiteX34" fmla="*/ -60 w 316738"/>
                <a:gd name="connsiteY34" fmla="*/ 199464 h 214593"/>
                <a:gd name="connsiteX35" fmla="*/ 17719 w 316738"/>
                <a:gd name="connsiteY35" fmla="*/ 193782 h 214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16738" h="214593">
                  <a:moveTo>
                    <a:pt x="17719" y="193782"/>
                  </a:moveTo>
                  <a:cubicBezTo>
                    <a:pt x="22508" y="193782"/>
                    <a:pt x="21331" y="197592"/>
                    <a:pt x="25430" y="197859"/>
                  </a:cubicBezTo>
                  <a:cubicBezTo>
                    <a:pt x="33548" y="198327"/>
                    <a:pt x="39718" y="194250"/>
                    <a:pt x="48810" y="196322"/>
                  </a:cubicBezTo>
                  <a:cubicBezTo>
                    <a:pt x="62895" y="199664"/>
                    <a:pt x="72149" y="202739"/>
                    <a:pt x="87411" y="203007"/>
                  </a:cubicBezTo>
                  <a:cubicBezTo>
                    <a:pt x="113145" y="203384"/>
                    <a:pt x="138838" y="203876"/>
                    <a:pt x="164532" y="204477"/>
                  </a:cubicBezTo>
                  <a:cubicBezTo>
                    <a:pt x="171554" y="204477"/>
                    <a:pt x="172893" y="206717"/>
                    <a:pt x="177926" y="210159"/>
                  </a:cubicBezTo>
                  <a:cubicBezTo>
                    <a:pt x="181539" y="212666"/>
                    <a:pt x="199926" y="210560"/>
                    <a:pt x="205000" y="210594"/>
                  </a:cubicBezTo>
                  <a:cubicBezTo>
                    <a:pt x="216974" y="210631"/>
                    <a:pt x="228907" y="211570"/>
                    <a:pt x="240678" y="213401"/>
                  </a:cubicBezTo>
                  <a:cubicBezTo>
                    <a:pt x="255615" y="215674"/>
                    <a:pt x="270755" y="212833"/>
                    <a:pt x="285327" y="211530"/>
                  </a:cubicBezTo>
                  <a:cubicBezTo>
                    <a:pt x="274449" y="200968"/>
                    <a:pt x="255980" y="189971"/>
                    <a:pt x="257280" y="177137"/>
                  </a:cubicBezTo>
                  <a:lnTo>
                    <a:pt x="262393" y="127235"/>
                  </a:lnTo>
                  <a:cubicBezTo>
                    <a:pt x="275423" y="128004"/>
                    <a:pt x="288493" y="128773"/>
                    <a:pt x="301522" y="129608"/>
                  </a:cubicBezTo>
                  <a:cubicBezTo>
                    <a:pt x="312197" y="130310"/>
                    <a:pt x="312157" y="113565"/>
                    <a:pt x="312928" y="110256"/>
                  </a:cubicBezTo>
                  <a:cubicBezTo>
                    <a:pt x="314105" y="105109"/>
                    <a:pt x="315323" y="99928"/>
                    <a:pt x="316541" y="94781"/>
                  </a:cubicBezTo>
                  <a:cubicBezTo>
                    <a:pt x="317961" y="88731"/>
                    <a:pt x="308138" y="92274"/>
                    <a:pt x="301725" y="92575"/>
                  </a:cubicBezTo>
                  <a:cubicBezTo>
                    <a:pt x="295312" y="92876"/>
                    <a:pt x="286667" y="90804"/>
                    <a:pt x="280659" y="92575"/>
                  </a:cubicBezTo>
                  <a:cubicBezTo>
                    <a:pt x="277940" y="93444"/>
                    <a:pt x="274814" y="96686"/>
                    <a:pt x="271161" y="95917"/>
                  </a:cubicBezTo>
                  <a:cubicBezTo>
                    <a:pt x="264464" y="94614"/>
                    <a:pt x="272866" y="82715"/>
                    <a:pt x="271729" y="79740"/>
                  </a:cubicBezTo>
                  <a:cubicBezTo>
                    <a:pt x="269497" y="74125"/>
                    <a:pt x="257564" y="70181"/>
                    <a:pt x="258010" y="64733"/>
                  </a:cubicBezTo>
                  <a:cubicBezTo>
                    <a:pt x="258497" y="58717"/>
                    <a:pt x="262962" y="53169"/>
                    <a:pt x="264585" y="47286"/>
                  </a:cubicBezTo>
                  <a:cubicBezTo>
                    <a:pt x="265965" y="42306"/>
                    <a:pt x="259918" y="36056"/>
                    <a:pt x="260202" y="30407"/>
                  </a:cubicBezTo>
                  <a:cubicBezTo>
                    <a:pt x="260486" y="24759"/>
                    <a:pt x="241937" y="28001"/>
                    <a:pt x="235848" y="27065"/>
                  </a:cubicBezTo>
                  <a:cubicBezTo>
                    <a:pt x="223671" y="24792"/>
                    <a:pt x="206583" y="15534"/>
                    <a:pt x="200697" y="29772"/>
                  </a:cubicBezTo>
                  <a:cubicBezTo>
                    <a:pt x="197410" y="37693"/>
                    <a:pt x="197897" y="36791"/>
                    <a:pt x="185598" y="37426"/>
                  </a:cubicBezTo>
                  <a:cubicBezTo>
                    <a:pt x="173299" y="38061"/>
                    <a:pt x="155358" y="44111"/>
                    <a:pt x="146713" y="36123"/>
                  </a:cubicBezTo>
                  <a:cubicBezTo>
                    <a:pt x="142654" y="32546"/>
                    <a:pt x="130883" y="22753"/>
                    <a:pt x="129909" y="18742"/>
                  </a:cubicBezTo>
                  <a:cubicBezTo>
                    <a:pt x="128813" y="14197"/>
                    <a:pt x="133968" y="4805"/>
                    <a:pt x="125850" y="1195"/>
                  </a:cubicBezTo>
                  <a:cubicBezTo>
                    <a:pt x="119436" y="-1713"/>
                    <a:pt x="94758" y="426"/>
                    <a:pt x="87046" y="326"/>
                  </a:cubicBezTo>
                  <a:cubicBezTo>
                    <a:pt x="70810" y="25"/>
                    <a:pt x="54331" y="-610"/>
                    <a:pt x="38338" y="-8"/>
                  </a:cubicBezTo>
                  <a:cubicBezTo>
                    <a:pt x="7653" y="1195"/>
                    <a:pt x="32940" y="24792"/>
                    <a:pt x="40043" y="34351"/>
                  </a:cubicBezTo>
                  <a:cubicBezTo>
                    <a:pt x="49541" y="47152"/>
                    <a:pt x="37607" y="58383"/>
                    <a:pt x="45685" y="72187"/>
                  </a:cubicBezTo>
                  <a:cubicBezTo>
                    <a:pt x="55751" y="89400"/>
                    <a:pt x="62449" y="101399"/>
                    <a:pt x="41626" y="116339"/>
                  </a:cubicBezTo>
                  <a:cubicBezTo>
                    <a:pt x="33630" y="121894"/>
                    <a:pt x="27217" y="128820"/>
                    <a:pt x="22792" y="136627"/>
                  </a:cubicBezTo>
                  <a:cubicBezTo>
                    <a:pt x="18490" y="144315"/>
                    <a:pt x="19545" y="152771"/>
                    <a:pt x="14675" y="160224"/>
                  </a:cubicBezTo>
                  <a:cubicBezTo>
                    <a:pt x="6232" y="173594"/>
                    <a:pt x="752" y="184457"/>
                    <a:pt x="-60" y="199464"/>
                  </a:cubicBezTo>
                  <a:cubicBezTo>
                    <a:pt x="8180" y="199063"/>
                    <a:pt x="10453" y="193748"/>
                    <a:pt x="17719" y="19378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344FA215-F6A9-4A97-9C11-9A6ECCCF6505}"/>
                </a:ext>
              </a:extLst>
            </p:cNvPr>
            <p:cNvSpPr/>
            <p:nvPr/>
          </p:nvSpPr>
          <p:spPr>
            <a:xfrm>
              <a:off x="6826803" y="4940160"/>
              <a:ext cx="182554" cy="79069"/>
            </a:xfrm>
            <a:custGeom>
              <a:avLst/>
              <a:gdLst>
                <a:gd name="connsiteX0" fmla="*/ 37122 w 187363"/>
                <a:gd name="connsiteY0" fmla="*/ 11861 h 108264"/>
                <a:gd name="connsiteX1" fmla="*/ 20318 w 187363"/>
                <a:gd name="connsiteY1" fmla="*/ 17175 h 108264"/>
                <a:gd name="connsiteX2" fmla="*/ 12768 w 187363"/>
                <a:gd name="connsiteY2" fmla="*/ 31614 h 108264"/>
                <a:gd name="connsiteX3" fmla="*/ -17 w 187363"/>
                <a:gd name="connsiteY3" fmla="*/ 46287 h 108264"/>
                <a:gd name="connsiteX4" fmla="*/ 17071 w 187363"/>
                <a:gd name="connsiteY4" fmla="*/ 59657 h 108264"/>
                <a:gd name="connsiteX5" fmla="*/ 32576 w 187363"/>
                <a:gd name="connsiteY5" fmla="*/ 61094 h 108264"/>
                <a:gd name="connsiteX6" fmla="*/ 45849 w 187363"/>
                <a:gd name="connsiteY6" fmla="*/ 54409 h 108264"/>
                <a:gd name="connsiteX7" fmla="*/ 61273 w 187363"/>
                <a:gd name="connsiteY7" fmla="*/ 62531 h 108264"/>
                <a:gd name="connsiteX8" fmla="*/ 73815 w 187363"/>
                <a:gd name="connsiteY8" fmla="*/ 61462 h 108264"/>
                <a:gd name="connsiteX9" fmla="*/ 83272 w 187363"/>
                <a:gd name="connsiteY9" fmla="*/ 64136 h 108264"/>
                <a:gd name="connsiteX10" fmla="*/ 113634 w 187363"/>
                <a:gd name="connsiteY10" fmla="*/ 68581 h 108264"/>
                <a:gd name="connsiteX11" fmla="*/ 141479 w 187363"/>
                <a:gd name="connsiteY11" fmla="*/ 88635 h 108264"/>
                <a:gd name="connsiteX12" fmla="*/ 187304 w 187363"/>
                <a:gd name="connsiteY12" fmla="*/ 106416 h 108264"/>
                <a:gd name="connsiteX13" fmla="*/ 149515 w 187363"/>
                <a:gd name="connsiteY13" fmla="*/ 74497 h 108264"/>
                <a:gd name="connsiteX14" fmla="*/ 128936 w 187363"/>
                <a:gd name="connsiteY14" fmla="*/ 63032 h 108264"/>
                <a:gd name="connsiteX15" fmla="*/ 108641 w 187363"/>
                <a:gd name="connsiteY15" fmla="*/ 56114 h 108264"/>
                <a:gd name="connsiteX16" fmla="*/ 86195 w 187363"/>
                <a:gd name="connsiteY16" fmla="*/ 34856 h 108264"/>
                <a:gd name="connsiteX17" fmla="*/ 67240 w 187363"/>
                <a:gd name="connsiteY17" fmla="*/ -339 h 108264"/>
                <a:gd name="connsiteX18" fmla="*/ 37001 w 187363"/>
                <a:gd name="connsiteY18" fmla="*/ 12128 h 10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7363" h="108264">
                  <a:moveTo>
                    <a:pt x="37122" y="11861"/>
                  </a:moveTo>
                  <a:cubicBezTo>
                    <a:pt x="32251" y="14034"/>
                    <a:pt x="23687" y="13900"/>
                    <a:pt x="20318" y="17175"/>
                  </a:cubicBezTo>
                  <a:cubicBezTo>
                    <a:pt x="15812" y="21587"/>
                    <a:pt x="19141" y="26902"/>
                    <a:pt x="12768" y="31614"/>
                  </a:cubicBezTo>
                  <a:cubicBezTo>
                    <a:pt x="6396" y="36327"/>
                    <a:pt x="104" y="39235"/>
                    <a:pt x="-17" y="46287"/>
                  </a:cubicBezTo>
                  <a:cubicBezTo>
                    <a:pt x="-261" y="56916"/>
                    <a:pt x="-17" y="57651"/>
                    <a:pt x="17071" y="59657"/>
                  </a:cubicBezTo>
                  <a:cubicBezTo>
                    <a:pt x="22266" y="60225"/>
                    <a:pt x="29532" y="64202"/>
                    <a:pt x="32576" y="61094"/>
                  </a:cubicBezTo>
                  <a:cubicBezTo>
                    <a:pt x="35174" y="58487"/>
                    <a:pt x="37528" y="51267"/>
                    <a:pt x="45849" y="54409"/>
                  </a:cubicBezTo>
                  <a:cubicBezTo>
                    <a:pt x="51613" y="56515"/>
                    <a:pt x="54291" y="61595"/>
                    <a:pt x="61273" y="62531"/>
                  </a:cubicBezTo>
                  <a:cubicBezTo>
                    <a:pt x="65494" y="62484"/>
                    <a:pt x="69675" y="62127"/>
                    <a:pt x="73815" y="61462"/>
                  </a:cubicBezTo>
                  <a:cubicBezTo>
                    <a:pt x="77306" y="61462"/>
                    <a:pt x="79822" y="63668"/>
                    <a:pt x="83272" y="64136"/>
                  </a:cubicBezTo>
                  <a:cubicBezTo>
                    <a:pt x="93136" y="65439"/>
                    <a:pt x="105922" y="63868"/>
                    <a:pt x="113634" y="68581"/>
                  </a:cubicBezTo>
                  <a:cubicBezTo>
                    <a:pt x="123375" y="74834"/>
                    <a:pt x="132670" y="81529"/>
                    <a:pt x="141479" y="88635"/>
                  </a:cubicBezTo>
                  <a:cubicBezTo>
                    <a:pt x="157714" y="101069"/>
                    <a:pt x="161773" y="112031"/>
                    <a:pt x="187304" y="106416"/>
                  </a:cubicBezTo>
                  <a:cubicBezTo>
                    <a:pt x="173301" y="96389"/>
                    <a:pt x="163437" y="84591"/>
                    <a:pt x="149515" y="74497"/>
                  </a:cubicBezTo>
                  <a:cubicBezTo>
                    <a:pt x="143305" y="69928"/>
                    <a:pt x="136405" y="66071"/>
                    <a:pt x="128936" y="63032"/>
                  </a:cubicBezTo>
                  <a:cubicBezTo>
                    <a:pt x="122645" y="60526"/>
                    <a:pt x="112700" y="60091"/>
                    <a:pt x="108641" y="56114"/>
                  </a:cubicBezTo>
                  <a:cubicBezTo>
                    <a:pt x="101213" y="48961"/>
                    <a:pt x="91310" y="42744"/>
                    <a:pt x="86195" y="34856"/>
                  </a:cubicBezTo>
                  <a:cubicBezTo>
                    <a:pt x="78077" y="22389"/>
                    <a:pt x="80675" y="11460"/>
                    <a:pt x="67240" y="-339"/>
                  </a:cubicBezTo>
                  <a:cubicBezTo>
                    <a:pt x="58757" y="5845"/>
                    <a:pt x="46945" y="7516"/>
                    <a:pt x="37001" y="1212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2DBEBA3C-4BA8-4ED9-9B64-55518A041457}"/>
                </a:ext>
              </a:extLst>
            </p:cNvPr>
            <p:cNvSpPr/>
            <p:nvPr/>
          </p:nvSpPr>
          <p:spPr>
            <a:xfrm>
              <a:off x="6663027" y="5278406"/>
              <a:ext cx="79153" cy="97007"/>
            </a:xfrm>
            <a:custGeom>
              <a:avLst/>
              <a:gdLst>
                <a:gd name="connsiteX0" fmla="*/ 79251 w 81238"/>
                <a:gd name="connsiteY0" fmla="*/ 90139 h 132825"/>
                <a:gd name="connsiteX1" fmla="*/ 64313 w 81238"/>
                <a:gd name="connsiteY1" fmla="*/ 78909 h 132825"/>
                <a:gd name="connsiteX2" fmla="*/ 50391 w 81238"/>
                <a:gd name="connsiteY2" fmla="*/ 77371 h 132825"/>
                <a:gd name="connsiteX3" fmla="*/ 37159 w 81238"/>
                <a:gd name="connsiteY3" fmla="*/ 53406 h 132825"/>
                <a:gd name="connsiteX4" fmla="*/ 45277 w 81238"/>
                <a:gd name="connsiteY4" fmla="*/ 27804 h 132825"/>
                <a:gd name="connsiteX5" fmla="*/ 39757 w 81238"/>
                <a:gd name="connsiteY5" fmla="*/ 1065 h 132825"/>
                <a:gd name="connsiteX6" fmla="*/ 21532 w 81238"/>
                <a:gd name="connsiteY6" fmla="*/ -339 h 132825"/>
                <a:gd name="connsiteX7" fmla="*/ 30380 w 81238"/>
                <a:gd name="connsiteY7" fmla="*/ 17075 h 132825"/>
                <a:gd name="connsiteX8" fmla="*/ 19299 w 81238"/>
                <a:gd name="connsiteY8" fmla="*/ 21487 h 132825"/>
                <a:gd name="connsiteX9" fmla="*/ 16053 w 81238"/>
                <a:gd name="connsiteY9" fmla="*/ 37396 h 132825"/>
                <a:gd name="connsiteX10" fmla="*/ 19503 w 81238"/>
                <a:gd name="connsiteY10" fmla="*/ 49061 h 132825"/>
                <a:gd name="connsiteX11" fmla="*/ 7082 w 81238"/>
                <a:gd name="connsiteY11" fmla="*/ 51234 h 132825"/>
                <a:gd name="connsiteX12" fmla="*/ 1197 w 81238"/>
                <a:gd name="connsiteY12" fmla="*/ 67444 h 132825"/>
                <a:gd name="connsiteX13" fmla="*/ 9802 w 81238"/>
                <a:gd name="connsiteY13" fmla="*/ 77772 h 132825"/>
                <a:gd name="connsiteX14" fmla="*/ 29812 w 81238"/>
                <a:gd name="connsiteY14" fmla="*/ 83922 h 132825"/>
                <a:gd name="connsiteX15" fmla="*/ 35535 w 81238"/>
                <a:gd name="connsiteY15" fmla="*/ 109959 h 132825"/>
                <a:gd name="connsiteX16" fmla="*/ 57373 w 81238"/>
                <a:gd name="connsiteY16" fmla="*/ 132487 h 132825"/>
                <a:gd name="connsiteX17" fmla="*/ 58428 w 81238"/>
                <a:gd name="connsiteY17" fmla="*/ 119786 h 132825"/>
                <a:gd name="connsiteX18" fmla="*/ 73527 w 81238"/>
                <a:gd name="connsiteY18" fmla="*/ 115173 h 132825"/>
                <a:gd name="connsiteX19" fmla="*/ 79210 w 81238"/>
                <a:gd name="connsiteY19" fmla="*/ 90206 h 132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238" h="132825">
                  <a:moveTo>
                    <a:pt x="79251" y="90139"/>
                  </a:moveTo>
                  <a:cubicBezTo>
                    <a:pt x="74664" y="86058"/>
                    <a:pt x="69671" y="82301"/>
                    <a:pt x="64313" y="78909"/>
                  </a:cubicBezTo>
                  <a:cubicBezTo>
                    <a:pt x="64313" y="86630"/>
                    <a:pt x="53354" y="80179"/>
                    <a:pt x="50391" y="77371"/>
                  </a:cubicBezTo>
                  <a:cubicBezTo>
                    <a:pt x="43044" y="70713"/>
                    <a:pt x="38417" y="62334"/>
                    <a:pt x="37159" y="53406"/>
                  </a:cubicBezTo>
                  <a:cubicBezTo>
                    <a:pt x="36469" y="44282"/>
                    <a:pt x="47185" y="36895"/>
                    <a:pt x="45277" y="27804"/>
                  </a:cubicBezTo>
                  <a:cubicBezTo>
                    <a:pt x="44140" y="22055"/>
                    <a:pt x="29609" y="5711"/>
                    <a:pt x="39757" y="1065"/>
                  </a:cubicBezTo>
                  <a:cubicBezTo>
                    <a:pt x="33709" y="280"/>
                    <a:pt x="27621" y="-192"/>
                    <a:pt x="21532" y="-339"/>
                  </a:cubicBezTo>
                  <a:cubicBezTo>
                    <a:pt x="25347" y="4474"/>
                    <a:pt x="30989" y="11660"/>
                    <a:pt x="30380" y="17075"/>
                  </a:cubicBezTo>
                  <a:cubicBezTo>
                    <a:pt x="30096" y="19247"/>
                    <a:pt x="21126" y="17576"/>
                    <a:pt x="19299" y="21487"/>
                  </a:cubicBezTo>
                  <a:cubicBezTo>
                    <a:pt x="17148" y="26604"/>
                    <a:pt x="16053" y="31982"/>
                    <a:pt x="16053" y="37396"/>
                  </a:cubicBezTo>
                  <a:cubicBezTo>
                    <a:pt x="16053" y="39669"/>
                    <a:pt x="20112" y="47691"/>
                    <a:pt x="19503" y="49061"/>
                  </a:cubicBezTo>
                  <a:cubicBezTo>
                    <a:pt x="18285" y="51334"/>
                    <a:pt x="7326" y="47658"/>
                    <a:pt x="7082" y="51234"/>
                  </a:cubicBezTo>
                  <a:cubicBezTo>
                    <a:pt x="6757" y="54209"/>
                    <a:pt x="6270" y="66241"/>
                    <a:pt x="1197" y="67444"/>
                  </a:cubicBezTo>
                  <a:cubicBezTo>
                    <a:pt x="-3877" y="68648"/>
                    <a:pt x="7935" y="76502"/>
                    <a:pt x="9802" y="77772"/>
                  </a:cubicBezTo>
                  <a:cubicBezTo>
                    <a:pt x="16986" y="82786"/>
                    <a:pt x="19624" y="84825"/>
                    <a:pt x="29812" y="83922"/>
                  </a:cubicBezTo>
                  <a:cubicBezTo>
                    <a:pt x="58225" y="81449"/>
                    <a:pt x="32856" y="103040"/>
                    <a:pt x="35535" y="109959"/>
                  </a:cubicBezTo>
                  <a:cubicBezTo>
                    <a:pt x="36875" y="113301"/>
                    <a:pt x="57251" y="132620"/>
                    <a:pt x="57373" y="132487"/>
                  </a:cubicBezTo>
                  <a:cubicBezTo>
                    <a:pt x="60133" y="128944"/>
                    <a:pt x="56074" y="123730"/>
                    <a:pt x="58428" y="119786"/>
                  </a:cubicBezTo>
                  <a:cubicBezTo>
                    <a:pt x="61432" y="114872"/>
                    <a:pt x="67926" y="116978"/>
                    <a:pt x="73527" y="115173"/>
                  </a:cubicBezTo>
                  <a:cubicBezTo>
                    <a:pt x="79738" y="113201"/>
                    <a:pt x="83797" y="94584"/>
                    <a:pt x="79210" y="9020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5700FB9B-1686-4609-B229-36D859943733}"/>
                </a:ext>
              </a:extLst>
            </p:cNvPr>
            <p:cNvSpPr/>
            <p:nvPr/>
          </p:nvSpPr>
          <p:spPr>
            <a:xfrm>
              <a:off x="8630854" y="5272177"/>
              <a:ext cx="148033" cy="61826"/>
            </a:xfrm>
            <a:custGeom>
              <a:avLst/>
              <a:gdLst>
                <a:gd name="connsiteX0" fmla="*/ 55879 w 151933"/>
                <a:gd name="connsiteY0" fmla="*/ 73282 h 84654"/>
                <a:gd name="connsiteX1" fmla="*/ 86849 w 151933"/>
                <a:gd name="connsiteY1" fmla="*/ 84044 h 84654"/>
                <a:gd name="connsiteX2" fmla="*/ 100365 w 151933"/>
                <a:gd name="connsiteY2" fmla="*/ 73148 h 84654"/>
                <a:gd name="connsiteX3" fmla="*/ 135638 w 151933"/>
                <a:gd name="connsiteY3" fmla="*/ 68469 h 84654"/>
                <a:gd name="connsiteX4" fmla="*/ 151873 w 151933"/>
                <a:gd name="connsiteY4" fmla="*/ 35714 h 84654"/>
                <a:gd name="connsiteX5" fmla="*/ 110838 w 151933"/>
                <a:gd name="connsiteY5" fmla="*/ 27825 h 84654"/>
                <a:gd name="connsiteX6" fmla="*/ 88432 w 151933"/>
                <a:gd name="connsiteY6" fmla="*/ 17798 h 84654"/>
                <a:gd name="connsiteX7" fmla="*/ 46584 w 151933"/>
                <a:gd name="connsiteY7" fmla="*/ 2156 h 84654"/>
                <a:gd name="connsiteX8" fmla="*/ 1245 w 151933"/>
                <a:gd name="connsiteY8" fmla="*/ 8540 h 84654"/>
                <a:gd name="connsiteX9" fmla="*/ -54 w 151933"/>
                <a:gd name="connsiteY9" fmla="*/ 30199 h 84654"/>
                <a:gd name="connsiteX10" fmla="*/ 2665 w 151933"/>
                <a:gd name="connsiteY10" fmla="*/ 41195 h 84654"/>
                <a:gd name="connsiteX11" fmla="*/ 5304 w 151933"/>
                <a:gd name="connsiteY11" fmla="*/ 52158 h 84654"/>
                <a:gd name="connsiteX12" fmla="*/ 15371 w 151933"/>
                <a:gd name="connsiteY12" fmla="*/ 57840 h 84654"/>
                <a:gd name="connsiteX13" fmla="*/ 19633 w 151933"/>
                <a:gd name="connsiteY13" fmla="*/ 66731 h 84654"/>
                <a:gd name="connsiteX14" fmla="*/ 34042 w 151933"/>
                <a:gd name="connsiteY14" fmla="*/ 72011 h 84654"/>
                <a:gd name="connsiteX15" fmla="*/ 55879 w 151933"/>
                <a:gd name="connsiteY15" fmla="*/ 73282 h 8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933" h="84654">
                  <a:moveTo>
                    <a:pt x="55879" y="73282"/>
                  </a:moveTo>
                  <a:cubicBezTo>
                    <a:pt x="57787" y="69572"/>
                    <a:pt x="81451" y="86651"/>
                    <a:pt x="86849" y="84044"/>
                  </a:cubicBezTo>
                  <a:cubicBezTo>
                    <a:pt x="99026" y="77994"/>
                    <a:pt x="68705" y="60347"/>
                    <a:pt x="100365" y="73148"/>
                  </a:cubicBezTo>
                  <a:cubicBezTo>
                    <a:pt x="112542" y="77994"/>
                    <a:pt x="124192" y="69070"/>
                    <a:pt x="135638" y="68469"/>
                  </a:cubicBezTo>
                  <a:cubicBezTo>
                    <a:pt x="162265" y="67165"/>
                    <a:pt x="145298" y="48414"/>
                    <a:pt x="151873" y="35714"/>
                  </a:cubicBezTo>
                  <a:cubicBezTo>
                    <a:pt x="142092" y="36482"/>
                    <a:pt x="114572" y="20573"/>
                    <a:pt x="110838" y="27825"/>
                  </a:cubicBezTo>
                  <a:cubicBezTo>
                    <a:pt x="106008" y="37151"/>
                    <a:pt x="91842" y="23046"/>
                    <a:pt x="88432" y="17798"/>
                  </a:cubicBezTo>
                  <a:cubicBezTo>
                    <a:pt x="85022" y="12551"/>
                    <a:pt x="54824" y="4964"/>
                    <a:pt x="46584" y="2156"/>
                  </a:cubicBezTo>
                  <a:cubicBezTo>
                    <a:pt x="35422" y="-1687"/>
                    <a:pt x="-2124" y="-2155"/>
                    <a:pt x="1245" y="8540"/>
                  </a:cubicBezTo>
                  <a:cubicBezTo>
                    <a:pt x="3031" y="14122"/>
                    <a:pt x="5304" y="26455"/>
                    <a:pt x="-54" y="30199"/>
                  </a:cubicBezTo>
                  <a:cubicBezTo>
                    <a:pt x="1124" y="29530"/>
                    <a:pt x="3356" y="39758"/>
                    <a:pt x="2665" y="41195"/>
                  </a:cubicBezTo>
                  <a:cubicBezTo>
                    <a:pt x="1083" y="44537"/>
                    <a:pt x="-3788" y="49451"/>
                    <a:pt x="5304" y="52158"/>
                  </a:cubicBezTo>
                  <a:cubicBezTo>
                    <a:pt x="10175" y="53595"/>
                    <a:pt x="20647" y="53963"/>
                    <a:pt x="15371" y="57840"/>
                  </a:cubicBezTo>
                  <a:cubicBezTo>
                    <a:pt x="11312" y="60881"/>
                    <a:pt x="11555" y="64825"/>
                    <a:pt x="19633" y="66731"/>
                  </a:cubicBezTo>
                  <a:cubicBezTo>
                    <a:pt x="23245" y="67600"/>
                    <a:pt x="33433" y="68335"/>
                    <a:pt x="34042" y="72011"/>
                  </a:cubicBezTo>
                  <a:cubicBezTo>
                    <a:pt x="35137" y="77460"/>
                    <a:pt x="54093" y="76958"/>
                    <a:pt x="55879" y="7328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881CB1FA-048D-4613-ACAD-361A13FF5D2C}"/>
                </a:ext>
              </a:extLst>
            </p:cNvPr>
            <p:cNvSpPr/>
            <p:nvPr/>
          </p:nvSpPr>
          <p:spPr>
            <a:xfrm>
              <a:off x="6713770" y="4979482"/>
              <a:ext cx="412697" cy="145523"/>
            </a:xfrm>
            <a:custGeom>
              <a:avLst/>
              <a:gdLst>
                <a:gd name="connsiteX0" fmla="*/ 26006 w 423569"/>
                <a:gd name="connsiteY0" fmla="*/ 118989 h 199254"/>
                <a:gd name="connsiteX1" fmla="*/ 46057 w 423569"/>
                <a:gd name="connsiteY1" fmla="*/ 136202 h 199254"/>
                <a:gd name="connsiteX2" fmla="*/ 69356 w 423569"/>
                <a:gd name="connsiteY2" fmla="*/ 153917 h 199254"/>
                <a:gd name="connsiteX3" fmla="*/ 71020 w 423569"/>
                <a:gd name="connsiteY3" fmla="*/ 169459 h 199254"/>
                <a:gd name="connsiteX4" fmla="*/ 99433 w 423569"/>
                <a:gd name="connsiteY4" fmla="*/ 175608 h 199254"/>
                <a:gd name="connsiteX5" fmla="*/ 126507 w 423569"/>
                <a:gd name="connsiteY5" fmla="*/ 188109 h 199254"/>
                <a:gd name="connsiteX6" fmla="*/ 153661 w 423569"/>
                <a:gd name="connsiteY6" fmla="*/ 194794 h 199254"/>
                <a:gd name="connsiteX7" fmla="*/ 177163 w 423569"/>
                <a:gd name="connsiteY7" fmla="*/ 198136 h 199254"/>
                <a:gd name="connsiteX8" fmla="*/ 214424 w 423569"/>
                <a:gd name="connsiteY8" fmla="*/ 190214 h 199254"/>
                <a:gd name="connsiteX9" fmla="*/ 224409 w 423569"/>
                <a:gd name="connsiteY9" fmla="*/ 196064 h 199254"/>
                <a:gd name="connsiteX10" fmla="*/ 244258 w 423569"/>
                <a:gd name="connsiteY10" fmla="*/ 195362 h 199254"/>
                <a:gd name="connsiteX11" fmla="*/ 273076 w 423569"/>
                <a:gd name="connsiteY11" fmla="*/ 194626 h 199254"/>
                <a:gd name="connsiteX12" fmla="*/ 306360 w 423569"/>
                <a:gd name="connsiteY12" fmla="*/ 188176 h 199254"/>
                <a:gd name="connsiteX13" fmla="*/ 338304 w 423569"/>
                <a:gd name="connsiteY13" fmla="*/ 188443 h 199254"/>
                <a:gd name="connsiteX14" fmla="*/ 420985 w 423569"/>
                <a:gd name="connsiteY14" fmla="*/ 153114 h 199254"/>
                <a:gd name="connsiteX15" fmla="*/ 409458 w 423569"/>
                <a:gd name="connsiteY15" fmla="*/ 147332 h 199254"/>
                <a:gd name="connsiteX16" fmla="*/ 374266 w 423569"/>
                <a:gd name="connsiteY16" fmla="*/ 137706 h 199254"/>
                <a:gd name="connsiteX17" fmla="*/ 311515 w 423569"/>
                <a:gd name="connsiteY17" fmla="*/ 114610 h 199254"/>
                <a:gd name="connsiteX18" fmla="*/ 292559 w 423569"/>
                <a:gd name="connsiteY18" fmla="*/ 98601 h 199254"/>
                <a:gd name="connsiteX19" fmla="*/ 285943 w 423569"/>
                <a:gd name="connsiteY19" fmla="*/ 89342 h 199254"/>
                <a:gd name="connsiteX20" fmla="*/ 286390 w 423569"/>
                <a:gd name="connsiteY20" fmla="*/ 80351 h 199254"/>
                <a:gd name="connsiteX21" fmla="*/ 261021 w 423569"/>
                <a:gd name="connsiteY21" fmla="*/ 76073 h 199254"/>
                <a:gd name="connsiteX22" fmla="*/ 277663 w 423569"/>
                <a:gd name="connsiteY22" fmla="*/ 56019 h 199254"/>
                <a:gd name="connsiteX23" fmla="*/ 226235 w 423569"/>
                <a:gd name="connsiteY23" fmla="*/ 12568 h 199254"/>
                <a:gd name="connsiteX24" fmla="*/ 199284 w 423569"/>
                <a:gd name="connsiteY24" fmla="*/ 9995 h 199254"/>
                <a:gd name="connsiteX25" fmla="*/ 189827 w 423569"/>
                <a:gd name="connsiteY25" fmla="*/ 7321 h 199254"/>
                <a:gd name="connsiteX26" fmla="*/ 172860 w 423569"/>
                <a:gd name="connsiteY26" fmla="*/ 6987 h 199254"/>
                <a:gd name="connsiteX27" fmla="*/ 151753 w 423569"/>
                <a:gd name="connsiteY27" fmla="*/ 3042 h 199254"/>
                <a:gd name="connsiteX28" fmla="*/ 117617 w 423569"/>
                <a:gd name="connsiteY28" fmla="*/ 4580 h 199254"/>
                <a:gd name="connsiteX29" fmla="*/ 105440 w 423569"/>
                <a:gd name="connsiteY29" fmla="*/ 21292 h 199254"/>
                <a:gd name="connsiteX30" fmla="*/ 79706 w 423569"/>
                <a:gd name="connsiteY30" fmla="*/ 36433 h 199254"/>
                <a:gd name="connsiteX31" fmla="*/ 68139 w 423569"/>
                <a:gd name="connsiteY31" fmla="*/ 44287 h 199254"/>
                <a:gd name="connsiteX32" fmla="*/ 63024 w 423569"/>
                <a:gd name="connsiteY32" fmla="*/ 56253 h 199254"/>
                <a:gd name="connsiteX33" fmla="*/ 48736 w 423569"/>
                <a:gd name="connsiteY33" fmla="*/ 60899 h 199254"/>
                <a:gd name="connsiteX34" fmla="*/ 46301 w 423569"/>
                <a:gd name="connsiteY34" fmla="*/ 68519 h 199254"/>
                <a:gd name="connsiteX35" fmla="*/ 33515 w 423569"/>
                <a:gd name="connsiteY35" fmla="*/ 90779 h 199254"/>
                <a:gd name="connsiteX36" fmla="*/ 15656 w 423569"/>
                <a:gd name="connsiteY36" fmla="*/ 96996 h 199254"/>
                <a:gd name="connsiteX37" fmla="*/ 394 w 423569"/>
                <a:gd name="connsiteY37" fmla="*/ 108527 h 199254"/>
                <a:gd name="connsiteX38" fmla="*/ 26006 w 423569"/>
                <a:gd name="connsiteY38" fmla="*/ 118922 h 199254"/>
                <a:gd name="connsiteX39" fmla="*/ 26006 w 423569"/>
                <a:gd name="connsiteY39" fmla="*/ 118989 h 199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23569" h="199254">
                  <a:moveTo>
                    <a:pt x="26006" y="118989"/>
                  </a:moveTo>
                  <a:cubicBezTo>
                    <a:pt x="29416" y="125440"/>
                    <a:pt x="40903" y="130152"/>
                    <a:pt x="46057" y="136202"/>
                  </a:cubicBezTo>
                  <a:cubicBezTo>
                    <a:pt x="52227" y="143488"/>
                    <a:pt x="55393" y="150507"/>
                    <a:pt x="69356" y="153917"/>
                  </a:cubicBezTo>
                  <a:cubicBezTo>
                    <a:pt x="81046" y="156791"/>
                    <a:pt x="73131" y="163442"/>
                    <a:pt x="71020" y="169459"/>
                  </a:cubicBezTo>
                  <a:cubicBezTo>
                    <a:pt x="80234" y="172259"/>
                    <a:pt x="89732" y="174318"/>
                    <a:pt x="99433" y="175608"/>
                  </a:cubicBezTo>
                  <a:cubicBezTo>
                    <a:pt x="109986" y="177480"/>
                    <a:pt x="117861" y="184132"/>
                    <a:pt x="126507" y="188109"/>
                  </a:cubicBezTo>
                  <a:cubicBezTo>
                    <a:pt x="135152" y="192086"/>
                    <a:pt x="143351" y="193022"/>
                    <a:pt x="153661" y="194794"/>
                  </a:cubicBezTo>
                  <a:cubicBezTo>
                    <a:pt x="160155" y="195963"/>
                    <a:pt x="171642" y="200776"/>
                    <a:pt x="177163" y="198136"/>
                  </a:cubicBezTo>
                  <a:cubicBezTo>
                    <a:pt x="185889" y="193791"/>
                    <a:pt x="201313" y="186839"/>
                    <a:pt x="214424" y="190214"/>
                  </a:cubicBezTo>
                  <a:cubicBezTo>
                    <a:pt x="219010" y="191351"/>
                    <a:pt x="218808" y="194827"/>
                    <a:pt x="224409" y="196064"/>
                  </a:cubicBezTo>
                  <a:cubicBezTo>
                    <a:pt x="230010" y="197300"/>
                    <a:pt x="239427" y="195495"/>
                    <a:pt x="244258" y="195362"/>
                  </a:cubicBezTo>
                  <a:cubicBezTo>
                    <a:pt x="252822" y="195128"/>
                    <a:pt x="265648" y="197100"/>
                    <a:pt x="273076" y="194626"/>
                  </a:cubicBezTo>
                  <a:cubicBezTo>
                    <a:pt x="283183" y="191284"/>
                    <a:pt x="293371" y="186738"/>
                    <a:pt x="306360" y="188176"/>
                  </a:cubicBezTo>
                  <a:cubicBezTo>
                    <a:pt x="317360" y="189412"/>
                    <a:pt x="328968" y="192822"/>
                    <a:pt x="338304" y="188443"/>
                  </a:cubicBezTo>
                  <a:cubicBezTo>
                    <a:pt x="365093" y="175455"/>
                    <a:pt x="392694" y="163663"/>
                    <a:pt x="420985" y="153114"/>
                  </a:cubicBezTo>
                  <a:cubicBezTo>
                    <a:pt x="429671" y="149772"/>
                    <a:pt x="413476" y="147934"/>
                    <a:pt x="409458" y="147332"/>
                  </a:cubicBezTo>
                  <a:cubicBezTo>
                    <a:pt x="397281" y="145330"/>
                    <a:pt x="385469" y="142095"/>
                    <a:pt x="374266" y="137706"/>
                  </a:cubicBezTo>
                  <a:cubicBezTo>
                    <a:pt x="356610" y="131021"/>
                    <a:pt x="324017" y="124905"/>
                    <a:pt x="311515" y="114610"/>
                  </a:cubicBezTo>
                  <a:cubicBezTo>
                    <a:pt x="305020" y="109263"/>
                    <a:pt x="297430" y="104583"/>
                    <a:pt x="292559" y="98601"/>
                  </a:cubicBezTo>
                  <a:cubicBezTo>
                    <a:pt x="290042" y="95676"/>
                    <a:pt x="287810" y="92581"/>
                    <a:pt x="285943" y="89342"/>
                  </a:cubicBezTo>
                  <a:cubicBezTo>
                    <a:pt x="282899" y="83727"/>
                    <a:pt x="298120" y="86401"/>
                    <a:pt x="286390" y="80351"/>
                  </a:cubicBezTo>
                  <a:cubicBezTo>
                    <a:pt x="279043" y="76508"/>
                    <a:pt x="263740" y="84362"/>
                    <a:pt x="261021" y="76073"/>
                  </a:cubicBezTo>
                  <a:cubicBezTo>
                    <a:pt x="257774" y="66313"/>
                    <a:pt x="268571" y="62470"/>
                    <a:pt x="277663" y="56019"/>
                  </a:cubicBezTo>
                  <a:cubicBezTo>
                    <a:pt x="286755" y="49568"/>
                    <a:pt x="238494" y="17782"/>
                    <a:pt x="226235" y="12568"/>
                  </a:cubicBezTo>
                  <a:cubicBezTo>
                    <a:pt x="219985" y="9794"/>
                    <a:pt x="206631" y="10964"/>
                    <a:pt x="199284" y="9995"/>
                  </a:cubicBezTo>
                  <a:cubicBezTo>
                    <a:pt x="195834" y="9527"/>
                    <a:pt x="193317" y="7354"/>
                    <a:pt x="189827" y="7321"/>
                  </a:cubicBezTo>
                  <a:cubicBezTo>
                    <a:pt x="183738" y="7321"/>
                    <a:pt x="178705" y="9961"/>
                    <a:pt x="172860" y="6987"/>
                  </a:cubicBezTo>
                  <a:cubicBezTo>
                    <a:pt x="167015" y="4012"/>
                    <a:pt x="157477" y="-5280"/>
                    <a:pt x="151753" y="3042"/>
                  </a:cubicBezTo>
                  <a:cubicBezTo>
                    <a:pt x="146030" y="11365"/>
                    <a:pt x="132636" y="5248"/>
                    <a:pt x="117617" y="4580"/>
                  </a:cubicBezTo>
                  <a:cubicBezTo>
                    <a:pt x="116724" y="11265"/>
                    <a:pt x="110149" y="15510"/>
                    <a:pt x="105440" y="21292"/>
                  </a:cubicBezTo>
                  <a:cubicBezTo>
                    <a:pt x="98581" y="29781"/>
                    <a:pt x="88961" y="29514"/>
                    <a:pt x="79706" y="36433"/>
                  </a:cubicBezTo>
                  <a:cubicBezTo>
                    <a:pt x="76297" y="39006"/>
                    <a:pt x="70574" y="41312"/>
                    <a:pt x="68139" y="44287"/>
                  </a:cubicBezTo>
                  <a:cubicBezTo>
                    <a:pt x="65094" y="48031"/>
                    <a:pt x="66352" y="52643"/>
                    <a:pt x="63024" y="56253"/>
                  </a:cubicBezTo>
                  <a:cubicBezTo>
                    <a:pt x="60304" y="59228"/>
                    <a:pt x="53445" y="59595"/>
                    <a:pt x="48736" y="60899"/>
                  </a:cubicBezTo>
                  <a:cubicBezTo>
                    <a:pt x="42607" y="62537"/>
                    <a:pt x="49305" y="65478"/>
                    <a:pt x="46301" y="68519"/>
                  </a:cubicBezTo>
                  <a:cubicBezTo>
                    <a:pt x="39685" y="74866"/>
                    <a:pt x="35302" y="82554"/>
                    <a:pt x="33515" y="90779"/>
                  </a:cubicBezTo>
                  <a:cubicBezTo>
                    <a:pt x="30877" y="99737"/>
                    <a:pt x="29172" y="97464"/>
                    <a:pt x="15656" y="96996"/>
                  </a:cubicBezTo>
                  <a:cubicBezTo>
                    <a:pt x="8715" y="96695"/>
                    <a:pt x="-2447" y="104416"/>
                    <a:pt x="394" y="108527"/>
                  </a:cubicBezTo>
                  <a:cubicBezTo>
                    <a:pt x="4453" y="114443"/>
                    <a:pt x="22516" y="112338"/>
                    <a:pt x="26006" y="118922"/>
                  </a:cubicBezTo>
                  <a:cubicBezTo>
                    <a:pt x="28929" y="124537"/>
                    <a:pt x="23084" y="113474"/>
                    <a:pt x="26006" y="11898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447D197E-C663-4F22-AD99-5F7FAE31AEF8}"/>
                </a:ext>
              </a:extLst>
            </p:cNvPr>
            <p:cNvSpPr/>
            <p:nvPr/>
          </p:nvSpPr>
          <p:spPr>
            <a:xfrm>
              <a:off x="5803898" y="5005804"/>
              <a:ext cx="56315" cy="64268"/>
            </a:xfrm>
            <a:custGeom>
              <a:avLst/>
              <a:gdLst>
                <a:gd name="connsiteX0" fmla="*/ 48486 w 57799"/>
                <a:gd name="connsiteY0" fmla="*/ 29603 h 87998"/>
                <a:gd name="connsiteX1" fmla="*/ 46984 w 57799"/>
                <a:gd name="connsiteY1" fmla="*/ 19576 h 87998"/>
                <a:gd name="connsiteX2" fmla="*/ 32534 w 57799"/>
                <a:gd name="connsiteY2" fmla="*/ 14261 h 87998"/>
                <a:gd name="connsiteX3" fmla="*/ 26324 w 57799"/>
                <a:gd name="connsiteY3" fmla="*/ 6039 h 87998"/>
                <a:gd name="connsiteX4" fmla="*/ -60 w 57799"/>
                <a:gd name="connsiteY4" fmla="*/ 825 h 87998"/>
                <a:gd name="connsiteX5" fmla="*/ 13619 w 57799"/>
                <a:gd name="connsiteY5" fmla="*/ 17738 h 87998"/>
                <a:gd name="connsiteX6" fmla="*/ 13619 w 57799"/>
                <a:gd name="connsiteY6" fmla="*/ 39129 h 87998"/>
                <a:gd name="connsiteX7" fmla="*/ 24091 w 57799"/>
                <a:gd name="connsiteY7" fmla="*/ 63194 h 87998"/>
                <a:gd name="connsiteX8" fmla="*/ 36268 w 57799"/>
                <a:gd name="connsiteY8" fmla="*/ 87660 h 87998"/>
                <a:gd name="connsiteX9" fmla="*/ 57740 w 57799"/>
                <a:gd name="connsiteY9" fmla="*/ 80975 h 87998"/>
                <a:gd name="connsiteX10" fmla="*/ 55711 w 57799"/>
                <a:gd name="connsiteY10" fmla="*/ 63394 h 87998"/>
                <a:gd name="connsiteX11" fmla="*/ 48364 w 57799"/>
                <a:gd name="connsiteY11" fmla="*/ 29770 h 87998"/>
                <a:gd name="connsiteX12" fmla="*/ 48486 w 57799"/>
                <a:gd name="connsiteY12" fmla="*/ 29603 h 8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799" h="87998">
                  <a:moveTo>
                    <a:pt x="48486" y="29603"/>
                  </a:moveTo>
                  <a:cubicBezTo>
                    <a:pt x="43980" y="27196"/>
                    <a:pt x="50069" y="22484"/>
                    <a:pt x="46984" y="19576"/>
                  </a:cubicBezTo>
                  <a:cubicBezTo>
                    <a:pt x="43899" y="16668"/>
                    <a:pt x="36999" y="16233"/>
                    <a:pt x="32534" y="14261"/>
                  </a:cubicBezTo>
                  <a:cubicBezTo>
                    <a:pt x="28962" y="12530"/>
                    <a:pt x="26608" y="9455"/>
                    <a:pt x="26324" y="6039"/>
                  </a:cubicBezTo>
                  <a:cubicBezTo>
                    <a:pt x="25106" y="1026"/>
                    <a:pt x="9479" y="-2183"/>
                    <a:pt x="-60" y="825"/>
                  </a:cubicBezTo>
                  <a:cubicBezTo>
                    <a:pt x="2376" y="7777"/>
                    <a:pt x="11712" y="11588"/>
                    <a:pt x="13619" y="17738"/>
                  </a:cubicBezTo>
                  <a:cubicBezTo>
                    <a:pt x="15771" y="24623"/>
                    <a:pt x="12604" y="32143"/>
                    <a:pt x="13619" y="39129"/>
                  </a:cubicBezTo>
                  <a:cubicBezTo>
                    <a:pt x="14918" y="47418"/>
                    <a:pt x="22305" y="54838"/>
                    <a:pt x="24091" y="63194"/>
                  </a:cubicBezTo>
                  <a:cubicBezTo>
                    <a:pt x="25431" y="72098"/>
                    <a:pt x="29611" y="80547"/>
                    <a:pt x="36268" y="87660"/>
                  </a:cubicBezTo>
                  <a:cubicBezTo>
                    <a:pt x="43047" y="84661"/>
                    <a:pt x="50272" y="82412"/>
                    <a:pt x="57740" y="80975"/>
                  </a:cubicBezTo>
                  <a:cubicBezTo>
                    <a:pt x="57091" y="75126"/>
                    <a:pt x="56441" y="69243"/>
                    <a:pt x="55711" y="63394"/>
                  </a:cubicBezTo>
                  <a:cubicBezTo>
                    <a:pt x="54737" y="55372"/>
                    <a:pt x="58309" y="35218"/>
                    <a:pt x="48364" y="29770"/>
                  </a:cubicBezTo>
                  <a:cubicBezTo>
                    <a:pt x="43209" y="26762"/>
                    <a:pt x="53722" y="32477"/>
                    <a:pt x="48486" y="2960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0A2D2E21-CCDA-423D-BDD1-44CE986B9F72}"/>
                </a:ext>
              </a:extLst>
            </p:cNvPr>
            <p:cNvSpPr/>
            <p:nvPr/>
          </p:nvSpPr>
          <p:spPr>
            <a:xfrm>
              <a:off x="6073021" y="4711092"/>
              <a:ext cx="455373" cy="187448"/>
            </a:xfrm>
            <a:custGeom>
              <a:avLst/>
              <a:gdLst>
                <a:gd name="connsiteX0" fmla="*/ 51165 w 467370"/>
                <a:gd name="connsiteY0" fmla="*/ 13866 h 256659"/>
                <a:gd name="connsiteX1" fmla="*/ 24660 w 467370"/>
                <a:gd name="connsiteY1" fmla="*/ 33920 h 256659"/>
                <a:gd name="connsiteX2" fmla="*/ 306 w 467370"/>
                <a:gd name="connsiteY2" fmla="*/ 59356 h 256659"/>
                <a:gd name="connsiteX3" fmla="*/ 15689 w 467370"/>
                <a:gd name="connsiteY3" fmla="*/ 77171 h 256659"/>
                <a:gd name="connsiteX4" fmla="*/ 12970 w 467370"/>
                <a:gd name="connsiteY4" fmla="*/ 84357 h 256659"/>
                <a:gd name="connsiteX5" fmla="*/ 15811 w 467370"/>
                <a:gd name="connsiteY5" fmla="*/ 95721 h 256659"/>
                <a:gd name="connsiteX6" fmla="*/ 10941 w 467370"/>
                <a:gd name="connsiteY6" fmla="*/ 102405 h 256659"/>
                <a:gd name="connsiteX7" fmla="*/ 10941 w 467370"/>
                <a:gd name="connsiteY7" fmla="*/ 113001 h 256659"/>
                <a:gd name="connsiteX8" fmla="*/ 15487 w 467370"/>
                <a:gd name="connsiteY8" fmla="*/ 120788 h 256659"/>
                <a:gd name="connsiteX9" fmla="*/ 4121 w 467370"/>
                <a:gd name="connsiteY9" fmla="*/ 127039 h 256659"/>
                <a:gd name="connsiteX10" fmla="*/ 15852 w 467370"/>
                <a:gd name="connsiteY10" fmla="*/ 139907 h 256659"/>
                <a:gd name="connsiteX11" fmla="*/ 21818 w 467370"/>
                <a:gd name="connsiteY11" fmla="*/ 156050 h 256659"/>
                <a:gd name="connsiteX12" fmla="*/ 72961 w 467370"/>
                <a:gd name="connsiteY12" fmla="*/ 169754 h 256659"/>
                <a:gd name="connsiteX13" fmla="*/ 88304 w 467370"/>
                <a:gd name="connsiteY13" fmla="*/ 178645 h 256659"/>
                <a:gd name="connsiteX14" fmla="*/ 117610 w 467370"/>
                <a:gd name="connsiteY14" fmla="*/ 181987 h 256659"/>
                <a:gd name="connsiteX15" fmla="*/ 152883 w 467370"/>
                <a:gd name="connsiteY15" fmla="*/ 190878 h 256659"/>
                <a:gd name="connsiteX16" fmla="*/ 202037 w 467370"/>
                <a:gd name="connsiteY16" fmla="*/ 182655 h 256659"/>
                <a:gd name="connsiteX17" fmla="*/ 277778 w 467370"/>
                <a:gd name="connsiteY17" fmla="*/ 207690 h 256659"/>
                <a:gd name="connsiteX18" fmla="*/ 417934 w 467370"/>
                <a:gd name="connsiteY18" fmla="*/ 256321 h 256659"/>
                <a:gd name="connsiteX19" fmla="*/ 441801 w 467370"/>
                <a:gd name="connsiteY19" fmla="*/ 248366 h 256659"/>
                <a:gd name="connsiteX20" fmla="*/ 446509 w 467370"/>
                <a:gd name="connsiteY20" fmla="*/ 242517 h 256659"/>
                <a:gd name="connsiteX21" fmla="*/ 450284 w 467370"/>
                <a:gd name="connsiteY21" fmla="*/ 188271 h 256659"/>
                <a:gd name="connsiteX22" fmla="*/ 455195 w 467370"/>
                <a:gd name="connsiteY22" fmla="*/ 117847 h 256659"/>
                <a:gd name="connsiteX23" fmla="*/ 456657 w 467370"/>
                <a:gd name="connsiteY23" fmla="*/ 72625 h 256659"/>
                <a:gd name="connsiteX24" fmla="*/ 459458 w 467370"/>
                <a:gd name="connsiteY24" fmla="*/ 56414 h 256659"/>
                <a:gd name="connsiteX25" fmla="*/ 462299 w 467370"/>
                <a:gd name="connsiteY25" fmla="*/ 39970 h 256659"/>
                <a:gd name="connsiteX26" fmla="*/ 463476 w 467370"/>
                <a:gd name="connsiteY26" fmla="*/ 28539 h 256659"/>
                <a:gd name="connsiteX27" fmla="*/ 425768 w 467370"/>
                <a:gd name="connsiteY27" fmla="*/ 22891 h 256659"/>
                <a:gd name="connsiteX28" fmla="*/ 372190 w 467370"/>
                <a:gd name="connsiteY28" fmla="*/ 7416 h 256659"/>
                <a:gd name="connsiteX29" fmla="*/ 309072 w 467370"/>
                <a:gd name="connsiteY29" fmla="*/ 24729 h 256659"/>
                <a:gd name="connsiteX30" fmla="*/ 315526 w 467370"/>
                <a:gd name="connsiteY30" fmla="*/ 43413 h 256659"/>
                <a:gd name="connsiteX31" fmla="*/ 278995 w 467370"/>
                <a:gd name="connsiteY31" fmla="*/ 50966 h 256659"/>
                <a:gd name="connsiteX32" fmla="*/ 237716 w 467370"/>
                <a:gd name="connsiteY32" fmla="*/ 36728 h 256659"/>
                <a:gd name="connsiteX33" fmla="*/ 191484 w 467370"/>
                <a:gd name="connsiteY33" fmla="*/ 31213 h 256659"/>
                <a:gd name="connsiteX34" fmla="*/ 177602 w 467370"/>
                <a:gd name="connsiteY34" fmla="*/ 17844 h 256659"/>
                <a:gd name="connsiteX35" fmla="*/ 147485 w 467370"/>
                <a:gd name="connsiteY35" fmla="*/ 8819 h 256659"/>
                <a:gd name="connsiteX36" fmla="*/ 109980 w 467370"/>
                <a:gd name="connsiteY36" fmla="*/ 3438 h 256659"/>
                <a:gd name="connsiteX37" fmla="*/ 65331 w 467370"/>
                <a:gd name="connsiteY37" fmla="*/ -339 h 256659"/>
                <a:gd name="connsiteX38" fmla="*/ 51043 w 467370"/>
                <a:gd name="connsiteY38" fmla="*/ 13799 h 25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7370" h="256659">
                  <a:moveTo>
                    <a:pt x="51165" y="13866"/>
                  </a:moveTo>
                  <a:cubicBezTo>
                    <a:pt x="42357" y="15905"/>
                    <a:pt x="19180" y="27904"/>
                    <a:pt x="24660" y="33920"/>
                  </a:cubicBezTo>
                  <a:cubicBezTo>
                    <a:pt x="35295" y="45719"/>
                    <a:pt x="-4240" y="52972"/>
                    <a:pt x="306" y="59356"/>
                  </a:cubicBezTo>
                  <a:cubicBezTo>
                    <a:pt x="4852" y="65740"/>
                    <a:pt x="15446" y="70386"/>
                    <a:pt x="15689" y="77171"/>
                  </a:cubicBezTo>
                  <a:cubicBezTo>
                    <a:pt x="15405" y="79697"/>
                    <a:pt x="14472" y="82147"/>
                    <a:pt x="12970" y="84357"/>
                  </a:cubicBezTo>
                  <a:cubicBezTo>
                    <a:pt x="10494" y="89103"/>
                    <a:pt x="15202" y="91041"/>
                    <a:pt x="15811" y="95721"/>
                  </a:cubicBezTo>
                  <a:cubicBezTo>
                    <a:pt x="15689" y="98488"/>
                    <a:pt x="13863" y="101012"/>
                    <a:pt x="10941" y="102405"/>
                  </a:cubicBezTo>
                  <a:cubicBezTo>
                    <a:pt x="6232" y="105748"/>
                    <a:pt x="10941" y="109592"/>
                    <a:pt x="10941" y="113001"/>
                  </a:cubicBezTo>
                  <a:cubicBezTo>
                    <a:pt x="10941" y="114438"/>
                    <a:pt x="17394" y="119685"/>
                    <a:pt x="15487" y="120788"/>
                  </a:cubicBezTo>
                  <a:cubicBezTo>
                    <a:pt x="11550" y="122667"/>
                    <a:pt x="7734" y="124752"/>
                    <a:pt x="4121" y="127039"/>
                  </a:cubicBezTo>
                  <a:cubicBezTo>
                    <a:pt x="-1480" y="131317"/>
                    <a:pt x="12239" y="136798"/>
                    <a:pt x="15852" y="139907"/>
                  </a:cubicBezTo>
                  <a:cubicBezTo>
                    <a:pt x="21859" y="144954"/>
                    <a:pt x="15081" y="151806"/>
                    <a:pt x="21818" y="156050"/>
                  </a:cubicBezTo>
                  <a:cubicBezTo>
                    <a:pt x="34889" y="164306"/>
                    <a:pt x="64032" y="158022"/>
                    <a:pt x="72961" y="169754"/>
                  </a:cubicBezTo>
                  <a:cubicBezTo>
                    <a:pt x="78360" y="176840"/>
                    <a:pt x="75113" y="178076"/>
                    <a:pt x="88304" y="178645"/>
                  </a:cubicBezTo>
                  <a:cubicBezTo>
                    <a:pt x="98209" y="178835"/>
                    <a:pt x="108031" y="179955"/>
                    <a:pt x="117610" y="181987"/>
                  </a:cubicBezTo>
                  <a:cubicBezTo>
                    <a:pt x="137905" y="187034"/>
                    <a:pt x="132751" y="196794"/>
                    <a:pt x="152883" y="190878"/>
                  </a:cubicBezTo>
                  <a:cubicBezTo>
                    <a:pt x="169768" y="185931"/>
                    <a:pt x="184543" y="176973"/>
                    <a:pt x="202037" y="182655"/>
                  </a:cubicBezTo>
                  <a:cubicBezTo>
                    <a:pt x="227406" y="190878"/>
                    <a:pt x="252652" y="199223"/>
                    <a:pt x="277778" y="207690"/>
                  </a:cubicBezTo>
                  <a:cubicBezTo>
                    <a:pt x="324862" y="223532"/>
                    <a:pt x="371581" y="239743"/>
                    <a:pt x="417934" y="256321"/>
                  </a:cubicBezTo>
                  <a:cubicBezTo>
                    <a:pt x="418665" y="244757"/>
                    <a:pt x="421993" y="247464"/>
                    <a:pt x="441801" y="248366"/>
                  </a:cubicBezTo>
                  <a:cubicBezTo>
                    <a:pt x="448620" y="248700"/>
                    <a:pt x="446306" y="246127"/>
                    <a:pt x="446509" y="242517"/>
                  </a:cubicBezTo>
                  <a:lnTo>
                    <a:pt x="450284" y="188271"/>
                  </a:lnTo>
                  <a:cubicBezTo>
                    <a:pt x="451908" y="164784"/>
                    <a:pt x="453531" y="141310"/>
                    <a:pt x="455195" y="117847"/>
                  </a:cubicBezTo>
                  <a:cubicBezTo>
                    <a:pt x="456210" y="103207"/>
                    <a:pt x="460432" y="87331"/>
                    <a:pt x="456657" y="72625"/>
                  </a:cubicBezTo>
                  <a:cubicBezTo>
                    <a:pt x="455277" y="67210"/>
                    <a:pt x="452070" y="60793"/>
                    <a:pt x="459458" y="56414"/>
                  </a:cubicBezTo>
                  <a:cubicBezTo>
                    <a:pt x="466845" y="52036"/>
                    <a:pt x="460432" y="45485"/>
                    <a:pt x="462299" y="39970"/>
                  </a:cubicBezTo>
                  <a:cubicBezTo>
                    <a:pt x="463638" y="36093"/>
                    <a:pt x="472122" y="31514"/>
                    <a:pt x="463476" y="28539"/>
                  </a:cubicBezTo>
                  <a:cubicBezTo>
                    <a:pt x="452963" y="24896"/>
                    <a:pt x="437417" y="24361"/>
                    <a:pt x="425768" y="22891"/>
                  </a:cubicBezTo>
                  <a:cubicBezTo>
                    <a:pt x="402997" y="20016"/>
                    <a:pt x="398492" y="7482"/>
                    <a:pt x="372190" y="7416"/>
                  </a:cubicBezTo>
                  <a:cubicBezTo>
                    <a:pt x="356238" y="7416"/>
                    <a:pt x="310331" y="12897"/>
                    <a:pt x="309072" y="24729"/>
                  </a:cubicBezTo>
                  <a:cubicBezTo>
                    <a:pt x="308382" y="31146"/>
                    <a:pt x="318408" y="36928"/>
                    <a:pt x="315526" y="43413"/>
                  </a:cubicBezTo>
                  <a:cubicBezTo>
                    <a:pt x="311751" y="51869"/>
                    <a:pt x="291822" y="53440"/>
                    <a:pt x="278995" y="50966"/>
                  </a:cubicBezTo>
                  <a:cubicBezTo>
                    <a:pt x="263774" y="47892"/>
                    <a:pt x="253343" y="40004"/>
                    <a:pt x="237716" y="36728"/>
                  </a:cubicBezTo>
                  <a:cubicBezTo>
                    <a:pt x="222860" y="33620"/>
                    <a:pt x="205528" y="34990"/>
                    <a:pt x="191484" y="31213"/>
                  </a:cubicBezTo>
                  <a:cubicBezTo>
                    <a:pt x="178860" y="27871"/>
                    <a:pt x="179835" y="24161"/>
                    <a:pt x="177602" y="17844"/>
                  </a:cubicBezTo>
                  <a:cubicBezTo>
                    <a:pt x="175370" y="11527"/>
                    <a:pt x="156536" y="10892"/>
                    <a:pt x="147485" y="8819"/>
                  </a:cubicBezTo>
                  <a:cubicBezTo>
                    <a:pt x="135389" y="5454"/>
                    <a:pt x="122725" y="3639"/>
                    <a:pt x="109980" y="3438"/>
                  </a:cubicBezTo>
                  <a:cubicBezTo>
                    <a:pt x="93744" y="3705"/>
                    <a:pt x="80065" y="4842"/>
                    <a:pt x="65331" y="-339"/>
                  </a:cubicBezTo>
                  <a:cubicBezTo>
                    <a:pt x="63423" y="9254"/>
                    <a:pt x="66021" y="10257"/>
                    <a:pt x="51043" y="1379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44AF1C6F-7AC8-49E1-AAA2-4C082FD82068}"/>
                </a:ext>
              </a:extLst>
            </p:cNvPr>
            <p:cNvSpPr/>
            <p:nvPr/>
          </p:nvSpPr>
          <p:spPr>
            <a:xfrm>
              <a:off x="6053476" y="4976458"/>
              <a:ext cx="202826" cy="143875"/>
            </a:xfrm>
            <a:custGeom>
              <a:avLst/>
              <a:gdLst>
                <a:gd name="connsiteX0" fmla="*/ 85879 w 208169"/>
                <a:gd name="connsiteY0" fmla="*/ 186098 h 196998"/>
                <a:gd name="connsiteX1" fmla="*/ 200625 w 208169"/>
                <a:gd name="connsiteY1" fmla="*/ 196660 h 196998"/>
                <a:gd name="connsiteX2" fmla="*/ 202980 w 208169"/>
                <a:gd name="connsiteY2" fmla="*/ 189307 h 196998"/>
                <a:gd name="connsiteX3" fmla="*/ 205050 w 208169"/>
                <a:gd name="connsiteY3" fmla="*/ 185296 h 196998"/>
                <a:gd name="connsiteX4" fmla="*/ 203183 w 208169"/>
                <a:gd name="connsiteY4" fmla="*/ 178611 h 196998"/>
                <a:gd name="connsiteX5" fmla="*/ 179722 w 208169"/>
                <a:gd name="connsiteY5" fmla="*/ 162334 h 196998"/>
                <a:gd name="connsiteX6" fmla="*/ 179073 w 208169"/>
                <a:gd name="connsiteY6" fmla="*/ 158190 h 196998"/>
                <a:gd name="connsiteX7" fmla="*/ 168763 w 208169"/>
                <a:gd name="connsiteY7" fmla="*/ 145021 h 196998"/>
                <a:gd name="connsiteX8" fmla="*/ 164704 w 208169"/>
                <a:gd name="connsiteY8" fmla="*/ 121190 h 196998"/>
                <a:gd name="connsiteX9" fmla="*/ 192548 w 208169"/>
                <a:gd name="connsiteY9" fmla="*/ 96322 h 196998"/>
                <a:gd name="connsiteX10" fmla="*/ 167058 w 208169"/>
                <a:gd name="connsiteY10" fmla="*/ 72257 h 196998"/>
                <a:gd name="connsiteX11" fmla="*/ 155693 w 208169"/>
                <a:gd name="connsiteY11" fmla="*/ 55546 h 196998"/>
                <a:gd name="connsiteX12" fmla="*/ 192224 w 208169"/>
                <a:gd name="connsiteY12" fmla="*/ 53808 h 196998"/>
                <a:gd name="connsiteX13" fmla="*/ 182076 w 208169"/>
                <a:gd name="connsiteY13" fmla="*/ 42611 h 196998"/>
                <a:gd name="connsiteX14" fmla="*/ 178382 w 208169"/>
                <a:gd name="connsiteY14" fmla="*/ 23827 h 196998"/>
                <a:gd name="connsiteX15" fmla="*/ 156667 w 208169"/>
                <a:gd name="connsiteY15" fmla="*/ -339 h 196998"/>
                <a:gd name="connsiteX16" fmla="*/ 166652 w 208169"/>
                <a:gd name="connsiteY16" fmla="*/ 16039 h 196998"/>
                <a:gd name="connsiteX17" fmla="*/ 157885 w 208169"/>
                <a:gd name="connsiteY17" fmla="*/ 30545 h 196998"/>
                <a:gd name="connsiteX18" fmla="*/ 133531 w 208169"/>
                <a:gd name="connsiteY18" fmla="*/ 53172 h 196998"/>
                <a:gd name="connsiteX19" fmla="*/ 123180 w 208169"/>
                <a:gd name="connsiteY19" fmla="*/ 70586 h 196998"/>
                <a:gd name="connsiteX20" fmla="*/ 108974 w 208169"/>
                <a:gd name="connsiteY20" fmla="*/ 82151 h 196998"/>
                <a:gd name="connsiteX21" fmla="*/ 78004 w 208169"/>
                <a:gd name="connsiteY21" fmla="*/ 116009 h 196998"/>
                <a:gd name="connsiteX22" fmla="*/ 69886 w 208169"/>
                <a:gd name="connsiteY22" fmla="*/ 108355 h 196998"/>
                <a:gd name="connsiteX23" fmla="*/ 49591 w 208169"/>
                <a:gd name="connsiteY23" fmla="*/ 107118 h 196998"/>
                <a:gd name="connsiteX24" fmla="*/ 23086 w 208169"/>
                <a:gd name="connsiteY24" fmla="*/ 115775 h 196998"/>
                <a:gd name="connsiteX25" fmla="*/ 6120 w 208169"/>
                <a:gd name="connsiteY25" fmla="*/ 126738 h 196998"/>
                <a:gd name="connsiteX26" fmla="*/ 883 w 208169"/>
                <a:gd name="connsiteY26" fmla="*/ 139673 h 196998"/>
                <a:gd name="connsiteX27" fmla="*/ 10179 w 208169"/>
                <a:gd name="connsiteY27" fmla="*/ 153778 h 196998"/>
                <a:gd name="connsiteX28" fmla="*/ 38591 w 208169"/>
                <a:gd name="connsiteY28" fmla="*/ 164072 h 196998"/>
                <a:gd name="connsiteX29" fmla="*/ 35020 w 208169"/>
                <a:gd name="connsiteY29" fmla="*/ 188204 h 196998"/>
                <a:gd name="connsiteX30" fmla="*/ 85879 w 208169"/>
                <a:gd name="connsiteY30" fmla="*/ 186098 h 19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8169" h="196998">
                  <a:moveTo>
                    <a:pt x="85879" y="186098"/>
                  </a:moveTo>
                  <a:cubicBezTo>
                    <a:pt x="126143" y="187468"/>
                    <a:pt x="164095" y="185095"/>
                    <a:pt x="200625" y="196660"/>
                  </a:cubicBezTo>
                  <a:cubicBezTo>
                    <a:pt x="201153" y="194157"/>
                    <a:pt x="201925" y="191697"/>
                    <a:pt x="202980" y="189307"/>
                  </a:cubicBezTo>
                  <a:lnTo>
                    <a:pt x="205050" y="185296"/>
                  </a:lnTo>
                  <a:cubicBezTo>
                    <a:pt x="209637" y="182555"/>
                    <a:pt x="209109" y="180349"/>
                    <a:pt x="203183" y="178611"/>
                  </a:cubicBezTo>
                  <a:cubicBezTo>
                    <a:pt x="200625" y="172796"/>
                    <a:pt x="184917" y="167949"/>
                    <a:pt x="179722" y="162334"/>
                  </a:cubicBezTo>
                  <a:cubicBezTo>
                    <a:pt x="178586" y="161097"/>
                    <a:pt x="179316" y="159560"/>
                    <a:pt x="179073" y="158190"/>
                  </a:cubicBezTo>
                  <a:cubicBezTo>
                    <a:pt x="178139" y="152975"/>
                    <a:pt x="171685" y="149700"/>
                    <a:pt x="168763" y="145021"/>
                  </a:cubicBezTo>
                  <a:cubicBezTo>
                    <a:pt x="165840" y="140341"/>
                    <a:pt x="160929" y="125835"/>
                    <a:pt x="164704" y="121190"/>
                  </a:cubicBezTo>
                  <a:cubicBezTo>
                    <a:pt x="171685" y="111330"/>
                    <a:pt x="181183" y="102843"/>
                    <a:pt x="192548" y="96322"/>
                  </a:cubicBezTo>
                  <a:cubicBezTo>
                    <a:pt x="182685" y="86897"/>
                    <a:pt x="182401" y="79611"/>
                    <a:pt x="167058" y="72257"/>
                  </a:cubicBezTo>
                  <a:cubicBezTo>
                    <a:pt x="163364" y="70453"/>
                    <a:pt x="144003" y="59122"/>
                    <a:pt x="155693" y="55546"/>
                  </a:cubicBezTo>
                  <a:cubicBezTo>
                    <a:pt x="161335" y="53808"/>
                    <a:pt x="190965" y="57250"/>
                    <a:pt x="192224" y="53808"/>
                  </a:cubicBezTo>
                  <a:cubicBezTo>
                    <a:pt x="192548" y="52905"/>
                    <a:pt x="182928" y="44182"/>
                    <a:pt x="182076" y="42611"/>
                  </a:cubicBezTo>
                  <a:cubicBezTo>
                    <a:pt x="178788" y="36294"/>
                    <a:pt x="180858" y="30077"/>
                    <a:pt x="178382" y="23827"/>
                  </a:cubicBezTo>
                  <a:cubicBezTo>
                    <a:pt x="175135" y="15671"/>
                    <a:pt x="175460" y="1332"/>
                    <a:pt x="156667" y="-339"/>
                  </a:cubicBezTo>
                  <a:cubicBezTo>
                    <a:pt x="153826" y="6346"/>
                    <a:pt x="153258" y="13231"/>
                    <a:pt x="166652" y="16039"/>
                  </a:cubicBezTo>
                  <a:cubicBezTo>
                    <a:pt x="178220" y="18412"/>
                    <a:pt x="166003" y="29609"/>
                    <a:pt x="157885" y="30545"/>
                  </a:cubicBezTo>
                  <a:cubicBezTo>
                    <a:pt x="143678" y="32183"/>
                    <a:pt x="135317" y="45753"/>
                    <a:pt x="133531" y="53172"/>
                  </a:cubicBezTo>
                  <a:cubicBezTo>
                    <a:pt x="131745" y="60593"/>
                    <a:pt x="123262" y="62966"/>
                    <a:pt x="123180" y="70586"/>
                  </a:cubicBezTo>
                  <a:cubicBezTo>
                    <a:pt x="123180" y="73929"/>
                    <a:pt x="111003" y="78107"/>
                    <a:pt x="108974" y="82151"/>
                  </a:cubicBezTo>
                  <a:cubicBezTo>
                    <a:pt x="106701" y="86864"/>
                    <a:pt x="86284" y="115574"/>
                    <a:pt x="78004" y="116009"/>
                  </a:cubicBezTo>
                  <a:cubicBezTo>
                    <a:pt x="77517" y="116009"/>
                    <a:pt x="70941" y="108890"/>
                    <a:pt x="69886" y="108355"/>
                  </a:cubicBezTo>
                  <a:cubicBezTo>
                    <a:pt x="61525" y="103642"/>
                    <a:pt x="58724" y="106383"/>
                    <a:pt x="49591" y="107118"/>
                  </a:cubicBezTo>
                  <a:cubicBezTo>
                    <a:pt x="35872" y="108221"/>
                    <a:pt x="33355" y="109625"/>
                    <a:pt x="23086" y="115775"/>
                  </a:cubicBezTo>
                  <a:cubicBezTo>
                    <a:pt x="19027" y="118215"/>
                    <a:pt x="7134" y="123161"/>
                    <a:pt x="6120" y="126738"/>
                  </a:cubicBezTo>
                  <a:cubicBezTo>
                    <a:pt x="4821" y="131163"/>
                    <a:pt x="3075" y="135492"/>
                    <a:pt x="883" y="139673"/>
                  </a:cubicBezTo>
                  <a:cubicBezTo>
                    <a:pt x="-2445" y="146123"/>
                    <a:pt x="3603" y="148263"/>
                    <a:pt x="10179" y="153778"/>
                  </a:cubicBezTo>
                  <a:cubicBezTo>
                    <a:pt x="19636" y="161799"/>
                    <a:pt x="32503" y="151271"/>
                    <a:pt x="38591" y="164072"/>
                  </a:cubicBezTo>
                  <a:cubicBezTo>
                    <a:pt x="42245" y="172060"/>
                    <a:pt x="29661" y="181653"/>
                    <a:pt x="35020" y="188204"/>
                  </a:cubicBezTo>
                  <a:cubicBezTo>
                    <a:pt x="41189" y="192348"/>
                    <a:pt x="76421" y="187803"/>
                    <a:pt x="85879" y="18609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662522C7-A6BE-41F9-8657-B28C45777615}"/>
                </a:ext>
              </a:extLst>
            </p:cNvPr>
            <p:cNvSpPr/>
            <p:nvPr/>
          </p:nvSpPr>
          <p:spPr>
            <a:xfrm>
              <a:off x="8349398" y="5035579"/>
              <a:ext cx="110086" cy="85560"/>
            </a:xfrm>
            <a:custGeom>
              <a:avLst/>
              <a:gdLst>
                <a:gd name="connsiteX0" fmla="*/ 98411 w 112986"/>
                <a:gd name="connsiteY0" fmla="*/ 107020 h 117151"/>
                <a:gd name="connsiteX1" fmla="*/ 101699 w 112986"/>
                <a:gd name="connsiteY1" fmla="*/ 81752 h 117151"/>
                <a:gd name="connsiteX2" fmla="*/ 95245 w 112986"/>
                <a:gd name="connsiteY2" fmla="*/ 73463 h 117151"/>
                <a:gd name="connsiteX3" fmla="*/ 77548 w 112986"/>
                <a:gd name="connsiteY3" fmla="*/ 79713 h 117151"/>
                <a:gd name="connsiteX4" fmla="*/ 72677 w 112986"/>
                <a:gd name="connsiteY4" fmla="*/ 66878 h 117151"/>
                <a:gd name="connsiteX5" fmla="*/ 87654 w 112986"/>
                <a:gd name="connsiteY5" fmla="*/ 62834 h 117151"/>
                <a:gd name="connsiteX6" fmla="*/ 111725 w 112986"/>
                <a:gd name="connsiteY6" fmla="*/ 54110 h 117151"/>
                <a:gd name="connsiteX7" fmla="*/ 60622 w 112986"/>
                <a:gd name="connsiteY7" fmla="*/ 34056 h 117151"/>
                <a:gd name="connsiteX8" fmla="*/ 49947 w 112986"/>
                <a:gd name="connsiteY8" fmla="*/ 22324 h 117151"/>
                <a:gd name="connsiteX9" fmla="*/ 28799 w 112986"/>
                <a:gd name="connsiteY9" fmla="*/ 5980 h 117151"/>
                <a:gd name="connsiteX10" fmla="*/ 7449 w 112986"/>
                <a:gd name="connsiteY10" fmla="*/ 2638 h 117151"/>
                <a:gd name="connsiteX11" fmla="*/ 18733 w 112986"/>
                <a:gd name="connsiteY11" fmla="*/ 13534 h 117151"/>
                <a:gd name="connsiteX12" fmla="*/ 19788 w 112986"/>
                <a:gd name="connsiteY12" fmla="*/ 21823 h 117151"/>
                <a:gd name="connsiteX13" fmla="*/ 2497 w 112986"/>
                <a:gd name="connsiteY13" fmla="*/ 28173 h 117151"/>
                <a:gd name="connsiteX14" fmla="*/ -60 w 112986"/>
                <a:gd name="connsiteY14" fmla="*/ 81016 h 117151"/>
                <a:gd name="connsiteX15" fmla="*/ 32412 w 112986"/>
                <a:gd name="connsiteY15" fmla="*/ 86297 h 117151"/>
                <a:gd name="connsiteX16" fmla="*/ 57943 w 112986"/>
                <a:gd name="connsiteY16" fmla="*/ 79111 h 117151"/>
                <a:gd name="connsiteX17" fmla="*/ 73367 w 112986"/>
                <a:gd name="connsiteY17" fmla="*/ 116813 h 117151"/>
                <a:gd name="connsiteX18" fmla="*/ 86356 w 112986"/>
                <a:gd name="connsiteY18" fmla="*/ 114440 h 117151"/>
                <a:gd name="connsiteX19" fmla="*/ 98533 w 112986"/>
                <a:gd name="connsiteY19" fmla="*/ 107020 h 117151"/>
                <a:gd name="connsiteX20" fmla="*/ 98411 w 112986"/>
                <a:gd name="connsiteY20" fmla="*/ 107020 h 11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2986" h="117151">
                  <a:moveTo>
                    <a:pt x="98411" y="107020"/>
                  </a:moveTo>
                  <a:cubicBezTo>
                    <a:pt x="99345" y="98564"/>
                    <a:pt x="100887" y="90308"/>
                    <a:pt x="101699" y="81752"/>
                  </a:cubicBezTo>
                  <a:cubicBezTo>
                    <a:pt x="101983" y="78777"/>
                    <a:pt x="104093" y="69986"/>
                    <a:pt x="95245" y="73463"/>
                  </a:cubicBezTo>
                  <a:cubicBezTo>
                    <a:pt x="90090" y="75501"/>
                    <a:pt x="84854" y="79880"/>
                    <a:pt x="77548" y="79713"/>
                  </a:cubicBezTo>
                  <a:cubicBezTo>
                    <a:pt x="67522" y="79713"/>
                    <a:pt x="71176" y="69218"/>
                    <a:pt x="72677" y="66878"/>
                  </a:cubicBezTo>
                  <a:cubicBezTo>
                    <a:pt x="76046" y="61664"/>
                    <a:pt x="79375" y="62633"/>
                    <a:pt x="87654" y="62834"/>
                  </a:cubicBezTo>
                  <a:cubicBezTo>
                    <a:pt x="96787" y="62740"/>
                    <a:pt x="105474" y="59588"/>
                    <a:pt x="111725" y="54110"/>
                  </a:cubicBezTo>
                  <a:cubicBezTo>
                    <a:pt x="121507" y="45086"/>
                    <a:pt x="68618" y="37733"/>
                    <a:pt x="60622" y="34056"/>
                  </a:cubicBezTo>
                  <a:cubicBezTo>
                    <a:pt x="55304" y="31483"/>
                    <a:pt x="48445" y="26034"/>
                    <a:pt x="49947" y="22324"/>
                  </a:cubicBezTo>
                  <a:cubicBezTo>
                    <a:pt x="53722" y="13400"/>
                    <a:pt x="38582" y="11061"/>
                    <a:pt x="28799" y="5980"/>
                  </a:cubicBezTo>
                  <a:cubicBezTo>
                    <a:pt x="21250" y="2070"/>
                    <a:pt x="14633" y="-4047"/>
                    <a:pt x="7449" y="2638"/>
                  </a:cubicBezTo>
                  <a:cubicBezTo>
                    <a:pt x="3878" y="5980"/>
                    <a:pt x="14755" y="11094"/>
                    <a:pt x="18733" y="13534"/>
                  </a:cubicBezTo>
                  <a:cubicBezTo>
                    <a:pt x="23401" y="16475"/>
                    <a:pt x="27582" y="20586"/>
                    <a:pt x="19788" y="21823"/>
                  </a:cubicBezTo>
                  <a:cubicBezTo>
                    <a:pt x="9236" y="23528"/>
                    <a:pt x="5055" y="19283"/>
                    <a:pt x="2497" y="28173"/>
                  </a:cubicBezTo>
                  <a:cubicBezTo>
                    <a:pt x="-2373" y="45220"/>
                    <a:pt x="6556" y="64071"/>
                    <a:pt x="-60" y="81016"/>
                  </a:cubicBezTo>
                  <a:cubicBezTo>
                    <a:pt x="10574" y="82821"/>
                    <a:pt x="21777" y="84693"/>
                    <a:pt x="32412" y="86297"/>
                  </a:cubicBezTo>
                  <a:cubicBezTo>
                    <a:pt x="46741" y="88503"/>
                    <a:pt x="45441" y="79245"/>
                    <a:pt x="57943" y="79111"/>
                  </a:cubicBezTo>
                  <a:cubicBezTo>
                    <a:pt x="80268" y="78877"/>
                    <a:pt x="71054" y="110195"/>
                    <a:pt x="73367" y="116813"/>
                  </a:cubicBezTo>
                  <a:cubicBezTo>
                    <a:pt x="76695" y="116111"/>
                    <a:pt x="84327" y="116211"/>
                    <a:pt x="86356" y="114440"/>
                  </a:cubicBezTo>
                  <a:cubicBezTo>
                    <a:pt x="89603" y="111171"/>
                    <a:pt x="93783" y="108621"/>
                    <a:pt x="98533" y="107020"/>
                  </a:cubicBezTo>
                  <a:cubicBezTo>
                    <a:pt x="100278" y="89807"/>
                    <a:pt x="92282" y="108825"/>
                    <a:pt x="98411" y="10702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C18FDF22-BBE7-48F6-9C66-868F2B303DFE}"/>
                </a:ext>
              </a:extLst>
            </p:cNvPr>
            <p:cNvSpPr/>
            <p:nvPr/>
          </p:nvSpPr>
          <p:spPr>
            <a:xfrm>
              <a:off x="6600155" y="5106459"/>
              <a:ext cx="156255" cy="63536"/>
            </a:xfrm>
            <a:custGeom>
              <a:avLst/>
              <a:gdLst>
                <a:gd name="connsiteX0" fmla="*/ 149919 w 160371"/>
                <a:gd name="connsiteY0" fmla="*/ 20097 h 86995"/>
                <a:gd name="connsiteX1" fmla="*/ 147565 w 160371"/>
                <a:gd name="connsiteY1" fmla="*/ 7095 h 86995"/>
                <a:gd name="connsiteX2" fmla="*/ 137255 w 160371"/>
                <a:gd name="connsiteY2" fmla="*/ 243 h 86995"/>
                <a:gd name="connsiteX3" fmla="*/ 123699 w 160371"/>
                <a:gd name="connsiteY3" fmla="*/ 5691 h 86995"/>
                <a:gd name="connsiteX4" fmla="*/ 87168 w 160371"/>
                <a:gd name="connsiteY4" fmla="*/ 6460 h 86995"/>
                <a:gd name="connsiteX5" fmla="*/ 73935 w 160371"/>
                <a:gd name="connsiteY5" fmla="*/ 2215 h 86995"/>
                <a:gd name="connsiteX6" fmla="*/ 54087 w 160371"/>
                <a:gd name="connsiteY6" fmla="*/ 2950 h 86995"/>
                <a:gd name="connsiteX7" fmla="*/ 44305 w 160371"/>
                <a:gd name="connsiteY7" fmla="*/ 18292 h 86995"/>
                <a:gd name="connsiteX8" fmla="*/ 52870 w 160371"/>
                <a:gd name="connsiteY8" fmla="*/ 27216 h 86995"/>
                <a:gd name="connsiteX9" fmla="*/ 41707 w 160371"/>
                <a:gd name="connsiteY9" fmla="*/ 37243 h 86995"/>
                <a:gd name="connsiteX10" fmla="*/ 15405 w 160371"/>
                <a:gd name="connsiteY10" fmla="*/ 53286 h 86995"/>
                <a:gd name="connsiteX11" fmla="*/ 6800 w 160371"/>
                <a:gd name="connsiteY11" fmla="*/ 69196 h 86995"/>
                <a:gd name="connsiteX12" fmla="*/ -60 w 160371"/>
                <a:gd name="connsiteY12" fmla="*/ 86309 h 86995"/>
                <a:gd name="connsiteX13" fmla="*/ 44346 w 160371"/>
                <a:gd name="connsiteY13" fmla="*/ 82365 h 86995"/>
                <a:gd name="connsiteX14" fmla="*/ 65128 w 160371"/>
                <a:gd name="connsiteY14" fmla="*/ 82766 h 86995"/>
                <a:gd name="connsiteX15" fmla="*/ 89482 w 160371"/>
                <a:gd name="connsiteY15" fmla="*/ 65887 h 86995"/>
                <a:gd name="connsiteX16" fmla="*/ 126743 w 160371"/>
                <a:gd name="connsiteY16" fmla="*/ 69229 h 86995"/>
                <a:gd name="connsiteX17" fmla="*/ 148824 w 160371"/>
                <a:gd name="connsiteY17" fmla="*/ 51247 h 86995"/>
                <a:gd name="connsiteX18" fmla="*/ 160270 w 160371"/>
                <a:gd name="connsiteY18" fmla="*/ 28252 h 86995"/>
                <a:gd name="connsiteX19" fmla="*/ 149919 w 160371"/>
                <a:gd name="connsiteY19" fmla="*/ 20097 h 86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0371" h="86995">
                  <a:moveTo>
                    <a:pt x="149919" y="20097"/>
                  </a:moveTo>
                  <a:cubicBezTo>
                    <a:pt x="149554" y="16955"/>
                    <a:pt x="151137" y="9501"/>
                    <a:pt x="147565" y="7095"/>
                  </a:cubicBezTo>
                  <a:lnTo>
                    <a:pt x="137255" y="243"/>
                  </a:lnTo>
                  <a:cubicBezTo>
                    <a:pt x="133196" y="-2464"/>
                    <a:pt x="127230" y="5123"/>
                    <a:pt x="123699" y="5691"/>
                  </a:cubicBezTo>
                  <a:cubicBezTo>
                    <a:pt x="112131" y="7563"/>
                    <a:pt x="97600" y="-1261"/>
                    <a:pt x="87168" y="6460"/>
                  </a:cubicBezTo>
                  <a:cubicBezTo>
                    <a:pt x="84814" y="8231"/>
                    <a:pt x="75884" y="2850"/>
                    <a:pt x="73935" y="2215"/>
                  </a:cubicBezTo>
                  <a:cubicBezTo>
                    <a:pt x="68172" y="310"/>
                    <a:pt x="59770" y="2215"/>
                    <a:pt x="54087" y="2950"/>
                  </a:cubicBezTo>
                  <a:cubicBezTo>
                    <a:pt x="44102" y="4287"/>
                    <a:pt x="44874" y="12510"/>
                    <a:pt x="44305" y="18292"/>
                  </a:cubicBezTo>
                  <a:cubicBezTo>
                    <a:pt x="43899" y="22370"/>
                    <a:pt x="53235" y="23439"/>
                    <a:pt x="52870" y="27216"/>
                  </a:cubicBezTo>
                  <a:cubicBezTo>
                    <a:pt x="52585" y="29723"/>
                    <a:pt x="44995" y="35672"/>
                    <a:pt x="41707" y="37243"/>
                  </a:cubicBezTo>
                  <a:cubicBezTo>
                    <a:pt x="31316" y="42156"/>
                    <a:pt x="19342" y="43928"/>
                    <a:pt x="15405" y="53286"/>
                  </a:cubicBezTo>
                  <a:cubicBezTo>
                    <a:pt x="13132" y="58734"/>
                    <a:pt x="8627" y="63648"/>
                    <a:pt x="6800" y="69196"/>
                  </a:cubicBezTo>
                  <a:cubicBezTo>
                    <a:pt x="4974" y="74744"/>
                    <a:pt x="6800" y="81997"/>
                    <a:pt x="-60" y="86309"/>
                  </a:cubicBezTo>
                  <a:cubicBezTo>
                    <a:pt x="14634" y="88147"/>
                    <a:pt x="29409" y="82097"/>
                    <a:pt x="44346" y="82365"/>
                  </a:cubicBezTo>
                  <a:lnTo>
                    <a:pt x="65128" y="82766"/>
                  </a:lnTo>
                  <a:cubicBezTo>
                    <a:pt x="70729" y="82766"/>
                    <a:pt x="78400" y="67057"/>
                    <a:pt x="89482" y="65887"/>
                  </a:cubicBezTo>
                  <a:cubicBezTo>
                    <a:pt x="102064" y="65005"/>
                    <a:pt x="114688" y="66141"/>
                    <a:pt x="126743" y="69229"/>
                  </a:cubicBezTo>
                  <a:cubicBezTo>
                    <a:pt x="132507" y="61742"/>
                    <a:pt x="140990" y="57665"/>
                    <a:pt x="148824" y="51247"/>
                  </a:cubicBezTo>
                  <a:cubicBezTo>
                    <a:pt x="156657" y="44830"/>
                    <a:pt x="159012" y="36708"/>
                    <a:pt x="160270" y="28252"/>
                  </a:cubicBezTo>
                  <a:cubicBezTo>
                    <a:pt x="160960" y="25511"/>
                    <a:pt x="153045" y="22136"/>
                    <a:pt x="149919" y="2009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81256E72-4539-4B46-880F-D3809A5B26EE}"/>
                </a:ext>
              </a:extLst>
            </p:cNvPr>
            <p:cNvSpPr/>
            <p:nvPr/>
          </p:nvSpPr>
          <p:spPr>
            <a:xfrm>
              <a:off x="6011103" y="4650946"/>
              <a:ext cx="126911" cy="99642"/>
            </a:xfrm>
            <a:custGeom>
              <a:avLst/>
              <a:gdLst>
                <a:gd name="connsiteX0" fmla="*/ 31303 w 130254"/>
                <a:gd name="connsiteY0" fmla="*/ 33050 h 136433"/>
                <a:gd name="connsiteX1" fmla="*/ 6381 w 130254"/>
                <a:gd name="connsiteY1" fmla="*/ 61560 h 136433"/>
                <a:gd name="connsiteX2" fmla="*/ 21683 w 130254"/>
                <a:gd name="connsiteY2" fmla="*/ 82550 h 136433"/>
                <a:gd name="connsiteX3" fmla="*/ 29801 w 130254"/>
                <a:gd name="connsiteY3" fmla="*/ 93045 h 136433"/>
                <a:gd name="connsiteX4" fmla="*/ 52369 w 130254"/>
                <a:gd name="connsiteY4" fmla="*/ 101468 h 136433"/>
                <a:gd name="connsiteX5" fmla="*/ 70026 w 130254"/>
                <a:gd name="connsiteY5" fmla="*/ 136095 h 136433"/>
                <a:gd name="connsiteX6" fmla="*/ 87682 w 130254"/>
                <a:gd name="connsiteY6" fmla="*/ 122124 h 136433"/>
                <a:gd name="connsiteX7" fmla="*/ 90929 w 130254"/>
                <a:gd name="connsiteY7" fmla="*/ 108754 h 136433"/>
                <a:gd name="connsiteX8" fmla="*/ 109316 w 130254"/>
                <a:gd name="connsiteY8" fmla="*/ 98727 h 136433"/>
                <a:gd name="connsiteX9" fmla="*/ 126567 w 130254"/>
                <a:gd name="connsiteY9" fmla="*/ 94081 h 136433"/>
                <a:gd name="connsiteX10" fmla="*/ 118449 w 130254"/>
                <a:gd name="connsiteY10" fmla="*/ 76835 h 136433"/>
                <a:gd name="connsiteX11" fmla="*/ 104121 w 130254"/>
                <a:gd name="connsiteY11" fmla="*/ 69080 h 136433"/>
                <a:gd name="connsiteX12" fmla="*/ 81959 w 130254"/>
                <a:gd name="connsiteY12" fmla="*/ 66139 h 136433"/>
                <a:gd name="connsiteX13" fmla="*/ 96368 w 130254"/>
                <a:gd name="connsiteY13" fmla="*/ 54274 h 136433"/>
                <a:gd name="connsiteX14" fmla="*/ 114268 w 130254"/>
                <a:gd name="connsiteY14" fmla="*/ 41840 h 136433"/>
                <a:gd name="connsiteX15" fmla="*/ 99291 w 130254"/>
                <a:gd name="connsiteY15" fmla="*/ 25128 h 136433"/>
                <a:gd name="connsiteX16" fmla="*/ 114755 w 130254"/>
                <a:gd name="connsiteY16" fmla="*/ 9954 h 136433"/>
                <a:gd name="connsiteX17" fmla="*/ 97545 w 130254"/>
                <a:gd name="connsiteY17" fmla="*/ 9386 h 136433"/>
                <a:gd name="connsiteX18" fmla="*/ 82203 w 130254"/>
                <a:gd name="connsiteY18" fmla="*/ 528 h 136433"/>
                <a:gd name="connsiteX19" fmla="*/ 52653 w 130254"/>
                <a:gd name="connsiteY19" fmla="*/ 1999 h 136433"/>
                <a:gd name="connsiteX20" fmla="*/ 29233 w 130254"/>
                <a:gd name="connsiteY20" fmla="*/ 15369 h 136433"/>
                <a:gd name="connsiteX21" fmla="*/ 31262 w 130254"/>
                <a:gd name="connsiteY21" fmla="*/ 33050 h 136433"/>
                <a:gd name="connsiteX22" fmla="*/ 31303 w 130254"/>
                <a:gd name="connsiteY22" fmla="*/ 33050 h 136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0254" h="136433">
                  <a:moveTo>
                    <a:pt x="31303" y="33050"/>
                  </a:moveTo>
                  <a:cubicBezTo>
                    <a:pt x="42506" y="41974"/>
                    <a:pt x="18152" y="56212"/>
                    <a:pt x="6381" y="61560"/>
                  </a:cubicBezTo>
                  <a:cubicBezTo>
                    <a:pt x="-10220" y="69147"/>
                    <a:pt x="9060" y="77102"/>
                    <a:pt x="21683" y="82550"/>
                  </a:cubicBezTo>
                  <a:cubicBezTo>
                    <a:pt x="28786" y="85625"/>
                    <a:pt x="24849" y="90237"/>
                    <a:pt x="29801" y="93045"/>
                  </a:cubicBezTo>
                  <a:cubicBezTo>
                    <a:pt x="36173" y="96655"/>
                    <a:pt x="46727" y="97357"/>
                    <a:pt x="52369" y="101468"/>
                  </a:cubicBezTo>
                  <a:cubicBezTo>
                    <a:pt x="65723" y="111094"/>
                    <a:pt x="57929" y="127271"/>
                    <a:pt x="70026" y="136095"/>
                  </a:cubicBezTo>
                  <a:cubicBezTo>
                    <a:pt x="80011" y="132284"/>
                    <a:pt x="85003" y="128708"/>
                    <a:pt x="87682" y="122124"/>
                  </a:cubicBezTo>
                  <a:cubicBezTo>
                    <a:pt x="89468" y="117812"/>
                    <a:pt x="84069" y="112096"/>
                    <a:pt x="90929" y="108754"/>
                  </a:cubicBezTo>
                  <a:cubicBezTo>
                    <a:pt x="97789" y="105412"/>
                    <a:pt x="103106" y="102069"/>
                    <a:pt x="109316" y="98727"/>
                  </a:cubicBezTo>
                  <a:cubicBezTo>
                    <a:pt x="114187" y="96220"/>
                    <a:pt x="122954" y="96688"/>
                    <a:pt x="126567" y="94081"/>
                  </a:cubicBezTo>
                  <a:cubicBezTo>
                    <a:pt x="136227" y="87229"/>
                    <a:pt x="124172" y="81514"/>
                    <a:pt x="118449" y="76835"/>
                  </a:cubicBezTo>
                  <a:cubicBezTo>
                    <a:pt x="116623" y="75331"/>
                    <a:pt x="111468" y="64234"/>
                    <a:pt x="104121" y="69080"/>
                  </a:cubicBezTo>
                  <a:cubicBezTo>
                    <a:pt x="98600" y="72690"/>
                    <a:pt x="85693" y="69080"/>
                    <a:pt x="81959" y="66139"/>
                  </a:cubicBezTo>
                  <a:cubicBezTo>
                    <a:pt x="73191" y="59454"/>
                    <a:pt x="88291" y="56780"/>
                    <a:pt x="96368" y="54274"/>
                  </a:cubicBezTo>
                  <a:cubicBezTo>
                    <a:pt x="105298" y="51533"/>
                    <a:pt x="112604" y="47589"/>
                    <a:pt x="114268" y="41840"/>
                  </a:cubicBezTo>
                  <a:cubicBezTo>
                    <a:pt x="116866" y="33317"/>
                    <a:pt x="105866" y="31378"/>
                    <a:pt x="99291" y="25128"/>
                  </a:cubicBezTo>
                  <a:cubicBezTo>
                    <a:pt x="92715" y="18878"/>
                    <a:pt x="112442" y="15101"/>
                    <a:pt x="114755" y="9954"/>
                  </a:cubicBezTo>
                  <a:cubicBezTo>
                    <a:pt x="117759" y="3269"/>
                    <a:pt x="100833" y="9653"/>
                    <a:pt x="97545" y="9386"/>
                  </a:cubicBezTo>
                  <a:cubicBezTo>
                    <a:pt x="90361" y="8784"/>
                    <a:pt x="91213" y="1932"/>
                    <a:pt x="82203" y="528"/>
                  </a:cubicBezTo>
                  <a:cubicBezTo>
                    <a:pt x="72339" y="-1006"/>
                    <a:pt x="62192" y="-498"/>
                    <a:pt x="52653" y="1999"/>
                  </a:cubicBezTo>
                  <a:cubicBezTo>
                    <a:pt x="36782" y="6612"/>
                    <a:pt x="31059" y="5141"/>
                    <a:pt x="29233" y="15369"/>
                  </a:cubicBezTo>
                  <a:cubicBezTo>
                    <a:pt x="28299" y="20382"/>
                    <a:pt x="25661" y="28537"/>
                    <a:pt x="31262" y="33050"/>
                  </a:cubicBezTo>
                  <a:cubicBezTo>
                    <a:pt x="38812" y="39033"/>
                    <a:pt x="26310" y="29039"/>
                    <a:pt x="31303" y="330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DB93F029-7147-4F41-B700-1C49461947F5}"/>
                </a:ext>
              </a:extLst>
            </p:cNvPr>
            <p:cNvSpPr/>
            <p:nvPr/>
          </p:nvSpPr>
          <p:spPr>
            <a:xfrm>
              <a:off x="10092576" y="6296632"/>
              <a:ext cx="73399" cy="14195"/>
            </a:xfrm>
            <a:custGeom>
              <a:avLst/>
              <a:gdLst>
                <a:gd name="connsiteX0" fmla="*/ 76 w 75333"/>
                <a:gd name="connsiteY0" fmla="*/ 2565 h 19436"/>
                <a:gd name="connsiteX1" fmla="*/ 28489 w 75333"/>
                <a:gd name="connsiteY1" fmla="*/ 16235 h 19436"/>
                <a:gd name="connsiteX2" fmla="*/ 76 w 75333"/>
                <a:gd name="connsiteY2" fmla="*/ 2565 h 19436"/>
                <a:gd name="connsiteX3" fmla="*/ 45171 w 75333"/>
                <a:gd name="connsiteY3" fmla="*/ 8615 h 19436"/>
                <a:gd name="connsiteX4" fmla="*/ 74802 w 75333"/>
                <a:gd name="connsiteY4" fmla="*/ 17739 h 19436"/>
                <a:gd name="connsiteX5" fmla="*/ 45293 w 75333"/>
                <a:gd name="connsiteY5" fmla="*/ 8615 h 19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33" h="19436">
                  <a:moveTo>
                    <a:pt x="76" y="2565"/>
                  </a:moveTo>
                  <a:cubicBezTo>
                    <a:pt x="3201" y="12860"/>
                    <a:pt x="19316" y="24123"/>
                    <a:pt x="28489" y="16235"/>
                  </a:cubicBezTo>
                  <a:cubicBezTo>
                    <a:pt x="37662" y="8348"/>
                    <a:pt x="-2685" y="-6660"/>
                    <a:pt x="76" y="2565"/>
                  </a:cubicBezTo>
                  <a:close/>
                  <a:moveTo>
                    <a:pt x="45171" y="8615"/>
                  </a:moveTo>
                  <a:cubicBezTo>
                    <a:pt x="49230" y="13528"/>
                    <a:pt x="69525" y="22519"/>
                    <a:pt x="74802" y="17739"/>
                  </a:cubicBezTo>
                  <a:cubicBezTo>
                    <a:pt x="80079" y="12960"/>
                    <a:pt x="39245" y="1195"/>
                    <a:pt x="45293" y="8615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E504591C-17BE-4335-8E83-BB76D25760CD}"/>
                </a:ext>
              </a:extLst>
            </p:cNvPr>
            <p:cNvSpPr/>
            <p:nvPr/>
          </p:nvSpPr>
          <p:spPr>
            <a:xfrm>
              <a:off x="6967474" y="5017932"/>
              <a:ext cx="51400" cy="22823"/>
            </a:xfrm>
            <a:custGeom>
              <a:avLst/>
              <a:gdLst>
                <a:gd name="connsiteX0" fmla="*/ 20602 w 52754"/>
                <a:gd name="connsiteY0" fmla="*/ 1098 h 31250"/>
                <a:gd name="connsiteX1" fmla="*/ -17 w 52754"/>
                <a:gd name="connsiteY1" fmla="*/ 20518 h 31250"/>
                <a:gd name="connsiteX2" fmla="*/ 30953 w 52754"/>
                <a:gd name="connsiteY2" fmla="*/ 30912 h 31250"/>
                <a:gd name="connsiteX3" fmla="*/ 44226 w 52754"/>
                <a:gd name="connsiteY3" fmla="*/ 23893 h 31250"/>
                <a:gd name="connsiteX4" fmla="*/ 29451 w 52754"/>
                <a:gd name="connsiteY4" fmla="*/ 16941 h 31250"/>
                <a:gd name="connsiteX5" fmla="*/ 51572 w 52754"/>
                <a:gd name="connsiteY5" fmla="*/ 11393 h 31250"/>
                <a:gd name="connsiteX6" fmla="*/ 42927 w 52754"/>
                <a:gd name="connsiteY6" fmla="*/ -339 h 31250"/>
                <a:gd name="connsiteX7" fmla="*/ 20602 w 52754"/>
                <a:gd name="connsiteY7" fmla="*/ 1098 h 31250"/>
                <a:gd name="connsiteX8" fmla="*/ 20602 w 52754"/>
                <a:gd name="connsiteY8" fmla="*/ 1098 h 31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754" h="31250">
                  <a:moveTo>
                    <a:pt x="20602" y="1098"/>
                  </a:moveTo>
                  <a:cubicBezTo>
                    <a:pt x="12484" y="7081"/>
                    <a:pt x="-910" y="11727"/>
                    <a:pt x="-17" y="20518"/>
                  </a:cubicBezTo>
                  <a:cubicBezTo>
                    <a:pt x="1160" y="32082"/>
                    <a:pt x="20278" y="23258"/>
                    <a:pt x="30953" y="30912"/>
                  </a:cubicBezTo>
                  <a:cubicBezTo>
                    <a:pt x="35174" y="28302"/>
                    <a:pt x="39599" y="25956"/>
                    <a:pt x="44226" y="23893"/>
                  </a:cubicBezTo>
                  <a:cubicBezTo>
                    <a:pt x="42440" y="23024"/>
                    <a:pt x="27300" y="19080"/>
                    <a:pt x="29451" y="16941"/>
                  </a:cubicBezTo>
                  <a:cubicBezTo>
                    <a:pt x="34078" y="12362"/>
                    <a:pt x="47229" y="14869"/>
                    <a:pt x="51572" y="11393"/>
                  </a:cubicBezTo>
                  <a:cubicBezTo>
                    <a:pt x="55916" y="7917"/>
                    <a:pt x="46499" y="2235"/>
                    <a:pt x="42927" y="-339"/>
                  </a:cubicBezTo>
                  <a:cubicBezTo>
                    <a:pt x="33388" y="1767"/>
                    <a:pt x="31481" y="3004"/>
                    <a:pt x="20602" y="1098"/>
                  </a:cubicBezTo>
                  <a:cubicBezTo>
                    <a:pt x="18695" y="2502"/>
                    <a:pt x="27503" y="2302"/>
                    <a:pt x="20602" y="109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E18BA317-0065-4958-B383-155E7B6968C6}"/>
                </a:ext>
              </a:extLst>
            </p:cNvPr>
            <p:cNvSpPr/>
            <p:nvPr/>
          </p:nvSpPr>
          <p:spPr>
            <a:xfrm>
              <a:off x="6944694" y="4688257"/>
              <a:ext cx="282374" cy="126376"/>
            </a:xfrm>
            <a:custGeom>
              <a:avLst/>
              <a:gdLst>
                <a:gd name="connsiteX0" fmla="*/ 241493 w 289813"/>
                <a:gd name="connsiteY0" fmla="*/ 160109 h 173037"/>
                <a:gd name="connsiteX1" fmla="*/ 261788 w 289813"/>
                <a:gd name="connsiteY1" fmla="*/ 156466 h 173037"/>
                <a:gd name="connsiteX2" fmla="*/ 270677 w 289813"/>
                <a:gd name="connsiteY2" fmla="*/ 160978 h 173037"/>
                <a:gd name="connsiteX3" fmla="*/ 289754 w 289813"/>
                <a:gd name="connsiteY3" fmla="*/ 162315 h 173037"/>
                <a:gd name="connsiteX4" fmla="*/ 268282 w 289813"/>
                <a:gd name="connsiteY4" fmla="*/ 136847 h 173037"/>
                <a:gd name="connsiteX5" fmla="*/ 270028 w 289813"/>
                <a:gd name="connsiteY5" fmla="*/ 128524 h 173037"/>
                <a:gd name="connsiteX6" fmla="*/ 265969 w 289813"/>
                <a:gd name="connsiteY6" fmla="*/ 116625 h 173037"/>
                <a:gd name="connsiteX7" fmla="*/ 236013 w 289813"/>
                <a:gd name="connsiteY7" fmla="*/ 102721 h 173037"/>
                <a:gd name="connsiteX8" fmla="*/ 213445 w 289813"/>
                <a:gd name="connsiteY8" fmla="*/ 83336 h 173037"/>
                <a:gd name="connsiteX9" fmla="*/ 212512 w 289813"/>
                <a:gd name="connsiteY9" fmla="*/ 67559 h 173037"/>
                <a:gd name="connsiteX10" fmla="*/ 219493 w 289813"/>
                <a:gd name="connsiteY10" fmla="*/ 60875 h 173037"/>
                <a:gd name="connsiteX11" fmla="*/ 230615 w 289813"/>
                <a:gd name="connsiteY11" fmla="*/ 55159 h 173037"/>
                <a:gd name="connsiteX12" fmla="*/ 216287 w 289813"/>
                <a:gd name="connsiteY12" fmla="*/ 37178 h 173037"/>
                <a:gd name="connsiteX13" fmla="*/ 197169 w 289813"/>
                <a:gd name="connsiteY13" fmla="*/ 12043 h 173037"/>
                <a:gd name="connsiteX14" fmla="*/ 145214 w 289813"/>
                <a:gd name="connsiteY14" fmla="*/ 311 h 173037"/>
                <a:gd name="connsiteX15" fmla="*/ 97277 w 289813"/>
                <a:gd name="connsiteY15" fmla="*/ 9670 h 173037"/>
                <a:gd name="connsiteX16" fmla="*/ 82381 w 289813"/>
                <a:gd name="connsiteY16" fmla="*/ 14951 h 173037"/>
                <a:gd name="connsiteX17" fmla="*/ 82665 w 289813"/>
                <a:gd name="connsiteY17" fmla="*/ 29256 h 173037"/>
                <a:gd name="connsiteX18" fmla="*/ 72599 w 289813"/>
                <a:gd name="connsiteY18" fmla="*/ 49310 h 173037"/>
                <a:gd name="connsiteX19" fmla="*/ -16 w 289813"/>
                <a:gd name="connsiteY19" fmla="*/ 68897 h 173037"/>
                <a:gd name="connsiteX20" fmla="*/ 3312 w 289813"/>
                <a:gd name="connsiteY20" fmla="*/ 80695 h 173037"/>
                <a:gd name="connsiteX21" fmla="*/ 18208 w 289813"/>
                <a:gd name="connsiteY21" fmla="*/ 91123 h 173037"/>
                <a:gd name="connsiteX22" fmla="*/ 49057 w 289813"/>
                <a:gd name="connsiteY22" fmla="*/ 99847 h 173037"/>
                <a:gd name="connsiteX23" fmla="*/ 102797 w 289813"/>
                <a:gd name="connsiteY23" fmla="*/ 125850 h 173037"/>
                <a:gd name="connsiteX24" fmla="*/ 161734 w 289813"/>
                <a:gd name="connsiteY24" fmla="*/ 159274 h 173037"/>
                <a:gd name="connsiteX25" fmla="*/ 201268 w 289813"/>
                <a:gd name="connsiteY25" fmla="*/ 168800 h 173037"/>
                <a:gd name="connsiteX26" fmla="*/ 229438 w 289813"/>
                <a:gd name="connsiteY26" fmla="*/ 170203 h 173037"/>
                <a:gd name="connsiteX27" fmla="*/ 241615 w 289813"/>
                <a:gd name="connsiteY27" fmla="*/ 160176 h 173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9813" h="173037">
                  <a:moveTo>
                    <a:pt x="241493" y="160109"/>
                  </a:moveTo>
                  <a:cubicBezTo>
                    <a:pt x="247622" y="157569"/>
                    <a:pt x="252087" y="153759"/>
                    <a:pt x="261788" y="156466"/>
                  </a:cubicBezTo>
                  <a:cubicBezTo>
                    <a:pt x="265076" y="157496"/>
                    <a:pt x="268079" y="159027"/>
                    <a:pt x="270677" y="160978"/>
                  </a:cubicBezTo>
                  <a:cubicBezTo>
                    <a:pt x="278795" y="166627"/>
                    <a:pt x="278795" y="162616"/>
                    <a:pt x="289754" y="162315"/>
                  </a:cubicBezTo>
                  <a:cubicBezTo>
                    <a:pt x="278511" y="153425"/>
                    <a:pt x="277577" y="145604"/>
                    <a:pt x="268282" y="136847"/>
                  </a:cubicBezTo>
                  <a:cubicBezTo>
                    <a:pt x="264669" y="133504"/>
                    <a:pt x="267470" y="131298"/>
                    <a:pt x="270028" y="128524"/>
                  </a:cubicBezTo>
                  <a:cubicBezTo>
                    <a:pt x="273761" y="124513"/>
                    <a:pt x="268972" y="120870"/>
                    <a:pt x="265969" y="116625"/>
                  </a:cubicBezTo>
                  <a:cubicBezTo>
                    <a:pt x="261910" y="110475"/>
                    <a:pt x="244618" y="107133"/>
                    <a:pt x="236013" y="102721"/>
                  </a:cubicBezTo>
                  <a:cubicBezTo>
                    <a:pt x="223836" y="96438"/>
                    <a:pt x="227490" y="89118"/>
                    <a:pt x="213445" y="83336"/>
                  </a:cubicBezTo>
                  <a:cubicBezTo>
                    <a:pt x="207722" y="80962"/>
                    <a:pt x="205612" y="68897"/>
                    <a:pt x="212512" y="67559"/>
                  </a:cubicBezTo>
                  <a:cubicBezTo>
                    <a:pt x="216571" y="66724"/>
                    <a:pt x="218154" y="62813"/>
                    <a:pt x="219493" y="60875"/>
                  </a:cubicBezTo>
                  <a:cubicBezTo>
                    <a:pt x="222172" y="56797"/>
                    <a:pt x="227936" y="57532"/>
                    <a:pt x="230615" y="55159"/>
                  </a:cubicBezTo>
                  <a:cubicBezTo>
                    <a:pt x="240600" y="45935"/>
                    <a:pt x="227368" y="42124"/>
                    <a:pt x="216287" y="37178"/>
                  </a:cubicBezTo>
                  <a:cubicBezTo>
                    <a:pt x="210929" y="34804"/>
                    <a:pt x="194328" y="15385"/>
                    <a:pt x="197169" y="12043"/>
                  </a:cubicBezTo>
                  <a:cubicBezTo>
                    <a:pt x="194896" y="17357"/>
                    <a:pt x="153819" y="2016"/>
                    <a:pt x="145214" y="311"/>
                  </a:cubicBezTo>
                  <a:cubicBezTo>
                    <a:pt x="130195" y="-3031"/>
                    <a:pt x="112215" y="7497"/>
                    <a:pt x="97277" y="9670"/>
                  </a:cubicBezTo>
                  <a:cubicBezTo>
                    <a:pt x="91635" y="10506"/>
                    <a:pt x="85100" y="11943"/>
                    <a:pt x="82381" y="14951"/>
                  </a:cubicBezTo>
                  <a:cubicBezTo>
                    <a:pt x="78647" y="19062"/>
                    <a:pt x="88672" y="26148"/>
                    <a:pt x="82665" y="29256"/>
                  </a:cubicBezTo>
                  <a:cubicBezTo>
                    <a:pt x="73532" y="33969"/>
                    <a:pt x="80067" y="43327"/>
                    <a:pt x="72599" y="49310"/>
                  </a:cubicBezTo>
                  <a:cubicBezTo>
                    <a:pt x="59772" y="59337"/>
                    <a:pt x="-1924" y="55995"/>
                    <a:pt x="-16" y="68897"/>
                  </a:cubicBezTo>
                  <a:cubicBezTo>
                    <a:pt x="836" y="72874"/>
                    <a:pt x="1973" y="76811"/>
                    <a:pt x="3312" y="80695"/>
                  </a:cubicBezTo>
                  <a:cubicBezTo>
                    <a:pt x="5544" y="88850"/>
                    <a:pt x="3312" y="89987"/>
                    <a:pt x="18208" y="91123"/>
                  </a:cubicBezTo>
                  <a:cubicBezTo>
                    <a:pt x="29168" y="92069"/>
                    <a:pt x="39721" y="95054"/>
                    <a:pt x="49057" y="99847"/>
                  </a:cubicBezTo>
                  <a:cubicBezTo>
                    <a:pt x="67281" y="108136"/>
                    <a:pt x="85587" y="116759"/>
                    <a:pt x="102797" y="125850"/>
                  </a:cubicBezTo>
                  <a:cubicBezTo>
                    <a:pt x="122686" y="136446"/>
                    <a:pt x="140668" y="149681"/>
                    <a:pt x="161734" y="159274"/>
                  </a:cubicBezTo>
                  <a:cubicBezTo>
                    <a:pt x="173667" y="164755"/>
                    <a:pt x="187468" y="166360"/>
                    <a:pt x="201268" y="168800"/>
                  </a:cubicBezTo>
                  <a:cubicBezTo>
                    <a:pt x="211862" y="170705"/>
                    <a:pt x="223674" y="175685"/>
                    <a:pt x="229438" y="170203"/>
                  </a:cubicBezTo>
                  <a:cubicBezTo>
                    <a:pt x="232725" y="167062"/>
                    <a:pt x="236176" y="162382"/>
                    <a:pt x="241615" y="16017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33B86B95-1288-454D-B231-AB24FDA55BFE}"/>
                </a:ext>
              </a:extLst>
            </p:cNvPr>
            <p:cNvSpPr/>
            <p:nvPr/>
          </p:nvSpPr>
          <p:spPr>
            <a:xfrm>
              <a:off x="6062491" y="5112419"/>
              <a:ext cx="148730" cy="78413"/>
            </a:xfrm>
            <a:custGeom>
              <a:avLst/>
              <a:gdLst>
                <a:gd name="connsiteX0" fmla="*/ 73379 w 152648"/>
                <a:gd name="connsiteY0" fmla="*/ 102013 h 107365"/>
                <a:gd name="connsiteX1" fmla="*/ 75774 w 152648"/>
                <a:gd name="connsiteY1" fmla="*/ 84834 h 107365"/>
                <a:gd name="connsiteX2" fmla="*/ 100818 w 152648"/>
                <a:gd name="connsiteY2" fmla="*/ 76277 h 107365"/>
                <a:gd name="connsiteX3" fmla="*/ 116120 w 152648"/>
                <a:gd name="connsiteY3" fmla="*/ 79920 h 107365"/>
                <a:gd name="connsiteX4" fmla="*/ 148348 w 152648"/>
                <a:gd name="connsiteY4" fmla="*/ 80823 h 107365"/>
                <a:gd name="connsiteX5" fmla="*/ 150662 w 152648"/>
                <a:gd name="connsiteY5" fmla="*/ 51911 h 107365"/>
                <a:gd name="connsiteX6" fmla="*/ 144817 w 152648"/>
                <a:gd name="connsiteY6" fmla="*/ 30654 h 107365"/>
                <a:gd name="connsiteX7" fmla="*/ 123629 w 152648"/>
                <a:gd name="connsiteY7" fmla="*/ 19424 h 107365"/>
                <a:gd name="connsiteX8" fmla="*/ 118596 w 152648"/>
                <a:gd name="connsiteY8" fmla="*/ 1375 h 107365"/>
                <a:gd name="connsiteX9" fmla="*/ 73948 w 152648"/>
                <a:gd name="connsiteY9" fmla="*/ 539 h 107365"/>
                <a:gd name="connsiteX10" fmla="*/ 70132 w 152648"/>
                <a:gd name="connsiteY10" fmla="*/ 22933 h 107365"/>
                <a:gd name="connsiteX11" fmla="*/ 38513 w 152648"/>
                <a:gd name="connsiteY11" fmla="*/ 23902 h 107365"/>
                <a:gd name="connsiteX12" fmla="*/ 18867 w 152648"/>
                <a:gd name="connsiteY12" fmla="*/ 25106 h 107365"/>
                <a:gd name="connsiteX13" fmla="*/ 24955 w 152648"/>
                <a:gd name="connsiteY13" fmla="*/ 37238 h 107365"/>
                <a:gd name="connsiteX14" fmla="*/ 13875 w 152648"/>
                <a:gd name="connsiteY14" fmla="*/ 41116 h 107365"/>
                <a:gd name="connsiteX15" fmla="*/ 6162 w 152648"/>
                <a:gd name="connsiteY15" fmla="*/ 50775 h 107365"/>
                <a:gd name="connsiteX16" fmla="*/ 9328 w 152648"/>
                <a:gd name="connsiteY16" fmla="*/ 66918 h 107365"/>
                <a:gd name="connsiteX17" fmla="*/ 60147 w 152648"/>
                <a:gd name="connsiteY17" fmla="*/ 107027 h 107365"/>
                <a:gd name="connsiteX18" fmla="*/ 73379 w 152648"/>
                <a:gd name="connsiteY18" fmla="*/ 102013 h 10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2648" h="107365">
                  <a:moveTo>
                    <a:pt x="73379" y="102013"/>
                  </a:moveTo>
                  <a:cubicBezTo>
                    <a:pt x="91320" y="102013"/>
                    <a:pt x="75287" y="90215"/>
                    <a:pt x="75774" y="84834"/>
                  </a:cubicBezTo>
                  <a:cubicBezTo>
                    <a:pt x="76423" y="77614"/>
                    <a:pt x="97205" y="84165"/>
                    <a:pt x="100818" y="76277"/>
                  </a:cubicBezTo>
                  <a:cubicBezTo>
                    <a:pt x="105242" y="66684"/>
                    <a:pt x="111899" y="75508"/>
                    <a:pt x="116120" y="79920"/>
                  </a:cubicBezTo>
                  <a:cubicBezTo>
                    <a:pt x="120341" y="84332"/>
                    <a:pt x="144533" y="86605"/>
                    <a:pt x="148348" y="80823"/>
                  </a:cubicBezTo>
                  <a:cubicBezTo>
                    <a:pt x="153057" y="71675"/>
                    <a:pt x="153869" y="61487"/>
                    <a:pt x="150662" y="51911"/>
                  </a:cubicBezTo>
                  <a:cubicBezTo>
                    <a:pt x="145913" y="39912"/>
                    <a:pt x="125050" y="42486"/>
                    <a:pt x="144817" y="30654"/>
                  </a:cubicBezTo>
                  <a:cubicBezTo>
                    <a:pt x="160810" y="21162"/>
                    <a:pt x="134954" y="17485"/>
                    <a:pt x="123629" y="19424"/>
                  </a:cubicBezTo>
                  <a:cubicBezTo>
                    <a:pt x="108489" y="22031"/>
                    <a:pt x="117419" y="6723"/>
                    <a:pt x="118596" y="1375"/>
                  </a:cubicBezTo>
                  <a:cubicBezTo>
                    <a:pt x="105242" y="1007"/>
                    <a:pt x="86977" y="-1700"/>
                    <a:pt x="73948" y="539"/>
                  </a:cubicBezTo>
                  <a:cubicBezTo>
                    <a:pt x="65221" y="2043"/>
                    <a:pt x="76545" y="18755"/>
                    <a:pt x="70132" y="22933"/>
                  </a:cubicBezTo>
                  <a:cubicBezTo>
                    <a:pt x="66844" y="25106"/>
                    <a:pt x="43546" y="23769"/>
                    <a:pt x="38513" y="23902"/>
                  </a:cubicBezTo>
                  <a:cubicBezTo>
                    <a:pt x="31815" y="24069"/>
                    <a:pt x="25524" y="24437"/>
                    <a:pt x="18867" y="25106"/>
                  </a:cubicBezTo>
                  <a:cubicBezTo>
                    <a:pt x="9734" y="33929"/>
                    <a:pt x="19963" y="29484"/>
                    <a:pt x="24955" y="37238"/>
                  </a:cubicBezTo>
                  <a:cubicBezTo>
                    <a:pt x="26457" y="39611"/>
                    <a:pt x="15782" y="40581"/>
                    <a:pt x="13875" y="41116"/>
                  </a:cubicBezTo>
                  <a:cubicBezTo>
                    <a:pt x="7664" y="42854"/>
                    <a:pt x="9816" y="47800"/>
                    <a:pt x="6162" y="50775"/>
                  </a:cubicBezTo>
                  <a:cubicBezTo>
                    <a:pt x="-3741" y="59031"/>
                    <a:pt x="-1184" y="58362"/>
                    <a:pt x="9328" y="66918"/>
                  </a:cubicBezTo>
                  <a:cubicBezTo>
                    <a:pt x="24875" y="79653"/>
                    <a:pt x="39446" y="96498"/>
                    <a:pt x="60147" y="107027"/>
                  </a:cubicBezTo>
                  <a:cubicBezTo>
                    <a:pt x="63435" y="103815"/>
                    <a:pt x="68265" y="101976"/>
                    <a:pt x="73379" y="10201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0FE38193-CCA8-4B80-9AA0-5400FA456226}"/>
                </a:ext>
              </a:extLst>
            </p:cNvPr>
            <p:cNvSpPr/>
            <p:nvPr/>
          </p:nvSpPr>
          <p:spPr>
            <a:xfrm>
              <a:off x="6365310" y="4574003"/>
              <a:ext cx="53348" cy="45916"/>
            </a:xfrm>
            <a:custGeom>
              <a:avLst/>
              <a:gdLst>
                <a:gd name="connsiteX0" fmla="*/ 35629 w 54753"/>
                <a:gd name="connsiteY0" fmla="*/ 53640 h 62869"/>
                <a:gd name="connsiteX1" fmla="*/ 53164 w 54753"/>
                <a:gd name="connsiteY1" fmla="*/ 40739 h 62869"/>
                <a:gd name="connsiteX2" fmla="*/ 40541 w 54753"/>
                <a:gd name="connsiteY2" fmla="*/ 29241 h 62869"/>
                <a:gd name="connsiteX3" fmla="*/ 42529 w 54753"/>
                <a:gd name="connsiteY3" fmla="*/ 8820 h 62869"/>
                <a:gd name="connsiteX4" fmla="*/ 15131 w 54753"/>
                <a:gd name="connsiteY4" fmla="*/ -339 h 62869"/>
                <a:gd name="connsiteX5" fmla="*/ 6080 w 54753"/>
                <a:gd name="connsiteY5" fmla="*/ 3238 h 62869"/>
                <a:gd name="connsiteX6" fmla="*/ 6973 w 54753"/>
                <a:gd name="connsiteY6" fmla="*/ 14134 h 62869"/>
                <a:gd name="connsiteX7" fmla="*/ 763 w 54753"/>
                <a:gd name="connsiteY7" fmla="*/ 29776 h 62869"/>
                <a:gd name="connsiteX8" fmla="*/ 26050 w 54753"/>
                <a:gd name="connsiteY8" fmla="*/ 62531 h 62869"/>
                <a:gd name="connsiteX9" fmla="*/ 35629 w 54753"/>
                <a:gd name="connsiteY9" fmla="*/ 53640 h 62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753" h="62869">
                  <a:moveTo>
                    <a:pt x="35629" y="53640"/>
                  </a:moveTo>
                  <a:cubicBezTo>
                    <a:pt x="40459" y="53273"/>
                    <a:pt x="50810" y="42978"/>
                    <a:pt x="53164" y="40739"/>
                  </a:cubicBezTo>
                  <a:cubicBezTo>
                    <a:pt x="59130" y="35090"/>
                    <a:pt x="46101" y="34054"/>
                    <a:pt x="40541" y="29241"/>
                  </a:cubicBezTo>
                  <a:cubicBezTo>
                    <a:pt x="33843" y="23392"/>
                    <a:pt x="38795" y="14568"/>
                    <a:pt x="42529" y="8820"/>
                  </a:cubicBezTo>
                  <a:cubicBezTo>
                    <a:pt x="35629" y="5911"/>
                    <a:pt x="24305" y="-105"/>
                    <a:pt x="15131" y="-339"/>
                  </a:cubicBezTo>
                  <a:cubicBezTo>
                    <a:pt x="11681" y="-88"/>
                    <a:pt x="8474" y="1182"/>
                    <a:pt x="6080" y="3238"/>
                  </a:cubicBezTo>
                  <a:cubicBezTo>
                    <a:pt x="-1348" y="8686"/>
                    <a:pt x="-2688" y="9922"/>
                    <a:pt x="6973" y="14134"/>
                  </a:cubicBezTo>
                  <a:cubicBezTo>
                    <a:pt x="18135" y="18880"/>
                    <a:pt x="2914" y="24395"/>
                    <a:pt x="763" y="29776"/>
                  </a:cubicBezTo>
                  <a:cubicBezTo>
                    <a:pt x="-3296" y="39803"/>
                    <a:pt x="8069" y="57350"/>
                    <a:pt x="26050" y="62531"/>
                  </a:cubicBezTo>
                  <a:cubicBezTo>
                    <a:pt x="27552" y="60325"/>
                    <a:pt x="29663" y="54075"/>
                    <a:pt x="35629" y="5364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793CE513-0C59-4D1A-BD99-E7D008CA2539}"/>
                </a:ext>
              </a:extLst>
            </p:cNvPr>
            <p:cNvSpPr/>
            <p:nvPr/>
          </p:nvSpPr>
          <p:spPr>
            <a:xfrm>
              <a:off x="5573964" y="5019118"/>
              <a:ext cx="166078" cy="79100"/>
            </a:xfrm>
            <a:custGeom>
              <a:avLst/>
              <a:gdLst>
                <a:gd name="connsiteX0" fmla="*/ 163804 w 170453"/>
                <a:gd name="connsiteY0" fmla="*/ 82566 h 108306"/>
                <a:gd name="connsiteX1" fmla="*/ 168391 w 170453"/>
                <a:gd name="connsiteY1" fmla="*/ 38112 h 108306"/>
                <a:gd name="connsiteX2" fmla="*/ 160801 w 170453"/>
                <a:gd name="connsiteY2" fmla="*/ 12911 h 108306"/>
                <a:gd name="connsiteX3" fmla="*/ 122606 w 170453"/>
                <a:gd name="connsiteY3" fmla="*/ 10137 h 108306"/>
                <a:gd name="connsiteX4" fmla="*/ 92529 w 170453"/>
                <a:gd name="connsiteY4" fmla="*/ 6594 h 108306"/>
                <a:gd name="connsiteX5" fmla="*/ 59732 w 170453"/>
                <a:gd name="connsiteY5" fmla="*/ 4655 h 108306"/>
                <a:gd name="connsiteX6" fmla="*/ 37976 w 170453"/>
                <a:gd name="connsiteY6" fmla="*/ 9201 h 108306"/>
                <a:gd name="connsiteX7" fmla="*/ 21537 w 170453"/>
                <a:gd name="connsiteY7" fmla="*/ 5859 h 108306"/>
                <a:gd name="connsiteX8" fmla="*/ 4774 w 170453"/>
                <a:gd name="connsiteY8" fmla="*/ 9936 h 108306"/>
                <a:gd name="connsiteX9" fmla="*/ 17478 w 170453"/>
                <a:gd name="connsiteY9" fmla="*/ 37110 h 108306"/>
                <a:gd name="connsiteX10" fmla="*/ 7493 w 170453"/>
                <a:gd name="connsiteY10" fmla="*/ 41756 h 108306"/>
                <a:gd name="connsiteX11" fmla="*/ 5504 w 170453"/>
                <a:gd name="connsiteY11" fmla="*/ 55426 h 108306"/>
                <a:gd name="connsiteX12" fmla="*/ 2176 w 170453"/>
                <a:gd name="connsiteY12" fmla="*/ 70868 h 108306"/>
                <a:gd name="connsiteX13" fmla="*/ 9158 w 170453"/>
                <a:gd name="connsiteY13" fmla="*/ 80226 h 108306"/>
                <a:gd name="connsiteX14" fmla="*/ 31685 w 170453"/>
                <a:gd name="connsiteY14" fmla="*/ 88950 h 108306"/>
                <a:gd name="connsiteX15" fmla="*/ 25677 w 170453"/>
                <a:gd name="connsiteY15" fmla="*/ 107968 h 108306"/>
                <a:gd name="connsiteX16" fmla="*/ 82828 w 170453"/>
                <a:gd name="connsiteY16" fmla="*/ 96737 h 108306"/>
                <a:gd name="connsiteX17" fmla="*/ 164008 w 170453"/>
                <a:gd name="connsiteY17" fmla="*/ 91055 h 108306"/>
                <a:gd name="connsiteX18" fmla="*/ 164008 w 170453"/>
                <a:gd name="connsiteY18" fmla="*/ 82666 h 10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70453" h="108306">
                  <a:moveTo>
                    <a:pt x="163804" y="82566"/>
                  </a:moveTo>
                  <a:cubicBezTo>
                    <a:pt x="144159" y="68695"/>
                    <a:pt x="153251" y="52217"/>
                    <a:pt x="168391" y="38112"/>
                  </a:cubicBezTo>
                  <a:cubicBezTo>
                    <a:pt x="174723" y="32196"/>
                    <a:pt x="164332" y="18259"/>
                    <a:pt x="160801" y="12911"/>
                  </a:cubicBezTo>
                  <a:cubicBezTo>
                    <a:pt x="155118" y="4522"/>
                    <a:pt x="134214" y="5391"/>
                    <a:pt x="122606" y="10137"/>
                  </a:cubicBezTo>
                  <a:cubicBezTo>
                    <a:pt x="110997" y="14883"/>
                    <a:pt x="101174" y="13981"/>
                    <a:pt x="92529" y="6594"/>
                  </a:cubicBezTo>
                  <a:cubicBezTo>
                    <a:pt x="85060" y="177"/>
                    <a:pt x="60057" y="5357"/>
                    <a:pt x="59732" y="4655"/>
                  </a:cubicBezTo>
                  <a:cubicBezTo>
                    <a:pt x="53968" y="-7477"/>
                    <a:pt x="47028" y="5892"/>
                    <a:pt x="37976" y="9201"/>
                  </a:cubicBezTo>
                  <a:cubicBezTo>
                    <a:pt x="29858" y="12176"/>
                    <a:pt x="27951" y="7196"/>
                    <a:pt x="21537" y="5859"/>
                  </a:cubicBezTo>
                  <a:cubicBezTo>
                    <a:pt x="13095" y="3987"/>
                    <a:pt x="14313" y="13312"/>
                    <a:pt x="4774" y="9936"/>
                  </a:cubicBezTo>
                  <a:cubicBezTo>
                    <a:pt x="1892" y="20465"/>
                    <a:pt x="8833" y="28587"/>
                    <a:pt x="17478" y="37110"/>
                  </a:cubicBezTo>
                  <a:cubicBezTo>
                    <a:pt x="23486" y="43193"/>
                    <a:pt x="12283" y="41054"/>
                    <a:pt x="7493" y="41756"/>
                  </a:cubicBezTo>
                  <a:cubicBezTo>
                    <a:pt x="593" y="42691"/>
                    <a:pt x="11187" y="51783"/>
                    <a:pt x="5504" y="55426"/>
                  </a:cubicBezTo>
                  <a:cubicBezTo>
                    <a:pt x="-2248" y="60306"/>
                    <a:pt x="2947" y="65085"/>
                    <a:pt x="2176" y="70868"/>
                  </a:cubicBezTo>
                  <a:cubicBezTo>
                    <a:pt x="1162" y="78655"/>
                    <a:pt x="-5089" y="75881"/>
                    <a:pt x="9158" y="80226"/>
                  </a:cubicBezTo>
                  <a:cubicBezTo>
                    <a:pt x="16463" y="82432"/>
                    <a:pt x="27869" y="84137"/>
                    <a:pt x="31685" y="88950"/>
                  </a:cubicBezTo>
                  <a:cubicBezTo>
                    <a:pt x="35500" y="93763"/>
                    <a:pt x="26936" y="103088"/>
                    <a:pt x="25677" y="107968"/>
                  </a:cubicBezTo>
                  <a:cubicBezTo>
                    <a:pt x="44958" y="106965"/>
                    <a:pt x="64603" y="100581"/>
                    <a:pt x="82828" y="96737"/>
                  </a:cubicBezTo>
                  <a:cubicBezTo>
                    <a:pt x="109658" y="91156"/>
                    <a:pt x="136203" y="87646"/>
                    <a:pt x="164008" y="91055"/>
                  </a:cubicBezTo>
                  <a:cubicBezTo>
                    <a:pt x="165671" y="88425"/>
                    <a:pt x="165671" y="85297"/>
                    <a:pt x="164008" y="8266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498E5AC4-9651-464B-BA7D-E64B47306BAD}"/>
                </a:ext>
              </a:extLst>
            </p:cNvPr>
            <p:cNvSpPr/>
            <p:nvPr/>
          </p:nvSpPr>
          <p:spPr>
            <a:xfrm>
              <a:off x="6719589" y="5099098"/>
              <a:ext cx="232226" cy="128643"/>
            </a:xfrm>
            <a:custGeom>
              <a:avLst/>
              <a:gdLst>
                <a:gd name="connsiteX0" fmla="*/ 208168 w 238344"/>
                <a:gd name="connsiteY0" fmla="*/ 52804 h 176141"/>
                <a:gd name="connsiteX1" fmla="*/ 238285 w 238344"/>
                <a:gd name="connsiteY1" fmla="*/ 31614 h 176141"/>
                <a:gd name="connsiteX2" fmla="*/ 213526 w 238344"/>
                <a:gd name="connsiteY2" fmla="*/ 30410 h 176141"/>
                <a:gd name="connsiteX3" fmla="*/ 192216 w 238344"/>
                <a:gd name="connsiteY3" fmla="*/ 27068 h 176141"/>
                <a:gd name="connsiteX4" fmla="*/ 167862 w 238344"/>
                <a:gd name="connsiteY4" fmla="*/ 35691 h 176141"/>
                <a:gd name="connsiteX5" fmla="*/ 147567 w 238344"/>
                <a:gd name="connsiteY5" fmla="*/ 31213 h 176141"/>
                <a:gd name="connsiteX6" fmla="*/ 102350 w 238344"/>
                <a:gd name="connsiteY6" fmla="*/ 14768 h 176141"/>
                <a:gd name="connsiteX7" fmla="*/ 77063 w 238344"/>
                <a:gd name="connsiteY7" fmla="*/ 9688 h 176141"/>
                <a:gd name="connsiteX8" fmla="*/ 53967 w 238344"/>
                <a:gd name="connsiteY8" fmla="*/ 764 h 176141"/>
                <a:gd name="connsiteX9" fmla="*/ 13661 w 238344"/>
                <a:gd name="connsiteY9" fmla="*/ 9788 h 176141"/>
                <a:gd name="connsiteX10" fmla="*/ 24864 w 238344"/>
                <a:gd name="connsiteY10" fmla="*/ 17242 h 176141"/>
                <a:gd name="connsiteX11" fmla="*/ 26853 w 238344"/>
                <a:gd name="connsiteY11" fmla="*/ 27035 h 176141"/>
                <a:gd name="connsiteX12" fmla="*/ 34241 w 238344"/>
                <a:gd name="connsiteY12" fmla="*/ 34789 h 176141"/>
                <a:gd name="connsiteX13" fmla="*/ 36351 w 238344"/>
                <a:gd name="connsiteY13" fmla="*/ 45986 h 176141"/>
                <a:gd name="connsiteX14" fmla="*/ 4326 w 238344"/>
                <a:gd name="connsiteY14" fmla="*/ 79410 h 176141"/>
                <a:gd name="connsiteX15" fmla="*/ 2702 w 238344"/>
                <a:gd name="connsiteY15" fmla="*/ 98962 h 176141"/>
                <a:gd name="connsiteX16" fmla="*/ 55469 w 238344"/>
                <a:gd name="connsiteY16" fmla="*/ 121189 h 176141"/>
                <a:gd name="connsiteX17" fmla="*/ 101173 w 238344"/>
                <a:gd name="connsiteY17" fmla="*/ 140876 h 176141"/>
                <a:gd name="connsiteX18" fmla="*/ 99387 w 238344"/>
                <a:gd name="connsiteY18" fmla="*/ 151738 h 176141"/>
                <a:gd name="connsiteX19" fmla="*/ 142006 w 238344"/>
                <a:gd name="connsiteY19" fmla="*/ 175803 h 176141"/>
                <a:gd name="connsiteX20" fmla="*/ 167943 w 238344"/>
                <a:gd name="connsiteY20" fmla="*/ 147460 h 176141"/>
                <a:gd name="connsiteX21" fmla="*/ 193271 w 238344"/>
                <a:gd name="connsiteY21" fmla="*/ 134625 h 176141"/>
                <a:gd name="connsiteX22" fmla="*/ 211536 w 238344"/>
                <a:gd name="connsiteY22" fmla="*/ 127740 h 176141"/>
                <a:gd name="connsiteX23" fmla="*/ 200374 w 238344"/>
                <a:gd name="connsiteY23" fmla="*/ 113468 h 176141"/>
                <a:gd name="connsiteX24" fmla="*/ 208168 w 238344"/>
                <a:gd name="connsiteY24" fmla="*/ 52804 h 17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38344" h="176141">
                  <a:moveTo>
                    <a:pt x="208168" y="52804"/>
                  </a:moveTo>
                  <a:cubicBezTo>
                    <a:pt x="218031" y="45618"/>
                    <a:pt x="228016" y="38566"/>
                    <a:pt x="238285" y="31614"/>
                  </a:cubicBezTo>
                  <a:cubicBezTo>
                    <a:pt x="230857" y="31814"/>
                    <a:pt x="220101" y="34288"/>
                    <a:pt x="213526" y="30410"/>
                  </a:cubicBezTo>
                  <a:cubicBezTo>
                    <a:pt x="205773" y="25831"/>
                    <a:pt x="203784" y="25163"/>
                    <a:pt x="192216" y="27068"/>
                  </a:cubicBezTo>
                  <a:cubicBezTo>
                    <a:pt x="182149" y="28639"/>
                    <a:pt x="177035" y="33753"/>
                    <a:pt x="167862" y="35691"/>
                  </a:cubicBezTo>
                  <a:cubicBezTo>
                    <a:pt x="164493" y="36427"/>
                    <a:pt x="151139" y="31881"/>
                    <a:pt x="147567" y="31213"/>
                  </a:cubicBezTo>
                  <a:cubicBezTo>
                    <a:pt x="129383" y="27870"/>
                    <a:pt x="115826" y="23893"/>
                    <a:pt x="102350" y="14768"/>
                  </a:cubicBezTo>
                  <a:cubicBezTo>
                    <a:pt x="96465" y="10758"/>
                    <a:pt x="84775" y="11025"/>
                    <a:pt x="77063" y="9688"/>
                  </a:cubicBezTo>
                  <a:cubicBezTo>
                    <a:pt x="68052" y="8117"/>
                    <a:pt x="62166" y="2602"/>
                    <a:pt x="53967" y="764"/>
                  </a:cubicBezTo>
                  <a:cubicBezTo>
                    <a:pt x="35742" y="-3314"/>
                    <a:pt x="25798" y="4875"/>
                    <a:pt x="13661" y="9788"/>
                  </a:cubicBezTo>
                  <a:cubicBezTo>
                    <a:pt x="13661" y="11392"/>
                    <a:pt x="22916" y="15938"/>
                    <a:pt x="24864" y="17242"/>
                  </a:cubicBezTo>
                  <a:cubicBezTo>
                    <a:pt x="27746" y="19180"/>
                    <a:pt x="26569" y="24628"/>
                    <a:pt x="26853" y="27035"/>
                  </a:cubicBezTo>
                  <a:cubicBezTo>
                    <a:pt x="27300" y="30979"/>
                    <a:pt x="29451" y="31681"/>
                    <a:pt x="34241" y="34789"/>
                  </a:cubicBezTo>
                  <a:cubicBezTo>
                    <a:pt x="39842" y="38432"/>
                    <a:pt x="37569" y="41106"/>
                    <a:pt x="36351" y="45986"/>
                  </a:cubicBezTo>
                  <a:cubicBezTo>
                    <a:pt x="32779" y="60458"/>
                    <a:pt x="13864" y="67043"/>
                    <a:pt x="4326" y="79410"/>
                  </a:cubicBezTo>
                  <a:cubicBezTo>
                    <a:pt x="49340" y="89971"/>
                    <a:pt x="-13574" y="92177"/>
                    <a:pt x="2702" y="98962"/>
                  </a:cubicBezTo>
                  <a:cubicBezTo>
                    <a:pt x="20318" y="106315"/>
                    <a:pt x="37894" y="113725"/>
                    <a:pt x="55469" y="121189"/>
                  </a:cubicBezTo>
                  <a:cubicBezTo>
                    <a:pt x="70771" y="127717"/>
                    <a:pt x="85993" y="134281"/>
                    <a:pt x="101173" y="140876"/>
                  </a:cubicBezTo>
                  <a:cubicBezTo>
                    <a:pt x="104014" y="142112"/>
                    <a:pt x="96181" y="149900"/>
                    <a:pt x="99387" y="151738"/>
                  </a:cubicBezTo>
                  <a:cubicBezTo>
                    <a:pt x="113513" y="159827"/>
                    <a:pt x="127719" y="167848"/>
                    <a:pt x="142006" y="175803"/>
                  </a:cubicBezTo>
                  <a:cubicBezTo>
                    <a:pt x="150124" y="166144"/>
                    <a:pt x="158648" y="156651"/>
                    <a:pt x="167943" y="147460"/>
                  </a:cubicBezTo>
                  <a:cubicBezTo>
                    <a:pt x="174965" y="140575"/>
                    <a:pt x="184504" y="139739"/>
                    <a:pt x="193271" y="134625"/>
                  </a:cubicBezTo>
                  <a:cubicBezTo>
                    <a:pt x="196072" y="132987"/>
                    <a:pt x="215799" y="133088"/>
                    <a:pt x="211536" y="127740"/>
                  </a:cubicBezTo>
                  <a:cubicBezTo>
                    <a:pt x="208898" y="124398"/>
                    <a:pt x="199928" y="116944"/>
                    <a:pt x="200374" y="113468"/>
                  </a:cubicBezTo>
                  <a:cubicBezTo>
                    <a:pt x="202972" y="93237"/>
                    <a:pt x="205570" y="73015"/>
                    <a:pt x="208168" y="5280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B2077692-39D0-49F2-B7AF-E5B05C3F2DAD}"/>
                </a:ext>
              </a:extLst>
            </p:cNvPr>
            <p:cNvSpPr/>
            <p:nvPr/>
          </p:nvSpPr>
          <p:spPr>
            <a:xfrm>
              <a:off x="8623940" y="5163639"/>
              <a:ext cx="164067" cy="134891"/>
            </a:xfrm>
            <a:custGeom>
              <a:avLst/>
              <a:gdLst>
                <a:gd name="connsiteX0" fmla="*/ 128852 w 168389"/>
                <a:gd name="connsiteY0" fmla="*/ 96923 h 184697"/>
                <a:gd name="connsiteX1" fmla="*/ 108233 w 168389"/>
                <a:gd name="connsiteY1" fmla="*/ 77270 h 184697"/>
                <a:gd name="connsiteX2" fmla="*/ 131207 w 168389"/>
                <a:gd name="connsiteY2" fmla="*/ 71956 h 184697"/>
                <a:gd name="connsiteX3" fmla="*/ 118259 w 168389"/>
                <a:gd name="connsiteY3" fmla="*/ 48025 h 184697"/>
                <a:gd name="connsiteX4" fmla="*/ 90617 w 168389"/>
                <a:gd name="connsiteY4" fmla="*/ 29174 h 184697"/>
                <a:gd name="connsiteX5" fmla="*/ 82499 w 168389"/>
                <a:gd name="connsiteY5" fmla="*/ 15804 h 184697"/>
                <a:gd name="connsiteX6" fmla="*/ 79779 w 168389"/>
                <a:gd name="connsiteY6" fmla="*/ 8685 h 184697"/>
                <a:gd name="connsiteX7" fmla="*/ 64964 w 168389"/>
                <a:gd name="connsiteY7" fmla="*/ 730 h 184697"/>
                <a:gd name="connsiteX8" fmla="*/ 56399 w 168389"/>
                <a:gd name="connsiteY8" fmla="*/ 17442 h 184697"/>
                <a:gd name="connsiteX9" fmla="*/ 37404 w 168389"/>
                <a:gd name="connsiteY9" fmla="*/ 7415 h 184697"/>
                <a:gd name="connsiteX10" fmla="*/ 5541 w 168389"/>
                <a:gd name="connsiteY10" fmla="*/ 16941 h 184697"/>
                <a:gd name="connsiteX11" fmla="*/ 11101 w 168389"/>
                <a:gd name="connsiteY11" fmla="*/ 38299 h 184697"/>
                <a:gd name="connsiteX12" fmla="*/ 12765 w 168389"/>
                <a:gd name="connsiteY12" fmla="*/ 61227 h 184697"/>
                <a:gd name="connsiteX13" fmla="*/ 8991 w 168389"/>
                <a:gd name="connsiteY13" fmla="*/ 75365 h 184697"/>
                <a:gd name="connsiteX14" fmla="*/ 35130 w 168389"/>
                <a:gd name="connsiteY14" fmla="*/ 73895 h 184697"/>
                <a:gd name="connsiteX15" fmla="*/ 51366 w 168389"/>
                <a:gd name="connsiteY15" fmla="*/ 82484 h 184697"/>
                <a:gd name="connsiteX16" fmla="*/ 90658 w 168389"/>
                <a:gd name="connsiteY16" fmla="*/ 88534 h 184697"/>
                <a:gd name="connsiteX17" fmla="*/ 107624 w 168389"/>
                <a:gd name="connsiteY17" fmla="*/ 116376 h 184697"/>
                <a:gd name="connsiteX18" fmla="*/ 99506 w 168389"/>
                <a:gd name="connsiteY18" fmla="*/ 125868 h 184697"/>
                <a:gd name="connsiteX19" fmla="*/ 108071 w 168389"/>
                <a:gd name="connsiteY19" fmla="*/ 135595 h 184697"/>
                <a:gd name="connsiteX20" fmla="*/ 98451 w 168389"/>
                <a:gd name="connsiteY20" fmla="*/ 169286 h 184697"/>
                <a:gd name="connsiteX21" fmla="*/ 108112 w 168389"/>
                <a:gd name="connsiteY21" fmla="*/ 179313 h 184697"/>
                <a:gd name="connsiteX22" fmla="*/ 125159 w 168389"/>
                <a:gd name="connsiteY22" fmla="*/ 174433 h 184697"/>
                <a:gd name="connsiteX23" fmla="*/ 151177 w 168389"/>
                <a:gd name="connsiteY23" fmla="*/ 184159 h 184697"/>
                <a:gd name="connsiteX24" fmla="*/ 168184 w 168389"/>
                <a:gd name="connsiteY24" fmla="*/ 169453 h 184697"/>
                <a:gd name="connsiteX25" fmla="*/ 148904 w 168389"/>
                <a:gd name="connsiteY25" fmla="*/ 136931 h 184697"/>
                <a:gd name="connsiteX26" fmla="*/ 129015 w 168389"/>
                <a:gd name="connsiteY26" fmla="*/ 97124 h 184697"/>
                <a:gd name="connsiteX27" fmla="*/ 128852 w 168389"/>
                <a:gd name="connsiteY27" fmla="*/ 96923 h 184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389" h="184697">
                  <a:moveTo>
                    <a:pt x="128852" y="96923"/>
                  </a:moveTo>
                  <a:cubicBezTo>
                    <a:pt x="131004" y="92812"/>
                    <a:pt x="112008" y="81214"/>
                    <a:pt x="108233" y="77270"/>
                  </a:cubicBezTo>
                  <a:cubicBezTo>
                    <a:pt x="96056" y="64402"/>
                    <a:pt x="128527" y="76869"/>
                    <a:pt x="131207" y="71956"/>
                  </a:cubicBezTo>
                  <a:cubicBezTo>
                    <a:pt x="133886" y="67043"/>
                    <a:pt x="129705" y="50364"/>
                    <a:pt x="118259" y="48025"/>
                  </a:cubicBezTo>
                  <a:cubicBezTo>
                    <a:pt x="98207" y="43914"/>
                    <a:pt x="95772" y="41674"/>
                    <a:pt x="90617" y="29174"/>
                  </a:cubicBezTo>
                  <a:cubicBezTo>
                    <a:pt x="88952" y="25196"/>
                    <a:pt x="80470" y="19414"/>
                    <a:pt x="82499" y="15804"/>
                  </a:cubicBezTo>
                  <a:cubicBezTo>
                    <a:pt x="82702" y="13237"/>
                    <a:pt x="81728" y="10701"/>
                    <a:pt x="79779" y="8685"/>
                  </a:cubicBezTo>
                  <a:cubicBezTo>
                    <a:pt x="74625" y="1265"/>
                    <a:pt x="69389" y="6178"/>
                    <a:pt x="64964" y="730"/>
                  </a:cubicBezTo>
                  <a:cubicBezTo>
                    <a:pt x="59931" y="-5486"/>
                    <a:pt x="56440" y="17442"/>
                    <a:pt x="56399" y="17442"/>
                  </a:cubicBezTo>
                  <a:cubicBezTo>
                    <a:pt x="50798" y="28405"/>
                    <a:pt x="41300" y="6513"/>
                    <a:pt x="37404" y="7415"/>
                  </a:cubicBezTo>
                  <a:cubicBezTo>
                    <a:pt x="25917" y="10390"/>
                    <a:pt x="18935" y="17442"/>
                    <a:pt x="5541" y="16941"/>
                  </a:cubicBezTo>
                  <a:cubicBezTo>
                    <a:pt x="11101" y="22957"/>
                    <a:pt x="1157" y="35758"/>
                    <a:pt x="11101" y="38299"/>
                  </a:cubicBezTo>
                  <a:cubicBezTo>
                    <a:pt x="34359" y="44315"/>
                    <a:pt x="16703" y="53072"/>
                    <a:pt x="12765" y="61227"/>
                  </a:cubicBezTo>
                  <a:cubicBezTo>
                    <a:pt x="11630" y="63533"/>
                    <a:pt x="-12887" y="75532"/>
                    <a:pt x="8991" y="75365"/>
                  </a:cubicBezTo>
                  <a:cubicBezTo>
                    <a:pt x="17839" y="75365"/>
                    <a:pt x="25877" y="73025"/>
                    <a:pt x="35130" y="73895"/>
                  </a:cubicBezTo>
                  <a:cubicBezTo>
                    <a:pt x="45684" y="74931"/>
                    <a:pt x="43939" y="79276"/>
                    <a:pt x="51366" y="82484"/>
                  </a:cubicBezTo>
                  <a:cubicBezTo>
                    <a:pt x="65452" y="88601"/>
                    <a:pt x="75112" y="77939"/>
                    <a:pt x="90658" y="88534"/>
                  </a:cubicBezTo>
                  <a:cubicBezTo>
                    <a:pt x="98207" y="93681"/>
                    <a:pt x="111683" y="111195"/>
                    <a:pt x="107624" y="116376"/>
                  </a:cubicBezTo>
                  <a:cubicBezTo>
                    <a:pt x="105148" y="119718"/>
                    <a:pt x="101048" y="122259"/>
                    <a:pt x="99506" y="125868"/>
                  </a:cubicBezTo>
                  <a:cubicBezTo>
                    <a:pt x="97964" y="129478"/>
                    <a:pt x="105513" y="132553"/>
                    <a:pt x="108071" y="135595"/>
                  </a:cubicBezTo>
                  <a:cubicBezTo>
                    <a:pt x="116189" y="145622"/>
                    <a:pt x="113104" y="166043"/>
                    <a:pt x="98451" y="169286"/>
                  </a:cubicBezTo>
                  <a:cubicBezTo>
                    <a:pt x="100399" y="170990"/>
                    <a:pt x="106975" y="178410"/>
                    <a:pt x="108112" y="179313"/>
                  </a:cubicBezTo>
                  <a:cubicBezTo>
                    <a:pt x="114443" y="183491"/>
                    <a:pt x="118989" y="173597"/>
                    <a:pt x="125159" y="174433"/>
                  </a:cubicBezTo>
                  <a:cubicBezTo>
                    <a:pt x="135022" y="175836"/>
                    <a:pt x="141111" y="182655"/>
                    <a:pt x="151177" y="184159"/>
                  </a:cubicBezTo>
                  <a:cubicBezTo>
                    <a:pt x="162786" y="185930"/>
                    <a:pt x="166967" y="175536"/>
                    <a:pt x="168184" y="169453"/>
                  </a:cubicBezTo>
                  <a:cubicBezTo>
                    <a:pt x="170051" y="160061"/>
                    <a:pt x="153531" y="146992"/>
                    <a:pt x="148904" y="136931"/>
                  </a:cubicBezTo>
                  <a:cubicBezTo>
                    <a:pt x="144277" y="126871"/>
                    <a:pt x="124144" y="106850"/>
                    <a:pt x="129015" y="97124"/>
                  </a:cubicBezTo>
                  <a:cubicBezTo>
                    <a:pt x="130923" y="92979"/>
                    <a:pt x="126864" y="100934"/>
                    <a:pt x="128852" y="9692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AE8DA934-C4E1-482D-AE05-2185E8011603}"/>
                </a:ext>
              </a:extLst>
            </p:cNvPr>
            <p:cNvSpPr/>
            <p:nvPr/>
          </p:nvSpPr>
          <p:spPr>
            <a:xfrm>
              <a:off x="8867356" y="5460568"/>
              <a:ext cx="31242" cy="14235"/>
            </a:xfrm>
            <a:custGeom>
              <a:avLst/>
              <a:gdLst>
                <a:gd name="connsiteX0" fmla="*/ 7977 w 32065"/>
                <a:gd name="connsiteY0" fmla="*/ 16039 h 19491"/>
                <a:gd name="connsiteX1" fmla="*/ 32006 w 32065"/>
                <a:gd name="connsiteY1" fmla="*/ 9922 h 19491"/>
                <a:gd name="connsiteX2" fmla="*/ 20235 w 32065"/>
                <a:gd name="connsiteY2" fmla="*/ 7449 h 19491"/>
                <a:gd name="connsiteX3" fmla="*/ 14999 w 32065"/>
                <a:gd name="connsiteY3" fmla="*/ 9288 h 19491"/>
                <a:gd name="connsiteX4" fmla="*/ -60 w 32065"/>
                <a:gd name="connsiteY4" fmla="*/ -339 h 19491"/>
                <a:gd name="connsiteX5" fmla="*/ 7977 w 32065"/>
                <a:gd name="connsiteY5" fmla="*/ 16039 h 1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065" h="19491">
                  <a:moveTo>
                    <a:pt x="7977" y="16039"/>
                  </a:moveTo>
                  <a:cubicBezTo>
                    <a:pt x="23807" y="22156"/>
                    <a:pt x="30951" y="18813"/>
                    <a:pt x="32006" y="9922"/>
                  </a:cubicBezTo>
                  <a:cubicBezTo>
                    <a:pt x="28150" y="8920"/>
                    <a:pt x="24213" y="8084"/>
                    <a:pt x="20235" y="7449"/>
                  </a:cubicBezTo>
                  <a:cubicBezTo>
                    <a:pt x="18409" y="7884"/>
                    <a:pt x="16622" y="8485"/>
                    <a:pt x="14999" y="9288"/>
                  </a:cubicBezTo>
                  <a:cubicBezTo>
                    <a:pt x="9479" y="8352"/>
                    <a:pt x="4892" y="1801"/>
                    <a:pt x="-60" y="-339"/>
                  </a:cubicBezTo>
                  <a:cubicBezTo>
                    <a:pt x="793" y="2636"/>
                    <a:pt x="2132" y="13733"/>
                    <a:pt x="7977" y="1603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AF64C6A3-4245-4FA2-A15A-3F908C74DE66}"/>
                </a:ext>
              </a:extLst>
            </p:cNvPr>
            <p:cNvSpPr/>
            <p:nvPr/>
          </p:nvSpPr>
          <p:spPr>
            <a:xfrm>
              <a:off x="7148645" y="4633925"/>
              <a:ext cx="150789" cy="56270"/>
            </a:xfrm>
            <a:custGeom>
              <a:avLst/>
              <a:gdLst>
                <a:gd name="connsiteX0" fmla="*/ 151827 w 154761"/>
                <a:gd name="connsiteY0" fmla="*/ 34227 h 77047"/>
                <a:gd name="connsiteX1" fmla="*/ 127473 w 154761"/>
                <a:gd name="connsiteY1" fmla="*/ 11065 h 77047"/>
                <a:gd name="connsiteX2" fmla="*/ 108599 w 154761"/>
                <a:gd name="connsiteY2" fmla="*/ 15143 h 77047"/>
                <a:gd name="connsiteX3" fmla="*/ 101293 w 154761"/>
                <a:gd name="connsiteY3" fmla="*/ 17382 h 77047"/>
                <a:gd name="connsiteX4" fmla="*/ 91470 w 154761"/>
                <a:gd name="connsiteY4" fmla="*/ 14608 h 77047"/>
                <a:gd name="connsiteX5" fmla="*/ 53803 w 154761"/>
                <a:gd name="connsiteY5" fmla="*/ 2040 h 77047"/>
                <a:gd name="connsiteX6" fmla="*/ 62205 w 154761"/>
                <a:gd name="connsiteY6" fmla="*/ 11566 h 77047"/>
                <a:gd name="connsiteX7" fmla="*/ 40570 w 154761"/>
                <a:gd name="connsiteY7" fmla="*/ 11132 h 77047"/>
                <a:gd name="connsiteX8" fmla="*/ 19708 w 154761"/>
                <a:gd name="connsiteY8" fmla="*/ 10229 h 77047"/>
                <a:gd name="connsiteX9" fmla="*/ 33792 w 154761"/>
                <a:gd name="connsiteY9" fmla="*/ 35364 h 77047"/>
                <a:gd name="connsiteX10" fmla="*/ 48973 w 154761"/>
                <a:gd name="connsiteY10" fmla="*/ 45391 h 77047"/>
                <a:gd name="connsiteX11" fmla="*/ 69836 w 154761"/>
                <a:gd name="connsiteY11" fmla="*/ 54315 h 77047"/>
                <a:gd name="connsiteX12" fmla="*/ 103363 w 154761"/>
                <a:gd name="connsiteY12" fmla="*/ 55351 h 77047"/>
                <a:gd name="connsiteX13" fmla="*/ 118787 w 154761"/>
                <a:gd name="connsiteY13" fmla="*/ 76709 h 77047"/>
                <a:gd name="connsiteX14" fmla="*/ 151868 w 154761"/>
                <a:gd name="connsiteY14" fmla="*/ 34094 h 77047"/>
                <a:gd name="connsiteX15" fmla="*/ 14634 w 154761"/>
                <a:gd name="connsiteY15" fmla="*/ 42216 h 77047"/>
                <a:gd name="connsiteX16" fmla="*/ -60 w 154761"/>
                <a:gd name="connsiteY16" fmla="*/ 36500 h 77047"/>
                <a:gd name="connsiteX17" fmla="*/ 33995 w 154761"/>
                <a:gd name="connsiteY17" fmla="*/ 56554 h 77047"/>
                <a:gd name="connsiteX18" fmla="*/ 14634 w 154761"/>
                <a:gd name="connsiteY18" fmla="*/ 42082 h 77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4761" h="77047">
                  <a:moveTo>
                    <a:pt x="151827" y="34227"/>
                  </a:moveTo>
                  <a:cubicBezTo>
                    <a:pt x="145982" y="26206"/>
                    <a:pt x="135591" y="18518"/>
                    <a:pt x="127473" y="11065"/>
                  </a:cubicBezTo>
                  <a:cubicBezTo>
                    <a:pt x="123658" y="15310"/>
                    <a:pt x="115581" y="13939"/>
                    <a:pt x="108599" y="15143"/>
                  </a:cubicBezTo>
                  <a:cubicBezTo>
                    <a:pt x="106367" y="16246"/>
                    <a:pt x="103891" y="17004"/>
                    <a:pt x="101293" y="17382"/>
                  </a:cubicBezTo>
                  <a:cubicBezTo>
                    <a:pt x="98167" y="16149"/>
                    <a:pt x="94879" y="15219"/>
                    <a:pt x="91470" y="14608"/>
                  </a:cubicBezTo>
                  <a:cubicBezTo>
                    <a:pt x="79983" y="15143"/>
                    <a:pt x="68862" y="-7586"/>
                    <a:pt x="53803" y="2040"/>
                  </a:cubicBezTo>
                  <a:cubicBezTo>
                    <a:pt x="48080" y="5717"/>
                    <a:pt x="60175" y="8157"/>
                    <a:pt x="62205" y="11566"/>
                  </a:cubicBezTo>
                  <a:cubicBezTo>
                    <a:pt x="65330" y="16780"/>
                    <a:pt x="43127" y="12034"/>
                    <a:pt x="40570" y="11132"/>
                  </a:cubicBezTo>
                  <a:cubicBezTo>
                    <a:pt x="32128" y="8023"/>
                    <a:pt x="6150" y="-4076"/>
                    <a:pt x="19708" y="10229"/>
                  </a:cubicBezTo>
                  <a:cubicBezTo>
                    <a:pt x="27095" y="18017"/>
                    <a:pt x="26648" y="27376"/>
                    <a:pt x="33792" y="35364"/>
                  </a:cubicBezTo>
                  <a:cubicBezTo>
                    <a:pt x="37323" y="39341"/>
                    <a:pt x="44995" y="41714"/>
                    <a:pt x="48973" y="45391"/>
                  </a:cubicBezTo>
                  <a:cubicBezTo>
                    <a:pt x="57496" y="53647"/>
                    <a:pt x="48648" y="58760"/>
                    <a:pt x="69836" y="54315"/>
                  </a:cubicBezTo>
                  <a:cubicBezTo>
                    <a:pt x="78563" y="52477"/>
                    <a:pt x="105717" y="43018"/>
                    <a:pt x="103363" y="55351"/>
                  </a:cubicBezTo>
                  <a:cubicBezTo>
                    <a:pt x="101171" y="66615"/>
                    <a:pt x="94230" y="68152"/>
                    <a:pt x="118787" y="76709"/>
                  </a:cubicBezTo>
                  <a:cubicBezTo>
                    <a:pt x="119883" y="60933"/>
                    <a:pt x="166480" y="53947"/>
                    <a:pt x="151868" y="34094"/>
                  </a:cubicBezTo>
                  <a:close/>
                  <a:moveTo>
                    <a:pt x="14634" y="42216"/>
                  </a:moveTo>
                  <a:cubicBezTo>
                    <a:pt x="9925" y="40023"/>
                    <a:pt x="5014" y="38115"/>
                    <a:pt x="-60" y="36500"/>
                  </a:cubicBezTo>
                  <a:cubicBezTo>
                    <a:pt x="4648" y="46527"/>
                    <a:pt x="15121" y="54282"/>
                    <a:pt x="33995" y="56554"/>
                  </a:cubicBezTo>
                  <a:cubicBezTo>
                    <a:pt x="37648" y="47864"/>
                    <a:pt x="24456" y="45725"/>
                    <a:pt x="14634" y="4208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3253DB47-6118-4A9B-AE25-A334401EBFA4}"/>
                </a:ext>
              </a:extLst>
            </p:cNvPr>
            <p:cNvSpPr/>
            <p:nvPr/>
          </p:nvSpPr>
          <p:spPr>
            <a:xfrm>
              <a:off x="6402471" y="4578836"/>
              <a:ext cx="80984" cy="22848"/>
            </a:xfrm>
            <a:custGeom>
              <a:avLst/>
              <a:gdLst>
                <a:gd name="connsiteX0" fmla="*/ 18027 w 83118"/>
                <a:gd name="connsiteY0" fmla="*/ 30946 h 31284"/>
                <a:gd name="connsiteX1" fmla="*/ 36090 w 83118"/>
                <a:gd name="connsiteY1" fmla="*/ 30946 h 31284"/>
                <a:gd name="connsiteX2" fmla="*/ 51514 w 83118"/>
                <a:gd name="connsiteY2" fmla="*/ 26400 h 31284"/>
                <a:gd name="connsiteX3" fmla="*/ 67141 w 83118"/>
                <a:gd name="connsiteY3" fmla="*/ 25197 h 31284"/>
                <a:gd name="connsiteX4" fmla="*/ 61743 w 83118"/>
                <a:gd name="connsiteY4" fmla="*/ -339 h 31284"/>
                <a:gd name="connsiteX5" fmla="*/ 4389 w 83118"/>
                <a:gd name="connsiteY5" fmla="*/ 2302 h 31284"/>
                <a:gd name="connsiteX6" fmla="*/ 18027 w 83118"/>
                <a:gd name="connsiteY6" fmla="*/ 30946 h 31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18" h="31284">
                  <a:moveTo>
                    <a:pt x="18027" y="30946"/>
                  </a:moveTo>
                  <a:cubicBezTo>
                    <a:pt x="24035" y="30612"/>
                    <a:pt x="30083" y="30612"/>
                    <a:pt x="36090" y="30946"/>
                  </a:cubicBezTo>
                  <a:cubicBezTo>
                    <a:pt x="43477" y="30712"/>
                    <a:pt x="45832" y="28105"/>
                    <a:pt x="51514" y="26400"/>
                  </a:cubicBezTo>
                  <a:cubicBezTo>
                    <a:pt x="54721" y="25464"/>
                    <a:pt x="63082" y="25966"/>
                    <a:pt x="67141" y="25197"/>
                  </a:cubicBezTo>
                  <a:cubicBezTo>
                    <a:pt x="107041" y="17509"/>
                    <a:pt x="59023" y="11827"/>
                    <a:pt x="61743" y="-339"/>
                  </a:cubicBezTo>
                  <a:cubicBezTo>
                    <a:pt x="50540" y="62"/>
                    <a:pt x="13360" y="5911"/>
                    <a:pt x="4389" y="2302"/>
                  </a:cubicBezTo>
                  <a:cubicBezTo>
                    <a:pt x="-3810" y="14836"/>
                    <a:pt x="-1455" y="22289"/>
                    <a:pt x="18027" y="3094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99C3A11B-3572-45F5-9FF9-4FD085FFC10C}"/>
                </a:ext>
              </a:extLst>
            </p:cNvPr>
            <p:cNvSpPr/>
            <p:nvPr/>
          </p:nvSpPr>
          <p:spPr>
            <a:xfrm>
              <a:off x="5720481" y="5006557"/>
              <a:ext cx="118931" cy="80952"/>
            </a:xfrm>
            <a:custGeom>
              <a:avLst/>
              <a:gdLst>
                <a:gd name="connsiteX0" fmla="*/ 101588 w 122064"/>
                <a:gd name="connsiteY0" fmla="*/ 44115 h 110842"/>
                <a:gd name="connsiteX1" fmla="*/ 99640 w 122064"/>
                <a:gd name="connsiteY1" fmla="*/ 20350 h 110842"/>
                <a:gd name="connsiteX2" fmla="*/ 85556 w 122064"/>
                <a:gd name="connsiteY2" fmla="*/ -339 h 110842"/>
                <a:gd name="connsiteX3" fmla="*/ 75530 w 122064"/>
                <a:gd name="connsiteY3" fmla="*/ 3505 h 110842"/>
                <a:gd name="connsiteX4" fmla="*/ 57143 w 122064"/>
                <a:gd name="connsiteY4" fmla="*/ 2870 h 110842"/>
                <a:gd name="connsiteX5" fmla="*/ 10546 w 122064"/>
                <a:gd name="connsiteY5" fmla="*/ 5009 h 110842"/>
                <a:gd name="connsiteX6" fmla="*/ 19638 w 122064"/>
                <a:gd name="connsiteY6" fmla="*/ 52504 h 110842"/>
                <a:gd name="connsiteX7" fmla="*/ 9247 w 122064"/>
                <a:gd name="connsiteY7" fmla="*/ 66943 h 110842"/>
                <a:gd name="connsiteX8" fmla="*/ -8 w 122064"/>
                <a:gd name="connsiteY8" fmla="*/ 81482 h 110842"/>
                <a:gd name="connsiteX9" fmla="*/ 8922 w 122064"/>
                <a:gd name="connsiteY9" fmla="*/ 95420 h 110842"/>
                <a:gd name="connsiteX10" fmla="*/ 21464 w 122064"/>
                <a:gd name="connsiteY10" fmla="*/ 109257 h 110842"/>
                <a:gd name="connsiteX11" fmla="*/ 64571 w 122064"/>
                <a:gd name="connsiteY11" fmla="*/ 104177 h 110842"/>
                <a:gd name="connsiteX12" fmla="*/ 122005 w 122064"/>
                <a:gd name="connsiteY12" fmla="*/ 86496 h 110842"/>
                <a:gd name="connsiteX13" fmla="*/ 101710 w 122064"/>
                <a:gd name="connsiteY13" fmla="*/ 44115 h 110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2064" h="110842">
                  <a:moveTo>
                    <a:pt x="101588" y="44115"/>
                  </a:moveTo>
                  <a:cubicBezTo>
                    <a:pt x="96353" y="37129"/>
                    <a:pt x="99194" y="27804"/>
                    <a:pt x="99640" y="20350"/>
                  </a:cubicBezTo>
                  <a:cubicBezTo>
                    <a:pt x="100087" y="12897"/>
                    <a:pt x="88316" y="7416"/>
                    <a:pt x="85556" y="-339"/>
                  </a:cubicBezTo>
                  <a:cubicBezTo>
                    <a:pt x="78696" y="1767"/>
                    <a:pt x="82917" y="4407"/>
                    <a:pt x="75530" y="3505"/>
                  </a:cubicBezTo>
                  <a:cubicBezTo>
                    <a:pt x="69442" y="2940"/>
                    <a:pt x="63272" y="2730"/>
                    <a:pt x="57143" y="2870"/>
                  </a:cubicBezTo>
                  <a:cubicBezTo>
                    <a:pt x="41557" y="2529"/>
                    <a:pt x="25970" y="3244"/>
                    <a:pt x="10546" y="5009"/>
                  </a:cubicBezTo>
                  <a:cubicBezTo>
                    <a:pt x="-2605" y="6814"/>
                    <a:pt x="19192" y="45585"/>
                    <a:pt x="19638" y="52504"/>
                  </a:cubicBezTo>
                  <a:cubicBezTo>
                    <a:pt x="19881" y="56281"/>
                    <a:pt x="10830" y="62531"/>
                    <a:pt x="9247" y="66943"/>
                  </a:cubicBezTo>
                  <a:cubicBezTo>
                    <a:pt x="7420" y="71856"/>
                    <a:pt x="682" y="76536"/>
                    <a:pt x="-8" y="81482"/>
                  </a:cubicBezTo>
                  <a:cubicBezTo>
                    <a:pt x="-698" y="86429"/>
                    <a:pt x="5675" y="91743"/>
                    <a:pt x="8922" y="95420"/>
                  </a:cubicBezTo>
                  <a:cubicBezTo>
                    <a:pt x="14320" y="101503"/>
                    <a:pt x="11114" y="107586"/>
                    <a:pt x="21464" y="109257"/>
                  </a:cubicBezTo>
                  <a:cubicBezTo>
                    <a:pt x="39730" y="112232"/>
                    <a:pt x="46955" y="109625"/>
                    <a:pt x="64571" y="104177"/>
                  </a:cubicBezTo>
                  <a:cubicBezTo>
                    <a:pt x="83445" y="98294"/>
                    <a:pt x="103821" y="92980"/>
                    <a:pt x="122005" y="86496"/>
                  </a:cubicBezTo>
                  <a:cubicBezTo>
                    <a:pt x="109301" y="73126"/>
                    <a:pt x="111980" y="57952"/>
                    <a:pt x="101710" y="44115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78AEE899-FB07-4B4F-AA2E-CBE7AACE3580}"/>
                </a:ext>
              </a:extLst>
            </p:cNvPr>
            <p:cNvSpPr/>
            <p:nvPr/>
          </p:nvSpPr>
          <p:spPr>
            <a:xfrm>
              <a:off x="8012039" y="5197465"/>
              <a:ext cx="56082" cy="48441"/>
            </a:xfrm>
            <a:custGeom>
              <a:avLst/>
              <a:gdLst>
                <a:gd name="connsiteX0" fmla="*/ 26706 w 57559"/>
                <a:gd name="connsiteY0" fmla="*/ -162 h 66327"/>
                <a:gd name="connsiteX1" fmla="*/ 647 w 57559"/>
                <a:gd name="connsiteY1" fmla="*/ 38209 h 66327"/>
                <a:gd name="connsiteX2" fmla="*/ 34986 w 57559"/>
                <a:gd name="connsiteY2" fmla="*/ 64246 h 66327"/>
                <a:gd name="connsiteX3" fmla="*/ 53739 w 57559"/>
                <a:gd name="connsiteY3" fmla="*/ 30822 h 66327"/>
                <a:gd name="connsiteX4" fmla="*/ 26706 w 57559"/>
                <a:gd name="connsiteY4" fmla="*/ -162 h 6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559" h="66327">
                  <a:moveTo>
                    <a:pt x="26706" y="-162"/>
                  </a:moveTo>
                  <a:cubicBezTo>
                    <a:pt x="10227" y="-3136"/>
                    <a:pt x="2109" y="32259"/>
                    <a:pt x="647" y="38209"/>
                  </a:cubicBezTo>
                  <a:cubicBezTo>
                    <a:pt x="-2762" y="52547"/>
                    <a:pt x="5762" y="71933"/>
                    <a:pt x="34986" y="64246"/>
                  </a:cubicBezTo>
                  <a:cubicBezTo>
                    <a:pt x="57189" y="58463"/>
                    <a:pt x="61938" y="46163"/>
                    <a:pt x="53739" y="30822"/>
                  </a:cubicBezTo>
                  <a:cubicBezTo>
                    <a:pt x="50735" y="25140"/>
                    <a:pt x="38477" y="1944"/>
                    <a:pt x="26706" y="-16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7F83DE39-47C4-41AF-AA8B-CBA503952847}"/>
                </a:ext>
              </a:extLst>
            </p:cNvPr>
            <p:cNvSpPr/>
            <p:nvPr/>
          </p:nvSpPr>
          <p:spPr>
            <a:xfrm>
              <a:off x="5886002" y="4968978"/>
              <a:ext cx="333057" cy="118991"/>
            </a:xfrm>
            <a:custGeom>
              <a:avLst/>
              <a:gdLst>
                <a:gd name="connsiteX0" fmla="*/ 210355 w 341831"/>
                <a:gd name="connsiteY0" fmla="*/ 117663 h 162926"/>
                <a:gd name="connsiteX1" fmla="*/ 231543 w 341831"/>
                <a:gd name="connsiteY1" fmla="*/ 115557 h 162926"/>
                <a:gd name="connsiteX2" fmla="*/ 249484 w 341831"/>
                <a:gd name="connsiteY2" fmla="*/ 126420 h 162926"/>
                <a:gd name="connsiteX3" fmla="*/ 280454 w 341831"/>
                <a:gd name="connsiteY3" fmla="*/ 92562 h 162926"/>
                <a:gd name="connsiteX4" fmla="*/ 294660 w 341831"/>
                <a:gd name="connsiteY4" fmla="*/ 80997 h 162926"/>
                <a:gd name="connsiteX5" fmla="*/ 305132 w 341831"/>
                <a:gd name="connsiteY5" fmla="*/ 60943 h 162926"/>
                <a:gd name="connsiteX6" fmla="*/ 334073 w 341831"/>
                <a:gd name="connsiteY6" fmla="*/ 40354 h 162926"/>
                <a:gd name="connsiteX7" fmla="*/ 332895 w 341831"/>
                <a:gd name="connsiteY7" fmla="*/ 24712 h 162926"/>
                <a:gd name="connsiteX8" fmla="*/ 326523 w 341831"/>
                <a:gd name="connsiteY8" fmla="*/ 17091 h 162926"/>
                <a:gd name="connsiteX9" fmla="*/ 320231 w 341831"/>
                <a:gd name="connsiteY9" fmla="*/ 5794 h 162926"/>
                <a:gd name="connsiteX10" fmla="*/ 299003 w 341831"/>
                <a:gd name="connsiteY10" fmla="*/ 3287 h 162926"/>
                <a:gd name="connsiteX11" fmla="*/ 266531 w 341831"/>
                <a:gd name="connsiteY11" fmla="*/ 8167 h 162926"/>
                <a:gd name="connsiteX12" fmla="*/ 234344 w 341831"/>
                <a:gd name="connsiteY12" fmla="*/ 6262 h 162926"/>
                <a:gd name="connsiteX13" fmla="*/ 218676 w 341831"/>
                <a:gd name="connsiteY13" fmla="*/ 6997 h 162926"/>
                <a:gd name="connsiteX14" fmla="*/ 198137 w 341831"/>
                <a:gd name="connsiteY14" fmla="*/ 15253 h 162926"/>
                <a:gd name="connsiteX15" fmla="*/ 134412 w 341831"/>
                <a:gd name="connsiteY15" fmla="*/ 9972 h 162926"/>
                <a:gd name="connsiteX16" fmla="*/ 111113 w 341831"/>
                <a:gd name="connsiteY16" fmla="*/ 3287 h 162926"/>
                <a:gd name="connsiteX17" fmla="*/ 77099 w 341831"/>
                <a:gd name="connsiteY17" fmla="*/ 1315 h 162926"/>
                <a:gd name="connsiteX18" fmla="*/ 47793 w 341831"/>
                <a:gd name="connsiteY18" fmla="*/ 2953 h 162926"/>
                <a:gd name="connsiteX19" fmla="*/ 37199 w 341831"/>
                <a:gd name="connsiteY19" fmla="*/ 17826 h 162926"/>
                <a:gd name="connsiteX20" fmla="*/ 26889 w 341831"/>
                <a:gd name="connsiteY20" fmla="*/ 55328 h 162926"/>
                <a:gd name="connsiteX21" fmla="*/ 5823 w 341831"/>
                <a:gd name="connsiteY21" fmla="*/ 84172 h 162926"/>
                <a:gd name="connsiteX22" fmla="*/ 15037 w 341831"/>
                <a:gd name="connsiteY22" fmla="*/ 126988 h 162926"/>
                <a:gd name="connsiteX23" fmla="*/ 79981 w 341831"/>
                <a:gd name="connsiteY23" fmla="*/ 143031 h 162926"/>
                <a:gd name="connsiteX24" fmla="*/ 94390 w 341831"/>
                <a:gd name="connsiteY24" fmla="*/ 160545 h 162926"/>
                <a:gd name="connsiteX25" fmla="*/ 127430 w 341831"/>
                <a:gd name="connsiteY25" fmla="*/ 158105 h 162926"/>
                <a:gd name="connsiteX26" fmla="*/ 158238 w 341831"/>
                <a:gd name="connsiteY26" fmla="*/ 156802 h 162926"/>
                <a:gd name="connsiteX27" fmla="*/ 176097 w 341831"/>
                <a:gd name="connsiteY27" fmla="*/ 142162 h 162926"/>
                <a:gd name="connsiteX28" fmla="*/ 204510 w 341831"/>
                <a:gd name="connsiteY28" fmla="*/ 120571 h 162926"/>
                <a:gd name="connsiteX29" fmla="*/ 210314 w 341831"/>
                <a:gd name="connsiteY29" fmla="*/ 117830 h 162926"/>
                <a:gd name="connsiteX30" fmla="*/ 210355 w 341831"/>
                <a:gd name="connsiteY30" fmla="*/ 117663 h 162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1831" h="162926">
                  <a:moveTo>
                    <a:pt x="210355" y="117663"/>
                  </a:moveTo>
                  <a:cubicBezTo>
                    <a:pt x="217336" y="116463"/>
                    <a:pt x="224440" y="115758"/>
                    <a:pt x="231543" y="115557"/>
                  </a:cubicBezTo>
                  <a:cubicBezTo>
                    <a:pt x="238890" y="116025"/>
                    <a:pt x="247779" y="126486"/>
                    <a:pt x="249484" y="126420"/>
                  </a:cubicBezTo>
                  <a:cubicBezTo>
                    <a:pt x="257602" y="126019"/>
                    <a:pt x="278180" y="97274"/>
                    <a:pt x="280454" y="92562"/>
                  </a:cubicBezTo>
                  <a:cubicBezTo>
                    <a:pt x="282402" y="88517"/>
                    <a:pt x="294619" y="84272"/>
                    <a:pt x="294660" y="80997"/>
                  </a:cubicBezTo>
                  <a:cubicBezTo>
                    <a:pt x="294660" y="73510"/>
                    <a:pt x="307527" y="68263"/>
                    <a:pt x="305132" y="60943"/>
                  </a:cubicBezTo>
                  <a:cubicBezTo>
                    <a:pt x="302332" y="52453"/>
                    <a:pt x="323113" y="42393"/>
                    <a:pt x="334073" y="40354"/>
                  </a:cubicBezTo>
                  <a:cubicBezTo>
                    <a:pt x="347954" y="37747"/>
                    <a:pt x="340242" y="27954"/>
                    <a:pt x="332895" y="24712"/>
                  </a:cubicBezTo>
                  <a:cubicBezTo>
                    <a:pt x="328065" y="22573"/>
                    <a:pt x="326117" y="20467"/>
                    <a:pt x="326523" y="17091"/>
                  </a:cubicBezTo>
                  <a:cubicBezTo>
                    <a:pt x="327416" y="9471"/>
                    <a:pt x="325752" y="11810"/>
                    <a:pt x="320231" y="5794"/>
                  </a:cubicBezTo>
                  <a:cubicBezTo>
                    <a:pt x="314711" y="-222"/>
                    <a:pt x="307689" y="-2696"/>
                    <a:pt x="299003" y="3287"/>
                  </a:cubicBezTo>
                  <a:cubicBezTo>
                    <a:pt x="288896" y="10239"/>
                    <a:pt x="281712" y="12345"/>
                    <a:pt x="266531" y="8167"/>
                  </a:cubicBezTo>
                  <a:cubicBezTo>
                    <a:pt x="256100" y="5293"/>
                    <a:pt x="245668" y="6061"/>
                    <a:pt x="234344" y="6262"/>
                  </a:cubicBezTo>
                  <a:cubicBezTo>
                    <a:pt x="229107" y="5881"/>
                    <a:pt x="223831" y="6128"/>
                    <a:pt x="218676" y="6997"/>
                  </a:cubicBezTo>
                  <a:cubicBezTo>
                    <a:pt x="211167" y="9270"/>
                    <a:pt x="206824" y="14350"/>
                    <a:pt x="198137" y="15253"/>
                  </a:cubicBezTo>
                  <a:cubicBezTo>
                    <a:pt x="172850" y="17826"/>
                    <a:pt x="158725" y="4089"/>
                    <a:pt x="134412" y="9972"/>
                  </a:cubicBezTo>
                  <a:cubicBezTo>
                    <a:pt x="117607" y="14050"/>
                    <a:pt x="121261" y="9805"/>
                    <a:pt x="111113" y="3287"/>
                  </a:cubicBezTo>
                  <a:cubicBezTo>
                    <a:pt x="105836" y="-55"/>
                    <a:pt x="82700" y="-1860"/>
                    <a:pt x="77099" y="1315"/>
                  </a:cubicBezTo>
                  <a:cubicBezTo>
                    <a:pt x="69346" y="5694"/>
                    <a:pt x="57494" y="1649"/>
                    <a:pt x="47793" y="2953"/>
                  </a:cubicBezTo>
                  <a:cubicBezTo>
                    <a:pt x="35251" y="4624"/>
                    <a:pt x="43734" y="13916"/>
                    <a:pt x="37199" y="17826"/>
                  </a:cubicBezTo>
                  <a:cubicBezTo>
                    <a:pt x="17838" y="29892"/>
                    <a:pt x="26077" y="40855"/>
                    <a:pt x="26889" y="55328"/>
                  </a:cubicBezTo>
                  <a:cubicBezTo>
                    <a:pt x="27620" y="67995"/>
                    <a:pt x="16295" y="74179"/>
                    <a:pt x="5823" y="84172"/>
                  </a:cubicBezTo>
                  <a:cubicBezTo>
                    <a:pt x="-3391" y="92963"/>
                    <a:pt x="-2822" y="121272"/>
                    <a:pt x="15037" y="126988"/>
                  </a:cubicBezTo>
                  <a:cubicBezTo>
                    <a:pt x="38336" y="134408"/>
                    <a:pt x="63745" y="126754"/>
                    <a:pt x="79981" y="143031"/>
                  </a:cubicBezTo>
                  <a:cubicBezTo>
                    <a:pt x="85947" y="149047"/>
                    <a:pt x="85014" y="155231"/>
                    <a:pt x="94390" y="160545"/>
                  </a:cubicBezTo>
                  <a:cubicBezTo>
                    <a:pt x="104497" y="166227"/>
                    <a:pt x="116268" y="158272"/>
                    <a:pt x="127430" y="158105"/>
                  </a:cubicBezTo>
                  <a:cubicBezTo>
                    <a:pt x="137740" y="158222"/>
                    <a:pt x="148009" y="157788"/>
                    <a:pt x="158238" y="156802"/>
                  </a:cubicBezTo>
                  <a:cubicBezTo>
                    <a:pt x="172241" y="155064"/>
                    <a:pt x="173013" y="150317"/>
                    <a:pt x="176097" y="142162"/>
                  </a:cubicBezTo>
                  <a:cubicBezTo>
                    <a:pt x="179629" y="132837"/>
                    <a:pt x="192942" y="127021"/>
                    <a:pt x="204510" y="120571"/>
                  </a:cubicBezTo>
                  <a:cubicBezTo>
                    <a:pt x="206255" y="119384"/>
                    <a:pt x="208204" y="118458"/>
                    <a:pt x="210314" y="117830"/>
                  </a:cubicBezTo>
                  <a:cubicBezTo>
                    <a:pt x="213927" y="117161"/>
                    <a:pt x="207148" y="118197"/>
                    <a:pt x="210355" y="11766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E34C047-1DF2-4581-89AE-FFF782371B12}"/>
                </a:ext>
              </a:extLst>
            </p:cNvPr>
            <p:cNvSpPr/>
            <p:nvPr/>
          </p:nvSpPr>
          <p:spPr>
            <a:xfrm>
              <a:off x="6241258" y="5432008"/>
              <a:ext cx="400699" cy="166725"/>
            </a:xfrm>
            <a:custGeom>
              <a:avLst/>
              <a:gdLst>
                <a:gd name="connsiteX0" fmla="*/ 391997 w 411255"/>
                <a:gd name="connsiteY0" fmla="*/ 94083 h 228285"/>
                <a:gd name="connsiteX1" fmla="*/ 377953 w 411255"/>
                <a:gd name="connsiteY1" fmla="*/ 99865 h 228285"/>
                <a:gd name="connsiteX2" fmla="*/ 359647 w 411255"/>
                <a:gd name="connsiteY2" fmla="*/ 86496 h 228285"/>
                <a:gd name="connsiteX3" fmla="*/ 366994 w 411255"/>
                <a:gd name="connsiteY3" fmla="*/ 74831 h 228285"/>
                <a:gd name="connsiteX4" fmla="*/ 391023 w 411255"/>
                <a:gd name="connsiteY4" fmla="*/ 77337 h 228285"/>
                <a:gd name="connsiteX5" fmla="*/ 395082 w 411255"/>
                <a:gd name="connsiteY5" fmla="*/ 51033 h 228285"/>
                <a:gd name="connsiteX6" fmla="*/ 383636 w 411255"/>
                <a:gd name="connsiteY6" fmla="*/ 24863 h 228285"/>
                <a:gd name="connsiteX7" fmla="*/ 362245 w 411255"/>
                <a:gd name="connsiteY7" fmla="*/ 7081 h 228285"/>
                <a:gd name="connsiteX8" fmla="*/ 324862 w 411255"/>
                <a:gd name="connsiteY8" fmla="*/ -339 h 228285"/>
                <a:gd name="connsiteX9" fmla="*/ 296164 w 411255"/>
                <a:gd name="connsiteY9" fmla="*/ 15304 h 228285"/>
                <a:gd name="connsiteX10" fmla="*/ 272703 w 411255"/>
                <a:gd name="connsiteY10" fmla="*/ 22289 h 228285"/>
                <a:gd name="connsiteX11" fmla="*/ 260039 w 411255"/>
                <a:gd name="connsiteY11" fmla="*/ 37764 h 228285"/>
                <a:gd name="connsiteX12" fmla="*/ 237878 w 411255"/>
                <a:gd name="connsiteY12" fmla="*/ 42209 h 228285"/>
                <a:gd name="connsiteX13" fmla="*/ 230044 w 411255"/>
                <a:gd name="connsiteY13" fmla="*/ 56448 h 228285"/>
                <a:gd name="connsiteX14" fmla="*/ 186491 w 411255"/>
                <a:gd name="connsiteY14" fmla="*/ 57016 h 228285"/>
                <a:gd name="connsiteX15" fmla="*/ 158809 w 411255"/>
                <a:gd name="connsiteY15" fmla="*/ 60793 h 228285"/>
                <a:gd name="connsiteX16" fmla="*/ 125078 w 411255"/>
                <a:gd name="connsiteY16" fmla="*/ 79343 h 228285"/>
                <a:gd name="connsiteX17" fmla="*/ 104784 w 411255"/>
                <a:gd name="connsiteY17" fmla="*/ 76836 h 228285"/>
                <a:gd name="connsiteX18" fmla="*/ 107828 w 411255"/>
                <a:gd name="connsiteY18" fmla="*/ 67778 h 228285"/>
                <a:gd name="connsiteX19" fmla="*/ 90537 w 411255"/>
                <a:gd name="connsiteY19" fmla="*/ 41040 h 228285"/>
                <a:gd name="connsiteX20" fmla="*/ 88304 w 411255"/>
                <a:gd name="connsiteY20" fmla="*/ 92178 h 228285"/>
                <a:gd name="connsiteX21" fmla="*/ 73165 w 411255"/>
                <a:gd name="connsiteY21" fmla="*/ 112499 h 228285"/>
                <a:gd name="connsiteX22" fmla="*/ 30789 w 411255"/>
                <a:gd name="connsiteY22" fmla="*/ 110661 h 228285"/>
                <a:gd name="connsiteX23" fmla="*/ 18084 w 411255"/>
                <a:gd name="connsiteY23" fmla="*/ 99665 h 228285"/>
                <a:gd name="connsiteX24" fmla="*/ -60 w 411255"/>
                <a:gd name="connsiteY24" fmla="*/ 107553 h 228285"/>
                <a:gd name="connsiteX25" fmla="*/ 20479 w 411255"/>
                <a:gd name="connsiteY25" fmla="*/ 139606 h 228285"/>
                <a:gd name="connsiteX26" fmla="*/ 39921 w 411255"/>
                <a:gd name="connsiteY26" fmla="*/ 166612 h 228285"/>
                <a:gd name="connsiteX27" fmla="*/ 44995 w 411255"/>
                <a:gd name="connsiteY27" fmla="*/ 178277 h 228285"/>
                <a:gd name="connsiteX28" fmla="*/ 37121 w 411255"/>
                <a:gd name="connsiteY28" fmla="*/ 186131 h 228285"/>
                <a:gd name="connsiteX29" fmla="*/ 44954 w 411255"/>
                <a:gd name="connsiteY29" fmla="*/ 210798 h 228285"/>
                <a:gd name="connsiteX30" fmla="*/ 67725 w 411255"/>
                <a:gd name="connsiteY30" fmla="*/ 222797 h 228285"/>
                <a:gd name="connsiteX31" fmla="*/ 96138 w 411255"/>
                <a:gd name="connsiteY31" fmla="*/ 222563 h 228285"/>
                <a:gd name="connsiteX32" fmla="*/ 134292 w 411255"/>
                <a:gd name="connsiteY32" fmla="*/ 217483 h 228285"/>
                <a:gd name="connsiteX33" fmla="*/ 186044 w 411255"/>
                <a:gd name="connsiteY33" fmla="*/ 218753 h 228285"/>
                <a:gd name="connsiteX34" fmla="*/ 202646 w 411255"/>
                <a:gd name="connsiteY34" fmla="*/ 216413 h 228285"/>
                <a:gd name="connsiteX35" fmla="*/ 217014 w 411255"/>
                <a:gd name="connsiteY35" fmla="*/ 217048 h 228285"/>
                <a:gd name="connsiteX36" fmla="*/ 223712 w 411255"/>
                <a:gd name="connsiteY36" fmla="*/ 210932 h 228285"/>
                <a:gd name="connsiteX37" fmla="*/ 242870 w 411255"/>
                <a:gd name="connsiteY37" fmla="*/ 210932 h 228285"/>
                <a:gd name="connsiteX38" fmla="*/ 312563 w 411255"/>
                <a:gd name="connsiteY38" fmla="*/ 179514 h 228285"/>
                <a:gd name="connsiteX39" fmla="*/ 365654 w 411255"/>
                <a:gd name="connsiteY39" fmla="*/ 138904 h 228285"/>
                <a:gd name="connsiteX40" fmla="*/ 396178 w 411255"/>
                <a:gd name="connsiteY40" fmla="*/ 121356 h 228285"/>
                <a:gd name="connsiteX41" fmla="*/ 411196 w 411255"/>
                <a:gd name="connsiteY41" fmla="*/ 94283 h 228285"/>
                <a:gd name="connsiteX42" fmla="*/ 391997 w 411255"/>
                <a:gd name="connsiteY42" fmla="*/ 94083 h 228285"/>
                <a:gd name="connsiteX43" fmla="*/ 308463 w 411255"/>
                <a:gd name="connsiteY43" fmla="*/ 145154 h 228285"/>
                <a:gd name="connsiteX44" fmla="*/ 294135 w 411255"/>
                <a:gd name="connsiteY44" fmla="*/ 145956 h 228285"/>
                <a:gd name="connsiteX45" fmla="*/ 279847 w 411255"/>
                <a:gd name="connsiteY45" fmla="*/ 155081 h 228285"/>
                <a:gd name="connsiteX46" fmla="*/ 261622 w 411255"/>
                <a:gd name="connsiteY46" fmla="*/ 138803 h 228285"/>
                <a:gd name="connsiteX47" fmla="*/ 298438 w 411255"/>
                <a:gd name="connsiteY47" fmla="*/ 118081 h 228285"/>
                <a:gd name="connsiteX48" fmla="*/ 315283 w 411255"/>
                <a:gd name="connsiteY48" fmla="*/ 129111 h 228285"/>
                <a:gd name="connsiteX49" fmla="*/ 308463 w 411255"/>
                <a:gd name="connsiteY49" fmla="*/ 145154 h 22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11255" h="228285">
                  <a:moveTo>
                    <a:pt x="391997" y="94083"/>
                  </a:moveTo>
                  <a:cubicBezTo>
                    <a:pt x="389074" y="91576"/>
                    <a:pt x="386720" y="100233"/>
                    <a:pt x="377953" y="99865"/>
                  </a:cubicBezTo>
                  <a:cubicBezTo>
                    <a:pt x="366750" y="99397"/>
                    <a:pt x="362732" y="93180"/>
                    <a:pt x="359647" y="86496"/>
                  </a:cubicBezTo>
                  <a:cubicBezTo>
                    <a:pt x="357090" y="81148"/>
                    <a:pt x="361108" y="78374"/>
                    <a:pt x="366994" y="74831"/>
                  </a:cubicBezTo>
                  <a:cubicBezTo>
                    <a:pt x="376289" y="69216"/>
                    <a:pt x="382012" y="72458"/>
                    <a:pt x="391023" y="77337"/>
                  </a:cubicBezTo>
                  <a:cubicBezTo>
                    <a:pt x="391023" y="68514"/>
                    <a:pt x="395082" y="59924"/>
                    <a:pt x="395082" y="51033"/>
                  </a:cubicBezTo>
                  <a:cubicBezTo>
                    <a:pt x="395082" y="42143"/>
                    <a:pt x="386071" y="33653"/>
                    <a:pt x="383636" y="24863"/>
                  </a:cubicBezTo>
                  <a:cubicBezTo>
                    <a:pt x="380186" y="12362"/>
                    <a:pt x="382093" y="9421"/>
                    <a:pt x="362245" y="7081"/>
                  </a:cubicBezTo>
                  <a:cubicBezTo>
                    <a:pt x="357902" y="6580"/>
                    <a:pt x="324862" y="-71"/>
                    <a:pt x="324862" y="-339"/>
                  </a:cubicBezTo>
                  <a:cubicBezTo>
                    <a:pt x="315566" y="7482"/>
                    <a:pt x="305013" y="8418"/>
                    <a:pt x="296164" y="15304"/>
                  </a:cubicBezTo>
                  <a:cubicBezTo>
                    <a:pt x="289346" y="20618"/>
                    <a:pt x="279929" y="18646"/>
                    <a:pt x="272703" y="22289"/>
                  </a:cubicBezTo>
                  <a:cubicBezTo>
                    <a:pt x="264585" y="26266"/>
                    <a:pt x="267711" y="33686"/>
                    <a:pt x="260039" y="37764"/>
                  </a:cubicBezTo>
                  <a:cubicBezTo>
                    <a:pt x="252368" y="41842"/>
                    <a:pt x="245265" y="39870"/>
                    <a:pt x="237878" y="42209"/>
                  </a:cubicBezTo>
                  <a:cubicBezTo>
                    <a:pt x="231911" y="44081"/>
                    <a:pt x="232844" y="52905"/>
                    <a:pt x="230044" y="56448"/>
                  </a:cubicBezTo>
                  <a:cubicBezTo>
                    <a:pt x="223671" y="64403"/>
                    <a:pt x="195867" y="60893"/>
                    <a:pt x="186491" y="57016"/>
                  </a:cubicBezTo>
                  <a:cubicBezTo>
                    <a:pt x="173218" y="51434"/>
                    <a:pt x="161894" y="46989"/>
                    <a:pt x="158809" y="60793"/>
                  </a:cubicBezTo>
                  <a:cubicBezTo>
                    <a:pt x="157348" y="67210"/>
                    <a:pt x="134455" y="79644"/>
                    <a:pt x="125078" y="79343"/>
                  </a:cubicBezTo>
                  <a:cubicBezTo>
                    <a:pt x="121019" y="79343"/>
                    <a:pt x="107950" y="78942"/>
                    <a:pt x="104784" y="76836"/>
                  </a:cubicBezTo>
                  <a:cubicBezTo>
                    <a:pt x="101618" y="74731"/>
                    <a:pt x="104297" y="68848"/>
                    <a:pt x="107828" y="67778"/>
                  </a:cubicBezTo>
                  <a:cubicBezTo>
                    <a:pt x="120492" y="64035"/>
                    <a:pt x="98452" y="43179"/>
                    <a:pt x="90537" y="41040"/>
                  </a:cubicBezTo>
                  <a:cubicBezTo>
                    <a:pt x="89766" y="58085"/>
                    <a:pt x="88995" y="75132"/>
                    <a:pt x="88304" y="92178"/>
                  </a:cubicBezTo>
                  <a:cubicBezTo>
                    <a:pt x="87817" y="103575"/>
                    <a:pt x="87330" y="105848"/>
                    <a:pt x="73165" y="112499"/>
                  </a:cubicBezTo>
                  <a:cubicBezTo>
                    <a:pt x="65574" y="116042"/>
                    <a:pt x="36065" y="117212"/>
                    <a:pt x="30789" y="110661"/>
                  </a:cubicBezTo>
                  <a:cubicBezTo>
                    <a:pt x="28231" y="107319"/>
                    <a:pt x="27055" y="97292"/>
                    <a:pt x="18084" y="99665"/>
                  </a:cubicBezTo>
                  <a:cubicBezTo>
                    <a:pt x="7166" y="102740"/>
                    <a:pt x="14471" y="108756"/>
                    <a:pt x="-60" y="107553"/>
                  </a:cubicBezTo>
                  <a:cubicBezTo>
                    <a:pt x="8221" y="117546"/>
                    <a:pt x="15121" y="128308"/>
                    <a:pt x="20479" y="139606"/>
                  </a:cubicBezTo>
                  <a:cubicBezTo>
                    <a:pt x="25634" y="149065"/>
                    <a:pt x="34198" y="157354"/>
                    <a:pt x="39921" y="166612"/>
                  </a:cubicBezTo>
                  <a:cubicBezTo>
                    <a:pt x="42154" y="170322"/>
                    <a:pt x="43859" y="174232"/>
                    <a:pt x="44995" y="178277"/>
                  </a:cubicBezTo>
                  <a:cubicBezTo>
                    <a:pt x="46781" y="184694"/>
                    <a:pt x="43047" y="183391"/>
                    <a:pt x="37121" y="186131"/>
                  </a:cubicBezTo>
                  <a:cubicBezTo>
                    <a:pt x="29977" y="189474"/>
                    <a:pt x="44589" y="205484"/>
                    <a:pt x="44954" y="210798"/>
                  </a:cubicBezTo>
                  <a:cubicBezTo>
                    <a:pt x="45320" y="216112"/>
                    <a:pt x="63220" y="219020"/>
                    <a:pt x="67725" y="222797"/>
                  </a:cubicBezTo>
                  <a:cubicBezTo>
                    <a:pt x="79902" y="233158"/>
                    <a:pt x="82257" y="225103"/>
                    <a:pt x="96138" y="222563"/>
                  </a:cubicBezTo>
                  <a:cubicBezTo>
                    <a:pt x="110020" y="220023"/>
                    <a:pt x="121141" y="221728"/>
                    <a:pt x="134292" y="217483"/>
                  </a:cubicBezTo>
                  <a:cubicBezTo>
                    <a:pt x="152315" y="211634"/>
                    <a:pt x="168185" y="217182"/>
                    <a:pt x="186044" y="218753"/>
                  </a:cubicBezTo>
                  <a:cubicBezTo>
                    <a:pt x="191727" y="219221"/>
                    <a:pt x="197491" y="218419"/>
                    <a:pt x="202646" y="216413"/>
                  </a:cubicBezTo>
                  <a:cubicBezTo>
                    <a:pt x="207273" y="214642"/>
                    <a:pt x="212834" y="218920"/>
                    <a:pt x="217014" y="217048"/>
                  </a:cubicBezTo>
                  <a:cubicBezTo>
                    <a:pt x="221195" y="215176"/>
                    <a:pt x="218151" y="211968"/>
                    <a:pt x="223712" y="210932"/>
                  </a:cubicBezTo>
                  <a:cubicBezTo>
                    <a:pt x="230044" y="209762"/>
                    <a:pt x="236538" y="211701"/>
                    <a:pt x="242870" y="210932"/>
                  </a:cubicBezTo>
                  <a:cubicBezTo>
                    <a:pt x="269294" y="208024"/>
                    <a:pt x="294135" y="191680"/>
                    <a:pt x="312563" y="179514"/>
                  </a:cubicBezTo>
                  <a:cubicBezTo>
                    <a:pt x="331802" y="166712"/>
                    <a:pt x="347389" y="152206"/>
                    <a:pt x="365654" y="138904"/>
                  </a:cubicBezTo>
                  <a:cubicBezTo>
                    <a:pt x="375233" y="132353"/>
                    <a:pt x="385421" y="126504"/>
                    <a:pt x="396178" y="121356"/>
                  </a:cubicBezTo>
                  <a:cubicBezTo>
                    <a:pt x="406528" y="116109"/>
                    <a:pt x="408882" y="102205"/>
                    <a:pt x="411196" y="94283"/>
                  </a:cubicBezTo>
                  <a:cubicBezTo>
                    <a:pt x="404823" y="93849"/>
                    <a:pt x="398410" y="93782"/>
                    <a:pt x="391997" y="94083"/>
                  </a:cubicBezTo>
                  <a:close/>
                  <a:moveTo>
                    <a:pt x="308463" y="145154"/>
                  </a:moveTo>
                  <a:cubicBezTo>
                    <a:pt x="308179" y="148296"/>
                    <a:pt x="296936" y="145421"/>
                    <a:pt x="294135" y="145956"/>
                  </a:cubicBezTo>
                  <a:cubicBezTo>
                    <a:pt x="284678" y="147828"/>
                    <a:pt x="291091" y="156819"/>
                    <a:pt x="279847" y="155081"/>
                  </a:cubicBezTo>
                  <a:cubicBezTo>
                    <a:pt x="274327" y="154245"/>
                    <a:pt x="258335" y="141511"/>
                    <a:pt x="261622" y="138803"/>
                  </a:cubicBezTo>
                  <a:cubicBezTo>
                    <a:pt x="271527" y="130682"/>
                    <a:pt x="280172" y="118281"/>
                    <a:pt x="298438" y="118081"/>
                  </a:cubicBezTo>
                  <a:cubicBezTo>
                    <a:pt x="304039" y="118081"/>
                    <a:pt x="311913" y="126337"/>
                    <a:pt x="315283" y="129111"/>
                  </a:cubicBezTo>
                  <a:cubicBezTo>
                    <a:pt x="323928" y="136330"/>
                    <a:pt x="308869" y="138503"/>
                    <a:pt x="308463" y="14515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30137E1E-B5F4-40DC-BF8D-A94798D9C64C}"/>
                </a:ext>
              </a:extLst>
            </p:cNvPr>
            <p:cNvSpPr/>
            <p:nvPr/>
          </p:nvSpPr>
          <p:spPr>
            <a:xfrm>
              <a:off x="5489121" y="5051357"/>
              <a:ext cx="115337" cy="46761"/>
            </a:xfrm>
            <a:custGeom>
              <a:avLst/>
              <a:gdLst>
                <a:gd name="connsiteX0" fmla="*/ 96235 w 118376"/>
                <a:gd name="connsiteY0" fmla="*/ 35984 h 64026"/>
                <a:gd name="connsiteX1" fmla="*/ 88117 w 118376"/>
                <a:gd name="connsiteY1" fmla="*/ 19071 h 64026"/>
                <a:gd name="connsiteX2" fmla="*/ 64738 w 118376"/>
                <a:gd name="connsiteY2" fmla="*/ 20141 h 64026"/>
                <a:gd name="connsiteX3" fmla="*/ 47650 w 118376"/>
                <a:gd name="connsiteY3" fmla="*/ -315 h 64026"/>
                <a:gd name="connsiteX4" fmla="*/ 27355 w 118376"/>
                <a:gd name="connsiteY4" fmla="*/ 3362 h 64026"/>
                <a:gd name="connsiteX5" fmla="*/ 19237 w 118376"/>
                <a:gd name="connsiteY5" fmla="*/ 17266 h 64026"/>
                <a:gd name="connsiteX6" fmla="*/ 1174 w 118376"/>
                <a:gd name="connsiteY6" fmla="*/ 27628 h 64026"/>
                <a:gd name="connsiteX7" fmla="*/ 21672 w 118376"/>
                <a:gd name="connsiteY7" fmla="*/ 38356 h 64026"/>
                <a:gd name="connsiteX8" fmla="*/ 77280 w 118376"/>
                <a:gd name="connsiteY8" fmla="*/ 56505 h 64026"/>
                <a:gd name="connsiteX9" fmla="*/ 101350 w 118376"/>
                <a:gd name="connsiteY9" fmla="*/ 62756 h 64026"/>
                <a:gd name="connsiteX10" fmla="*/ 116165 w 118376"/>
                <a:gd name="connsiteY10" fmla="*/ 55269 h 64026"/>
                <a:gd name="connsiteX11" fmla="*/ 96317 w 118376"/>
                <a:gd name="connsiteY11" fmla="*/ 35984 h 64026"/>
                <a:gd name="connsiteX12" fmla="*/ 96235 w 118376"/>
                <a:gd name="connsiteY12" fmla="*/ 35984 h 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8376" h="64026">
                  <a:moveTo>
                    <a:pt x="96235" y="35984"/>
                  </a:moveTo>
                  <a:cubicBezTo>
                    <a:pt x="79674" y="30937"/>
                    <a:pt x="91568" y="29867"/>
                    <a:pt x="88117" y="19071"/>
                  </a:cubicBezTo>
                  <a:cubicBezTo>
                    <a:pt x="83044" y="2928"/>
                    <a:pt x="76509" y="22046"/>
                    <a:pt x="64738" y="20141"/>
                  </a:cubicBezTo>
                  <a:cubicBezTo>
                    <a:pt x="53738" y="18403"/>
                    <a:pt x="59055" y="-1117"/>
                    <a:pt x="47650" y="-315"/>
                  </a:cubicBezTo>
                  <a:cubicBezTo>
                    <a:pt x="40790" y="471"/>
                    <a:pt x="34011" y="1701"/>
                    <a:pt x="27355" y="3362"/>
                  </a:cubicBezTo>
                  <a:cubicBezTo>
                    <a:pt x="30236" y="7908"/>
                    <a:pt x="24838" y="14091"/>
                    <a:pt x="19237" y="17266"/>
                  </a:cubicBezTo>
                  <a:cubicBezTo>
                    <a:pt x="13635" y="20441"/>
                    <a:pt x="5152" y="23316"/>
                    <a:pt x="1174" y="27628"/>
                  </a:cubicBezTo>
                  <a:cubicBezTo>
                    <a:pt x="-4914" y="34312"/>
                    <a:pt x="13067" y="35716"/>
                    <a:pt x="21672" y="38356"/>
                  </a:cubicBezTo>
                  <a:cubicBezTo>
                    <a:pt x="40465" y="44172"/>
                    <a:pt x="58203" y="50924"/>
                    <a:pt x="77280" y="56505"/>
                  </a:cubicBezTo>
                  <a:cubicBezTo>
                    <a:pt x="85114" y="58812"/>
                    <a:pt x="93069" y="61051"/>
                    <a:pt x="101350" y="62756"/>
                  </a:cubicBezTo>
                  <a:cubicBezTo>
                    <a:pt x="114866" y="65496"/>
                    <a:pt x="112471" y="61953"/>
                    <a:pt x="116165" y="55269"/>
                  </a:cubicBezTo>
                  <a:cubicBezTo>
                    <a:pt x="122943" y="43002"/>
                    <a:pt x="112999" y="41031"/>
                    <a:pt x="96317" y="35984"/>
                  </a:cubicBezTo>
                  <a:cubicBezTo>
                    <a:pt x="87062" y="33176"/>
                    <a:pt x="105449" y="38758"/>
                    <a:pt x="96235" y="3598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9E719626-973A-47B2-957D-C7105FC6B2F2}"/>
                </a:ext>
              </a:extLst>
            </p:cNvPr>
            <p:cNvSpPr/>
            <p:nvPr/>
          </p:nvSpPr>
          <p:spPr>
            <a:xfrm>
              <a:off x="6831391" y="4710091"/>
              <a:ext cx="44236" cy="21900"/>
            </a:xfrm>
            <a:custGeom>
              <a:avLst/>
              <a:gdLst>
                <a:gd name="connsiteX0" fmla="*/ 40165 w 45401"/>
                <a:gd name="connsiteY0" fmla="*/ 13800 h 29986"/>
                <a:gd name="connsiteX1" fmla="*/ 33914 w 45401"/>
                <a:gd name="connsiteY1" fmla="*/ 129 h 29986"/>
                <a:gd name="connsiteX2" fmla="*/ 22305 w 45401"/>
                <a:gd name="connsiteY2" fmla="*/ 6814 h 29986"/>
                <a:gd name="connsiteX3" fmla="*/ -60 w 45401"/>
                <a:gd name="connsiteY3" fmla="*/ 24997 h 29986"/>
                <a:gd name="connsiteX4" fmla="*/ 14147 w 45401"/>
                <a:gd name="connsiteY4" fmla="*/ 29643 h 29986"/>
                <a:gd name="connsiteX5" fmla="*/ 40165 w 45401"/>
                <a:gd name="connsiteY5" fmla="*/ 13800 h 29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01" h="29986">
                  <a:moveTo>
                    <a:pt x="40165" y="13800"/>
                  </a:moveTo>
                  <a:cubicBezTo>
                    <a:pt x="49988" y="10190"/>
                    <a:pt x="44670" y="2102"/>
                    <a:pt x="33914" y="129"/>
                  </a:cubicBezTo>
                  <a:cubicBezTo>
                    <a:pt x="23158" y="-1842"/>
                    <a:pt x="26689" y="2803"/>
                    <a:pt x="22305" y="6814"/>
                  </a:cubicBezTo>
                  <a:cubicBezTo>
                    <a:pt x="15527" y="13131"/>
                    <a:pt x="6557" y="18613"/>
                    <a:pt x="-60" y="24997"/>
                  </a:cubicBezTo>
                  <a:cubicBezTo>
                    <a:pt x="2741" y="25899"/>
                    <a:pt x="11265" y="29810"/>
                    <a:pt x="14147" y="29643"/>
                  </a:cubicBezTo>
                  <a:cubicBezTo>
                    <a:pt x="21656" y="23165"/>
                    <a:pt x="30464" y="17804"/>
                    <a:pt x="40165" y="1380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D10013E7-9F82-4E9B-A427-F8CFDF200E30}"/>
                </a:ext>
              </a:extLst>
            </p:cNvPr>
            <p:cNvSpPr/>
            <p:nvPr/>
          </p:nvSpPr>
          <p:spPr>
            <a:xfrm>
              <a:off x="8661662" y="5166025"/>
              <a:ext cx="183863" cy="184643"/>
            </a:xfrm>
            <a:custGeom>
              <a:avLst/>
              <a:gdLst>
                <a:gd name="connsiteX0" fmla="*/ 183940 w 188707"/>
                <a:gd name="connsiteY0" fmla="*/ 66917 h 252818"/>
                <a:gd name="connsiteX1" fmla="*/ 166161 w 188707"/>
                <a:gd name="connsiteY1" fmla="*/ 42552 h 252818"/>
                <a:gd name="connsiteX2" fmla="*/ 152198 w 188707"/>
                <a:gd name="connsiteY2" fmla="*/ 29851 h 252818"/>
                <a:gd name="connsiteX3" fmla="*/ 137262 w 188707"/>
                <a:gd name="connsiteY3" fmla="*/ 17150 h 252818"/>
                <a:gd name="connsiteX4" fmla="*/ 113191 w 188707"/>
                <a:gd name="connsiteY4" fmla="*/ 18754 h 252818"/>
                <a:gd name="connsiteX5" fmla="*/ 86930 w 188707"/>
                <a:gd name="connsiteY5" fmla="*/ 12872 h 252818"/>
                <a:gd name="connsiteX6" fmla="*/ 76945 w 188707"/>
                <a:gd name="connsiteY6" fmla="*/ 7423 h 252818"/>
                <a:gd name="connsiteX7" fmla="*/ 64768 w 188707"/>
                <a:gd name="connsiteY7" fmla="*/ 6120 h 252818"/>
                <a:gd name="connsiteX8" fmla="*/ 51495 w 188707"/>
                <a:gd name="connsiteY8" fmla="*/ 104 h 252818"/>
                <a:gd name="connsiteX9" fmla="*/ 37654 w 188707"/>
                <a:gd name="connsiteY9" fmla="*/ 705 h 252818"/>
                <a:gd name="connsiteX10" fmla="*/ 67893 w 188707"/>
                <a:gd name="connsiteY10" fmla="*/ 43387 h 252818"/>
                <a:gd name="connsiteX11" fmla="*/ 89771 w 188707"/>
                <a:gd name="connsiteY11" fmla="*/ 53748 h 252818"/>
                <a:gd name="connsiteX12" fmla="*/ 86362 w 188707"/>
                <a:gd name="connsiteY12" fmla="*/ 70059 h 252818"/>
                <a:gd name="connsiteX13" fmla="*/ 90055 w 188707"/>
                <a:gd name="connsiteY13" fmla="*/ 92319 h 252818"/>
                <a:gd name="connsiteX14" fmla="*/ 114897 w 188707"/>
                <a:gd name="connsiteY14" fmla="*/ 144728 h 252818"/>
                <a:gd name="connsiteX15" fmla="*/ 127682 w 188707"/>
                <a:gd name="connsiteY15" fmla="*/ 170731 h 252818"/>
                <a:gd name="connsiteX16" fmla="*/ 117982 w 188707"/>
                <a:gd name="connsiteY16" fmla="*/ 198673 h 252818"/>
                <a:gd name="connsiteX17" fmla="*/ 104221 w 188707"/>
                <a:gd name="connsiteY17" fmla="*/ 213848 h 252818"/>
                <a:gd name="connsiteX18" fmla="*/ 80598 w 188707"/>
                <a:gd name="connsiteY18" fmla="*/ 220064 h 252818"/>
                <a:gd name="connsiteX19" fmla="*/ 53646 w 188707"/>
                <a:gd name="connsiteY19" fmla="*/ 213380 h 252818"/>
                <a:gd name="connsiteX20" fmla="*/ 55432 w 188707"/>
                <a:gd name="connsiteY20" fmla="*/ 229323 h 252818"/>
                <a:gd name="connsiteX21" fmla="*/ 31078 w 188707"/>
                <a:gd name="connsiteY21" fmla="*/ 219630 h 252818"/>
                <a:gd name="connsiteX22" fmla="*/ 3924 w 188707"/>
                <a:gd name="connsiteY22" fmla="*/ 220398 h 252818"/>
                <a:gd name="connsiteX23" fmla="*/ 5142 w 188707"/>
                <a:gd name="connsiteY23" fmla="*/ 235673 h 252818"/>
                <a:gd name="connsiteX24" fmla="*/ 9201 w 188707"/>
                <a:gd name="connsiteY24" fmla="*/ 251850 h 252818"/>
                <a:gd name="connsiteX25" fmla="*/ 42565 w 188707"/>
                <a:gd name="connsiteY25" fmla="*/ 248875 h 252818"/>
                <a:gd name="connsiteX26" fmla="*/ 48695 w 188707"/>
                <a:gd name="connsiteY26" fmla="*/ 245533 h 252818"/>
                <a:gd name="connsiteX27" fmla="*/ 60222 w 188707"/>
                <a:gd name="connsiteY27" fmla="*/ 239684 h 252818"/>
                <a:gd name="connsiteX28" fmla="*/ 89406 w 188707"/>
                <a:gd name="connsiteY28" fmla="*/ 246369 h 252818"/>
                <a:gd name="connsiteX29" fmla="*/ 132796 w 188707"/>
                <a:gd name="connsiteY29" fmla="*/ 246369 h 252818"/>
                <a:gd name="connsiteX30" fmla="*/ 164497 w 188707"/>
                <a:gd name="connsiteY30" fmla="*/ 199910 h 252818"/>
                <a:gd name="connsiteX31" fmla="*/ 155689 w 188707"/>
                <a:gd name="connsiteY31" fmla="*/ 164180 h 252818"/>
                <a:gd name="connsiteX32" fmla="*/ 140630 w 188707"/>
                <a:gd name="connsiteY32" fmla="*/ 150811 h 252818"/>
                <a:gd name="connsiteX33" fmla="*/ 121919 w 188707"/>
                <a:gd name="connsiteY33" fmla="*/ 127815 h 252818"/>
                <a:gd name="connsiteX34" fmla="*/ 124557 w 188707"/>
                <a:gd name="connsiteY34" fmla="*/ 80822 h 252818"/>
                <a:gd name="connsiteX35" fmla="*/ 138722 w 188707"/>
                <a:gd name="connsiteY35" fmla="*/ 79752 h 252818"/>
                <a:gd name="connsiteX36" fmla="*/ 149073 w 188707"/>
                <a:gd name="connsiteY36" fmla="*/ 71630 h 252818"/>
                <a:gd name="connsiteX37" fmla="*/ 166649 w 188707"/>
                <a:gd name="connsiteY37" fmla="*/ 73402 h 252818"/>
                <a:gd name="connsiteX38" fmla="*/ 188648 w 188707"/>
                <a:gd name="connsiteY38" fmla="*/ 71262 h 252818"/>
                <a:gd name="connsiteX39" fmla="*/ 184223 w 188707"/>
                <a:gd name="connsiteY39" fmla="*/ 66616 h 252818"/>
                <a:gd name="connsiteX40" fmla="*/ 183940 w 188707"/>
                <a:gd name="connsiteY40" fmla="*/ 66917 h 2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88707" h="252818">
                  <a:moveTo>
                    <a:pt x="183940" y="66917"/>
                  </a:moveTo>
                  <a:cubicBezTo>
                    <a:pt x="172696" y="61803"/>
                    <a:pt x="157759" y="48000"/>
                    <a:pt x="166161" y="42552"/>
                  </a:cubicBezTo>
                  <a:cubicBezTo>
                    <a:pt x="173305" y="37939"/>
                    <a:pt x="158327" y="33160"/>
                    <a:pt x="152198" y="29851"/>
                  </a:cubicBezTo>
                  <a:cubicBezTo>
                    <a:pt x="147531" y="27344"/>
                    <a:pt x="141443" y="18320"/>
                    <a:pt x="137262" y="17150"/>
                  </a:cubicBezTo>
                  <a:cubicBezTo>
                    <a:pt x="129266" y="15388"/>
                    <a:pt x="120741" y="15956"/>
                    <a:pt x="113191" y="18754"/>
                  </a:cubicBezTo>
                  <a:cubicBezTo>
                    <a:pt x="110391" y="19924"/>
                    <a:pt x="90745" y="14242"/>
                    <a:pt x="86930" y="12872"/>
                  </a:cubicBezTo>
                  <a:cubicBezTo>
                    <a:pt x="83399" y="11331"/>
                    <a:pt x="80030" y="9506"/>
                    <a:pt x="76945" y="7423"/>
                  </a:cubicBezTo>
                  <a:cubicBezTo>
                    <a:pt x="70613" y="3747"/>
                    <a:pt x="70531" y="7423"/>
                    <a:pt x="64768" y="6120"/>
                  </a:cubicBezTo>
                  <a:cubicBezTo>
                    <a:pt x="59694" y="5050"/>
                    <a:pt x="56406" y="1440"/>
                    <a:pt x="51495" y="104"/>
                  </a:cubicBezTo>
                  <a:cubicBezTo>
                    <a:pt x="46584" y="-1233"/>
                    <a:pt x="41916" y="906"/>
                    <a:pt x="37654" y="705"/>
                  </a:cubicBezTo>
                  <a:cubicBezTo>
                    <a:pt x="46096" y="12370"/>
                    <a:pt x="46503" y="36535"/>
                    <a:pt x="67893" y="43387"/>
                  </a:cubicBezTo>
                  <a:cubicBezTo>
                    <a:pt x="76011" y="45994"/>
                    <a:pt x="92003" y="44290"/>
                    <a:pt x="89771" y="53748"/>
                  </a:cubicBezTo>
                  <a:cubicBezTo>
                    <a:pt x="88837" y="57793"/>
                    <a:pt x="99147" y="72065"/>
                    <a:pt x="86362" y="70059"/>
                  </a:cubicBezTo>
                  <a:cubicBezTo>
                    <a:pt x="47517" y="64076"/>
                    <a:pt x="83723" y="80354"/>
                    <a:pt x="90055" y="92319"/>
                  </a:cubicBezTo>
                  <a:cubicBezTo>
                    <a:pt x="98783" y="108864"/>
                    <a:pt x="101055" y="128350"/>
                    <a:pt x="114897" y="144728"/>
                  </a:cubicBezTo>
                  <a:cubicBezTo>
                    <a:pt x="123582" y="154988"/>
                    <a:pt x="133284" y="160102"/>
                    <a:pt x="127682" y="170731"/>
                  </a:cubicBezTo>
                  <a:cubicBezTo>
                    <a:pt x="122730" y="180123"/>
                    <a:pt x="115505" y="187042"/>
                    <a:pt x="117982" y="198673"/>
                  </a:cubicBezTo>
                  <a:cubicBezTo>
                    <a:pt x="120254" y="208968"/>
                    <a:pt x="120904" y="213012"/>
                    <a:pt x="104221" y="213848"/>
                  </a:cubicBezTo>
                  <a:cubicBezTo>
                    <a:pt x="93140" y="214416"/>
                    <a:pt x="89447" y="217457"/>
                    <a:pt x="80598" y="220064"/>
                  </a:cubicBezTo>
                  <a:cubicBezTo>
                    <a:pt x="73819" y="222070"/>
                    <a:pt x="55351" y="210639"/>
                    <a:pt x="53646" y="213380"/>
                  </a:cubicBezTo>
                  <a:cubicBezTo>
                    <a:pt x="51292" y="217324"/>
                    <a:pt x="60912" y="226548"/>
                    <a:pt x="55432" y="229323"/>
                  </a:cubicBezTo>
                  <a:cubicBezTo>
                    <a:pt x="50683" y="231696"/>
                    <a:pt x="35340" y="221602"/>
                    <a:pt x="31078" y="219630"/>
                  </a:cubicBezTo>
                  <a:cubicBezTo>
                    <a:pt x="24300" y="216555"/>
                    <a:pt x="12164" y="220833"/>
                    <a:pt x="3924" y="220398"/>
                  </a:cubicBezTo>
                  <a:cubicBezTo>
                    <a:pt x="9972" y="231127"/>
                    <a:pt x="18739" y="229991"/>
                    <a:pt x="5142" y="235673"/>
                  </a:cubicBezTo>
                  <a:cubicBezTo>
                    <a:pt x="-2124" y="238715"/>
                    <a:pt x="-2651" y="255961"/>
                    <a:pt x="9201" y="251850"/>
                  </a:cubicBezTo>
                  <a:cubicBezTo>
                    <a:pt x="16831" y="249210"/>
                    <a:pt x="37614" y="252318"/>
                    <a:pt x="42565" y="248875"/>
                  </a:cubicBezTo>
                  <a:cubicBezTo>
                    <a:pt x="44229" y="247706"/>
                    <a:pt x="44027" y="243795"/>
                    <a:pt x="48695" y="245533"/>
                  </a:cubicBezTo>
                  <a:cubicBezTo>
                    <a:pt x="55067" y="248006"/>
                    <a:pt x="57137" y="241121"/>
                    <a:pt x="60222" y="239684"/>
                  </a:cubicBezTo>
                  <a:cubicBezTo>
                    <a:pt x="66230" y="236910"/>
                    <a:pt x="81369" y="245600"/>
                    <a:pt x="89406" y="246369"/>
                  </a:cubicBezTo>
                  <a:cubicBezTo>
                    <a:pt x="103775" y="248077"/>
                    <a:pt x="118427" y="248077"/>
                    <a:pt x="132796" y="246369"/>
                  </a:cubicBezTo>
                  <a:cubicBezTo>
                    <a:pt x="159261" y="242157"/>
                    <a:pt x="162792" y="215786"/>
                    <a:pt x="164497" y="199910"/>
                  </a:cubicBezTo>
                  <a:cubicBezTo>
                    <a:pt x="165715" y="188913"/>
                    <a:pt x="165106" y="175878"/>
                    <a:pt x="155689" y="164180"/>
                  </a:cubicBezTo>
                  <a:cubicBezTo>
                    <a:pt x="152158" y="159801"/>
                    <a:pt x="144770" y="155657"/>
                    <a:pt x="140630" y="150811"/>
                  </a:cubicBezTo>
                  <a:cubicBezTo>
                    <a:pt x="133933" y="143223"/>
                    <a:pt x="127926" y="135503"/>
                    <a:pt x="121919" y="127815"/>
                  </a:cubicBezTo>
                  <a:cubicBezTo>
                    <a:pt x="111812" y="114880"/>
                    <a:pt x="100528" y="84799"/>
                    <a:pt x="124557" y="80822"/>
                  </a:cubicBezTo>
                  <a:cubicBezTo>
                    <a:pt x="129062" y="80086"/>
                    <a:pt x="134136" y="80320"/>
                    <a:pt x="138722" y="79752"/>
                  </a:cubicBezTo>
                  <a:cubicBezTo>
                    <a:pt x="145622" y="78917"/>
                    <a:pt x="144080" y="73870"/>
                    <a:pt x="149073" y="71630"/>
                  </a:cubicBezTo>
                  <a:cubicBezTo>
                    <a:pt x="154065" y="69391"/>
                    <a:pt x="160560" y="72700"/>
                    <a:pt x="166649" y="73402"/>
                  </a:cubicBezTo>
                  <a:cubicBezTo>
                    <a:pt x="175538" y="74438"/>
                    <a:pt x="180814" y="70627"/>
                    <a:pt x="188648" y="71262"/>
                  </a:cubicBezTo>
                  <a:cubicBezTo>
                    <a:pt x="187674" y="69424"/>
                    <a:pt x="186172" y="67826"/>
                    <a:pt x="184223" y="66616"/>
                  </a:cubicBezTo>
                  <a:cubicBezTo>
                    <a:pt x="176552" y="63575"/>
                    <a:pt x="185319" y="67519"/>
                    <a:pt x="183940" y="6691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146C8D70-B7E1-45F7-9077-AC0201151F90}"/>
                </a:ext>
              </a:extLst>
            </p:cNvPr>
            <p:cNvSpPr/>
            <p:nvPr/>
          </p:nvSpPr>
          <p:spPr>
            <a:xfrm>
              <a:off x="7165057" y="4802097"/>
              <a:ext cx="55327" cy="25262"/>
            </a:xfrm>
            <a:custGeom>
              <a:avLst/>
              <a:gdLst>
                <a:gd name="connsiteX0" fmla="*/ 18490 w 56785"/>
                <a:gd name="connsiteY0" fmla="*/ 21150 h 34590"/>
                <a:gd name="connsiteX1" fmla="*/ 56725 w 56785"/>
                <a:gd name="connsiteY1" fmla="*/ 34252 h 34590"/>
                <a:gd name="connsiteX2" fmla="*/ 40002 w 56785"/>
                <a:gd name="connsiteY2" fmla="*/ 2399 h 34590"/>
                <a:gd name="connsiteX3" fmla="*/ -60 w 56785"/>
                <a:gd name="connsiteY3" fmla="*/ 17540 h 34590"/>
                <a:gd name="connsiteX4" fmla="*/ 18490 w 56785"/>
                <a:gd name="connsiteY4" fmla="*/ 21150 h 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85" h="34590">
                  <a:moveTo>
                    <a:pt x="18490" y="21150"/>
                  </a:moveTo>
                  <a:cubicBezTo>
                    <a:pt x="32250" y="30141"/>
                    <a:pt x="36999" y="31177"/>
                    <a:pt x="56725" y="34252"/>
                  </a:cubicBezTo>
                  <a:cubicBezTo>
                    <a:pt x="52666" y="25060"/>
                    <a:pt x="50434" y="7847"/>
                    <a:pt x="40002" y="2399"/>
                  </a:cubicBezTo>
                  <a:cubicBezTo>
                    <a:pt x="21534" y="-7294"/>
                    <a:pt x="6151" y="11390"/>
                    <a:pt x="-60" y="17540"/>
                  </a:cubicBezTo>
                  <a:cubicBezTo>
                    <a:pt x="6151" y="18710"/>
                    <a:pt x="12320" y="19913"/>
                    <a:pt x="18490" y="211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28F5FEAC-3E67-4231-8E7A-9E999ED4915A}"/>
                </a:ext>
              </a:extLst>
            </p:cNvPr>
            <p:cNvSpPr/>
            <p:nvPr/>
          </p:nvSpPr>
          <p:spPr>
            <a:xfrm>
              <a:off x="6415936" y="4865489"/>
              <a:ext cx="473958" cy="245739"/>
            </a:xfrm>
            <a:custGeom>
              <a:avLst/>
              <a:gdLst>
                <a:gd name="connsiteX0" fmla="*/ 398416 w 486444"/>
                <a:gd name="connsiteY0" fmla="*/ 4708 h 336473"/>
                <a:gd name="connsiteX1" fmla="*/ 385468 w 486444"/>
                <a:gd name="connsiteY1" fmla="*/ 13933 h 336473"/>
                <a:gd name="connsiteX2" fmla="*/ 364442 w 486444"/>
                <a:gd name="connsiteY2" fmla="*/ 20150 h 336473"/>
                <a:gd name="connsiteX3" fmla="*/ 343457 w 486444"/>
                <a:gd name="connsiteY3" fmla="*/ 15571 h 336473"/>
                <a:gd name="connsiteX4" fmla="*/ 316221 w 486444"/>
                <a:gd name="connsiteY4" fmla="*/ 13565 h 336473"/>
                <a:gd name="connsiteX5" fmla="*/ 299620 w 486444"/>
                <a:gd name="connsiteY5" fmla="*/ 10223 h 336473"/>
                <a:gd name="connsiteX6" fmla="*/ 278757 w 486444"/>
                <a:gd name="connsiteY6" fmla="*/ 12061 h 336473"/>
                <a:gd name="connsiteX7" fmla="*/ 241415 w 486444"/>
                <a:gd name="connsiteY7" fmla="*/ 9621 h 336473"/>
                <a:gd name="connsiteX8" fmla="*/ 118509 w 486444"/>
                <a:gd name="connsiteY8" fmla="*/ 2669 h 336473"/>
                <a:gd name="connsiteX9" fmla="*/ 96266 w 486444"/>
                <a:gd name="connsiteY9" fmla="*/ 7148 h 336473"/>
                <a:gd name="connsiteX10" fmla="*/ 94561 w 486444"/>
                <a:gd name="connsiteY10" fmla="*/ 31915 h 336473"/>
                <a:gd name="connsiteX11" fmla="*/ 85428 w 486444"/>
                <a:gd name="connsiteY11" fmla="*/ 36995 h 336473"/>
                <a:gd name="connsiteX12" fmla="*/ 65945 w 486444"/>
                <a:gd name="connsiteY12" fmla="*/ 45452 h 336473"/>
                <a:gd name="connsiteX13" fmla="*/ 63550 w 486444"/>
                <a:gd name="connsiteY13" fmla="*/ 82552 h 336473"/>
                <a:gd name="connsiteX14" fmla="*/ 62455 w 486444"/>
                <a:gd name="connsiteY14" fmla="*/ 101804 h 336473"/>
                <a:gd name="connsiteX15" fmla="*/ 50683 w 486444"/>
                <a:gd name="connsiteY15" fmla="*/ 110594 h 336473"/>
                <a:gd name="connsiteX16" fmla="*/ 29739 w 486444"/>
                <a:gd name="connsiteY16" fmla="*/ 124665 h 336473"/>
                <a:gd name="connsiteX17" fmla="*/ 15046 w 486444"/>
                <a:gd name="connsiteY17" fmla="*/ 135762 h 336473"/>
                <a:gd name="connsiteX18" fmla="*/ 3396 w 486444"/>
                <a:gd name="connsiteY18" fmla="*/ 143617 h 336473"/>
                <a:gd name="connsiteX19" fmla="*/ 190 w 486444"/>
                <a:gd name="connsiteY19" fmla="*/ 158791 h 336473"/>
                <a:gd name="connsiteX20" fmla="*/ 12367 w 486444"/>
                <a:gd name="connsiteY20" fmla="*/ 163504 h 336473"/>
                <a:gd name="connsiteX21" fmla="*/ 13381 w 486444"/>
                <a:gd name="connsiteY21" fmla="*/ 178043 h 336473"/>
                <a:gd name="connsiteX22" fmla="*/ 25558 w 486444"/>
                <a:gd name="connsiteY22" fmla="*/ 187234 h 336473"/>
                <a:gd name="connsiteX23" fmla="*/ 27101 w 486444"/>
                <a:gd name="connsiteY23" fmla="*/ 197262 h 336473"/>
                <a:gd name="connsiteX24" fmla="*/ 42606 w 486444"/>
                <a:gd name="connsiteY24" fmla="*/ 211065 h 336473"/>
                <a:gd name="connsiteX25" fmla="*/ 47680 w 486444"/>
                <a:gd name="connsiteY25" fmla="*/ 218653 h 336473"/>
                <a:gd name="connsiteX26" fmla="*/ 38222 w 486444"/>
                <a:gd name="connsiteY26" fmla="*/ 227944 h 336473"/>
                <a:gd name="connsiteX27" fmla="*/ 49953 w 486444"/>
                <a:gd name="connsiteY27" fmla="*/ 233325 h 336473"/>
                <a:gd name="connsiteX28" fmla="*/ 59085 w 486444"/>
                <a:gd name="connsiteY28" fmla="*/ 239409 h 336473"/>
                <a:gd name="connsiteX29" fmla="*/ 86808 w 486444"/>
                <a:gd name="connsiteY29" fmla="*/ 253213 h 336473"/>
                <a:gd name="connsiteX30" fmla="*/ 90502 w 486444"/>
                <a:gd name="connsiteY30" fmla="*/ 259530 h 336473"/>
                <a:gd name="connsiteX31" fmla="*/ 106373 w 486444"/>
                <a:gd name="connsiteY31" fmla="*/ 267719 h 336473"/>
                <a:gd name="connsiteX32" fmla="*/ 119686 w 486444"/>
                <a:gd name="connsiteY32" fmla="*/ 283060 h 336473"/>
                <a:gd name="connsiteX33" fmla="*/ 135191 w 486444"/>
                <a:gd name="connsiteY33" fmla="*/ 289979 h 336473"/>
                <a:gd name="connsiteX34" fmla="*/ 160885 w 486444"/>
                <a:gd name="connsiteY34" fmla="*/ 314077 h 336473"/>
                <a:gd name="connsiteX35" fmla="*/ 191002 w 486444"/>
                <a:gd name="connsiteY35" fmla="*/ 315548 h 336473"/>
                <a:gd name="connsiteX36" fmla="*/ 209267 w 486444"/>
                <a:gd name="connsiteY36" fmla="*/ 316550 h 336473"/>
                <a:gd name="connsiteX37" fmla="*/ 240237 w 486444"/>
                <a:gd name="connsiteY37" fmla="*/ 333496 h 336473"/>
                <a:gd name="connsiteX38" fmla="*/ 267067 w 486444"/>
                <a:gd name="connsiteY38" fmla="*/ 333997 h 336473"/>
                <a:gd name="connsiteX39" fmla="*/ 288661 w 486444"/>
                <a:gd name="connsiteY39" fmla="*/ 333496 h 336473"/>
                <a:gd name="connsiteX40" fmla="*/ 315085 w 486444"/>
                <a:gd name="connsiteY40" fmla="*/ 334566 h 336473"/>
                <a:gd name="connsiteX41" fmla="*/ 339439 w 486444"/>
                <a:gd name="connsiteY41" fmla="*/ 322667 h 336473"/>
                <a:gd name="connsiteX42" fmla="*/ 376700 w 486444"/>
                <a:gd name="connsiteY42" fmla="*/ 325742 h 336473"/>
                <a:gd name="connsiteX43" fmla="*/ 370409 w 486444"/>
                <a:gd name="connsiteY43" fmla="*/ 308763 h 336473"/>
                <a:gd name="connsiteX44" fmla="*/ 340413 w 486444"/>
                <a:gd name="connsiteY44" fmla="*/ 283026 h 336473"/>
                <a:gd name="connsiteX45" fmla="*/ 316506 w 486444"/>
                <a:gd name="connsiteY45" fmla="*/ 269089 h 336473"/>
                <a:gd name="connsiteX46" fmla="*/ 313827 w 486444"/>
                <a:gd name="connsiteY46" fmla="*/ 254149 h 336473"/>
                <a:gd name="connsiteX47" fmla="*/ 336923 w 486444"/>
                <a:gd name="connsiteY47" fmla="*/ 253179 h 336473"/>
                <a:gd name="connsiteX48" fmla="*/ 349099 w 486444"/>
                <a:gd name="connsiteY48" fmla="*/ 227276 h 336473"/>
                <a:gd name="connsiteX49" fmla="*/ 351250 w 486444"/>
                <a:gd name="connsiteY49" fmla="*/ 218653 h 336473"/>
                <a:gd name="connsiteX50" fmla="*/ 368623 w 486444"/>
                <a:gd name="connsiteY50" fmla="*/ 212603 h 336473"/>
                <a:gd name="connsiteX51" fmla="*/ 373737 w 486444"/>
                <a:gd name="connsiteY51" fmla="*/ 200637 h 336473"/>
                <a:gd name="connsiteX52" fmla="*/ 389202 w 486444"/>
                <a:gd name="connsiteY52" fmla="*/ 189975 h 336473"/>
                <a:gd name="connsiteX53" fmla="*/ 402028 w 486444"/>
                <a:gd name="connsiteY53" fmla="*/ 186633 h 336473"/>
                <a:gd name="connsiteX54" fmla="*/ 413718 w 486444"/>
                <a:gd name="connsiteY54" fmla="*/ 174968 h 336473"/>
                <a:gd name="connsiteX55" fmla="*/ 422201 w 486444"/>
                <a:gd name="connsiteY55" fmla="*/ 144887 h 336473"/>
                <a:gd name="connsiteX56" fmla="*/ 438681 w 486444"/>
                <a:gd name="connsiteY56" fmla="*/ 130214 h 336473"/>
                <a:gd name="connsiteX57" fmla="*/ 445135 w 486444"/>
                <a:gd name="connsiteY57" fmla="*/ 117981 h 336473"/>
                <a:gd name="connsiteX58" fmla="*/ 478580 w 486444"/>
                <a:gd name="connsiteY58" fmla="*/ 107787 h 336473"/>
                <a:gd name="connsiteX59" fmla="*/ 468352 w 486444"/>
                <a:gd name="connsiteY59" fmla="*/ 88735 h 336473"/>
                <a:gd name="connsiteX60" fmla="*/ 458407 w 486444"/>
                <a:gd name="connsiteY60" fmla="*/ 56782 h 336473"/>
                <a:gd name="connsiteX61" fmla="*/ 451710 w 486444"/>
                <a:gd name="connsiteY61" fmla="*/ 27804 h 336473"/>
                <a:gd name="connsiteX62" fmla="*/ 416113 w 486444"/>
                <a:gd name="connsiteY62" fmla="*/ -339 h 336473"/>
                <a:gd name="connsiteX63" fmla="*/ 398416 w 486444"/>
                <a:gd name="connsiteY63" fmla="*/ 4708 h 33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444" h="336473">
                  <a:moveTo>
                    <a:pt x="398416" y="4708"/>
                  </a:moveTo>
                  <a:cubicBezTo>
                    <a:pt x="391475" y="4140"/>
                    <a:pt x="389445" y="11894"/>
                    <a:pt x="385468" y="13933"/>
                  </a:cubicBezTo>
                  <a:cubicBezTo>
                    <a:pt x="378121" y="17677"/>
                    <a:pt x="370652" y="14334"/>
                    <a:pt x="364442" y="20150"/>
                  </a:cubicBezTo>
                  <a:cubicBezTo>
                    <a:pt x="358232" y="25966"/>
                    <a:pt x="348693" y="16808"/>
                    <a:pt x="343457" y="15571"/>
                  </a:cubicBezTo>
                  <a:cubicBezTo>
                    <a:pt x="335583" y="13833"/>
                    <a:pt x="324421" y="14134"/>
                    <a:pt x="316221" y="13565"/>
                  </a:cubicBezTo>
                  <a:cubicBezTo>
                    <a:pt x="310417" y="13722"/>
                    <a:pt x="304694" y="12566"/>
                    <a:pt x="299620" y="10223"/>
                  </a:cubicBezTo>
                  <a:cubicBezTo>
                    <a:pt x="290284" y="6145"/>
                    <a:pt x="286956" y="12630"/>
                    <a:pt x="278757" y="12061"/>
                  </a:cubicBezTo>
                  <a:lnTo>
                    <a:pt x="241415" y="9621"/>
                  </a:lnTo>
                  <a:cubicBezTo>
                    <a:pt x="200460" y="7015"/>
                    <a:pt x="159464" y="4698"/>
                    <a:pt x="118509" y="2669"/>
                  </a:cubicBezTo>
                  <a:cubicBezTo>
                    <a:pt x="104830" y="2001"/>
                    <a:pt x="96875" y="-1341"/>
                    <a:pt x="96266" y="7148"/>
                  </a:cubicBezTo>
                  <a:lnTo>
                    <a:pt x="94561" y="31915"/>
                  </a:lnTo>
                  <a:cubicBezTo>
                    <a:pt x="94155" y="37630"/>
                    <a:pt x="95616" y="37463"/>
                    <a:pt x="85428" y="36995"/>
                  </a:cubicBezTo>
                  <a:cubicBezTo>
                    <a:pt x="65864" y="36093"/>
                    <a:pt x="66635" y="34723"/>
                    <a:pt x="65945" y="45452"/>
                  </a:cubicBezTo>
                  <a:cubicBezTo>
                    <a:pt x="65174" y="57818"/>
                    <a:pt x="64362" y="70185"/>
                    <a:pt x="63550" y="82552"/>
                  </a:cubicBezTo>
                  <a:cubicBezTo>
                    <a:pt x="63144" y="88936"/>
                    <a:pt x="63550" y="95453"/>
                    <a:pt x="62455" y="101804"/>
                  </a:cubicBezTo>
                  <a:cubicBezTo>
                    <a:pt x="61359" y="108154"/>
                    <a:pt x="60222" y="109057"/>
                    <a:pt x="50683" y="110594"/>
                  </a:cubicBezTo>
                  <a:cubicBezTo>
                    <a:pt x="32661" y="113502"/>
                    <a:pt x="37248" y="116777"/>
                    <a:pt x="29739" y="124665"/>
                  </a:cubicBezTo>
                  <a:cubicBezTo>
                    <a:pt x="23975" y="130682"/>
                    <a:pt x="17562" y="127573"/>
                    <a:pt x="15046" y="135762"/>
                  </a:cubicBezTo>
                  <a:cubicBezTo>
                    <a:pt x="13503" y="141010"/>
                    <a:pt x="311" y="138670"/>
                    <a:pt x="3396" y="143617"/>
                  </a:cubicBezTo>
                  <a:cubicBezTo>
                    <a:pt x="8105" y="151137"/>
                    <a:pt x="-1718" y="152541"/>
                    <a:pt x="190" y="158791"/>
                  </a:cubicBezTo>
                  <a:cubicBezTo>
                    <a:pt x="1529" y="163103"/>
                    <a:pt x="9160" y="160796"/>
                    <a:pt x="12367" y="163504"/>
                  </a:cubicBezTo>
                  <a:cubicBezTo>
                    <a:pt x="17238" y="167481"/>
                    <a:pt x="10500" y="173531"/>
                    <a:pt x="13381" y="178043"/>
                  </a:cubicBezTo>
                  <a:cubicBezTo>
                    <a:pt x="15249" y="180951"/>
                    <a:pt x="26776" y="185095"/>
                    <a:pt x="25558" y="187234"/>
                  </a:cubicBezTo>
                  <a:cubicBezTo>
                    <a:pt x="22555" y="192616"/>
                    <a:pt x="21499" y="192716"/>
                    <a:pt x="27101" y="197262"/>
                  </a:cubicBezTo>
                  <a:cubicBezTo>
                    <a:pt x="32702" y="201807"/>
                    <a:pt x="40170" y="206186"/>
                    <a:pt x="42606" y="211065"/>
                  </a:cubicBezTo>
                  <a:cubicBezTo>
                    <a:pt x="43864" y="213672"/>
                    <a:pt x="46665" y="216012"/>
                    <a:pt x="47680" y="218653"/>
                  </a:cubicBezTo>
                  <a:cubicBezTo>
                    <a:pt x="50602" y="224970"/>
                    <a:pt x="43093" y="224067"/>
                    <a:pt x="38222" y="227944"/>
                  </a:cubicBezTo>
                  <a:cubicBezTo>
                    <a:pt x="33352" y="231821"/>
                    <a:pt x="46706" y="232924"/>
                    <a:pt x="49953" y="233325"/>
                  </a:cubicBezTo>
                  <a:cubicBezTo>
                    <a:pt x="55270" y="234027"/>
                    <a:pt x="52469" y="238473"/>
                    <a:pt x="59085" y="239409"/>
                  </a:cubicBezTo>
                  <a:cubicBezTo>
                    <a:pt x="71912" y="241214"/>
                    <a:pt x="79380" y="247129"/>
                    <a:pt x="86808" y="253213"/>
                  </a:cubicBezTo>
                  <a:cubicBezTo>
                    <a:pt x="89365" y="255285"/>
                    <a:pt x="88188" y="257591"/>
                    <a:pt x="90502" y="259530"/>
                  </a:cubicBezTo>
                  <a:cubicBezTo>
                    <a:pt x="94277" y="262872"/>
                    <a:pt x="101705" y="265078"/>
                    <a:pt x="106373" y="267719"/>
                  </a:cubicBezTo>
                  <a:cubicBezTo>
                    <a:pt x="114937" y="272598"/>
                    <a:pt x="112420" y="279116"/>
                    <a:pt x="119686" y="283060"/>
                  </a:cubicBezTo>
                  <a:cubicBezTo>
                    <a:pt x="123258" y="284998"/>
                    <a:pt x="133689" y="287372"/>
                    <a:pt x="135191" y="289979"/>
                  </a:cubicBezTo>
                  <a:cubicBezTo>
                    <a:pt x="139981" y="298334"/>
                    <a:pt x="147612" y="309197"/>
                    <a:pt x="160885" y="314077"/>
                  </a:cubicBezTo>
                  <a:cubicBezTo>
                    <a:pt x="172372" y="318255"/>
                    <a:pt x="180733" y="309999"/>
                    <a:pt x="191002" y="315548"/>
                  </a:cubicBezTo>
                  <a:cubicBezTo>
                    <a:pt x="195061" y="317653"/>
                    <a:pt x="202367" y="312740"/>
                    <a:pt x="209267" y="316550"/>
                  </a:cubicBezTo>
                  <a:cubicBezTo>
                    <a:pt x="215275" y="319893"/>
                    <a:pt x="233946" y="334398"/>
                    <a:pt x="240237" y="333496"/>
                  </a:cubicBezTo>
                  <a:cubicBezTo>
                    <a:pt x="249330" y="332193"/>
                    <a:pt x="258665" y="330154"/>
                    <a:pt x="267067" y="333997"/>
                  </a:cubicBezTo>
                  <a:cubicBezTo>
                    <a:pt x="276971" y="338576"/>
                    <a:pt x="277905" y="334532"/>
                    <a:pt x="288661" y="333496"/>
                  </a:cubicBezTo>
                  <a:cubicBezTo>
                    <a:pt x="293532" y="333028"/>
                    <a:pt x="313583" y="338777"/>
                    <a:pt x="315085" y="334566"/>
                  </a:cubicBezTo>
                  <a:cubicBezTo>
                    <a:pt x="316181" y="331524"/>
                    <a:pt x="333878" y="324204"/>
                    <a:pt x="339439" y="322667"/>
                  </a:cubicBezTo>
                  <a:cubicBezTo>
                    <a:pt x="355188" y="318188"/>
                    <a:pt x="362291" y="320828"/>
                    <a:pt x="376700" y="325742"/>
                  </a:cubicBezTo>
                  <a:cubicBezTo>
                    <a:pt x="380759" y="314846"/>
                    <a:pt x="385305" y="314378"/>
                    <a:pt x="370409" y="308763"/>
                  </a:cubicBezTo>
                  <a:cubicBezTo>
                    <a:pt x="355512" y="303147"/>
                    <a:pt x="351657" y="291082"/>
                    <a:pt x="340413" y="283026"/>
                  </a:cubicBezTo>
                  <a:cubicBezTo>
                    <a:pt x="331686" y="276776"/>
                    <a:pt x="329779" y="272298"/>
                    <a:pt x="316506" y="269089"/>
                  </a:cubicBezTo>
                  <a:cubicBezTo>
                    <a:pt x="303233" y="265880"/>
                    <a:pt x="303842" y="259062"/>
                    <a:pt x="313827" y="254149"/>
                  </a:cubicBezTo>
                  <a:cubicBezTo>
                    <a:pt x="319347" y="251474"/>
                    <a:pt x="334771" y="257023"/>
                    <a:pt x="336923" y="253179"/>
                  </a:cubicBezTo>
                  <a:cubicBezTo>
                    <a:pt x="341915" y="244155"/>
                    <a:pt x="339236" y="235064"/>
                    <a:pt x="349099" y="227276"/>
                  </a:cubicBezTo>
                  <a:cubicBezTo>
                    <a:pt x="353889" y="223499"/>
                    <a:pt x="349099" y="221460"/>
                    <a:pt x="351250" y="218653"/>
                  </a:cubicBezTo>
                  <a:cubicBezTo>
                    <a:pt x="354011" y="215076"/>
                    <a:pt x="365173" y="216346"/>
                    <a:pt x="368623" y="212603"/>
                  </a:cubicBezTo>
                  <a:cubicBezTo>
                    <a:pt x="372073" y="208859"/>
                    <a:pt x="370693" y="204381"/>
                    <a:pt x="373737" y="200637"/>
                  </a:cubicBezTo>
                  <a:cubicBezTo>
                    <a:pt x="376781" y="196894"/>
                    <a:pt x="384534" y="193117"/>
                    <a:pt x="389202" y="189975"/>
                  </a:cubicBezTo>
                  <a:cubicBezTo>
                    <a:pt x="393870" y="186833"/>
                    <a:pt x="396265" y="188337"/>
                    <a:pt x="402028" y="186633"/>
                  </a:cubicBezTo>
                  <a:cubicBezTo>
                    <a:pt x="409578" y="184226"/>
                    <a:pt x="409578" y="178879"/>
                    <a:pt x="413718" y="174968"/>
                  </a:cubicBezTo>
                  <a:cubicBezTo>
                    <a:pt x="425043" y="164172"/>
                    <a:pt x="418508" y="156652"/>
                    <a:pt x="422201" y="144887"/>
                  </a:cubicBezTo>
                  <a:cubicBezTo>
                    <a:pt x="424150" y="138570"/>
                    <a:pt x="434094" y="135662"/>
                    <a:pt x="438681" y="130214"/>
                  </a:cubicBezTo>
                  <a:cubicBezTo>
                    <a:pt x="441847" y="126437"/>
                    <a:pt x="438397" y="120187"/>
                    <a:pt x="445135" y="117981"/>
                  </a:cubicBezTo>
                  <a:cubicBezTo>
                    <a:pt x="455932" y="114204"/>
                    <a:pt x="468352" y="112265"/>
                    <a:pt x="478580" y="107787"/>
                  </a:cubicBezTo>
                  <a:cubicBezTo>
                    <a:pt x="496115" y="100099"/>
                    <a:pt x="480285" y="96055"/>
                    <a:pt x="468352" y="88735"/>
                  </a:cubicBezTo>
                  <a:cubicBezTo>
                    <a:pt x="454430" y="80212"/>
                    <a:pt x="458205" y="66742"/>
                    <a:pt x="458407" y="56782"/>
                  </a:cubicBezTo>
                  <a:cubicBezTo>
                    <a:pt x="458407" y="48259"/>
                    <a:pt x="458894" y="35959"/>
                    <a:pt x="451710" y="27804"/>
                  </a:cubicBezTo>
                  <a:cubicBezTo>
                    <a:pt x="442456" y="17309"/>
                    <a:pt x="418305" y="11727"/>
                    <a:pt x="416113" y="-339"/>
                  </a:cubicBezTo>
                  <a:cubicBezTo>
                    <a:pt x="409740" y="3405"/>
                    <a:pt x="408239" y="5510"/>
                    <a:pt x="398416" y="470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96B0A950-5BFC-4A32-A34C-7BDBB0B335AA}"/>
                </a:ext>
              </a:extLst>
            </p:cNvPr>
            <p:cNvSpPr/>
            <p:nvPr/>
          </p:nvSpPr>
          <p:spPr>
            <a:xfrm>
              <a:off x="8986588" y="5354433"/>
              <a:ext cx="243602" cy="187760"/>
            </a:xfrm>
            <a:custGeom>
              <a:avLst/>
              <a:gdLst>
                <a:gd name="connsiteX0" fmla="*/ 181910 w 250020"/>
                <a:gd name="connsiteY0" fmla="*/ 95151 h 257086"/>
                <a:gd name="connsiteX1" fmla="*/ 205776 w 250020"/>
                <a:gd name="connsiteY1" fmla="*/ 122291 h 257086"/>
                <a:gd name="connsiteX2" fmla="*/ 199769 w 250020"/>
                <a:gd name="connsiteY2" fmla="*/ 134691 h 257086"/>
                <a:gd name="connsiteX3" fmla="*/ 214584 w 250020"/>
                <a:gd name="connsiteY3" fmla="*/ 142011 h 257086"/>
                <a:gd name="connsiteX4" fmla="*/ 207805 w 250020"/>
                <a:gd name="connsiteY4" fmla="*/ 155113 h 257086"/>
                <a:gd name="connsiteX5" fmla="*/ 213123 w 250020"/>
                <a:gd name="connsiteY5" fmla="*/ 174933 h 257086"/>
                <a:gd name="connsiteX6" fmla="*/ 224244 w 250020"/>
                <a:gd name="connsiteY6" fmla="*/ 174632 h 257086"/>
                <a:gd name="connsiteX7" fmla="*/ 241617 w 250020"/>
                <a:gd name="connsiteY7" fmla="*/ 170789 h 257086"/>
                <a:gd name="connsiteX8" fmla="*/ 238979 w 250020"/>
                <a:gd name="connsiteY8" fmla="*/ 139972 h 257086"/>
                <a:gd name="connsiteX9" fmla="*/ 223798 w 250020"/>
                <a:gd name="connsiteY9" fmla="*/ 126903 h 257086"/>
                <a:gd name="connsiteX10" fmla="*/ 219171 w 250020"/>
                <a:gd name="connsiteY10" fmla="*/ 111261 h 257086"/>
                <a:gd name="connsiteX11" fmla="*/ 186090 w 250020"/>
                <a:gd name="connsiteY11" fmla="*/ 85024 h 257086"/>
                <a:gd name="connsiteX12" fmla="*/ 173548 w 250020"/>
                <a:gd name="connsiteY12" fmla="*/ 77537 h 257086"/>
                <a:gd name="connsiteX13" fmla="*/ 174076 w 250020"/>
                <a:gd name="connsiteY13" fmla="*/ 60825 h 257086"/>
                <a:gd name="connsiteX14" fmla="*/ 216492 w 250020"/>
                <a:gd name="connsiteY14" fmla="*/ 42776 h 257086"/>
                <a:gd name="connsiteX15" fmla="*/ 220307 w 250020"/>
                <a:gd name="connsiteY15" fmla="*/ 25262 h 257086"/>
                <a:gd name="connsiteX16" fmla="*/ 216248 w 250020"/>
                <a:gd name="connsiteY16" fmla="*/ 17107 h 257086"/>
                <a:gd name="connsiteX17" fmla="*/ 176470 w 250020"/>
                <a:gd name="connsiteY17" fmla="*/ 763 h 257086"/>
                <a:gd name="connsiteX18" fmla="*/ 159585 w 250020"/>
                <a:gd name="connsiteY18" fmla="*/ 25797 h 257086"/>
                <a:gd name="connsiteX19" fmla="*/ 154593 w 250020"/>
                <a:gd name="connsiteY19" fmla="*/ 32482 h 257086"/>
                <a:gd name="connsiteX20" fmla="*/ 143796 w 250020"/>
                <a:gd name="connsiteY20" fmla="*/ 25797 h 257086"/>
                <a:gd name="connsiteX21" fmla="*/ 134866 w 250020"/>
                <a:gd name="connsiteY21" fmla="*/ 48391 h 257086"/>
                <a:gd name="connsiteX22" fmla="*/ 140224 w 250020"/>
                <a:gd name="connsiteY22" fmla="*/ 60892 h 257086"/>
                <a:gd name="connsiteX23" fmla="*/ 141157 w 250020"/>
                <a:gd name="connsiteY23" fmla="*/ 74529 h 257086"/>
                <a:gd name="connsiteX24" fmla="*/ 169245 w 250020"/>
                <a:gd name="connsiteY24" fmla="*/ 83854 h 257086"/>
                <a:gd name="connsiteX25" fmla="*/ 181950 w 250020"/>
                <a:gd name="connsiteY25" fmla="*/ 95184 h 257086"/>
                <a:gd name="connsiteX26" fmla="*/ 181910 w 250020"/>
                <a:gd name="connsiteY26" fmla="*/ 95151 h 257086"/>
                <a:gd name="connsiteX27" fmla="*/ 128940 w 250020"/>
                <a:gd name="connsiteY27" fmla="*/ 78105 h 257086"/>
                <a:gd name="connsiteX28" fmla="*/ 144242 w 250020"/>
                <a:gd name="connsiteY28" fmla="*/ 104844 h 257086"/>
                <a:gd name="connsiteX29" fmla="*/ 129143 w 250020"/>
                <a:gd name="connsiteY29" fmla="*/ 78105 h 257086"/>
                <a:gd name="connsiteX30" fmla="*/ 146109 w 250020"/>
                <a:gd name="connsiteY30" fmla="*/ 140106 h 257086"/>
                <a:gd name="connsiteX31" fmla="*/ 154755 w 250020"/>
                <a:gd name="connsiteY31" fmla="*/ 142813 h 257086"/>
                <a:gd name="connsiteX32" fmla="*/ 164132 w 250020"/>
                <a:gd name="connsiteY32" fmla="*/ 140874 h 257086"/>
                <a:gd name="connsiteX33" fmla="*/ 153862 w 250020"/>
                <a:gd name="connsiteY33" fmla="*/ 155681 h 257086"/>
                <a:gd name="connsiteX34" fmla="*/ 156825 w 250020"/>
                <a:gd name="connsiteY34" fmla="*/ 174365 h 257086"/>
                <a:gd name="connsiteX35" fmla="*/ 187876 w 250020"/>
                <a:gd name="connsiteY35" fmla="*/ 166443 h 257086"/>
                <a:gd name="connsiteX36" fmla="*/ 194452 w 250020"/>
                <a:gd name="connsiteY36" fmla="*/ 160628 h 257086"/>
                <a:gd name="connsiteX37" fmla="*/ 184669 w 250020"/>
                <a:gd name="connsiteY37" fmla="*/ 155514 h 257086"/>
                <a:gd name="connsiteX38" fmla="*/ 182518 w 250020"/>
                <a:gd name="connsiteY38" fmla="*/ 141175 h 257086"/>
                <a:gd name="connsiteX39" fmla="*/ 160397 w 250020"/>
                <a:gd name="connsiteY39" fmla="*/ 119985 h 257086"/>
                <a:gd name="connsiteX40" fmla="*/ 146109 w 250020"/>
                <a:gd name="connsiteY40" fmla="*/ 140039 h 257086"/>
                <a:gd name="connsiteX41" fmla="*/ 48694 w 250020"/>
                <a:gd name="connsiteY41" fmla="*/ 110559 h 257086"/>
                <a:gd name="connsiteX42" fmla="*/ 433 w 250020"/>
                <a:gd name="connsiteY42" fmla="*/ 121088 h 257086"/>
                <a:gd name="connsiteX43" fmla="*/ 32905 w 250020"/>
                <a:gd name="connsiteY43" fmla="*/ 120352 h 257086"/>
                <a:gd name="connsiteX44" fmla="*/ 80273 w 250020"/>
                <a:gd name="connsiteY44" fmla="*/ 109155 h 257086"/>
                <a:gd name="connsiteX45" fmla="*/ 48856 w 250020"/>
                <a:gd name="connsiteY45" fmla="*/ 110559 h 257086"/>
                <a:gd name="connsiteX46" fmla="*/ 182031 w 250020"/>
                <a:gd name="connsiteY46" fmla="*/ 177406 h 257086"/>
                <a:gd name="connsiteX47" fmla="*/ 205979 w 250020"/>
                <a:gd name="connsiteY47" fmla="*/ 178610 h 257086"/>
                <a:gd name="connsiteX48" fmla="*/ 181910 w 250020"/>
                <a:gd name="connsiteY48" fmla="*/ 177406 h 257086"/>
                <a:gd name="connsiteX49" fmla="*/ 229156 w 250020"/>
                <a:gd name="connsiteY49" fmla="*/ 242382 h 257086"/>
                <a:gd name="connsiteX50" fmla="*/ 239669 w 250020"/>
                <a:gd name="connsiteY50" fmla="*/ 225670 h 257086"/>
                <a:gd name="connsiteX51" fmla="*/ 245189 w 250020"/>
                <a:gd name="connsiteY51" fmla="*/ 200502 h 257086"/>
                <a:gd name="connsiteX52" fmla="*/ 228181 w 250020"/>
                <a:gd name="connsiteY52" fmla="*/ 193817 h 257086"/>
                <a:gd name="connsiteX53" fmla="*/ 216411 w 250020"/>
                <a:gd name="connsiteY53" fmla="*/ 198664 h 257086"/>
                <a:gd name="connsiteX54" fmla="*/ 195791 w 250020"/>
                <a:gd name="connsiteY54" fmla="*/ 199399 h 257086"/>
                <a:gd name="connsiteX55" fmla="*/ 173385 w 250020"/>
                <a:gd name="connsiteY55" fmla="*/ 193717 h 257086"/>
                <a:gd name="connsiteX56" fmla="*/ 144972 w 250020"/>
                <a:gd name="connsiteY56" fmla="*/ 184125 h 257086"/>
                <a:gd name="connsiteX57" fmla="*/ 113191 w 250020"/>
                <a:gd name="connsiteY57" fmla="*/ 186264 h 257086"/>
                <a:gd name="connsiteX58" fmla="*/ 115180 w 250020"/>
                <a:gd name="connsiteY58" fmla="*/ 196291 h 257086"/>
                <a:gd name="connsiteX59" fmla="*/ 131740 w 250020"/>
                <a:gd name="connsiteY59" fmla="*/ 196291 h 257086"/>
                <a:gd name="connsiteX60" fmla="*/ 146840 w 250020"/>
                <a:gd name="connsiteY60" fmla="*/ 199031 h 257086"/>
                <a:gd name="connsiteX61" fmla="*/ 158043 w 250020"/>
                <a:gd name="connsiteY61" fmla="*/ 227408 h 257086"/>
                <a:gd name="connsiteX62" fmla="*/ 190149 w 250020"/>
                <a:gd name="connsiteY62" fmla="*/ 256487 h 257086"/>
                <a:gd name="connsiteX63" fmla="*/ 197334 w 250020"/>
                <a:gd name="connsiteY63" fmla="*/ 237435 h 257086"/>
                <a:gd name="connsiteX64" fmla="*/ 229237 w 250020"/>
                <a:gd name="connsiteY64" fmla="*/ 242850 h 25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50020" h="257086">
                  <a:moveTo>
                    <a:pt x="181910" y="95151"/>
                  </a:moveTo>
                  <a:cubicBezTo>
                    <a:pt x="190920" y="97925"/>
                    <a:pt x="215680" y="117578"/>
                    <a:pt x="205776" y="122291"/>
                  </a:cubicBezTo>
                  <a:cubicBezTo>
                    <a:pt x="201027" y="124497"/>
                    <a:pt x="199241" y="130413"/>
                    <a:pt x="199769" y="134691"/>
                  </a:cubicBezTo>
                  <a:cubicBezTo>
                    <a:pt x="200500" y="141108"/>
                    <a:pt x="209267" y="137566"/>
                    <a:pt x="214584" y="142011"/>
                  </a:cubicBezTo>
                  <a:cubicBezTo>
                    <a:pt x="222702" y="148963"/>
                    <a:pt x="207644" y="149798"/>
                    <a:pt x="207805" y="155113"/>
                  </a:cubicBezTo>
                  <a:cubicBezTo>
                    <a:pt x="207805" y="161564"/>
                    <a:pt x="214788" y="168683"/>
                    <a:pt x="213123" y="174933"/>
                  </a:cubicBezTo>
                  <a:cubicBezTo>
                    <a:pt x="210769" y="183490"/>
                    <a:pt x="222987" y="178676"/>
                    <a:pt x="224244" y="174632"/>
                  </a:cubicBezTo>
                  <a:cubicBezTo>
                    <a:pt x="226071" y="168683"/>
                    <a:pt x="233296" y="170521"/>
                    <a:pt x="241617" y="170789"/>
                  </a:cubicBezTo>
                  <a:cubicBezTo>
                    <a:pt x="257326" y="171290"/>
                    <a:pt x="247583" y="146556"/>
                    <a:pt x="238979" y="139972"/>
                  </a:cubicBezTo>
                  <a:cubicBezTo>
                    <a:pt x="234270" y="136329"/>
                    <a:pt x="224732" y="131649"/>
                    <a:pt x="223798" y="126903"/>
                  </a:cubicBezTo>
                  <a:cubicBezTo>
                    <a:pt x="222540" y="120519"/>
                    <a:pt x="225137" y="118280"/>
                    <a:pt x="219171" y="111261"/>
                  </a:cubicBezTo>
                  <a:cubicBezTo>
                    <a:pt x="209511" y="99964"/>
                    <a:pt x="209389" y="90505"/>
                    <a:pt x="186090" y="85024"/>
                  </a:cubicBezTo>
                  <a:cubicBezTo>
                    <a:pt x="177972" y="83185"/>
                    <a:pt x="170666" y="84088"/>
                    <a:pt x="173548" y="77537"/>
                  </a:cubicBezTo>
                  <a:cubicBezTo>
                    <a:pt x="176105" y="71721"/>
                    <a:pt x="173061" y="66473"/>
                    <a:pt x="174076" y="60825"/>
                  </a:cubicBezTo>
                  <a:cubicBezTo>
                    <a:pt x="176309" y="47790"/>
                    <a:pt x="211825" y="55811"/>
                    <a:pt x="216492" y="42776"/>
                  </a:cubicBezTo>
                  <a:cubicBezTo>
                    <a:pt x="218359" y="37529"/>
                    <a:pt x="215884" y="29407"/>
                    <a:pt x="220307" y="25262"/>
                  </a:cubicBezTo>
                  <a:cubicBezTo>
                    <a:pt x="226111" y="19781"/>
                    <a:pt x="224366" y="20416"/>
                    <a:pt x="216248" y="17107"/>
                  </a:cubicBezTo>
                  <a:cubicBezTo>
                    <a:pt x="206426" y="13029"/>
                    <a:pt x="186739" y="-4919"/>
                    <a:pt x="176470" y="763"/>
                  </a:cubicBezTo>
                  <a:cubicBezTo>
                    <a:pt x="166201" y="6445"/>
                    <a:pt x="164010" y="17675"/>
                    <a:pt x="159585" y="25797"/>
                  </a:cubicBezTo>
                  <a:cubicBezTo>
                    <a:pt x="158570" y="28321"/>
                    <a:pt x="156866" y="30610"/>
                    <a:pt x="154593" y="32482"/>
                  </a:cubicBezTo>
                  <a:cubicBezTo>
                    <a:pt x="150331" y="35122"/>
                    <a:pt x="146475" y="26967"/>
                    <a:pt x="143796" y="25797"/>
                  </a:cubicBezTo>
                  <a:cubicBezTo>
                    <a:pt x="138519" y="23123"/>
                    <a:pt x="132228" y="44715"/>
                    <a:pt x="134866" y="48391"/>
                  </a:cubicBezTo>
                  <a:cubicBezTo>
                    <a:pt x="138722" y="53806"/>
                    <a:pt x="144891" y="54876"/>
                    <a:pt x="140224" y="60892"/>
                  </a:cubicBezTo>
                  <a:cubicBezTo>
                    <a:pt x="136612" y="65504"/>
                    <a:pt x="129265" y="68646"/>
                    <a:pt x="141157" y="74529"/>
                  </a:cubicBezTo>
                  <a:cubicBezTo>
                    <a:pt x="148870" y="78339"/>
                    <a:pt x="163522" y="78874"/>
                    <a:pt x="169245" y="83854"/>
                  </a:cubicBezTo>
                  <a:cubicBezTo>
                    <a:pt x="174969" y="88834"/>
                    <a:pt x="172250" y="92143"/>
                    <a:pt x="181950" y="95184"/>
                  </a:cubicBezTo>
                  <a:cubicBezTo>
                    <a:pt x="197902" y="100098"/>
                    <a:pt x="166282" y="90171"/>
                    <a:pt x="181910" y="95151"/>
                  </a:cubicBezTo>
                  <a:close/>
                  <a:moveTo>
                    <a:pt x="128940" y="78105"/>
                  </a:moveTo>
                  <a:cubicBezTo>
                    <a:pt x="127438" y="85425"/>
                    <a:pt x="124881" y="100766"/>
                    <a:pt x="144242" y="104844"/>
                  </a:cubicBezTo>
                  <a:cubicBezTo>
                    <a:pt x="163604" y="108921"/>
                    <a:pt x="130198" y="72991"/>
                    <a:pt x="129143" y="78105"/>
                  </a:cubicBezTo>
                  <a:close/>
                  <a:moveTo>
                    <a:pt x="146109" y="140106"/>
                  </a:moveTo>
                  <a:cubicBezTo>
                    <a:pt x="148950" y="141108"/>
                    <a:pt x="151833" y="142011"/>
                    <a:pt x="154755" y="142813"/>
                  </a:cubicBezTo>
                  <a:cubicBezTo>
                    <a:pt x="160356" y="144083"/>
                    <a:pt x="160681" y="140373"/>
                    <a:pt x="164132" y="140874"/>
                  </a:cubicBezTo>
                  <a:cubicBezTo>
                    <a:pt x="173102" y="142111"/>
                    <a:pt x="155201" y="155113"/>
                    <a:pt x="153862" y="155681"/>
                  </a:cubicBezTo>
                  <a:cubicBezTo>
                    <a:pt x="147490" y="158422"/>
                    <a:pt x="140549" y="173228"/>
                    <a:pt x="156825" y="174365"/>
                  </a:cubicBezTo>
                  <a:cubicBezTo>
                    <a:pt x="168637" y="175200"/>
                    <a:pt x="180124" y="170488"/>
                    <a:pt x="187876" y="166443"/>
                  </a:cubicBezTo>
                  <a:cubicBezTo>
                    <a:pt x="190190" y="165240"/>
                    <a:pt x="194736" y="163101"/>
                    <a:pt x="194452" y="160628"/>
                  </a:cubicBezTo>
                  <a:cubicBezTo>
                    <a:pt x="194005" y="156216"/>
                    <a:pt x="185441" y="157921"/>
                    <a:pt x="184669" y="155514"/>
                  </a:cubicBezTo>
                  <a:cubicBezTo>
                    <a:pt x="183046" y="150601"/>
                    <a:pt x="186902" y="147726"/>
                    <a:pt x="182518" y="141175"/>
                  </a:cubicBezTo>
                  <a:cubicBezTo>
                    <a:pt x="178135" y="134624"/>
                    <a:pt x="170341" y="124998"/>
                    <a:pt x="160397" y="119985"/>
                  </a:cubicBezTo>
                  <a:cubicBezTo>
                    <a:pt x="144161" y="111963"/>
                    <a:pt x="135556" y="137098"/>
                    <a:pt x="146109" y="140039"/>
                  </a:cubicBezTo>
                  <a:close/>
                  <a:moveTo>
                    <a:pt x="48694" y="110559"/>
                  </a:moveTo>
                  <a:cubicBezTo>
                    <a:pt x="35502" y="113634"/>
                    <a:pt x="8104" y="113267"/>
                    <a:pt x="433" y="121088"/>
                  </a:cubicBezTo>
                  <a:cubicBezTo>
                    <a:pt x="-4600" y="126101"/>
                    <a:pt x="30550" y="120753"/>
                    <a:pt x="32905" y="120352"/>
                  </a:cubicBezTo>
                  <a:cubicBezTo>
                    <a:pt x="44878" y="118013"/>
                    <a:pt x="77838" y="118046"/>
                    <a:pt x="80273" y="109155"/>
                  </a:cubicBezTo>
                  <a:cubicBezTo>
                    <a:pt x="85224" y="91040"/>
                    <a:pt x="56852" y="108687"/>
                    <a:pt x="48856" y="110559"/>
                  </a:cubicBezTo>
                  <a:close/>
                  <a:moveTo>
                    <a:pt x="182031" y="177406"/>
                  </a:moveTo>
                  <a:cubicBezTo>
                    <a:pt x="182316" y="183189"/>
                    <a:pt x="209308" y="185762"/>
                    <a:pt x="205979" y="178610"/>
                  </a:cubicBezTo>
                  <a:cubicBezTo>
                    <a:pt x="202651" y="171457"/>
                    <a:pt x="181910" y="173061"/>
                    <a:pt x="181910" y="177406"/>
                  </a:cubicBezTo>
                  <a:close/>
                  <a:moveTo>
                    <a:pt x="229156" y="242382"/>
                  </a:moveTo>
                  <a:cubicBezTo>
                    <a:pt x="238288" y="240911"/>
                    <a:pt x="238735" y="231118"/>
                    <a:pt x="239669" y="225670"/>
                  </a:cubicBezTo>
                  <a:cubicBezTo>
                    <a:pt x="240724" y="218986"/>
                    <a:pt x="248476" y="207421"/>
                    <a:pt x="245189" y="200502"/>
                  </a:cubicBezTo>
                  <a:cubicBezTo>
                    <a:pt x="243119" y="196157"/>
                    <a:pt x="233377" y="191177"/>
                    <a:pt x="228181" y="193817"/>
                  </a:cubicBezTo>
                  <a:cubicBezTo>
                    <a:pt x="220632" y="197394"/>
                    <a:pt x="231957" y="203276"/>
                    <a:pt x="216411" y="198664"/>
                  </a:cubicBezTo>
                  <a:cubicBezTo>
                    <a:pt x="206629" y="195756"/>
                    <a:pt x="206020" y="203243"/>
                    <a:pt x="195791" y="199399"/>
                  </a:cubicBezTo>
                  <a:cubicBezTo>
                    <a:pt x="183858" y="194887"/>
                    <a:pt x="185969" y="205048"/>
                    <a:pt x="173385" y="193717"/>
                  </a:cubicBezTo>
                  <a:cubicBezTo>
                    <a:pt x="162223" y="183690"/>
                    <a:pt x="160803" y="182821"/>
                    <a:pt x="144972" y="184125"/>
                  </a:cubicBezTo>
                  <a:cubicBezTo>
                    <a:pt x="133567" y="185094"/>
                    <a:pt x="121999" y="181384"/>
                    <a:pt x="113191" y="186264"/>
                  </a:cubicBezTo>
                  <a:cubicBezTo>
                    <a:pt x="108767" y="188737"/>
                    <a:pt x="102353" y="195388"/>
                    <a:pt x="115180" y="196291"/>
                  </a:cubicBezTo>
                  <a:cubicBezTo>
                    <a:pt x="120903" y="196759"/>
                    <a:pt x="125855" y="195288"/>
                    <a:pt x="131740" y="196291"/>
                  </a:cubicBezTo>
                  <a:cubicBezTo>
                    <a:pt x="137626" y="197293"/>
                    <a:pt x="140671" y="199867"/>
                    <a:pt x="146840" y="199031"/>
                  </a:cubicBezTo>
                  <a:cubicBezTo>
                    <a:pt x="171518" y="195689"/>
                    <a:pt x="158124" y="222428"/>
                    <a:pt x="158043" y="227408"/>
                  </a:cubicBezTo>
                  <a:cubicBezTo>
                    <a:pt x="157962" y="232388"/>
                    <a:pt x="186456" y="259695"/>
                    <a:pt x="190149" y="256487"/>
                  </a:cubicBezTo>
                  <a:cubicBezTo>
                    <a:pt x="195791" y="251540"/>
                    <a:pt x="192747" y="242850"/>
                    <a:pt x="197334" y="237435"/>
                  </a:cubicBezTo>
                  <a:cubicBezTo>
                    <a:pt x="200581" y="233625"/>
                    <a:pt x="221688" y="244120"/>
                    <a:pt x="229237" y="2428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F355E649-CE4D-4779-A311-A7348900573F}"/>
                </a:ext>
              </a:extLst>
            </p:cNvPr>
            <p:cNvSpPr/>
            <p:nvPr/>
          </p:nvSpPr>
          <p:spPr>
            <a:xfrm>
              <a:off x="7004968" y="4591273"/>
              <a:ext cx="204437" cy="53155"/>
            </a:xfrm>
            <a:custGeom>
              <a:avLst/>
              <a:gdLst>
                <a:gd name="connsiteX0" fmla="*/ 81729 w 209823"/>
                <a:gd name="connsiteY0" fmla="*/ 47307 h 72781"/>
                <a:gd name="connsiteX1" fmla="*/ 112293 w 209823"/>
                <a:gd name="connsiteY1" fmla="*/ 60676 h 72781"/>
                <a:gd name="connsiteX2" fmla="*/ 164410 w 209823"/>
                <a:gd name="connsiteY2" fmla="*/ 65590 h 72781"/>
                <a:gd name="connsiteX3" fmla="*/ 193229 w 209823"/>
                <a:gd name="connsiteY3" fmla="*/ 71071 h 72781"/>
                <a:gd name="connsiteX4" fmla="*/ 209465 w 209823"/>
                <a:gd name="connsiteY4" fmla="*/ 70001 h 72781"/>
                <a:gd name="connsiteX5" fmla="*/ 206908 w 209823"/>
                <a:gd name="connsiteY5" fmla="*/ 57668 h 72781"/>
                <a:gd name="connsiteX6" fmla="*/ 185598 w 209823"/>
                <a:gd name="connsiteY6" fmla="*/ 47173 h 72781"/>
                <a:gd name="connsiteX7" fmla="*/ 174923 w 209823"/>
                <a:gd name="connsiteY7" fmla="*/ 36478 h 72781"/>
                <a:gd name="connsiteX8" fmla="*/ 146510 w 209823"/>
                <a:gd name="connsiteY8" fmla="*/ 32667 h 72781"/>
                <a:gd name="connsiteX9" fmla="*/ 121791 w 209823"/>
                <a:gd name="connsiteY9" fmla="*/ 26885 h 72781"/>
                <a:gd name="connsiteX10" fmla="*/ 63788 w 209823"/>
                <a:gd name="connsiteY10" fmla="*/ 12179 h 72781"/>
                <a:gd name="connsiteX11" fmla="*/ -60 w 209823"/>
                <a:gd name="connsiteY11" fmla="*/ 915 h 72781"/>
                <a:gd name="connsiteX12" fmla="*/ 47024 w 209823"/>
                <a:gd name="connsiteY12" fmla="*/ 20501 h 72781"/>
                <a:gd name="connsiteX13" fmla="*/ 48283 w 209823"/>
                <a:gd name="connsiteY13" fmla="*/ 44299 h 72781"/>
                <a:gd name="connsiteX14" fmla="*/ 81526 w 209823"/>
                <a:gd name="connsiteY14" fmla="*/ 47340 h 72781"/>
                <a:gd name="connsiteX15" fmla="*/ 81729 w 209823"/>
                <a:gd name="connsiteY15" fmla="*/ 47307 h 7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9823" h="72781">
                  <a:moveTo>
                    <a:pt x="81729" y="47307"/>
                  </a:moveTo>
                  <a:cubicBezTo>
                    <a:pt x="98330" y="45201"/>
                    <a:pt x="95408" y="60676"/>
                    <a:pt x="112293" y="60676"/>
                  </a:cubicBezTo>
                  <a:cubicBezTo>
                    <a:pt x="129868" y="60011"/>
                    <a:pt x="147484" y="61669"/>
                    <a:pt x="164410" y="65590"/>
                  </a:cubicBezTo>
                  <a:cubicBezTo>
                    <a:pt x="155156" y="54092"/>
                    <a:pt x="189495" y="70202"/>
                    <a:pt x="193229" y="71071"/>
                  </a:cubicBezTo>
                  <a:cubicBezTo>
                    <a:pt x="195543" y="71606"/>
                    <a:pt x="212184" y="74413"/>
                    <a:pt x="209465" y="70001"/>
                  </a:cubicBezTo>
                  <a:cubicBezTo>
                    <a:pt x="205406" y="63317"/>
                    <a:pt x="192580" y="63317"/>
                    <a:pt x="206908" y="57668"/>
                  </a:cubicBezTo>
                  <a:cubicBezTo>
                    <a:pt x="201550" y="55295"/>
                    <a:pt x="186856" y="50984"/>
                    <a:pt x="185598" y="47173"/>
                  </a:cubicBezTo>
                  <a:cubicBezTo>
                    <a:pt x="183366" y="40488"/>
                    <a:pt x="183000" y="40956"/>
                    <a:pt x="174923" y="36478"/>
                  </a:cubicBezTo>
                  <a:cubicBezTo>
                    <a:pt x="168794" y="33135"/>
                    <a:pt x="153938" y="32935"/>
                    <a:pt x="146510" y="32667"/>
                  </a:cubicBezTo>
                  <a:cubicBezTo>
                    <a:pt x="131654" y="32133"/>
                    <a:pt x="133927" y="32667"/>
                    <a:pt x="121791" y="26885"/>
                  </a:cubicBezTo>
                  <a:cubicBezTo>
                    <a:pt x="100441" y="16858"/>
                    <a:pt x="90009" y="15287"/>
                    <a:pt x="63788" y="12179"/>
                  </a:cubicBezTo>
                  <a:cubicBezTo>
                    <a:pt x="40043" y="9371"/>
                    <a:pt x="25755" y="-4533"/>
                    <a:pt x="-60" y="915"/>
                  </a:cubicBezTo>
                  <a:cubicBezTo>
                    <a:pt x="13579" y="6697"/>
                    <a:pt x="44914" y="9405"/>
                    <a:pt x="47024" y="20501"/>
                  </a:cubicBezTo>
                  <a:cubicBezTo>
                    <a:pt x="48851" y="30027"/>
                    <a:pt x="68740" y="37213"/>
                    <a:pt x="48283" y="44299"/>
                  </a:cubicBezTo>
                  <a:cubicBezTo>
                    <a:pt x="57821" y="45703"/>
                    <a:pt x="71947" y="48543"/>
                    <a:pt x="81526" y="47340"/>
                  </a:cubicBezTo>
                  <a:cubicBezTo>
                    <a:pt x="92485" y="45937"/>
                    <a:pt x="76655" y="47908"/>
                    <a:pt x="81729" y="4730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FBD48591-D28F-4F00-863D-63722D2E966A}"/>
                </a:ext>
              </a:extLst>
            </p:cNvPr>
            <p:cNvSpPr/>
            <p:nvPr/>
          </p:nvSpPr>
          <p:spPr>
            <a:xfrm>
              <a:off x="9468330" y="6422349"/>
              <a:ext cx="358164" cy="102995"/>
            </a:xfrm>
            <a:custGeom>
              <a:avLst/>
              <a:gdLst>
                <a:gd name="connsiteX0" fmla="*/ 226265 w 367600"/>
                <a:gd name="connsiteY0" fmla="*/ 106307 h 141023"/>
                <a:gd name="connsiteX1" fmla="*/ 202317 w 367600"/>
                <a:gd name="connsiteY1" fmla="*/ 90364 h 141023"/>
                <a:gd name="connsiteX2" fmla="*/ 183524 w 367600"/>
                <a:gd name="connsiteY2" fmla="*/ 82309 h 141023"/>
                <a:gd name="connsiteX3" fmla="*/ 156451 w 367600"/>
                <a:gd name="connsiteY3" fmla="*/ 86988 h 141023"/>
                <a:gd name="connsiteX4" fmla="*/ 115333 w 367600"/>
                <a:gd name="connsiteY4" fmla="*/ 91066 h 141023"/>
                <a:gd name="connsiteX5" fmla="*/ 76123 w 367600"/>
                <a:gd name="connsiteY5" fmla="*/ 81841 h 141023"/>
                <a:gd name="connsiteX6" fmla="*/ 45640 w 367600"/>
                <a:gd name="connsiteY6" fmla="*/ 79969 h 141023"/>
                <a:gd name="connsiteX7" fmla="*/ 13858 w 367600"/>
                <a:gd name="connsiteY7" fmla="*/ 81908 h 141023"/>
                <a:gd name="connsiteX8" fmla="*/ 11302 w 367600"/>
                <a:gd name="connsiteY8" fmla="*/ 103833 h 141023"/>
                <a:gd name="connsiteX9" fmla="*/ 27538 w 367600"/>
                <a:gd name="connsiteY9" fmla="*/ 126595 h 141023"/>
                <a:gd name="connsiteX10" fmla="*/ 70968 w 367600"/>
                <a:gd name="connsiteY10" fmla="*/ 138761 h 141023"/>
                <a:gd name="connsiteX11" fmla="*/ 128282 w 367600"/>
                <a:gd name="connsiteY11" fmla="*/ 123419 h 141023"/>
                <a:gd name="connsiteX12" fmla="*/ 157425 w 367600"/>
                <a:gd name="connsiteY12" fmla="*/ 135853 h 141023"/>
                <a:gd name="connsiteX13" fmla="*/ 175487 w 367600"/>
                <a:gd name="connsiteY13" fmla="*/ 127664 h 141023"/>
                <a:gd name="connsiteX14" fmla="*/ 188030 w 367600"/>
                <a:gd name="connsiteY14" fmla="*/ 123654 h 141023"/>
                <a:gd name="connsiteX15" fmla="*/ 205889 w 367600"/>
                <a:gd name="connsiteY15" fmla="*/ 122551 h 141023"/>
                <a:gd name="connsiteX16" fmla="*/ 226184 w 367600"/>
                <a:gd name="connsiteY16" fmla="*/ 106307 h 141023"/>
                <a:gd name="connsiteX17" fmla="*/ 1073 w 367600"/>
                <a:gd name="connsiteY17" fmla="*/ 122417 h 141023"/>
                <a:gd name="connsiteX18" fmla="*/ 14102 w 367600"/>
                <a:gd name="connsiteY18" fmla="*/ 121347 h 141023"/>
                <a:gd name="connsiteX19" fmla="*/ 1073 w 367600"/>
                <a:gd name="connsiteY19" fmla="*/ 122417 h 141023"/>
                <a:gd name="connsiteX20" fmla="*/ 345193 w 367600"/>
                <a:gd name="connsiteY20" fmla="*/ 110451 h 141023"/>
                <a:gd name="connsiteX21" fmla="*/ 321570 w 367600"/>
                <a:gd name="connsiteY21" fmla="*/ 82208 h 141023"/>
                <a:gd name="connsiteX22" fmla="*/ 329403 w 367600"/>
                <a:gd name="connsiteY22" fmla="*/ 69474 h 141023"/>
                <a:gd name="connsiteX23" fmla="*/ 320595 w 367600"/>
                <a:gd name="connsiteY23" fmla="*/ 65764 h 141023"/>
                <a:gd name="connsiteX24" fmla="*/ 310123 w 367600"/>
                <a:gd name="connsiteY24" fmla="*/ 54132 h 141023"/>
                <a:gd name="connsiteX25" fmla="*/ 320839 w 367600"/>
                <a:gd name="connsiteY25" fmla="*/ 27394 h 141023"/>
                <a:gd name="connsiteX26" fmla="*/ 301234 w 367600"/>
                <a:gd name="connsiteY26" fmla="*/ 421 h 141023"/>
                <a:gd name="connsiteX27" fmla="*/ 302696 w 367600"/>
                <a:gd name="connsiteY27" fmla="*/ 32407 h 141023"/>
                <a:gd name="connsiteX28" fmla="*/ 300585 w 367600"/>
                <a:gd name="connsiteY28" fmla="*/ 42902 h 141023"/>
                <a:gd name="connsiteX29" fmla="*/ 304278 w 367600"/>
                <a:gd name="connsiteY29" fmla="*/ 58644 h 141023"/>
                <a:gd name="connsiteX30" fmla="*/ 273511 w 367600"/>
                <a:gd name="connsiteY30" fmla="*/ 77462 h 141023"/>
                <a:gd name="connsiteX31" fmla="*/ 249157 w 367600"/>
                <a:gd name="connsiteY31" fmla="*/ 81874 h 141023"/>
                <a:gd name="connsiteX32" fmla="*/ 261903 w 367600"/>
                <a:gd name="connsiteY32" fmla="*/ 113359 h 141023"/>
                <a:gd name="connsiteX33" fmla="*/ 236006 w 367600"/>
                <a:gd name="connsiteY33" fmla="*/ 123954 h 141023"/>
                <a:gd name="connsiteX34" fmla="*/ 262187 w 367600"/>
                <a:gd name="connsiteY34" fmla="*/ 140666 h 141023"/>
                <a:gd name="connsiteX35" fmla="*/ 299408 w 367600"/>
                <a:gd name="connsiteY35" fmla="*/ 134216 h 141023"/>
                <a:gd name="connsiteX36" fmla="*/ 313939 w 367600"/>
                <a:gd name="connsiteY36" fmla="*/ 125692 h 141023"/>
                <a:gd name="connsiteX37" fmla="*/ 334883 w 367600"/>
                <a:gd name="connsiteY37" fmla="*/ 132377 h 141023"/>
                <a:gd name="connsiteX38" fmla="*/ 346289 w 367600"/>
                <a:gd name="connsiteY38" fmla="*/ 130539 h 141023"/>
                <a:gd name="connsiteX39" fmla="*/ 364919 w 367600"/>
                <a:gd name="connsiteY39" fmla="*/ 123854 h 141023"/>
                <a:gd name="connsiteX40" fmla="*/ 345274 w 367600"/>
                <a:gd name="connsiteY40" fmla="*/ 110484 h 14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67600" h="141023">
                  <a:moveTo>
                    <a:pt x="226265" y="106307"/>
                  </a:moveTo>
                  <a:cubicBezTo>
                    <a:pt x="221557" y="95477"/>
                    <a:pt x="204711" y="103833"/>
                    <a:pt x="202317" y="90364"/>
                  </a:cubicBezTo>
                  <a:cubicBezTo>
                    <a:pt x="200815" y="81841"/>
                    <a:pt x="191967" y="76292"/>
                    <a:pt x="183524" y="82309"/>
                  </a:cubicBezTo>
                  <a:cubicBezTo>
                    <a:pt x="177110" y="86854"/>
                    <a:pt x="164650" y="83946"/>
                    <a:pt x="156451" y="86988"/>
                  </a:cubicBezTo>
                  <a:cubicBezTo>
                    <a:pt x="143705" y="92135"/>
                    <a:pt x="129215" y="93572"/>
                    <a:pt x="115333" y="91066"/>
                  </a:cubicBezTo>
                  <a:cubicBezTo>
                    <a:pt x="102141" y="88759"/>
                    <a:pt x="89193" y="84815"/>
                    <a:pt x="76123" y="81841"/>
                  </a:cubicBezTo>
                  <a:cubicBezTo>
                    <a:pt x="65083" y="79300"/>
                    <a:pt x="56437" y="81072"/>
                    <a:pt x="45640" y="79969"/>
                  </a:cubicBezTo>
                  <a:cubicBezTo>
                    <a:pt x="35006" y="78799"/>
                    <a:pt x="24168" y="79468"/>
                    <a:pt x="13858" y="81908"/>
                  </a:cubicBezTo>
                  <a:cubicBezTo>
                    <a:pt x="-5056" y="85250"/>
                    <a:pt x="2128" y="92770"/>
                    <a:pt x="11302" y="103833"/>
                  </a:cubicBezTo>
                  <a:cubicBezTo>
                    <a:pt x="16984" y="110719"/>
                    <a:pt x="20231" y="120545"/>
                    <a:pt x="27538" y="126595"/>
                  </a:cubicBezTo>
                  <a:cubicBezTo>
                    <a:pt x="39389" y="135352"/>
                    <a:pt x="55098" y="139764"/>
                    <a:pt x="70968" y="138761"/>
                  </a:cubicBezTo>
                  <a:cubicBezTo>
                    <a:pt x="91019" y="137524"/>
                    <a:pt x="106769" y="121849"/>
                    <a:pt x="128282" y="123419"/>
                  </a:cubicBezTo>
                  <a:cubicBezTo>
                    <a:pt x="133923" y="123820"/>
                    <a:pt x="156126" y="137591"/>
                    <a:pt x="157425" y="135853"/>
                  </a:cubicBezTo>
                  <a:cubicBezTo>
                    <a:pt x="163269" y="127832"/>
                    <a:pt x="160794" y="126495"/>
                    <a:pt x="175487" y="127664"/>
                  </a:cubicBezTo>
                  <a:cubicBezTo>
                    <a:pt x="181901" y="128166"/>
                    <a:pt x="183199" y="125425"/>
                    <a:pt x="188030" y="123654"/>
                  </a:cubicBezTo>
                  <a:cubicBezTo>
                    <a:pt x="192860" y="121882"/>
                    <a:pt x="200207" y="122517"/>
                    <a:pt x="205889" y="122551"/>
                  </a:cubicBezTo>
                  <a:cubicBezTo>
                    <a:pt x="213763" y="122551"/>
                    <a:pt x="229431" y="113727"/>
                    <a:pt x="226184" y="106307"/>
                  </a:cubicBezTo>
                  <a:close/>
                  <a:moveTo>
                    <a:pt x="1073" y="122417"/>
                  </a:moveTo>
                  <a:cubicBezTo>
                    <a:pt x="3509" y="124991"/>
                    <a:pt x="15076" y="129737"/>
                    <a:pt x="14102" y="121347"/>
                  </a:cubicBezTo>
                  <a:cubicBezTo>
                    <a:pt x="13128" y="112958"/>
                    <a:pt x="-4650" y="116334"/>
                    <a:pt x="1073" y="122417"/>
                  </a:cubicBezTo>
                  <a:close/>
                  <a:moveTo>
                    <a:pt x="345193" y="110451"/>
                  </a:moveTo>
                  <a:cubicBezTo>
                    <a:pt x="336506" y="111922"/>
                    <a:pt x="318810" y="88225"/>
                    <a:pt x="321570" y="82208"/>
                  </a:cubicBezTo>
                  <a:cubicBezTo>
                    <a:pt x="323680" y="77596"/>
                    <a:pt x="328998" y="75022"/>
                    <a:pt x="329403" y="69474"/>
                  </a:cubicBezTo>
                  <a:cubicBezTo>
                    <a:pt x="329809" y="63926"/>
                    <a:pt x="321854" y="58745"/>
                    <a:pt x="320595" y="65764"/>
                  </a:cubicBezTo>
                  <a:cubicBezTo>
                    <a:pt x="318566" y="76927"/>
                    <a:pt x="309149" y="58277"/>
                    <a:pt x="310123" y="54132"/>
                  </a:cubicBezTo>
                  <a:cubicBezTo>
                    <a:pt x="312274" y="44907"/>
                    <a:pt x="317957" y="36418"/>
                    <a:pt x="320839" y="27394"/>
                  </a:cubicBezTo>
                  <a:cubicBezTo>
                    <a:pt x="322381" y="22648"/>
                    <a:pt x="308987" y="-5261"/>
                    <a:pt x="301234" y="421"/>
                  </a:cubicBezTo>
                  <a:cubicBezTo>
                    <a:pt x="292589" y="6771"/>
                    <a:pt x="299935" y="23583"/>
                    <a:pt x="302696" y="32407"/>
                  </a:cubicBezTo>
                  <a:cubicBezTo>
                    <a:pt x="304197" y="37120"/>
                    <a:pt x="301112" y="38758"/>
                    <a:pt x="300585" y="42902"/>
                  </a:cubicBezTo>
                  <a:cubicBezTo>
                    <a:pt x="299976" y="47715"/>
                    <a:pt x="305171" y="54801"/>
                    <a:pt x="304278" y="58644"/>
                  </a:cubicBezTo>
                  <a:cubicBezTo>
                    <a:pt x="303060" y="63592"/>
                    <a:pt x="279478" y="76861"/>
                    <a:pt x="273511" y="77462"/>
                  </a:cubicBezTo>
                  <a:cubicBezTo>
                    <a:pt x="265028" y="78231"/>
                    <a:pt x="244408" y="68204"/>
                    <a:pt x="249157" y="81874"/>
                  </a:cubicBezTo>
                  <a:cubicBezTo>
                    <a:pt x="251958" y="90130"/>
                    <a:pt x="266814" y="106106"/>
                    <a:pt x="261903" y="113359"/>
                  </a:cubicBezTo>
                  <a:cubicBezTo>
                    <a:pt x="256992" y="120612"/>
                    <a:pt x="242745" y="118607"/>
                    <a:pt x="236006" y="123954"/>
                  </a:cubicBezTo>
                  <a:cubicBezTo>
                    <a:pt x="228416" y="130038"/>
                    <a:pt x="255246" y="141201"/>
                    <a:pt x="262187" y="140666"/>
                  </a:cubicBezTo>
                  <a:cubicBezTo>
                    <a:pt x="274810" y="139530"/>
                    <a:pt x="287271" y="137357"/>
                    <a:pt x="299408" y="134216"/>
                  </a:cubicBezTo>
                  <a:cubicBezTo>
                    <a:pt x="305171" y="132511"/>
                    <a:pt x="307526" y="126294"/>
                    <a:pt x="313939" y="125692"/>
                  </a:cubicBezTo>
                  <a:cubicBezTo>
                    <a:pt x="322057" y="124890"/>
                    <a:pt x="328673" y="134917"/>
                    <a:pt x="334883" y="132377"/>
                  </a:cubicBezTo>
                  <a:cubicBezTo>
                    <a:pt x="337765" y="131140"/>
                    <a:pt x="342068" y="127464"/>
                    <a:pt x="346289" y="130539"/>
                  </a:cubicBezTo>
                  <a:cubicBezTo>
                    <a:pt x="352256" y="134884"/>
                    <a:pt x="360820" y="125358"/>
                    <a:pt x="364919" y="123854"/>
                  </a:cubicBezTo>
                  <a:cubicBezTo>
                    <a:pt x="375392" y="120211"/>
                    <a:pt x="351525" y="109482"/>
                    <a:pt x="345274" y="11048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FCF5DA7F-66FD-4D4F-A06A-996A1914B8C7}"/>
                </a:ext>
              </a:extLst>
            </p:cNvPr>
            <p:cNvSpPr/>
            <p:nvPr/>
          </p:nvSpPr>
          <p:spPr>
            <a:xfrm>
              <a:off x="7285797" y="4899078"/>
              <a:ext cx="242124" cy="99097"/>
            </a:xfrm>
            <a:custGeom>
              <a:avLst/>
              <a:gdLst>
                <a:gd name="connsiteX0" fmla="*/ 141761 w 248503"/>
                <a:gd name="connsiteY0" fmla="*/ -339 h 135687"/>
                <a:gd name="connsiteX1" fmla="*/ 126012 w 248503"/>
                <a:gd name="connsiteY1" fmla="*/ 18445 h 135687"/>
                <a:gd name="connsiteX2" fmla="*/ 103647 w 248503"/>
                <a:gd name="connsiteY2" fmla="*/ 35391 h 135687"/>
                <a:gd name="connsiteX3" fmla="*/ 98168 w 248503"/>
                <a:gd name="connsiteY3" fmla="*/ 79376 h 135687"/>
                <a:gd name="connsiteX4" fmla="*/ 72150 w 248503"/>
                <a:gd name="connsiteY4" fmla="*/ 83822 h 135687"/>
                <a:gd name="connsiteX5" fmla="*/ -60 w 248503"/>
                <a:gd name="connsiteY5" fmla="*/ 86496 h 135687"/>
                <a:gd name="connsiteX6" fmla="*/ 26730 w 248503"/>
                <a:gd name="connsiteY6" fmla="*/ 134124 h 135687"/>
                <a:gd name="connsiteX7" fmla="*/ 68618 w 248503"/>
                <a:gd name="connsiteY7" fmla="*/ 134325 h 135687"/>
                <a:gd name="connsiteX8" fmla="*/ 92445 w 248503"/>
                <a:gd name="connsiteY8" fmla="*/ 126771 h 135687"/>
                <a:gd name="connsiteX9" fmla="*/ 121466 w 248503"/>
                <a:gd name="connsiteY9" fmla="*/ 125334 h 135687"/>
                <a:gd name="connsiteX10" fmla="*/ 141355 w 248503"/>
                <a:gd name="connsiteY10" fmla="*/ 118850 h 135687"/>
                <a:gd name="connsiteX11" fmla="*/ 166399 w 248503"/>
                <a:gd name="connsiteY11" fmla="*/ 114371 h 135687"/>
                <a:gd name="connsiteX12" fmla="*/ 175856 w 248503"/>
                <a:gd name="connsiteY12" fmla="*/ 100701 h 135687"/>
                <a:gd name="connsiteX13" fmla="*/ 215594 w 248503"/>
                <a:gd name="connsiteY13" fmla="*/ 83989 h 135687"/>
                <a:gd name="connsiteX14" fmla="*/ 243723 w 248503"/>
                <a:gd name="connsiteY14" fmla="*/ 60592 h 135687"/>
                <a:gd name="connsiteX15" fmla="*/ 213889 w 248503"/>
                <a:gd name="connsiteY15" fmla="*/ 34856 h 135687"/>
                <a:gd name="connsiteX16" fmla="*/ 164207 w 248503"/>
                <a:gd name="connsiteY16" fmla="*/ -138 h 135687"/>
                <a:gd name="connsiteX17" fmla="*/ 141761 w 248503"/>
                <a:gd name="connsiteY17" fmla="*/ -339 h 135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8503" h="135687">
                  <a:moveTo>
                    <a:pt x="141761" y="-339"/>
                  </a:moveTo>
                  <a:cubicBezTo>
                    <a:pt x="139366" y="9889"/>
                    <a:pt x="139001" y="12229"/>
                    <a:pt x="126012" y="18445"/>
                  </a:cubicBezTo>
                  <a:cubicBezTo>
                    <a:pt x="117367" y="22917"/>
                    <a:pt x="109777" y="28663"/>
                    <a:pt x="103647" y="35391"/>
                  </a:cubicBezTo>
                  <a:cubicBezTo>
                    <a:pt x="141477" y="42510"/>
                    <a:pt x="108599" y="69717"/>
                    <a:pt x="98168" y="79376"/>
                  </a:cubicBezTo>
                  <a:cubicBezTo>
                    <a:pt x="92729" y="84390"/>
                    <a:pt x="82216" y="83387"/>
                    <a:pt x="72150" y="83822"/>
                  </a:cubicBezTo>
                  <a:cubicBezTo>
                    <a:pt x="48120" y="84858"/>
                    <a:pt x="24051" y="85694"/>
                    <a:pt x="-60" y="86496"/>
                  </a:cubicBezTo>
                  <a:cubicBezTo>
                    <a:pt x="8911" y="102382"/>
                    <a:pt x="17841" y="118258"/>
                    <a:pt x="26730" y="134124"/>
                  </a:cubicBezTo>
                  <a:cubicBezTo>
                    <a:pt x="40652" y="132537"/>
                    <a:pt x="54737" y="132607"/>
                    <a:pt x="68618" y="134325"/>
                  </a:cubicBezTo>
                  <a:cubicBezTo>
                    <a:pt x="88913" y="137032"/>
                    <a:pt x="84854" y="134325"/>
                    <a:pt x="92445" y="126771"/>
                  </a:cubicBezTo>
                  <a:cubicBezTo>
                    <a:pt x="98168" y="121022"/>
                    <a:pt x="112009" y="123429"/>
                    <a:pt x="121466" y="125334"/>
                  </a:cubicBezTo>
                  <a:cubicBezTo>
                    <a:pt x="132994" y="127640"/>
                    <a:pt x="135388" y="123295"/>
                    <a:pt x="141355" y="118850"/>
                  </a:cubicBezTo>
                  <a:cubicBezTo>
                    <a:pt x="148458" y="113636"/>
                    <a:pt x="154831" y="114070"/>
                    <a:pt x="166399" y="114371"/>
                  </a:cubicBezTo>
                  <a:cubicBezTo>
                    <a:pt x="175085" y="114605"/>
                    <a:pt x="173949" y="104344"/>
                    <a:pt x="175856" y="100701"/>
                  </a:cubicBezTo>
                  <a:cubicBezTo>
                    <a:pt x="182676" y="87331"/>
                    <a:pt x="202605" y="93347"/>
                    <a:pt x="215594" y="83989"/>
                  </a:cubicBezTo>
                  <a:cubicBezTo>
                    <a:pt x="220140" y="80647"/>
                    <a:pt x="262353" y="65405"/>
                    <a:pt x="243723" y="60592"/>
                  </a:cubicBezTo>
                  <a:cubicBezTo>
                    <a:pt x="226391" y="55980"/>
                    <a:pt x="231546" y="39736"/>
                    <a:pt x="213889" y="34856"/>
                  </a:cubicBezTo>
                  <a:cubicBezTo>
                    <a:pt x="185192" y="26901"/>
                    <a:pt x="167454" y="18445"/>
                    <a:pt x="164207" y="-138"/>
                  </a:cubicBezTo>
                  <a:cubicBezTo>
                    <a:pt x="156861" y="1653"/>
                    <a:pt x="149067" y="1583"/>
                    <a:pt x="141761" y="-33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49E7CADC-871B-4BE6-A449-462E9C7CFFC5}"/>
                </a:ext>
              </a:extLst>
            </p:cNvPr>
            <p:cNvSpPr/>
            <p:nvPr/>
          </p:nvSpPr>
          <p:spPr>
            <a:xfrm>
              <a:off x="6509114" y="4734429"/>
              <a:ext cx="314324" cy="147078"/>
            </a:xfrm>
            <a:custGeom>
              <a:avLst/>
              <a:gdLst>
                <a:gd name="connsiteX0" fmla="*/ 315326 w 322605"/>
                <a:gd name="connsiteY0" fmla="*/ 59122 h 201383"/>
                <a:gd name="connsiteX1" fmla="*/ 296817 w 322605"/>
                <a:gd name="connsiteY1" fmla="*/ 27470 h 201383"/>
                <a:gd name="connsiteX2" fmla="*/ 268891 w 322605"/>
                <a:gd name="connsiteY2" fmla="*/ 26500 h 201383"/>
                <a:gd name="connsiteX3" fmla="*/ 222050 w 322605"/>
                <a:gd name="connsiteY3" fmla="*/ 19013 h 201383"/>
                <a:gd name="connsiteX4" fmla="*/ 162628 w 322605"/>
                <a:gd name="connsiteY4" fmla="*/ 18646 h 201383"/>
                <a:gd name="connsiteX5" fmla="*/ 138558 w 322605"/>
                <a:gd name="connsiteY5" fmla="*/ 23158 h 201383"/>
                <a:gd name="connsiteX6" fmla="*/ 98779 w 322605"/>
                <a:gd name="connsiteY6" fmla="*/ 13666 h 201383"/>
                <a:gd name="connsiteX7" fmla="*/ 20279 w 322605"/>
                <a:gd name="connsiteY7" fmla="*/ -339 h 201383"/>
                <a:gd name="connsiteX8" fmla="*/ 15490 w 322605"/>
                <a:gd name="connsiteY8" fmla="*/ 17443 h 201383"/>
                <a:gd name="connsiteX9" fmla="*/ 7372 w 322605"/>
                <a:gd name="connsiteY9" fmla="*/ 33319 h 201383"/>
                <a:gd name="connsiteX10" fmla="*/ 9198 w 322605"/>
                <a:gd name="connsiteY10" fmla="*/ 62932 h 201383"/>
                <a:gd name="connsiteX11" fmla="*/ 2663 w 322605"/>
                <a:gd name="connsiteY11" fmla="*/ 156919 h 201383"/>
                <a:gd name="connsiteX12" fmla="*/ 5951 w 322605"/>
                <a:gd name="connsiteY12" fmla="*/ 181084 h 201383"/>
                <a:gd name="connsiteX13" fmla="*/ 48449 w 322605"/>
                <a:gd name="connsiteY13" fmla="*/ 183224 h 201383"/>
                <a:gd name="connsiteX14" fmla="*/ 165590 w 322605"/>
                <a:gd name="connsiteY14" fmla="*/ 190142 h 201383"/>
                <a:gd name="connsiteX15" fmla="*/ 187387 w 322605"/>
                <a:gd name="connsiteY15" fmla="*/ 190343 h 201383"/>
                <a:gd name="connsiteX16" fmla="*/ 236095 w 322605"/>
                <a:gd name="connsiteY16" fmla="*/ 194086 h 201383"/>
                <a:gd name="connsiteX17" fmla="*/ 252331 w 322605"/>
                <a:gd name="connsiteY17" fmla="*/ 197830 h 201383"/>
                <a:gd name="connsiteX18" fmla="*/ 272626 w 322605"/>
                <a:gd name="connsiteY18" fmla="*/ 195958 h 201383"/>
                <a:gd name="connsiteX19" fmla="*/ 294260 w 322605"/>
                <a:gd name="connsiteY19" fmla="*/ 189474 h 201383"/>
                <a:gd name="connsiteX20" fmla="*/ 309644 w 322605"/>
                <a:gd name="connsiteY20" fmla="*/ 184561 h 201383"/>
                <a:gd name="connsiteX21" fmla="*/ 281718 w 322605"/>
                <a:gd name="connsiteY21" fmla="*/ 114772 h 201383"/>
                <a:gd name="connsiteX22" fmla="*/ 269297 w 322605"/>
                <a:gd name="connsiteY22" fmla="*/ 96322 h 201383"/>
                <a:gd name="connsiteX23" fmla="*/ 255821 w 322605"/>
                <a:gd name="connsiteY23" fmla="*/ 80513 h 201383"/>
                <a:gd name="connsiteX24" fmla="*/ 240032 w 322605"/>
                <a:gd name="connsiteY24" fmla="*/ 43747 h 201383"/>
                <a:gd name="connsiteX25" fmla="*/ 276116 w 322605"/>
                <a:gd name="connsiteY25" fmla="*/ 87198 h 201383"/>
                <a:gd name="connsiteX26" fmla="*/ 297020 w 322605"/>
                <a:gd name="connsiteY26" fmla="*/ 84290 h 201383"/>
                <a:gd name="connsiteX27" fmla="*/ 308223 w 322605"/>
                <a:gd name="connsiteY27" fmla="*/ 69984 h 201383"/>
                <a:gd name="connsiteX28" fmla="*/ 315326 w 322605"/>
                <a:gd name="connsiteY28" fmla="*/ 59122 h 20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22605" h="201383">
                  <a:moveTo>
                    <a:pt x="315326" y="59122"/>
                  </a:moveTo>
                  <a:cubicBezTo>
                    <a:pt x="309197" y="48560"/>
                    <a:pt x="303027" y="38008"/>
                    <a:pt x="296817" y="27470"/>
                  </a:cubicBezTo>
                  <a:cubicBezTo>
                    <a:pt x="289389" y="32684"/>
                    <a:pt x="279323" y="27470"/>
                    <a:pt x="268891" y="26500"/>
                  </a:cubicBezTo>
                  <a:cubicBezTo>
                    <a:pt x="249936" y="24729"/>
                    <a:pt x="239586" y="25230"/>
                    <a:pt x="222050" y="19013"/>
                  </a:cubicBezTo>
                  <a:cubicBezTo>
                    <a:pt x="206951" y="13599"/>
                    <a:pt x="177646" y="15437"/>
                    <a:pt x="162628" y="18646"/>
                  </a:cubicBezTo>
                  <a:cubicBezTo>
                    <a:pt x="153454" y="20584"/>
                    <a:pt x="150451" y="24161"/>
                    <a:pt x="138558" y="23158"/>
                  </a:cubicBezTo>
                  <a:cubicBezTo>
                    <a:pt x="124514" y="21955"/>
                    <a:pt x="111809" y="16774"/>
                    <a:pt x="98779" y="13666"/>
                  </a:cubicBezTo>
                  <a:cubicBezTo>
                    <a:pt x="80108" y="9153"/>
                    <a:pt x="32213" y="9387"/>
                    <a:pt x="20279" y="-339"/>
                  </a:cubicBezTo>
                  <a:cubicBezTo>
                    <a:pt x="15449" y="5878"/>
                    <a:pt x="13582" y="10658"/>
                    <a:pt x="15490" y="17443"/>
                  </a:cubicBezTo>
                  <a:cubicBezTo>
                    <a:pt x="17194" y="23659"/>
                    <a:pt x="6438" y="26868"/>
                    <a:pt x="7372" y="33319"/>
                  </a:cubicBezTo>
                  <a:cubicBezTo>
                    <a:pt x="8995" y="43132"/>
                    <a:pt x="9604" y="53035"/>
                    <a:pt x="9198" y="62932"/>
                  </a:cubicBezTo>
                  <a:cubicBezTo>
                    <a:pt x="7047" y="94283"/>
                    <a:pt x="4855" y="125611"/>
                    <a:pt x="2663" y="156919"/>
                  </a:cubicBezTo>
                  <a:cubicBezTo>
                    <a:pt x="2298" y="162167"/>
                    <a:pt x="-5008" y="180583"/>
                    <a:pt x="5951" y="181084"/>
                  </a:cubicBezTo>
                  <a:cubicBezTo>
                    <a:pt x="20116" y="181753"/>
                    <a:pt x="34363" y="182488"/>
                    <a:pt x="48449" y="183224"/>
                  </a:cubicBezTo>
                  <a:cubicBezTo>
                    <a:pt x="87536" y="185252"/>
                    <a:pt x="126584" y="187559"/>
                    <a:pt x="165590" y="190142"/>
                  </a:cubicBezTo>
                  <a:cubicBezTo>
                    <a:pt x="172734" y="190610"/>
                    <a:pt x="181096" y="192215"/>
                    <a:pt x="187387" y="190343"/>
                  </a:cubicBezTo>
                  <a:cubicBezTo>
                    <a:pt x="198103" y="187000"/>
                    <a:pt x="221442" y="192983"/>
                    <a:pt x="236095" y="194086"/>
                  </a:cubicBezTo>
                  <a:cubicBezTo>
                    <a:pt x="244984" y="194755"/>
                    <a:pt x="245999" y="194487"/>
                    <a:pt x="252331" y="197830"/>
                  </a:cubicBezTo>
                  <a:cubicBezTo>
                    <a:pt x="263858" y="204046"/>
                    <a:pt x="265928" y="200036"/>
                    <a:pt x="272626" y="195958"/>
                  </a:cubicBezTo>
                  <a:cubicBezTo>
                    <a:pt x="279323" y="191880"/>
                    <a:pt x="288862" y="195958"/>
                    <a:pt x="294260" y="189474"/>
                  </a:cubicBezTo>
                  <a:cubicBezTo>
                    <a:pt x="299009" y="183725"/>
                    <a:pt x="300024" y="185363"/>
                    <a:pt x="309644" y="184561"/>
                  </a:cubicBezTo>
                  <a:cubicBezTo>
                    <a:pt x="350233" y="181218"/>
                    <a:pt x="282124" y="124398"/>
                    <a:pt x="281718" y="114772"/>
                  </a:cubicBezTo>
                  <a:cubicBezTo>
                    <a:pt x="281718" y="108087"/>
                    <a:pt x="268080" y="103308"/>
                    <a:pt x="269297" y="96322"/>
                  </a:cubicBezTo>
                  <a:cubicBezTo>
                    <a:pt x="270434" y="90139"/>
                    <a:pt x="261707" y="85460"/>
                    <a:pt x="255821" y="80513"/>
                  </a:cubicBezTo>
                  <a:cubicBezTo>
                    <a:pt x="251762" y="77171"/>
                    <a:pt x="225988" y="45284"/>
                    <a:pt x="240032" y="43747"/>
                  </a:cubicBezTo>
                  <a:cubicBezTo>
                    <a:pt x="243157" y="43413"/>
                    <a:pt x="270799" y="83187"/>
                    <a:pt x="276116" y="87198"/>
                  </a:cubicBezTo>
                  <a:cubicBezTo>
                    <a:pt x="286020" y="94685"/>
                    <a:pt x="292352" y="90774"/>
                    <a:pt x="297020" y="84290"/>
                  </a:cubicBezTo>
                  <a:cubicBezTo>
                    <a:pt x="298359" y="82351"/>
                    <a:pt x="307573" y="68480"/>
                    <a:pt x="308223" y="69984"/>
                  </a:cubicBezTo>
                  <a:cubicBezTo>
                    <a:pt x="309522" y="65957"/>
                    <a:pt x="311957" y="62237"/>
                    <a:pt x="315326" y="5912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7596C7D6-A7C0-4264-9A8B-A09CF575EE6A}"/>
                </a:ext>
              </a:extLst>
            </p:cNvPr>
            <p:cNvSpPr/>
            <p:nvPr/>
          </p:nvSpPr>
          <p:spPr>
            <a:xfrm>
              <a:off x="7272988" y="4869701"/>
              <a:ext cx="29290" cy="19832"/>
            </a:xfrm>
            <a:custGeom>
              <a:avLst/>
              <a:gdLst>
                <a:gd name="connsiteX0" fmla="*/ 20435 w 30062"/>
                <a:gd name="connsiteY0" fmla="*/ 26816 h 27154"/>
                <a:gd name="connsiteX1" fmla="*/ 29973 w 30062"/>
                <a:gd name="connsiteY1" fmla="*/ 7530 h 27154"/>
                <a:gd name="connsiteX2" fmla="*/ 10328 w 30062"/>
                <a:gd name="connsiteY2" fmla="*/ 1681 h 27154"/>
                <a:gd name="connsiteX3" fmla="*/ 20435 w 30062"/>
                <a:gd name="connsiteY3" fmla="*/ 26816 h 27154"/>
                <a:gd name="connsiteX4" fmla="*/ 20435 w 30062"/>
                <a:gd name="connsiteY4" fmla="*/ 26816 h 2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62" h="27154">
                  <a:moveTo>
                    <a:pt x="20435" y="26816"/>
                  </a:moveTo>
                  <a:cubicBezTo>
                    <a:pt x="19095" y="20131"/>
                    <a:pt x="30663" y="14783"/>
                    <a:pt x="29973" y="7530"/>
                  </a:cubicBezTo>
                  <a:cubicBezTo>
                    <a:pt x="29324" y="846"/>
                    <a:pt x="18608" y="-2898"/>
                    <a:pt x="10328" y="1681"/>
                  </a:cubicBezTo>
                  <a:cubicBezTo>
                    <a:pt x="-3026" y="9068"/>
                    <a:pt x="-7167" y="25078"/>
                    <a:pt x="20435" y="26816"/>
                  </a:cubicBezTo>
                  <a:cubicBezTo>
                    <a:pt x="20069" y="24944"/>
                    <a:pt x="13006" y="26314"/>
                    <a:pt x="20435" y="2681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D31460B9-1598-41CC-8969-AC04967D7164}"/>
                </a:ext>
              </a:extLst>
            </p:cNvPr>
            <p:cNvSpPr/>
            <p:nvPr/>
          </p:nvSpPr>
          <p:spPr>
            <a:xfrm>
              <a:off x="7600123" y="4813240"/>
              <a:ext cx="518484" cy="155627"/>
            </a:xfrm>
            <a:custGeom>
              <a:avLst/>
              <a:gdLst>
                <a:gd name="connsiteX0" fmla="*/ 512752 w 532143"/>
                <a:gd name="connsiteY0" fmla="*/ 44529 h 213089"/>
                <a:gd name="connsiteX1" fmla="*/ 497936 w 532143"/>
                <a:gd name="connsiteY1" fmla="*/ 24475 h 213089"/>
                <a:gd name="connsiteX2" fmla="*/ 456413 w 532143"/>
                <a:gd name="connsiteY2" fmla="*/ 6760 h 213089"/>
                <a:gd name="connsiteX3" fmla="*/ 407259 w 532143"/>
                <a:gd name="connsiteY3" fmla="*/ 75 h 213089"/>
                <a:gd name="connsiteX4" fmla="*/ 356156 w 532143"/>
                <a:gd name="connsiteY4" fmla="*/ 4588 h 213089"/>
                <a:gd name="connsiteX5" fmla="*/ 360702 w 532143"/>
                <a:gd name="connsiteY5" fmla="*/ 18859 h 213089"/>
                <a:gd name="connsiteX6" fmla="*/ 342518 w 532143"/>
                <a:gd name="connsiteY6" fmla="*/ 27449 h 213089"/>
                <a:gd name="connsiteX7" fmla="*/ 315932 w 532143"/>
                <a:gd name="connsiteY7" fmla="*/ 36206 h 213089"/>
                <a:gd name="connsiteX8" fmla="*/ 307083 w 532143"/>
                <a:gd name="connsiteY8" fmla="*/ 42691 h 213089"/>
                <a:gd name="connsiteX9" fmla="*/ 293567 w 532143"/>
                <a:gd name="connsiteY9" fmla="*/ 48406 h 213089"/>
                <a:gd name="connsiteX10" fmla="*/ 273272 w 532143"/>
                <a:gd name="connsiteY10" fmla="*/ 54456 h 213089"/>
                <a:gd name="connsiteX11" fmla="*/ 253424 w 532143"/>
                <a:gd name="connsiteY11" fmla="*/ 67491 h 213089"/>
                <a:gd name="connsiteX12" fmla="*/ 220952 w 532143"/>
                <a:gd name="connsiteY12" fmla="*/ 65519 h 213089"/>
                <a:gd name="connsiteX13" fmla="*/ 205690 w 532143"/>
                <a:gd name="connsiteY13" fmla="*/ 67524 h 213089"/>
                <a:gd name="connsiteX14" fmla="*/ 178617 w 532143"/>
                <a:gd name="connsiteY14" fmla="*/ 65820 h 213089"/>
                <a:gd name="connsiteX15" fmla="*/ 169443 w 532143"/>
                <a:gd name="connsiteY15" fmla="*/ 85874 h 213089"/>
                <a:gd name="connsiteX16" fmla="*/ 101861 w 532143"/>
                <a:gd name="connsiteY16" fmla="*/ 79690 h 213089"/>
                <a:gd name="connsiteX17" fmla="*/ 387 w 532143"/>
                <a:gd name="connsiteY17" fmla="*/ 60071 h 213089"/>
                <a:gd name="connsiteX18" fmla="*/ 24741 w 532143"/>
                <a:gd name="connsiteY18" fmla="*/ 83868 h 213089"/>
                <a:gd name="connsiteX19" fmla="*/ 46375 w 532143"/>
                <a:gd name="connsiteY19" fmla="*/ 103288 h 213089"/>
                <a:gd name="connsiteX20" fmla="*/ 54493 w 532143"/>
                <a:gd name="connsiteY20" fmla="*/ 117559 h 213089"/>
                <a:gd name="connsiteX21" fmla="*/ 23685 w 532143"/>
                <a:gd name="connsiteY21" fmla="*/ 126016 h 213089"/>
                <a:gd name="connsiteX22" fmla="*/ -60 w 532143"/>
                <a:gd name="connsiteY22" fmla="*/ 143997 h 213089"/>
                <a:gd name="connsiteX23" fmla="*/ 49135 w 532143"/>
                <a:gd name="connsiteY23" fmla="*/ 151852 h 213089"/>
                <a:gd name="connsiteX24" fmla="*/ 79456 w 532143"/>
                <a:gd name="connsiteY24" fmla="*/ 154192 h 213089"/>
                <a:gd name="connsiteX25" fmla="*/ 116798 w 532143"/>
                <a:gd name="connsiteY25" fmla="*/ 163015 h 213089"/>
                <a:gd name="connsiteX26" fmla="*/ 149270 w 532143"/>
                <a:gd name="connsiteY26" fmla="*/ 169165 h 213089"/>
                <a:gd name="connsiteX27" fmla="*/ 162624 w 532143"/>
                <a:gd name="connsiteY27" fmla="*/ 191693 h 213089"/>
                <a:gd name="connsiteX28" fmla="*/ 187344 w 532143"/>
                <a:gd name="connsiteY28" fmla="*/ 207569 h 213089"/>
                <a:gd name="connsiteX29" fmla="*/ 211413 w 532143"/>
                <a:gd name="connsiteY29" fmla="*/ 202288 h 213089"/>
                <a:gd name="connsiteX30" fmla="*/ 275017 w 532143"/>
                <a:gd name="connsiteY30" fmla="*/ 211112 h 213089"/>
                <a:gd name="connsiteX31" fmla="*/ 266372 w 532143"/>
                <a:gd name="connsiteY31" fmla="*/ 190690 h 213089"/>
                <a:gd name="connsiteX32" fmla="*/ 256671 w 532143"/>
                <a:gd name="connsiteY32" fmla="*/ 167026 h 213089"/>
                <a:gd name="connsiteX33" fmla="*/ 252043 w 532143"/>
                <a:gd name="connsiteY33" fmla="*/ 154258 h 213089"/>
                <a:gd name="connsiteX34" fmla="*/ 276641 w 532143"/>
                <a:gd name="connsiteY34" fmla="*/ 147774 h 213089"/>
                <a:gd name="connsiteX35" fmla="*/ 288818 w 532143"/>
                <a:gd name="connsiteY35" fmla="*/ 153156 h 213089"/>
                <a:gd name="connsiteX36" fmla="*/ 300061 w 532143"/>
                <a:gd name="connsiteY36" fmla="*/ 152587 h 213089"/>
                <a:gd name="connsiteX37" fmla="*/ 333548 w 532143"/>
                <a:gd name="connsiteY37" fmla="*/ 151752 h 213089"/>
                <a:gd name="connsiteX38" fmla="*/ 357090 w 532143"/>
                <a:gd name="connsiteY38" fmla="*/ 145635 h 213089"/>
                <a:gd name="connsiteX39" fmla="*/ 374462 w 532143"/>
                <a:gd name="connsiteY39" fmla="*/ 136979 h 213089"/>
                <a:gd name="connsiteX40" fmla="*/ 391916 w 532143"/>
                <a:gd name="connsiteY40" fmla="*/ 130595 h 213089"/>
                <a:gd name="connsiteX41" fmla="*/ 414606 w 532143"/>
                <a:gd name="connsiteY41" fmla="*/ 120568 h 213089"/>
                <a:gd name="connsiteX42" fmla="*/ 431978 w 532143"/>
                <a:gd name="connsiteY42" fmla="*/ 106463 h 213089"/>
                <a:gd name="connsiteX43" fmla="*/ 450690 w 532143"/>
                <a:gd name="connsiteY43" fmla="*/ 96837 h 213089"/>
                <a:gd name="connsiteX44" fmla="*/ 428649 w 532143"/>
                <a:gd name="connsiteY44" fmla="*/ 85239 h 213089"/>
                <a:gd name="connsiteX45" fmla="*/ 424590 w 532143"/>
                <a:gd name="connsiteY45" fmla="*/ 70599 h 213089"/>
                <a:gd name="connsiteX46" fmla="*/ 437092 w 532143"/>
                <a:gd name="connsiteY46" fmla="*/ 48139 h 213089"/>
                <a:gd name="connsiteX47" fmla="*/ 472770 w 532143"/>
                <a:gd name="connsiteY47" fmla="*/ 60606 h 213089"/>
                <a:gd name="connsiteX48" fmla="*/ 515025 w 532143"/>
                <a:gd name="connsiteY48" fmla="*/ 64483 h 213089"/>
                <a:gd name="connsiteX49" fmla="*/ 530814 w 532143"/>
                <a:gd name="connsiteY49" fmla="*/ 59235 h 213089"/>
                <a:gd name="connsiteX50" fmla="*/ 512549 w 532143"/>
                <a:gd name="connsiteY50" fmla="*/ 44663 h 21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32143" h="213089">
                  <a:moveTo>
                    <a:pt x="512752" y="44529"/>
                  </a:moveTo>
                  <a:cubicBezTo>
                    <a:pt x="499600" y="37410"/>
                    <a:pt x="506338" y="31160"/>
                    <a:pt x="497936" y="24475"/>
                  </a:cubicBezTo>
                  <a:cubicBezTo>
                    <a:pt x="486328" y="15183"/>
                    <a:pt x="473096" y="5189"/>
                    <a:pt x="456413" y="6760"/>
                  </a:cubicBezTo>
                  <a:cubicBezTo>
                    <a:pt x="439730" y="8331"/>
                    <a:pt x="424347" y="510"/>
                    <a:pt x="407259" y="75"/>
                  </a:cubicBezTo>
                  <a:cubicBezTo>
                    <a:pt x="397842" y="-225"/>
                    <a:pt x="354736" y="-1896"/>
                    <a:pt x="356156" y="4588"/>
                  </a:cubicBezTo>
                  <a:cubicBezTo>
                    <a:pt x="357333" y="10036"/>
                    <a:pt x="361189" y="13178"/>
                    <a:pt x="360702" y="18859"/>
                  </a:cubicBezTo>
                  <a:cubicBezTo>
                    <a:pt x="360256" y="23672"/>
                    <a:pt x="347470" y="24909"/>
                    <a:pt x="342518" y="27449"/>
                  </a:cubicBezTo>
                  <a:cubicBezTo>
                    <a:pt x="329123" y="34301"/>
                    <a:pt x="342803" y="45699"/>
                    <a:pt x="315932" y="36206"/>
                  </a:cubicBezTo>
                  <a:cubicBezTo>
                    <a:pt x="298032" y="29889"/>
                    <a:pt x="300873" y="33599"/>
                    <a:pt x="307083" y="42691"/>
                  </a:cubicBezTo>
                  <a:cubicBezTo>
                    <a:pt x="310736" y="48038"/>
                    <a:pt x="300305" y="48640"/>
                    <a:pt x="293567" y="48406"/>
                  </a:cubicBezTo>
                  <a:cubicBezTo>
                    <a:pt x="280862" y="47938"/>
                    <a:pt x="276600" y="46802"/>
                    <a:pt x="273272" y="54456"/>
                  </a:cubicBezTo>
                  <a:cubicBezTo>
                    <a:pt x="272704" y="55759"/>
                    <a:pt x="257361" y="79356"/>
                    <a:pt x="253424" y="67491"/>
                  </a:cubicBezTo>
                  <a:cubicBezTo>
                    <a:pt x="251556" y="61842"/>
                    <a:pt x="225011" y="63614"/>
                    <a:pt x="220952" y="65519"/>
                  </a:cubicBezTo>
                  <a:cubicBezTo>
                    <a:pt x="214904" y="68293"/>
                    <a:pt x="216447" y="70098"/>
                    <a:pt x="205690" y="67524"/>
                  </a:cubicBezTo>
                  <a:cubicBezTo>
                    <a:pt x="195624" y="65084"/>
                    <a:pt x="187993" y="63748"/>
                    <a:pt x="178617" y="65820"/>
                  </a:cubicBezTo>
                  <a:cubicBezTo>
                    <a:pt x="163355" y="69162"/>
                    <a:pt x="177805" y="80192"/>
                    <a:pt x="169443" y="85874"/>
                  </a:cubicBezTo>
                  <a:cubicBezTo>
                    <a:pt x="163395" y="90052"/>
                    <a:pt x="111156" y="80727"/>
                    <a:pt x="101861" y="79690"/>
                  </a:cubicBezTo>
                  <a:cubicBezTo>
                    <a:pt x="65330" y="75379"/>
                    <a:pt x="35944" y="67257"/>
                    <a:pt x="387" y="60071"/>
                  </a:cubicBezTo>
                  <a:cubicBezTo>
                    <a:pt x="9601" y="67792"/>
                    <a:pt x="13741" y="76783"/>
                    <a:pt x="24741" y="83868"/>
                  </a:cubicBezTo>
                  <a:cubicBezTo>
                    <a:pt x="35741" y="90954"/>
                    <a:pt x="46862" y="93428"/>
                    <a:pt x="46375" y="103288"/>
                  </a:cubicBezTo>
                  <a:cubicBezTo>
                    <a:pt x="46010" y="110774"/>
                    <a:pt x="49663" y="110908"/>
                    <a:pt x="54493" y="117559"/>
                  </a:cubicBezTo>
                  <a:cubicBezTo>
                    <a:pt x="64478" y="130929"/>
                    <a:pt x="37202" y="124746"/>
                    <a:pt x="23685" y="126016"/>
                  </a:cubicBezTo>
                  <a:cubicBezTo>
                    <a:pt x="7449" y="127486"/>
                    <a:pt x="549" y="134773"/>
                    <a:pt x="-60" y="143997"/>
                  </a:cubicBezTo>
                  <a:cubicBezTo>
                    <a:pt x="16136" y="147410"/>
                    <a:pt x="32575" y="150034"/>
                    <a:pt x="49135" y="151852"/>
                  </a:cubicBezTo>
                  <a:cubicBezTo>
                    <a:pt x="59486" y="152788"/>
                    <a:pt x="69430" y="147975"/>
                    <a:pt x="79456" y="154192"/>
                  </a:cubicBezTo>
                  <a:cubicBezTo>
                    <a:pt x="87899" y="159506"/>
                    <a:pt x="106083" y="162013"/>
                    <a:pt x="116798" y="163015"/>
                  </a:cubicBezTo>
                  <a:cubicBezTo>
                    <a:pt x="127514" y="164018"/>
                    <a:pt x="144359" y="160442"/>
                    <a:pt x="149270" y="169165"/>
                  </a:cubicBezTo>
                  <a:cubicBezTo>
                    <a:pt x="153329" y="176519"/>
                    <a:pt x="163761" y="184373"/>
                    <a:pt x="162624" y="191693"/>
                  </a:cubicBezTo>
                  <a:cubicBezTo>
                    <a:pt x="161366" y="199949"/>
                    <a:pt x="178048" y="202990"/>
                    <a:pt x="187344" y="207569"/>
                  </a:cubicBezTo>
                  <a:cubicBezTo>
                    <a:pt x="197897" y="212750"/>
                    <a:pt x="200008" y="202689"/>
                    <a:pt x="211413" y="202288"/>
                  </a:cubicBezTo>
                  <a:cubicBezTo>
                    <a:pt x="228055" y="201687"/>
                    <a:pt x="261339" y="217830"/>
                    <a:pt x="275017" y="211112"/>
                  </a:cubicBezTo>
                  <a:cubicBezTo>
                    <a:pt x="283704" y="206834"/>
                    <a:pt x="270512" y="195737"/>
                    <a:pt x="266372" y="190690"/>
                  </a:cubicBezTo>
                  <a:cubicBezTo>
                    <a:pt x="260081" y="182936"/>
                    <a:pt x="266737" y="173076"/>
                    <a:pt x="256671" y="167026"/>
                  </a:cubicBezTo>
                  <a:cubicBezTo>
                    <a:pt x="248553" y="162146"/>
                    <a:pt x="242586" y="158637"/>
                    <a:pt x="252043" y="154258"/>
                  </a:cubicBezTo>
                  <a:cubicBezTo>
                    <a:pt x="255778" y="152487"/>
                    <a:pt x="270512" y="145969"/>
                    <a:pt x="276641" y="147774"/>
                  </a:cubicBezTo>
                  <a:cubicBezTo>
                    <a:pt x="281106" y="149111"/>
                    <a:pt x="284759" y="151585"/>
                    <a:pt x="288818" y="153156"/>
                  </a:cubicBezTo>
                  <a:cubicBezTo>
                    <a:pt x="295028" y="155462"/>
                    <a:pt x="294501" y="152420"/>
                    <a:pt x="300061" y="152587"/>
                  </a:cubicBezTo>
                  <a:cubicBezTo>
                    <a:pt x="316297" y="153022"/>
                    <a:pt x="321452" y="162247"/>
                    <a:pt x="333548" y="151752"/>
                  </a:cubicBezTo>
                  <a:cubicBezTo>
                    <a:pt x="340285" y="145936"/>
                    <a:pt x="343290" y="145067"/>
                    <a:pt x="357090" y="145635"/>
                  </a:cubicBezTo>
                  <a:cubicBezTo>
                    <a:pt x="367318" y="146103"/>
                    <a:pt x="370038" y="141290"/>
                    <a:pt x="374462" y="136979"/>
                  </a:cubicBezTo>
                  <a:cubicBezTo>
                    <a:pt x="379860" y="131731"/>
                    <a:pt x="380510" y="130093"/>
                    <a:pt x="391916" y="130595"/>
                  </a:cubicBezTo>
                  <a:cubicBezTo>
                    <a:pt x="405717" y="131263"/>
                    <a:pt x="399790" y="119598"/>
                    <a:pt x="414606" y="120568"/>
                  </a:cubicBezTo>
                  <a:cubicBezTo>
                    <a:pt x="429421" y="121537"/>
                    <a:pt x="425930" y="112145"/>
                    <a:pt x="431978" y="106463"/>
                  </a:cubicBezTo>
                  <a:cubicBezTo>
                    <a:pt x="436362" y="102352"/>
                    <a:pt x="456981" y="102586"/>
                    <a:pt x="450690" y="96837"/>
                  </a:cubicBezTo>
                  <a:cubicBezTo>
                    <a:pt x="444398" y="91088"/>
                    <a:pt x="432952" y="91957"/>
                    <a:pt x="428649" y="85239"/>
                  </a:cubicBezTo>
                  <a:cubicBezTo>
                    <a:pt x="426012" y="81128"/>
                    <a:pt x="422927" y="74543"/>
                    <a:pt x="424590" y="70599"/>
                  </a:cubicBezTo>
                  <a:cubicBezTo>
                    <a:pt x="427797" y="62645"/>
                    <a:pt x="417203" y="47203"/>
                    <a:pt x="437092" y="48139"/>
                  </a:cubicBezTo>
                  <a:cubicBezTo>
                    <a:pt x="449797" y="48707"/>
                    <a:pt x="462095" y="56361"/>
                    <a:pt x="472770" y="60606"/>
                  </a:cubicBezTo>
                  <a:cubicBezTo>
                    <a:pt x="486003" y="65887"/>
                    <a:pt x="501183" y="63714"/>
                    <a:pt x="515025" y="64483"/>
                  </a:cubicBezTo>
                  <a:cubicBezTo>
                    <a:pt x="520991" y="64753"/>
                    <a:pt x="526755" y="62828"/>
                    <a:pt x="530814" y="59235"/>
                  </a:cubicBezTo>
                  <a:cubicBezTo>
                    <a:pt x="536903" y="55124"/>
                    <a:pt x="519489" y="48406"/>
                    <a:pt x="512549" y="44663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C245A8C8-2010-4FC5-9F31-1C7E2AD7C9D1}"/>
                </a:ext>
              </a:extLst>
            </p:cNvPr>
            <p:cNvSpPr/>
            <p:nvPr/>
          </p:nvSpPr>
          <p:spPr>
            <a:xfrm>
              <a:off x="6750751" y="4692930"/>
              <a:ext cx="72308" cy="13010"/>
            </a:xfrm>
            <a:custGeom>
              <a:avLst/>
              <a:gdLst>
                <a:gd name="connsiteX0" fmla="*/ 49382 w 74213"/>
                <a:gd name="connsiteY0" fmla="*/ 12329 h 17814"/>
                <a:gd name="connsiteX1" fmla="*/ 74060 w 74213"/>
                <a:gd name="connsiteY1" fmla="*/ -339 h 17814"/>
                <a:gd name="connsiteX2" fmla="*/ 715 w 74213"/>
                <a:gd name="connsiteY2" fmla="*/ 7616 h 17814"/>
                <a:gd name="connsiteX3" fmla="*/ 49423 w 74213"/>
                <a:gd name="connsiteY3" fmla="*/ 12329 h 17814"/>
                <a:gd name="connsiteX4" fmla="*/ 49382 w 74213"/>
                <a:gd name="connsiteY4" fmla="*/ 12329 h 17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213" h="17814">
                  <a:moveTo>
                    <a:pt x="49382" y="12329"/>
                  </a:moveTo>
                  <a:cubicBezTo>
                    <a:pt x="47880" y="4976"/>
                    <a:pt x="75969" y="3739"/>
                    <a:pt x="74060" y="-339"/>
                  </a:cubicBezTo>
                  <a:cubicBezTo>
                    <a:pt x="75360" y="2369"/>
                    <a:pt x="4530" y="1901"/>
                    <a:pt x="715" y="7616"/>
                  </a:cubicBezTo>
                  <a:cubicBezTo>
                    <a:pt x="-7403" y="19816"/>
                    <a:pt x="51006" y="19849"/>
                    <a:pt x="49423" y="12329"/>
                  </a:cubicBezTo>
                  <a:cubicBezTo>
                    <a:pt x="48936" y="9454"/>
                    <a:pt x="50113" y="15170"/>
                    <a:pt x="49382" y="1232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F40714E8-EB41-4A04-B01F-79FDEA6ED9E9}"/>
                </a:ext>
              </a:extLst>
            </p:cNvPr>
            <p:cNvSpPr/>
            <p:nvPr/>
          </p:nvSpPr>
          <p:spPr>
            <a:xfrm>
              <a:off x="6819316" y="4732329"/>
              <a:ext cx="131076" cy="54583"/>
            </a:xfrm>
            <a:custGeom>
              <a:avLst/>
              <a:gdLst>
                <a:gd name="connsiteX0" fmla="*/ 128300 w 134529"/>
                <a:gd name="connsiteY0" fmla="*/ 3772 h 74737"/>
                <a:gd name="connsiteX1" fmla="*/ 87305 w 134529"/>
                <a:gd name="connsiteY1" fmla="*/ 10290 h 74737"/>
                <a:gd name="connsiteX2" fmla="*/ 56822 w 134529"/>
                <a:gd name="connsiteY2" fmla="*/ 16373 h 74737"/>
                <a:gd name="connsiteX3" fmla="*/ 27556 w 134529"/>
                <a:gd name="connsiteY3" fmla="*/ -339 h 74737"/>
                <a:gd name="connsiteX4" fmla="*/ 9372 w 134529"/>
                <a:gd name="connsiteY4" fmla="*/ 43112 h 74737"/>
                <a:gd name="connsiteX5" fmla="*/ 483 w 134529"/>
                <a:gd name="connsiteY5" fmla="*/ 60024 h 74737"/>
                <a:gd name="connsiteX6" fmla="*/ 19804 w 134529"/>
                <a:gd name="connsiteY6" fmla="*/ 72725 h 74737"/>
                <a:gd name="connsiteX7" fmla="*/ 56943 w 134529"/>
                <a:gd name="connsiteY7" fmla="*/ 62698 h 74737"/>
                <a:gd name="connsiteX8" fmla="*/ 91120 w 134529"/>
                <a:gd name="connsiteY8" fmla="*/ 55813 h 74737"/>
                <a:gd name="connsiteX9" fmla="*/ 68552 w 134529"/>
                <a:gd name="connsiteY9" fmla="*/ 39870 h 74737"/>
                <a:gd name="connsiteX10" fmla="*/ 100374 w 134529"/>
                <a:gd name="connsiteY10" fmla="*/ 31915 h 74737"/>
                <a:gd name="connsiteX11" fmla="*/ 134470 w 134529"/>
                <a:gd name="connsiteY11" fmla="*/ 29743 h 74737"/>
                <a:gd name="connsiteX12" fmla="*/ 128300 w 134529"/>
                <a:gd name="connsiteY12" fmla="*/ 3872 h 74737"/>
                <a:gd name="connsiteX13" fmla="*/ 128300 w 134529"/>
                <a:gd name="connsiteY13" fmla="*/ 3772 h 74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4529" h="74737">
                  <a:moveTo>
                    <a:pt x="128300" y="3772"/>
                  </a:moveTo>
                  <a:cubicBezTo>
                    <a:pt x="116123" y="5911"/>
                    <a:pt x="100577" y="10457"/>
                    <a:pt x="87305" y="10290"/>
                  </a:cubicBezTo>
                  <a:cubicBezTo>
                    <a:pt x="76670" y="10290"/>
                    <a:pt x="66157" y="16975"/>
                    <a:pt x="56822" y="16373"/>
                  </a:cubicBezTo>
                  <a:cubicBezTo>
                    <a:pt x="45497" y="15771"/>
                    <a:pt x="27191" y="5677"/>
                    <a:pt x="27556" y="-339"/>
                  </a:cubicBezTo>
                  <a:cubicBezTo>
                    <a:pt x="22726" y="14067"/>
                    <a:pt x="20088" y="30210"/>
                    <a:pt x="9372" y="43112"/>
                  </a:cubicBezTo>
                  <a:cubicBezTo>
                    <a:pt x="5516" y="48399"/>
                    <a:pt x="2513" y="54088"/>
                    <a:pt x="483" y="60024"/>
                  </a:cubicBezTo>
                  <a:cubicBezTo>
                    <a:pt x="-2602" y="67511"/>
                    <a:pt x="7952" y="69349"/>
                    <a:pt x="19804" y="72725"/>
                  </a:cubicBezTo>
                  <a:cubicBezTo>
                    <a:pt x="43062" y="79410"/>
                    <a:pt x="42696" y="64002"/>
                    <a:pt x="56943" y="62698"/>
                  </a:cubicBezTo>
                  <a:cubicBezTo>
                    <a:pt x="66644" y="61796"/>
                    <a:pt x="87670" y="63667"/>
                    <a:pt x="91120" y="55813"/>
                  </a:cubicBezTo>
                  <a:cubicBezTo>
                    <a:pt x="93149" y="51200"/>
                    <a:pt x="75290" y="41741"/>
                    <a:pt x="68552" y="39870"/>
                  </a:cubicBezTo>
                  <a:cubicBezTo>
                    <a:pt x="56903" y="36527"/>
                    <a:pt x="96681" y="31648"/>
                    <a:pt x="100374" y="31915"/>
                  </a:cubicBezTo>
                  <a:cubicBezTo>
                    <a:pt x="113201" y="32751"/>
                    <a:pt x="122496" y="28573"/>
                    <a:pt x="134470" y="29743"/>
                  </a:cubicBezTo>
                  <a:cubicBezTo>
                    <a:pt x="132359" y="21153"/>
                    <a:pt x="128584" y="12429"/>
                    <a:pt x="128300" y="3872"/>
                  </a:cubicBezTo>
                  <a:cubicBezTo>
                    <a:pt x="108167" y="7349"/>
                    <a:pt x="128422" y="6914"/>
                    <a:pt x="128300" y="377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6C6604AF-5D70-411B-ADD0-3387889E98D7}"/>
                </a:ext>
              </a:extLst>
            </p:cNvPr>
            <p:cNvSpPr/>
            <p:nvPr/>
          </p:nvSpPr>
          <p:spPr>
            <a:xfrm>
              <a:off x="6808508" y="4754604"/>
              <a:ext cx="595374" cy="218869"/>
            </a:xfrm>
            <a:custGeom>
              <a:avLst/>
              <a:gdLst>
                <a:gd name="connsiteX0" fmla="*/ 384432 w 611059"/>
                <a:gd name="connsiteY0" fmla="*/ 86178 h 299682"/>
                <a:gd name="connsiteX1" fmla="*/ 333289 w 611059"/>
                <a:gd name="connsiteY1" fmla="*/ 76552 h 299682"/>
                <a:gd name="connsiteX2" fmla="*/ 280523 w 611059"/>
                <a:gd name="connsiteY2" fmla="*/ 55863 h 299682"/>
                <a:gd name="connsiteX3" fmla="*/ 179819 w 611059"/>
                <a:gd name="connsiteY3" fmla="*/ 4792 h 299682"/>
                <a:gd name="connsiteX4" fmla="*/ 126443 w 611059"/>
                <a:gd name="connsiteY4" fmla="*/ 1449 h 299682"/>
                <a:gd name="connsiteX5" fmla="*/ 86259 w 611059"/>
                <a:gd name="connsiteY5" fmla="*/ 12145 h 299682"/>
                <a:gd name="connsiteX6" fmla="*/ 74529 w 611059"/>
                <a:gd name="connsiteY6" fmla="*/ 32199 h 299682"/>
                <a:gd name="connsiteX7" fmla="*/ 49689 w 611059"/>
                <a:gd name="connsiteY7" fmla="*/ 42627 h 299682"/>
                <a:gd name="connsiteX8" fmla="*/ 6704 w 611059"/>
                <a:gd name="connsiteY8" fmla="*/ 33536 h 299682"/>
                <a:gd name="connsiteX9" fmla="*/ 26674 w 611059"/>
                <a:gd name="connsiteY9" fmla="*/ 81265 h 299682"/>
                <a:gd name="connsiteX10" fmla="*/ 60404 w 611059"/>
                <a:gd name="connsiteY10" fmla="*/ 114087 h 299682"/>
                <a:gd name="connsiteX11" fmla="*/ 86259 w 611059"/>
                <a:gd name="connsiteY11" fmla="*/ 144168 h 299682"/>
                <a:gd name="connsiteX12" fmla="*/ 116783 w 611059"/>
                <a:gd name="connsiteY12" fmla="*/ 173547 h 299682"/>
                <a:gd name="connsiteX13" fmla="*/ 130462 w 611059"/>
                <a:gd name="connsiteY13" fmla="*/ 213221 h 299682"/>
                <a:gd name="connsiteX14" fmla="*/ 156642 w 611059"/>
                <a:gd name="connsiteY14" fmla="*/ 229164 h 299682"/>
                <a:gd name="connsiteX15" fmla="*/ 172878 w 611059"/>
                <a:gd name="connsiteY15" fmla="*/ 252928 h 299682"/>
                <a:gd name="connsiteX16" fmla="*/ 205350 w 611059"/>
                <a:gd name="connsiteY16" fmla="*/ 295410 h 299682"/>
                <a:gd name="connsiteX17" fmla="*/ 219232 w 611059"/>
                <a:gd name="connsiteY17" fmla="*/ 286118 h 299682"/>
                <a:gd name="connsiteX18" fmla="*/ 242409 w 611059"/>
                <a:gd name="connsiteY18" fmla="*/ 280436 h 299682"/>
                <a:gd name="connsiteX19" fmla="*/ 273379 w 611059"/>
                <a:gd name="connsiteY19" fmla="*/ 284881 h 299682"/>
                <a:gd name="connsiteX20" fmla="*/ 296352 w 611059"/>
                <a:gd name="connsiteY20" fmla="*/ 290363 h 299682"/>
                <a:gd name="connsiteX21" fmla="*/ 352407 w 611059"/>
                <a:gd name="connsiteY21" fmla="*/ 296112 h 299682"/>
                <a:gd name="connsiteX22" fmla="*/ 397502 w 611059"/>
                <a:gd name="connsiteY22" fmla="*/ 280302 h 299682"/>
                <a:gd name="connsiteX23" fmla="*/ 450269 w 611059"/>
                <a:gd name="connsiteY23" fmla="*/ 284614 h 299682"/>
                <a:gd name="connsiteX24" fmla="*/ 493132 w 611059"/>
                <a:gd name="connsiteY24" fmla="*/ 284614 h 299682"/>
                <a:gd name="connsiteX25" fmla="*/ 553245 w 611059"/>
                <a:gd name="connsiteY25" fmla="*/ 282408 h 299682"/>
                <a:gd name="connsiteX26" fmla="*/ 586407 w 611059"/>
                <a:gd name="connsiteY26" fmla="*/ 279066 h 299682"/>
                <a:gd name="connsiteX27" fmla="*/ 591805 w 611059"/>
                <a:gd name="connsiteY27" fmla="*/ 233208 h 299682"/>
                <a:gd name="connsiteX28" fmla="*/ 535994 w 611059"/>
                <a:gd name="connsiteY28" fmla="*/ 221243 h 299682"/>
                <a:gd name="connsiteX29" fmla="*/ 502954 w 611059"/>
                <a:gd name="connsiteY29" fmla="*/ 193668 h 299682"/>
                <a:gd name="connsiteX30" fmla="*/ 497271 w 611059"/>
                <a:gd name="connsiteY30" fmla="*/ 184744 h 299682"/>
                <a:gd name="connsiteX31" fmla="*/ 484648 w 611059"/>
                <a:gd name="connsiteY31" fmla="*/ 181770 h 299682"/>
                <a:gd name="connsiteX32" fmla="*/ 466342 w 611059"/>
                <a:gd name="connsiteY32" fmla="*/ 164490 h 299682"/>
                <a:gd name="connsiteX33" fmla="*/ 452136 w 611059"/>
                <a:gd name="connsiteY33" fmla="*/ 131267 h 299682"/>
                <a:gd name="connsiteX34" fmla="*/ 431313 w 611059"/>
                <a:gd name="connsiteY34" fmla="*/ 115758 h 299682"/>
                <a:gd name="connsiteX35" fmla="*/ 421450 w 611059"/>
                <a:gd name="connsiteY35" fmla="*/ 99380 h 299682"/>
                <a:gd name="connsiteX36" fmla="*/ 384432 w 611059"/>
                <a:gd name="connsiteY36" fmla="*/ 86178 h 299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11059" h="299682">
                  <a:moveTo>
                    <a:pt x="384432" y="86178"/>
                  </a:moveTo>
                  <a:cubicBezTo>
                    <a:pt x="367465" y="82836"/>
                    <a:pt x="350459" y="79259"/>
                    <a:pt x="333289" y="76552"/>
                  </a:cubicBezTo>
                  <a:cubicBezTo>
                    <a:pt x="309706" y="72875"/>
                    <a:pt x="297083" y="65623"/>
                    <a:pt x="280523" y="55863"/>
                  </a:cubicBezTo>
                  <a:cubicBezTo>
                    <a:pt x="248659" y="36674"/>
                    <a:pt x="214970" y="19598"/>
                    <a:pt x="179819" y="4792"/>
                  </a:cubicBezTo>
                  <a:cubicBezTo>
                    <a:pt x="162081" y="-2361"/>
                    <a:pt x="144303" y="-556"/>
                    <a:pt x="126443" y="1449"/>
                  </a:cubicBezTo>
                  <a:cubicBezTo>
                    <a:pt x="114916" y="2619"/>
                    <a:pt x="62271" y="-322"/>
                    <a:pt x="86259" y="12145"/>
                  </a:cubicBezTo>
                  <a:cubicBezTo>
                    <a:pt x="106230" y="22540"/>
                    <a:pt x="103998" y="33102"/>
                    <a:pt x="74529" y="32199"/>
                  </a:cubicBezTo>
                  <a:cubicBezTo>
                    <a:pt x="59917" y="31698"/>
                    <a:pt x="61500" y="39652"/>
                    <a:pt x="49689" y="42627"/>
                  </a:cubicBezTo>
                  <a:cubicBezTo>
                    <a:pt x="34548" y="46437"/>
                    <a:pt x="19043" y="38516"/>
                    <a:pt x="6704" y="33536"/>
                  </a:cubicBezTo>
                  <a:cubicBezTo>
                    <a:pt x="-10181" y="50248"/>
                    <a:pt x="7597" y="66959"/>
                    <a:pt x="26674" y="81265"/>
                  </a:cubicBezTo>
                  <a:cubicBezTo>
                    <a:pt x="39541" y="91008"/>
                    <a:pt x="50865" y="102034"/>
                    <a:pt x="60404" y="114087"/>
                  </a:cubicBezTo>
                  <a:cubicBezTo>
                    <a:pt x="69618" y="125685"/>
                    <a:pt x="67020" y="134509"/>
                    <a:pt x="86259" y="144168"/>
                  </a:cubicBezTo>
                  <a:cubicBezTo>
                    <a:pt x="96123" y="149048"/>
                    <a:pt x="116175" y="166161"/>
                    <a:pt x="116783" y="173547"/>
                  </a:cubicBezTo>
                  <a:cubicBezTo>
                    <a:pt x="117920" y="187485"/>
                    <a:pt x="111953" y="200821"/>
                    <a:pt x="130462" y="213221"/>
                  </a:cubicBezTo>
                  <a:cubicBezTo>
                    <a:pt x="138864" y="218870"/>
                    <a:pt x="149458" y="222747"/>
                    <a:pt x="156642" y="229164"/>
                  </a:cubicBezTo>
                  <a:cubicBezTo>
                    <a:pt x="164760" y="236517"/>
                    <a:pt x="167520" y="244973"/>
                    <a:pt x="172878" y="252928"/>
                  </a:cubicBezTo>
                  <a:cubicBezTo>
                    <a:pt x="183107" y="267702"/>
                    <a:pt x="197679" y="280135"/>
                    <a:pt x="205350" y="295410"/>
                  </a:cubicBezTo>
                  <a:cubicBezTo>
                    <a:pt x="217892" y="293404"/>
                    <a:pt x="220044" y="293906"/>
                    <a:pt x="219232" y="286118"/>
                  </a:cubicBezTo>
                  <a:cubicBezTo>
                    <a:pt x="218542" y="279433"/>
                    <a:pt x="234209" y="277729"/>
                    <a:pt x="242409" y="280436"/>
                  </a:cubicBezTo>
                  <a:cubicBezTo>
                    <a:pt x="251866" y="283778"/>
                    <a:pt x="263231" y="283244"/>
                    <a:pt x="273379" y="284881"/>
                  </a:cubicBezTo>
                  <a:cubicBezTo>
                    <a:pt x="281497" y="286218"/>
                    <a:pt x="288519" y="288992"/>
                    <a:pt x="296352" y="290363"/>
                  </a:cubicBezTo>
                  <a:cubicBezTo>
                    <a:pt x="312263" y="293204"/>
                    <a:pt x="343315" y="304935"/>
                    <a:pt x="352407" y="296112"/>
                  </a:cubicBezTo>
                  <a:cubicBezTo>
                    <a:pt x="360525" y="288157"/>
                    <a:pt x="383255" y="283611"/>
                    <a:pt x="397502" y="280302"/>
                  </a:cubicBezTo>
                  <a:cubicBezTo>
                    <a:pt x="411749" y="276993"/>
                    <a:pt x="434642" y="283143"/>
                    <a:pt x="450269" y="284614"/>
                  </a:cubicBezTo>
                  <a:cubicBezTo>
                    <a:pt x="464516" y="285533"/>
                    <a:pt x="478885" y="285533"/>
                    <a:pt x="493132" y="284614"/>
                  </a:cubicBezTo>
                  <a:cubicBezTo>
                    <a:pt x="513183" y="283945"/>
                    <a:pt x="533234" y="283210"/>
                    <a:pt x="553245" y="282408"/>
                  </a:cubicBezTo>
                  <a:cubicBezTo>
                    <a:pt x="561850" y="282074"/>
                    <a:pt x="581049" y="283478"/>
                    <a:pt x="586407" y="279066"/>
                  </a:cubicBezTo>
                  <a:cubicBezTo>
                    <a:pt x="599233" y="268571"/>
                    <a:pt x="631583" y="240762"/>
                    <a:pt x="591805" y="233208"/>
                  </a:cubicBezTo>
                  <a:cubicBezTo>
                    <a:pt x="573093" y="229666"/>
                    <a:pt x="554382" y="225621"/>
                    <a:pt x="535994" y="221243"/>
                  </a:cubicBezTo>
                  <a:cubicBezTo>
                    <a:pt x="513832" y="215962"/>
                    <a:pt x="513467" y="204030"/>
                    <a:pt x="502954" y="193668"/>
                  </a:cubicBezTo>
                  <a:cubicBezTo>
                    <a:pt x="500194" y="191118"/>
                    <a:pt x="498246" y="188056"/>
                    <a:pt x="497271" y="184744"/>
                  </a:cubicBezTo>
                  <a:cubicBezTo>
                    <a:pt x="492847" y="184497"/>
                    <a:pt x="488545" y="183484"/>
                    <a:pt x="484648" y="181770"/>
                  </a:cubicBezTo>
                  <a:cubicBezTo>
                    <a:pt x="476530" y="178126"/>
                    <a:pt x="470888" y="169704"/>
                    <a:pt x="466342" y="164490"/>
                  </a:cubicBezTo>
                  <a:cubicBezTo>
                    <a:pt x="455099" y="151722"/>
                    <a:pt x="470401" y="144168"/>
                    <a:pt x="452136" y="131267"/>
                  </a:cubicBezTo>
                  <a:cubicBezTo>
                    <a:pt x="444870" y="126410"/>
                    <a:pt x="437889" y="121233"/>
                    <a:pt x="431313" y="115758"/>
                  </a:cubicBezTo>
                  <a:cubicBezTo>
                    <a:pt x="428635" y="113351"/>
                    <a:pt x="422992" y="99648"/>
                    <a:pt x="421450" y="99380"/>
                  </a:cubicBezTo>
                  <a:cubicBezTo>
                    <a:pt x="402048" y="96005"/>
                    <a:pt x="397908" y="94968"/>
                    <a:pt x="384432" y="86178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C97DCA1E-98BD-4432-AE57-CCE369EAA9E1}"/>
                </a:ext>
              </a:extLst>
            </p:cNvPr>
            <p:cNvSpPr/>
            <p:nvPr/>
          </p:nvSpPr>
          <p:spPr>
            <a:xfrm>
              <a:off x="7302842" y="4883238"/>
              <a:ext cx="142278" cy="40927"/>
            </a:xfrm>
            <a:custGeom>
              <a:avLst/>
              <a:gdLst>
                <a:gd name="connsiteX0" fmla="*/ 18530 w 146026"/>
                <a:gd name="connsiteY0" fmla="*/ 42038 h 56038"/>
                <a:gd name="connsiteX1" fmla="*/ 59445 w 146026"/>
                <a:gd name="connsiteY1" fmla="*/ 51664 h 56038"/>
                <a:gd name="connsiteX2" fmla="*/ 95204 w 146026"/>
                <a:gd name="connsiteY2" fmla="*/ 48322 h 56038"/>
                <a:gd name="connsiteX3" fmla="*/ 118503 w 146026"/>
                <a:gd name="connsiteY3" fmla="*/ 35219 h 56038"/>
                <a:gd name="connsiteX4" fmla="*/ 126012 w 146026"/>
                <a:gd name="connsiteY4" fmla="*/ 21482 h 56038"/>
                <a:gd name="connsiteX5" fmla="*/ 145536 w 146026"/>
                <a:gd name="connsiteY5" fmla="*/ 6375 h 56038"/>
                <a:gd name="connsiteX6" fmla="*/ 111359 w 146026"/>
                <a:gd name="connsiteY6" fmla="*/ 10486 h 56038"/>
                <a:gd name="connsiteX7" fmla="*/ 49825 w 146026"/>
                <a:gd name="connsiteY7" fmla="*/ 23856 h 56038"/>
                <a:gd name="connsiteX8" fmla="*/ 16176 w 146026"/>
                <a:gd name="connsiteY8" fmla="*/ 20112 h 56038"/>
                <a:gd name="connsiteX9" fmla="*/ -60 w 146026"/>
                <a:gd name="connsiteY9" fmla="*/ 20580 h 56038"/>
                <a:gd name="connsiteX10" fmla="*/ 18571 w 146026"/>
                <a:gd name="connsiteY10" fmla="*/ 41837 h 5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026" h="56038">
                  <a:moveTo>
                    <a:pt x="18530" y="42038"/>
                  </a:moveTo>
                  <a:cubicBezTo>
                    <a:pt x="27988" y="46985"/>
                    <a:pt x="48120" y="49257"/>
                    <a:pt x="59445" y="51664"/>
                  </a:cubicBezTo>
                  <a:cubicBezTo>
                    <a:pt x="81485" y="56343"/>
                    <a:pt x="84245" y="58850"/>
                    <a:pt x="95204" y="48322"/>
                  </a:cubicBezTo>
                  <a:cubicBezTo>
                    <a:pt x="101049" y="42773"/>
                    <a:pt x="109857" y="39331"/>
                    <a:pt x="118503" y="35219"/>
                  </a:cubicBezTo>
                  <a:cubicBezTo>
                    <a:pt x="123049" y="33047"/>
                    <a:pt x="122156" y="20881"/>
                    <a:pt x="126012" y="21482"/>
                  </a:cubicBezTo>
                  <a:cubicBezTo>
                    <a:pt x="149189" y="25159"/>
                    <a:pt x="146064" y="18140"/>
                    <a:pt x="145536" y="6375"/>
                  </a:cubicBezTo>
                  <a:cubicBezTo>
                    <a:pt x="144805" y="-8766"/>
                    <a:pt x="120127" y="5773"/>
                    <a:pt x="111359" y="10486"/>
                  </a:cubicBezTo>
                  <a:cubicBezTo>
                    <a:pt x="93825" y="19912"/>
                    <a:pt x="78887" y="28468"/>
                    <a:pt x="49825" y="23856"/>
                  </a:cubicBezTo>
                  <a:cubicBezTo>
                    <a:pt x="38216" y="22051"/>
                    <a:pt x="27866" y="18408"/>
                    <a:pt x="16176" y="20112"/>
                  </a:cubicBezTo>
                  <a:cubicBezTo>
                    <a:pt x="10331" y="20948"/>
                    <a:pt x="5663" y="24190"/>
                    <a:pt x="-60" y="20580"/>
                  </a:cubicBezTo>
                  <a:cubicBezTo>
                    <a:pt x="-60" y="28000"/>
                    <a:pt x="8464" y="36557"/>
                    <a:pt x="18571" y="4183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AB8FE5A1-D686-45C8-B560-13A44D5D9300}"/>
                </a:ext>
              </a:extLst>
            </p:cNvPr>
            <p:cNvSpPr/>
            <p:nvPr/>
          </p:nvSpPr>
          <p:spPr>
            <a:xfrm>
              <a:off x="8484341" y="5173344"/>
              <a:ext cx="249346" cy="188029"/>
            </a:xfrm>
            <a:custGeom>
              <a:avLst/>
              <a:gdLst>
                <a:gd name="connsiteX0" fmla="*/ 152958 w 255915"/>
                <a:gd name="connsiteY0" fmla="*/ 152087 h 257455"/>
                <a:gd name="connsiteX1" fmla="*/ 153648 w 255915"/>
                <a:gd name="connsiteY1" fmla="*/ 139486 h 257455"/>
                <a:gd name="connsiteX2" fmla="*/ 185308 w 255915"/>
                <a:gd name="connsiteY2" fmla="*/ 135108 h 257455"/>
                <a:gd name="connsiteX3" fmla="*/ 212625 w 255915"/>
                <a:gd name="connsiteY3" fmla="*/ 143497 h 257455"/>
                <a:gd name="connsiteX4" fmla="*/ 241565 w 255915"/>
                <a:gd name="connsiteY4" fmla="*/ 155931 h 257455"/>
                <a:gd name="connsiteX5" fmla="*/ 243960 w 255915"/>
                <a:gd name="connsiteY5" fmla="*/ 116056 h 257455"/>
                <a:gd name="connsiteX6" fmla="*/ 248506 w 255915"/>
                <a:gd name="connsiteY6" fmla="*/ 105494 h 257455"/>
                <a:gd name="connsiteX7" fmla="*/ 242824 w 255915"/>
                <a:gd name="connsiteY7" fmla="*/ 87446 h 257455"/>
                <a:gd name="connsiteX8" fmla="*/ 223544 w 255915"/>
                <a:gd name="connsiteY8" fmla="*/ 70734 h 257455"/>
                <a:gd name="connsiteX9" fmla="*/ 194400 w 255915"/>
                <a:gd name="connsiteY9" fmla="*/ 69096 h 257455"/>
                <a:gd name="connsiteX10" fmla="*/ 184253 w 255915"/>
                <a:gd name="connsiteY10" fmla="*/ 61743 h 257455"/>
                <a:gd name="connsiteX11" fmla="*/ 164363 w 255915"/>
                <a:gd name="connsiteY11" fmla="*/ 61074 h 257455"/>
                <a:gd name="connsiteX12" fmla="*/ 144068 w 255915"/>
                <a:gd name="connsiteY12" fmla="*/ 54657 h 257455"/>
                <a:gd name="connsiteX13" fmla="*/ 158234 w 255915"/>
                <a:gd name="connsiteY13" fmla="*/ 25779 h 257455"/>
                <a:gd name="connsiteX14" fmla="*/ 151050 w 255915"/>
                <a:gd name="connsiteY14" fmla="*/ 13747 h 257455"/>
                <a:gd name="connsiteX15" fmla="*/ 151050 w 255915"/>
                <a:gd name="connsiteY15" fmla="*/ 6460 h 257455"/>
                <a:gd name="connsiteX16" fmla="*/ 139726 w 255915"/>
                <a:gd name="connsiteY16" fmla="*/ 4956 h 257455"/>
                <a:gd name="connsiteX17" fmla="*/ 86553 w 255915"/>
                <a:gd name="connsiteY17" fmla="*/ 243 h 257455"/>
                <a:gd name="connsiteX18" fmla="*/ 55908 w 255915"/>
                <a:gd name="connsiteY18" fmla="*/ 23640 h 257455"/>
                <a:gd name="connsiteX19" fmla="*/ 68694 w 255915"/>
                <a:gd name="connsiteY19" fmla="*/ 53220 h 257455"/>
                <a:gd name="connsiteX20" fmla="*/ 68085 w 255915"/>
                <a:gd name="connsiteY20" fmla="*/ 65787 h 257455"/>
                <a:gd name="connsiteX21" fmla="*/ 55583 w 255915"/>
                <a:gd name="connsiteY21" fmla="*/ 75547 h 257455"/>
                <a:gd name="connsiteX22" fmla="*/ 53878 w 255915"/>
                <a:gd name="connsiteY22" fmla="*/ 91089 h 257455"/>
                <a:gd name="connsiteX23" fmla="*/ 60495 w 255915"/>
                <a:gd name="connsiteY23" fmla="*/ 115789 h 257455"/>
                <a:gd name="connsiteX24" fmla="*/ 62240 w 255915"/>
                <a:gd name="connsiteY24" fmla="*/ 133303 h 257455"/>
                <a:gd name="connsiteX25" fmla="*/ 52458 w 255915"/>
                <a:gd name="connsiteY25" fmla="*/ 141191 h 257455"/>
                <a:gd name="connsiteX26" fmla="*/ 20229 w 255915"/>
                <a:gd name="connsiteY26" fmla="*/ 159039 h 257455"/>
                <a:gd name="connsiteX27" fmla="*/ 949 w 255915"/>
                <a:gd name="connsiteY27" fmla="*/ 180029 h 257455"/>
                <a:gd name="connsiteX28" fmla="*/ 13126 w 255915"/>
                <a:gd name="connsiteY28" fmla="*/ 196741 h 257455"/>
                <a:gd name="connsiteX29" fmla="*/ 31513 w 255915"/>
                <a:gd name="connsiteY29" fmla="*/ 224917 h 257455"/>
                <a:gd name="connsiteX30" fmla="*/ 57734 w 255915"/>
                <a:gd name="connsiteY30" fmla="*/ 244637 h 257455"/>
                <a:gd name="connsiteX31" fmla="*/ 70520 w 255915"/>
                <a:gd name="connsiteY31" fmla="*/ 256168 h 257455"/>
                <a:gd name="connsiteX32" fmla="*/ 89110 w 255915"/>
                <a:gd name="connsiteY32" fmla="*/ 254397 h 257455"/>
                <a:gd name="connsiteX33" fmla="*/ 55583 w 255915"/>
                <a:gd name="connsiteY33" fmla="*/ 228259 h 257455"/>
                <a:gd name="connsiteX34" fmla="*/ 51524 w 255915"/>
                <a:gd name="connsiteY34" fmla="*/ 198178 h 257455"/>
                <a:gd name="connsiteX35" fmla="*/ 47465 w 255915"/>
                <a:gd name="connsiteY35" fmla="*/ 185043 h 257455"/>
                <a:gd name="connsiteX36" fmla="*/ 34882 w 255915"/>
                <a:gd name="connsiteY36" fmla="*/ 173578 h 257455"/>
                <a:gd name="connsiteX37" fmla="*/ 55989 w 255915"/>
                <a:gd name="connsiteY37" fmla="*/ 150182 h 257455"/>
                <a:gd name="connsiteX38" fmla="*/ 81479 w 255915"/>
                <a:gd name="connsiteY38" fmla="*/ 130696 h 257455"/>
                <a:gd name="connsiteX39" fmla="*/ 104129 w 255915"/>
                <a:gd name="connsiteY39" fmla="*/ 125381 h 257455"/>
                <a:gd name="connsiteX40" fmla="*/ 117604 w 255915"/>
                <a:gd name="connsiteY40" fmla="*/ 144299 h 257455"/>
                <a:gd name="connsiteX41" fmla="*/ 150076 w 255915"/>
                <a:gd name="connsiteY41" fmla="*/ 166091 h 257455"/>
                <a:gd name="connsiteX42" fmla="*/ 152958 w 255915"/>
                <a:gd name="connsiteY42" fmla="*/ 152087 h 25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5915" h="257455">
                  <a:moveTo>
                    <a:pt x="152958" y="152087"/>
                  </a:moveTo>
                  <a:cubicBezTo>
                    <a:pt x="154947" y="148109"/>
                    <a:pt x="148899" y="142428"/>
                    <a:pt x="153648" y="139486"/>
                  </a:cubicBezTo>
                  <a:cubicBezTo>
                    <a:pt x="160711" y="135308"/>
                    <a:pt x="174592" y="134239"/>
                    <a:pt x="185308" y="135108"/>
                  </a:cubicBezTo>
                  <a:cubicBezTo>
                    <a:pt x="196024" y="135977"/>
                    <a:pt x="202681" y="140756"/>
                    <a:pt x="212625" y="143497"/>
                  </a:cubicBezTo>
                  <a:cubicBezTo>
                    <a:pt x="225776" y="147140"/>
                    <a:pt x="232920" y="148143"/>
                    <a:pt x="241565" y="155931"/>
                  </a:cubicBezTo>
                  <a:cubicBezTo>
                    <a:pt x="258329" y="152221"/>
                    <a:pt x="261860" y="125849"/>
                    <a:pt x="243960" y="116056"/>
                  </a:cubicBezTo>
                  <a:cubicBezTo>
                    <a:pt x="238643" y="113115"/>
                    <a:pt x="246842" y="107232"/>
                    <a:pt x="248506" y="105494"/>
                  </a:cubicBezTo>
                  <a:cubicBezTo>
                    <a:pt x="255366" y="98275"/>
                    <a:pt x="249034" y="96136"/>
                    <a:pt x="242824" y="87446"/>
                  </a:cubicBezTo>
                  <a:cubicBezTo>
                    <a:pt x="237750" y="80393"/>
                    <a:pt x="236127" y="74343"/>
                    <a:pt x="223544" y="70734"/>
                  </a:cubicBezTo>
                  <a:cubicBezTo>
                    <a:pt x="212341" y="67392"/>
                    <a:pt x="205116" y="73742"/>
                    <a:pt x="194400" y="69096"/>
                  </a:cubicBezTo>
                  <a:cubicBezTo>
                    <a:pt x="189529" y="66957"/>
                    <a:pt x="189976" y="63648"/>
                    <a:pt x="184253" y="61743"/>
                  </a:cubicBezTo>
                  <a:cubicBezTo>
                    <a:pt x="177799" y="60098"/>
                    <a:pt x="170939" y="59868"/>
                    <a:pt x="164363" y="61074"/>
                  </a:cubicBezTo>
                  <a:cubicBezTo>
                    <a:pt x="158722" y="61643"/>
                    <a:pt x="135423" y="63347"/>
                    <a:pt x="144068" y="54657"/>
                  </a:cubicBezTo>
                  <a:cubicBezTo>
                    <a:pt x="148127" y="50680"/>
                    <a:pt x="183319" y="31027"/>
                    <a:pt x="158234" y="25779"/>
                  </a:cubicBezTo>
                  <a:cubicBezTo>
                    <a:pt x="147194" y="23506"/>
                    <a:pt x="148087" y="19094"/>
                    <a:pt x="151050" y="13747"/>
                  </a:cubicBezTo>
                  <a:cubicBezTo>
                    <a:pt x="152471" y="11206"/>
                    <a:pt x="153770" y="9468"/>
                    <a:pt x="151050" y="6460"/>
                  </a:cubicBezTo>
                  <a:cubicBezTo>
                    <a:pt x="146626" y="1146"/>
                    <a:pt x="145815" y="4789"/>
                    <a:pt x="139726" y="4956"/>
                  </a:cubicBezTo>
                  <a:cubicBezTo>
                    <a:pt x="121825" y="5698"/>
                    <a:pt x="103885" y="4107"/>
                    <a:pt x="86553" y="243"/>
                  </a:cubicBezTo>
                  <a:cubicBezTo>
                    <a:pt x="67759" y="-3968"/>
                    <a:pt x="60778" y="15786"/>
                    <a:pt x="55908" y="23640"/>
                  </a:cubicBezTo>
                  <a:cubicBezTo>
                    <a:pt x="50022" y="32999"/>
                    <a:pt x="72996" y="43694"/>
                    <a:pt x="68694" y="53220"/>
                  </a:cubicBezTo>
                  <a:cubicBezTo>
                    <a:pt x="66785" y="57498"/>
                    <a:pt x="76812" y="63247"/>
                    <a:pt x="68085" y="65787"/>
                  </a:cubicBezTo>
                  <a:cubicBezTo>
                    <a:pt x="61915" y="67492"/>
                    <a:pt x="63214" y="74577"/>
                    <a:pt x="55583" y="75547"/>
                  </a:cubicBezTo>
                  <a:cubicBezTo>
                    <a:pt x="46410" y="76750"/>
                    <a:pt x="50996" y="86644"/>
                    <a:pt x="53878" y="91089"/>
                  </a:cubicBezTo>
                  <a:cubicBezTo>
                    <a:pt x="60170" y="100615"/>
                    <a:pt x="64229" y="106764"/>
                    <a:pt x="60495" y="115789"/>
                  </a:cubicBezTo>
                  <a:cubicBezTo>
                    <a:pt x="57978" y="121772"/>
                    <a:pt x="64918" y="127755"/>
                    <a:pt x="62240" y="133303"/>
                  </a:cubicBezTo>
                  <a:cubicBezTo>
                    <a:pt x="61103" y="136177"/>
                    <a:pt x="55259" y="139118"/>
                    <a:pt x="52458" y="141191"/>
                  </a:cubicBezTo>
                  <a:cubicBezTo>
                    <a:pt x="42189" y="148778"/>
                    <a:pt x="27008" y="151218"/>
                    <a:pt x="20229" y="159039"/>
                  </a:cubicBezTo>
                  <a:cubicBezTo>
                    <a:pt x="14181" y="166091"/>
                    <a:pt x="6226" y="172642"/>
                    <a:pt x="949" y="180029"/>
                  </a:cubicBezTo>
                  <a:cubicBezTo>
                    <a:pt x="-3475" y="186246"/>
                    <a:pt x="7769" y="190357"/>
                    <a:pt x="13126" y="196741"/>
                  </a:cubicBezTo>
                  <a:cubicBezTo>
                    <a:pt x="20757" y="205421"/>
                    <a:pt x="26927" y="214896"/>
                    <a:pt x="31513" y="224917"/>
                  </a:cubicBezTo>
                  <a:cubicBezTo>
                    <a:pt x="35369" y="234309"/>
                    <a:pt x="55137" y="234075"/>
                    <a:pt x="57734" y="244637"/>
                  </a:cubicBezTo>
                  <a:cubicBezTo>
                    <a:pt x="59439" y="251589"/>
                    <a:pt x="57734" y="252458"/>
                    <a:pt x="70520" y="256168"/>
                  </a:cubicBezTo>
                  <a:cubicBezTo>
                    <a:pt x="82007" y="259510"/>
                    <a:pt x="78354" y="252826"/>
                    <a:pt x="89110" y="254397"/>
                  </a:cubicBezTo>
                  <a:cubicBezTo>
                    <a:pt x="82900" y="242130"/>
                    <a:pt x="64310" y="238186"/>
                    <a:pt x="55583" y="228259"/>
                  </a:cubicBezTo>
                  <a:cubicBezTo>
                    <a:pt x="46207" y="217631"/>
                    <a:pt x="56070" y="208706"/>
                    <a:pt x="51524" y="198178"/>
                  </a:cubicBezTo>
                  <a:cubicBezTo>
                    <a:pt x="49535" y="193766"/>
                    <a:pt x="52701" y="188987"/>
                    <a:pt x="47465" y="185043"/>
                  </a:cubicBezTo>
                  <a:cubicBezTo>
                    <a:pt x="42229" y="181098"/>
                    <a:pt x="33746" y="178358"/>
                    <a:pt x="34882" y="173578"/>
                  </a:cubicBezTo>
                  <a:cubicBezTo>
                    <a:pt x="36790" y="165356"/>
                    <a:pt x="48155" y="156031"/>
                    <a:pt x="55989" y="150182"/>
                  </a:cubicBezTo>
                  <a:cubicBezTo>
                    <a:pt x="63822" y="144332"/>
                    <a:pt x="76284" y="138651"/>
                    <a:pt x="81479" y="130696"/>
                  </a:cubicBezTo>
                  <a:cubicBezTo>
                    <a:pt x="85091" y="125281"/>
                    <a:pt x="88176" y="115956"/>
                    <a:pt x="104129" y="125381"/>
                  </a:cubicBezTo>
                  <a:cubicBezTo>
                    <a:pt x="113951" y="131231"/>
                    <a:pt x="102667" y="138550"/>
                    <a:pt x="117604" y="144299"/>
                  </a:cubicBezTo>
                  <a:cubicBezTo>
                    <a:pt x="134612" y="150984"/>
                    <a:pt x="137046" y="157234"/>
                    <a:pt x="150076" y="166091"/>
                  </a:cubicBezTo>
                  <a:cubicBezTo>
                    <a:pt x="154947" y="161613"/>
                    <a:pt x="150523" y="157167"/>
                    <a:pt x="152958" y="152087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610BB3C7-0822-4B7A-8499-01C48D822B14}"/>
                </a:ext>
              </a:extLst>
            </p:cNvPr>
            <p:cNvSpPr/>
            <p:nvPr/>
          </p:nvSpPr>
          <p:spPr>
            <a:xfrm>
              <a:off x="7790060" y="4848671"/>
              <a:ext cx="819326" cy="355261"/>
            </a:xfrm>
            <a:custGeom>
              <a:avLst/>
              <a:gdLst>
                <a:gd name="connsiteX0" fmla="*/ 576166 w 840911"/>
                <a:gd name="connsiteY0" fmla="*/ 304550 h 486434"/>
                <a:gd name="connsiteX1" fmla="*/ 589723 w 840911"/>
                <a:gd name="connsiteY1" fmla="*/ 277811 h 486434"/>
                <a:gd name="connsiteX2" fmla="*/ 580834 w 840911"/>
                <a:gd name="connsiteY2" fmla="*/ 260230 h 486434"/>
                <a:gd name="connsiteX3" fmla="*/ 620612 w 840911"/>
                <a:gd name="connsiteY3" fmla="*/ 269388 h 486434"/>
                <a:gd name="connsiteX4" fmla="*/ 626904 w 840911"/>
                <a:gd name="connsiteY4" fmla="*/ 284428 h 486434"/>
                <a:gd name="connsiteX5" fmla="*/ 644519 w 840911"/>
                <a:gd name="connsiteY5" fmla="*/ 292350 h 486434"/>
                <a:gd name="connsiteX6" fmla="*/ 683242 w 840911"/>
                <a:gd name="connsiteY6" fmla="*/ 312036 h 486434"/>
                <a:gd name="connsiteX7" fmla="*/ 645412 w 840911"/>
                <a:gd name="connsiteY7" fmla="*/ 325606 h 486434"/>
                <a:gd name="connsiteX8" fmla="*/ 669320 w 840911"/>
                <a:gd name="connsiteY8" fmla="*/ 329450 h 486434"/>
                <a:gd name="connsiteX9" fmla="*/ 675976 w 840911"/>
                <a:gd name="connsiteY9" fmla="*/ 334163 h 486434"/>
                <a:gd name="connsiteX10" fmla="*/ 672486 w 840911"/>
                <a:gd name="connsiteY10" fmla="*/ 363007 h 486434"/>
                <a:gd name="connsiteX11" fmla="*/ 702522 w 840911"/>
                <a:gd name="connsiteY11" fmla="*/ 335767 h 486434"/>
                <a:gd name="connsiteX12" fmla="*/ 723872 w 840911"/>
                <a:gd name="connsiteY12" fmla="*/ 341516 h 486434"/>
                <a:gd name="connsiteX13" fmla="*/ 745669 w 840911"/>
                <a:gd name="connsiteY13" fmla="*/ 327512 h 486434"/>
                <a:gd name="connsiteX14" fmla="*/ 766451 w 840911"/>
                <a:gd name="connsiteY14" fmla="*/ 304416 h 486434"/>
                <a:gd name="connsiteX15" fmla="*/ 813129 w 840911"/>
                <a:gd name="connsiteY15" fmla="*/ 301073 h 486434"/>
                <a:gd name="connsiteX16" fmla="*/ 827823 w 840911"/>
                <a:gd name="connsiteY16" fmla="*/ 306755 h 486434"/>
                <a:gd name="connsiteX17" fmla="*/ 840852 w 840911"/>
                <a:gd name="connsiteY17" fmla="*/ 290044 h 486434"/>
                <a:gd name="connsiteX18" fmla="*/ 824616 w 840911"/>
                <a:gd name="connsiteY18" fmla="*/ 275972 h 486434"/>
                <a:gd name="connsiteX19" fmla="*/ 803956 w 840911"/>
                <a:gd name="connsiteY19" fmla="*/ 262035 h 486434"/>
                <a:gd name="connsiteX20" fmla="*/ 769130 w 840911"/>
                <a:gd name="connsiteY20" fmla="*/ 252008 h 486434"/>
                <a:gd name="connsiteX21" fmla="*/ 730975 w 840911"/>
                <a:gd name="connsiteY21" fmla="*/ 254147 h 486434"/>
                <a:gd name="connsiteX22" fmla="*/ 699274 w 840911"/>
                <a:gd name="connsiteY22" fmla="*/ 258057 h 486434"/>
                <a:gd name="connsiteX23" fmla="*/ 693389 w 840911"/>
                <a:gd name="connsiteY23" fmla="*/ 267516 h 486434"/>
                <a:gd name="connsiteX24" fmla="*/ 626944 w 840911"/>
                <a:gd name="connsiteY24" fmla="*/ 255383 h 486434"/>
                <a:gd name="connsiteX25" fmla="*/ 608272 w 840911"/>
                <a:gd name="connsiteY25" fmla="*/ 239474 h 486434"/>
                <a:gd name="connsiteX26" fmla="*/ 604213 w 840911"/>
                <a:gd name="connsiteY26" fmla="*/ 224701 h 486434"/>
                <a:gd name="connsiteX27" fmla="*/ 587978 w 840911"/>
                <a:gd name="connsiteY27" fmla="*/ 236766 h 486434"/>
                <a:gd name="connsiteX28" fmla="*/ 563624 w 840911"/>
                <a:gd name="connsiteY28" fmla="*/ 244053 h 486434"/>
                <a:gd name="connsiteX29" fmla="*/ 507570 w 840911"/>
                <a:gd name="connsiteY29" fmla="*/ 222896 h 486434"/>
                <a:gd name="connsiteX30" fmla="*/ 490806 w 840911"/>
                <a:gd name="connsiteY30" fmla="*/ 208022 h 486434"/>
                <a:gd name="connsiteX31" fmla="*/ 456507 w 840911"/>
                <a:gd name="connsiteY31" fmla="*/ 198697 h 486434"/>
                <a:gd name="connsiteX32" fmla="*/ 432153 w 840911"/>
                <a:gd name="connsiteY32" fmla="*/ 183356 h 486434"/>
                <a:gd name="connsiteX33" fmla="*/ 407556 w 840911"/>
                <a:gd name="connsiteY33" fmla="*/ 167546 h 486434"/>
                <a:gd name="connsiteX34" fmla="*/ 383771 w 840911"/>
                <a:gd name="connsiteY34" fmla="*/ 153675 h 486434"/>
                <a:gd name="connsiteX35" fmla="*/ 394649 w 840911"/>
                <a:gd name="connsiteY35" fmla="*/ 134256 h 486434"/>
                <a:gd name="connsiteX36" fmla="*/ 399520 w 840911"/>
                <a:gd name="connsiteY36" fmla="*/ 123394 h 486434"/>
                <a:gd name="connsiteX37" fmla="*/ 386206 w 840911"/>
                <a:gd name="connsiteY37" fmla="*/ 110024 h 486434"/>
                <a:gd name="connsiteX38" fmla="*/ 363516 w 840911"/>
                <a:gd name="connsiteY38" fmla="*/ 93981 h 486434"/>
                <a:gd name="connsiteX39" fmla="*/ 353856 w 840911"/>
                <a:gd name="connsiteY39" fmla="*/ 76534 h 486434"/>
                <a:gd name="connsiteX40" fmla="*/ 355317 w 840911"/>
                <a:gd name="connsiteY40" fmla="*/ 69642 h 486434"/>
                <a:gd name="connsiteX41" fmla="*/ 356129 w 840911"/>
                <a:gd name="connsiteY41" fmla="*/ 69247 h 486434"/>
                <a:gd name="connsiteX42" fmla="*/ 367656 w 840911"/>
                <a:gd name="connsiteY42" fmla="*/ 73592 h 486434"/>
                <a:gd name="connsiteX43" fmla="*/ 380645 w 840911"/>
                <a:gd name="connsiteY43" fmla="*/ 65337 h 486434"/>
                <a:gd name="connsiteX44" fmla="*/ 375247 w 840911"/>
                <a:gd name="connsiteY44" fmla="*/ 46954 h 486434"/>
                <a:gd name="connsiteX45" fmla="*/ 363882 w 840911"/>
                <a:gd name="connsiteY45" fmla="*/ 24226 h 486434"/>
                <a:gd name="connsiteX46" fmla="*/ 334941 w 840911"/>
                <a:gd name="connsiteY46" fmla="*/ 11792 h 486434"/>
                <a:gd name="connsiteX47" fmla="*/ 265939 w 840911"/>
                <a:gd name="connsiteY47" fmla="*/ 7046 h 486434"/>
                <a:gd name="connsiteX48" fmla="*/ 232452 w 840911"/>
                <a:gd name="connsiteY48" fmla="*/ 1063 h 486434"/>
                <a:gd name="connsiteX49" fmla="*/ 232452 w 840911"/>
                <a:gd name="connsiteY49" fmla="*/ 12929 h 486434"/>
                <a:gd name="connsiteX50" fmla="*/ 239109 w 840911"/>
                <a:gd name="connsiteY50" fmla="*/ 41539 h 486434"/>
                <a:gd name="connsiteX51" fmla="*/ 257617 w 840911"/>
                <a:gd name="connsiteY51" fmla="*/ 52536 h 486434"/>
                <a:gd name="connsiteX52" fmla="*/ 241869 w 840911"/>
                <a:gd name="connsiteY52" fmla="*/ 55109 h 486434"/>
                <a:gd name="connsiteX53" fmla="*/ 232858 w 840911"/>
                <a:gd name="connsiteY53" fmla="*/ 65604 h 486434"/>
                <a:gd name="connsiteX54" fmla="*/ 212319 w 840911"/>
                <a:gd name="connsiteY54" fmla="*/ 73091 h 486434"/>
                <a:gd name="connsiteX55" fmla="*/ 205216 w 840911"/>
                <a:gd name="connsiteY55" fmla="*/ 81146 h 486434"/>
                <a:gd name="connsiteX56" fmla="*/ 189468 w 840911"/>
                <a:gd name="connsiteY56" fmla="*/ 81815 h 486434"/>
                <a:gd name="connsiteX57" fmla="*/ 174165 w 840911"/>
                <a:gd name="connsiteY57" fmla="*/ 94148 h 486434"/>
                <a:gd name="connsiteX58" fmla="*/ 152734 w 840911"/>
                <a:gd name="connsiteY58" fmla="*/ 97056 h 486434"/>
                <a:gd name="connsiteX59" fmla="*/ 130247 w 840911"/>
                <a:gd name="connsiteY59" fmla="*/ 108353 h 486434"/>
                <a:gd name="connsiteX60" fmla="*/ 116609 w 840911"/>
                <a:gd name="connsiteY60" fmla="*/ 107183 h 486434"/>
                <a:gd name="connsiteX61" fmla="*/ 98262 w 840911"/>
                <a:gd name="connsiteY61" fmla="*/ 105880 h 486434"/>
                <a:gd name="connsiteX62" fmla="*/ 76628 w 840911"/>
                <a:gd name="connsiteY62" fmla="*/ 99964 h 486434"/>
                <a:gd name="connsiteX63" fmla="*/ 52274 w 840911"/>
                <a:gd name="connsiteY63" fmla="*/ 110191 h 486434"/>
                <a:gd name="connsiteX64" fmla="*/ 67495 w 840911"/>
                <a:gd name="connsiteY64" fmla="*/ 123327 h 486434"/>
                <a:gd name="connsiteX65" fmla="*/ 67292 w 840911"/>
                <a:gd name="connsiteY65" fmla="*/ 134256 h 486434"/>
                <a:gd name="connsiteX66" fmla="*/ 77967 w 840911"/>
                <a:gd name="connsiteY66" fmla="*/ 148829 h 486434"/>
                <a:gd name="connsiteX67" fmla="*/ 42451 w 840911"/>
                <a:gd name="connsiteY67" fmla="*/ 159324 h 486434"/>
                <a:gd name="connsiteX68" fmla="*/ 9046 w 840911"/>
                <a:gd name="connsiteY68" fmla="*/ 155982 h 486434"/>
                <a:gd name="connsiteX69" fmla="*/ 6326 w 840911"/>
                <a:gd name="connsiteY69" fmla="*/ 171523 h 486434"/>
                <a:gd name="connsiteX70" fmla="*/ 39813 w 840911"/>
                <a:gd name="connsiteY70" fmla="*/ 185294 h 486434"/>
                <a:gd name="connsiteX71" fmla="*/ 47931 w 840911"/>
                <a:gd name="connsiteY71" fmla="*/ 191444 h 486434"/>
                <a:gd name="connsiteX72" fmla="*/ 10304 w 840911"/>
                <a:gd name="connsiteY72" fmla="*/ 191812 h 486434"/>
                <a:gd name="connsiteX73" fmla="*/ 47119 w 840911"/>
                <a:gd name="connsiteY73" fmla="*/ 224701 h 486434"/>
                <a:gd name="connsiteX74" fmla="*/ 97978 w 840911"/>
                <a:gd name="connsiteY74" fmla="*/ 219754 h 486434"/>
                <a:gd name="connsiteX75" fmla="*/ 111251 w 840911"/>
                <a:gd name="connsiteY75" fmla="*/ 214874 h 486434"/>
                <a:gd name="connsiteX76" fmla="*/ 111616 w 840911"/>
                <a:gd name="connsiteY76" fmla="*/ 231853 h 486434"/>
                <a:gd name="connsiteX77" fmla="*/ 103498 w 840911"/>
                <a:gd name="connsiteY77" fmla="*/ 252877 h 486434"/>
                <a:gd name="connsiteX78" fmla="*/ 102930 w 840911"/>
                <a:gd name="connsiteY78" fmla="*/ 279615 h 486434"/>
                <a:gd name="connsiteX79" fmla="*/ 121398 w 840911"/>
                <a:gd name="connsiteY79" fmla="*/ 366216 h 486434"/>
                <a:gd name="connsiteX80" fmla="*/ 129516 w 840911"/>
                <a:gd name="connsiteY80" fmla="*/ 402715 h 486434"/>
                <a:gd name="connsiteX81" fmla="*/ 146361 w 840911"/>
                <a:gd name="connsiteY81" fmla="*/ 437141 h 486434"/>
                <a:gd name="connsiteX82" fmla="*/ 153952 w 840911"/>
                <a:gd name="connsiteY82" fmla="*/ 472236 h 486434"/>
                <a:gd name="connsiteX83" fmla="*/ 193161 w 840911"/>
                <a:gd name="connsiteY83" fmla="*/ 479622 h 486434"/>
                <a:gd name="connsiteX84" fmla="*/ 214836 w 840911"/>
                <a:gd name="connsiteY84" fmla="*/ 474408 h 486434"/>
                <a:gd name="connsiteX85" fmla="*/ 230382 w 840911"/>
                <a:gd name="connsiteY85" fmla="*/ 464013 h 486434"/>
                <a:gd name="connsiteX86" fmla="*/ 249378 w 840911"/>
                <a:gd name="connsiteY86" fmla="*/ 456827 h 486434"/>
                <a:gd name="connsiteX87" fmla="*/ 259160 w 840911"/>
                <a:gd name="connsiteY87" fmla="*/ 438912 h 486434"/>
                <a:gd name="connsiteX88" fmla="*/ 281444 w 840911"/>
                <a:gd name="connsiteY88" fmla="*/ 411338 h 486434"/>
                <a:gd name="connsiteX89" fmla="*/ 302023 w 840911"/>
                <a:gd name="connsiteY89" fmla="*/ 377513 h 486434"/>
                <a:gd name="connsiteX90" fmla="*/ 331694 w 840911"/>
                <a:gd name="connsiteY90" fmla="*/ 375708 h 486434"/>
                <a:gd name="connsiteX91" fmla="*/ 360553 w 840911"/>
                <a:gd name="connsiteY91" fmla="*/ 368756 h 486434"/>
                <a:gd name="connsiteX92" fmla="*/ 414172 w 840911"/>
                <a:gd name="connsiteY92" fmla="*/ 359899 h 486434"/>
                <a:gd name="connsiteX93" fmla="*/ 460851 w 840911"/>
                <a:gd name="connsiteY93" fmla="*/ 347566 h 486434"/>
                <a:gd name="connsiteX94" fmla="*/ 509558 w 840911"/>
                <a:gd name="connsiteY94" fmla="*/ 334731 h 486434"/>
                <a:gd name="connsiteX95" fmla="*/ 557738 w 840911"/>
                <a:gd name="connsiteY95" fmla="*/ 333327 h 486434"/>
                <a:gd name="connsiteX96" fmla="*/ 577140 w 840911"/>
                <a:gd name="connsiteY96" fmla="*/ 327044 h 486434"/>
                <a:gd name="connsiteX97" fmla="*/ 576612 w 840911"/>
                <a:gd name="connsiteY97" fmla="*/ 304850 h 486434"/>
                <a:gd name="connsiteX98" fmla="*/ 576166 w 840911"/>
                <a:gd name="connsiteY98" fmla="*/ 304550 h 486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840911" h="486434">
                  <a:moveTo>
                    <a:pt x="576166" y="304550"/>
                  </a:moveTo>
                  <a:cubicBezTo>
                    <a:pt x="573649" y="295826"/>
                    <a:pt x="570402" y="275438"/>
                    <a:pt x="589723" y="277811"/>
                  </a:cubicBezTo>
                  <a:cubicBezTo>
                    <a:pt x="613306" y="280652"/>
                    <a:pt x="581118" y="263305"/>
                    <a:pt x="580834" y="260230"/>
                  </a:cubicBezTo>
                  <a:cubicBezTo>
                    <a:pt x="579778" y="247729"/>
                    <a:pt x="616147" y="265979"/>
                    <a:pt x="620612" y="269388"/>
                  </a:cubicBezTo>
                  <a:cubicBezTo>
                    <a:pt x="627634" y="274602"/>
                    <a:pt x="621220" y="279081"/>
                    <a:pt x="626904" y="284428"/>
                  </a:cubicBezTo>
                  <a:cubicBezTo>
                    <a:pt x="632586" y="289776"/>
                    <a:pt x="636199" y="290278"/>
                    <a:pt x="644519" y="292350"/>
                  </a:cubicBezTo>
                  <a:cubicBezTo>
                    <a:pt x="656412" y="295258"/>
                    <a:pt x="697286" y="302778"/>
                    <a:pt x="683242" y="312036"/>
                  </a:cubicBezTo>
                  <a:cubicBezTo>
                    <a:pt x="671593" y="319623"/>
                    <a:pt x="649228" y="314577"/>
                    <a:pt x="645412" y="325606"/>
                  </a:cubicBezTo>
                  <a:cubicBezTo>
                    <a:pt x="640217" y="340614"/>
                    <a:pt x="660471" y="332926"/>
                    <a:pt x="669320" y="329450"/>
                  </a:cubicBezTo>
                  <a:cubicBezTo>
                    <a:pt x="675813" y="326910"/>
                    <a:pt x="676098" y="330720"/>
                    <a:pt x="675976" y="334163"/>
                  </a:cubicBezTo>
                  <a:cubicBezTo>
                    <a:pt x="675733" y="343922"/>
                    <a:pt x="673541" y="353381"/>
                    <a:pt x="672486" y="363007"/>
                  </a:cubicBezTo>
                  <a:cubicBezTo>
                    <a:pt x="688072" y="358562"/>
                    <a:pt x="695054" y="346296"/>
                    <a:pt x="702522" y="335767"/>
                  </a:cubicBezTo>
                  <a:cubicBezTo>
                    <a:pt x="705810" y="331155"/>
                    <a:pt x="717621" y="339711"/>
                    <a:pt x="723872" y="341516"/>
                  </a:cubicBezTo>
                  <a:cubicBezTo>
                    <a:pt x="729027" y="343053"/>
                    <a:pt x="743680" y="330219"/>
                    <a:pt x="745669" y="327512"/>
                  </a:cubicBezTo>
                  <a:cubicBezTo>
                    <a:pt x="751351" y="319891"/>
                    <a:pt x="756953" y="310399"/>
                    <a:pt x="766451" y="304416"/>
                  </a:cubicBezTo>
                  <a:cubicBezTo>
                    <a:pt x="772539" y="300539"/>
                    <a:pt x="802981" y="297330"/>
                    <a:pt x="813129" y="301073"/>
                  </a:cubicBezTo>
                  <a:cubicBezTo>
                    <a:pt x="812885" y="301073"/>
                    <a:pt x="833424" y="317250"/>
                    <a:pt x="827823" y="306755"/>
                  </a:cubicBezTo>
                  <a:cubicBezTo>
                    <a:pt x="820882" y="293921"/>
                    <a:pt x="834764" y="297865"/>
                    <a:pt x="840852" y="290044"/>
                  </a:cubicBezTo>
                  <a:cubicBezTo>
                    <a:pt x="833302" y="287433"/>
                    <a:pt x="827376" y="282330"/>
                    <a:pt x="824616" y="275972"/>
                  </a:cubicBezTo>
                  <a:cubicBezTo>
                    <a:pt x="819907" y="267850"/>
                    <a:pt x="820922" y="259929"/>
                    <a:pt x="803956" y="262035"/>
                  </a:cubicBezTo>
                  <a:cubicBezTo>
                    <a:pt x="794579" y="263204"/>
                    <a:pt x="781023" y="252208"/>
                    <a:pt x="769130" y="252008"/>
                  </a:cubicBezTo>
                  <a:cubicBezTo>
                    <a:pt x="761702" y="252008"/>
                    <a:pt x="735319" y="252008"/>
                    <a:pt x="730975" y="254147"/>
                  </a:cubicBezTo>
                  <a:cubicBezTo>
                    <a:pt x="721843" y="258993"/>
                    <a:pt x="711817" y="258659"/>
                    <a:pt x="699274" y="258057"/>
                  </a:cubicBezTo>
                  <a:cubicBezTo>
                    <a:pt x="688193" y="257523"/>
                    <a:pt x="694404" y="261700"/>
                    <a:pt x="693389" y="267516"/>
                  </a:cubicBezTo>
                  <a:cubicBezTo>
                    <a:pt x="691035" y="280886"/>
                    <a:pt x="640826" y="261232"/>
                    <a:pt x="626944" y="255383"/>
                  </a:cubicBezTo>
                  <a:cubicBezTo>
                    <a:pt x="617527" y="251372"/>
                    <a:pt x="607583" y="246125"/>
                    <a:pt x="608272" y="239474"/>
                  </a:cubicBezTo>
                  <a:cubicBezTo>
                    <a:pt x="608272" y="239140"/>
                    <a:pt x="615213" y="220222"/>
                    <a:pt x="604213" y="224701"/>
                  </a:cubicBezTo>
                  <a:cubicBezTo>
                    <a:pt x="593214" y="229179"/>
                    <a:pt x="589521" y="226205"/>
                    <a:pt x="587978" y="236766"/>
                  </a:cubicBezTo>
                  <a:cubicBezTo>
                    <a:pt x="586760" y="246125"/>
                    <a:pt x="578155" y="246593"/>
                    <a:pt x="563624" y="244053"/>
                  </a:cubicBezTo>
                  <a:cubicBezTo>
                    <a:pt x="540122" y="240009"/>
                    <a:pt x="527377" y="231853"/>
                    <a:pt x="507570" y="222896"/>
                  </a:cubicBezTo>
                  <a:cubicBezTo>
                    <a:pt x="495068" y="217280"/>
                    <a:pt x="497625" y="215442"/>
                    <a:pt x="490806" y="208022"/>
                  </a:cubicBezTo>
                  <a:cubicBezTo>
                    <a:pt x="482201" y="198630"/>
                    <a:pt x="469577" y="202273"/>
                    <a:pt x="456507" y="198697"/>
                  </a:cubicBezTo>
                  <a:cubicBezTo>
                    <a:pt x="447091" y="196123"/>
                    <a:pt x="441976" y="186798"/>
                    <a:pt x="432153" y="183356"/>
                  </a:cubicBezTo>
                  <a:cubicBezTo>
                    <a:pt x="419489" y="178944"/>
                    <a:pt x="417176" y="172493"/>
                    <a:pt x="407556" y="167546"/>
                  </a:cubicBezTo>
                  <a:cubicBezTo>
                    <a:pt x="398708" y="163001"/>
                    <a:pt x="392051" y="158422"/>
                    <a:pt x="383771" y="153675"/>
                  </a:cubicBezTo>
                  <a:cubicBezTo>
                    <a:pt x="373583" y="147893"/>
                    <a:pt x="385760" y="136395"/>
                    <a:pt x="394649" y="134256"/>
                  </a:cubicBezTo>
                  <a:cubicBezTo>
                    <a:pt x="405080" y="131750"/>
                    <a:pt x="408896" y="130914"/>
                    <a:pt x="399520" y="123394"/>
                  </a:cubicBezTo>
                  <a:cubicBezTo>
                    <a:pt x="394080" y="119115"/>
                    <a:pt x="392538" y="113935"/>
                    <a:pt x="386206" y="110024"/>
                  </a:cubicBezTo>
                  <a:cubicBezTo>
                    <a:pt x="377520" y="104576"/>
                    <a:pt x="371715" y="99997"/>
                    <a:pt x="363516" y="93981"/>
                  </a:cubicBezTo>
                  <a:cubicBezTo>
                    <a:pt x="353450" y="86795"/>
                    <a:pt x="359904" y="83954"/>
                    <a:pt x="353856" y="76534"/>
                  </a:cubicBezTo>
                  <a:cubicBezTo>
                    <a:pt x="351948" y="74298"/>
                    <a:pt x="352598" y="71213"/>
                    <a:pt x="355317" y="69642"/>
                  </a:cubicBezTo>
                  <a:cubicBezTo>
                    <a:pt x="355561" y="69495"/>
                    <a:pt x="355845" y="69361"/>
                    <a:pt x="356129" y="69247"/>
                  </a:cubicBezTo>
                  <a:cubicBezTo>
                    <a:pt x="360553" y="67576"/>
                    <a:pt x="364247" y="72222"/>
                    <a:pt x="367656" y="73592"/>
                  </a:cubicBezTo>
                  <a:cubicBezTo>
                    <a:pt x="382025" y="79575"/>
                    <a:pt x="385191" y="71721"/>
                    <a:pt x="380645" y="65337"/>
                  </a:cubicBezTo>
                  <a:cubicBezTo>
                    <a:pt x="375166" y="57716"/>
                    <a:pt x="369930" y="53505"/>
                    <a:pt x="375247" y="46954"/>
                  </a:cubicBezTo>
                  <a:cubicBezTo>
                    <a:pt x="383364" y="36927"/>
                    <a:pt x="369889" y="34587"/>
                    <a:pt x="363882" y="24226"/>
                  </a:cubicBezTo>
                  <a:cubicBezTo>
                    <a:pt x="357874" y="13864"/>
                    <a:pt x="349675" y="2267"/>
                    <a:pt x="334941" y="11792"/>
                  </a:cubicBezTo>
                  <a:cubicBezTo>
                    <a:pt x="320207" y="21318"/>
                    <a:pt x="286233" y="15803"/>
                    <a:pt x="265939" y="7046"/>
                  </a:cubicBezTo>
                  <a:cubicBezTo>
                    <a:pt x="255750" y="2567"/>
                    <a:pt x="242965" y="-2981"/>
                    <a:pt x="232452" y="1063"/>
                  </a:cubicBezTo>
                  <a:cubicBezTo>
                    <a:pt x="225551" y="3603"/>
                    <a:pt x="232452" y="8550"/>
                    <a:pt x="232452" y="12929"/>
                  </a:cubicBezTo>
                  <a:cubicBezTo>
                    <a:pt x="231843" y="20616"/>
                    <a:pt x="224334" y="34220"/>
                    <a:pt x="239109" y="41539"/>
                  </a:cubicBezTo>
                  <a:cubicBezTo>
                    <a:pt x="241909" y="42943"/>
                    <a:pt x="264761" y="48224"/>
                    <a:pt x="257617" y="52536"/>
                  </a:cubicBezTo>
                  <a:cubicBezTo>
                    <a:pt x="254451" y="54441"/>
                    <a:pt x="246090" y="52937"/>
                    <a:pt x="241869" y="55109"/>
                  </a:cubicBezTo>
                  <a:cubicBezTo>
                    <a:pt x="237363" y="57552"/>
                    <a:pt x="234156" y="61299"/>
                    <a:pt x="232858" y="65604"/>
                  </a:cubicBezTo>
                  <a:cubicBezTo>
                    <a:pt x="229164" y="75331"/>
                    <a:pt x="222386" y="68946"/>
                    <a:pt x="212319" y="73091"/>
                  </a:cubicBezTo>
                  <a:cubicBezTo>
                    <a:pt x="207611" y="74996"/>
                    <a:pt x="208910" y="78907"/>
                    <a:pt x="205216" y="81146"/>
                  </a:cubicBezTo>
                  <a:cubicBezTo>
                    <a:pt x="201523" y="83386"/>
                    <a:pt x="194744" y="81714"/>
                    <a:pt x="189468" y="81815"/>
                  </a:cubicBezTo>
                  <a:cubicBezTo>
                    <a:pt x="182689" y="81815"/>
                    <a:pt x="177291" y="91407"/>
                    <a:pt x="174165" y="94148"/>
                  </a:cubicBezTo>
                  <a:cubicBezTo>
                    <a:pt x="168685" y="98760"/>
                    <a:pt x="162313" y="96889"/>
                    <a:pt x="152734" y="97056"/>
                  </a:cubicBezTo>
                  <a:cubicBezTo>
                    <a:pt x="140029" y="97290"/>
                    <a:pt x="139867" y="105211"/>
                    <a:pt x="130247" y="108353"/>
                  </a:cubicBezTo>
                  <a:cubicBezTo>
                    <a:pt x="124970" y="110058"/>
                    <a:pt x="122129" y="109289"/>
                    <a:pt x="116609" y="107183"/>
                  </a:cubicBezTo>
                  <a:cubicBezTo>
                    <a:pt x="106746" y="103406"/>
                    <a:pt x="106461" y="106682"/>
                    <a:pt x="98262" y="105880"/>
                  </a:cubicBezTo>
                  <a:cubicBezTo>
                    <a:pt x="90063" y="105077"/>
                    <a:pt x="85274" y="97825"/>
                    <a:pt x="76628" y="99964"/>
                  </a:cubicBezTo>
                  <a:cubicBezTo>
                    <a:pt x="68875" y="101902"/>
                    <a:pt x="53857" y="104576"/>
                    <a:pt x="52274" y="110191"/>
                  </a:cubicBezTo>
                  <a:cubicBezTo>
                    <a:pt x="50772" y="115138"/>
                    <a:pt x="65466" y="118581"/>
                    <a:pt x="67495" y="123327"/>
                  </a:cubicBezTo>
                  <a:cubicBezTo>
                    <a:pt x="69078" y="126937"/>
                    <a:pt x="65993" y="130413"/>
                    <a:pt x="67292" y="134256"/>
                  </a:cubicBezTo>
                  <a:cubicBezTo>
                    <a:pt x="69119" y="139604"/>
                    <a:pt x="73868" y="143849"/>
                    <a:pt x="77967" y="148829"/>
                  </a:cubicBezTo>
                  <a:cubicBezTo>
                    <a:pt x="95299" y="170086"/>
                    <a:pt x="62584" y="161831"/>
                    <a:pt x="42451" y="159324"/>
                  </a:cubicBezTo>
                  <a:cubicBezTo>
                    <a:pt x="30274" y="157786"/>
                    <a:pt x="19478" y="151035"/>
                    <a:pt x="9046" y="155982"/>
                  </a:cubicBezTo>
                  <a:cubicBezTo>
                    <a:pt x="-3131" y="161797"/>
                    <a:pt x="-2116" y="162031"/>
                    <a:pt x="6326" y="171523"/>
                  </a:cubicBezTo>
                  <a:cubicBezTo>
                    <a:pt x="14201" y="180224"/>
                    <a:pt x="26621" y="185331"/>
                    <a:pt x="39813" y="185294"/>
                  </a:cubicBezTo>
                  <a:cubicBezTo>
                    <a:pt x="46104" y="185495"/>
                    <a:pt x="60108" y="189338"/>
                    <a:pt x="47931" y="191444"/>
                  </a:cubicBezTo>
                  <a:cubicBezTo>
                    <a:pt x="39813" y="192915"/>
                    <a:pt x="4744" y="184124"/>
                    <a:pt x="10304" y="191812"/>
                  </a:cubicBezTo>
                  <a:cubicBezTo>
                    <a:pt x="19721" y="204737"/>
                    <a:pt x="32222" y="215930"/>
                    <a:pt x="47119" y="224701"/>
                  </a:cubicBezTo>
                  <a:cubicBezTo>
                    <a:pt x="63355" y="234026"/>
                    <a:pt x="106746" y="225035"/>
                    <a:pt x="97978" y="219754"/>
                  </a:cubicBezTo>
                  <a:cubicBezTo>
                    <a:pt x="90916" y="215476"/>
                    <a:pt x="109262" y="209092"/>
                    <a:pt x="111251" y="214874"/>
                  </a:cubicBezTo>
                  <a:cubicBezTo>
                    <a:pt x="113037" y="219954"/>
                    <a:pt x="105406" y="226973"/>
                    <a:pt x="111616" y="231853"/>
                  </a:cubicBezTo>
                  <a:cubicBezTo>
                    <a:pt x="120708" y="239073"/>
                    <a:pt x="104959" y="246559"/>
                    <a:pt x="103498" y="252877"/>
                  </a:cubicBezTo>
                  <a:cubicBezTo>
                    <a:pt x="102159" y="261747"/>
                    <a:pt x="101956" y="270711"/>
                    <a:pt x="102930" y="279615"/>
                  </a:cubicBezTo>
                  <a:cubicBezTo>
                    <a:pt x="104310" y="308794"/>
                    <a:pt x="112428" y="336837"/>
                    <a:pt x="121398" y="366216"/>
                  </a:cubicBezTo>
                  <a:cubicBezTo>
                    <a:pt x="125132" y="378382"/>
                    <a:pt x="125457" y="390548"/>
                    <a:pt x="129516" y="402715"/>
                  </a:cubicBezTo>
                  <a:cubicBezTo>
                    <a:pt x="133575" y="414279"/>
                    <a:pt x="143601" y="425309"/>
                    <a:pt x="146361" y="437141"/>
                  </a:cubicBezTo>
                  <a:cubicBezTo>
                    <a:pt x="149324" y="449775"/>
                    <a:pt x="145225" y="459234"/>
                    <a:pt x="153952" y="472236"/>
                  </a:cubicBezTo>
                  <a:cubicBezTo>
                    <a:pt x="162070" y="484502"/>
                    <a:pt x="180010" y="492290"/>
                    <a:pt x="193161" y="479622"/>
                  </a:cubicBezTo>
                  <a:cubicBezTo>
                    <a:pt x="197220" y="475578"/>
                    <a:pt x="207570" y="475444"/>
                    <a:pt x="214836" y="474408"/>
                  </a:cubicBezTo>
                  <a:cubicBezTo>
                    <a:pt x="225146" y="472904"/>
                    <a:pt x="224090" y="468292"/>
                    <a:pt x="230382" y="464013"/>
                  </a:cubicBezTo>
                  <a:cubicBezTo>
                    <a:pt x="236673" y="459735"/>
                    <a:pt x="245846" y="464448"/>
                    <a:pt x="249378" y="456827"/>
                  </a:cubicBezTo>
                  <a:cubicBezTo>
                    <a:pt x="252260" y="450677"/>
                    <a:pt x="253762" y="444260"/>
                    <a:pt x="259160" y="438912"/>
                  </a:cubicBezTo>
                  <a:cubicBezTo>
                    <a:pt x="268820" y="429387"/>
                    <a:pt x="281687" y="424975"/>
                    <a:pt x="281444" y="411338"/>
                  </a:cubicBezTo>
                  <a:cubicBezTo>
                    <a:pt x="281444" y="401311"/>
                    <a:pt x="285908" y="381958"/>
                    <a:pt x="302023" y="377513"/>
                  </a:cubicBezTo>
                  <a:cubicBezTo>
                    <a:pt x="309735" y="375374"/>
                    <a:pt x="322642" y="378148"/>
                    <a:pt x="331694" y="375708"/>
                  </a:cubicBezTo>
                  <a:cubicBezTo>
                    <a:pt x="341070" y="372790"/>
                    <a:pt x="350731" y="370464"/>
                    <a:pt x="360553" y="368756"/>
                  </a:cubicBezTo>
                  <a:cubicBezTo>
                    <a:pt x="378900" y="366116"/>
                    <a:pt x="396759" y="363843"/>
                    <a:pt x="414172" y="359899"/>
                  </a:cubicBezTo>
                  <a:cubicBezTo>
                    <a:pt x="429596" y="356557"/>
                    <a:pt x="443843" y="348702"/>
                    <a:pt x="460851" y="347566"/>
                  </a:cubicBezTo>
                  <a:cubicBezTo>
                    <a:pt x="482201" y="346162"/>
                    <a:pt x="502617" y="348735"/>
                    <a:pt x="509558" y="334731"/>
                  </a:cubicBezTo>
                  <a:cubicBezTo>
                    <a:pt x="514957" y="323735"/>
                    <a:pt x="541706" y="329751"/>
                    <a:pt x="557738" y="333327"/>
                  </a:cubicBezTo>
                  <a:cubicBezTo>
                    <a:pt x="573771" y="336904"/>
                    <a:pt x="575394" y="337973"/>
                    <a:pt x="577140" y="327044"/>
                  </a:cubicBezTo>
                  <a:cubicBezTo>
                    <a:pt x="578560" y="319677"/>
                    <a:pt x="578398" y="312163"/>
                    <a:pt x="576612" y="304850"/>
                  </a:cubicBezTo>
                  <a:cubicBezTo>
                    <a:pt x="573812" y="296361"/>
                    <a:pt x="577871" y="310933"/>
                    <a:pt x="576166" y="304550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FBD89C23-2388-468A-93C8-0A023B6CB47B}"/>
                </a:ext>
              </a:extLst>
            </p:cNvPr>
            <p:cNvSpPr/>
            <p:nvPr/>
          </p:nvSpPr>
          <p:spPr>
            <a:xfrm>
              <a:off x="8512029" y="5341420"/>
              <a:ext cx="493392" cy="159779"/>
            </a:xfrm>
            <a:custGeom>
              <a:avLst/>
              <a:gdLst>
                <a:gd name="connsiteX0" fmla="*/ 83343 w 506390"/>
                <a:gd name="connsiteY0" fmla="*/ 62498 h 218774"/>
                <a:gd name="connsiteX1" fmla="*/ 71855 w 506390"/>
                <a:gd name="connsiteY1" fmla="*/ 42076 h 218774"/>
                <a:gd name="connsiteX2" fmla="*/ 60734 w 506390"/>
                <a:gd name="connsiteY2" fmla="*/ 23994 h 218774"/>
                <a:gd name="connsiteX3" fmla="*/ 49329 w 506390"/>
                <a:gd name="connsiteY3" fmla="*/ 27604 h 218774"/>
                <a:gd name="connsiteX4" fmla="*/ 32727 w 506390"/>
                <a:gd name="connsiteY4" fmla="*/ 22490 h 218774"/>
                <a:gd name="connsiteX5" fmla="*/ 29358 w 506390"/>
                <a:gd name="connsiteY5" fmla="*/ 14234 h 218774"/>
                <a:gd name="connsiteX6" fmla="*/ 4802 w 506390"/>
                <a:gd name="connsiteY6" fmla="*/ -339 h 218774"/>
                <a:gd name="connsiteX7" fmla="*/ -29 w 506390"/>
                <a:gd name="connsiteY7" fmla="*/ 29275 h 218774"/>
                <a:gd name="connsiteX8" fmla="*/ 10037 w 506390"/>
                <a:gd name="connsiteY8" fmla="*/ 56983 h 218774"/>
                <a:gd name="connsiteX9" fmla="*/ 18155 w 506390"/>
                <a:gd name="connsiteY9" fmla="*/ 75633 h 218774"/>
                <a:gd name="connsiteX10" fmla="*/ 48395 w 506390"/>
                <a:gd name="connsiteY10" fmla="*/ 103609 h 218774"/>
                <a:gd name="connsiteX11" fmla="*/ 75347 w 506390"/>
                <a:gd name="connsiteY11" fmla="*/ 106650 h 218774"/>
                <a:gd name="connsiteX12" fmla="*/ 67229 w 506390"/>
                <a:gd name="connsiteY12" fmla="*/ 86964 h 218774"/>
                <a:gd name="connsiteX13" fmla="*/ 83180 w 506390"/>
                <a:gd name="connsiteY13" fmla="*/ 62498 h 218774"/>
                <a:gd name="connsiteX14" fmla="*/ 83343 w 506390"/>
                <a:gd name="connsiteY14" fmla="*/ 62498 h 218774"/>
                <a:gd name="connsiteX15" fmla="*/ 493299 w 506390"/>
                <a:gd name="connsiteY15" fmla="*/ 193217 h 218774"/>
                <a:gd name="connsiteX16" fmla="*/ 469392 w 506390"/>
                <a:gd name="connsiteY16" fmla="*/ 171291 h 218774"/>
                <a:gd name="connsiteX17" fmla="*/ 427260 w 506390"/>
                <a:gd name="connsiteY17" fmla="*/ 164105 h 218774"/>
                <a:gd name="connsiteX18" fmla="*/ 396168 w 506390"/>
                <a:gd name="connsiteY18" fmla="*/ 177475 h 218774"/>
                <a:gd name="connsiteX19" fmla="*/ 383707 w 506390"/>
                <a:gd name="connsiteY19" fmla="*/ 180817 h 218774"/>
                <a:gd name="connsiteX20" fmla="*/ 366497 w 506390"/>
                <a:gd name="connsiteY20" fmla="*/ 168751 h 218774"/>
                <a:gd name="connsiteX21" fmla="*/ 335811 w 506390"/>
                <a:gd name="connsiteY21" fmla="*/ 170289 h 218774"/>
                <a:gd name="connsiteX22" fmla="*/ 293882 w 506390"/>
                <a:gd name="connsiteY22" fmla="*/ 170088 h 218774"/>
                <a:gd name="connsiteX23" fmla="*/ 261410 w 506390"/>
                <a:gd name="connsiteY23" fmla="*/ 179581 h 218774"/>
                <a:gd name="connsiteX24" fmla="*/ 223580 w 506390"/>
                <a:gd name="connsiteY24" fmla="*/ 161064 h 218774"/>
                <a:gd name="connsiteX25" fmla="*/ 247934 w 506390"/>
                <a:gd name="connsiteY25" fmla="*/ 188672 h 218774"/>
                <a:gd name="connsiteX26" fmla="*/ 274318 w 506390"/>
                <a:gd name="connsiteY26" fmla="*/ 197964 h 218774"/>
                <a:gd name="connsiteX27" fmla="*/ 302041 w 506390"/>
                <a:gd name="connsiteY27" fmla="*/ 200404 h 218774"/>
                <a:gd name="connsiteX28" fmla="*/ 319900 w 506390"/>
                <a:gd name="connsiteY28" fmla="*/ 211132 h 218774"/>
                <a:gd name="connsiteX29" fmla="*/ 349368 w 506390"/>
                <a:gd name="connsiteY29" fmla="*/ 217817 h 218774"/>
                <a:gd name="connsiteX30" fmla="*/ 362113 w 506390"/>
                <a:gd name="connsiteY30" fmla="*/ 210899 h 218774"/>
                <a:gd name="connsiteX31" fmla="*/ 377213 w 506390"/>
                <a:gd name="connsiteY31" fmla="*/ 200872 h 218774"/>
                <a:gd name="connsiteX32" fmla="*/ 391420 w 506390"/>
                <a:gd name="connsiteY32" fmla="*/ 200872 h 218774"/>
                <a:gd name="connsiteX33" fmla="*/ 403596 w 506390"/>
                <a:gd name="connsiteY33" fmla="*/ 190844 h 218774"/>
                <a:gd name="connsiteX34" fmla="*/ 450193 w 506390"/>
                <a:gd name="connsiteY34" fmla="*/ 203746 h 218774"/>
                <a:gd name="connsiteX35" fmla="*/ 478200 w 506390"/>
                <a:gd name="connsiteY35" fmla="*/ 208091 h 218774"/>
                <a:gd name="connsiteX36" fmla="*/ 487414 w 506390"/>
                <a:gd name="connsiteY36" fmla="*/ 206620 h 218774"/>
                <a:gd name="connsiteX37" fmla="*/ 492934 w 506390"/>
                <a:gd name="connsiteY37" fmla="*/ 193251 h 218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06390" h="218774">
                  <a:moveTo>
                    <a:pt x="83343" y="62498"/>
                  </a:moveTo>
                  <a:cubicBezTo>
                    <a:pt x="87808" y="54376"/>
                    <a:pt x="75914" y="49797"/>
                    <a:pt x="71855" y="42076"/>
                  </a:cubicBezTo>
                  <a:cubicBezTo>
                    <a:pt x="68284" y="35391"/>
                    <a:pt x="64063" y="30578"/>
                    <a:pt x="60734" y="23994"/>
                  </a:cubicBezTo>
                  <a:cubicBezTo>
                    <a:pt x="55377" y="23258"/>
                    <a:pt x="51804" y="28105"/>
                    <a:pt x="49329" y="27604"/>
                  </a:cubicBezTo>
                  <a:cubicBezTo>
                    <a:pt x="43565" y="26477"/>
                    <a:pt x="37964" y="24759"/>
                    <a:pt x="32727" y="22490"/>
                  </a:cubicBezTo>
                  <a:cubicBezTo>
                    <a:pt x="26720" y="19782"/>
                    <a:pt x="30210" y="17677"/>
                    <a:pt x="29358" y="14234"/>
                  </a:cubicBezTo>
                  <a:cubicBezTo>
                    <a:pt x="27532" y="6881"/>
                    <a:pt x="14299" y="2402"/>
                    <a:pt x="4802" y="-339"/>
                  </a:cubicBezTo>
                  <a:cubicBezTo>
                    <a:pt x="7359" y="10825"/>
                    <a:pt x="743" y="18947"/>
                    <a:pt x="-29" y="29275"/>
                  </a:cubicBezTo>
                  <a:cubicBezTo>
                    <a:pt x="-556" y="38132"/>
                    <a:pt x="5817" y="48025"/>
                    <a:pt x="10037" y="56983"/>
                  </a:cubicBezTo>
                  <a:cubicBezTo>
                    <a:pt x="12960" y="63200"/>
                    <a:pt x="12798" y="69650"/>
                    <a:pt x="18155" y="75633"/>
                  </a:cubicBezTo>
                  <a:cubicBezTo>
                    <a:pt x="27451" y="85526"/>
                    <a:pt x="37557" y="94885"/>
                    <a:pt x="48395" y="103609"/>
                  </a:cubicBezTo>
                  <a:cubicBezTo>
                    <a:pt x="63576" y="116243"/>
                    <a:pt x="83627" y="130348"/>
                    <a:pt x="75347" y="106650"/>
                  </a:cubicBezTo>
                  <a:cubicBezTo>
                    <a:pt x="73155" y="100534"/>
                    <a:pt x="66214" y="92813"/>
                    <a:pt x="67229" y="86964"/>
                  </a:cubicBezTo>
                  <a:cubicBezTo>
                    <a:pt x="69014" y="77739"/>
                    <a:pt x="78635" y="70820"/>
                    <a:pt x="83180" y="62498"/>
                  </a:cubicBezTo>
                  <a:cubicBezTo>
                    <a:pt x="88985" y="52170"/>
                    <a:pt x="77701" y="72859"/>
                    <a:pt x="83343" y="62498"/>
                  </a:cubicBezTo>
                  <a:close/>
                  <a:moveTo>
                    <a:pt x="493299" y="193217"/>
                  </a:moveTo>
                  <a:cubicBezTo>
                    <a:pt x="471827" y="187769"/>
                    <a:pt x="476617" y="181820"/>
                    <a:pt x="469392" y="171291"/>
                  </a:cubicBezTo>
                  <a:cubicBezTo>
                    <a:pt x="458676" y="155582"/>
                    <a:pt x="440329" y="155215"/>
                    <a:pt x="427260" y="164105"/>
                  </a:cubicBezTo>
                  <a:cubicBezTo>
                    <a:pt x="418086" y="170289"/>
                    <a:pt x="398116" y="167448"/>
                    <a:pt x="396168" y="177475"/>
                  </a:cubicBezTo>
                  <a:cubicBezTo>
                    <a:pt x="394747" y="184928"/>
                    <a:pt x="392109" y="180416"/>
                    <a:pt x="383707" y="180817"/>
                  </a:cubicBezTo>
                  <a:cubicBezTo>
                    <a:pt x="371530" y="181352"/>
                    <a:pt x="368851" y="175904"/>
                    <a:pt x="366497" y="168751"/>
                  </a:cubicBezTo>
                  <a:cubicBezTo>
                    <a:pt x="362072" y="155382"/>
                    <a:pt x="344132" y="165609"/>
                    <a:pt x="335811" y="170289"/>
                  </a:cubicBezTo>
                  <a:cubicBezTo>
                    <a:pt x="320062" y="179213"/>
                    <a:pt x="317343" y="178477"/>
                    <a:pt x="293882" y="170088"/>
                  </a:cubicBezTo>
                  <a:cubicBezTo>
                    <a:pt x="270421" y="161699"/>
                    <a:pt x="270503" y="170489"/>
                    <a:pt x="261410" y="179581"/>
                  </a:cubicBezTo>
                  <a:cubicBezTo>
                    <a:pt x="253292" y="187669"/>
                    <a:pt x="231455" y="165108"/>
                    <a:pt x="223580" y="161064"/>
                  </a:cubicBezTo>
                  <a:cubicBezTo>
                    <a:pt x="223012" y="173798"/>
                    <a:pt x="233079" y="185162"/>
                    <a:pt x="247934" y="188672"/>
                  </a:cubicBezTo>
                  <a:cubicBezTo>
                    <a:pt x="257067" y="190543"/>
                    <a:pt x="265429" y="195357"/>
                    <a:pt x="274318" y="197964"/>
                  </a:cubicBezTo>
                  <a:cubicBezTo>
                    <a:pt x="284059" y="200905"/>
                    <a:pt x="292299" y="197964"/>
                    <a:pt x="302041" y="200404"/>
                  </a:cubicBezTo>
                  <a:cubicBezTo>
                    <a:pt x="309427" y="202008"/>
                    <a:pt x="315800" y="205852"/>
                    <a:pt x="319900" y="211132"/>
                  </a:cubicBezTo>
                  <a:cubicBezTo>
                    <a:pt x="324243" y="215812"/>
                    <a:pt x="342387" y="216179"/>
                    <a:pt x="349368" y="217817"/>
                  </a:cubicBezTo>
                  <a:cubicBezTo>
                    <a:pt x="359759" y="220290"/>
                    <a:pt x="358095" y="214809"/>
                    <a:pt x="362113" y="210899"/>
                  </a:cubicBezTo>
                  <a:cubicBezTo>
                    <a:pt x="366822" y="207255"/>
                    <a:pt x="371896" y="203913"/>
                    <a:pt x="377213" y="200872"/>
                  </a:cubicBezTo>
                  <a:cubicBezTo>
                    <a:pt x="380135" y="198832"/>
                    <a:pt x="387361" y="201306"/>
                    <a:pt x="391420" y="200872"/>
                  </a:cubicBezTo>
                  <a:cubicBezTo>
                    <a:pt x="399538" y="199969"/>
                    <a:pt x="397751" y="193084"/>
                    <a:pt x="403596" y="190844"/>
                  </a:cubicBezTo>
                  <a:cubicBezTo>
                    <a:pt x="414027" y="186633"/>
                    <a:pt x="440654" y="197195"/>
                    <a:pt x="450193" y="203746"/>
                  </a:cubicBezTo>
                  <a:cubicBezTo>
                    <a:pt x="455591" y="207456"/>
                    <a:pt x="473208" y="213773"/>
                    <a:pt x="478200" y="208091"/>
                  </a:cubicBezTo>
                  <a:cubicBezTo>
                    <a:pt x="481447" y="204481"/>
                    <a:pt x="475440" y="202543"/>
                    <a:pt x="487414" y="206620"/>
                  </a:cubicBezTo>
                  <a:cubicBezTo>
                    <a:pt x="510997" y="214709"/>
                    <a:pt x="512174" y="198030"/>
                    <a:pt x="492934" y="193251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D00FDDA9-3FD7-4550-8E5B-CD630770346A}"/>
                </a:ext>
              </a:extLst>
            </p:cNvPr>
            <p:cNvSpPr/>
            <p:nvPr/>
          </p:nvSpPr>
          <p:spPr>
            <a:xfrm>
              <a:off x="8538290" y="5762954"/>
              <a:ext cx="945245" cy="520448"/>
            </a:xfrm>
            <a:custGeom>
              <a:avLst/>
              <a:gdLst>
                <a:gd name="connsiteX0" fmla="*/ 942383 w 970147"/>
                <a:gd name="connsiteY0" fmla="*/ 537263 h 712612"/>
                <a:gd name="connsiteX1" fmla="*/ 945711 w 970147"/>
                <a:gd name="connsiteY1" fmla="*/ 520551 h 712612"/>
                <a:gd name="connsiteX2" fmla="*/ 970065 w 970147"/>
                <a:gd name="connsiteY2" fmla="*/ 494748 h 712612"/>
                <a:gd name="connsiteX3" fmla="*/ 955209 w 970147"/>
                <a:gd name="connsiteY3" fmla="*/ 489467 h 712612"/>
                <a:gd name="connsiteX4" fmla="*/ 956508 w 970147"/>
                <a:gd name="connsiteY4" fmla="*/ 472421 h 712612"/>
                <a:gd name="connsiteX5" fmla="*/ 954356 w 970147"/>
                <a:gd name="connsiteY5" fmla="*/ 460656 h 712612"/>
                <a:gd name="connsiteX6" fmla="*/ 944697 w 970147"/>
                <a:gd name="connsiteY6" fmla="*/ 452801 h 712612"/>
                <a:gd name="connsiteX7" fmla="*/ 945549 w 970147"/>
                <a:gd name="connsiteY7" fmla="*/ 446116 h 712612"/>
                <a:gd name="connsiteX8" fmla="*/ 937958 w 970147"/>
                <a:gd name="connsiteY8" fmla="*/ 436992 h 712612"/>
                <a:gd name="connsiteX9" fmla="*/ 948959 w 970147"/>
                <a:gd name="connsiteY9" fmla="*/ 418542 h 712612"/>
                <a:gd name="connsiteX10" fmla="*/ 934387 w 970147"/>
                <a:gd name="connsiteY10" fmla="*/ 408013 h 712612"/>
                <a:gd name="connsiteX11" fmla="*/ 930693 w 970147"/>
                <a:gd name="connsiteY11" fmla="*/ 393842 h 712612"/>
                <a:gd name="connsiteX12" fmla="*/ 929191 w 970147"/>
                <a:gd name="connsiteY12" fmla="*/ 367103 h 712612"/>
                <a:gd name="connsiteX13" fmla="*/ 911981 w 970147"/>
                <a:gd name="connsiteY13" fmla="*/ 334281 h 712612"/>
                <a:gd name="connsiteX14" fmla="*/ 896313 w 970147"/>
                <a:gd name="connsiteY14" fmla="*/ 317803 h 712612"/>
                <a:gd name="connsiteX15" fmla="*/ 896882 w 970147"/>
                <a:gd name="connsiteY15" fmla="*/ 303632 h 712612"/>
                <a:gd name="connsiteX16" fmla="*/ 906460 w 970147"/>
                <a:gd name="connsiteY16" fmla="*/ 280035 h 712612"/>
                <a:gd name="connsiteX17" fmla="*/ 903051 w 970147"/>
                <a:gd name="connsiteY17" fmla="*/ 260883 h 712612"/>
                <a:gd name="connsiteX18" fmla="*/ 915228 w 970147"/>
                <a:gd name="connsiteY18" fmla="*/ 239057 h 712612"/>
                <a:gd name="connsiteX19" fmla="*/ 906704 w 970147"/>
                <a:gd name="connsiteY19" fmla="*/ 219605 h 712612"/>
                <a:gd name="connsiteX20" fmla="*/ 884908 w 970147"/>
                <a:gd name="connsiteY20" fmla="*/ 204832 h 712612"/>
                <a:gd name="connsiteX21" fmla="*/ 899114 w 970147"/>
                <a:gd name="connsiteY21" fmla="*/ 184543 h 712612"/>
                <a:gd name="connsiteX22" fmla="*/ 898424 w 970147"/>
                <a:gd name="connsiteY22" fmla="*/ 162985 h 712612"/>
                <a:gd name="connsiteX23" fmla="*/ 901549 w 970147"/>
                <a:gd name="connsiteY23" fmla="*/ 142329 h 712612"/>
                <a:gd name="connsiteX24" fmla="*/ 880239 w 970147"/>
                <a:gd name="connsiteY24" fmla="*/ 143265 h 712612"/>
                <a:gd name="connsiteX25" fmla="*/ 872487 w 970147"/>
                <a:gd name="connsiteY25" fmla="*/ 150919 h 712612"/>
                <a:gd name="connsiteX26" fmla="*/ 861203 w 970147"/>
                <a:gd name="connsiteY26" fmla="*/ 154262 h 712612"/>
                <a:gd name="connsiteX27" fmla="*/ 848377 w 970147"/>
                <a:gd name="connsiteY27" fmla="*/ 167865 h 712612"/>
                <a:gd name="connsiteX28" fmla="*/ 831654 w 970147"/>
                <a:gd name="connsiteY28" fmla="*/ 186482 h 712612"/>
                <a:gd name="connsiteX29" fmla="*/ 786071 w 970147"/>
                <a:gd name="connsiteY29" fmla="*/ 217299 h 712612"/>
                <a:gd name="connsiteX30" fmla="*/ 754167 w 970147"/>
                <a:gd name="connsiteY30" fmla="*/ 209177 h 712612"/>
                <a:gd name="connsiteX31" fmla="*/ 743655 w 970147"/>
                <a:gd name="connsiteY31" fmla="*/ 187518 h 712612"/>
                <a:gd name="connsiteX32" fmla="*/ 723847 w 970147"/>
                <a:gd name="connsiteY32" fmla="*/ 171341 h 712612"/>
                <a:gd name="connsiteX33" fmla="*/ 703269 w 970147"/>
                <a:gd name="connsiteY33" fmla="*/ 147343 h 712612"/>
                <a:gd name="connsiteX34" fmla="*/ 694055 w 970147"/>
                <a:gd name="connsiteY34" fmla="*/ 128693 h 712612"/>
                <a:gd name="connsiteX35" fmla="*/ 685693 w 970147"/>
                <a:gd name="connsiteY35" fmla="*/ 116961 h 712612"/>
                <a:gd name="connsiteX36" fmla="*/ 701929 w 970147"/>
                <a:gd name="connsiteY36" fmla="*/ 114253 h 712612"/>
                <a:gd name="connsiteX37" fmla="*/ 713700 w 970147"/>
                <a:gd name="connsiteY37" fmla="*/ 101553 h 712612"/>
                <a:gd name="connsiteX38" fmla="*/ 732534 w 970147"/>
                <a:gd name="connsiteY38" fmla="*/ 104093 h 712612"/>
                <a:gd name="connsiteX39" fmla="*/ 737892 w 970147"/>
                <a:gd name="connsiteY39" fmla="*/ 98411 h 712612"/>
                <a:gd name="connsiteX40" fmla="*/ 748160 w 970147"/>
                <a:gd name="connsiteY40" fmla="*/ 96172 h 712612"/>
                <a:gd name="connsiteX41" fmla="*/ 737648 w 970147"/>
                <a:gd name="connsiteY41" fmla="*/ 86913 h 712612"/>
                <a:gd name="connsiteX42" fmla="*/ 726445 w 970147"/>
                <a:gd name="connsiteY42" fmla="*/ 84039 h 712612"/>
                <a:gd name="connsiteX43" fmla="*/ 714268 w 970147"/>
                <a:gd name="connsiteY43" fmla="*/ 78022 h 712612"/>
                <a:gd name="connsiteX44" fmla="*/ 697221 w 970147"/>
                <a:gd name="connsiteY44" fmla="*/ 66157 h 712612"/>
                <a:gd name="connsiteX45" fmla="*/ 670553 w 970147"/>
                <a:gd name="connsiteY45" fmla="*/ 47072 h 712612"/>
                <a:gd name="connsiteX46" fmla="*/ 651436 w 970147"/>
                <a:gd name="connsiteY46" fmla="*/ 26784 h 712612"/>
                <a:gd name="connsiteX47" fmla="*/ 646159 w 970147"/>
                <a:gd name="connsiteY47" fmla="*/ 32466 h 712612"/>
                <a:gd name="connsiteX48" fmla="*/ 639421 w 970147"/>
                <a:gd name="connsiteY48" fmla="*/ 39886 h 712612"/>
                <a:gd name="connsiteX49" fmla="*/ 612997 w 970147"/>
                <a:gd name="connsiteY49" fmla="*/ 30661 h 712612"/>
                <a:gd name="connsiteX50" fmla="*/ 603946 w 970147"/>
                <a:gd name="connsiteY50" fmla="*/ 25313 h 712612"/>
                <a:gd name="connsiteX51" fmla="*/ 600292 w 970147"/>
                <a:gd name="connsiteY51" fmla="*/ 29291 h 712612"/>
                <a:gd name="connsiteX52" fmla="*/ 589008 w 970147"/>
                <a:gd name="connsiteY52" fmla="*/ 27586 h 712612"/>
                <a:gd name="connsiteX53" fmla="*/ 575857 w 970147"/>
                <a:gd name="connsiteY53" fmla="*/ 32800 h 712612"/>
                <a:gd name="connsiteX54" fmla="*/ 549150 w 970147"/>
                <a:gd name="connsiteY54" fmla="*/ 40722 h 712612"/>
                <a:gd name="connsiteX55" fmla="*/ 546348 w 970147"/>
                <a:gd name="connsiteY55" fmla="*/ 59138 h 712612"/>
                <a:gd name="connsiteX56" fmla="*/ 523050 w 970147"/>
                <a:gd name="connsiteY56" fmla="*/ 40588 h 712612"/>
                <a:gd name="connsiteX57" fmla="*/ 509695 w 970147"/>
                <a:gd name="connsiteY57" fmla="*/ 39919 h 712612"/>
                <a:gd name="connsiteX58" fmla="*/ 503810 w 970147"/>
                <a:gd name="connsiteY58" fmla="*/ 25681 h 712612"/>
                <a:gd name="connsiteX59" fmla="*/ 492121 w 970147"/>
                <a:gd name="connsiteY59" fmla="*/ 7131 h 712612"/>
                <a:gd name="connsiteX60" fmla="*/ 463423 w 970147"/>
                <a:gd name="connsiteY60" fmla="*/ 2752 h 712612"/>
                <a:gd name="connsiteX61" fmla="*/ 445321 w 970147"/>
                <a:gd name="connsiteY61" fmla="*/ 2251 h 712612"/>
                <a:gd name="connsiteX62" fmla="*/ 431723 w 970147"/>
                <a:gd name="connsiteY62" fmla="*/ 4658 h 712612"/>
                <a:gd name="connsiteX63" fmla="*/ 410901 w 970147"/>
                <a:gd name="connsiteY63" fmla="*/ 5527 h 712612"/>
                <a:gd name="connsiteX64" fmla="*/ 396653 w 970147"/>
                <a:gd name="connsiteY64" fmla="*/ 15855 h 712612"/>
                <a:gd name="connsiteX65" fmla="*/ 382163 w 970147"/>
                <a:gd name="connsiteY65" fmla="*/ 14016 h 712612"/>
                <a:gd name="connsiteX66" fmla="*/ 370230 w 970147"/>
                <a:gd name="connsiteY66" fmla="*/ 26450 h 712612"/>
                <a:gd name="connsiteX67" fmla="*/ 367753 w 970147"/>
                <a:gd name="connsiteY67" fmla="*/ 10908 h 712612"/>
                <a:gd name="connsiteX68" fmla="*/ 337839 w 970147"/>
                <a:gd name="connsiteY68" fmla="*/ 13548 h 712612"/>
                <a:gd name="connsiteX69" fmla="*/ 330898 w 970147"/>
                <a:gd name="connsiteY69" fmla="*/ 26517 h 712612"/>
                <a:gd name="connsiteX70" fmla="*/ 301713 w 970147"/>
                <a:gd name="connsiteY70" fmla="*/ 30327 h 712612"/>
                <a:gd name="connsiteX71" fmla="*/ 269648 w 970147"/>
                <a:gd name="connsiteY71" fmla="*/ 32901 h 712612"/>
                <a:gd name="connsiteX72" fmla="*/ 238028 w 970147"/>
                <a:gd name="connsiteY72" fmla="*/ 23575 h 712612"/>
                <a:gd name="connsiteX73" fmla="*/ 212254 w 970147"/>
                <a:gd name="connsiteY73" fmla="*/ 19030 h 712612"/>
                <a:gd name="connsiteX74" fmla="*/ 192568 w 970147"/>
                <a:gd name="connsiteY74" fmla="*/ 19765 h 712612"/>
                <a:gd name="connsiteX75" fmla="*/ 169229 w 970147"/>
                <a:gd name="connsiteY75" fmla="*/ 9237 h 712612"/>
                <a:gd name="connsiteX76" fmla="*/ 123240 w 970147"/>
                <a:gd name="connsiteY76" fmla="*/ 9671 h 712612"/>
                <a:gd name="connsiteX77" fmla="*/ 107005 w 970147"/>
                <a:gd name="connsiteY77" fmla="*/ 10106 h 712612"/>
                <a:gd name="connsiteX78" fmla="*/ 97426 w 970147"/>
                <a:gd name="connsiteY78" fmla="*/ 14284 h 712612"/>
                <a:gd name="connsiteX79" fmla="*/ 101119 w 970147"/>
                <a:gd name="connsiteY79" fmla="*/ 3287 h 712612"/>
                <a:gd name="connsiteX80" fmla="*/ 80297 w 970147"/>
                <a:gd name="connsiteY80" fmla="*/ 23341 h 712612"/>
                <a:gd name="connsiteX81" fmla="*/ 54766 w 970147"/>
                <a:gd name="connsiteY81" fmla="*/ 46404 h 712612"/>
                <a:gd name="connsiteX82" fmla="*/ 58256 w 970147"/>
                <a:gd name="connsiteY82" fmla="*/ 77621 h 712612"/>
                <a:gd name="connsiteX83" fmla="*/ 48474 w 970147"/>
                <a:gd name="connsiteY83" fmla="*/ 64252 h 712612"/>
                <a:gd name="connsiteX84" fmla="*/ 49164 w 970147"/>
                <a:gd name="connsiteY84" fmla="*/ 77856 h 712612"/>
                <a:gd name="connsiteX85" fmla="*/ 41046 w 970147"/>
                <a:gd name="connsiteY85" fmla="*/ 66291 h 712612"/>
                <a:gd name="connsiteX86" fmla="*/ 36419 w 970147"/>
                <a:gd name="connsiteY86" fmla="*/ 67394 h 712612"/>
                <a:gd name="connsiteX87" fmla="*/ 41006 w 970147"/>
                <a:gd name="connsiteY87" fmla="*/ 90189 h 712612"/>
                <a:gd name="connsiteX88" fmla="*/ 45836 w 970147"/>
                <a:gd name="connsiteY88" fmla="*/ 128592 h 712612"/>
                <a:gd name="connsiteX89" fmla="*/ 41980 w 970147"/>
                <a:gd name="connsiteY89" fmla="*/ 150618 h 712612"/>
                <a:gd name="connsiteX90" fmla="*/ 42873 w 970147"/>
                <a:gd name="connsiteY90" fmla="*/ 178093 h 712612"/>
                <a:gd name="connsiteX91" fmla="*/ 42873 w 970147"/>
                <a:gd name="connsiteY91" fmla="*/ 191195 h 712612"/>
                <a:gd name="connsiteX92" fmla="*/ 26069 w 970147"/>
                <a:gd name="connsiteY92" fmla="*/ 210179 h 712612"/>
                <a:gd name="connsiteX93" fmla="*/ 4434 w 970147"/>
                <a:gd name="connsiteY93" fmla="*/ 212820 h 712612"/>
                <a:gd name="connsiteX94" fmla="*/ 11781 w 970147"/>
                <a:gd name="connsiteY94" fmla="*/ 228596 h 712612"/>
                <a:gd name="connsiteX95" fmla="*/ 25501 w 970147"/>
                <a:gd name="connsiteY95" fmla="*/ 247748 h 712612"/>
                <a:gd name="connsiteX96" fmla="*/ 54604 w 970147"/>
                <a:gd name="connsiteY96" fmla="*/ 260582 h 712612"/>
                <a:gd name="connsiteX97" fmla="*/ 76400 w 970147"/>
                <a:gd name="connsiteY97" fmla="*/ 262454 h 712612"/>
                <a:gd name="connsiteX98" fmla="*/ 106152 w 970147"/>
                <a:gd name="connsiteY98" fmla="*/ 263791 h 712612"/>
                <a:gd name="connsiteX99" fmla="*/ 170325 w 970147"/>
                <a:gd name="connsiteY99" fmla="*/ 284213 h 712612"/>
                <a:gd name="connsiteX100" fmla="*/ 203771 w 970147"/>
                <a:gd name="connsiteY100" fmla="*/ 294240 h 712612"/>
                <a:gd name="connsiteX101" fmla="*/ 227435 w 970147"/>
                <a:gd name="connsiteY101" fmla="*/ 288892 h 712612"/>
                <a:gd name="connsiteX102" fmla="*/ 257390 w 970147"/>
                <a:gd name="connsiteY102" fmla="*/ 292234 h 712612"/>
                <a:gd name="connsiteX103" fmla="*/ 281744 w 970147"/>
                <a:gd name="connsiteY103" fmla="*/ 296913 h 712612"/>
                <a:gd name="connsiteX104" fmla="*/ 320629 w 970147"/>
                <a:gd name="connsiteY104" fmla="*/ 311052 h 712612"/>
                <a:gd name="connsiteX105" fmla="*/ 361219 w 970147"/>
                <a:gd name="connsiteY105" fmla="*/ 318238 h 712612"/>
                <a:gd name="connsiteX106" fmla="*/ 411712 w 970147"/>
                <a:gd name="connsiteY106" fmla="*/ 344977 h 712612"/>
                <a:gd name="connsiteX107" fmla="*/ 453479 w 970147"/>
                <a:gd name="connsiteY107" fmla="*/ 377063 h 712612"/>
                <a:gd name="connsiteX108" fmla="*/ 449907 w 970147"/>
                <a:gd name="connsiteY108" fmla="*/ 390967 h 712612"/>
                <a:gd name="connsiteX109" fmla="*/ 460906 w 970147"/>
                <a:gd name="connsiteY109" fmla="*/ 407245 h 712612"/>
                <a:gd name="connsiteX110" fmla="*/ 471257 w 970147"/>
                <a:gd name="connsiteY110" fmla="*/ 436891 h 712612"/>
                <a:gd name="connsiteX111" fmla="*/ 493988 w 970147"/>
                <a:gd name="connsiteY111" fmla="*/ 435554 h 712612"/>
                <a:gd name="connsiteX112" fmla="*/ 507545 w 970147"/>
                <a:gd name="connsiteY112" fmla="*/ 434987 h 712612"/>
                <a:gd name="connsiteX113" fmla="*/ 536282 w 970147"/>
                <a:gd name="connsiteY113" fmla="*/ 433081 h 712612"/>
                <a:gd name="connsiteX114" fmla="*/ 515663 w 970147"/>
                <a:gd name="connsiteY114" fmla="*/ 444011 h 712612"/>
                <a:gd name="connsiteX115" fmla="*/ 492121 w 970147"/>
                <a:gd name="connsiteY115" fmla="*/ 451464 h 712612"/>
                <a:gd name="connsiteX116" fmla="*/ 499386 w 970147"/>
                <a:gd name="connsiteY116" fmla="*/ 462060 h 712612"/>
                <a:gd name="connsiteX117" fmla="*/ 521872 w 970147"/>
                <a:gd name="connsiteY117" fmla="*/ 455375 h 712612"/>
                <a:gd name="connsiteX118" fmla="*/ 512253 w 970147"/>
                <a:gd name="connsiteY118" fmla="*/ 475763 h 712612"/>
                <a:gd name="connsiteX119" fmla="*/ 532142 w 970147"/>
                <a:gd name="connsiteY119" fmla="*/ 489667 h 712612"/>
                <a:gd name="connsiteX120" fmla="*/ 528489 w 970147"/>
                <a:gd name="connsiteY120" fmla="*/ 516039 h 712612"/>
                <a:gd name="connsiteX121" fmla="*/ 532792 w 970147"/>
                <a:gd name="connsiteY121" fmla="*/ 543412 h 712612"/>
                <a:gd name="connsiteX122" fmla="*/ 579753 w 970147"/>
                <a:gd name="connsiteY122" fmla="*/ 586429 h 712612"/>
                <a:gd name="connsiteX123" fmla="*/ 612225 w 970147"/>
                <a:gd name="connsiteY123" fmla="*/ 594183 h 712612"/>
                <a:gd name="connsiteX124" fmla="*/ 625701 w 970147"/>
                <a:gd name="connsiteY124" fmla="*/ 592946 h 712612"/>
                <a:gd name="connsiteX125" fmla="*/ 623469 w 970147"/>
                <a:gd name="connsiteY125" fmla="*/ 599330 h 712612"/>
                <a:gd name="connsiteX126" fmla="*/ 620141 w 970147"/>
                <a:gd name="connsiteY126" fmla="*/ 605647 h 712612"/>
                <a:gd name="connsiteX127" fmla="*/ 629638 w 970147"/>
                <a:gd name="connsiteY127" fmla="*/ 602305 h 712612"/>
                <a:gd name="connsiteX128" fmla="*/ 641126 w 970147"/>
                <a:gd name="connsiteY128" fmla="*/ 630280 h 712612"/>
                <a:gd name="connsiteX129" fmla="*/ 658985 w 970147"/>
                <a:gd name="connsiteY129" fmla="*/ 626671 h 712612"/>
                <a:gd name="connsiteX130" fmla="*/ 686992 w 970147"/>
                <a:gd name="connsiteY130" fmla="*/ 627874 h 712612"/>
                <a:gd name="connsiteX131" fmla="*/ 729652 w 970147"/>
                <a:gd name="connsiteY131" fmla="*/ 643884 h 712612"/>
                <a:gd name="connsiteX132" fmla="*/ 751204 w 970147"/>
                <a:gd name="connsiteY132" fmla="*/ 635762 h 712612"/>
                <a:gd name="connsiteX133" fmla="*/ 765898 w 970147"/>
                <a:gd name="connsiteY133" fmla="*/ 622392 h 712612"/>
                <a:gd name="connsiteX134" fmla="*/ 791470 w 970147"/>
                <a:gd name="connsiteY134" fmla="*/ 614471 h 712612"/>
                <a:gd name="connsiteX135" fmla="*/ 832506 w 970147"/>
                <a:gd name="connsiteY135" fmla="*/ 594985 h 712612"/>
                <a:gd name="connsiteX136" fmla="*/ 847727 w 970147"/>
                <a:gd name="connsiteY136" fmla="*/ 592478 h 712612"/>
                <a:gd name="connsiteX137" fmla="*/ 872081 w 970147"/>
                <a:gd name="connsiteY137" fmla="*/ 587732 h 712612"/>
                <a:gd name="connsiteX138" fmla="*/ 896435 w 970147"/>
                <a:gd name="connsiteY138" fmla="*/ 577170 h 712612"/>
                <a:gd name="connsiteX139" fmla="*/ 916730 w 970147"/>
                <a:gd name="connsiteY139" fmla="*/ 562531 h 712612"/>
                <a:gd name="connsiteX140" fmla="*/ 931017 w 970147"/>
                <a:gd name="connsiteY140" fmla="*/ 549930 h 712612"/>
                <a:gd name="connsiteX141" fmla="*/ 942748 w 970147"/>
                <a:gd name="connsiteY141" fmla="*/ 537798 h 712612"/>
                <a:gd name="connsiteX142" fmla="*/ 623387 w 970147"/>
                <a:gd name="connsiteY142" fmla="*/ 21904 h 712612"/>
                <a:gd name="connsiteX143" fmla="*/ 589130 w 970147"/>
                <a:gd name="connsiteY143" fmla="*/ 12145 h 712612"/>
                <a:gd name="connsiteX144" fmla="*/ 623265 w 970147"/>
                <a:gd name="connsiteY144" fmla="*/ 21904 h 712612"/>
                <a:gd name="connsiteX145" fmla="*/ 466427 w 970147"/>
                <a:gd name="connsiteY145" fmla="*/ 464499 h 712612"/>
                <a:gd name="connsiteX146" fmla="*/ 494272 w 970147"/>
                <a:gd name="connsiteY146" fmla="*/ 475061 h 712612"/>
                <a:gd name="connsiteX147" fmla="*/ 466305 w 970147"/>
                <a:gd name="connsiteY147" fmla="*/ 464499 h 712612"/>
                <a:gd name="connsiteX148" fmla="*/ 613727 w 970147"/>
                <a:gd name="connsiteY148" fmla="*/ 664005 h 712612"/>
                <a:gd name="connsiteX149" fmla="*/ 582352 w 970147"/>
                <a:gd name="connsiteY149" fmla="*/ 637934 h 712612"/>
                <a:gd name="connsiteX150" fmla="*/ 577359 w 970147"/>
                <a:gd name="connsiteY150" fmla="*/ 662467 h 712612"/>
                <a:gd name="connsiteX151" fmla="*/ 566887 w 970147"/>
                <a:gd name="connsiteY151" fmla="*/ 682087 h 712612"/>
                <a:gd name="connsiteX152" fmla="*/ 587182 w 970147"/>
                <a:gd name="connsiteY152" fmla="*/ 710564 h 712612"/>
                <a:gd name="connsiteX153" fmla="*/ 591849 w 970147"/>
                <a:gd name="connsiteY153" fmla="*/ 708792 h 712612"/>
                <a:gd name="connsiteX154" fmla="*/ 600333 w 970147"/>
                <a:gd name="connsiteY154" fmla="*/ 710363 h 712612"/>
                <a:gd name="connsiteX155" fmla="*/ 610561 w 970147"/>
                <a:gd name="connsiteY155" fmla="*/ 705918 h 712612"/>
                <a:gd name="connsiteX156" fmla="*/ 633982 w 970147"/>
                <a:gd name="connsiteY156" fmla="*/ 699768 h 712612"/>
                <a:gd name="connsiteX157" fmla="*/ 652166 w 970147"/>
                <a:gd name="connsiteY157" fmla="*/ 680516 h 712612"/>
                <a:gd name="connsiteX158" fmla="*/ 613606 w 970147"/>
                <a:gd name="connsiteY158" fmla="*/ 664005 h 712612"/>
                <a:gd name="connsiteX159" fmla="*/ 613606 w 970147"/>
                <a:gd name="connsiteY159" fmla="*/ 664005 h 712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970147" h="712612">
                  <a:moveTo>
                    <a:pt x="942383" y="537263"/>
                  </a:moveTo>
                  <a:cubicBezTo>
                    <a:pt x="953789" y="538065"/>
                    <a:pt x="944209" y="523325"/>
                    <a:pt x="945711" y="520551"/>
                  </a:cubicBezTo>
                  <a:cubicBezTo>
                    <a:pt x="947213" y="517777"/>
                    <a:pt x="970917" y="495683"/>
                    <a:pt x="970065" y="494748"/>
                  </a:cubicBezTo>
                  <a:cubicBezTo>
                    <a:pt x="966493" y="490837"/>
                    <a:pt x="957604" y="498090"/>
                    <a:pt x="955209" y="489467"/>
                  </a:cubicBezTo>
                  <a:cubicBezTo>
                    <a:pt x="953504" y="483317"/>
                    <a:pt x="956021" y="478136"/>
                    <a:pt x="956508" y="472421"/>
                  </a:cubicBezTo>
                  <a:cubicBezTo>
                    <a:pt x="956914" y="468410"/>
                    <a:pt x="956183" y="464399"/>
                    <a:pt x="954356" y="460656"/>
                  </a:cubicBezTo>
                  <a:cubicBezTo>
                    <a:pt x="952083" y="456344"/>
                    <a:pt x="947375" y="456177"/>
                    <a:pt x="944697" y="452801"/>
                  </a:cubicBezTo>
                  <a:cubicBezTo>
                    <a:pt x="942910" y="450529"/>
                    <a:pt x="945224" y="448055"/>
                    <a:pt x="945549" y="446116"/>
                  </a:cubicBezTo>
                  <a:cubicBezTo>
                    <a:pt x="946198" y="442173"/>
                    <a:pt x="938405" y="441337"/>
                    <a:pt x="937958" y="436992"/>
                  </a:cubicBezTo>
                  <a:cubicBezTo>
                    <a:pt x="937390" y="431644"/>
                    <a:pt x="951678" y="422185"/>
                    <a:pt x="948959" y="418542"/>
                  </a:cubicBezTo>
                  <a:cubicBezTo>
                    <a:pt x="944778" y="414464"/>
                    <a:pt x="939866" y="410921"/>
                    <a:pt x="934387" y="408013"/>
                  </a:cubicBezTo>
                  <a:cubicBezTo>
                    <a:pt x="922210" y="405373"/>
                    <a:pt x="923062" y="398187"/>
                    <a:pt x="930693" y="393842"/>
                  </a:cubicBezTo>
                  <a:cubicBezTo>
                    <a:pt x="941205" y="387892"/>
                    <a:pt x="923955" y="374891"/>
                    <a:pt x="929191" y="367103"/>
                  </a:cubicBezTo>
                  <a:cubicBezTo>
                    <a:pt x="935279" y="358012"/>
                    <a:pt x="920302" y="343907"/>
                    <a:pt x="911981" y="334281"/>
                  </a:cubicBezTo>
                  <a:cubicBezTo>
                    <a:pt x="907232" y="328499"/>
                    <a:pt x="901996" y="322984"/>
                    <a:pt x="896313" y="317803"/>
                  </a:cubicBezTo>
                  <a:cubicBezTo>
                    <a:pt x="886369" y="309113"/>
                    <a:pt x="900372" y="310450"/>
                    <a:pt x="896882" y="303632"/>
                  </a:cubicBezTo>
                  <a:cubicBezTo>
                    <a:pt x="892052" y="294373"/>
                    <a:pt x="905364" y="287689"/>
                    <a:pt x="906460" y="280035"/>
                  </a:cubicBezTo>
                  <a:cubicBezTo>
                    <a:pt x="907314" y="274152"/>
                    <a:pt x="898545" y="265796"/>
                    <a:pt x="903051" y="260883"/>
                  </a:cubicBezTo>
                  <a:cubicBezTo>
                    <a:pt x="907556" y="255970"/>
                    <a:pt x="914376" y="245140"/>
                    <a:pt x="915228" y="239057"/>
                  </a:cubicBezTo>
                  <a:cubicBezTo>
                    <a:pt x="913523" y="232272"/>
                    <a:pt x="910641" y="225721"/>
                    <a:pt x="906704" y="219605"/>
                  </a:cubicBezTo>
                  <a:cubicBezTo>
                    <a:pt x="899804" y="213956"/>
                    <a:pt x="880930" y="214591"/>
                    <a:pt x="884908" y="204832"/>
                  </a:cubicBezTo>
                  <a:cubicBezTo>
                    <a:pt x="887911" y="197245"/>
                    <a:pt x="896070" y="192231"/>
                    <a:pt x="899114" y="184543"/>
                  </a:cubicBezTo>
                  <a:cubicBezTo>
                    <a:pt x="902159" y="176856"/>
                    <a:pt x="900007" y="171174"/>
                    <a:pt x="898424" y="162985"/>
                  </a:cubicBezTo>
                  <a:cubicBezTo>
                    <a:pt x="897125" y="156301"/>
                    <a:pt x="905162" y="148680"/>
                    <a:pt x="901549" y="142329"/>
                  </a:cubicBezTo>
                  <a:cubicBezTo>
                    <a:pt x="898586" y="137282"/>
                    <a:pt x="882594" y="141928"/>
                    <a:pt x="880239" y="143265"/>
                  </a:cubicBezTo>
                  <a:cubicBezTo>
                    <a:pt x="876790" y="145237"/>
                    <a:pt x="875816" y="148780"/>
                    <a:pt x="872487" y="150919"/>
                  </a:cubicBezTo>
                  <a:cubicBezTo>
                    <a:pt x="869159" y="153059"/>
                    <a:pt x="864044" y="152423"/>
                    <a:pt x="861203" y="154262"/>
                  </a:cubicBezTo>
                  <a:cubicBezTo>
                    <a:pt x="856333" y="157604"/>
                    <a:pt x="857144" y="167631"/>
                    <a:pt x="848377" y="167865"/>
                  </a:cubicBezTo>
                  <a:cubicBezTo>
                    <a:pt x="838676" y="168199"/>
                    <a:pt x="834942" y="181469"/>
                    <a:pt x="831654" y="186482"/>
                  </a:cubicBezTo>
                  <a:cubicBezTo>
                    <a:pt x="821912" y="201289"/>
                    <a:pt x="806529" y="210814"/>
                    <a:pt x="786071" y="217299"/>
                  </a:cubicBezTo>
                  <a:cubicBezTo>
                    <a:pt x="775518" y="220641"/>
                    <a:pt x="763139" y="217299"/>
                    <a:pt x="754167" y="209177"/>
                  </a:cubicBezTo>
                  <a:cubicBezTo>
                    <a:pt x="745197" y="201055"/>
                    <a:pt x="751651" y="194871"/>
                    <a:pt x="743655" y="187518"/>
                  </a:cubicBezTo>
                  <a:cubicBezTo>
                    <a:pt x="736552" y="180833"/>
                    <a:pt x="727419" y="179396"/>
                    <a:pt x="723847" y="171341"/>
                  </a:cubicBezTo>
                  <a:cubicBezTo>
                    <a:pt x="719788" y="161949"/>
                    <a:pt x="716744" y="153059"/>
                    <a:pt x="703269" y="147343"/>
                  </a:cubicBezTo>
                  <a:cubicBezTo>
                    <a:pt x="692268" y="142664"/>
                    <a:pt x="698357" y="135645"/>
                    <a:pt x="694055" y="128693"/>
                  </a:cubicBezTo>
                  <a:cubicBezTo>
                    <a:pt x="691011" y="124916"/>
                    <a:pt x="688209" y="121005"/>
                    <a:pt x="685693" y="116961"/>
                  </a:cubicBezTo>
                  <a:cubicBezTo>
                    <a:pt x="683989" y="113084"/>
                    <a:pt x="699210" y="115223"/>
                    <a:pt x="701929" y="114253"/>
                  </a:cubicBezTo>
                  <a:cubicBezTo>
                    <a:pt x="710655" y="111212"/>
                    <a:pt x="700752" y="98344"/>
                    <a:pt x="713700" y="101553"/>
                  </a:cubicBezTo>
                  <a:cubicBezTo>
                    <a:pt x="719301" y="102956"/>
                    <a:pt x="727460" y="105597"/>
                    <a:pt x="732534" y="104093"/>
                  </a:cubicBezTo>
                  <a:cubicBezTo>
                    <a:pt x="736105" y="103023"/>
                    <a:pt x="734928" y="99681"/>
                    <a:pt x="737892" y="98411"/>
                  </a:cubicBezTo>
                  <a:cubicBezTo>
                    <a:pt x="740855" y="97141"/>
                    <a:pt x="748648" y="100851"/>
                    <a:pt x="748160" y="96172"/>
                  </a:cubicBezTo>
                  <a:cubicBezTo>
                    <a:pt x="746781" y="91826"/>
                    <a:pt x="742803" y="88350"/>
                    <a:pt x="737648" y="86913"/>
                  </a:cubicBezTo>
                  <a:cubicBezTo>
                    <a:pt x="730910" y="85843"/>
                    <a:pt x="726567" y="94968"/>
                    <a:pt x="726445" y="84039"/>
                  </a:cubicBezTo>
                  <a:cubicBezTo>
                    <a:pt x="726445" y="76217"/>
                    <a:pt x="723239" y="78156"/>
                    <a:pt x="714268" y="78022"/>
                  </a:cubicBezTo>
                  <a:cubicBezTo>
                    <a:pt x="703999" y="77856"/>
                    <a:pt x="703228" y="71338"/>
                    <a:pt x="697221" y="66157"/>
                  </a:cubicBezTo>
                  <a:cubicBezTo>
                    <a:pt x="688940" y="59238"/>
                    <a:pt x="680011" y="52854"/>
                    <a:pt x="670553" y="47072"/>
                  </a:cubicBezTo>
                  <a:cubicBezTo>
                    <a:pt x="659350" y="39986"/>
                    <a:pt x="657524" y="35675"/>
                    <a:pt x="651436" y="26784"/>
                  </a:cubicBezTo>
                  <a:cubicBezTo>
                    <a:pt x="645347" y="17893"/>
                    <a:pt x="643318" y="27352"/>
                    <a:pt x="646159" y="32466"/>
                  </a:cubicBezTo>
                  <a:cubicBezTo>
                    <a:pt x="649893" y="39151"/>
                    <a:pt x="649974" y="42092"/>
                    <a:pt x="639421" y="39886"/>
                  </a:cubicBezTo>
                  <a:cubicBezTo>
                    <a:pt x="630126" y="37847"/>
                    <a:pt x="621236" y="34739"/>
                    <a:pt x="612997" y="30661"/>
                  </a:cubicBezTo>
                  <a:cubicBezTo>
                    <a:pt x="610114" y="28723"/>
                    <a:pt x="607111" y="26951"/>
                    <a:pt x="603946" y="25313"/>
                  </a:cubicBezTo>
                  <a:cubicBezTo>
                    <a:pt x="601104" y="24378"/>
                    <a:pt x="602728" y="29157"/>
                    <a:pt x="600292" y="29291"/>
                  </a:cubicBezTo>
                  <a:cubicBezTo>
                    <a:pt x="596233" y="29291"/>
                    <a:pt x="593798" y="26417"/>
                    <a:pt x="589008" y="27586"/>
                  </a:cubicBezTo>
                  <a:cubicBezTo>
                    <a:pt x="584503" y="29124"/>
                    <a:pt x="580119" y="30862"/>
                    <a:pt x="575857" y="32800"/>
                  </a:cubicBezTo>
                  <a:cubicBezTo>
                    <a:pt x="567334" y="36243"/>
                    <a:pt x="558362" y="38884"/>
                    <a:pt x="549150" y="40722"/>
                  </a:cubicBezTo>
                  <a:cubicBezTo>
                    <a:pt x="536973" y="42794"/>
                    <a:pt x="553533" y="57433"/>
                    <a:pt x="546348" y="59138"/>
                  </a:cubicBezTo>
                  <a:cubicBezTo>
                    <a:pt x="537012" y="61545"/>
                    <a:pt x="531655" y="42092"/>
                    <a:pt x="523050" y="40588"/>
                  </a:cubicBezTo>
                  <a:cubicBezTo>
                    <a:pt x="520412" y="40154"/>
                    <a:pt x="507950" y="50983"/>
                    <a:pt x="509695" y="39919"/>
                  </a:cubicBezTo>
                  <a:cubicBezTo>
                    <a:pt x="511157" y="30461"/>
                    <a:pt x="511765" y="34405"/>
                    <a:pt x="503810" y="25681"/>
                  </a:cubicBezTo>
                  <a:cubicBezTo>
                    <a:pt x="498412" y="19798"/>
                    <a:pt x="500603" y="13281"/>
                    <a:pt x="492121" y="7131"/>
                  </a:cubicBezTo>
                  <a:cubicBezTo>
                    <a:pt x="488995" y="4825"/>
                    <a:pt x="466508" y="1683"/>
                    <a:pt x="463423" y="2752"/>
                  </a:cubicBezTo>
                  <a:cubicBezTo>
                    <a:pt x="452343" y="6663"/>
                    <a:pt x="461150" y="11543"/>
                    <a:pt x="445321" y="2251"/>
                  </a:cubicBezTo>
                  <a:cubicBezTo>
                    <a:pt x="432413" y="-5369"/>
                    <a:pt x="436959" y="6429"/>
                    <a:pt x="431723" y="4658"/>
                  </a:cubicBezTo>
                  <a:cubicBezTo>
                    <a:pt x="424782" y="3989"/>
                    <a:pt x="417719" y="4290"/>
                    <a:pt x="410901" y="5527"/>
                  </a:cubicBezTo>
                  <a:cubicBezTo>
                    <a:pt x="406313" y="8668"/>
                    <a:pt x="405136" y="23241"/>
                    <a:pt x="396653" y="15855"/>
                  </a:cubicBezTo>
                  <a:cubicBezTo>
                    <a:pt x="391214" y="11108"/>
                    <a:pt x="380418" y="4357"/>
                    <a:pt x="382163" y="14016"/>
                  </a:cubicBezTo>
                  <a:cubicBezTo>
                    <a:pt x="383908" y="23676"/>
                    <a:pt x="381473" y="24812"/>
                    <a:pt x="370230" y="26450"/>
                  </a:cubicBezTo>
                  <a:cubicBezTo>
                    <a:pt x="363329" y="27453"/>
                    <a:pt x="366860" y="12345"/>
                    <a:pt x="367753" y="10908"/>
                  </a:cubicBezTo>
                  <a:cubicBezTo>
                    <a:pt x="371082" y="5560"/>
                    <a:pt x="341167" y="8134"/>
                    <a:pt x="337839" y="13548"/>
                  </a:cubicBezTo>
                  <a:cubicBezTo>
                    <a:pt x="335363" y="17526"/>
                    <a:pt x="338447" y="26082"/>
                    <a:pt x="330898" y="26517"/>
                  </a:cubicBezTo>
                  <a:cubicBezTo>
                    <a:pt x="321075" y="27252"/>
                    <a:pt x="311334" y="28522"/>
                    <a:pt x="301713" y="30327"/>
                  </a:cubicBezTo>
                  <a:cubicBezTo>
                    <a:pt x="291283" y="32098"/>
                    <a:pt x="281419" y="35808"/>
                    <a:pt x="269648" y="32901"/>
                  </a:cubicBezTo>
                  <a:cubicBezTo>
                    <a:pt x="260475" y="30661"/>
                    <a:pt x="247283" y="22573"/>
                    <a:pt x="238028" y="23575"/>
                  </a:cubicBezTo>
                  <a:cubicBezTo>
                    <a:pt x="228774" y="24578"/>
                    <a:pt x="221225" y="18361"/>
                    <a:pt x="212254" y="19030"/>
                  </a:cubicBezTo>
                  <a:cubicBezTo>
                    <a:pt x="205719" y="19765"/>
                    <a:pt x="199143" y="19999"/>
                    <a:pt x="192568" y="19765"/>
                  </a:cubicBezTo>
                  <a:cubicBezTo>
                    <a:pt x="184044" y="19164"/>
                    <a:pt x="181690" y="10774"/>
                    <a:pt x="169229" y="9237"/>
                  </a:cubicBezTo>
                  <a:cubicBezTo>
                    <a:pt x="152993" y="7231"/>
                    <a:pt x="139964" y="12980"/>
                    <a:pt x="123240" y="9671"/>
                  </a:cubicBezTo>
                  <a:cubicBezTo>
                    <a:pt x="116015" y="8267"/>
                    <a:pt x="112322" y="6697"/>
                    <a:pt x="107005" y="10106"/>
                  </a:cubicBezTo>
                  <a:cubicBezTo>
                    <a:pt x="106437" y="10440"/>
                    <a:pt x="98887" y="16456"/>
                    <a:pt x="97426" y="14284"/>
                  </a:cubicBezTo>
                  <a:cubicBezTo>
                    <a:pt x="96249" y="12746"/>
                    <a:pt x="101850" y="3354"/>
                    <a:pt x="101119" y="3287"/>
                  </a:cubicBezTo>
                  <a:cubicBezTo>
                    <a:pt x="83544" y="1883"/>
                    <a:pt x="82083" y="15219"/>
                    <a:pt x="80297" y="23341"/>
                  </a:cubicBezTo>
                  <a:cubicBezTo>
                    <a:pt x="77902" y="34204"/>
                    <a:pt x="53345" y="31965"/>
                    <a:pt x="54766" y="46404"/>
                  </a:cubicBezTo>
                  <a:cubicBezTo>
                    <a:pt x="55578" y="54592"/>
                    <a:pt x="69215" y="71806"/>
                    <a:pt x="58256" y="77621"/>
                  </a:cubicBezTo>
                  <a:cubicBezTo>
                    <a:pt x="52086" y="80964"/>
                    <a:pt x="51681" y="63684"/>
                    <a:pt x="48474" y="64252"/>
                  </a:cubicBezTo>
                  <a:cubicBezTo>
                    <a:pt x="43928" y="65188"/>
                    <a:pt x="54522" y="75816"/>
                    <a:pt x="49164" y="77856"/>
                  </a:cubicBezTo>
                  <a:cubicBezTo>
                    <a:pt x="45674" y="79192"/>
                    <a:pt x="41656" y="67628"/>
                    <a:pt x="41046" y="66291"/>
                  </a:cubicBezTo>
                  <a:cubicBezTo>
                    <a:pt x="38246" y="61010"/>
                    <a:pt x="36054" y="63750"/>
                    <a:pt x="36419" y="67394"/>
                  </a:cubicBezTo>
                  <a:cubicBezTo>
                    <a:pt x="37190" y="74947"/>
                    <a:pt x="39585" y="82601"/>
                    <a:pt x="41006" y="90189"/>
                  </a:cubicBezTo>
                  <a:cubicBezTo>
                    <a:pt x="43563" y="103558"/>
                    <a:pt x="41858" y="114922"/>
                    <a:pt x="45836" y="128592"/>
                  </a:cubicBezTo>
                  <a:cubicBezTo>
                    <a:pt x="48393" y="137483"/>
                    <a:pt x="43928" y="142697"/>
                    <a:pt x="41980" y="150618"/>
                  </a:cubicBezTo>
                  <a:cubicBezTo>
                    <a:pt x="40275" y="159743"/>
                    <a:pt x="40600" y="169035"/>
                    <a:pt x="42873" y="178093"/>
                  </a:cubicBezTo>
                  <a:cubicBezTo>
                    <a:pt x="43726" y="182505"/>
                    <a:pt x="46931" y="187886"/>
                    <a:pt x="42873" y="191195"/>
                  </a:cubicBezTo>
                  <a:cubicBezTo>
                    <a:pt x="36135" y="196777"/>
                    <a:pt x="30453" y="203194"/>
                    <a:pt x="26069" y="210179"/>
                  </a:cubicBezTo>
                  <a:cubicBezTo>
                    <a:pt x="20265" y="218602"/>
                    <a:pt x="13648" y="212151"/>
                    <a:pt x="4434" y="212820"/>
                  </a:cubicBezTo>
                  <a:cubicBezTo>
                    <a:pt x="-8270" y="213756"/>
                    <a:pt x="9792" y="226657"/>
                    <a:pt x="11781" y="228596"/>
                  </a:cubicBezTo>
                  <a:cubicBezTo>
                    <a:pt x="18154" y="234813"/>
                    <a:pt x="15840" y="241798"/>
                    <a:pt x="25501" y="247748"/>
                  </a:cubicBezTo>
                  <a:cubicBezTo>
                    <a:pt x="34593" y="252895"/>
                    <a:pt x="44375" y="257173"/>
                    <a:pt x="54604" y="260582"/>
                  </a:cubicBezTo>
                  <a:cubicBezTo>
                    <a:pt x="61219" y="263691"/>
                    <a:pt x="69135" y="264359"/>
                    <a:pt x="76400" y="262454"/>
                  </a:cubicBezTo>
                  <a:cubicBezTo>
                    <a:pt x="87075" y="260415"/>
                    <a:pt x="96249" y="267601"/>
                    <a:pt x="106152" y="263791"/>
                  </a:cubicBezTo>
                  <a:cubicBezTo>
                    <a:pt x="123362" y="257106"/>
                    <a:pt x="154860" y="276859"/>
                    <a:pt x="170325" y="284213"/>
                  </a:cubicBezTo>
                  <a:cubicBezTo>
                    <a:pt x="180513" y="288959"/>
                    <a:pt x="192243" y="293671"/>
                    <a:pt x="203771" y="294240"/>
                  </a:cubicBezTo>
                  <a:cubicBezTo>
                    <a:pt x="213634" y="294641"/>
                    <a:pt x="218383" y="288792"/>
                    <a:pt x="227435" y="288892"/>
                  </a:cubicBezTo>
                  <a:cubicBezTo>
                    <a:pt x="237217" y="288892"/>
                    <a:pt x="247730" y="293371"/>
                    <a:pt x="257390" y="292234"/>
                  </a:cubicBezTo>
                  <a:cubicBezTo>
                    <a:pt x="265914" y="291499"/>
                    <a:pt x="274478" y="293137"/>
                    <a:pt x="281744" y="296913"/>
                  </a:cubicBezTo>
                  <a:cubicBezTo>
                    <a:pt x="294854" y="302629"/>
                    <a:pt x="306098" y="308244"/>
                    <a:pt x="320629" y="311052"/>
                  </a:cubicBezTo>
                  <a:cubicBezTo>
                    <a:pt x="334104" y="313692"/>
                    <a:pt x="348108" y="313893"/>
                    <a:pt x="361219" y="318238"/>
                  </a:cubicBezTo>
                  <a:cubicBezTo>
                    <a:pt x="378632" y="323953"/>
                    <a:pt x="405339" y="330905"/>
                    <a:pt x="411712" y="344977"/>
                  </a:cubicBezTo>
                  <a:cubicBezTo>
                    <a:pt x="417882" y="358346"/>
                    <a:pt x="444184" y="363894"/>
                    <a:pt x="453479" y="377063"/>
                  </a:cubicBezTo>
                  <a:cubicBezTo>
                    <a:pt x="461597" y="388929"/>
                    <a:pt x="456076" y="382311"/>
                    <a:pt x="449907" y="390967"/>
                  </a:cubicBezTo>
                  <a:cubicBezTo>
                    <a:pt x="447918" y="393775"/>
                    <a:pt x="459364" y="404137"/>
                    <a:pt x="460906" y="407245"/>
                  </a:cubicBezTo>
                  <a:cubicBezTo>
                    <a:pt x="465575" y="416537"/>
                    <a:pt x="445239" y="442941"/>
                    <a:pt x="471257" y="436891"/>
                  </a:cubicBezTo>
                  <a:cubicBezTo>
                    <a:pt x="478848" y="435120"/>
                    <a:pt x="485221" y="433148"/>
                    <a:pt x="493988" y="435554"/>
                  </a:cubicBezTo>
                  <a:cubicBezTo>
                    <a:pt x="499589" y="437126"/>
                    <a:pt x="503932" y="438596"/>
                    <a:pt x="507545" y="434987"/>
                  </a:cubicBezTo>
                  <a:cubicBezTo>
                    <a:pt x="511157" y="431376"/>
                    <a:pt x="534577" y="420715"/>
                    <a:pt x="536282" y="433081"/>
                  </a:cubicBezTo>
                  <a:cubicBezTo>
                    <a:pt x="536891" y="437527"/>
                    <a:pt x="519234" y="441638"/>
                    <a:pt x="515663" y="444011"/>
                  </a:cubicBezTo>
                  <a:cubicBezTo>
                    <a:pt x="507545" y="449392"/>
                    <a:pt x="504379" y="455174"/>
                    <a:pt x="492121" y="451464"/>
                  </a:cubicBezTo>
                  <a:cubicBezTo>
                    <a:pt x="484003" y="448991"/>
                    <a:pt x="495327" y="460556"/>
                    <a:pt x="499386" y="462060"/>
                  </a:cubicBezTo>
                  <a:cubicBezTo>
                    <a:pt x="510183" y="466003"/>
                    <a:pt x="515622" y="451063"/>
                    <a:pt x="521872" y="455375"/>
                  </a:cubicBezTo>
                  <a:cubicBezTo>
                    <a:pt x="536526" y="465602"/>
                    <a:pt x="518342" y="471485"/>
                    <a:pt x="512253" y="475763"/>
                  </a:cubicBezTo>
                  <a:cubicBezTo>
                    <a:pt x="507504" y="479105"/>
                    <a:pt x="529422" y="484788"/>
                    <a:pt x="532142" y="489667"/>
                  </a:cubicBezTo>
                  <a:cubicBezTo>
                    <a:pt x="537500" y="499227"/>
                    <a:pt x="536201" y="509487"/>
                    <a:pt x="528489" y="516039"/>
                  </a:cubicBezTo>
                  <a:cubicBezTo>
                    <a:pt x="517976" y="524963"/>
                    <a:pt x="524430" y="532516"/>
                    <a:pt x="532792" y="543412"/>
                  </a:cubicBezTo>
                  <a:cubicBezTo>
                    <a:pt x="544969" y="559389"/>
                    <a:pt x="567820" y="569115"/>
                    <a:pt x="579753" y="586429"/>
                  </a:cubicBezTo>
                  <a:cubicBezTo>
                    <a:pt x="586370" y="596055"/>
                    <a:pt x="601347" y="597692"/>
                    <a:pt x="612225" y="594183"/>
                  </a:cubicBezTo>
                  <a:cubicBezTo>
                    <a:pt x="615919" y="592980"/>
                    <a:pt x="621074" y="588334"/>
                    <a:pt x="625701" y="592946"/>
                  </a:cubicBezTo>
                  <a:cubicBezTo>
                    <a:pt x="628096" y="595353"/>
                    <a:pt x="628502" y="599898"/>
                    <a:pt x="623469" y="599330"/>
                  </a:cubicBezTo>
                  <a:cubicBezTo>
                    <a:pt x="618436" y="598762"/>
                    <a:pt x="617502" y="602672"/>
                    <a:pt x="620141" y="605647"/>
                  </a:cubicBezTo>
                  <a:cubicBezTo>
                    <a:pt x="622779" y="608622"/>
                    <a:pt x="627000" y="602506"/>
                    <a:pt x="629638" y="602305"/>
                  </a:cubicBezTo>
                  <a:cubicBezTo>
                    <a:pt x="631627" y="602038"/>
                    <a:pt x="638771" y="628442"/>
                    <a:pt x="641126" y="630280"/>
                  </a:cubicBezTo>
                  <a:cubicBezTo>
                    <a:pt x="638447" y="628242"/>
                    <a:pt x="656793" y="626136"/>
                    <a:pt x="658985" y="626671"/>
                  </a:cubicBezTo>
                  <a:cubicBezTo>
                    <a:pt x="668442" y="628943"/>
                    <a:pt x="677819" y="627907"/>
                    <a:pt x="686992" y="627874"/>
                  </a:cubicBezTo>
                  <a:cubicBezTo>
                    <a:pt x="700265" y="627874"/>
                    <a:pt x="718124" y="637901"/>
                    <a:pt x="729652" y="643884"/>
                  </a:cubicBezTo>
                  <a:cubicBezTo>
                    <a:pt x="741179" y="649866"/>
                    <a:pt x="744833" y="641611"/>
                    <a:pt x="751204" y="635762"/>
                  </a:cubicBezTo>
                  <a:cubicBezTo>
                    <a:pt x="756117" y="631283"/>
                    <a:pt x="760865" y="626671"/>
                    <a:pt x="765898" y="622392"/>
                  </a:cubicBezTo>
                  <a:cubicBezTo>
                    <a:pt x="772393" y="616711"/>
                    <a:pt x="782662" y="617312"/>
                    <a:pt x="791470" y="614471"/>
                  </a:cubicBezTo>
                  <a:cubicBezTo>
                    <a:pt x="806285" y="609692"/>
                    <a:pt x="816554" y="599531"/>
                    <a:pt x="832506" y="594985"/>
                  </a:cubicBezTo>
                  <a:cubicBezTo>
                    <a:pt x="835997" y="594016"/>
                    <a:pt x="843222" y="591141"/>
                    <a:pt x="847727" y="592478"/>
                  </a:cubicBezTo>
                  <a:cubicBezTo>
                    <a:pt x="859904" y="596155"/>
                    <a:pt x="863963" y="591743"/>
                    <a:pt x="872081" y="587732"/>
                  </a:cubicBezTo>
                  <a:cubicBezTo>
                    <a:pt x="880199" y="583721"/>
                    <a:pt x="891239" y="583387"/>
                    <a:pt x="896435" y="577170"/>
                  </a:cubicBezTo>
                  <a:cubicBezTo>
                    <a:pt x="900819" y="571990"/>
                    <a:pt x="914741" y="568547"/>
                    <a:pt x="916730" y="562531"/>
                  </a:cubicBezTo>
                  <a:cubicBezTo>
                    <a:pt x="918718" y="556515"/>
                    <a:pt x="921803" y="550599"/>
                    <a:pt x="931017" y="549930"/>
                  </a:cubicBezTo>
                  <a:cubicBezTo>
                    <a:pt x="939135" y="549362"/>
                    <a:pt x="937268" y="537430"/>
                    <a:pt x="942748" y="537798"/>
                  </a:cubicBezTo>
                  <a:close/>
                  <a:moveTo>
                    <a:pt x="623387" y="21904"/>
                  </a:moveTo>
                  <a:cubicBezTo>
                    <a:pt x="625052" y="17392"/>
                    <a:pt x="583690" y="4390"/>
                    <a:pt x="589130" y="12145"/>
                  </a:cubicBezTo>
                  <a:cubicBezTo>
                    <a:pt x="592580" y="17259"/>
                    <a:pt x="621724" y="26350"/>
                    <a:pt x="623265" y="21904"/>
                  </a:cubicBezTo>
                  <a:close/>
                  <a:moveTo>
                    <a:pt x="466427" y="464499"/>
                  </a:moveTo>
                  <a:cubicBezTo>
                    <a:pt x="469431" y="470349"/>
                    <a:pt x="488062" y="478170"/>
                    <a:pt x="494272" y="475061"/>
                  </a:cubicBezTo>
                  <a:cubicBezTo>
                    <a:pt x="500481" y="471953"/>
                    <a:pt x="463423" y="459185"/>
                    <a:pt x="466305" y="464499"/>
                  </a:cubicBezTo>
                  <a:close/>
                  <a:moveTo>
                    <a:pt x="613727" y="664005"/>
                  </a:moveTo>
                  <a:cubicBezTo>
                    <a:pt x="608857" y="661866"/>
                    <a:pt x="583975" y="637266"/>
                    <a:pt x="582352" y="637934"/>
                  </a:cubicBezTo>
                  <a:cubicBezTo>
                    <a:pt x="576466" y="640876"/>
                    <a:pt x="578698" y="657320"/>
                    <a:pt x="577359" y="662467"/>
                  </a:cubicBezTo>
                  <a:cubicBezTo>
                    <a:pt x="575127" y="670957"/>
                    <a:pt x="565182" y="672494"/>
                    <a:pt x="566887" y="682087"/>
                  </a:cubicBezTo>
                  <a:cubicBezTo>
                    <a:pt x="567820" y="687301"/>
                    <a:pt x="575330" y="712770"/>
                    <a:pt x="587182" y="710564"/>
                  </a:cubicBezTo>
                  <a:cubicBezTo>
                    <a:pt x="588805" y="710096"/>
                    <a:pt x="590388" y="709494"/>
                    <a:pt x="591849" y="708792"/>
                  </a:cubicBezTo>
                  <a:cubicBezTo>
                    <a:pt x="595462" y="707456"/>
                    <a:pt x="596842" y="710631"/>
                    <a:pt x="600333" y="710363"/>
                  </a:cubicBezTo>
                  <a:cubicBezTo>
                    <a:pt x="603824" y="710096"/>
                    <a:pt x="607030" y="700604"/>
                    <a:pt x="610561" y="705918"/>
                  </a:cubicBezTo>
                  <a:cubicBezTo>
                    <a:pt x="621967" y="723098"/>
                    <a:pt x="623794" y="700035"/>
                    <a:pt x="633982" y="699768"/>
                  </a:cubicBezTo>
                  <a:cubicBezTo>
                    <a:pt x="646808" y="699467"/>
                    <a:pt x="649000" y="689975"/>
                    <a:pt x="652166" y="680516"/>
                  </a:cubicBezTo>
                  <a:cubicBezTo>
                    <a:pt x="655698" y="669954"/>
                    <a:pt x="622657" y="667949"/>
                    <a:pt x="613606" y="664005"/>
                  </a:cubicBezTo>
                  <a:cubicBezTo>
                    <a:pt x="600292" y="658222"/>
                    <a:pt x="626919" y="669854"/>
                    <a:pt x="613606" y="664005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B5A250A-5B89-4497-868E-9442681FC2D3}"/>
                </a:ext>
              </a:extLst>
            </p:cNvPr>
            <p:cNvSpPr/>
            <p:nvPr/>
          </p:nvSpPr>
          <p:spPr>
            <a:xfrm>
              <a:off x="8386827" y="5324754"/>
              <a:ext cx="1079757" cy="509320"/>
            </a:xfrm>
            <a:custGeom>
              <a:avLst/>
              <a:gdLst>
                <a:gd name="connsiteX0" fmla="*/ 37428 w 1108203"/>
                <a:gd name="connsiteY0" fmla="*/ 134216 h 697375"/>
                <a:gd name="connsiteX1" fmla="*/ 45546 w 1108203"/>
                <a:gd name="connsiteY1" fmla="*/ 147151 h 697375"/>
                <a:gd name="connsiteX2" fmla="*/ 37428 w 1108203"/>
                <a:gd name="connsiteY2" fmla="*/ 134216 h 697375"/>
                <a:gd name="connsiteX3" fmla="*/ 276177 w 1108203"/>
                <a:gd name="connsiteY3" fmla="*/ 248258 h 697375"/>
                <a:gd name="connsiteX4" fmla="*/ 260428 w 1108203"/>
                <a:gd name="connsiteY4" fmla="*/ 247021 h 697375"/>
                <a:gd name="connsiteX5" fmla="*/ 270657 w 1108203"/>
                <a:gd name="connsiteY5" fmla="*/ 252035 h 697375"/>
                <a:gd name="connsiteX6" fmla="*/ 276177 w 1108203"/>
                <a:gd name="connsiteY6" fmla="*/ 248258 h 697375"/>
                <a:gd name="connsiteX7" fmla="*/ 17823 w 1108203"/>
                <a:gd name="connsiteY7" fmla="*/ 81608 h 697375"/>
                <a:gd name="connsiteX8" fmla="*/ 28458 w 1108203"/>
                <a:gd name="connsiteY8" fmla="*/ 99523 h 697375"/>
                <a:gd name="connsiteX9" fmla="*/ 17823 w 1108203"/>
                <a:gd name="connsiteY9" fmla="*/ 81608 h 697375"/>
                <a:gd name="connsiteX10" fmla="*/ 557424 w 1108203"/>
                <a:gd name="connsiteY10" fmla="*/ 369351 h 697375"/>
                <a:gd name="connsiteX11" fmla="*/ 558559 w 1108203"/>
                <a:gd name="connsiteY11" fmla="*/ 407554 h 697375"/>
                <a:gd name="connsiteX12" fmla="*/ 569722 w 1108203"/>
                <a:gd name="connsiteY12" fmla="*/ 387500 h 697375"/>
                <a:gd name="connsiteX13" fmla="*/ 592818 w 1108203"/>
                <a:gd name="connsiteY13" fmla="*/ 369986 h 697375"/>
                <a:gd name="connsiteX14" fmla="*/ 595172 w 1108203"/>
                <a:gd name="connsiteY14" fmla="*/ 390776 h 697375"/>
                <a:gd name="connsiteX15" fmla="*/ 615466 w 1108203"/>
                <a:gd name="connsiteY15" fmla="*/ 412902 h 697375"/>
                <a:gd name="connsiteX16" fmla="*/ 632717 w 1108203"/>
                <a:gd name="connsiteY16" fmla="*/ 394319 h 697375"/>
                <a:gd name="connsiteX17" fmla="*/ 631743 w 1108203"/>
                <a:gd name="connsiteY17" fmla="*/ 378576 h 697375"/>
                <a:gd name="connsiteX18" fmla="*/ 635031 w 1108203"/>
                <a:gd name="connsiteY18" fmla="*/ 367145 h 697375"/>
                <a:gd name="connsiteX19" fmla="*/ 667503 w 1108203"/>
                <a:gd name="connsiteY19" fmla="*/ 358221 h 697375"/>
                <a:gd name="connsiteX20" fmla="*/ 628334 w 1108203"/>
                <a:gd name="connsiteY20" fmla="*/ 352807 h 697375"/>
                <a:gd name="connsiteX21" fmla="*/ 601626 w 1108203"/>
                <a:gd name="connsiteY21" fmla="*/ 338936 h 697375"/>
                <a:gd name="connsiteX22" fmla="*/ 669207 w 1108203"/>
                <a:gd name="connsiteY22" fmla="*/ 335961 h 697375"/>
                <a:gd name="connsiteX23" fmla="*/ 705738 w 1108203"/>
                <a:gd name="connsiteY23" fmla="*/ 355681 h 697375"/>
                <a:gd name="connsiteX24" fmla="*/ 752497 w 1108203"/>
                <a:gd name="connsiteY24" fmla="*/ 351002 h 697375"/>
                <a:gd name="connsiteX25" fmla="*/ 718687 w 1108203"/>
                <a:gd name="connsiteY25" fmla="*/ 348027 h 697375"/>
                <a:gd name="connsiteX26" fmla="*/ 681790 w 1108203"/>
                <a:gd name="connsiteY26" fmla="*/ 332953 h 697375"/>
                <a:gd name="connsiteX27" fmla="*/ 646964 w 1108203"/>
                <a:gd name="connsiteY27" fmla="*/ 311963 h 697375"/>
                <a:gd name="connsiteX28" fmla="*/ 630728 w 1108203"/>
                <a:gd name="connsiteY28" fmla="*/ 312699 h 697375"/>
                <a:gd name="connsiteX29" fmla="*/ 613721 w 1108203"/>
                <a:gd name="connsiteY29" fmla="*/ 311027 h 697375"/>
                <a:gd name="connsiteX30" fmla="*/ 595253 w 1108203"/>
                <a:gd name="connsiteY30" fmla="*/ 323795 h 697375"/>
                <a:gd name="connsiteX31" fmla="*/ 576784 w 1108203"/>
                <a:gd name="connsiteY31" fmla="*/ 332652 h 697375"/>
                <a:gd name="connsiteX32" fmla="*/ 557504 w 1108203"/>
                <a:gd name="connsiteY32" fmla="*/ 369418 h 697375"/>
                <a:gd name="connsiteX33" fmla="*/ 204293 w 1108203"/>
                <a:gd name="connsiteY33" fmla="*/ 250297 h 697375"/>
                <a:gd name="connsiteX34" fmla="*/ 223370 w 1108203"/>
                <a:gd name="connsiteY34" fmla="*/ 233217 h 697375"/>
                <a:gd name="connsiteX35" fmla="*/ 236683 w 1108203"/>
                <a:gd name="connsiteY35" fmla="*/ 227869 h 697375"/>
                <a:gd name="connsiteX36" fmla="*/ 229133 w 1108203"/>
                <a:gd name="connsiteY36" fmla="*/ 213497 h 697375"/>
                <a:gd name="connsiteX37" fmla="*/ 208838 w 1108203"/>
                <a:gd name="connsiteY37" fmla="*/ 207848 h 697375"/>
                <a:gd name="connsiteX38" fmla="*/ 219514 w 1108203"/>
                <a:gd name="connsiteY38" fmla="*/ 222689 h 697375"/>
                <a:gd name="connsiteX39" fmla="*/ 200924 w 1108203"/>
                <a:gd name="connsiteY39" fmla="*/ 212461 h 697375"/>
                <a:gd name="connsiteX40" fmla="*/ 198894 w 1108203"/>
                <a:gd name="connsiteY40" fmla="*/ 205309 h 697375"/>
                <a:gd name="connsiteX41" fmla="*/ 189518 w 1108203"/>
                <a:gd name="connsiteY41" fmla="*/ 198624 h 697375"/>
                <a:gd name="connsiteX42" fmla="*/ 180304 w 1108203"/>
                <a:gd name="connsiteY42" fmla="*/ 180341 h 697375"/>
                <a:gd name="connsiteX43" fmla="*/ 172186 w 1108203"/>
                <a:gd name="connsiteY43" fmla="*/ 166771 h 697375"/>
                <a:gd name="connsiteX44" fmla="*/ 174418 w 1108203"/>
                <a:gd name="connsiteY44" fmla="*/ 154571 h 697375"/>
                <a:gd name="connsiteX45" fmla="*/ 165773 w 1108203"/>
                <a:gd name="connsiteY45" fmla="*/ 140366 h 697375"/>
                <a:gd name="connsiteX46" fmla="*/ 160293 w 1108203"/>
                <a:gd name="connsiteY46" fmla="*/ 134851 h 697375"/>
                <a:gd name="connsiteX47" fmla="*/ 150876 w 1108203"/>
                <a:gd name="connsiteY47" fmla="*/ 122451 h 697375"/>
                <a:gd name="connsiteX48" fmla="*/ 140120 w 1108203"/>
                <a:gd name="connsiteY48" fmla="*/ 115432 h 697375"/>
                <a:gd name="connsiteX49" fmla="*/ 128471 w 1108203"/>
                <a:gd name="connsiteY49" fmla="*/ 104169 h 697375"/>
                <a:gd name="connsiteX50" fmla="*/ 105822 w 1108203"/>
                <a:gd name="connsiteY50" fmla="*/ 88794 h 697375"/>
                <a:gd name="connsiteX51" fmla="*/ 94619 w 1108203"/>
                <a:gd name="connsiteY51" fmla="*/ 69408 h 697375"/>
                <a:gd name="connsiteX52" fmla="*/ 71036 w 1108203"/>
                <a:gd name="connsiteY52" fmla="*/ 46012 h 697375"/>
                <a:gd name="connsiteX53" fmla="*/ 59346 w 1108203"/>
                <a:gd name="connsiteY53" fmla="*/ 28063 h 697375"/>
                <a:gd name="connsiteX54" fmla="*/ 23628 w 1108203"/>
                <a:gd name="connsiteY54" fmla="*/ 13156 h 697375"/>
                <a:gd name="connsiteX55" fmla="*/ 6498 w 1108203"/>
                <a:gd name="connsiteY55" fmla="*/ 121 h 697375"/>
                <a:gd name="connsiteX56" fmla="*/ 2196 w 1108203"/>
                <a:gd name="connsiteY56" fmla="*/ 14861 h 697375"/>
                <a:gd name="connsiteX57" fmla="*/ 33816 w 1108203"/>
                <a:gd name="connsiteY57" fmla="*/ 55470 h 697375"/>
                <a:gd name="connsiteX58" fmla="*/ 47048 w 1108203"/>
                <a:gd name="connsiteY58" fmla="*/ 74923 h 697375"/>
                <a:gd name="connsiteX59" fmla="*/ 59225 w 1108203"/>
                <a:gd name="connsiteY59" fmla="*/ 90030 h 697375"/>
                <a:gd name="connsiteX60" fmla="*/ 67343 w 1108203"/>
                <a:gd name="connsiteY60" fmla="*/ 119443 h 697375"/>
                <a:gd name="connsiteX61" fmla="*/ 88368 w 1108203"/>
                <a:gd name="connsiteY61" fmla="*/ 164933 h 697375"/>
                <a:gd name="connsiteX62" fmla="*/ 112722 w 1108203"/>
                <a:gd name="connsiteY62" fmla="*/ 207514 h 697375"/>
                <a:gd name="connsiteX63" fmla="*/ 147223 w 1108203"/>
                <a:gd name="connsiteY63" fmla="*/ 248024 h 697375"/>
                <a:gd name="connsiteX64" fmla="*/ 156234 w 1108203"/>
                <a:gd name="connsiteY64" fmla="*/ 260391 h 697375"/>
                <a:gd name="connsiteX65" fmla="*/ 179289 w 1108203"/>
                <a:gd name="connsiteY65" fmla="*/ 268312 h 697375"/>
                <a:gd name="connsiteX66" fmla="*/ 204536 w 1108203"/>
                <a:gd name="connsiteY66" fmla="*/ 250297 h 697375"/>
                <a:gd name="connsiteX67" fmla="*/ 204373 w 1108203"/>
                <a:gd name="connsiteY67" fmla="*/ 250297 h 697375"/>
                <a:gd name="connsiteX68" fmla="*/ 825316 w 1108203"/>
                <a:gd name="connsiteY68" fmla="*/ 408022 h 697375"/>
                <a:gd name="connsiteX69" fmla="*/ 832500 w 1108203"/>
                <a:gd name="connsiteY69" fmla="*/ 393049 h 697375"/>
                <a:gd name="connsiteX70" fmla="*/ 812205 w 1108203"/>
                <a:gd name="connsiteY70" fmla="*/ 377975 h 697375"/>
                <a:gd name="connsiteX71" fmla="*/ 802667 w 1108203"/>
                <a:gd name="connsiteY71" fmla="*/ 410730 h 697375"/>
                <a:gd name="connsiteX72" fmla="*/ 825154 w 1108203"/>
                <a:gd name="connsiteY72" fmla="*/ 408022 h 697375"/>
                <a:gd name="connsiteX73" fmla="*/ 727901 w 1108203"/>
                <a:gd name="connsiteY73" fmla="*/ 436366 h 697375"/>
                <a:gd name="connsiteX74" fmla="*/ 755136 w 1108203"/>
                <a:gd name="connsiteY74" fmla="*/ 454682 h 697375"/>
                <a:gd name="connsiteX75" fmla="*/ 727941 w 1108203"/>
                <a:gd name="connsiteY75" fmla="*/ 436366 h 697375"/>
                <a:gd name="connsiteX76" fmla="*/ 621433 w 1108203"/>
                <a:gd name="connsiteY76" fmla="*/ 486501 h 697375"/>
                <a:gd name="connsiteX77" fmla="*/ 590463 w 1108203"/>
                <a:gd name="connsiteY77" fmla="*/ 476908 h 697375"/>
                <a:gd name="connsiteX78" fmla="*/ 561807 w 1108203"/>
                <a:gd name="connsiteY78" fmla="*/ 463539 h 697375"/>
                <a:gd name="connsiteX79" fmla="*/ 519228 w 1108203"/>
                <a:gd name="connsiteY79" fmla="*/ 453980 h 697375"/>
                <a:gd name="connsiteX80" fmla="*/ 585390 w 1108203"/>
                <a:gd name="connsiteY80" fmla="*/ 481621 h 697375"/>
                <a:gd name="connsiteX81" fmla="*/ 616359 w 1108203"/>
                <a:gd name="connsiteY81" fmla="*/ 489743 h 697375"/>
                <a:gd name="connsiteX82" fmla="*/ 621433 w 1108203"/>
                <a:gd name="connsiteY82" fmla="*/ 486601 h 697375"/>
                <a:gd name="connsiteX83" fmla="*/ 831932 w 1108203"/>
                <a:gd name="connsiteY83" fmla="*/ 474803 h 697375"/>
                <a:gd name="connsiteX84" fmla="*/ 789719 w 1108203"/>
                <a:gd name="connsiteY84" fmla="*/ 456420 h 697375"/>
                <a:gd name="connsiteX85" fmla="*/ 779612 w 1108203"/>
                <a:gd name="connsiteY85" fmla="*/ 458058 h 697375"/>
                <a:gd name="connsiteX86" fmla="*/ 803763 w 1108203"/>
                <a:gd name="connsiteY86" fmla="*/ 473132 h 697375"/>
                <a:gd name="connsiteX87" fmla="*/ 838710 w 1108203"/>
                <a:gd name="connsiteY87" fmla="*/ 497564 h 697375"/>
                <a:gd name="connsiteX88" fmla="*/ 831932 w 1108203"/>
                <a:gd name="connsiteY88" fmla="*/ 474803 h 697375"/>
                <a:gd name="connsiteX89" fmla="*/ 831973 w 1108203"/>
                <a:gd name="connsiteY89" fmla="*/ 474903 h 697375"/>
                <a:gd name="connsiteX90" fmla="*/ 392792 w 1108203"/>
                <a:gd name="connsiteY90" fmla="*/ 387333 h 697375"/>
                <a:gd name="connsiteX91" fmla="*/ 373390 w 1108203"/>
                <a:gd name="connsiteY91" fmla="*/ 364705 h 697375"/>
                <a:gd name="connsiteX92" fmla="*/ 368478 w 1108203"/>
                <a:gd name="connsiteY92" fmla="*/ 356985 h 697375"/>
                <a:gd name="connsiteX93" fmla="*/ 311084 w 1108203"/>
                <a:gd name="connsiteY93" fmla="*/ 332619 h 697375"/>
                <a:gd name="connsiteX94" fmla="*/ 288841 w 1108203"/>
                <a:gd name="connsiteY94" fmla="*/ 327873 h 697375"/>
                <a:gd name="connsiteX95" fmla="*/ 251498 w 1108203"/>
                <a:gd name="connsiteY95" fmla="*/ 303139 h 697375"/>
                <a:gd name="connsiteX96" fmla="*/ 213466 w 1108203"/>
                <a:gd name="connsiteY96" fmla="*/ 282082 h 697375"/>
                <a:gd name="connsiteX97" fmla="*/ 192521 w 1108203"/>
                <a:gd name="connsiteY97" fmla="*/ 280044 h 697375"/>
                <a:gd name="connsiteX98" fmla="*/ 176285 w 1108203"/>
                <a:gd name="connsiteY98" fmla="*/ 281815 h 697375"/>
                <a:gd name="connsiteX99" fmla="*/ 196987 w 1108203"/>
                <a:gd name="connsiteY99" fmla="*/ 300098 h 697375"/>
                <a:gd name="connsiteX100" fmla="*/ 228566 w 1108203"/>
                <a:gd name="connsiteY100" fmla="*/ 320854 h 697375"/>
                <a:gd name="connsiteX101" fmla="*/ 259373 w 1108203"/>
                <a:gd name="connsiteY101" fmla="*/ 328976 h 697375"/>
                <a:gd name="connsiteX102" fmla="*/ 302682 w 1108203"/>
                <a:gd name="connsiteY102" fmla="*/ 360628 h 697375"/>
                <a:gd name="connsiteX103" fmla="*/ 350091 w 1108203"/>
                <a:gd name="connsiteY103" fmla="*/ 381016 h 697375"/>
                <a:gd name="connsiteX104" fmla="*/ 375663 w 1108203"/>
                <a:gd name="connsiteY104" fmla="*/ 393784 h 697375"/>
                <a:gd name="connsiteX105" fmla="*/ 390965 w 1108203"/>
                <a:gd name="connsiteY105" fmla="*/ 397695 h 697375"/>
                <a:gd name="connsiteX106" fmla="*/ 406307 w 1108203"/>
                <a:gd name="connsiteY106" fmla="*/ 406418 h 697375"/>
                <a:gd name="connsiteX107" fmla="*/ 416536 w 1108203"/>
                <a:gd name="connsiteY107" fmla="*/ 403443 h 697375"/>
                <a:gd name="connsiteX108" fmla="*/ 392832 w 1108203"/>
                <a:gd name="connsiteY108" fmla="*/ 387333 h 697375"/>
                <a:gd name="connsiteX109" fmla="*/ 392832 w 1108203"/>
                <a:gd name="connsiteY109" fmla="*/ 387434 h 697375"/>
                <a:gd name="connsiteX110" fmla="*/ 1036951 w 1108203"/>
                <a:gd name="connsiteY110" fmla="*/ 545594 h 697375"/>
                <a:gd name="connsiteX111" fmla="*/ 1017386 w 1108203"/>
                <a:gd name="connsiteY111" fmla="*/ 546964 h 697375"/>
                <a:gd name="connsiteX112" fmla="*/ 993601 w 1108203"/>
                <a:gd name="connsiteY112" fmla="*/ 544424 h 697375"/>
                <a:gd name="connsiteX113" fmla="*/ 947572 w 1108203"/>
                <a:gd name="connsiteY113" fmla="*/ 533896 h 697375"/>
                <a:gd name="connsiteX114" fmla="*/ 934827 w 1108203"/>
                <a:gd name="connsiteY114" fmla="*/ 474168 h 697375"/>
                <a:gd name="connsiteX115" fmla="*/ 913193 w 1108203"/>
                <a:gd name="connsiteY115" fmla="*/ 462871 h 697375"/>
                <a:gd name="connsiteX116" fmla="*/ 892492 w 1108203"/>
                <a:gd name="connsiteY116" fmla="*/ 463105 h 697375"/>
                <a:gd name="connsiteX117" fmla="*/ 873130 w 1108203"/>
                <a:gd name="connsiteY117" fmla="*/ 461467 h 697375"/>
                <a:gd name="connsiteX118" fmla="*/ 888149 w 1108203"/>
                <a:gd name="connsiteY118" fmla="*/ 474268 h 697375"/>
                <a:gd name="connsiteX119" fmla="*/ 891802 w 1108203"/>
                <a:gd name="connsiteY119" fmla="*/ 490545 h 697375"/>
                <a:gd name="connsiteX120" fmla="*/ 917333 w 1108203"/>
                <a:gd name="connsiteY120" fmla="*/ 503714 h 697375"/>
                <a:gd name="connsiteX121" fmla="*/ 934421 w 1108203"/>
                <a:gd name="connsiteY121" fmla="*/ 514510 h 697375"/>
                <a:gd name="connsiteX122" fmla="*/ 911934 w 1108203"/>
                <a:gd name="connsiteY122" fmla="*/ 506488 h 697375"/>
                <a:gd name="connsiteX123" fmla="*/ 891355 w 1108203"/>
                <a:gd name="connsiteY123" fmla="*/ 497999 h 697375"/>
                <a:gd name="connsiteX124" fmla="*/ 891761 w 1108203"/>
                <a:gd name="connsiteY124" fmla="*/ 508728 h 697375"/>
                <a:gd name="connsiteX125" fmla="*/ 892208 w 1108203"/>
                <a:gd name="connsiteY125" fmla="*/ 524971 h 697375"/>
                <a:gd name="connsiteX126" fmla="*/ 910230 w 1108203"/>
                <a:gd name="connsiteY126" fmla="*/ 525874 h 697375"/>
                <a:gd name="connsiteX127" fmla="*/ 939982 w 1108203"/>
                <a:gd name="connsiteY127" fmla="*/ 555955 h 697375"/>
                <a:gd name="connsiteX128" fmla="*/ 964945 w 1108203"/>
                <a:gd name="connsiteY128" fmla="*/ 572099 h 697375"/>
                <a:gd name="connsiteX129" fmla="*/ 993357 w 1108203"/>
                <a:gd name="connsiteY129" fmla="*/ 595261 h 697375"/>
                <a:gd name="connsiteX130" fmla="*/ 1009106 w 1108203"/>
                <a:gd name="connsiteY130" fmla="*/ 614280 h 697375"/>
                <a:gd name="connsiteX131" fmla="*/ 1007564 w 1108203"/>
                <a:gd name="connsiteY131" fmla="*/ 632896 h 697375"/>
                <a:gd name="connsiteX132" fmla="*/ 969571 w 1108203"/>
                <a:gd name="connsiteY132" fmla="*/ 642121 h 697375"/>
                <a:gd name="connsiteX133" fmla="*/ 998716 w 1108203"/>
                <a:gd name="connsiteY133" fmla="*/ 662175 h 697375"/>
                <a:gd name="connsiteX134" fmla="*/ 1022785 w 1108203"/>
                <a:gd name="connsiteY134" fmla="*/ 671969 h 697375"/>
                <a:gd name="connsiteX135" fmla="*/ 1039305 w 1108203"/>
                <a:gd name="connsiteY135" fmla="*/ 697036 h 697375"/>
                <a:gd name="connsiteX136" fmla="*/ 1089758 w 1108203"/>
                <a:gd name="connsiteY136" fmla="*/ 630189 h 697375"/>
                <a:gd name="connsiteX137" fmla="*/ 1108105 w 1108203"/>
                <a:gd name="connsiteY137" fmla="*/ 605790 h 697375"/>
                <a:gd name="connsiteX138" fmla="*/ 1036951 w 1108203"/>
                <a:gd name="connsiteY138" fmla="*/ 545828 h 697375"/>
                <a:gd name="connsiteX139" fmla="*/ 644692 w 1108203"/>
                <a:gd name="connsiteY139" fmla="*/ 510466 h 697375"/>
                <a:gd name="connsiteX140" fmla="*/ 622651 w 1108203"/>
                <a:gd name="connsiteY140" fmla="*/ 505653 h 697375"/>
                <a:gd name="connsiteX141" fmla="*/ 598014 w 1108203"/>
                <a:gd name="connsiteY141" fmla="*/ 512338 h 697375"/>
                <a:gd name="connsiteX142" fmla="*/ 649278 w 1108203"/>
                <a:gd name="connsiteY142" fmla="*/ 519022 h 697375"/>
                <a:gd name="connsiteX143" fmla="*/ 644692 w 1108203"/>
                <a:gd name="connsiteY143" fmla="*/ 510599 h 697375"/>
                <a:gd name="connsiteX144" fmla="*/ 644611 w 1108203"/>
                <a:gd name="connsiteY144" fmla="*/ 510466 h 697375"/>
                <a:gd name="connsiteX145" fmla="*/ 508432 w 1108203"/>
                <a:gd name="connsiteY145" fmla="*/ 308654 h 697375"/>
                <a:gd name="connsiteX146" fmla="*/ 548210 w 1108203"/>
                <a:gd name="connsiteY146" fmla="*/ 287597 h 697375"/>
                <a:gd name="connsiteX147" fmla="*/ 584741 w 1108203"/>
                <a:gd name="connsiteY147" fmla="*/ 285859 h 697375"/>
                <a:gd name="connsiteX148" fmla="*/ 570980 w 1108203"/>
                <a:gd name="connsiteY148" fmla="*/ 267643 h 697375"/>
                <a:gd name="connsiteX149" fmla="*/ 566921 w 1108203"/>
                <a:gd name="connsiteY149" fmla="*/ 248124 h 697375"/>
                <a:gd name="connsiteX150" fmla="*/ 576257 w 1108203"/>
                <a:gd name="connsiteY150" fmla="*/ 240904 h 697375"/>
                <a:gd name="connsiteX151" fmla="*/ 584659 w 1108203"/>
                <a:gd name="connsiteY151" fmla="*/ 231245 h 697375"/>
                <a:gd name="connsiteX152" fmla="*/ 543541 w 1108203"/>
                <a:gd name="connsiteY152" fmla="*/ 213397 h 697375"/>
                <a:gd name="connsiteX153" fmla="*/ 516550 w 1108203"/>
                <a:gd name="connsiteY153" fmla="*/ 223992 h 697375"/>
                <a:gd name="connsiteX154" fmla="*/ 493454 w 1108203"/>
                <a:gd name="connsiteY154" fmla="*/ 231880 h 697375"/>
                <a:gd name="connsiteX155" fmla="*/ 484524 w 1108203"/>
                <a:gd name="connsiteY155" fmla="*/ 241372 h 697375"/>
                <a:gd name="connsiteX156" fmla="*/ 460170 w 1108203"/>
                <a:gd name="connsiteY156" fmla="*/ 237495 h 697375"/>
                <a:gd name="connsiteX157" fmla="*/ 424776 w 1108203"/>
                <a:gd name="connsiteY157" fmla="*/ 222221 h 697375"/>
                <a:gd name="connsiteX158" fmla="*/ 407282 w 1108203"/>
                <a:gd name="connsiteY158" fmla="*/ 221853 h 697375"/>
                <a:gd name="connsiteX159" fmla="*/ 380818 w 1108203"/>
                <a:gd name="connsiteY159" fmla="*/ 212695 h 697375"/>
                <a:gd name="connsiteX160" fmla="*/ 365597 w 1108203"/>
                <a:gd name="connsiteY160" fmla="*/ 208049 h 697375"/>
                <a:gd name="connsiteX161" fmla="*/ 351958 w 1108203"/>
                <a:gd name="connsiteY161" fmla="*/ 194078 h 697375"/>
                <a:gd name="connsiteX162" fmla="*/ 341161 w 1108203"/>
                <a:gd name="connsiteY162" fmla="*/ 182079 h 697375"/>
                <a:gd name="connsiteX163" fmla="*/ 321313 w 1108203"/>
                <a:gd name="connsiteY163" fmla="*/ 190201 h 697375"/>
                <a:gd name="connsiteX164" fmla="*/ 322652 w 1108203"/>
                <a:gd name="connsiteY164" fmla="*/ 202534 h 697375"/>
                <a:gd name="connsiteX165" fmla="*/ 321841 w 1108203"/>
                <a:gd name="connsiteY165" fmla="*/ 221652 h 697375"/>
                <a:gd name="connsiteX166" fmla="*/ 336250 w 1108203"/>
                <a:gd name="connsiteY166" fmla="*/ 248625 h 697375"/>
                <a:gd name="connsiteX167" fmla="*/ 345951 w 1108203"/>
                <a:gd name="connsiteY167" fmla="*/ 277871 h 697375"/>
                <a:gd name="connsiteX168" fmla="*/ 365758 w 1108203"/>
                <a:gd name="connsiteY168" fmla="*/ 288500 h 697375"/>
                <a:gd name="connsiteX169" fmla="*/ 379437 w 1108203"/>
                <a:gd name="connsiteY169" fmla="*/ 297323 h 697375"/>
                <a:gd name="connsiteX170" fmla="*/ 417023 w 1108203"/>
                <a:gd name="connsiteY170" fmla="*/ 311194 h 697375"/>
                <a:gd name="connsiteX171" fmla="*/ 442433 w 1108203"/>
                <a:gd name="connsiteY171" fmla="*/ 330981 h 697375"/>
                <a:gd name="connsiteX172" fmla="*/ 482413 w 1108203"/>
                <a:gd name="connsiteY172" fmla="*/ 329176 h 697375"/>
                <a:gd name="connsiteX173" fmla="*/ 508188 w 1108203"/>
                <a:gd name="connsiteY173" fmla="*/ 308654 h 697375"/>
                <a:gd name="connsiteX174" fmla="*/ 489477 w 1108203"/>
                <a:gd name="connsiteY174" fmla="*/ 458091 h 697375"/>
                <a:gd name="connsiteX175" fmla="*/ 511881 w 1108203"/>
                <a:gd name="connsiteY175" fmla="*/ 478646 h 697375"/>
                <a:gd name="connsiteX176" fmla="*/ 530147 w 1108203"/>
                <a:gd name="connsiteY176" fmla="*/ 481320 h 697375"/>
                <a:gd name="connsiteX177" fmla="*/ 507214 w 1108203"/>
                <a:gd name="connsiteY177" fmla="*/ 463840 h 697375"/>
                <a:gd name="connsiteX178" fmla="*/ 489477 w 1108203"/>
                <a:gd name="connsiteY178" fmla="*/ 458091 h 697375"/>
                <a:gd name="connsiteX179" fmla="*/ 489395 w 1108203"/>
                <a:gd name="connsiteY179" fmla="*/ 458091 h 697375"/>
                <a:gd name="connsiteX180" fmla="*/ 465650 w 1108203"/>
                <a:gd name="connsiteY180" fmla="*/ 421024 h 697375"/>
                <a:gd name="connsiteX181" fmla="*/ 425060 w 1108203"/>
                <a:gd name="connsiteY181" fmla="*/ 414540 h 697375"/>
                <a:gd name="connsiteX182" fmla="*/ 467842 w 1108203"/>
                <a:gd name="connsiteY182" fmla="*/ 436499 h 697375"/>
                <a:gd name="connsiteX183" fmla="*/ 496458 w 1108203"/>
                <a:gd name="connsiteY183" fmla="*/ 436499 h 697375"/>
                <a:gd name="connsiteX184" fmla="*/ 465772 w 1108203"/>
                <a:gd name="connsiteY184" fmla="*/ 421024 h 69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108203" h="697375">
                  <a:moveTo>
                    <a:pt x="37428" y="134216"/>
                  </a:moveTo>
                  <a:cubicBezTo>
                    <a:pt x="34790" y="136088"/>
                    <a:pt x="38930" y="148221"/>
                    <a:pt x="45546" y="147151"/>
                  </a:cubicBezTo>
                  <a:cubicBezTo>
                    <a:pt x="52162" y="146082"/>
                    <a:pt x="45871" y="128334"/>
                    <a:pt x="37428" y="134216"/>
                  </a:cubicBezTo>
                  <a:close/>
                  <a:moveTo>
                    <a:pt x="276177" y="248258"/>
                  </a:moveTo>
                  <a:cubicBezTo>
                    <a:pt x="278369" y="244080"/>
                    <a:pt x="257546" y="239033"/>
                    <a:pt x="260428" y="247021"/>
                  </a:cubicBezTo>
                  <a:cubicBezTo>
                    <a:pt x="261565" y="250731"/>
                    <a:pt x="266152" y="252970"/>
                    <a:pt x="270657" y="252035"/>
                  </a:cubicBezTo>
                  <a:cubicBezTo>
                    <a:pt x="273092" y="251500"/>
                    <a:pt x="275122" y="250129"/>
                    <a:pt x="276177" y="248258"/>
                  </a:cubicBezTo>
                  <a:close/>
                  <a:moveTo>
                    <a:pt x="17823" y="81608"/>
                  </a:moveTo>
                  <a:cubicBezTo>
                    <a:pt x="14089" y="85819"/>
                    <a:pt x="16403" y="102197"/>
                    <a:pt x="28458" y="99523"/>
                  </a:cubicBezTo>
                  <a:cubicBezTo>
                    <a:pt x="40513" y="96849"/>
                    <a:pt x="21517" y="77463"/>
                    <a:pt x="17823" y="81608"/>
                  </a:cubicBezTo>
                  <a:close/>
                  <a:moveTo>
                    <a:pt x="557424" y="369351"/>
                  </a:moveTo>
                  <a:cubicBezTo>
                    <a:pt x="576013" y="377875"/>
                    <a:pt x="522679" y="413069"/>
                    <a:pt x="558559" y="407554"/>
                  </a:cubicBezTo>
                  <a:cubicBezTo>
                    <a:pt x="574795" y="405114"/>
                    <a:pt x="566353" y="395923"/>
                    <a:pt x="569722" y="387500"/>
                  </a:cubicBezTo>
                  <a:cubicBezTo>
                    <a:pt x="571832" y="382219"/>
                    <a:pt x="578895" y="362667"/>
                    <a:pt x="592818" y="369986"/>
                  </a:cubicBezTo>
                  <a:cubicBezTo>
                    <a:pt x="608810" y="378409"/>
                    <a:pt x="587663" y="381852"/>
                    <a:pt x="595172" y="390776"/>
                  </a:cubicBezTo>
                  <a:cubicBezTo>
                    <a:pt x="605522" y="403109"/>
                    <a:pt x="590220" y="408591"/>
                    <a:pt x="615466" y="412902"/>
                  </a:cubicBezTo>
                  <a:cubicBezTo>
                    <a:pt x="644407" y="417883"/>
                    <a:pt x="622367" y="403443"/>
                    <a:pt x="632717" y="394319"/>
                  </a:cubicBezTo>
                  <a:cubicBezTo>
                    <a:pt x="639171" y="388670"/>
                    <a:pt x="637304" y="386297"/>
                    <a:pt x="631743" y="378576"/>
                  </a:cubicBezTo>
                  <a:cubicBezTo>
                    <a:pt x="629024" y="374766"/>
                    <a:pt x="623382" y="364004"/>
                    <a:pt x="635031" y="367145"/>
                  </a:cubicBezTo>
                  <a:cubicBezTo>
                    <a:pt x="651023" y="371390"/>
                    <a:pt x="708093" y="371323"/>
                    <a:pt x="667503" y="358221"/>
                  </a:cubicBezTo>
                  <a:cubicBezTo>
                    <a:pt x="656300" y="354578"/>
                    <a:pt x="638400" y="349665"/>
                    <a:pt x="628334" y="352807"/>
                  </a:cubicBezTo>
                  <a:cubicBezTo>
                    <a:pt x="616157" y="356583"/>
                    <a:pt x="605807" y="348963"/>
                    <a:pt x="601626" y="338936"/>
                  </a:cubicBezTo>
                  <a:cubicBezTo>
                    <a:pt x="589449" y="309423"/>
                    <a:pt x="649115" y="327472"/>
                    <a:pt x="669207" y="335961"/>
                  </a:cubicBezTo>
                  <a:cubicBezTo>
                    <a:pt x="681750" y="341209"/>
                    <a:pt x="693318" y="351503"/>
                    <a:pt x="705738" y="355681"/>
                  </a:cubicBezTo>
                  <a:cubicBezTo>
                    <a:pt x="712151" y="357820"/>
                    <a:pt x="758992" y="357286"/>
                    <a:pt x="752497" y="351002"/>
                  </a:cubicBezTo>
                  <a:cubicBezTo>
                    <a:pt x="748155" y="346824"/>
                    <a:pt x="724085" y="348227"/>
                    <a:pt x="718687" y="348027"/>
                  </a:cubicBezTo>
                  <a:cubicBezTo>
                    <a:pt x="706307" y="347559"/>
                    <a:pt x="691735" y="338802"/>
                    <a:pt x="681790" y="332953"/>
                  </a:cubicBezTo>
                  <a:cubicBezTo>
                    <a:pt x="671846" y="327104"/>
                    <a:pt x="658411" y="314537"/>
                    <a:pt x="646964" y="311963"/>
                  </a:cubicBezTo>
                  <a:cubicBezTo>
                    <a:pt x="641079" y="310659"/>
                    <a:pt x="636168" y="312464"/>
                    <a:pt x="630728" y="312699"/>
                  </a:cubicBezTo>
                  <a:cubicBezTo>
                    <a:pt x="625290" y="312932"/>
                    <a:pt x="619039" y="310058"/>
                    <a:pt x="613721" y="311027"/>
                  </a:cubicBezTo>
                  <a:cubicBezTo>
                    <a:pt x="604792" y="312699"/>
                    <a:pt x="600652" y="319483"/>
                    <a:pt x="595253" y="323795"/>
                  </a:cubicBezTo>
                  <a:cubicBezTo>
                    <a:pt x="589855" y="328107"/>
                    <a:pt x="582224" y="328541"/>
                    <a:pt x="576784" y="332652"/>
                  </a:cubicBezTo>
                  <a:cubicBezTo>
                    <a:pt x="562943" y="343047"/>
                    <a:pt x="520690" y="352707"/>
                    <a:pt x="557504" y="369418"/>
                  </a:cubicBezTo>
                  <a:close/>
                  <a:moveTo>
                    <a:pt x="204293" y="250297"/>
                  </a:moveTo>
                  <a:cubicBezTo>
                    <a:pt x="205713" y="246553"/>
                    <a:pt x="214968" y="231379"/>
                    <a:pt x="223370" y="233217"/>
                  </a:cubicBezTo>
                  <a:cubicBezTo>
                    <a:pt x="231122" y="234888"/>
                    <a:pt x="240783" y="237161"/>
                    <a:pt x="236683" y="227869"/>
                  </a:cubicBezTo>
                  <a:cubicBezTo>
                    <a:pt x="234776" y="223524"/>
                    <a:pt x="231610" y="217842"/>
                    <a:pt x="229133" y="213497"/>
                  </a:cubicBezTo>
                  <a:cubicBezTo>
                    <a:pt x="226333" y="208383"/>
                    <a:pt x="205794" y="199426"/>
                    <a:pt x="208838" y="207848"/>
                  </a:cubicBezTo>
                  <a:cubicBezTo>
                    <a:pt x="210462" y="212662"/>
                    <a:pt x="228119" y="217408"/>
                    <a:pt x="219514" y="222689"/>
                  </a:cubicBezTo>
                  <a:cubicBezTo>
                    <a:pt x="212979" y="219714"/>
                    <a:pt x="206768" y="216305"/>
                    <a:pt x="200924" y="212461"/>
                  </a:cubicBezTo>
                  <a:cubicBezTo>
                    <a:pt x="198325" y="210289"/>
                    <a:pt x="199584" y="207548"/>
                    <a:pt x="198894" y="205309"/>
                  </a:cubicBezTo>
                  <a:cubicBezTo>
                    <a:pt x="197758" y="201732"/>
                    <a:pt x="192765" y="201064"/>
                    <a:pt x="189518" y="198624"/>
                  </a:cubicBezTo>
                  <a:cubicBezTo>
                    <a:pt x="182577" y="193109"/>
                    <a:pt x="187976" y="185655"/>
                    <a:pt x="180304" y="180341"/>
                  </a:cubicBezTo>
                  <a:cubicBezTo>
                    <a:pt x="174012" y="175929"/>
                    <a:pt x="160496" y="171584"/>
                    <a:pt x="172186" y="166771"/>
                  </a:cubicBezTo>
                  <a:cubicBezTo>
                    <a:pt x="181237" y="163061"/>
                    <a:pt x="181115" y="162493"/>
                    <a:pt x="174418" y="154571"/>
                  </a:cubicBezTo>
                  <a:cubicBezTo>
                    <a:pt x="170075" y="149357"/>
                    <a:pt x="173363" y="144177"/>
                    <a:pt x="165773" y="140366"/>
                  </a:cubicBezTo>
                  <a:cubicBezTo>
                    <a:pt x="163012" y="138963"/>
                    <a:pt x="159116" y="137225"/>
                    <a:pt x="160293" y="134851"/>
                  </a:cubicBezTo>
                  <a:cubicBezTo>
                    <a:pt x="162241" y="130941"/>
                    <a:pt x="153028" y="126395"/>
                    <a:pt x="150876" y="122451"/>
                  </a:cubicBezTo>
                  <a:cubicBezTo>
                    <a:pt x="148157" y="117337"/>
                    <a:pt x="145478" y="118240"/>
                    <a:pt x="140120" y="115432"/>
                  </a:cubicBezTo>
                  <a:cubicBezTo>
                    <a:pt x="134762" y="112625"/>
                    <a:pt x="133261" y="107377"/>
                    <a:pt x="128471" y="104169"/>
                  </a:cubicBezTo>
                  <a:cubicBezTo>
                    <a:pt x="118404" y="97484"/>
                    <a:pt x="111707" y="99222"/>
                    <a:pt x="105822" y="88794"/>
                  </a:cubicBezTo>
                  <a:cubicBezTo>
                    <a:pt x="101763" y="81407"/>
                    <a:pt x="101763" y="76360"/>
                    <a:pt x="94619" y="69408"/>
                  </a:cubicBezTo>
                  <a:cubicBezTo>
                    <a:pt x="86501" y="61754"/>
                    <a:pt x="76962" y="54368"/>
                    <a:pt x="71036" y="46012"/>
                  </a:cubicBezTo>
                  <a:cubicBezTo>
                    <a:pt x="66368" y="39561"/>
                    <a:pt x="68114" y="33946"/>
                    <a:pt x="59346" y="28063"/>
                  </a:cubicBezTo>
                  <a:cubicBezTo>
                    <a:pt x="48834" y="21011"/>
                    <a:pt x="34465" y="19473"/>
                    <a:pt x="23628" y="13156"/>
                  </a:cubicBezTo>
                  <a:cubicBezTo>
                    <a:pt x="18026" y="9814"/>
                    <a:pt x="12952" y="2160"/>
                    <a:pt x="6498" y="121"/>
                  </a:cubicBezTo>
                  <a:cubicBezTo>
                    <a:pt x="-4177" y="-3221"/>
                    <a:pt x="1141" y="12688"/>
                    <a:pt x="2196" y="14861"/>
                  </a:cubicBezTo>
                  <a:cubicBezTo>
                    <a:pt x="9340" y="29433"/>
                    <a:pt x="27077" y="41232"/>
                    <a:pt x="33816" y="55470"/>
                  </a:cubicBezTo>
                  <a:cubicBezTo>
                    <a:pt x="36779" y="61721"/>
                    <a:pt x="39011" y="69742"/>
                    <a:pt x="47048" y="74923"/>
                  </a:cubicBezTo>
                  <a:cubicBezTo>
                    <a:pt x="55085" y="80104"/>
                    <a:pt x="58048" y="82610"/>
                    <a:pt x="59225" y="90030"/>
                  </a:cubicBezTo>
                  <a:cubicBezTo>
                    <a:pt x="60442" y="99656"/>
                    <a:pt x="55815" y="110920"/>
                    <a:pt x="67343" y="119443"/>
                  </a:cubicBezTo>
                  <a:cubicBezTo>
                    <a:pt x="82564" y="130707"/>
                    <a:pt x="88368" y="152299"/>
                    <a:pt x="88368" y="164933"/>
                  </a:cubicBezTo>
                  <a:cubicBezTo>
                    <a:pt x="88368" y="181411"/>
                    <a:pt x="107323" y="191671"/>
                    <a:pt x="112722" y="207514"/>
                  </a:cubicBezTo>
                  <a:cubicBezTo>
                    <a:pt x="117918" y="222388"/>
                    <a:pt x="139917" y="233885"/>
                    <a:pt x="147223" y="248024"/>
                  </a:cubicBezTo>
                  <a:cubicBezTo>
                    <a:pt x="148157" y="249862"/>
                    <a:pt x="150308" y="263265"/>
                    <a:pt x="156234" y="260391"/>
                  </a:cubicBezTo>
                  <a:cubicBezTo>
                    <a:pt x="162160" y="257516"/>
                    <a:pt x="174337" y="265738"/>
                    <a:pt x="179289" y="268312"/>
                  </a:cubicBezTo>
                  <a:cubicBezTo>
                    <a:pt x="193577" y="275799"/>
                    <a:pt x="202142" y="256513"/>
                    <a:pt x="204536" y="250297"/>
                  </a:cubicBezTo>
                  <a:cubicBezTo>
                    <a:pt x="206931" y="243545"/>
                    <a:pt x="201776" y="257048"/>
                    <a:pt x="204373" y="250297"/>
                  </a:cubicBezTo>
                  <a:close/>
                  <a:moveTo>
                    <a:pt x="825316" y="408022"/>
                  </a:moveTo>
                  <a:cubicBezTo>
                    <a:pt x="841552" y="416445"/>
                    <a:pt x="848249" y="399265"/>
                    <a:pt x="832500" y="393049"/>
                  </a:cubicBezTo>
                  <a:cubicBezTo>
                    <a:pt x="825640" y="390341"/>
                    <a:pt x="835057" y="367045"/>
                    <a:pt x="812205" y="377975"/>
                  </a:cubicBezTo>
                  <a:cubicBezTo>
                    <a:pt x="800515" y="383657"/>
                    <a:pt x="797349" y="399566"/>
                    <a:pt x="802667" y="410730"/>
                  </a:cubicBezTo>
                  <a:cubicBezTo>
                    <a:pt x="808958" y="424099"/>
                    <a:pt x="812977" y="401672"/>
                    <a:pt x="825154" y="408022"/>
                  </a:cubicBezTo>
                  <a:close/>
                  <a:moveTo>
                    <a:pt x="727901" y="436366"/>
                  </a:moveTo>
                  <a:cubicBezTo>
                    <a:pt x="726277" y="444788"/>
                    <a:pt x="745151" y="458258"/>
                    <a:pt x="755136" y="454682"/>
                  </a:cubicBezTo>
                  <a:cubicBezTo>
                    <a:pt x="765121" y="451105"/>
                    <a:pt x="729849" y="426573"/>
                    <a:pt x="727941" y="436366"/>
                  </a:cubicBezTo>
                  <a:close/>
                  <a:moveTo>
                    <a:pt x="621433" y="486501"/>
                  </a:moveTo>
                  <a:cubicBezTo>
                    <a:pt x="611854" y="481220"/>
                    <a:pt x="601138" y="479415"/>
                    <a:pt x="590463" y="476908"/>
                  </a:cubicBezTo>
                  <a:cubicBezTo>
                    <a:pt x="578287" y="474067"/>
                    <a:pt x="571630" y="469388"/>
                    <a:pt x="561807" y="463539"/>
                  </a:cubicBezTo>
                  <a:cubicBezTo>
                    <a:pt x="557302" y="460765"/>
                    <a:pt x="510014" y="444120"/>
                    <a:pt x="519228" y="453980"/>
                  </a:cubicBezTo>
                  <a:cubicBezTo>
                    <a:pt x="531690" y="467349"/>
                    <a:pt x="566069" y="477744"/>
                    <a:pt x="585390" y="481621"/>
                  </a:cubicBezTo>
                  <a:cubicBezTo>
                    <a:pt x="595943" y="483626"/>
                    <a:pt x="606334" y="486334"/>
                    <a:pt x="616359" y="489743"/>
                  </a:cubicBezTo>
                  <a:cubicBezTo>
                    <a:pt x="626345" y="493086"/>
                    <a:pt x="635802" y="494489"/>
                    <a:pt x="621433" y="486601"/>
                  </a:cubicBezTo>
                  <a:close/>
                  <a:moveTo>
                    <a:pt x="831932" y="474803"/>
                  </a:moveTo>
                  <a:cubicBezTo>
                    <a:pt x="819796" y="466079"/>
                    <a:pt x="805345" y="459762"/>
                    <a:pt x="789719" y="456420"/>
                  </a:cubicBezTo>
                  <a:cubicBezTo>
                    <a:pt x="786268" y="455751"/>
                    <a:pt x="779855" y="454882"/>
                    <a:pt x="779612" y="458058"/>
                  </a:cubicBezTo>
                  <a:cubicBezTo>
                    <a:pt x="779084" y="464742"/>
                    <a:pt x="796903" y="470290"/>
                    <a:pt x="803763" y="473132"/>
                  </a:cubicBezTo>
                  <a:cubicBezTo>
                    <a:pt x="819592" y="479817"/>
                    <a:pt x="825154" y="491347"/>
                    <a:pt x="838710" y="497564"/>
                  </a:cubicBezTo>
                  <a:cubicBezTo>
                    <a:pt x="852267" y="503781"/>
                    <a:pt x="836032" y="477777"/>
                    <a:pt x="831932" y="474803"/>
                  </a:cubicBezTo>
                  <a:cubicBezTo>
                    <a:pt x="815169" y="462637"/>
                    <a:pt x="848776" y="487236"/>
                    <a:pt x="831973" y="474903"/>
                  </a:cubicBezTo>
                  <a:close/>
                  <a:moveTo>
                    <a:pt x="392792" y="387333"/>
                  </a:moveTo>
                  <a:cubicBezTo>
                    <a:pt x="396039" y="379479"/>
                    <a:pt x="309501" y="356283"/>
                    <a:pt x="373390" y="364705"/>
                  </a:cubicBezTo>
                  <a:cubicBezTo>
                    <a:pt x="394780" y="367580"/>
                    <a:pt x="381792" y="360394"/>
                    <a:pt x="368478" y="356985"/>
                  </a:cubicBezTo>
                  <a:cubicBezTo>
                    <a:pt x="343353" y="350567"/>
                    <a:pt x="331419" y="345855"/>
                    <a:pt x="311084" y="332619"/>
                  </a:cubicBezTo>
                  <a:cubicBezTo>
                    <a:pt x="302966" y="327305"/>
                    <a:pt x="299151" y="332619"/>
                    <a:pt x="288841" y="327873"/>
                  </a:cubicBezTo>
                  <a:cubicBezTo>
                    <a:pt x="274756" y="321456"/>
                    <a:pt x="262133" y="313066"/>
                    <a:pt x="251498" y="303139"/>
                  </a:cubicBezTo>
                  <a:cubicBezTo>
                    <a:pt x="243137" y="294449"/>
                    <a:pt x="226698" y="286427"/>
                    <a:pt x="213466" y="282082"/>
                  </a:cubicBezTo>
                  <a:cubicBezTo>
                    <a:pt x="207012" y="279876"/>
                    <a:pt x="198042" y="277503"/>
                    <a:pt x="192521" y="280044"/>
                  </a:cubicBezTo>
                  <a:cubicBezTo>
                    <a:pt x="189721" y="281314"/>
                    <a:pt x="176854" y="280545"/>
                    <a:pt x="176285" y="281815"/>
                  </a:cubicBezTo>
                  <a:cubicBezTo>
                    <a:pt x="170806" y="293480"/>
                    <a:pt x="195972" y="289670"/>
                    <a:pt x="196987" y="300098"/>
                  </a:cubicBezTo>
                  <a:cubicBezTo>
                    <a:pt x="197798" y="308554"/>
                    <a:pt x="218701" y="316208"/>
                    <a:pt x="228566" y="320854"/>
                  </a:cubicBezTo>
                  <a:cubicBezTo>
                    <a:pt x="240255" y="326335"/>
                    <a:pt x="248657" y="324196"/>
                    <a:pt x="259373" y="328976"/>
                  </a:cubicBezTo>
                  <a:cubicBezTo>
                    <a:pt x="278450" y="337599"/>
                    <a:pt x="286567" y="350567"/>
                    <a:pt x="302682" y="360628"/>
                  </a:cubicBezTo>
                  <a:cubicBezTo>
                    <a:pt x="317010" y="369519"/>
                    <a:pt x="333044" y="376404"/>
                    <a:pt x="350091" y="381016"/>
                  </a:cubicBezTo>
                  <a:cubicBezTo>
                    <a:pt x="360117" y="383623"/>
                    <a:pt x="366693" y="389940"/>
                    <a:pt x="375663" y="393784"/>
                  </a:cubicBezTo>
                  <a:cubicBezTo>
                    <a:pt x="382319" y="396625"/>
                    <a:pt x="385241" y="392681"/>
                    <a:pt x="390965" y="397695"/>
                  </a:cubicBezTo>
                  <a:cubicBezTo>
                    <a:pt x="394821" y="401906"/>
                    <a:pt x="400179" y="404948"/>
                    <a:pt x="406307" y="406418"/>
                  </a:cubicBezTo>
                  <a:cubicBezTo>
                    <a:pt x="408216" y="406752"/>
                    <a:pt x="421326" y="407688"/>
                    <a:pt x="416536" y="403443"/>
                  </a:cubicBezTo>
                  <a:cubicBezTo>
                    <a:pt x="412477" y="399767"/>
                    <a:pt x="390843" y="392180"/>
                    <a:pt x="392832" y="387333"/>
                  </a:cubicBezTo>
                  <a:cubicBezTo>
                    <a:pt x="395186" y="381651"/>
                    <a:pt x="390437" y="393216"/>
                    <a:pt x="392832" y="387434"/>
                  </a:cubicBezTo>
                  <a:close/>
                  <a:moveTo>
                    <a:pt x="1036951" y="545594"/>
                  </a:moveTo>
                  <a:cubicBezTo>
                    <a:pt x="1029604" y="542252"/>
                    <a:pt x="1022948" y="545594"/>
                    <a:pt x="1017386" y="546964"/>
                  </a:cubicBezTo>
                  <a:cubicBezTo>
                    <a:pt x="1009918" y="548802"/>
                    <a:pt x="1002003" y="544558"/>
                    <a:pt x="993601" y="544424"/>
                  </a:cubicBezTo>
                  <a:cubicBezTo>
                    <a:pt x="982033" y="544223"/>
                    <a:pt x="950130" y="548335"/>
                    <a:pt x="947572" y="533896"/>
                  </a:cubicBezTo>
                  <a:cubicBezTo>
                    <a:pt x="943229" y="509530"/>
                    <a:pt x="970627" y="497831"/>
                    <a:pt x="934827" y="474168"/>
                  </a:cubicBezTo>
                  <a:cubicBezTo>
                    <a:pt x="928251" y="469622"/>
                    <a:pt x="920986" y="465812"/>
                    <a:pt x="913193" y="462871"/>
                  </a:cubicBezTo>
                  <a:cubicBezTo>
                    <a:pt x="903208" y="459328"/>
                    <a:pt x="901381" y="464241"/>
                    <a:pt x="892492" y="463105"/>
                  </a:cubicBezTo>
                  <a:cubicBezTo>
                    <a:pt x="886281" y="462302"/>
                    <a:pt x="877270" y="457590"/>
                    <a:pt x="873130" y="461467"/>
                  </a:cubicBezTo>
                  <a:cubicBezTo>
                    <a:pt x="866514" y="467650"/>
                    <a:pt x="882710" y="469522"/>
                    <a:pt x="888149" y="474268"/>
                  </a:cubicBezTo>
                  <a:cubicBezTo>
                    <a:pt x="894319" y="479716"/>
                    <a:pt x="887824" y="485131"/>
                    <a:pt x="891802" y="490545"/>
                  </a:cubicBezTo>
                  <a:cubicBezTo>
                    <a:pt x="896308" y="496695"/>
                    <a:pt x="909418" y="500806"/>
                    <a:pt x="917333" y="503714"/>
                  </a:cubicBezTo>
                  <a:cubicBezTo>
                    <a:pt x="921392" y="505252"/>
                    <a:pt x="938196" y="509697"/>
                    <a:pt x="934421" y="514510"/>
                  </a:cubicBezTo>
                  <a:cubicBezTo>
                    <a:pt x="931702" y="517852"/>
                    <a:pt x="917860" y="506856"/>
                    <a:pt x="911934" y="506488"/>
                  </a:cubicBezTo>
                  <a:cubicBezTo>
                    <a:pt x="903167" y="505920"/>
                    <a:pt x="899311" y="501408"/>
                    <a:pt x="891355" y="497999"/>
                  </a:cubicBezTo>
                  <a:cubicBezTo>
                    <a:pt x="878366" y="492417"/>
                    <a:pt x="890097" y="505285"/>
                    <a:pt x="891761" y="508728"/>
                  </a:cubicBezTo>
                  <a:cubicBezTo>
                    <a:pt x="894521" y="514376"/>
                    <a:pt x="887946" y="520125"/>
                    <a:pt x="892208" y="524971"/>
                  </a:cubicBezTo>
                  <a:cubicBezTo>
                    <a:pt x="899311" y="533094"/>
                    <a:pt x="905075" y="527278"/>
                    <a:pt x="910230" y="525874"/>
                  </a:cubicBezTo>
                  <a:cubicBezTo>
                    <a:pt x="915385" y="524470"/>
                    <a:pt x="936979" y="552245"/>
                    <a:pt x="939982" y="555955"/>
                  </a:cubicBezTo>
                  <a:cubicBezTo>
                    <a:pt x="944487" y="561437"/>
                    <a:pt x="958369" y="567386"/>
                    <a:pt x="964945" y="572099"/>
                  </a:cubicBezTo>
                  <a:cubicBezTo>
                    <a:pt x="975051" y="579285"/>
                    <a:pt x="984550" y="587006"/>
                    <a:pt x="993357" y="595261"/>
                  </a:cubicBezTo>
                  <a:cubicBezTo>
                    <a:pt x="999487" y="601010"/>
                    <a:pt x="1006549" y="607695"/>
                    <a:pt x="1009106" y="614280"/>
                  </a:cubicBezTo>
                  <a:cubicBezTo>
                    <a:pt x="1011948" y="621499"/>
                    <a:pt x="1004195" y="625543"/>
                    <a:pt x="1007564" y="632896"/>
                  </a:cubicBezTo>
                  <a:cubicBezTo>
                    <a:pt x="1019741" y="659301"/>
                    <a:pt x="986010" y="636673"/>
                    <a:pt x="969571" y="642121"/>
                  </a:cubicBezTo>
                  <a:cubicBezTo>
                    <a:pt x="955041" y="646901"/>
                    <a:pt x="993073" y="659836"/>
                    <a:pt x="998716" y="662175"/>
                  </a:cubicBezTo>
                  <a:cubicBezTo>
                    <a:pt x="1006915" y="665117"/>
                    <a:pt x="1014951" y="668359"/>
                    <a:pt x="1022785" y="671969"/>
                  </a:cubicBezTo>
                  <a:cubicBezTo>
                    <a:pt x="1031593" y="676414"/>
                    <a:pt x="1034596" y="690819"/>
                    <a:pt x="1039305" y="697036"/>
                  </a:cubicBezTo>
                  <a:cubicBezTo>
                    <a:pt x="1056109" y="674743"/>
                    <a:pt x="1072914" y="652482"/>
                    <a:pt x="1089758" y="630189"/>
                  </a:cubicBezTo>
                  <a:cubicBezTo>
                    <a:pt x="1095887" y="622067"/>
                    <a:pt x="1102016" y="613945"/>
                    <a:pt x="1108105" y="605790"/>
                  </a:cubicBezTo>
                  <a:cubicBezTo>
                    <a:pt x="1109931" y="603517"/>
                    <a:pt x="1047017" y="550106"/>
                    <a:pt x="1036951" y="545828"/>
                  </a:cubicBezTo>
                  <a:close/>
                  <a:moveTo>
                    <a:pt x="644692" y="510466"/>
                  </a:moveTo>
                  <a:cubicBezTo>
                    <a:pt x="635680" y="510265"/>
                    <a:pt x="626791" y="514042"/>
                    <a:pt x="622651" y="505653"/>
                  </a:cubicBezTo>
                  <a:cubicBezTo>
                    <a:pt x="613396" y="504249"/>
                    <a:pt x="599881" y="505653"/>
                    <a:pt x="598014" y="512338"/>
                  </a:cubicBezTo>
                  <a:cubicBezTo>
                    <a:pt x="593264" y="529049"/>
                    <a:pt x="642459" y="518421"/>
                    <a:pt x="649278" y="519022"/>
                  </a:cubicBezTo>
                  <a:cubicBezTo>
                    <a:pt x="648263" y="516048"/>
                    <a:pt x="646681" y="513207"/>
                    <a:pt x="644692" y="510599"/>
                  </a:cubicBezTo>
                  <a:cubicBezTo>
                    <a:pt x="641768" y="510399"/>
                    <a:pt x="646437" y="512739"/>
                    <a:pt x="644611" y="510466"/>
                  </a:cubicBezTo>
                  <a:close/>
                  <a:moveTo>
                    <a:pt x="508432" y="308654"/>
                  </a:moveTo>
                  <a:cubicBezTo>
                    <a:pt x="533150" y="309289"/>
                    <a:pt x="528442" y="286494"/>
                    <a:pt x="548210" y="287597"/>
                  </a:cubicBezTo>
                  <a:cubicBezTo>
                    <a:pt x="557951" y="288132"/>
                    <a:pt x="594685" y="300967"/>
                    <a:pt x="584741" y="285859"/>
                  </a:cubicBezTo>
                  <a:cubicBezTo>
                    <a:pt x="581209" y="280445"/>
                    <a:pt x="568748" y="272991"/>
                    <a:pt x="570980" y="267643"/>
                  </a:cubicBezTo>
                  <a:cubicBezTo>
                    <a:pt x="574146" y="260190"/>
                    <a:pt x="569601" y="256313"/>
                    <a:pt x="566921" y="248124"/>
                  </a:cubicBezTo>
                  <a:cubicBezTo>
                    <a:pt x="563836" y="238097"/>
                    <a:pt x="575039" y="245183"/>
                    <a:pt x="576257" y="240904"/>
                  </a:cubicBezTo>
                  <a:cubicBezTo>
                    <a:pt x="577719" y="235356"/>
                    <a:pt x="572198" y="230075"/>
                    <a:pt x="584659" y="231245"/>
                  </a:cubicBezTo>
                  <a:cubicBezTo>
                    <a:pt x="573091" y="222455"/>
                    <a:pt x="558885" y="216305"/>
                    <a:pt x="543541" y="213397"/>
                  </a:cubicBezTo>
                  <a:cubicBezTo>
                    <a:pt x="525642" y="210255"/>
                    <a:pt x="531365" y="224895"/>
                    <a:pt x="516550" y="223992"/>
                  </a:cubicBezTo>
                  <a:cubicBezTo>
                    <a:pt x="504373" y="223257"/>
                    <a:pt x="502506" y="227903"/>
                    <a:pt x="493454" y="231880"/>
                  </a:cubicBezTo>
                  <a:cubicBezTo>
                    <a:pt x="488664" y="233986"/>
                    <a:pt x="489841" y="240102"/>
                    <a:pt x="484524" y="241372"/>
                  </a:cubicBezTo>
                  <a:cubicBezTo>
                    <a:pt x="479207" y="242642"/>
                    <a:pt x="466502" y="238030"/>
                    <a:pt x="460170" y="237495"/>
                  </a:cubicBezTo>
                  <a:cubicBezTo>
                    <a:pt x="444989" y="236359"/>
                    <a:pt x="442433" y="224126"/>
                    <a:pt x="424776" y="222221"/>
                  </a:cubicBezTo>
                  <a:cubicBezTo>
                    <a:pt x="418769" y="221586"/>
                    <a:pt x="413410" y="222856"/>
                    <a:pt x="407282" y="221853"/>
                  </a:cubicBezTo>
                  <a:cubicBezTo>
                    <a:pt x="398150" y="220416"/>
                    <a:pt x="389504" y="215536"/>
                    <a:pt x="380818" y="212695"/>
                  </a:cubicBezTo>
                  <a:cubicBezTo>
                    <a:pt x="375338" y="210924"/>
                    <a:pt x="369656" y="211859"/>
                    <a:pt x="365597" y="208049"/>
                  </a:cubicBezTo>
                  <a:cubicBezTo>
                    <a:pt x="362430" y="205074"/>
                    <a:pt x="353054" y="197186"/>
                    <a:pt x="351958" y="194078"/>
                  </a:cubicBezTo>
                  <a:cubicBezTo>
                    <a:pt x="349807" y="187962"/>
                    <a:pt x="355287" y="180709"/>
                    <a:pt x="341161" y="182079"/>
                  </a:cubicBezTo>
                  <a:cubicBezTo>
                    <a:pt x="333571" y="182681"/>
                    <a:pt x="326508" y="185589"/>
                    <a:pt x="321313" y="190201"/>
                  </a:cubicBezTo>
                  <a:cubicBezTo>
                    <a:pt x="317050" y="194479"/>
                    <a:pt x="320623" y="197320"/>
                    <a:pt x="322652" y="202534"/>
                  </a:cubicBezTo>
                  <a:cubicBezTo>
                    <a:pt x="325331" y="209453"/>
                    <a:pt x="321800" y="215168"/>
                    <a:pt x="321841" y="221652"/>
                  </a:cubicBezTo>
                  <a:cubicBezTo>
                    <a:pt x="321841" y="231446"/>
                    <a:pt x="341689" y="238598"/>
                    <a:pt x="336250" y="248625"/>
                  </a:cubicBezTo>
                  <a:cubicBezTo>
                    <a:pt x="333084" y="254475"/>
                    <a:pt x="332191" y="273526"/>
                    <a:pt x="345951" y="277871"/>
                  </a:cubicBezTo>
                  <a:cubicBezTo>
                    <a:pt x="355976" y="281046"/>
                    <a:pt x="362187" y="279242"/>
                    <a:pt x="365758" y="288500"/>
                  </a:cubicBezTo>
                  <a:cubicBezTo>
                    <a:pt x="368031" y="294516"/>
                    <a:pt x="370142" y="295418"/>
                    <a:pt x="379437" y="297323"/>
                  </a:cubicBezTo>
                  <a:cubicBezTo>
                    <a:pt x="395145" y="300666"/>
                    <a:pt x="404116" y="302872"/>
                    <a:pt x="417023" y="311194"/>
                  </a:cubicBezTo>
                  <a:cubicBezTo>
                    <a:pt x="428713" y="318748"/>
                    <a:pt x="427212" y="327906"/>
                    <a:pt x="442433" y="330981"/>
                  </a:cubicBezTo>
                  <a:cubicBezTo>
                    <a:pt x="458669" y="334324"/>
                    <a:pt x="473524" y="337933"/>
                    <a:pt x="482413" y="329176"/>
                  </a:cubicBezTo>
                  <a:cubicBezTo>
                    <a:pt x="488421" y="323260"/>
                    <a:pt x="494388" y="308320"/>
                    <a:pt x="508188" y="308654"/>
                  </a:cubicBezTo>
                  <a:close/>
                  <a:moveTo>
                    <a:pt x="489477" y="458091"/>
                  </a:moveTo>
                  <a:cubicBezTo>
                    <a:pt x="491506" y="464174"/>
                    <a:pt x="505915" y="473098"/>
                    <a:pt x="511881" y="478646"/>
                  </a:cubicBezTo>
                  <a:cubicBezTo>
                    <a:pt x="515940" y="482557"/>
                    <a:pt x="535789" y="492283"/>
                    <a:pt x="530147" y="481320"/>
                  </a:cubicBezTo>
                  <a:cubicBezTo>
                    <a:pt x="526656" y="474636"/>
                    <a:pt x="515251" y="468218"/>
                    <a:pt x="507214" y="463840"/>
                  </a:cubicBezTo>
                  <a:cubicBezTo>
                    <a:pt x="506077" y="463238"/>
                    <a:pt x="488177" y="454314"/>
                    <a:pt x="489477" y="458091"/>
                  </a:cubicBezTo>
                  <a:cubicBezTo>
                    <a:pt x="491344" y="463973"/>
                    <a:pt x="487163" y="451573"/>
                    <a:pt x="489395" y="458091"/>
                  </a:cubicBezTo>
                  <a:close/>
                  <a:moveTo>
                    <a:pt x="465650" y="421024"/>
                  </a:moveTo>
                  <a:cubicBezTo>
                    <a:pt x="453270" y="427709"/>
                    <a:pt x="431352" y="400201"/>
                    <a:pt x="425060" y="414540"/>
                  </a:cubicBezTo>
                  <a:cubicBezTo>
                    <a:pt x="419337" y="427408"/>
                    <a:pt x="458100" y="434594"/>
                    <a:pt x="467842" y="436499"/>
                  </a:cubicBezTo>
                  <a:cubicBezTo>
                    <a:pt x="472875" y="437502"/>
                    <a:pt x="511638" y="451206"/>
                    <a:pt x="496458" y="436499"/>
                  </a:cubicBezTo>
                  <a:cubicBezTo>
                    <a:pt x="492845" y="432957"/>
                    <a:pt x="472104" y="417581"/>
                    <a:pt x="465772" y="421024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9916434-D8CC-4BCB-975A-27A887023850}"/>
                </a:ext>
              </a:extLst>
            </p:cNvPr>
            <p:cNvSpPr/>
            <p:nvPr/>
          </p:nvSpPr>
          <p:spPr>
            <a:xfrm>
              <a:off x="6342448" y="4562383"/>
              <a:ext cx="36713" cy="20260"/>
            </a:xfrm>
            <a:custGeom>
              <a:avLst/>
              <a:gdLst>
                <a:gd name="connsiteX0" fmla="*/ 13065 w 37680"/>
                <a:gd name="connsiteY0" fmla="*/ -339 h 27741"/>
                <a:gd name="connsiteX1" fmla="*/ 76 w 37680"/>
                <a:gd name="connsiteY1" fmla="*/ 14033 h 27741"/>
                <a:gd name="connsiteX2" fmla="*/ 22724 w 37680"/>
                <a:gd name="connsiteY2" fmla="*/ 27403 h 27741"/>
                <a:gd name="connsiteX3" fmla="*/ 37621 w 37680"/>
                <a:gd name="connsiteY3" fmla="*/ 15738 h 27741"/>
                <a:gd name="connsiteX4" fmla="*/ 13267 w 37680"/>
                <a:gd name="connsiteY4" fmla="*/ -272 h 27741"/>
                <a:gd name="connsiteX5" fmla="*/ 13065 w 37680"/>
                <a:gd name="connsiteY5" fmla="*/ -339 h 2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680" h="27741">
                  <a:moveTo>
                    <a:pt x="13065" y="-339"/>
                  </a:moveTo>
                  <a:cubicBezTo>
                    <a:pt x="6164" y="4307"/>
                    <a:pt x="1780" y="8284"/>
                    <a:pt x="76" y="14033"/>
                  </a:cubicBezTo>
                  <a:cubicBezTo>
                    <a:pt x="-1629" y="19782"/>
                    <a:pt x="13186" y="24428"/>
                    <a:pt x="22724" y="27403"/>
                  </a:cubicBezTo>
                  <a:cubicBezTo>
                    <a:pt x="24145" y="23693"/>
                    <a:pt x="29300" y="16540"/>
                    <a:pt x="37621" y="15738"/>
                  </a:cubicBezTo>
                  <a:cubicBezTo>
                    <a:pt x="29828" y="10290"/>
                    <a:pt x="21872" y="4775"/>
                    <a:pt x="13267" y="-272"/>
                  </a:cubicBezTo>
                  <a:cubicBezTo>
                    <a:pt x="6286" y="4374"/>
                    <a:pt x="19883" y="3572"/>
                    <a:pt x="13065" y="-339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7130AE94-5410-4192-8D17-920E8E6DAEA5}"/>
                </a:ext>
              </a:extLst>
            </p:cNvPr>
            <p:cNvSpPr/>
            <p:nvPr/>
          </p:nvSpPr>
          <p:spPr>
            <a:xfrm>
              <a:off x="6590351" y="5484450"/>
              <a:ext cx="33556" cy="21175"/>
            </a:xfrm>
            <a:custGeom>
              <a:avLst/>
              <a:gdLst>
                <a:gd name="connsiteX0" fmla="*/ 18609 w 34440"/>
                <a:gd name="connsiteY0" fmla="*/ -316 h 28994"/>
                <a:gd name="connsiteX1" fmla="*/ 749 w 34440"/>
                <a:gd name="connsiteY1" fmla="*/ 9477 h 28994"/>
                <a:gd name="connsiteX2" fmla="*/ 10937 w 34440"/>
                <a:gd name="connsiteY2" fmla="*/ 26490 h 28994"/>
                <a:gd name="connsiteX3" fmla="*/ 18609 w 34440"/>
                <a:gd name="connsiteY3" fmla="*/ -316 h 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440" h="28994">
                  <a:moveTo>
                    <a:pt x="18609" y="-316"/>
                  </a:moveTo>
                  <a:cubicBezTo>
                    <a:pt x="11709" y="-784"/>
                    <a:pt x="3631" y="6035"/>
                    <a:pt x="749" y="9477"/>
                  </a:cubicBezTo>
                  <a:cubicBezTo>
                    <a:pt x="-2782" y="13655"/>
                    <a:pt x="6107" y="23783"/>
                    <a:pt x="10937" y="26490"/>
                  </a:cubicBezTo>
                  <a:cubicBezTo>
                    <a:pt x="31070" y="37720"/>
                    <a:pt x="47914" y="1723"/>
                    <a:pt x="18609" y="-316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8BF0F273-786D-4B0C-B474-19F33B42BC92}"/>
                </a:ext>
              </a:extLst>
            </p:cNvPr>
            <p:cNvSpPr/>
            <p:nvPr/>
          </p:nvSpPr>
          <p:spPr>
            <a:xfrm>
              <a:off x="6595845" y="5166924"/>
              <a:ext cx="275801" cy="144967"/>
            </a:xfrm>
            <a:custGeom>
              <a:avLst/>
              <a:gdLst>
                <a:gd name="connsiteX0" fmla="*/ 267508 w 283067"/>
                <a:gd name="connsiteY0" fmla="*/ 167962 h 198493"/>
                <a:gd name="connsiteX1" fmla="*/ 261460 w 283067"/>
                <a:gd name="connsiteY1" fmla="*/ 155261 h 198493"/>
                <a:gd name="connsiteX2" fmla="*/ 261135 w 283067"/>
                <a:gd name="connsiteY2" fmla="*/ 137146 h 198493"/>
                <a:gd name="connsiteX3" fmla="*/ 265803 w 283067"/>
                <a:gd name="connsiteY3" fmla="*/ 123108 h 198493"/>
                <a:gd name="connsiteX4" fmla="*/ 257685 w 283067"/>
                <a:gd name="connsiteY4" fmla="*/ 113081 h 198493"/>
                <a:gd name="connsiteX5" fmla="*/ 256143 w 283067"/>
                <a:gd name="connsiteY5" fmla="*/ 99912 h 198493"/>
                <a:gd name="connsiteX6" fmla="*/ 261785 w 283067"/>
                <a:gd name="connsiteY6" fmla="*/ 78955 h 198493"/>
                <a:gd name="connsiteX7" fmla="*/ 226228 w 283067"/>
                <a:gd name="connsiteY7" fmla="*/ 55559 h 198493"/>
                <a:gd name="connsiteX8" fmla="*/ 220911 w 283067"/>
                <a:gd name="connsiteY8" fmla="*/ 44730 h 198493"/>
                <a:gd name="connsiteX9" fmla="*/ 186491 w 283067"/>
                <a:gd name="connsiteY9" fmla="*/ 29923 h 198493"/>
                <a:gd name="connsiteX10" fmla="*/ 127636 w 283067"/>
                <a:gd name="connsiteY10" fmla="*/ 5089 h 198493"/>
                <a:gd name="connsiteX11" fmla="*/ 120654 w 283067"/>
                <a:gd name="connsiteY11" fmla="*/ 16353 h 198493"/>
                <a:gd name="connsiteX12" fmla="*/ 110344 w 283067"/>
                <a:gd name="connsiteY12" fmla="*/ 21133 h 198493"/>
                <a:gd name="connsiteX13" fmla="*/ 108437 w 283067"/>
                <a:gd name="connsiteY13" fmla="*/ 30458 h 198493"/>
                <a:gd name="connsiteX14" fmla="*/ 89360 w 283067"/>
                <a:gd name="connsiteY14" fmla="*/ 26815 h 198493"/>
                <a:gd name="connsiteX15" fmla="*/ 65006 w 283067"/>
                <a:gd name="connsiteY15" fmla="*/ 25879 h 198493"/>
                <a:gd name="connsiteX16" fmla="*/ 70769 w 283067"/>
                <a:gd name="connsiteY16" fmla="*/ -91 h 198493"/>
                <a:gd name="connsiteX17" fmla="*/ 34036 w 283067"/>
                <a:gd name="connsiteY17" fmla="*/ 711 h 198493"/>
                <a:gd name="connsiteX18" fmla="*/ 40165 w 283067"/>
                <a:gd name="connsiteY18" fmla="*/ 12643 h 198493"/>
                <a:gd name="connsiteX19" fmla="*/ 37040 w 283067"/>
                <a:gd name="connsiteY19" fmla="*/ 22002 h 198493"/>
                <a:gd name="connsiteX20" fmla="*/ 29855 w 283067"/>
                <a:gd name="connsiteY20" fmla="*/ 31561 h 198493"/>
                <a:gd name="connsiteX21" fmla="*/ 33386 w 283067"/>
                <a:gd name="connsiteY21" fmla="*/ 37811 h 198493"/>
                <a:gd name="connsiteX22" fmla="*/ 14349 w 283067"/>
                <a:gd name="connsiteY22" fmla="*/ 52450 h 198493"/>
                <a:gd name="connsiteX23" fmla="*/ -60 w 283067"/>
                <a:gd name="connsiteY23" fmla="*/ 56729 h 198493"/>
                <a:gd name="connsiteX24" fmla="*/ 3715 w 283067"/>
                <a:gd name="connsiteY24" fmla="*/ 71803 h 198493"/>
                <a:gd name="connsiteX25" fmla="*/ 21534 w 283067"/>
                <a:gd name="connsiteY25" fmla="*/ 97706 h 198493"/>
                <a:gd name="connsiteX26" fmla="*/ 28475 w 283067"/>
                <a:gd name="connsiteY26" fmla="*/ 116791 h 198493"/>
                <a:gd name="connsiteX27" fmla="*/ 16988 w 283067"/>
                <a:gd name="connsiteY27" fmla="*/ 119264 h 198493"/>
                <a:gd name="connsiteX28" fmla="*/ 47755 w 283067"/>
                <a:gd name="connsiteY28" fmla="*/ 135308 h 198493"/>
                <a:gd name="connsiteX29" fmla="*/ 89360 w 283067"/>
                <a:gd name="connsiteY29" fmla="*/ 149513 h 198493"/>
                <a:gd name="connsiteX30" fmla="*/ 123414 w 283067"/>
                <a:gd name="connsiteY30" fmla="*/ 160008 h 198493"/>
                <a:gd name="connsiteX31" fmla="*/ 129990 w 283067"/>
                <a:gd name="connsiteY31" fmla="*/ 178290 h 198493"/>
                <a:gd name="connsiteX32" fmla="*/ 141599 w 283067"/>
                <a:gd name="connsiteY32" fmla="*/ 190891 h 198493"/>
                <a:gd name="connsiteX33" fmla="*/ 161569 w 283067"/>
                <a:gd name="connsiteY33" fmla="*/ 190691 h 198493"/>
                <a:gd name="connsiteX34" fmla="*/ 179509 w 283067"/>
                <a:gd name="connsiteY34" fmla="*/ 196439 h 198493"/>
                <a:gd name="connsiteX35" fmla="*/ 202036 w 283067"/>
                <a:gd name="connsiteY35" fmla="*/ 198077 h 198493"/>
                <a:gd name="connsiteX36" fmla="*/ 218679 w 283067"/>
                <a:gd name="connsiteY36" fmla="*/ 191158 h 198493"/>
                <a:gd name="connsiteX37" fmla="*/ 267955 w 283067"/>
                <a:gd name="connsiteY37" fmla="*/ 188184 h 198493"/>
                <a:gd name="connsiteX38" fmla="*/ 267224 w 283067"/>
                <a:gd name="connsiteY38" fmla="*/ 167862 h 198493"/>
                <a:gd name="connsiteX39" fmla="*/ 267508 w 283067"/>
                <a:gd name="connsiteY39" fmla="*/ 167962 h 198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3067" h="198493">
                  <a:moveTo>
                    <a:pt x="267508" y="167962"/>
                  </a:moveTo>
                  <a:cubicBezTo>
                    <a:pt x="267833" y="162916"/>
                    <a:pt x="264829" y="159673"/>
                    <a:pt x="261460" y="155261"/>
                  </a:cubicBezTo>
                  <a:cubicBezTo>
                    <a:pt x="256914" y="149312"/>
                    <a:pt x="263774" y="143196"/>
                    <a:pt x="261135" y="137146"/>
                  </a:cubicBezTo>
                  <a:cubicBezTo>
                    <a:pt x="258497" y="131096"/>
                    <a:pt x="257726" y="129091"/>
                    <a:pt x="265803" y="123108"/>
                  </a:cubicBezTo>
                  <a:cubicBezTo>
                    <a:pt x="271161" y="119198"/>
                    <a:pt x="261744" y="115721"/>
                    <a:pt x="257685" y="113081"/>
                  </a:cubicBezTo>
                  <a:cubicBezTo>
                    <a:pt x="251394" y="108602"/>
                    <a:pt x="253221" y="104658"/>
                    <a:pt x="256143" y="99912"/>
                  </a:cubicBezTo>
                  <a:cubicBezTo>
                    <a:pt x="260932" y="92124"/>
                    <a:pt x="273394" y="85473"/>
                    <a:pt x="261785" y="78955"/>
                  </a:cubicBezTo>
                  <a:cubicBezTo>
                    <a:pt x="253667" y="74443"/>
                    <a:pt x="224321" y="62778"/>
                    <a:pt x="226228" y="55559"/>
                  </a:cubicBezTo>
                  <a:cubicBezTo>
                    <a:pt x="228136" y="48339"/>
                    <a:pt x="229922" y="48640"/>
                    <a:pt x="220911" y="44730"/>
                  </a:cubicBezTo>
                  <a:cubicBezTo>
                    <a:pt x="209465" y="39740"/>
                    <a:pt x="197978" y="34803"/>
                    <a:pt x="186491" y="29923"/>
                  </a:cubicBezTo>
                  <a:cubicBezTo>
                    <a:pt x="166967" y="21567"/>
                    <a:pt x="147322" y="13288"/>
                    <a:pt x="127636" y="5089"/>
                  </a:cubicBezTo>
                  <a:cubicBezTo>
                    <a:pt x="126905" y="9381"/>
                    <a:pt x="124429" y="13345"/>
                    <a:pt x="120654" y="16353"/>
                  </a:cubicBezTo>
                  <a:cubicBezTo>
                    <a:pt x="118584" y="17924"/>
                    <a:pt x="111278" y="19361"/>
                    <a:pt x="110344" y="21133"/>
                  </a:cubicBezTo>
                  <a:cubicBezTo>
                    <a:pt x="108477" y="24475"/>
                    <a:pt x="123820" y="32463"/>
                    <a:pt x="108437" y="30458"/>
                  </a:cubicBezTo>
                  <a:cubicBezTo>
                    <a:pt x="101943" y="29622"/>
                    <a:pt x="95732" y="27951"/>
                    <a:pt x="89360" y="26815"/>
                  </a:cubicBezTo>
                  <a:cubicBezTo>
                    <a:pt x="82987" y="25678"/>
                    <a:pt x="70445" y="27483"/>
                    <a:pt x="65006" y="25879"/>
                  </a:cubicBezTo>
                  <a:cubicBezTo>
                    <a:pt x="54615" y="22737"/>
                    <a:pt x="68172" y="3485"/>
                    <a:pt x="70769" y="-91"/>
                  </a:cubicBezTo>
                  <a:cubicBezTo>
                    <a:pt x="58511" y="-596"/>
                    <a:pt x="46253" y="-329"/>
                    <a:pt x="34036" y="711"/>
                  </a:cubicBezTo>
                  <a:cubicBezTo>
                    <a:pt x="36025" y="4688"/>
                    <a:pt x="38419" y="8666"/>
                    <a:pt x="40165" y="12643"/>
                  </a:cubicBezTo>
                  <a:cubicBezTo>
                    <a:pt x="41464" y="15718"/>
                    <a:pt x="43736" y="20765"/>
                    <a:pt x="37040" y="22002"/>
                  </a:cubicBezTo>
                  <a:cubicBezTo>
                    <a:pt x="28150" y="23639"/>
                    <a:pt x="28313" y="25344"/>
                    <a:pt x="29855" y="31561"/>
                  </a:cubicBezTo>
                  <a:cubicBezTo>
                    <a:pt x="31072" y="36508"/>
                    <a:pt x="39759" y="31895"/>
                    <a:pt x="33386" y="37811"/>
                  </a:cubicBezTo>
                  <a:cubicBezTo>
                    <a:pt x="28028" y="42824"/>
                    <a:pt x="22346" y="48908"/>
                    <a:pt x="14349" y="52450"/>
                  </a:cubicBezTo>
                  <a:cubicBezTo>
                    <a:pt x="9641" y="54085"/>
                    <a:pt x="4852" y="55512"/>
                    <a:pt x="-60" y="56729"/>
                  </a:cubicBezTo>
                  <a:cubicBezTo>
                    <a:pt x="1077" y="61776"/>
                    <a:pt x="2254" y="66756"/>
                    <a:pt x="3715" y="71803"/>
                  </a:cubicBezTo>
                  <a:cubicBezTo>
                    <a:pt x="6922" y="82599"/>
                    <a:pt x="15324" y="88114"/>
                    <a:pt x="21534" y="97706"/>
                  </a:cubicBezTo>
                  <a:cubicBezTo>
                    <a:pt x="25593" y="103923"/>
                    <a:pt x="23361" y="110808"/>
                    <a:pt x="28475" y="116791"/>
                  </a:cubicBezTo>
                  <a:cubicBezTo>
                    <a:pt x="38623" y="128590"/>
                    <a:pt x="26283" y="130461"/>
                    <a:pt x="16988" y="119264"/>
                  </a:cubicBezTo>
                  <a:cubicBezTo>
                    <a:pt x="11265" y="127587"/>
                    <a:pt x="37567" y="131263"/>
                    <a:pt x="47755" y="135308"/>
                  </a:cubicBezTo>
                  <a:cubicBezTo>
                    <a:pt x="61068" y="140622"/>
                    <a:pt x="77061" y="142928"/>
                    <a:pt x="89360" y="149513"/>
                  </a:cubicBezTo>
                  <a:cubicBezTo>
                    <a:pt x="100968" y="155796"/>
                    <a:pt x="116555" y="149312"/>
                    <a:pt x="123414" y="160008"/>
                  </a:cubicBezTo>
                  <a:cubicBezTo>
                    <a:pt x="126865" y="165743"/>
                    <a:pt x="129097" y="171930"/>
                    <a:pt x="129990" y="178290"/>
                  </a:cubicBezTo>
                  <a:cubicBezTo>
                    <a:pt x="131370" y="186780"/>
                    <a:pt x="127027" y="188819"/>
                    <a:pt x="141599" y="190891"/>
                  </a:cubicBezTo>
                  <a:cubicBezTo>
                    <a:pt x="148539" y="191860"/>
                    <a:pt x="154790" y="188652"/>
                    <a:pt x="161569" y="190691"/>
                  </a:cubicBezTo>
                  <a:cubicBezTo>
                    <a:pt x="170904" y="193532"/>
                    <a:pt x="166074" y="196941"/>
                    <a:pt x="179509" y="196439"/>
                  </a:cubicBezTo>
                  <a:cubicBezTo>
                    <a:pt x="187059" y="196379"/>
                    <a:pt x="194609" y="196927"/>
                    <a:pt x="202036" y="198077"/>
                  </a:cubicBezTo>
                  <a:cubicBezTo>
                    <a:pt x="211778" y="199147"/>
                    <a:pt x="209789" y="188719"/>
                    <a:pt x="218679" y="191158"/>
                  </a:cubicBezTo>
                  <a:cubicBezTo>
                    <a:pt x="236132" y="196072"/>
                    <a:pt x="251151" y="191626"/>
                    <a:pt x="267955" y="188184"/>
                  </a:cubicBezTo>
                  <a:cubicBezTo>
                    <a:pt x="302659" y="181065"/>
                    <a:pt x="266372" y="180597"/>
                    <a:pt x="267224" y="167862"/>
                  </a:cubicBezTo>
                  <a:cubicBezTo>
                    <a:pt x="268198" y="157635"/>
                    <a:pt x="266818" y="178090"/>
                    <a:pt x="267508" y="167962"/>
                  </a:cubicBezTo>
                  <a:close/>
                </a:path>
              </a:pathLst>
            </a:custGeom>
            <a:solidFill>
              <a:schemeClr val="accent2"/>
            </a:solidFill>
            <a:ln w="3021" cap="flat">
              <a:solidFill>
                <a:schemeClr val="accent2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343" name="AMERICAS">
            <a:extLst>
              <a:ext uri="{FF2B5EF4-FFF2-40B4-BE49-F238E27FC236}">
                <a16:creationId xmlns:a16="http://schemas.microsoft.com/office/drawing/2014/main" id="{98727082-1BBD-4520-AF65-EBBF7CBC3E10}"/>
              </a:ext>
            </a:extLst>
          </p:cNvPr>
          <p:cNvGrpSpPr/>
          <p:nvPr/>
        </p:nvGrpSpPr>
        <p:grpSpPr>
          <a:xfrm>
            <a:off x="438475" y="4003405"/>
            <a:ext cx="4455549" cy="2110667"/>
            <a:chOff x="438475" y="4003405"/>
            <a:chExt cx="4455549" cy="2110667"/>
          </a:xfrm>
        </p:grpSpPr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A36A587-421B-4315-9B0A-2CB7844B0EE0}"/>
                </a:ext>
              </a:extLst>
            </p:cNvPr>
            <p:cNvSpPr/>
            <p:nvPr/>
          </p:nvSpPr>
          <p:spPr>
            <a:xfrm>
              <a:off x="3285174" y="5336170"/>
              <a:ext cx="65869" cy="18813"/>
            </a:xfrm>
            <a:custGeom>
              <a:avLst/>
              <a:gdLst>
                <a:gd name="connsiteX0" fmla="*/ 60541 w 67604"/>
                <a:gd name="connsiteY0" fmla="*/ -68 h 25759"/>
                <a:gd name="connsiteX1" fmla="*/ 44549 w 67604"/>
                <a:gd name="connsiteY1" fmla="*/ 3876 h 25759"/>
                <a:gd name="connsiteX2" fmla="*/ 21940 w 67604"/>
                <a:gd name="connsiteY2" fmla="*/ 7219 h 25759"/>
                <a:gd name="connsiteX3" fmla="*/ -60 w 67604"/>
                <a:gd name="connsiteY3" fmla="*/ 25334 h 25759"/>
                <a:gd name="connsiteX4" fmla="*/ 45441 w 67604"/>
                <a:gd name="connsiteY4" fmla="*/ 18984 h 25759"/>
                <a:gd name="connsiteX5" fmla="*/ 60541 w 67604"/>
                <a:gd name="connsiteY5" fmla="*/ 66 h 2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04" h="25759">
                  <a:moveTo>
                    <a:pt x="60541" y="-68"/>
                  </a:moveTo>
                  <a:cubicBezTo>
                    <a:pt x="56035" y="-1371"/>
                    <a:pt x="48932" y="2372"/>
                    <a:pt x="44549" y="3876"/>
                  </a:cubicBezTo>
                  <a:cubicBezTo>
                    <a:pt x="36431" y="6650"/>
                    <a:pt x="29896" y="6350"/>
                    <a:pt x="21940" y="7219"/>
                  </a:cubicBezTo>
                  <a:cubicBezTo>
                    <a:pt x="9114" y="8388"/>
                    <a:pt x="5379" y="18048"/>
                    <a:pt x="-60" y="25334"/>
                  </a:cubicBezTo>
                  <a:cubicBezTo>
                    <a:pt x="13538" y="26069"/>
                    <a:pt x="31276" y="21992"/>
                    <a:pt x="45441" y="18984"/>
                  </a:cubicBezTo>
                  <a:cubicBezTo>
                    <a:pt x="57618" y="16343"/>
                    <a:pt x="78522" y="5213"/>
                    <a:pt x="60541" y="6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B616157A-2A35-458E-8B22-F56DEF417788}"/>
                </a:ext>
              </a:extLst>
            </p:cNvPr>
            <p:cNvSpPr/>
            <p:nvPr/>
          </p:nvSpPr>
          <p:spPr>
            <a:xfrm>
              <a:off x="3299687" y="5287960"/>
              <a:ext cx="157677" cy="57317"/>
            </a:xfrm>
            <a:custGeom>
              <a:avLst/>
              <a:gdLst>
                <a:gd name="connsiteX0" fmla="*/ 79821 w 161831"/>
                <a:gd name="connsiteY0" fmla="*/ 65642 h 78480"/>
                <a:gd name="connsiteX1" fmla="*/ 78238 w 161831"/>
                <a:gd name="connsiteY1" fmla="*/ 55414 h 78480"/>
                <a:gd name="connsiteX2" fmla="*/ 109086 w 161831"/>
                <a:gd name="connsiteY2" fmla="*/ 34491 h 78480"/>
                <a:gd name="connsiteX3" fmla="*/ 130639 w 161831"/>
                <a:gd name="connsiteY3" fmla="*/ 22692 h 78480"/>
                <a:gd name="connsiteX4" fmla="*/ 161772 w 161831"/>
                <a:gd name="connsiteY4" fmla="*/ 2839 h 78480"/>
                <a:gd name="connsiteX5" fmla="*/ 119274 w 161831"/>
                <a:gd name="connsiteY5" fmla="*/ 1067 h 78480"/>
                <a:gd name="connsiteX6" fmla="*/ 70567 w 161831"/>
                <a:gd name="connsiteY6" fmla="*/ 19116 h 78480"/>
                <a:gd name="connsiteX7" fmla="*/ 16014 w 161831"/>
                <a:gd name="connsiteY7" fmla="*/ 42713 h 78480"/>
                <a:gd name="connsiteX8" fmla="*/ 5623 w 161831"/>
                <a:gd name="connsiteY8" fmla="*/ 57319 h 78480"/>
                <a:gd name="connsiteX9" fmla="*/ -60 w 161831"/>
                <a:gd name="connsiteY9" fmla="*/ 74031 h 78480"/>
                <a:gd name="connsiteX10" fmla="*/ 35944 w 161831"/>
                <a:gd name="connsiteY10" fmla="*/ 67614 h 78480"/>
                <a:gd name="connsiteX11" fmla="*/ 51002 w 161831"/>
                <a:gd name="connsiteY11" fmla="*/ 76237 h 78480"/>
                <a:gd name="connsiteX12" fmla="*/ 61154 w 161831"/>
                <a:gd name="connsiteY12" fmla="*/ 74011 h 78480"/>
                <a:gd name="connsiteX13" fmla="*/ 64722 w 161831"/>
                <a:gd name="connsiteY13" fmla="*/ 78142 h 78480"/>
                <a:gd name="connsiteX14" fmla="*/ 79821 w 161831"/>
                <a:gd name="connsiteY14" fmla="*/ 65709 h 78480"/>
                <a:gd name="connsiteX15" fmla="*/ 79821 w 161831"/>
                <a:gd name="connsiteY15" fmla="*/ 65642 h 78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1831" h="78480">
                  <a:moveTo>
                    <a:pt x="79821" y="65642"/>
                  </a:moveTo>
                  <a:cubicBezTo>
                    <a:pt x="80755" y="61698"/>
                    <a:pt x="70810" y="60762"/>
                    <a:pt x="78238" y="55414"/>
                  </a:cubicBezTo>
                  <a:cubicBezTo>
                    <a:pt x="87208" y="48963"/>
                    <a:pt x="110142" y="44585"/>
                    <a:pt x="109086" y="34491"/>
                  </a:cubicBezTo>
                  <a:cubicBezTo>
                    <a:pt x="108437" y="28475"/>
                    <a:pt x="124023" y="24798"/>
                    <a:pt x="130639" y="22692"/>
                  </a:cubicBezTo>
                  <a:cubicBezTo>
                    <a:pt x="143060" y="18715"/>
                    <a:pt x="148134" y="7351"/>
                    <a:pt x="161772" y="2839"/>
                  </a:cubicBezTo>
                  <a:cubicBezTo>
                    <a:pt x="158930" y="-2944"/>
                    <a:pt x="128366" y="900"/>
                    <a:pt x="119274" y="1067"/>
                  </a:cubicBezTo>
                  <a:cubicBezTo>
                    <a:pt x="102511" y="1401"/>
                    <a:pt x="83758" y="11094"/>
                    <a:pt x="70567" y="19116"/>
                  </a:cubicBezTo>
                  <a:cubicBezTo>
                    <a:pt x="54331" y="29143"/>
                    <a:pt x="29652" y="31048"/>
                    <a:pt x="16014" y="42713"/>
                  </a:cubicBezTo>
                  <a:cubicBezTo>
                    <a:pt x="11590" y="46056"/>
                    <a:pt x="9195" y="53275"/>
                    <a:pt x="5623" y="57319"/>
                  </a:cubicBezTo>
                  <a:cubicBezTo>
                    <a:pt x="915" y="62634"/>
                    <a:pt x="4446" y="69753"/>
                    <a:pt x="-60" y="74031"/>
                  </a:cubicBezTo>
                  <a:cubicBezTo>
                    <a:pt x="13132" y="72059"/>
                    <a:pt x="22792" y="72494"/>
                    <a:pt x="35944" y="67614"/>
                  </a:cubicBezTo>
                  <a:cubicBezTo>
                    <a:pt x="49095" y="62734"/>
                    <a:pt x="49501" y="70321"/>
                    <a:pt x="51002" y="76237"/>
                  </a:cubicBezTo>
                  <a:cubicBezTo>
                    <a:pt x="53060" y="73316"/>
                    <a:pt x="57602" y="72320"/>
                    <a:pt x="61154" y="74011"/>
                  </a:cubicBezTo>
                  <a:cubicBezTo>
                    <a:pt x="63013" y="74900"/>
                    <a:pt x="64312" y="76404"/>
                    <a:pt x="64722" y="78142"/>
                  </a:cubicBezTo>
                  <a:cubicBezTo>
                    <a:pt x="71094" y="75301"/>
                    <a:pt x="78603" y="70588"/>
                    <a:pt x="79821" y="65709"/>
                  </a:cubicBezTo>
                  <a:cubicBezTo>
                    <a:pt x="80349" y="63737"/>
                    <a:pt x="79375" y="67413"/>
                    <a:pt x="79821" y="65642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6FCBA35-932B-4918-BB09-9E211569709F}"/>
                </a:ext>
              </a:extLst>
            </p:cNvPr>
            <p:cNvSpPr/>
            <p:nvPr/>
          </p:nvSpPr>
          <p:spPr>
            <a:xfrm>
              <a:off x="2377352" y="5240183"/>
              <a:ext cx="933519" cy="178736"/>
            </a:xfrm>
            <a:custGeom>
              <a:avLst/>
              <a:gdLst>
                <a:gd name="connsiteX0" fmla="*/ 865152 w 958112"/>
                <a:gd name="connsiteY0" fmla="*/ 139348 h 244731"/>
                <a:gd name="connsiteX1" fmla="*/ 899207 w 958112"/>
                <a:gd name="connsiteY1" fmla="*/ 121533 h 244731"/>
                <a:gd name="connsiteX2" fmla="*/ 876801 w 958112"/>
                <a:gd name="connsiteY2" fmla="*/ 117289 h 244731"/>
                <a:gd name="connsiteX3" fmla="*/ 871809 w 958112"/>
                <a:gd name="connsiteY3" fmla="*/ 108231 h 244731"/>
                <a:gd name="connsiteX4" fmla="*/ 912398 w 958112"/>
                <a:gd name="connsiteY4" fmla="*/ 86338 h 244731"/>
                <a:gd name="connsiteX5" fmla="*/ 951243 w 958112"/>
                <a:gd name="connsiteY5" fmla="*/ 65114 h 244731"/>
                <a:gd name="connsiteX6" fmla="*/ 947184 w 958112"/>
                <a:gd name="connsiteY6" fmla="*/ 20026 h 244731"/>
                <a:gd name="connsiteX7" fmla="*/ 952217 w 958112"/>
                <a:gd name="connsiteY7" fmla="*/ -262 h 244731"/>
                <a:gd name="connsiteX8" fmla="*/ 940040 w 958112"/>
                <a:gd name="connsiteY8" fmla="*/ 4116 h 244731"/>
                <a:gd name="connsiteX9" fmla="*/ 921206 w 958112"/>
                <a:gd name="connsiteY9" fmla="*/ 8261 h 244731"/>
                <a:gd name="connsiteX10" fmla="*/ 859916 w 958112"/>
                <a:gd name="connsiteY10" fmla="*/ 44291 h 244731"/>
                <a:gd name="connsiteX11" fmla="*/ 861052 w 958112"/>
                <a:gd name="connsiteY11" fmla="*/ 79353 h 244731"/>
                <a:gd name="connsiteX12" fmla="*/ 850702 w 958112"/>
                <a:gd name="connsiteY12" fmla="*/ 94327 h 244731"/>
                <a:gd name="connsiteX13" fmla="*/ 829027 w 958112"/>
                <a:gd name="connsiteY13" fmla="*/ 100710 h 244731"/>
                <a:gd name="connsiteX14" fmla="*/ 779873 w 958112"/>
                <a:gd name="connsiteY14" fmla="*/ 127984 h 244731"/>
                <a:gd name="connsiteX15" fmla="*/ 761161 w 958112"/>
                <a:gd name="connsiteY15" fmla="*/ 135805 h 244731"/>
                <a:gd name="connsiteX16" fmla="*/ 728689 w 958112"/>
                <a:gd name="connsiteY16" fmla="*/ 139916 h 244731"/>
                <a:gd name="connsiteX17" fmla="*/ 705147 w 958112"/>
                <a:gd name="connsiteY17" fmla="*/ 127048 h 244731"/>
                <a:gd name="connsiteX18" fmla="*/ 663218 w 958112"/>
                <a:gd name="connsiteY18" fmla="*/ 120364 h 244731"/>
                <a:gd name="connsiteX19" fmla="*/ 630746 w 958112"/>
                <a:gd name="connsiteY19" fmla="*/ 84233 h 244731"/>
                <a:gd name="connsiteX20" fmla="*/ 621897 w 958112"/>
                <a:gd name="connsiteY20" fmla="*/ 55990 h 244731"/>
                <a:gd name="connsiteX21" fmla="*/ 620355 w 958112"/>
                <a:gd name="connsiteY21" fmla="*/ 42620 h 244731"/>
                <a:gd name="connsiteX22" fmla="*/ 598234 w 958112"/>
                <a:gd name="connsiteY22" fmla="*/ 47868 h 244731"/>
                <a:gd name="connsiteX23" fmla="*/ 546400 w 958112"/>
                <a:gd name="connsiteY23" fmla="*/ 45862 h 244731"/>
                <a:gd name="connsiteX24" fmla="*/ 524076 w 958112"/>
                <a:gd name="connsiteY24" fmla="*/ 38409 h 244731"/>
                <a:gd name="connsiteX25" fmla="*/ 489453 w 958112"/>
                <a:gd name="connsiteY25" fmla="*/ 27546 h 244731"/>
                <a:gd name="connsiteX26" fmla="*/ 431491 w 958112"/>
                <a:gd name="connsiteY26" fmla="*/ 40916 h 244731"/>
                <a:gd name="connsiteX27" fmla="*/ 425768 w 958112"/>
                <a:gd name="connsiteY27" fmla="*/ 58496 h 244731"/>
                <a:gd name="connsiteX28" fmla="*/ 395772 w 958112"/>
                <a:gd name="connsiteY28" fmla="*/ 64145 h 244731"/>
                <a:gd name="connsiteX29" fmla="*/ 370728 w 958112"/>
                <a:gd name="connsiteY29" fmla="*/ 60067 h 244731"/>
                <a:gd name="connsiteX30" fmla="*/ 345197 w 958112"/>
                <a:gd name="connsiteY30" fmla="*/ 56391 h 244731"/>
                <a:gd name="connsiteX31" fmla="*/ 302618 w 958112"/>
                <a:gd name="connsiteY31" fmla="*/ 55956 h 244731"/>
                <a:gd name="connsiteX32" fmla="*/ 260649 w 958112"/>
                <a:gd name="connsiteY32" fmla="*/ 75375 h 244731"/>
                <a:gd name="connsiteX33" fmla="*/ 255616 w 958112"/>
                <a:gd name="connsiteY33" fmla="*/ 85402 h 244731"/>
                <a:gd name="connsiteX34" fmla="*/ 246320 w 958112"/>
                <a:gd name="connsiteY34" fmla="*/ 90683 h 244731"/>
                <a:gd name="connsiteX35" fmla="*/ 172691 w 958112"/>
                <a:gd name="connsiteY35" fmla="*/ 125177 h 244731"/>
                <a:gd name="connsiteX36" fmla="*/ 68050 w 958112"/>
                <a:gd name="connsiteY36" fmla="*/ 151113 h 244731"/>
                <a:gd name="connsiteX37" fmla="*/ -60 w 958112"/>
                <a:gd name="connsiteY37" fmla="*/ 188314 h 244731"/>
                <a:gd name="connsiteX38" fmla="*/ 62814 w 958112"/>
                <a:gd name="connsiteY38" fmla="*/ 206463 h 244731"/>
                <a:gd name="connsiteX39" fmla="*/ 132628 w 958112"/>
                <a:gd name="connsiteY39" fmla="*/ 211576 h 244731"/>
                <a:gd name="connsiteX40" fmla="*/ 135226 w 958112"/>
                <a:gd name="connsiteY40" fmla="*/ 223643 h 244731"/>
                <a:gd name="connsiteX41" fmla="*/ 119761 w 958112"/>
                <a:gd name="connsiteY41" fmla="*/ 232901 h 244731"/>
                <a:gd name="connsiteX42" fmla="*/ 178495 w 958112"/>
                <a:gd name="connsiteY42" fmla="*/ 224478 h 244731"/>
                <a:gd name="connsiteX43" fmla="*/ 216365 w 958112"/>
                <a:gd name="connsiteY43" fmla="*/ 228155 h 244731"/>
                <a:gd name="connsiteX44" fmla="*/ 221561 w 958112"/>
                <a:gd name="connsiteY44" fmla="*/ 241524 h 244731"/>
                <a:gd name="connsiteX45" fmla="*/ 303024 w 958112"/>
                <a:gd name="connsiteY45" fmla="*/ 243931 h 244731"/>
                <a:gd name="connsiteX46" fmla="*/ 308869 w 958112"/>
                <a:gd name="connsiteY46" fmla="*/ 228823 h 244731"/>
                <a:gd name="connsiteX47" fmla="*/ 286910 w 958112"/>
                <a:gd name="connsiteY47" fmla="*/ 223810 h 244731"/>
                <a:gd name="connsiteX48" fmla="*/ 265276 w 958112"/>
                <a:gd name="connsiteY48" fmla="*/ 226015 h 244731"/>
                <a:gd name="connsiteX49" fmla="*/ 234265 w 958112"/>
                <a:gd name="connsiteY49" fmla="*/ 212880 h 244731"/>
                <a:gd name="connsiteX50" fmla="*/ 165263 w 958112"/>
                <a:gd name="connsiteY50" fmla="*/ 196469 h 244731"/>
                <a:gd name="connsiteX51" fmla="*/ 143222 w 958112"/>
                <a:gd name="connsiteY51" fmla="*/ 191690 h 244731"/>
                <a:gd name="connsiteX52" fmla="*/ 117813 w 958112"/>
                <a:gd name="connsiteY52" fmla="*/ 190787 h 244731"/>
                <a:gd name="connsiteX53" fmla="*/ 72069 w 958112"/>
                <a:gd name="connsiteY53" fmla="*/ 171134 h 244731"/>
                <a:gd name="connsiteX54" fmla="*/ 84245 w 958112"/>
                <a:gd name="connsiteY54" fmla="*/ 163681 h 244731"/>
                <a:gd name="connsiteX55" fmla="*/ 100481 w 958112"/>
                <a:gd name="connsiteY55" fmla="*/ 156494 h 244731"/>
                <a:gd name="connsiteX56" fmla="*/ 121466 w 958112"/>
                <a:gd name="connsiteY56" fmla="*/ 151815 h 244731"/>
                <a:gd name="connsiteX57" fmla="*/ 127677 w 958112"/>
                <a:gd name="connsiteY57" fmla="*/ 155158 h 244731"/>
                <a:gd name="connsiteX58" fmla="*/ 151259 w 958112"/>
                <a:gd name="connsiteY58" fmla="*/ 168093 h 244731"/>
                <a:gd name="connsiteX59" fmla="*/ 159377 w 958112"/>
                <a:gd name="connsiteY59" fmla="*/ 174276 h 244731"/>
                <a:gd name="connsiteX60" fmla="*/ 172122 w 958112"/>
                <a:gd name="connsiteY60" fmla="*/ 183534 h 244731"/>
                <a:gd name="connsiteX61" fmla="*/ 193513 w 958112"/>
                <a:gd name="connsiteY61" fmla="*/ 176348 h 244731"/>
                <a:gd name="connsiteX62" fmla="*/ 228989 w 958112"/>
                <a:gd name="connsiteY62" fmla="*/ 173942 h 244731"/>
                <a:gd name="connsiteX63" fmla="*/ 251272 w 958112"/>
                <a:gd name="connsiteY63" fmla="*/ 178120 h 244731"/>
                <a:gd name="connsiteX64" fmla="*/ 283744 w 958112"/>
                <a:gd name="connsiteY64" fmla="*/ 177351 h 244731"/>
                <a:gd name="connsiteX65" fmla="*/ 295678 w 958112"/>
                <a:gd name="connsiteY65" fmla="*/ 189818 h 244731"/>
                <a:gd name="connsiteX66" fmla="*/ 330422 w 958112"/>
                <a:gd name="connsiteY66" fmla="*/ 187044 h 244731"/>
                <a:gd name="connsiteX67" fmla="*/ 398816 w 958112"/>
                <a:gd name="connsiteY67" fmla="*/ 193461 h 244731"/>
                <a:gd name="connsiteX68" fmla="*/ 449919 w 958112"/>
                <a:gd name="connsiteY68" fmla="*/ 213515 h 244731"/>
                <a:gd name="connsiteX69" fmla="*/ 455601 w 958112"/>
                <a:gd name="connsiteY69" fmla="*/ 220200 h 244731"/>
                <a:gd name="connsiteX70" fmla="*/ 448701 w 958112"/>
                <a:gd name="connsiteY70" fmla="*/ 227921 h 244731"/>
                <a:gd name="connsiteX71" fmla="*/ 469767 w 958112"/>
                <a:gd name="connsiteY71" fmla="*/ 237647 h 244731"/>
                <a:gd name="connsiteX72" fmla="*/ 502848 w 958112"/>
                <a:gd name="connsiteY72" fmla="*/ 233402 h 244731"/>
                <a:gd name="connsiteX73" fmla="*/ 553057 w 958112"/>
                <a:gd name="connsiteY73" fmla="*/ 229726 h 244731"/>
                <a:gd name="connsiteX74" fmla="*/ 660295 w 958112"/>
                <a:gd name="connsiteY74" fmla="*/ 210373 h 244731"/>
                <a:gd name="connsiteX75" fmla="*/ 757711 w 958112"/>
                <a:gd name="connsiteY75" fmla="*/ 184370 h 244731"/>
                <a:gd name="connsiteX76" fmla="*/ 852731 w 958112"/>
                <a:gd name="connsiteY76" fmla="*/ 164984 h 244731"/>
                <a:gd name="connsiteX77" fmla="*/ 865233 w 958112"/>
                <a:gd name="connsiteY77" fmla="*/ 139616 h 244731"/>
                <a:gd name="connsiteX78" fmla="*/ 865152 w 958112"/>
                <a:gd name="connsiteY78" fmla="*/ 139348 h 24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58112" h="244731">
                  <a:moveTo>
                    <a:pt x="865152" y="139348"/>
                  </a:moveTo>
                  <a:cubicBezTo>
                    <a:pt x="870144" y="136641"/>
                    <a:pt x="905742" y="127015"/>
                    <a:pt x="899207" y="121533"/>
                  </a:cubicBezTo>
                  <a:cubicBezTo>
                    <a:pt x="895148" y="117957"/>
                    <a:pt x="883742" y="118191"/>
                    <a:pt x="876801" y="117289"/>
                  </a:cubicBezTo>
                  <a:cubicBezTo>
                    <a:pt x="869860" y="116386"/>
                    <a:pt x="872296" y="113044"/>
                    <a:pt x="871809" y="108231"/>
                  </a:cubicBezTo>
                  <a:cubicBezTo>
                    <a:pt x="870631" y="97201"/>
                    <a:pt x="898395" y="91719"/>
                    <a:pt x="912398" y="86338"/>
                  </a:cubicBezTo>
                  <a:cubicBezTo>
                    <a:pt x="931800" y="78918"/>
                    <a:pt x="926767" y="62073"/>
                    <a:pt x="951243" y="65114"/>
                  </a:cubicBezTo>
                  <a:cubicBezTo>
                    <a:pt x="965287" y="47400"/>
                    <a:pt x="936549" y="35401"/>
                    <a:pt x="947184" y="20026"/>
                  </a:cubicBezTo>
                  <a:cubicBezTo>
                    <a:pt x="951040" y="14411"/>
                    <a:pt x="966261" y="2111"/>
                    <a:pt x="952217" y="-262"/>
                  </a:cubicBezTo>
                  <a:cubicBezTo>
                    <a:pt x="948158" y="-897"/>
                    <a:pt x="943287" y="2579"/>
                    <a:pt x="940040" y="4116"/>
                  </a:cubicBezTo>
                  <a:cubicBezTo>
                    <a:pt x="933424" y="7459"/>
                    <a:pt x="927863" y="6423"/>
                    <a:pt x="921206" y="8261"/>
                  </a:cubicBezTo>
                  <a:cubicBezTo>
                    <a:pt x="902413" y="13375"/>
                    <a:pt x="866654" y="31357"/>
                    <a:pt x="859916" y="44291"/>
                  </a:cubicBezTo>
                  <a:cubicBezTo>
                    <a:pt x="853706" y="56157"/>
                    <a:pt x="867263" y="67287"/>
                    <a:pt x="861052" y="79353"/>
                  </a:cubicBezTo>
                  <a:cubicBezTo>
                    <a:pt x="858942" y="83431"/>
                    <a:pt x="847414" y="90650"/>
                    <a:pt x="850702" y="94327"/>
                  </a:cubicBezTo>
                  <a:cubicBezTo>
                    <a:pt x="855045" y="99173"/>
                    <a:pt x="832315" y="100577"/>
                    <a:pt x="829027" y="100710"/>
                  </a:cubicBezTo>
                  <a:cubicBezTo>
                    <a:pt x="817297" y="101112"/>
                    <a:pt x="789087" y="122369"/>
                    <a:pt x="779873" y="127984"/>
                  </a:cubicBezTo>
                  <a:cubicBezTo>
                    <a:pt x="773622" y="131761"/>
                    <a:pt x="769035" y="135371"/>
                    <a:pt x="761161" y="135805"/>
                  </a:cubicBezTo>
                  <a:cubicBezTo>
                    <a:pt x="749877" y="136440"/>
                    <a:pt x="739527" y="138813"/>
                    <a:pt x="728689" y="139916"/>
                  </a:cubicBezTo>
                  <a:cubicBezTo>
                    <a:pt x="715091" y="141320"/>
                    <a:pt x="713022" y="130625"/>
                    <a:pt x="705147" y="127048"/>
                  </a:cubicBezTo>
                  <a:cubicBezTo>
                    <a:pt x="693701" y="121868"/>
                    <a:pt x="674826" y="125143"/>
                    <a:pt x="663218" y="120364"/>
                  </a:cubicBezTo>
                  <a:cubicBezTo>
                    <a:pt x="646292" y="113144"/>
                    <a:pt x="637849" y="96800"/>
                    <a:pt x="630746" y="84233"/>
                  </a:cubicBezTo>
                  <a:cubicBezTo>
                    <a:pt x="625567" y="75389"/>
                    <a:pt x="622563" y="65793"/>
                    <a:pt x="621897" y="55990"/>
                  </a:cubicBezTo>
                  <a:cubicBezTo>
                    <a:pt x="622234" y="51494"/>
                    <a:pt x="621715" y="46982"/>
                    <a:pt x="620355" y="42620"/>
                  </a:cubicBezTo>
                  <a:cubicBezTo>
                    <a:pt x="612237" y="43155"/>
                    <a:pt x="606230" y="45963"/>
                    <a:pt x="598234" y="47868"/>
                  </a:cubicBezTo>
                  <a:cubicBezTo>
                    <a:pt x="575138" y="53082"/>
                    <a:pt x="558659" y="56224"/>
                    <a:pt x="546400" y="45862"/>
                  </a:cubicBezTo>
                  <a:cubicBezTo>
                    <a:pt x="539500" y="40013"/>
                    <a:pt x="535644" y="39846"/>
                    <a:pt x="524076" y="38409"/>
                  </a:cubicBezTo>
                  <a:cubicBezTo>
                    <a:pt x="510032" y="36671"/>
                    <a:pt x="502482" y="29485"/>
                    <a:pt x="489453" y="27546"/>
                  </a:cubicBezTo>
                  <a:cubicBezTo>
                    <a:pt x="477885" y="25775"/>
                    <a:pt x="440096" y="29786"/>
                    <a:pt x="431491" y="40916"/>
                  </a:cubicBezTo>
                  <a:cubicBezTo>
                    <a:pt x="426864" y="46965"/>
                    <a:pt x="428041" y="52581"/>
                    <a:pt x="425768" y="58496"/>
                  </a:cubicBezTo>
                  <a:cubicBezTo>
                    <a:pt x="424103" y="62741"/>
                    <a:pt x="400074" y="63644"/>
                    <a:pt x="395772" y="64145"/>
                  </a:cubicBezTo>
                  <a:cubicBezTo>
                    <a:pt x="384610" y="65348"/>
                    <a:pt x="375112" y="66618"/>
                    <a:pt x="370728" y="60067"/>
                  </a:cubicBezTo>
                  <a:cubicBezTo>
                    <a:pt x="368009" y="55923"/>
                    <a:pt x="353112" y="54452"/>
                    <a:pt x="345197" y="56391"/>
                  </a:cubicBezTo>
                  <a:cubicBezTo>
                    <a:pt x="333223" y="59332"/>
                    <a:pt x="312725" y="51277"/>
                    <a:pt x="302618" y="55956"/>
                  </a:cubicBezTo>
                  <a:cubicBezTo>
                    <a:pt x="288627" y="62374"/>
                    <a:pt x="274640" y="68848"/>
                    <a:pt x="260649" y="75375"/>
                  </a:cubicBezTo>
                  <a:cubicBezTo>
                    <a:pt x="257970" y="76645"/>
                    <a:pt x="256590" y="83330"/>
                    <a:pt x="255616" y="85402"/>
                  </a:cubicBezTo>
                  <a:cubicBezTo>
                    <a:pt x="254641" y="87475"/>
                    <a:pt x="249202" y="89313"/>
                    <a:pt x="246320" y="90683"/>
                  </a:cubicBezTo>
                  <a:cubicBezTo>
                    <a:pt x="224767" y="100911"/>
                    <a:pt x="195827" y="119361"/>
                    <a:pt x="172691" y="125177"/>
                  </a:cubicBezTo>
                  <a:cubicBezTo>
                    <a:pt x="138676" y="133700"/>
                    <a:pt x="101537" y="146735"/>
                    <a:pt x="68050" y="151113"/>
                  </a:cubicBezTo>
                  <a:cubicBezTo>
                    <a:pt x="46741" y="153854"/>
                    <a:pt x="18409" y="176983"/>
                    <a:pt x="-60" y="188314"/>
                  </a:cubicBezTo>
                  <a:cubicBezTo>
                    <a:pt x="20763" y="195333"/>
                    <a:pt x="45320" y="195901"/>
                    <a:pt x="62814" y="206463"/>
                  </a:cubicBezTo>
                  <a:cubicBezTo>
                    <a:pt x="80308" y="217024"/>
                    <a:pt x="115581" y="199979"/>
                    <a:pt x="132628" y="211576"/>
                  </a:cubicBezTo>
                  <a:cubicBezTo>
                    <a:pt x="135835" y="213749"/>
                    <a:pt x="144075" y="219632"/>
                    <a:pt x="135226" y="223643"/>
                  </a:cubicBezTo>
                  <a:cubicBezTo>
                    <a:pt x="132791" y="224745"/>
                    <a:pt x="113917" y="230762"/>
                    <a:pt x="119761" y="232901"/>
                  </a:cubicBezTo>
                  <a:cubicBezTo>
                    <a:pt x="137946" y="239585"/>
                    <a:pt x="159377" y="225481"/>
                    <a:pt x="178495" y="224478"/>
                  </a:cubicBezTo>
                  <a:cubicBezTo>
                    <a:pt x="191524" y="223810"/>
                    <a:pt x="208166" y="222740"/>
                    <a:pt x="216365" y="228155"/>
                  </a:cubicBezTo>
                  <a:cubicBezTo>
                    <a:pt x="220789" y="231096"/>
                    <a:pt x="216812" y="240822"/>
                    <a:pt x="221561" y="241524"/>
                  </a:cubicBezTo>
                  <a:cubicBezTo>
                    <a:pt x="247132" y="245334"/>
                    <a:pt x="283014" y="231196"/>
                    <a:pt x="303024" y="243931"/>
                  </a:cubicBezTo>
                  <a:cubicBezTo>
                    <a:pt x="308382" y="247273"/>
                    <a:pt x="317028" y="231464"/>
                    <a:pt x="308869" y="228823"/>
                  </a:cubicBezTo>
                  <a:cubicBezTo>
                    <a:pt x="301725" y="226584"/>
                    <a:pt x="297585" y="220200"/>
                    <a:pt x="286910" y="223810"/>
                  </a:cubicBezTo>
                  <a:cubicBezTo>
                    <a:pt x="276235" y="227419"/>
                    <a:pt x="269781" y="233168"/>
                    <a:pt x="265276" y="226015"/>
                  </a:cubicBezTo>
                  <a:cubicBezTo>
                    <a:pt x="260243" y="218094"/>
                    <a:pt x="244169" y="217726"/>
                    <a:pt x="234265" y="212880"/>
                  </a:cubicBezTo>
                  <a:cubicBezTo>
                    <a:pt x="214660" y="203221"/>
                    <a:pt x="189617" y="201516"/>
                    <a:pt x="165263" y="196469"/>
                  </a:cubicBezTo>
                  <a:cubicBezTo>
                    <a:pt x="160757" y="195533"/>
                    <a:pt x="141477" y="196035"/>
                    <a:pt x="143222" y="191690"/>
                  </a:cubicBezTo>
                  <a:cubicBezTo>
                    <a:pt x="148174" y="179523"/>
                    <a:pt x="128691" y="188347"/>
                    <a:pt x="117813" y="190787"/>
                  </a:cubicBezTo>
                  <a:cubicBezTo>
                    <a:pt x="94149" y="195734"/>
                    <a:pt x="85341" y="178019"/>
                    <a:pt x="72069" y="171134"/>
                  </a:cubicBezTo>
                  <a:cubicBezTo>
                    <a:pt x="60785" y="165285"/>
                    <a:pt x="76371" y="164449"/>
                    <a:pt x="84245" y="163681"/>
                  </a:cubicBezTo>
                  <a:cubicBezTo>
                    <a:pt x="90090" y="163112"/>
                    <a:pt x="93337" y="157196"/>
                    <a:pt x="100481" y="156494"/>
                  </a:cubicBezTo>
                  <a:cubicBezTo>
                    <a:pt x="111684" y="155391"/>
                    <a:pt x="109858" y="157698"/>
                    <a:pt x="121466" y="151815"/>
                  </a:cubicBezTo>
                  <a:cubicBezTo>
                    <a:pt x="129990" y="147470"/>
                    <a:pt x="127230" y="152183"/>
                    <a:pt x="127677" y="155158"/>
                  </a:cubicBezTo>
                  <a:cubicBezTo>
                    <a:pt x="128894" y="163146"/>
                    <a:pt x="142208" y="165452"/>
                    <a:pt x="151259" y="168093"/>
                  </a:cubicBezTo>
                  <a:cubicBezTo>
                    <a:pt x="155927" y="169463"/>
                    <a:pt x="160676" y="169997"/>
                    <a:pt x="159377" y="174276"/>
                  </a:cubicBezTo>
                  <a:cubicBezTo>
                    <a:pt x="158362" y="177919"/>
                    <a:pt x="164410" y="189149"/>
                    <a:pt x="172122" y="183534"/>
                  </a:cubicBezTo>
                  <a:cubicBezTo>
                    <a:pt x="181296" y="176849"/>
                    <a:pt x="179144" y="175178"/>
                    <a:pt x="193513" y="176348"/>
                  </a:cubicBezTo>
                  <a:cubicBezTo>
                    <a:pt x="205690" y="177317"/>
                    <a:pt x="217380" y="173607"/>
                    <a:pt x="228989" y="173942"/>
                  </a:cubicBezTo>
                  <a:cubicBezTo>
                    <a:pt x="238081" y="174175"/>
                    <a:pt x="236741" y="183334"/>
                    <a:pt x="251272" y="178120"/>
                  </a:cubicBezTo>
                  <a:cubicBezTo>
                    <a:pt x="256224" y="176348"/>
                    <a:pt x="280862" y="175379"/>
                    <a:pt x="283744" y="177351"/>
                  </a:cubicBezTo>
                  <a:cubicBezTo>
                    <a:pt x="289873" y="181729"/>
                    <a:pt x="281958" y="190353"/>
                    <a:pt x="295678" y="189818"/>
                  </a:cubicBezTo>
                  <a:cubicBezTo>
                    <a:pt x="308342" y="189350"/>
                    <a:pt x="319341" y="184503"/>
                    <a:pt x="330422" y="187044"/>
                  </a:cubicBezTo>
                  <a:cubicBezTo>
                    <a:pt x="350352" y="191623"/>
                    <a:pt x="377141" y="190887"/>
                    <a:pt x="398816" y="193461"/>
                  </a:cubicBezTo>
                  <a:cubicBezTo>
                    <a:pt x="416148" y="195500"/>
                    <a:pt x="451055" y="198742"/>
                    <a:pt x="449919" y="213515"/>
                  </a:cubicBezTo>
                  <a:cubicBezTo>
                    <a:pt x="449675" y="217325"/>
                    <a:pt x="455479" y="217325"/>
                    <a:pt x="455601" y="220200"/>
                  </a:cubicBezTo>
                  <a:cubicBezTo>
                    <a:pt x="455723" y="223074"/>
                    <a:pt x="446347" y="225447"/>
                    <a:pt x="448701" y="227921"/>
                  </a:cubicBezTo>
                  <a:cubicBezTo>
                    <a:pt x="454245" y="232968"/>
                    <a:pt x="461645" y="236377"/>
                    <a:pt x="469767" y="237647"/>
                  </a:cubicBezTo>
                  <a:cubicBezTo>
                    <a:pt x="479590" y="239351"/>
                    <a:pt x="491848" y="233736"/>
                    <a:pt x="502848" y="233402"/>
                  </a:cubicBezTo>
                  <a:cubicBezTo>
                    <a:pt x="520545" y="232867"/>
                    <a:pt x="534021" y="235675"/>
                    <a:pt x="553057" y="229726"/>
                  </a:cubicBezTo>
                  <a:cubicBezTo>
                    <a:pt x="588614" y="218662"/>
                    <a:pt x="624333" y="217492"/>
                    <a:pt x="660295" y="210373"/>
                  </a:cubicBezTo>
                  <a:cubicBezTo>
                    <a:pt x="697435" y="203053"/>
                    <a:pt x="725888" y="206530"/>
                    <a:pt x="757711" y="184370"/>
                  </a:cubicBezTo>
                  <a:cubicBezTo>
                    <a:pt x="788600" y="162979"/>
                    <a:pt x="818961" y="162076"/>
                    <a:pt x="852731" y="164984"/>
                  </a:cubicBezTo>
                  <a:cubicBezTo>
                    <a:pt x="854720" y="160405"/>
                    <a:pt x="858576" y="143326"/>
                    <a:pt x="865233" y="139616"/>
                  </a:cubicBezTo>
                  <a:cubicBezTo>
                    <a:pt x="867871" y="137911"/>
                    <a:pt x="863894" y="140050"/>
                    <a:pt x="865152" y="13934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40081F59-B9FA-4A8C-BB67-59A95F607A9D}"/>
                </a:ext>
              </a:extLst>
            </p:cNvPr>
            <p:cNvSpPr/>
            <p:nvPr/>
          </p:nvSpPr>
          <p:spPr>
            <a:xfrm>
              <a:off x="3210148" y="5301339"/>
              <a:ext cx="104725" cy="61505"/>
            </a:xfrm>
            <a:custGeom>
              <a:avLst/>
              <a:gdLst>
                <a:gd name="connsiteX0" fmla="*/ 97521 w 107484"/>
                <a:gd name="connsiteY0" fmla="*/ 39001 h 84215"/>
                <a:gd name="connsiteX1" fmla="*/ 107425 w 107484"/>
                <a:gd name="connsiteY1" fmla="*/ 24796 h 84215"/>
                <a:gd name="connsiteX2" fmla="*/ 94355 w 107484"/>
                <a:gd name="connsiteY2" fmla="*/ 25264 h 84215"/>
                <a:gd name="connsiteX3" fmla="*/ 81285 w 107484"/>
                <a:gd name="connsiteY3" fmla="*/ 31481 h 84215"/>
                <a:gd name="connsiteX4" fmla="*/ 65049 w 107484"/>
                <a:gd name="connsiteY4" fmla="*/ -339 h 84215"/>
                <a:gd name="connsiteX5" fmla="*/ 24175 w 107484"/>
                <a:gd name="connsiteY5" fmla="*/ 15136 h 84215"/>
                <a:gd name="connsiteX6" fmla="*/ 16788 w 107484"/>
                <a:gd name="connsiteY6" fmla="*/ 32082 h 84215"/>
                <a:gd name="connsiteX7" fmla="*/ 23647 w 107484"/>
                <a:gd name="connsiteY7" fmla="*/ 50799 h 84215"/>
                <a:gd name="connsiteX8" fmla="*/ 3352 w 107484"/>
                <a:gd name="connsiteY8" fmla="*/ 68848 h 84215"/>
                <a:gd name="connsiteX9" fmla="*/ 15976 w 107484"/>
                <a:gd name="connsiteY9" fmla="*/ 82552 h 84215"/>
                <a:gd name="connsiteX10" fmla="*/ 41953 w 107484"/>
                <a:gd name="connsiteY10" fmla="*/ 82986 h 84215"/>
                <a:gd name="connsiteX11" fmla="*/ 81163 w 107484"/>
                <a:gd name="connsiteY11" fmla="*/ 67344 h 84215"/>
                <a:gd name="connsiteX12" fmla="*/ 92853 w 107484"/>
                <a:gd name="connsiteY12" fmla="*/ 54309 h 84215"/>
                <a:gd name="connsiteX13" fmla="*/ 97521 w 107484"/>
                <a:gd name="connsiteY13" fmla="*/ 39001 h 8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484" h="84215">
                  <a:moveTo>
                    <a:pt x="97521" y="39001"/>
                  </a:moveTo>
                  <a:cubicBezTo>
                    <a:pt x="101393" y="34552"/>
                    <a:pt x="104709" y="29793"/>
                    <a:pt x="107425" y="24796"/>
                  </a:cubicBezTo>
                  <a:cubicBezTo>
                    <a:pt x="101904" y="29341"/>
                    <a:pt x="95248" y="30712"/>
                    <a:pt x="94355" y="25264"/>
                  </a:cubicBezTo>
                  <a:lnTo>
                    <a:pt x="81285" y="31481"/>
                  </a:lnTo>
                  <a:cubicBezTo>
                    <a:pt x="75874" y="20875"/>
                    <a:pt x="70459" y="10267"/>
                    <a:pt x="65049" y="-339"/>
                  </a:cubicBezTo>
                  <a:cubicBezTo>
                    <a:pt x="51654" y="5176"/>
                    <a:pt x="37813" y="10056"/>
                    <a:pt x="24175" y="15136"/>
                  </a:cubicBezTo>
                  <a:cubicBezTo>
                    <a:pt x="9562" y="20618"/>
                    <a:pt x="23891" y="25665"/>
                    <a:pt x="16788" y="32082"/>
                  </a:cubicBezTo>
                  <a:cubicBezTo>
                    <a:pt x="13256" y="35425"/>
                    <a:pt x="73613" y="32583"/>
                    <a:pt x="23647" y="50799"/>
                  </a:cubicBezTo>
                  <a:cubicBezTo>
                    <a:pt x="8304" y="56414"/>
                    <a:pt x="8426" y="57785"/>
                    <a:pt x="3352" y="68848"/>
                  </a:cubicBezTo>
                  <a:cubicBezTo>
                    <a:pt x="-2695" y="81817"/>
                    <a:pt x="-1965" y="81014"/>
                    <a:pt x="15976" y="82552"/>
                  </a:cubicBezTo>
                  <a:cubicBezTo>
                    <a:pt x="23769" y="83254"/>
                    <a:pt x="33104" y="84891"/>
                    <a:pt x="41953" y="82986"/>
                  </a:cubicBezTo>
                  <a:cubicBezTo>
                    <a:pt x="53887" y="80346"/>
                    <a:pt x="76170" y="73795"/>
                    <a:pt x="81163" y="67344"/>
                  </a:cubicBezTo>
                  <a:cubicBezTo>
                    <a:pt x="83720" y="64002"/>
                    <a:pt x="91716" y="57685"/>
                    <a:pt x="92853" y="54309"/>
                  </a:cubicBezTo>
                  <a:cubicBezTo>
                    <a:pt x="94760" y="48527"/>
                    <a:pt x="92000" y="45218"/>
                    <a:pt x="97521" y="39001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05E1051F-4964-4697-9424-533C2017A8FC}"/>
                </a:ext>
              </a:extLst>
            </p:cNvPr>
            <p:cNvSpPr/>
            <p:nvPr/>
          </p:nvSpPr>
          <p:spPr>
            <a:xfrm>
              <a:off x="3275202" y="5287530"/>
              <a:ext cx="32710" cy="36998"/>
            </a:xfrm>
            <a:custGeom>
              <a:avLst/>
              <a:gdLst>
                <a:gd name="connsiteX0" fmla="*/ 2137 w 33572"/>
                <a:gd name="connsiteY0" fmla="*/ 16897 h 50659"/>
                <a:gd name="connsiteX1" fmla="*/ 14517 w 33572"/>
                <a:gd name="connsiteY1" fmla="*/ 50321 h 50659"/>
                <a:gd name="connsiteX2" fmla="*/ 33350 w 33572"/>
                <a:gd name="connsiteY2" fmla="*/ 28261 h 50659"/>
                <a:gd name="connsiteX3" fmla="*/ 24908 w 33572"/>
                <a:gd name="connsiteY3" fmla="*/ 15293 h 50659"/>
                <a:gd name="connsiteX4" fmla="*/ 29738 w 33572"/>
                <a:gd name="connsiteY4" fmla="*/ 185 h 50659"/>
                <a:gd name="connsiteX5" fmla="*/ 2137 w 33572"/>
                <a:gd name="connsiteY5" fmla="*/ 16897 h 5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572" h="50659">
                  <a:moveTo>
                    <a:pt x="2137" y="16897"/>
                  </a:moveTo>
                  <a:cubicBezTo>
                    <a:pt x="-5981" y="23582"/>
                    <a:pt x="10742" y="42901"/>
                    <a:pt x="14517" y="50321"/>
                  </a:cubicBezTo>
                  <a:cubicBezTo>
                    <a:pt x="26247" y="44739"/>
                    <a:pt x="34812" y="37252"/>
                    <a:pt x="33350" y="28261"/>
                  </a:cubicBezTo>
                  <a:cubicBezTo>
                    <a:pt x="32620" y="23314"/>
                    <a:pt x="27992" y="19370"/>
                    <a:pt x="24908" y="15293"/>
                  </a:cubicBezTo>
                  <a:cubicBezTo>
                    <a:pt x="19428" y="8140"/>
                    <a:pt x="23771" y="7772"/>
                    <a:pt x="29738" y="185"/>
                  </a:cubicBezTo>
                  <a:cubicBezTo>
                    <a:pt x="5384" y="-2823"/>
                    <a:pt x="13827" y="7706"/>
                    <a:pt x="2137" y="1689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1C27F263-7210-4574-A130-66646E751F62}"/>
                </a:ext>
              </a:extLst>
            </p:cNvPr>
            <p:cNvSpPr/>
            <p:nvPr/>
          </p:nvSpPr>
          <p:spPr>
            <a:xfrm>
              <a:off x="3667862" y="5154949"/>
              <a:ext cx="76541" cy="37086"/>
            </a:xfrm>
            <a:custGeom>
              <a:avLst/>
              <a:gdLst>
                <a:gd name="connsiteX0" fmla="*/ 23133 w 78557"/>
                <a:gd name="connsiteY0" fmla="*/ 9087 h 50779"/>
                <a:gd name="connsiteX1" fmla="*/ 50450 w 78557"/>
                <a:gd name="connsiteY1" fmla="*/ 23559 h 50779"/>
                <a:gd name="connsiteX2" fmla="*/ 22565 w 78557"/>
                <a:gd name="connsiteY2" fmla="*/ 37263 h 50779"/>
                <a:gd name="connsiteX3" fmla="*/ 9130 w 78557"/>
                <a:gd name="connsiteY3" fmla="*/ 50264 h 50779"/>
                <a:gd name="connsiteX4" fmla="*/ 78498 w 78557"/>
                <a:gd name="connsiteY4" fmla="*/ 32416 h 50779"/>
                <a:gd name="connsiteX5" fmla="*/ 69974 w 78557"/>
                <a:gd name="connsiteY5" fmla="*/ -339 h 50779"/>
                <a:gd name="connsiteX6" fmla="*/ 23133 w 78557"/>
                <a:gd name="connsiteY6" fmla="*/ 9087 h 50779"/>
                <a:gd name="connsiteX7" fmla="*/ 23133 w 78557"/>
                <a:gd name="connsiteY7" fmla="*/ 9087 h 50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557" h="50779">
                  <a:moveTo>
                    <a:pt x="23133" y="9087"/>
                  </a:moveTo>
                  <a:cubicBezTo>
                    <a:pt x="13757" y="17175"/>
                    <a:pt x="45498" y="20250"/>
                    <a:pt x="50450" y="23559"/>
                  </a:cubicBezTo>
                  <a:cubicBezTo>
                    <a:pt x="58568" y="28840"/>
                    <a:pt x="27964" y="35658"/>
                    <a:pt x="22565" y="37263"/>
                  </a:cubicBezTo>
                  <a:cubicBezTo>
                    <a:pt x="15340" y="39435"/>
                    <a:pt x="-15061" y="52069"/>
                    <a:pt x="9130" y="50264"/>
                  </a:cubicBezTo>
                  <a:cubicBezTo>
                    <a:pt x="34296" y="48460"/>
                    <a:pt x="51587" y="32884"/>
                    <a:pt x="78498" y="32416"/>
                  </a:cubicBezTo>
                  <a:cubicBezTo>
                    <a:pt x="75170" y="21620"/>
                    <a:pt x="72166" y="10724"/>
                    <a:pt x="69974" y="-339"/>
                  </a:cubicBezTo>
                  <a:cubicBezTo>
                    <a:pt x="57797" y="1466"/>
                    <a:pt x="32428" y="965"/>
                    <a:pt x="23133" y="9087"/>
                  </a:cubicBezTo>
                  <a:cubicBezTo>
                    <a:pt x="12905" y="17944"/>
                    <a:pt x="30602" y="2602"/>
                    <a:pt x="23133" y="908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08082B71-83E7-4422-A396-403C98AF0818}"/>
                </a:ext>
              </a:extLst>
            </p:cNvPr>
            <p:cNvSpPr/>
            <p:nvPr/>
          </p:nvSpPr>
          <p:spPr>
            <a:xfrm>
              <a:off x="3736138" y="5144793"/>
              <a:ext cx="96650" cy="34053"/>
            </a:xfrm>
            <a:custGeom>
              <a:avLst/>
              <a:gdLst>
                <a:gd name="connsiteX0" fmla="*/ 42722 w 99196"/>
                <a:gd name="connsiteY0" fmla="*/ 28540 h 46626"/>
                <a:gd name="connsiteX1" fmla="*/ 89116 w 99196"/>
                <a:gd name="connsiteY1" fmla="*/ 397 h 46626"/>
                <a:gd name="connsiteX2" fmla="*/ 46172 w 99196"/>
                <a:gd name="connsiteY2" fmla="*/ 1968 h 46626"/>
                <a:gd name="connsiteX3" fmla="*/ -60 w 99196"/>
                <a:gd name="connsiteY3" fmla="*/ 13566 h 46626"/>
                <a:gd name="connsiteX4" fmla="*/ 10900 w 99196"/>
                <a:gd name="connsiteY4" fmla="*/ 46287 h 46626"/>
                <a:gd name="connsiteX5" fmla="*/ 42722 w 99196"/>
                <a:gd name="connsiteY5" fmla="*/ 2854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196" h="46626">
                  <a:moveTo>
                    <a:pt x="42722" y="28540"/>
                  </a:moveTo>
                  <a:cubicBezTo>
                    <a:pt x="50840" y="24161"/>
                    <a:pt x="125728" y="5611"/>
                    <a:pt x="89116" y="397"/>
                  </a:cubicBezTo>
                  <a:cubicBezTo>
                    <a:pt x="74792" y="-964"/>
                    <a:pt x="60293" y="-435"/>
                    <a:pt x="46172" y="1968"/>
                  </a:cubicBezTo>
                  <a:cubicBezTo>
                    <a:pt x="29936" y="4241"/>
                    <a:pt x="15527" y="11226"/>
                    <a:pt x="-60" y="13566"/>
                  </a:cubicBezTo>
                  <a:cubicBezTo>
                    <a:pt x="955" y="18780"/>
                    <a:pt x="3431" y="46455"/>
                    <a:pt x="10900" y="46287"/>
                  </a:cubicBezTo>
                  <a:cubicBezTo>
                    <a:pt x="22265" y="46053"/>
                    <a:pt x="34198" y="32918"/>
                    <a:pt x="42722" y="2854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40ED0869-EF45-4D99-A151-0F3A380401D7}"/>
                </a:ext>
              </a:extLst>
            </p:cNvPr>
            <p:cNvSpPr/>
            <p:nvPr/>
          </p:nvSpPr>
          <p:spPr>
            <a:xfrm>
              <a:off x="3362055" y="5290280"/>
              <a:ext cx="117851" cy="63580"/>
            </a:xfrm>
            <a:custGeom>
              <a:avLst/>
              <a:gdLst>
                <a:gd name="connsiteX0" fmla="*/ 78928 w 120956"/>
                <a:gd name="connsiteY0" fmla="*/ 83320 h 87056"/>
                <a:gd name="connsiteX1" fmla="*/ 120897 w 120956"/>
                <a:gd name="connsiteY1" fmla="*/ 72291 h 87056"/>
                <a:gd name="connsiteX2" fmla="*/ 105676 w 120956"/>
                <a:gd name="connsiteY2" fmla="*/ 34990 h 87056"/>
                <a:gd name="connsiteX3" fmla="*/ 97558 w 120956"/>
                <a:gd name="connsiteY3" fmla="*/ -339 h 87056"/>
                <a:gd name="connsiteX4" fmla="*/ 71987 w 120956"/>
                <a:gd name="connsiteY4" fmla="*/ 16741 h 87056"/>
                <a:gd name="connsiteX5" fmla="*/ 48526 w 120956"/>
                <a:gd name="connsiteY5" fmla="*/ 26300 h 87056"/>
                <a:gd name="connsiteX6" fmla="*/ 32736 w 120956"/>
                <a:gd name="connsiteY6" fmla="*/ 43413 h 87056"/>
                <a:gd name="connsiteX7" fmla="*/ 12441 w 120956"/>
                <a:gd name="connsiteY7" fmla="*/ 58687 h 87056"/>
                <a:gd name="connsiteX8" fmla="*/ 9966 w 120956"/>
                <a:gd name="connsiteY8" fmla="*/ 69784 h 87056"/>
                <a:gd name="connsiteX9" fmla="*/ 8098 w 120956"/>
                <a:gd name="connsiteY9" fmla="*/ 79209 h 87056"/>
                <a:gd name="connsiteX10" fmla="*/ 40936 w 120956"/>
                <a:gd name="connsiteY10" fmla="*/ 84557 h 87056"/>
                <a:gd name="connsiteX11" fmla="*/ 58552 w 120956"/>
                <a:gd name="connsiteY11" fmla="*/ 85928 h 87056"/>
                <a:gd name="connsiteX12" fmla="*/ 78846 w 120956"/>
                <a:gd name="connsiteY12" fmla="*/ 83320 h 87056"/>
                <a:gd name="connsiteX13" fmla="*/ 78928 w 120956"/>
                <a:gd name="connsiteY13" fmla="*/ 83320 h 8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0956" h="87056">
                  <a:moveTo>
                    <a:pt x="78928" y="83320"/>
                  </a:moveTo>
                  <a:cubicBezTo>
                    <a:pt x="93422" y="81104"/>
                    <a:pt x="107523" y="77401"/>
                    <a:pt x="120897" y="72291"/>
                  </a:cubicBezTo>
                  <a:cubicBezTo>
                    <a:pt x="103931" y="66642"/>
                    <a:pt x="112779" y="46220"/>
                    <a:pt x="105676" y="34990"/>
                  </a:cubicBezTo>
                  <a:cubicBezTo>
                    <a:pt x="98573" y="23760"/>
                    <a:pt x="103809" y="11593"/>
                    <a:pt x="97558" y="-339"/>
                  </a:cubicBezTo>
                  <a:cubicBezTo>
                    <a:pt x="86396" y="3371"/>
                    <a:pt x="79658" y="10658"/>
                    <a:pt x="71987" y="16741"/>
                  </a:cubicBezTo>
                  <a:cubicBezTo>
                    <a:pt x="66101" y="21420"/>
                    <a:pt x="55385" y="22021"/>
                    <a:pt x="48526" y="26300"/>
                  </a:cubicBezTo>
                  <a:cubicBezTo>
                    <a:pt x="40408" y="31480"/>
                    <a:pt x="44467" y="37497"/>
                    <a:pt x="32736" y="43413"/>
                  </a:cubicBezTo>
                  <a:cubicBezTo>
                    <a:pt x="25471" y="47089"/>
                    <a:pt x="7287" y="52103"/>
                    <a:pt x="12441" y="58687"/>
                  </a:cubicBezTo>
                  <a:cubicBezTo>
                    <a:pt x="16013" y="63333"/>
                    <a:pt x="14796" y="63701"/>
                    <a:pt x="9966" y="69784"/>
                  </a:cubicBezTo>
                  <a:cubicBezTo>
                    <a:pt x="7936" y="72358"/>
                    <a:pt x="-10329" y="79811"/>
                    <a:pt x="8098" y="79209"/>
                  </a:cubicBezTo>
                  <a:cubicBezTo>
                    <a:pt x="19991" y="78708"/>
                    <a:pt x="30342" y="82886"/>
                    <a:pt x="40936" y="84557"/>
                  </a:cubicBezTo>
                  <a:cubicBezTo>
                    <a:pt x="46375" y="85393"/>
                    <a:pt x="53478" y="84557"/>
                    <a:pt x="58552" y="85928"/>
                  </a:cubicBezTo>
                  <a:cubicBezTo>
                    <a:pt x="68699" y="88501"/>
                    <a:pt x="67725" y="84022"/>
                    <a:pt x="78846" y="83320"/>
                  </a:cubicBezTo>
                  <a:cubicBezTo>
                    <a:pt x="85787" y="82886"/>
                    <a:pt x="75396" y="83521"/>
                    <a:pt x="78928" y="8332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3C64FBC9-C783-4D2A-8D3D-A27138B4BE8F}"/>
                </a:ext>
              </a:extLst>
            </p:cNvPr>
            <p:cNvSpPr/>
            <p:nvPr/>
          </p:nvSpPr>
          <p:spPr>
            <a:xfrm>
              <a:off x="3873846" y="5233943"/>
              <a:ext cx="1020178" cy="484888"/>
            </a:xfrm>
            <a:custGeom>
              <a:avLst/>
              <a:gdLst>
                <a:gd name="connsiteX0" fmla="*/ 707701 w 1047054"/>
                <a:gd name="connsiteY0" fmla="*/ 652956 h 663923"/>
                <a:gd name="connsiteX1" fmla="*/ 720243 w 1047054"/>
                <a:gd name="connsiteY1" fmla="*/ 623778 h 663923"/>
                <a:gd name="connsiteX2" fmla="*/ 721785 w 1047054"/>
                <a:gd name="connsiteY2" fmla="*/ 609940 h 663923"/>
                <a:gd name="connsiteX3" fmla="*/ 727671 w 1047054"/>
                <a:gd name="connsiteY3" fmla="*/ 595534 h 663923"/>
                <a:gd name="connsiteX4" fmla="*/ 743663 w 1047054"/>
                <a:gd name="connsiteY4" fmla="*/ 584237 h 663923"/>
                <a:gd name="connsiteX5" fmla="*/ 731202 w 1047054"/>
                <a:gd name="connsiteY5" fmla="*/ 611678 h 663923"/>
                <a:gd name="connsiteX6" fmla="*/ 748899 w 1047054"/>
                <a:gd name="connsiteY6" fmla="*/ 596905 h 663923"/>
                <a:gd name="connsiteX7" fmla="*/ 760711 w 1047054"/>
                <a:gd name="connsiteY7" fmla="*/ 570534 h 663923"/>
                <a:gd name="connsiteX8" fmla="*/ 773131 w 1047054"/>
                <a:gd name="connsiteY8" fmla="*/ 547137 h 663923"/>
                <a:gd name="connsiteX9" fmla="*/ 785633 w 1047054"/>
                <a:gd name="connsiteY9" fmla="*/ 532565 h 663923"/>
                <a:gd name="connsiteX10" fmla="*/ 776216 w 1047054"/>
                <a:gd name="connsiteY10" fmla="*/ 508533 h 663923"/>
                <a:gd name="connsiteX11" fmla="*/ 774511 w 1047054"/>
                <a:gd name="connsiteY11" fmla="*/ 485136 h 663923"/>
                <a:gd name="connsiteX12" fmla="*/ 790179 w 1047054"/>
                <a:gd name="connsiteY12" fmla="*/ 471132 h 663923"/>
                <a:gd name="connsiteX13" fmla="*/ 823178 w 1047054"/>
                <a:gd name="connsiteY13" fmla="*/ 443524 h 663923"/>
                <a:gd name="connsiteX14" fmla="*/ 843758 w 1047054"/>
                <a:gd name="connsiteY14" fmla="*/ 433898 h 663923"/>
                <a:gd name="connsiteX15" fmla="*/ 866204 w 1047054"/>
                <a:gd name="connsiteY15" fmla="*/ 416785 h 663923"/>
                <a:gd name="connsiteX16" fmla="*/ 927089 w 1047054"/>
                <a:gd name="connsiteY16" fmla="*/ 401277 h 663923"/>
                <a:gd name="connsiteX17" fmla="*/ 945557 w 1047054"/>
                <a:gd name="connsiteY17" fmla="*/ 386269 h 663923"/>
                <a:gd name="connsiteX18" fmla="*/ 948114 w 1047054"/>
                <a:gd name="connsiteY18" fmla="*/ 366483 h 663923"/>
                <a:gd name="connsiteX19" fmla="*/ 958992 w 1047054"/>
                <a:gd name="connsiteY19" fmla="*/ 346629 h 663923"/>
                <a:gd name="connsiteX20" fmla="*/ 966014 w 1047054"/>
                <a:gd name="connsiteY20" fmla="*/ 328280 h 663923"/>
                <a:gd name="connsiteX21" fmla="*/ 967597 w 1047054"/>
                <a:gd name="connsiteY21" fmla="*/ 306621 h 663923"/>
                <a:gd name="connsiteX22" fmla="*/ 975309 w 1047054"/>
                <a:gd name="connsiteY22" fmla="*/ 293954 h 663923"/>
                <a:gd name="connsiteX23" fmla="*/ 973726 w 1047054"/>
                <a:gd name="connsiteY23" fmla="*/ 268986 h 663923"/>
                <a:gd name="connsiteX24" fmla="*/ 962401 w 1047054"/>
                <a:gd name="connsiteY24" fmla="*/ 236398 h 663923"/>
                <a:gd name="connsiteX25" fmla="*/ 965040 w 1047054"/>
                <a:gd name="connsiteY25" fmla="*/ 215809 h 663923"/>
                <a:gd name="connsiteX26" fmla="*/ 971859 w 1047054"/>
                <a:gd name="connsiteY26" fmla="*/ 211030 h 663923"/>
                <a:gd name="connsiteX27" fmla="*/ 1007415 w 1047054"/>
                <a:gd name="connsiteY27" fmla="*/ 167913 h 663923"/>
                <a:gd name="connsiteX28" fmla="*/ 1027345 w 1047054"/>
                <a:gd name="connsiteY28" fmla="*/ 72856 h 663923"/>
                <a:gd name="connsiteX29" fmla="*/ 987242 w 1047054"/>
                <a:gd name="connsiteY29" fmla="*/ 72522 h 663923"/>
                <a:gd name="connsiteX30" fmla="*/ 905089 w 1047054"/>
                <a:gd name="connsiteY30" fmla="*/ 52836 h 663923"/>
                <a:gd name="connsiteX31" fmla="*/ 835315 w 1047054"/>
                <a:gd name="connsiteY31" fmla="*/ 63230 h 663923"/>
                <a:gd name="connsiteX32" fmla="*/ 794238 w 1047054"/>
                <a:gd name="connsiteY32" fmla="*/ 62495 h 663923"/>
                <a:gd name="connsiteX33" fmla="*/ 761767 w 1047054"/>
                <a:gd name="connsiteY33" fmla="*/ 80176 h 663923"/>
                <a:gd name="connsiteX34" fmla="*/ 761767 w 1047054"/>
                <a:gd name="connsiteY34" fmla="*/ 69481 h 663923"/>
                <a:gd name="connsiteX35" fmla="*/ 751741 w 1047054"/>
                <a:gd name="connsiteY35" fmla="*/ 57916 h 663923"/>
                <a:gd name="connsiteX36" fmla="*/ 664311 w 1047054"/>
                <a:gd name="connsiteY36" fmla="*/ 54941 h 663923"/>
                <a:gd name="connsiteX37" fmla="*/ 653838 w 1047054"/>
                <a:gd name="connsiteY37" fmla="*/ 68545 h 663923"/>
                <a:gd name="connsiteX38" fmla="*/ 642189 w 1047054"/>
                <a:gd name="connsiteY38" fmla="*/ 74762 h 663923"/>
                <a:gd name="connsiteX39" fmla="*/ 625019 w 1047054"/>
                <a:gd name="connsiteY39" fmla="*/ 89535 h 663923"/>
                <a:gd name="connsiteX40" fmla="*/ 634924 w 1047054"/>
                <a:gd name="connsiteY40" fmla="*/ 72823 h 663923"/>
                <a:gd name="connsiteX41" fmla="*/ 606511 w 1047054"/>
                <a:gd name="connsiteY41" fmla="*/ 57348 h 663923"/>
                <a:gd name="connsiteX42" fmla="*/ 579478 w 1047054"/>
                <a:gd name="connsiteY42" fmla="*/ 65804 h 663923"/>
                <a:gd name="connsiteX43" fmla="*/ 573389 w 1047054"/>
                <a:gd name="connsiteY43" fmla="*/ 80043 h 663923"/>
                <a:gd name="connsiteX44" fmla="*/ 565474 w 1047054"/>
                <a:gd name="connsiteY44" fmla="*/ 68445 h 663923"/>
                <a:gd name="connsiteX45" fmla="*/ 586581 w 1047054"/>
                <a:gd name="connsiteY45" fmla="*/ 52568 h 663923"/>
                <a:gd name="connsiteX46" fmla="*/ 589463 w 1047054"/>
                <a:gd name="connsiteY46" fmla="*/ 31211 h 663923"/>
                <a:gd name="connsiteX47" fmla="*/ 558980 w 1047054"/>
                <a:gd name="connsiteY47" fmla="*/ 22220 h 663923"/>
                <a:gd name="connsiteX48" fmla="*/ 545058 w 1047054"/>
                <a:gd name="connsiteY48" fmla="*/ 5040 h 663923"/>
                <a:gd name="connsiteX49" fmla="*/ 527198 w 1047054"/>
                <a:gd name="connsiteY49" fmla="*/ 6778 h 663923"/>
                <a:gd name="connsiteX50" fmla="*/ 510962 w 1047054"/>
                <a:gd name="connsiteY50" fmla="*/ 32280 h 663923"/>
                <a:gd name="connsiteX51" fmla="*/ 489937 w 1047054"/>
                <a:gd name="connsiteY51" fmla="*/ 44346 h 663923"/>
                <a:gd name="connsiteX52" fmla="*/ 458885 w 1047054"/>
                <a:gd name="connsiteY52" fmla="*/ 49226 h 663923"/>
                <a:gd name="connsiteX53" fmla="*/ 430960 w 1047054"/>
                <a:gd name="connsiteY53" fmla="*/ 53237 h 663923"/>
                <a:gd name="connsiteX54" fmla="*/ 419635 w 1047054"/>
                <a:gd name="connsiteY54" fmla="*/ 65470 h 663923"/>
                <a:gd name="connsiteX55" fmla="*/ 387691 w 1047054"/>
                <a:gd name="connsiteY55" fmla="*/ 73224 h 663923"/>
                <a:gd name="connsiteX56" fmla="*/ 348076 w 1047054"/>
                <a:gd name="connsiteY56" fmla="*/ 95050 h 663923"/>
                <a:gd name="connsiteX57" fmla="*/ 306065 w 1047054"/>
                <a:gd name="connsiteY57" fmla="*/ 67141 h 663923"/>
                <a:gd name="connsiteX58" fmla="*/ 304157 w 1047054"/>
                <a:gd name="connsiteY58" fmla="*/ 53070 h 663923"/>
                <a:gd name="connsiteX59" fmla="*/ 289748 w 1047054"/>
                <a:gd name="connsiteY59" fmla="*/ 43043 h 663923"/>
                <a:gd name="connsiteX60" fmla="*/ 273228 w 1047054"/>
                <a:gd name="connsiteY60" fmla="*/ 50964 h 663923"/>
                <a:gd name="connsiteX61" fmla="*/ 247332 w 1047054"/>
                <a:gd name="connsiteY61" fmla="*/ 69046 h 663923"/>
                <a:gd name="connsiteX62" fmla="*/ 222450 w 1047054"/>
                <a:gd name="connsiteY62" fmla="*/ 80577 h 663923"/>
                <a:gd name="connsiteX63" fmla="*/ 208934 w 1047054"/>
                <a:gd name="connsiteY63" fmla="*/ 84956 h 663923"/>
                <a:gd name="connsiteX64" fmla="*/ 182997 w 1047054"/>
                <a:gd name="connsiteY64" fmla="*/ 87529 h 663923"/>
                <a:gd name="connsiteX65" fmla="*/ 168750 w 1047054"/>
                <a:gd name="connsiteY65" fmla="*/ 94615 h 663923"/>
                <a:gd name="connsiteX66" fmla="*/ 203535 w 1047054"/>
                <a:gd name="connsiteY66" fmla="*/ 113266 h 663923"/>
                <a:gd name="connsiteX67" fmla="*/ 213805 w 1047054"/>
                <a:gd name="connsiteY67" fmla="*/ 115572 h 663923"/>
                <a:gd name="connsiteX68" fmla="*/ 200938 w 1047054"/>
                <a:gd name="connsiteY68" fmla="*/ 123527 h 663923"/>
                <a:gd name="connsiteX69" fmla="*/ 192211 w 1047054"/>
                <a:gd name="connsiteY69" fmla="*/ 135793 h 663923"/>
                <a:gd name="connsiteX70" fmla="*/ 176949 w 1047054"/>
                <a:gd name="connsiteY70" fmla="*/ 146689 h 663923"/>
                <a:gd name="connsiteX71" fmla="*/ 158968 w 1047054"/>
                <a:gd name="connsiteY71" fmla="*/ 153374 h 663923"/>
                <a:gd name="connsiteX72" fmla="*/ 130190 w 1047054"/>
                <a:gd name="connsiteY72" fmla="*/ 157184 h 663923"/>
                <a:gd name="connsiteX73" fmla="*/ 114400 w 1047054"/>
                <a:gd name="connsiteY73" fmla="*/ 150299 h 663923"/>
                <a:gd name="connsiteX74" fmla="*/ 98164 w 1047054"/>
                <a:gd name="connsiteY74" fmla="*/ 153374 h 663923"/>
                <a:gd name="connsiteX75" fmla="*/ 64840 w 1047054"/>
                <a:gd name="connsiteY75" fmla="*/ 165340 h 663923"/>
                <a:gd name="connsiteX76" fmla="*/ 43043 w 1047054"/>
                <a:gd name="connsiteY76" fmla="*/ 174097 h 663923"/>
                <a:gd name="connsiteX77" fmla="*/ 62851 w 1047054"/>
                <a:gd name="connsiteY77" fmla="*/ 180380 h 663923"/>
                <a:gd name="connsiteX78" fmla="*/ 47792 w 1047054"/>
                <a:gd name="connsiteY78" fmla="*/ 193315 h 663923"/>
                <a:gd name="connsiteX79" fmla="*/ 66017 w 1047054"/>
                <a:gd name="connsiteY79" fmla="*/ 210996 h 663923"/>
                <a:gd name="connsiteX80" fmla="*/ 81239 w 1047054"/>
                <a:gd name="connsiteY80" fmla="*/ 246291 h 663923"/>
                <a:gd name="connsiteX81" fmla="*/ 82943 w 1047054"/>
                <a:gd name="connsiteY81" fmla="*/ 265309 h 663923"/>
                <a:gd name="connsiteX82" fmla="*/ 74825 w 1047054"/>
                <a:gd name="connsiteY82" fmla="*/ 270557 h 663923"/>
                <a:gd name="connsiteX83" fmla="*/ 52988 w 1047054"/>
                <a:gd name="connsiteY83" fmla="*/ 280584 h 663923"/>
                <a:gd name="connsiteX84" fmla="*/ 34844 w 1047054"/>
                <a:gd name="connsiteY84" fmla="*/ 289274 h 663923"/>
                <a:gd name="connsiteX85" fmla="*/ 18608 w 1047054"/>
                <a:gd name="connsiteY85" fmla="*/ 301273 h 663923"/>
                <a:gd name="connsiteX86" fmla="*/ 8096 w 1047054"/>
                <a:gd name="connsiteY86" fmla="*/ 321327 h 663923"/>
                <a:gd name="connsiteX87" fmla="*/ 10653 w 1047054"/>
                <a:gd name="connsiteY87" fmla="*/ 330953 h 663923"/>
                <a:gd name="connsiteX88" fmla="*/ 1480 w 1047054"/>
                <a:gd name="connsiteY88" fmla="*/ 339978 h 663923"/>
                <a:gd name="connsiteX89" fmla="*/ 9922 w 1047054"/>
                <a:gd name="connsiteY89" fmla="*/ 360433 h 663923"/>
                <a:gd name="connsiteX90" fmla="*/ 26605 w 1047054"/>
                <a:gd name="connsiteY90" fmla="*/ 367653 h 663923"/>
                <a:gd name="connsiteX91" fmla="*/ 34723 w 1047054"/>
                <a:gd name="connsiteY91" fmla="*/ 376175 h 663923"/>
                <a:gd name="connsiteX92" fmla="*/ 54774 w 1047054"/>
                <a:gd name="connsiteY92" fmla="*/ 377312 h 663923"/>
                <a:gd name="connsiteX93" fmla="*/ 80548 w 1047054"/>
                <a:gd name="connsiteY93" fmla="*/ 376242 h 663923"/>
                <a:gd name="connsiteX94" fmla="*/ 92725 w 1047054"/>
                <a:gd name="connsiteY94" fmla="*/ 369558 h 663923"/>
                <a:gd name="connsiteX95" fmla="*/ 101493 w 1047054"/>
                <a:gd name="connsiteY95" fmla="*/ 362338 h 663923"/>
                <a:gd name="connsiteX96" fmla="*/ 118946 w 1047054"/>
                <a:gd name="connsiteY96" fmla="*/ 383696 h 663923"/>
                <a:gd name="connsiteX97" fmla="*/ 147359 w 1047054"/>
                <a:gd name="connsiteY97" fmla="*/ 374738 h 663923"/>
                <a:gd name="connsiteX98" fmla="*/ 176543 w 1047054"/>
                <a:gd name="connsiteY98" fmla="*/ 361101 h 663923"/>
                <a:gd name="connsiteX99" fmla="*/ 235642 w 1047054"/>
                <a:gd name="connsiteY99" fmla="*/ 327310 h 663923"/>
                <a:gd name="connsiteX100" fmla="*/ 244815 w 1047054"/>
                <a:gd name="connsiteY100" fmla="*/ 331956 h 663923"/>
                <a:gd name="connsiteX101" fmla="*/ 257317 w 1047054"/>
                <a:gd name="connsiteY101" fmla="*/ 352010 h 663923"/>
                <a:gd name="connsiteX102" fmla="*/ 282807 w 1047054"/>
                <a:gd name="connsiteY102" fmla="*/ 361536 h 663923"/>
                <a:gd name="connsiteX103" fmla="*/ 310165 w 1047054"/>
                <a:gd name="connsiteY103" fmla="*/ 357826 h 663923"/>
                <a:gd name="connsiteX104" fmla="*/ 326157 w 1047054"/>
                <a:gd name="connsiteY104" fmla="*/ 357492 h 663923"/>
                <a:gd name="connsiteX105" fmla="*/ 347182 w 1047054"/>
                <a:gd name="connsiteY105" fmla="*/ 357492 h 663923"/>
                <a:gd name="connsiteX106" fmla="*/ 361632 w 1047054"/>
                <a:gd name="connsiteY106" fmla="*/ 361937 h 663923"/>
                <a:gd name="connsiteX107" fmla="*/ 386757 w 1047054"/>
                <a:gd name="connsiteY107" fmla="*/ 356857 h 663923"/>
                <a:gd name="connsiteX108" fmla="*/ 402263 w 1047054"/>
                <a:gd name="connsiteY108" fmla="*/ 367987 h 663923"/>
                <a:gd name="connsiteX109" fmla="*/ 410381 w 1047054"/>
                <a:gd name="connsiteY109" fmla="*/ 373268 h 663923"/>
                <a:gd name="connsiteX110" fmla="*/ 407499 w 1047054"/>
                <a:gd name="connsiteY110" fmla="*/ 379251 h 663923"/>
                <a:gd name="connsiteX111" fmla="*/ 419676 w 1047054"/>
                <a:gd name="connsiteY111" fmla="*/ 391684 h 663923"/>
                <a:gd name="connsiteX112" fmla="*/ 442203 w 1047054"/>
                <a:gd name="connsiteY112" fmla="*/ 392185 h 663923"/>
                <a:gd name="connsiteX113" fmla="*/ 467653 w 1047054"/>
                <a:gd name="connsiteY113" fmla="*/ 387406 h 663923"/>
                <a:gd name="connsiteX114" fmla="*/ 482387 w 1047054"/>
                <a:gd name="connsiteY114" fmla="*/ 399840 h 663923"/>
                <a:gd name="connsiteX115" fmla="*/ 497689 w 1047054"/>
                <a:gd name="connsiteY115" fmla="*/ 414245 h 663923"/>
                <a:gd name="connsiteX116" fmla="*/ 495497 w 1047054"/>
                <a:gd name="connsiteY116" fmla="*/ 440382 h 663923"/>
                <a:gd name="connsiteX117" fmla="*/ 498623 w 1047054"/>
                <a:gd name="connsiteY117" fmla="*/ 450410 h 663923"/>
                <a:gd name="connsiteX118" fmla="*/ 510800 w 1047054"/>
                <a:gd name="connsiteY118" fmla="*/ 463779 h 663923"/>
                <a:gd name="connsiteX119" fmla="*/ 514006 w 1047054"/>
                <a:gd name="connsiteY119" fmla="*/ 478652 h 663923"/>
                <a:gd name="connsiteX120" fmla="*/ 541851 w 1047054"/>
                <a:gd name="connsiteY120" fmla="*/ 475978 h 663923"/>
                <a:gd name="connsiteX121" fmla="*/ 554434 w 1047054"/>
                <a:gd name="connsiteY121" fmla="*/ 472904 h 663923"/>
                <a:gd name="connsiteX122" fmla="*/ 574120 w 1047054"/>
                <a:gd name="connsiteY122" fmla="*/ 483399 h 663923"/>
                <a:gd name="connsiteX123" fmla="*/ 588407 w 1047054"/>
                <a:gd name="connsiteY123" fmla="*/ 496768 h 663923"/>
                <a:gd name="connsiteX124" fmla="*/ 606998 w 1047054"/>
                <a:gd name="connsiteY124" fmla="*/ 491086 h 663923"/>
                <a:gd name="connsiteX125" fmla="*/ 620636 w 1047054"/>
                <a:gd name="connsiteY125" fmla="*/ 520532 h 663923"/>
                <a:gd name="connsiteX126" fmla="*/ 646816 w 1047054"/>
                <a:gd name="connsiteY126" fmla="*/ 529389 h 663923"/>
                <a:gd name="connsiteX127" fmla="*/ 637643 w 1047054"/>
                <a:gd name="connsiteY127" fmla="*/ 551014 h 663923"/>
                <a:gd name="connsiteX128" fmla="*/ 577205 w 1047054"/>
                <a:gd name="connsiteY128" fmla="*/ 622140 h 663923"/>
                <a:gd name="connsiteX129" fmla="*/ 591208 w 1047054"/>
                <a:gd name="connsiteY129" fmla="*/ 617527 h 663923"/>
                <a:gd name="connsiteX130" fmla="*/ 616049 w 1047054"/>
                <a:gd name="connsiteY130" fmla="*/ 625415 h 663923"/>
                <a:gd name="connsiteX131" fmla="*/ 623842 w 1047054"/>
                <a:gd name="connsiteY131" fmla="*/ 627220 h 663923"/>
                <a:gd name="connsiteX132" fmla="*/ 639226 w 1047054"/>
                <a:gd name="connsiteY132" fmla="*/ 624613 h 663923"/>
                <a:gd name="connsiteX133" fmla="*/ 678476 w 1047054"/>
                <a:gd name="connsiteY133" fmla="*/ 632635 h 663923"/>
                <a:gd name="connsiteX134" fmla="*/ 699258 w 1047054"/>
                <a:gd name="connsiteY134" fmla="*/ 663585 h 663923"/>
                <a:gd name="connsiteX135" fmla="*/ 707904 w 1047054"/>
                <a:gd name="connsiteY135" fmla="*/ 653357 h 663923"/>
                <a:gd name="connsiteX136" fmla="*/ 707701 w 1047054"/>
                <a:gd name="connsiteY136" fmla="*/ 652956 h 663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1047054" h="663923">
                  <a:moveTo>
                    <a:pt x="707701" y="652956"/>
                  </a:moveTo>
                  <a:cubicBezTo>
                    <a:pt x="717158" y="644834"/>
                    <a:pt x="718944" y="633504"/>
                    <a:pt x="720243" y="623778"/>
                  </a:cubicBezTo>
                  <a:cubicBezTo>
                    <a:pt x="720892" y="619031"/>
                    <a:pt x="719147" y="614653"/>
                    <a:pt x="721785" y="609940"/>
                  </a:cubicBezTo>
                  <a:cubicBezTo>
                    <a:pt x="724789" y="604659"/>
                    <a:pt x="729903" y="601150"/>
                    <a:pt x="727671" y="595534"/>
                  </a:cubicBezTo>
                  <a:cubicBezTo>
                    <a:pt x="725114" y="588850"/>
                    <a:pt x="741796" y="577118"/>
                    <a:pt x="743663" y="584237"/>
                  </a:cubicBezTo>
                  <a:cubicBezTo>
                    <a:pt x="746058" y="593630"/>
                    <a:pt x="729010" y="603389"/>
                    <a:pt x="731202" y="611678"/>
                  </a:cubicBezTo>
                  <a:cubicBezTo>
                    <a:pt x="737534" y="607099"/>
                    <a:pt x="743461" y="602186"/>
                    <a:pt x="748899" y="596905"/>
                  </a:cubicBezTo>
                  <a:cubicBezTo>
                    <a:pt x="754460" y="588649"/>
                    <a:pt x="758438" y="579759"/>
                    <a:pt x="760711" y="570534"/>
                  </a:cubicBezTo>
                  <a:cubicBezTo>
                    <a:pt x="763228" y="562880"/>
                    <a:pt x="765501" y="553822"/>
                    <a:pt x="773131" y="547137"/>
                  </a:cubicBezTo>
                  <a:cubicBezTo>
                    <a:pt x="780762" y="540452"/>
                    <a:pt x="786729" y="541622"/>
                    <a:pt x="785633" y="532565"/>
                  </a:cubicBezTo>
                  <a:cubicBezTo>
                    <a:pt x="784091" y="524175"/>
                    <a:pt x="780925" y="516053"/>
                    <a:pt x="776216" y="508533"/>
                  </a:cubicBezTo>
                  <a:cubicBezTo>
                    <a:pt x="771548" y="500010"/>
                    <a:pt x="776216" y="493559"/>
                    <a:pt x="774511" y="485136"/>
                  </a:cubicBezTo>
                  <a:cubicBezTo>
                    <a:pt x="773091" y="478452"/>
                    <a:pt x="784091" y="476647"/>
                    <a:pt x="790179" y="471132"/>
                  </a:cubicBezTo>
                  <a:cubicBezTo>
                    <a:pt x="800529" y="461773"/>
                    <a:pt x="807308" y="449407"/>
                    <a:pt x="823178" y="443524"/>
                  </a:cubicBezTo>
                  <a:cubicBezTo>
                    <a:pt x="832636" y="440182"/>
                    <a:pt x="837588" y="439313"/>
                    <a:pt x="843758" y="433898"/>
                  </a:cubicBezTo>
                  <a:cubicBezTo>
                    <a:pt x="848060" y="430121"/>
                    <a:pt x="860521" y="419058"/>
                    <a:pt x="866204" y="416785"/>
                  </a:cubicBezTo>
                  <a:cubicBezTo>
                    <a:pt x="875539" y="412975"/>
                    <a:pt x="930133" y="411805"/>
                    <a:pt x="927089" y="401277"/>
                  </a:cubicBezTo>
                  <a:cubicBezTo>
                    <a:pt x="924044" y="390748"/>
                    <a:pt x="937804" y="391617"/>
                    <a:pt x="945557" y="386269"/>
                  </a:cubicBezTo>
                  <a:cubicBezTo>
                    <a:pt x="952132" y="381757"/>
                    <a:pt x="945029" y="372232"/>
                    <a:pt x="948114" y="366483"/>
                  </a:cubicBezTo>
                  <a:cubicBezTo>
                    <a:pt x="952173" y="358929"/>
                    <a:pt x="958139" y="355119"/>
                    <a:pt x="958992" y="346629"/>
                  </a:cubicBezTo>
                  <a:cubicBezTo>
                    <a:pt x="959763" y="338808"/>
                    <a:pt x="966745" y="336936"/>
                    <a:pt x="966014" y="328280"/>
                  </a:cubicBezTo>
                  <a:cubicBezTo>
                    <a:pt x="965568" y="323500"/>
                    <a:pt x="961955" y="310665"/>
                    <a:pt x="967597" y="306621"/>
                  </a:cubicBezTo>
                  <a:cubicBezTo>
                    <a:pt x="974091" y="301908"/>
                    <a:pt x="978272" y="300137"/>
                    <a:pt x="975309" y="293954"/>
                  </a:cubicBezTo>
                  <a:cubicBezTo>
                    <a:pt x="971250" y="285698"/>
                    <a:pt x="975309" y="277476"/>
                    <a:pt x="973726" y="268986"/>
                  </a:cubicBezTo>
                  <a:cubicBezTo>
                    <a:pt x="971494" y="257823"/>
                    <a:pt x="964634" y="247662"/>
                    <a:pt x="962401" y="236398"/>
                  </a:cubicBezTo>
                  <a:cubicBezTo>
                    <a:pt x="961833" y="233457"/>
                    <a:pt x="966460" y="216344"/>
                    <a:pt x="965040" y="215809"/>
                  </a:cubicBezTo>
                  <a:cubicBezTo>
                    <a:pt x="954405" y="211297"/>
                    <a:pt x="961874" y="208857"/>
                    <a:pt x="971859" y="211030"/>
                  </a:cubicBezTo>
                  <a:cubicBezTo>
                    <a:pt x="991423" y="215341"/>
                    <a:pt x="993940" y="174264"/>
                    <a:pt x="1007415" y="167913"/>
                  </a:cubicBezTo>
                  <a:cubicBezTo>
                    <a:pt x="1059046" y="143614"/>
                    <a:pt x="1053972" y="101868"/>
                    <a:pt x="1027345" y="72856"/>
                  </a:cubicBezTo>
                  <a:cubicBezTo>
                    <a:pt x="1019227" y="64066"/>
                    <a:pt x="1000921" y="72489"/>
                    <a:pt x="987242" y="72522"/>
                  </a:cubicBezTo>
                  <a:cubicBezTo>
                    <a:pt x="954771" y="72522"/>
                    <a:pt x="934922" y="56680"/>
                    <a:pt x="905089" y="52836"/>
                  </a:cubicBezTo>
                  <a:cubicBezTo>
                    <a:pt x="877691" y="49493"/>
                    <a:pt x="860927" y="60657"/>
                    <a:pt x="835315" y="63230"/>
                  </a:cubicBezTo>
                  <a:cubicBezTo>
                    <a:pt x="821149" y="64634"/>
                    <a:pt x="808201" y="61727"/>
                    <a:pt x="794238" y="62495"/>
                  </a:cubicBezTo>
                  <a:cubicBezTo>
                    <a:pt x="779260" y="63297"/>
                    <a:pt x="772847" y="75096"/>
                    <a:pt x="761767" y="80176"/>
                  </a:cubicBezTo>
                  <a:cubicBezTo>
                    <a:pt x="754663" y="83519"/>
                    <a:pt x="761320" y="70851"/>
                    <a:pt x="761767" y="69481"/>
                  </a:cubicBezTo>
                  <a:cubicBezTo>
                    <a:pt x="763877" y="62796"/>
                    <a:pt x="761158" y="60022"/>
                    <a:pt x="751741" y="57916"/>
                  </a:cubicBezTo>
                  <a:cubicBezTo>
                    <a:pt x="730025" y="53036"/>
                    <a:pt x="688380" y="48324"/>
                    <a:pt x="664311" y="54941"/>
                  </a:cubicBezTo>
                  <a:cubicBezTo>
                    <a:pt x="654772" y="57549"/>
                    <a:pt x="652134" y="63030"/>
                    <a:pt x="653838" y="68545"/>
                  </a:cubicBezTo>
                  <a:cubicBezTo>
                    <a:pt x="656111" y="75764"/>
                    <a:pt x="648521" y="71887"/>
                    <a:pt x="642189" y="74762"/>
                  </a:cubicBezTo>
                  <a:cubicBezTo>
                    <a:pt x="634842" y="78104"/>
                    <a:pt x="637237" y="89769"/>
                    <a:pt x="625019" y="89535"/>
                  </a:cubicBezTo>
                  <a:cubicBezTo>
                    <a:pt x="613735" y="89368"/>
                    <a:pt x="633137" y="75497"/>
                    <a:pt x="634924" y="72823"/>
                  </a:cubicBezTo>
                  <a:cubicBezTo>
                    <a:pt x="647628" y="54875"/>
                    <a:pt x="630865" y="53838"/>
                    <a:pt x="606511" y="57348"/>
                  </a:cubicBezTo>
                  <a:cubicBezTo>
                    <a:pt x="597905" y="58585"/>
                    <a:pt x="585201" y="60523"/>
                    <a:pt x="579478" y="65804"/>
                  </a:cubicBezTo>
                  <a:cubicBezTo>
                    <a:pt x="576474" y="68545"/>
                    <a:pt x="578179" y="79174"/>
                    <a:pt x="573389" y="80043"/>
                  </a:cubicBezTo>
                  <a:cubicBezTo>
                    <a:pt x="562065" y="81747"/>
                    <a:pt x="560035" y="73358"/>
                    <a:pt x="565474" y="68445"/>
                  </a:cubicBezTo>
                  <a:cubicBezTo>
                    <a:pt x="572659" y="61760"/>
                    <a:pt x="581264" y="61459"/>
                    <a:pt x="586581" y="52568"/>
                  </a:cubicBezTo>
                  <a:cubicBezTo>
                    <a:pt x="589909" y="46953"/>
                    <a:pt x="598961" y="34854"/>
                    <a:pt x="589463" y="31211"/>
                  </a:cubicBezTo>
                  <a:cubicBezTo>
                    <a:pt x="579965" y="27567"/>
                    <a:pt x="566327" y="28570"/>
                    <a:pt x="558980" y="22220"/>
                  </a:cubicBezTo>
                  <a:cubicBezTo>
                    <a:pt x="552973" y="17072"/>
                    <a:pt x="549928" y="10655"/>
                    <a:pt x="545058" y="5040"/>
                  </a:cubicBezTo>
                  <a:cubicBezTo>
                    <a:pt x="538238" y="-2881"/>
                    <a:pt x="534748" y="-1845"/>
                    <a:pt x="527198" y="6778"/>
                  </a:cubicBezTo>
                  <a:cubicBezTo>
                    <a:pt x="520257" y="14666"/>
                    <a:pt x="512667" y="23490"/>
                    <a:pt x="510962" y="32280"/>
                  </a:cubicBezTo>
                  <a:cubicBezTo>
                    <a:pt x="509257" y="41071"/>
                    <a:pt x="500734" y="40837"/>
                    <a:pt x="489937" y="44346"/>
                  </a:cubicBezTo>
                  <a:cubicBezTo>
                    <a:pt x="479140" y="47856"/>
                    <a:pt x="469642" y="53237"/>
                    <a:pt x="458885" y="49226"/>
                  </a:cubicBezTo>
                  <a:cubicBezTo>
                    <a:pt x="449104" y="45616"/>
                    <a:pt x="441838" y="49961"/>
                    <a:pt x="430960" y="53237"/>
                  </a:cubicBezTo>
                  <a:cubicBezTo>
                    <a:pt x="416875" y="57482"/>
                    <a:pt x="422842" y="57716"/>
                    <a:pt x="419635" y="65470"/>
                  </a:cubicBezTo>
                  <a:cubicBezTo>
                    <a:pt x="416510" y="72623"/>
                    <a:pt x="395281" y="69882"/>
                    <a:pt x="387691" y="73224"/>
                  </a:cubicBezTo>
                  <a:cubicBezTo>
                    <a:pt x="374256" y="79006"/>
                    <a:pt x="363905" y="91540"/>
                    <a:pt x="348076" y="95050"/>
                  </a:cubicBezTo>
                  <a:cubicBezTo>
                    <a:pt x="324371" y="100331"/>
                    <a:pt x="298394" y="81981"/>
                    <a:pt x="306065" y="67141"/>
                  </a:cubicBezTo>
                  <a:cubicBezTo>
                    <a:pt x="308866" y="61827"/>
                    <a:pt x="313452" y="56145"/>
                    <a:pt x="304157" y="53070"/>
                  </a:cubicBezTo>
                  <a:cubicBezTo>
                    <a:pt x="294862" y="49995"/>
                    <a:pt x="296039" y="48190"/>
                    <a:pt x="289748" y="43043"/>
                  </a:cubicBezTo>
                  <a:cubicBezTo>
                    <a:pt x="282645" y="36926"/>
                    <a:pt x="274770" y="46987"/>
                    <a:pt x="273228" y="50964"/>
                  </a:cubicBezTo>
                  <a:cubicBezTo>
                    <a:pt x="270833" y="57081"/>
                    <a:pt x="255003" y="65035"/>
                    <a:pt x="247332" y="69046"/>
                  </a:cubicBezTo>
                  <a:cubicBezTo>
                    <a:pt x="239660" y="73057"/>
                    <a:pt x="225494" y="73425"/>
                    <a:pt x="222450" y="80577"/>
                  </a:cubicBezTo>
                  <a:cubicBezTo>
                    <a:pt x="217904" y="91306"/>
                    <a:pt x="221922" y="86426"/>
                    <a:pt x="208934" y="84956"/>
                  </a:cubicBezTo>
                  <a:cubicBezTo>
                    <a:pt x="202196" y="84187"/>
                    <a:pt x="190425" y="87095"/>
                    <a:pt x="182997" y="87529"/>
                  </a:cubicBezTo>
                  <a:cubicBezTo>
                    <a:pt x="179385" y="87529"/>
                    <a:pt x="158643" y="94014"/>
                    <a:pt x="168750" y="94615"/>
                  </a:cubicBezTo>
                  <a:cubicBezTo>
                    <a:pt x="179993" y="95284"/>
                    <a:pt x="194809" y="117577"/>
                    <a:pt x="203535" y="113266"/>
                  </a:cubicBezTo>
                  <a:cubicBezTo>
                    <a:pt x="208771" y="110692"/>
                    <a:pt x="221679" y="108586"/>
                    <a:pt x="213805" y="115572"/>
                  </a:cubicBezTo>
                  <a:cubicBezTo>
                    <a:pt x="210151" y="118914"/>
                    <a:pt x="204144" y="119850"/>
                    <a:pt x="200938" y="123527"/>
                  </a:cubicBezTo>
                  <a:cubicBezTo>
                    <a:pt x="196879" y="127972"/>
                    <a:pt x="200288" y="132852"/>
                    <a:pt x="192211" y="135793"/>
                  </a:cubicBezTo>
                  <a:cubicBezTo>
                    <a:pt x="184133" y="138734"/>
                    <a:pt x="182023" y="141843"/>
                    <a:pt x="176949" y="146689"/>
                  </a:cubicBezTo>
                  <a:cubicBezTo>
                    <a:pt x="169683" y="153675"/>
                    <a:pt x="167613" y="149296"/>
                    <a:pt x="158968" y="153374"/>
                  </a:cubicBezTo>
                  <a:cubicBezTo>
                    <a:pt x="146791" y="159089"/>
                    <a:pt x="143584" y="162265"/>
                    <a:pt x="130190" y="157184"/>
                  </a:cubicBezTo>
                  <a:cubicBezTo>
                    <a:pt x="124669" y="155112"/>
                    <a:pt x="120002" y="152338"/>
                    <a:pt x="114400" y="150299"/>
                  </a:cubicBezTo>
                  <a:cubicBezTo>
                    <a:pt x="105024" y="146957"/>
                    <a:pt x="106282" y="148895"/>
                    <a:pt x="98164" y="153374"/>
                  </a:cubicBezTo>
                  <a:cubicBezTo>
                    <a:pt x="87733" y="158535"/>
                    <a:pt x="76530" y="162559"/>
                    <a:pt x="64840" y="165340"/>
                  </a:cubicBezTo>
                  <a:cubicBezTo>
                    <a:pt x="61147" y="166376"/>
                    <a:pt x="43287" y="170520"/>
                    <a:pt x="43043" y="174097"/>
                  </a:cubicBezTo>
                  <a:cubicBezTo>
                    <a:pt x="42394" y="182920"/>
                    <a:pt x="55220" y="178943"/>
                    <a:pt x="62851" y="180380"/>
                  </a:cubicBezTo>
                  <a:cubicBezTo>
                    <a:pt x="73567" y="182486"/>
                    <a:pt x="49335" y="191677"/>
                    <a:pt x="47792" y="193315"/>
                  </a:cubicBezTo>
                  <a:cubicBezTo>
                    <a:pt x="39674" y="201571"/>
                    <a:pt x="59401" y="208222"/>
                    <a:pt x="66017" y="210996"/>
                  </a:cubicBezTo>
                  <a:cubicBezTo>
                    <a:pt x="81482" y="217480"/>
                    <a:pt x="77423" y="234794"/>
                    <a:pt x="81239" y="246291"/>
                  </a:cubicBezTo>
                  <a:cubicBezTo>
                    <a:pt x="83759" y="252408"/>
                    <a:pt x="84348" y="258959"/>
                    <a:pt x="82943" y="265309"/>
                  </a:cubicBezTo>
                  <a:cubicBezTo>
                    <a:pt x="81969" y="268418"/>
                    <a:pt x="79737" y="269788"/>
                    <a:pt x="74825" y="270557"/>
                  </a:cubicBezTo>
                  <a:cubicBezTo>
                    <a:pt x="63095" y="272362"/>
                    <a:pt x="61918" y="275403"/>
                    <a:pt x="52988" y="280584"/>
                  </a:cubicBezTo>
                  <a:cubicBezTo>
                    <a:pt x="47346" y="283926"/>
                    <a:pt x="40446" y="285865"/>
                    <a:pt x="34844" y="289274"/>
                  </a:cubicBezTo>
                  <a:cubicBezTo>
                    <a:pt x="29243" y="292683"/>
                    <a:pt x="24819" y="297663"/>
                    <a:pt x="18608" y="301273"/>
                  </a:cubicBezTo>
                  <a:cubicBezTo>
                    <a:pt x="8258" y="307122"/>
                    <a:pt x="10490" y="313774"/>
                    <a:pt x="8096" y="321327"/>
                  </a:cubicBezTo>
                  <a:cubicBezTo>
                    <a:pt x="6675" y="325572"/>
                    <a:pt x="11099" y="327243"/>
                    <a:pt x="10653" y="330953"/>
                  </a:cubicBezTo>
                  <a:cubicBezTo>
                    <a:pt x="10369" y="333761"/>
                    <a:pt x="3428" y="337438"/>
                    <a:pt x="1480" y="339978"/>
                  </a:cubicBezTo>
                  <a:cubicBezTo>
                    <a:pt x="-3188" y="346027"/>
                    <a:pt x="3671" y="357492"/>
                    <a:pt x="9922" y="360433"/>
                  </a:cubicBezTo>
                  <a:cubicBezTo>
                    <a:pt x="15321" y="362973"/>
                    <a:pt x="21287" y="365046"/>
                    <a:pt x="26605" y="367653"/>
                  </a:cubicBezTo>
                  <a:cubicBezTo>
                    <a:pt x="31922" y="370259"/>
                    <a:pt x="30948" y="373635"/>
                    <a:pt x="34723" y="376175"/>
                  </a:cubicBezTo>
                  <a:cubicBezTo>
                    <a:pt x="41055" y="380420"/>
                    <a:pt x="49700" y="371998"/>
                    <a:pt x="54774" y="377312"/>
                  </a:cubicBezTo>
                  <a:cubicBezTo>
                    <a:pt x="60822" y="383595"/>
                    <a:pt x="70360" y="379117"/>
                    <a:pt x="80548" y="376242"/>
                  </a:cubicBezTo>
                  <a:cubicBezTo>
                    <a:pt x="84851" y="375039"/>
                    <a:pt x="91873" y="373134"/>
                    <a:pt x="92725" y="369558"/>
                  </a:cubicBezTo>
                  <a:cubicBezTo>
                    <a:pt x="93091" y="367953"/>
                    <a:pt x="96784" y="360232"/>
                    <a:pt x="101493" y="362338"/>
                  </a:cubicBezTo>
                  <a:cubicBezTo>
                    <a:pt x="105227" y="364076"/>
                    <a:pt x="110098" y="388877"/>
                    <a:pt x="118946" y="383696"/>
                  </a:cubicBezTo>
                  <a:cubicBezTo>
                    <a:pt x="127592" y="379184"/>
                    <a:pt x="137256" y="376142"/>
                    <a:pt x="147359" y="374738"/>
                  </a:cubicBezTo>
                  <a:cubicBezTo>
                    <a:pt x="163595" y="372232"/>
                    <a:pt x="165706" y="369357"/>
                    <a:pt x="176543" y="361101"/>
                  </a:cubicBezTo>
                  <a:cubicBezTo>
                    <a:pt x="194565" y="347398"/>
                    <a:pt x="211897" y="335867"/>
                    <a:pt x="235642" y="327310"/>
                  </a:cubicBezTo>
                  <a:cubicBezTo>
                    <a:pt x="244977" y="323968"/>
                    <a:pt x="243760" y="327310"/>
                    <a:pt x="244815" y="331956"/>
                  </a:cubicBezTo>
                  <a:cubicBezTo>
                    <a:pt x="246414" y="339543"/>
                    <a:pt x="250774" y="346529"/>
                    <a:pt x="257317" y="352010"/>
                  </a:cubicBezTo>
                  <a:cubicBezTo>
                    <a:pt x="264619" y="357024"/>
                    <a:pt x="273423" y="360299"/>
                    <a:pt x="282807" y="361536"/>
                  </a:cubicBezTo>
                  <a:cubicBezTo>
                    <a:pt x="293239" y="363207"/>
                    <a:pt x="300383" y="357592"/>
                    <a:pt x="310165" y="357826"/>
                  </a:cubicBezTo>
                  <a:cubicBezTo>
                    <a:pt x="314224" y="357826"/>
                    <a:pt x="323843" y="355553"/>
                    <a:pt x="326157" y="357492"/>
                  </a:cubicBezTo>
                  <a:cubicBezTo>
                    <a:pt x="331799" y="362271"/>
                    <a:pt x="338334" y="357960"/>
                    <a:pt x="347182" y="357492"/>
                  </a:cubicBezTo>
                  <a:cubicBezTo>
                    <a:pt x="354935" y="357024"/>
                    <a:pt x="355300" y="362472"/>
                    <a:pt x="361632" y="361937"/>
                  </a:cubicBezTo>
                  <a:cubicBezTo>
                    <a:pt x="369020" y="361269"/>
                    <a:pt x="379776" y="355252"/>
                    <a:pt x="386757" y="356857"/>
                  </a:cubicBezTo>
                  <a:cubicBezTo>
                    <a:pt x="397961" y="359430"/>
                    <a:pt x="396743" y="362071"/>
                    <a:pt x="402263" y="367987"/>
                  </a:cubicBezTo>
                  <a:cubicBezTo>
                    <a:pt x="404374" y="370226"/>
                    <a:pt x="408067" y="371329"/>
                    <a:pt x="410381" y="373268"/>
                  </a:cubicBezTo>
                  <a:cubicBezTo>
                    <a:pt x="412695" y="375206"/>
                    <a:pt x="407742" y="376811"/>
                    <a:pt x="407499" y="379251"/>
                  </a:cubicBezTo>
                  <a:cubicBezTo>
                    <a:pt x="407174" y="382225"/>
                    <a:pt x="416834" y="389578"/>
                    <a:pt x="419676" y="391684"/>
                  </a:cubicBezTo>
                  <a:cubicBezTo>
                    <a:pt x="424709" y="395628"/>
                    <a:pt x="435100" y="393823"/>
                    <a:pt x="442203" y="392185"/>
                  </a:cubicBezTo>
                  <a:cubicBezTo>
                    <a:pt x="449306" y="390548"/>
                    <a:pt x="460428" y="385501"/>
                    <a:pt x="467653" y="387406"/>
                  </a:cubicBezTo>
                  <a:cubicBezTo>
                    <a:pt x="474878" y="389311"/>
                    <a:pt x="474106" y="397232"/>
                    <a:pt x="482387" y="399840"/>
                  </a:cubicBezTo>
                  <a:cubicBezTo>
                    <a:pt x="491966" y="402814"/>
                    <a:pt x="497324" y="406524"/>
                    <a:pt x="497689" y="414245"/>
                  </a:cubicBezTo>
                  <a:cubicBezTo>
                    <a:pt x="498055" y="421966"/>
                    <a:pt x="504143" y="433530"/>
                    <a:pt x="495497" y="440382"/>
                  </a:cubicBezTo>
                  <a:cubicBezTo>
                    <a:pt x="505401" y="444694"/>
                    <a:pt x="499556" y="444627"/>
                    <a:pt x="498623" y="450410"/>
                  </a:cubicBezTo>
                  <a:cubicBezTo>
                    <a:pt x="497973" y="454654"/>
                    <a:pt x="509298" y="459568"/>
                    <a:pt x="510800" y="463779"/>
                  </a:cubicBezTo>
                  <a:cubicBezTo>
                    <a:pt x="512302" y="467990"/>
                    <a:pt x="509339" y="475444"/>
                    <a:pt x="514006" y="478652"/>
                  </a:cubicBezTo>
                  <a:cubicBezTo>
                    <a:pt x="518674" y="481861"/>
                    <a:pt x="535276" y="476313"/>
                    <a:pt x="541851" y="475978"/>
                  </a:cubicBezTo>
                  <a:cubicBezTo>
                    <a:pt x="547290" y="475678"/>
                    <a:pt x="549969" y="473338"/>
                    <a:pt x="554434" y="472904"/>
                  </a:cubicBezTo>
                  <a:cubicBezTo>
                    <a:pt x="562552" y="472135"/>
                    <a:pt x="570670" y="479588"/>
                    <a:pt x="574120" y="483399"/>
                  </a:cubicBezTo>
                  <a:cubicBezTo>
                    <a:pt x="578219" y="488312"/>
                    <a:pt x="583009" y="492790"/>
                    <a:pt x="588407" y="496768"/>
                  </a:cubicBezTo>
                  <a:cubicBezTo>
                    <a:pt x="594740" y="501213"/>
                    <a:pt x="599651" y="492857"/>
                    <a:pt x="606998" y="491086"/>
                  </a:cubicBezTo>
                  <a:cubicBezTo>
                    <a:pt x="624898" y="486841"/>
                    <a:pt x="618647" y="514282"/>
                    <a:pt x="620636" y="520532"/>
                  </a:cubicBezTo>
                  <a:cubicBezTo>
                    <a:pt x="638739" y="515752"/>
                    <a:pt x="641458" y="518326"/>
                    <a:pt x="646816" y="529389"/>
                  </a:cubicBezTo>
                  <a:cubicBezTo>
                    <a:pt x="651809" y="539650"/>
                    <a:pt x="651159" y="543093"/>
                    <a:pt x="637643" y="551014"/>
                  </a:cubicBezTo>
                  <a:cubicBezTo>
                    <a:pt x="605739" y="569798"/>
                    <a:pt x="594577" y="597506"/>
                    <a:pt x="577205" y="622140"/>
                  </a:cubicBezTo>
                  <a:cubicBezTo>
                    <a:pt x="582563" y="621337"/>
                    <a:pt x="586013" y="618396"/>
                    <a:pt x="591208" y="617527"/>
                  </a:cubicBezTo>
                  <a:cubicBezTo>
                    <a:pt x="601153" y="615889"/>
                    <a:pt x="610448" y="620870"/>
                    <a:pt x="616049" y="625415"/>
                  </a:cubicBezTo>
                  <a:cubicBezTo>
                    <a:pt x="617876" y="626852"/>
                    <a:pt x="621082" y="630963"/>
                    <a:pt x="623842" y="627220"/>
                  </a:cubicBezTo>
                  <a:cubicBezTo>
                    <a:pt x="628956" y="620268"/>
                    <a:pt x="630702" y="621805"/>
                    <a:pt x="639226" y="624613"/>
                  </a:cubicBezTo>
                  <a:cubicBezTo>
                    <a:pt x="651403" y="628557"/>
                    <a:pt x="665812" y="629593"/>
                    <a:pt x="678476" y="632635"/>
                  </a:cubicBezTo>
                  <a:cubicBezTo>
                    <a:pt x="694712" y="636612"/>
                    <a:pt x="688542" y="655229"/>
                    <a:pt x="699258" y="663585"/>
                  </a:cubicBezTo>
                  <a:cubicBezTo>
                    <a:pt x="701531" y="659841"/>
                    <a:pt x="704453" y="656399"/>
                    <a:pt x="707904" y="653357"/>
                  </a:cubicBezTo>
                  <a:cubicBezTo>
                    <a:pt x="720243" y="642194"/>
                    <a:pt x="703764" y="656366"/>
                    <a:pt x="707701" y="65295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6AB650D8-C475-48D2-BC58-6D4F91D0B9C1}"/>
                </a:ext>
              </a:extLst>
            </p:cNvPr>
            <p:cNvSpPr/>
            <p:nvPr/>
          </p:nvSpPr>
          <p:spPr>
            <a:xfrm>
              <a:off x="4431254" y="5685465"/>
              <a:ext cx="123919" cy="61908"/>
            </a:xfrm>
            <a:custGeom>
              <a:avLst/>
              <a:gdLst>
                <a:gd name="connsiteX0" fmla="*/ 115800 w 127184"/>
                <a:gd name="connsiteY0" fmla="*/ 20815 h 84766"/>
                <a:gd name="connsiteX1" fmla="*/ 77483 w 127184"/>
                <a:gd name="connsiteY1" fmla="*/ 8615 h 84766"/>
                <a:gd name="connsiteX2" fmla="*/ 55240 w 127184"/>
                <a:gd name="connsiteY2" fmla="*/ 4070 h 84766"/>
                <a:gd name="connsiteX3" fmla="*/ 43753 w 127184"/>
                <a:gd name="connsiteY3" fmla="*/ 6944 h 84766"/>
                <a:gd name="connsiteX4" fmla="*/ 728 w 127184"/>
                <a:gd name="connsiteY4" fmla="*/ 11623 h 84766"/>
                <a:gd name="connsiteX5" fmla="*/ 4787 w 127184"/>
                <a:gd name="connsiteY5" fmla="*/ 53236 h 84766"/>
                <a:gd name="connsiteX6" fmla="*/ 13839 w 127184"/>
                <a:gd name="connsiteY6" fmla="*/ 75496 h 84766"/>
                <a:gd name="connsiteX7" fmla="*/ 22484 w 127184"/>
                <a:gd name="connsiteY7" fmla="*/ 84420 h 84766"/>
                <a:gd name="connsiteX8" fmla="*/ 59583 w 127184"/>
                <a:gd name="connsiteY8" fmla="*/ 81479 h 84766"/>
                <a:gd name="connsiteX9" fmla="*/ 78214 w 127184"/>
                <a:gd name="connsiteY9" fmla="*/ 76933 h 84766"/>
                <a:gd name="connsiteX10" fmla="*/ 113243 w 127184"/>
                <a:gd name="connsiteY10" fmla="*/ 64967 h 84766"/>
                <a:gd name="connsiteX11" fmla="*/ 127125 w 127184"/>
                <a:gd name="connsiteY11" fmla="*/ 45114 h 84766"/>
                <a:gd name="connsiteX12" fmla="*/ 115963 w 127184"/>
                <a:gd name="connsiteY12" fmla="*/ 20815 h 84766"/>
                <a:gd name="connsiteX13" fmla="*/ 115800 w 127184"/>
                <a:gd name="connsiteY13" fmla="*/ 20815 h 84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184" h="84766">
                  <a:moveTo>
                    <a:pt x="115800" y="20815"/>
                  </a:moveTo>
                  <a:cubicBezTo>
                    <a:pt x="112756" y="12024"/>
                    <a:pt x="88361" y="10487"/>
                    <a:pt x="77483" y="8615"/>
                  </a:cubicBezTo>
                  <a:cubicBezTo>
                    <a:pt x="73425" y="7847"/>
                    <a:pt x="58852" y="1396"/>
                    <a:pt x="55240" y="4070"/>
                  </a:cubicBezTo>
                  <a:cubicBezTo>
                    <a:pt x="49192" y="8548"/>
                    <a:pt x="51181" y="12793"/>
                    <a:pt x="43753" y="6944"/>
                  </a:cubicBezTo>
                  <a:cubicBezTo>
                    <a:pt x="32835" y="-1980"/>
                    <a:pt x="4503" y="-5088"/>
                    <a:pt x="728" y="11623"/>
                  </a:cubicBezTo>
                  <a:cubicBezTo>
                    <a:pt x="-2397" y="25528"/>
                    <a:pt x="4787" y="39699"/>
                    <a:pt x="4787" y="53236"/>
                  </a:cubicBezTo>
                  <a:cubicBezTo>
                    <a:pt x="4787" y="59920"/>
                    <a:pt x="-3" y="75296"/>
                    <a:pt x="13839" y="75496"/>
                  </a:cubicBezTo>
                  <a:cubicBezTo>
                    <a:pt x="20090" y="75496"/>
                    <a:pt x="12296" y="84253"/>
                    <a:pt x="22484" y="84420"/>
                  </a:cubicBezTo>
                  <a:cubicBezTo>
                    <a:pt x="34337" y="84620"/>
                    <a:pt x="46838" y="80744"/>
                    <a:pt x="59583" y="81479"/>
                  </a:cubicBezTo>
                  <a:cubicBezTo>
                    <a:pt x="68270" y="81980"/>
                    <a:pt x="70218" y="78136"/>
                    <a:pt x="78214" y="76933"/>
                  </a:cubicBezTo>
                  <a:cubicBezTo>
                    <a:pt x="91040" y="75128"/>
                    <a:pt x="103745" y="72220"/>
                    <a:pt x="113243" y="64967"/>
                  </a:cubicBezTo>
                  <a:cubicBezTo>
                    <a:pt x="120590" y="59352"/>
                    <a:pt x="122944" y="51799"/>
                    <a:pt x="127125" y="45114"/>
                  </a:cubicBezTo>
                  <a:cubicBezTo>
                    <a:pt x="118520" y="38429"/>
                    <a:pt x="119007" y="29305"/>
                    <a:pt x="115963" y="20815"/>
                  </a:cubicBezTo>
                  <a:cubicBezTo>
                    <a:pt x="113121" y="12927"/>
                    <a:pt x="117708" y="26196"/>
                    <a:pt x="115800" y="2081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942D9D91-0C21-4171-B64D-6B5300468DAA}"/>
                </a:ext>
              </a:extLst>
            </p:cNvPr>
            <p:cNvSpPr/>
            <p:nvPr/>
          </p:nvSpPr>
          <p:spPr>
            <a:xfrm>
              <a:off x="4131159" y="5608227"/>
              <a:ext cx="375413" cy="492419"/>
            </a:xfrm>
            <a:custGeom>
              <a:avLst/>
              <a:gdLst>
                <a:gd name="connsiteX0" fmla="*/ 305767 w 385303"/>
                <a:gd name="connsiteY0" fmla="*/ 647979 h 674234"/>
                <a:gd name="connsiteX1" fmla="*/ 254056 w 385303"/>
                <a:gd name="connsiteY1" fmla="*/ 639222 h 674234"/>
                <a:gd name="connsiteX2" fmla="*/ 244598 w 385303"/>
                <a:gd name="connsiteY2" fmla="*/ 633673 h 674234"/>
                <a:gd name="connsiteX3" fmla="*/ 235181 w 385303"/>
                <a:gd name="connsiteY3" fmla="*/ 634709 h 674234"/>
                <a:gd name="connsiteX4" fmla="*/ 227834 w 385303"/>
                <a:gd name="connsiteY4" fmla="*/ 621039 h 674234"/>
                <a:gd name="connsiteX5" fmla="*/ 251011 w 385303"/>
                <a:gd name="connsiteY5" fmla="*/ 673882 h 674234"/>
                <a:gd name="connsiteX6" fmla="*/ 272037 w 385303"/>
                <a:gd name="connsiteY6" fmla="*/ 667197 h 674234"/>
                <a:gd name="connsiteX7" fmla="*/ 294970 w 385303"/>
                <a:gd name="connsiteY7" fmla="*/ 664122 h 674234"/>
                <a:gd name="connsiteX8" fmla="*/ 304062 w 385303"/>
                <a:gd name="connsiteY8" fmla="*/ 657437 h 674234"/>
                <a:gd name="connsiteX9" fmla="*/ 318472 w 385303"/>
                <a:gd name="connsiteY9" fmla="*/ 651488 h 674234"/>
                <a:gd name="connsiteX10" fmla="*/ 305767 w 385303"/>
                <a:gd name="connsiteY10" fmla="*/ 647979 h 674234"/>
                <a:gd name="connsiteX11" fmla="*/ 372943 w 385303"/>
                <a:gd name="connsiteY11" fmla="*/ 4508 h 674234"/>
                <a:gd name="connsiteX12" fmla="*/ 356342 w 385303"/>
                <a:gd name="connsiteY12" fmla="*/ 7850 h 674234"/>
                <a:gd name="connsiteX13" fmla="*/ 348833 w 385303"/>
                <a:gd name="connsiteY13" fmla="*/ 38199 h 674234"/>
                <a:gd name="connsiteX14" fmla="*/ 339335 w 385303"/>
                <a:gd name="connsiteY14" fmla="*/ 46454 h 674234"/>
                <a:gd name="connsiteX15" fmla="*/ 328416 w 385303"/>
                <a:gd name="connsiteY15" fmla="*/ 51067 h 674234"/>
                <a:gd name="connsiteX16" fmla="*/ 291235 w 385303"/>
                <a:gd name="connsiteY16" fmla="*/ 60258 h 674234"/>
                <a:gd name="connsiteX17" fmla="*/ 266882 w 385303"/>
                <a:gd name="connsiteY17" fmla="*/ 62631 h 674234"/>
                <a:gd name="connsiteX18" fmla="*/ 270941 w 385303"/>
                <a:gd name="connsiteY18" fmla="*/ 49797 h 674234"/>
                <a:gd name="connsiteX19" fmla="*/ 270941 w 385303"/>
                <a:gd name="connsiteY19" fmla="*/ 21553 h 674234"/>
                <a:gd name="connsiteX20" fmla="*/ 222233 w 385303"/>
                <a:gd name="connsiteY20" fmla="*/ 16908 h 674234"/>
                <a:gd name="connsiteX21" fmla="*/ 187164 w 385303"/>
                <a:gd name="connsiteY21" fmla="*/ 18011 h 674234"/>
                <a:gd name="connsiteX22" fmla="*/ 151566 w 385303"/>
                <a:gd name="connsiteY22" fmla="*/ 10290 h 674234"/>
                <a:gd name="connsiteX23" fmla="*/ 123153 w 385303"/>
                <a:gd name="connsiteY23" fmla="*/ -339 h 674234"/>
                <a:gd name="connsiteX24" fmla="*/ 97663 w 385303"/>
                <a:gd name="connsiteY24" fmla="*/ 8452 h 674234"/>
                <a:gd name="connsiteX25" fmla="*/ 90316 w 385303"/>
                <a:gd name="connsiteY25" fmla="*/ 21253 h 674234"/>
                <a:gd name="connsiteX26" fmla="*/ 78464 w 385303"/>
                <a:gd name="connsiteY26" fmla="*/ 17442 h 674234"/>
                <a:gd name="connsiteX27" fmla="*/ 55815 w 385303"/>
                <a:gd name="connsiteY27" fmla="*/ 20551 h 674234"/>
                <a:gd name="connsiteX28" fmla="*/ 33937 w 385303"/>
                <a:gd name="connsiteY28" fmla="*/ 27236 h 674234"/>
                <a:gd name="connsiteX29" fmla="*/ 19893 w 385303"/>
                <a:gd name="connsiteY29" fmla="*/ 42209 h 674234"/>
                <a:gd name="connsiteX30" fmla="*/ 23019 w 385303"/>
                <a:gd name="connsiteY30" fmla="*/ 56281 h 674234"/>
                <a:gd name="connsiteX31" fmla="*/ 4388 w 385303"/>
                <a:gd name="connsiteY31" fmla="*/ 91275 h 674234"/>
                <a:gd name="connsiteX32" fmla="*/ 10720 w 385303"/>
                <a:gd name="connsiteY32" fmla="*/ 104912 h 674234"/>
                <a:gd name="connsiteX33" fmla="*/ 13521 w 385303"/>
                <a:gd name="connsiteY33" fmla="*/ 117914 h 674234"/>
                <a:gd name="connsiteX34" fmla="*/ 11978 w 385303"/>
                <a:gd name="connsiteY34" fmla="*/ 130648 h 674234"/>
                <a:gd name="connsiteX35" fmla="*/ 6986 w 385303"/>
                <a:gd name="connsiteY35" fmla="*/ 151939 h 674234"/>
                <a:gd name="connsiteX36" fmla="*/ 2439 w 385303"/>
                <a:gd name="connsiteY36" fmla="*/ 172194 h 674234"/>
                <a:gd name="connsiteX37" fmla="*/ 6174 w 385303"/>
                <a:gd name="connsiteY37" fmla="*/ 186131 h 674234"/>
                <a:gd name="connsiteX38" fmla="*/ 532 w 385303"/>
                <a:gd name="connsiteY38" fmla="*/ 215444 h 674234"/>
                <a:gd name="connsiteX39" fmla="*/ 15997 w 385303"/>
                <a:gd name="connsiteY39" fmla="*/ 232390 h 674234"/>
                <a:gd name="connsiteX40" fmla="*/ 33653 w 385303"/>
                <a:gd name="connsiteY40" fmla="*/ 249503 h 674234"/>
                <a:gd name="connsiteX41" fmla="*/ 36576 w 385303"/>
                <a:gd name="connsiteY41" fmla="*/ 270559 h 674234"/>
                <a:gd name="connsiteX42" fmla="*/ 33978 w 385303"/>
                <a:gd name="connsiteY42" fmla="*/ 287839 h 674234"/>
                <a:gd name="connsiteX43" fmla="*/ 37468 w 385303"/>
                <a:gd name="connsiteY43" fmla="*/ 310266 h 674234"/>
                <a:gd name="connsiteX44" fmla="*/ 43395 w 385303"/>
                <a:gd name="connsiteY44" fmla="*/ 346498 h 674234"/>
                <a:gd name="connsiteX45" fmla="*/ 53055 w 385303"/>
                <a:gd name="connsiteY45" fmla="*/ 353951 h 674234"/>
                <a:gd name="connsiteX46" fmla="*/ 43151 w 385303"/>
                <a:gd name="connsiteY46" fmla="*/ 362508 h 674234"/>
                <a:gd name="connsiteX47" fmla="*/ 47900 w 385303"/>
                <a:gd name="connsiteY47" fmla="*/ 375041 h 674234"/>
                <a:gd name="connsiteX48" fmla="*/ 43232 w 385303"/>
                <a:gd name="connsiteY48" fmla="*/ 380757 h 674234"/>
                <a:gd name="connsiteX49" fmla="*/ 46033 w 385303"/>
                <a:gd name="connsiteY49" fmla="*/ 392956 h 674234"/>
                <a:gd name="connsiteX50" fmla="*/ 50539 w 385303"/>
                <a:gd name="connsiteY50" fmla="*/ 407730 h 674234"/>
                <a:gd name="connsiteX51" fmla="*/ 60077 w 385303"/>
                <a:gd name="connsiteY51" fmla="*/ 422202 h 674234"/>
                <a:gd name="connsiteX52" fmla="*/ 64380 w 385303"/>
                <a:gd name="connsiteY52" fmla="*/ 446635 h 674234"/>
                <a:gd name="connsiteX53" fmla="*/ 74040 w 385303"/>
                <a:gd name="connsiteY53" fmla="*/ 457531 h 674234"/>
                <a:gd name="connsiteX54" fmla="*/ 80818 w 385303"/>
                <a:gd name="connsiteY54" fmla="*/ 471168 h 674234"/>
                <a:gd name="connsiteX55" fmla="*/ 97257 w 385303"/>
                <a:gd name="connsiteY55" fmla="*/ 470633 h 674234"/>
                <a:gd name="connsiteX56" fmla="*/ 85080 w 385303"/>
                <a:gd name="connsiteY56" fmla="*/ 480660 h 674234"/>
                <a:gd name="connsiteX57" fmla="*/ 96364 w 385303"/>
                <a:gd name="connsiteY57" fmla="*/ 491423 h 674234"/>
                <a:gd name="connsiteX58" fmla="*/ 99977 w 385303"/>
                <a:gd name="connsiteY58" fmla="*/ 508368 h 674234"/>
                <a:gd name="connsiteX59" fmla="*/ 105497 w 385303"/>
                <a:gd name="connsiteY59" fmla="*/ 515554 h 674234"/>
                <a:gd name="connsiteX60" fmla="*/ 102493 w 385303"/>
                <a:gd name="connsiteY60" fmla="*/ 521704 h 674234"/>
                <a:gd name="connsiteX61" fmla="*/ 98434 w 385303"/>
                <a:gd name="connsiteY61" fmla="*/ 538416 h 674234"/>
                <a:gd name="connsiteX62" fmla="*/ 103752 w 385303"/>
                <a:gd name="connsiteY62" fmla="*/ 552053 h 674234"/>
                <a:gd name="connsiteX63" fmla="*/ 102290 w 385303"/>
                <a:gd name="connsiteY63" fmla="*/ 568765 h 674234"/>
                <a:gd name="connsiteX64" fmla="*/ 92549 w 385303"/>
                <a:gd name="connsiteY64" fmla="*/ 584808 h 674234"/>
                <a:gd name="connsiteX65" fmla="*/ 94172 w 385303"/>
                <a:gd name="connsiteY65" fmla="*/ 594033 h 674234"/>
                <a:gd name="connsiteX66" fmla="*/ 105253 w 385303"/>
                <a:gd name="connsiteY66" fmla="*/ 605063 h 674234"/>
                <a:gd name="connsiteX67" fmla="*/ 122504 w 385303"/>
                <a:gd name="connsiteY67" fmla="*/ 605564 h 674234"/>
                <a:gd name="connsiteX68" fmla="*/ 132814 w 385303"/>
                <a:gd name="connsiteY68" fmla="*/ 613753 h 674234"/>
                <a:gd name="connsiteX69" fmla="*/ 164433 w 385303"/>
                <a:gd name="connsiteY69" fmla="*/ 624582 h 674234"/>
                <a:gd name="connsiteX70" fmla="*/ 218864 w 385303"/>
                <a:gd name="connsiteY70" fmla="*/ 615457 h 674234"/>
                <a:gd name="connsiteX71" fmla="*/ 224060 w 385303"/>
                <a:gd name="connsiteY71" fmla="*/ 609341 h 674234"/>
                <a:gd name="connsiteX72" fmla="*/ 205185 w 385303"/>
                <a:gd name="connsiteY72" fmla="*/ 594534 h 674234"/>
                <a:gd name="connsiteX73" fmla="*/ 200517 w 385303"/>
                <a:gd name="connsiteY73" fmla="*/ 574480 h 674234"/>
                <a:gd name="connsiteX74" fmla="*/ 206809 w 385303"/>
                <a:gd name="connsiteY74" fmla="*/ 565623 h 674234"/>
                <a:gd name="connsiteX75" fmla="*/ 214562 w 385303"/>
                <a:gd name="connsiteY75" fmla="*/ 562280 h 674234"/>
                <a:gd name="connsiteX76" fmla="*/ 217322 w 385303"/>
                <a:gd name="connsiteY76" fmla="*/ 541491 h 674234"/>
                <a:gd name="connsiteX77" fmla="*/ 237048 w 385303"/>
                <a:gd name="connsiteY77" fmla="*/ 515722 h 674234"/>
                <a:gd name="connsiteX78" fmla="*/ 244598 w 385303"/>
                <a:gd name="connsiteY78" fmla="*/ 501784 h 674234"/>
                <a:gd name="connsiteX79" fmla="*/ 241879 w 385303"/>
                <a:gd name="connsiteY79" fmla="*/ 485673 h 674234"/>
                <a:gd name="connsiteX80" fmla="*/ 219148 w 385303"/>
                <a:gd name="connsiteY80" fmla="*/ 488782 h 674234"/>
                <a:gd name="connsiteX81" fmla="*/ 195728 w 385303"/>
                <a:gd name="connsiteY81" fmla="*/ 480092 h 674234"/>
                <a:gd name="connsiteX82" fmla="*/ 219473 w 385303"/>
                <a:gd name="connsiteY82" fmla="*/ 444663 h 674234"/>
                <a:gd name="connsiteX83" fmla="*/ 225927 w 385303"/>
                <a:gd name="connsiteY83" fmla="*/ 432831 h 674234"/>
                <a:gd name="connsiteX84" fmla="*/ 224262 w 385303"/>
                <a:gd name="connsiteY84" fmla="*/ 409434 h 674234"/>
                <a:gd name="connsiteX85" fmla="*/ 236724 w 385303"/>
                <a:gd name="connsiteY85" fmla="*/ 394327 h 674234"/>
                <a:gd name="connsiteX86" fmla="*/ 231934 w 385303"/>
                <a:gd name="connsiteY86" fmla="*/ 387174 h 674234"/>
                <a:gd name="connsiteX87" fmla="*/ 250199 w 385303"/>
                <a:gd name="connsiteY87" fmla="*/ 387408 h 674234"/>
                <a:gd name="connsiteX88" fmla="*/ 242447 w 385303"/>
                <a:gd name="connsiteY88" fmla="*/ 374908 h 674234"/>
                <a:gd name="connsiteX89" fmla="*/ 225358 w 385303"/>
                <a:gd name="connsiteY89" fmla="*/ 380256 h 674234"/>
                <a:gd name="connsiteX90" fmla="*/ 213181 w 385303"/>
                <a:gd name="connsiteY90" fmla="*/ 369226 h 674234"/>
                <a:gd name="connsiteX91" fmla="*/ 207418 w 385303"/>
                <a:gd name="connsiteY91" fmla="*/ 353149 h 674234"/>
                <a:gd name="connsiteX92" fmla="*/ 240255 w 385303"/>
                <a:gd name="connsiteY92" fmla="*/ 351913 h 674234"/>
                <a:gd name="connsiteX93" fmla="*/ 267572 w 385303"/>
                <a:gd name="connsiteY93" fmla="*/ 338877 h 674234"/>
                <a:gd name="connsiteX94" fmla="*/ 264609 w 385303"/>
                <a:gd name="connsiteY94" fmla="*/ 318422 h 674234"/>
                <a:gd name="connsiteX95" fmla="*/ 257100 w 385303"/>
                <a:gd name="connsiteY95" fmla="*/ 303482 h 674234"/>
                <a:gd name="connsiteX96" fmla="*/ 278815 w 385303"/>
                <a:gd name="connsiteY96" fmla="*/ 296329 h 674234"/>
                <a:gd name="connsiteX97" fmla="*/ 356626 w 385303"/>
                <a:gd name="connsiteY97" fmla="*/ 262337 h 674234"/>
                <a:gd name="connsiteX98" fmla="*/ 364744 w 385303"/>
                <a:gd name="connsiteY98" fmla="*/ 248567 h 674234"/>
                <a:gd name="connsiteX99" fmla="*/ 376921 w 385303"/>
                <a:gd name="connsiteY99" fmla="*/ 226808 h 674234"/>
                <a:gd name="connsiteX100" fmla="*/ 358168 w 385303"/>
                <a:gd name="connsiteY100" fmla="*/ 218419 h 674234"/>
                <a:gd name="connsiteX101" fmla="*/ 352323 w 385303"/>
                <a:gd name="connsiteY101" fmla="*/ 199935 h 674234"/>
                <a:gd name="connsiteX102" fmla="*/ 321800 w 385303"/>
                <a:gd name="connsiteY102" fmla="*/ 199501 h 674234"/>
                <a:gd name="connsiteX103" fmla="*/ 315062 w 385303"/>
                <a:gd name="connsiteY103" fmla="*/ 194153 h 674234"/>
                <a:gd name="connsiteX104" fmla="*/ 321516 w 385303"/>
                <a:gd name="connsiteY104" fmla="*/ 188605 h 674234"/>
                <a:gd name="connsiteX105" fmla="*/ 323707 w 385303"/>
                <a:gd name="connsiteY105" fmla="*/ 188872 h 674234"/>
                <a:gd name="connsiteX106" fmla="*/ 313966 w 385303"/>
                <a:gd name="connsiteY106" fmla="*/ 177608 h 674234"/>
                <a:gd name="connsiteX107" fmla="*/ 310800 w 385303"/>
                <a:gd name="connsiteY107" fmla="*/ 150569 h 674234"/>
                <a:gd name="connsiteX108" fmla="*/ 309217 w 385303"/>
                <a:gd name="connsiteY108" fmla="*/ 123395 h 674234"/>
                <a:gd name="connsiteX109" fmla="*/ 322652 w 385303"/>
                <a:gd name="connsiteY109" fmla="*/ 96122 h 674234"/>
                <a:gd name="connsiteX110" fmla="*/ 368315 w 385303"/>
                <a:gd name="connsiteY110" fmla="*/ 41273 h 674234"/>
                <a:gd name="connsiteX111" fmla="*/ 384551 w 385303"/>
                <a:gd name="connsiteY111" fmla="*/ 22623 h 674234"/>
                <a:gd name="connsiteX112" fmla="*/ 372374 w 385303"/>
                <a:gd name="connsiteY112" fmla="*/ 4775 h 674234"/>
                <a:gd name="connsiteX113" fmla="*/ 372943 w 385303"/>
                <a:gd name="connsiteY113" fmla="*/ 4474 h 67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85303" h="674234">
                  <a:moveTo>
                    <a:pt x="305767" y="647979"/>
                  </a:moveTo>
                  <a:cubicBezTo>
                    <a:pt x="289531" y="651989"/>
                    <a:pt x="268587" y="642664"/>
                    <a:pt x="254056" y="639222"/>
                  </a:cubicBezTo>
                  <a:cubicBezTo>
                    <a:pt x="250605" y="638386"/>
                    <a:pt x="247805" y="633907"/>
                    <a:pt x="244598" y="633673"/>
                  </a:cubicBezTo>
                  <a:cubicBezTo>
                    <a:pt x="242853" y="633673"/>
                    <a:pt x="235952" y="637584"/>
                    <a:pt x="235181" y="634709"/>
                  </a:cubicBezTo>
                  <a:cubicBezTo>
                    <a:pt x="233761" y="629529"/>
                    <a:pt x="247034" y="618733"/>
                    <a:pt x="227834" y="621039"/>
                  </a:cubicBezTo>
                  <a:cubicBezTo>
                    <a:pt x="229783" y="626520"/>
                    <a:pt x="244923" y="674851"/>
                    <a:pt x="251011" y="673882"/>
                  </a:cubicBezTo>
                  <a:cubicBezTo>
                    <a:pt x="258074" y="672746"/>
                    <a:pt x="265218" y="669069"/>
                    <a:pt x="272037" y="667197"/>
                  </a:cubicBezTo>
                  <a:cubicBezTo>
                    <a:pt x="278856" y="665325"/>
                    <a:pt x="288557" y="666495"/>
                    <a:pt x="294970" y="664122"/>
                  </a:cubicBezTo>
                  <a:cubicBezTo>
                    <a:pt x="298420" y="662852"/>
                    <a:pt x="300368" y="659108"/>
                    <a:pt x="304062" y="657437"/>
                  </a:cubicBezTo>
                  <a:cubicBezTo>
                    <a:pt x="308811" y="655365"/>
                    <a:pt x="313966" y="654095"/>
                    <a:pt x="318472" y="651488"/>
                  </a:cubicBezTo>
                  <a:cubicBezTo>
                    <a:pt x="334139" y="643032"/>
                    <a:pt x="311490" y="646475"/>
                    <a:pt x="305767" y="647979"/>
                  </a:cubicBezTo>
                  <a:close/>
                  <a:moveTo>
                    <a:pt x="372943" y="4508"/>
                  </a:moveTo>
                  <a:cubicBezTo>
                    <a:pt x="368031" y="4073"/>
                    <a:pt x="360969" y="6446"/>
                    <a:pt x="356342" y="7850"/>
                  </a:cubicBezTo>
                  <a:cubicBezTo>
                    <a:pt x="359995" y="19381"/>
                    <a:pt x="362958" y="29341"/>
                    <a:pt x="348833" y="38199"/>
                  </a:cubicBezTo>
                  <a:cubicBezTo>
                    <a:pt x="344774" y="40605"/>
                    <a:pt x="343150" y="44048"/>
                    <a:pt x="339335" y="46454"/>
                  </a:cubicBezTo>
                  <a:cubicBezTo>
                    <a:pt x="335519" y="48861"/>
                    <a:pt x="331907" y="48727"/>
                    <a:pt x="328416" y="51067"/>
                  </a:cubicBezTo>
                  <a:cubicBezTo>
                    <a:pt x="322165" y="55245"/>
                    <a:pt x="299232" y="61395"/>
                    <a:pt x="291235" y="60258"/>
                  </a:cubicBezTo>
                  <a:cubicBezTo>
                    <a:pt x="287542" y="59723"/>
                    <a:pt x="268059" y="65372"/>
                    <a:pt x="266882" y="62631"/>
                  </a:cubicBezTo>
                  <a:cubicBezTo>
                    <a:pt x="265583" y="59289"/>
                    <a:pt x="272849" y="54810"/>
                    <a:pt x="270941" y="49797"/>
                  </a:cubicBezTo>
                  <a:cubicBezTo>
                    <a:pt x="266882" y="38700"/>
                    <a:pt x="296472" y="22523"/>
                    <a:pt x="270941" y="21553"/>
                  </a:cubicBezTo>
                  <a:cubicBezTo>
                    <a:pt x="252878" y="20885"/>
                    <a:pt x="238469" y="20518"/>
                    <a:pt x="222233" y="16908"/>
                  </a:cubicBezTo>
                  <a:cubicBezTo>
                    <a:pt x="210503" y="14334"/>
                    <a:pt x="198691" y="19481"/>
                    <a:pt x="187164" y="18011"/>
                  </a:cubicBezTo>
                  <a:cubicBezTo>
                    <a:pt x="175068" y="16206"/>
                    <a:pt x="163175" y="13599"/>
                    <a:pt x="151566" y="10290"/>
                  </a:cubicBezTo>
                  <a:cubicBezTo>
                    <a:pt x="141500" y="7917"/>
                    <a:pt x="131961" y="4307"/>
                    <a:pt x="123153" y="-339"/>
                  </a:cubicBezTo>
                  <a:cubicBezTo>
                    <a:pt x="116050" y="1065"/>
                    <a:pt x="99814" y="2268"/>
                    <a:pt x="97663" y="8452"/>
                  </a:cubicBezTo>
                  <a:cubicBezTo>
                    <a:pt x="96973" y="10424"/>
                    <a:pt x="95674" y="21821"/>
                    <a:pt x="90316" y="21253"/>
                  </a:cubicBezTo>
                  <a:cubicBezTo>
                    <a:pt x="85811" y="20751"/>
                    <a:pt x="83660" y="17910"/>
                    <a:pt x="78464" y="17442"/>
                  </a:cubicBezTo>
                  <a:cubicBezTo>
                    <a:pt x="70793" y="17610"/>
                    <a:pt x="63162" y="18646"/>
                    <a:pt x="55815" y="20551"/>
                  </a:cubicBezTo>
                  <a:cubicBezTo>
                    <a:pt x="44572" y="22690"/>
                    <a:pt x="40959" y="17710"/>
                    <a:pt x="33937" y="27236"/>
                  </a:cubicBezTo>
                  <a:cubicBezTo>
                    <a:pt x="29919" y="32617"/>
                    <a:pt x="25223" y="37664"/>
                    <a:pt x="19893" y="42209"/>
                  </a:cubicBezTo>
                  <a:cubicBezTo>
                    <a:pt x="21428" y="46822"/>
                    <a:pt x="22471" y="51535"/>
                    <a:pt x="23019" y="56281"/>
                  </a:cubicBezTo>
                  <a:cubicBezTo>
                    <a:pt x="24602" y="70787"/>
                    <a:pt x="-3974" y="77070"/>
                    <a:pt x="4388" y="91275"/>
                  </a:cubicBezTo>
                  <a:cubicBezTo>
                    <a:pt x="7797" y="97058"/>
                    <a:pt x="4104" y="99498"/>
                    <a:pt x="10720" y="104912"/>
                  </a:cubicBezTo>
                  <a:cubicBezTo>
                    <a:pt x="16321" y="109525"/>
                    <a:pt x="10355" y="115206"/>
                    <a:pt x="13521" y="117914"/>
                  </a:cubicBezTo>
                  <a:cubicBezTo>
                    <a:pt x="20299" y="123763"/>
                    <a:pt x="21639" y="122994"/>
                    <a:pt x="11978" y="130648"/>
                  </a:cubicBezTo>
                  <a:cubicBezTo>
                    <a:pt x="3657" y="137333"/>
                    <a:pt x="16565" y="145422"/>
                    <a:pt x="6986" y="151939"/>
                  </a:cubicBezTo>
                  <a:cubicBezTo>
                    <a:pt x="-2594" y="158457"/>
                    <a:pt x="6133" y="165576"/>
                    <a:pt x="2439" y="172194"/>
                  </a:cubicBezTo>
                  <a:cubicBezTo>
                    <a:pt x="-1863" y="179848"/>
                    <a:pt x="-605" y="178879"/>
                    <a:pt x="6174" y="186131"/>
                  </a:cubicBezTo>
                  <a:cubicBezTo>
                    <a:pt x="13602" y="194020"/>
                    <a:pt x="897" y="206185"/>
                    <a:pt x="532" y="215444"/>
                  </a:cubicBezTo>
                  <a:cubicBezTo>
                    <a:pt x="166" y="224702"/>
                    <a:pt x="8284" y="227543"/>
                    <a:pt x="15997" y="232390"/>
                  </a:cubicBezTo>
                  <a:cubicBezTo>
                    <a:pt x="23708" y="237236"/>
                    <a:pt x="26144" y="244422"/>
                    <a:pt x="33653" y="249503"/>
                  </a:cubicBezTo>
                  <a:cubicBezTo>
                    <a:pt x="38280" y="252845"/>
                    <a:pt x="41081" y="266214"/>
                    <a:pt x="36576" y="270559"/>
                  </a:cubicBezTo>
                  <a:cubicBezTo>
                    <a:pt x="34708" y="276175"/>
                    <a:pt x="33816" y="281990"/>
                    <a:pt x="33978" y="287839"/>
                  </a:cubicBezTo>
                  <a:cubicBezTo>
                    <a:pt x="38280" y="298100"/>
                    <a:pt x="48306" y="299538"/>
                    <a:pt x="37468" y="310266"/>
                  </a:cubicBezTo>
                  <a:cubicBezTo>
                    <a:pt x="23749" y="323870"/>
                    <a:pt x="42421" y="333663"/>
                    <a:pt x="43395" y="346498"/>
                  </a:cubicBezTo>
                  <a:cubicBezTo>
                    <a:pt x="43679" y="350341"/>
                    <a:pt x="52081" y="349272"/>
                    <a:pt x="53055" y="353951"/>
                  </a:cubicBezTo>
                  <a:cubicBezTo>
                    <a:pt x="54232" y="359366"/>
                    <a:pt x="46480" y="359098"/>
                    <a:pt x="43151" y="362508"/>
                  </a:cubicBezTo>
                  <a:cubicBezTo>
                    <a:pt x="39823" y="365917"/>
                    <a:pt x="48184" y="371566"/>
                    <a:pt x="47900" y="375041"/>
                  </a:cubicBezTo>
                  <a:cubicBezTo>
                    <a:pt x="47900" y="377281"/>
                    <a:pt x="43841" y="378117"/>
                    <a:pt x="43232" y="380757"/>
                  </a:cubicBezTo>
                  <a:cubicBezTo>
                    <a:pt x="42542" y="385135"/>
                    <a:pt x="46114" y="388678"/>
                    <a:pt x="46033" y="392956"/>
                  </a:cubicBezTo>
                  <a:cubicBezTo>
                    <a:pt x="45789" y="400644"/>
                    <a:pt x="42421" y="401647"/>
                    <a:pt x="50539" y="407730"/>
                  </a:cubicBezTo>
                  <a:cubicBezTo>
                    <a:pt x="55166" y="411072"/>
                    <a:pt x="57926" y="417757"/>
                    <a:pt x="60077" y="422202"/>
                  </a:cubicBezTo>
                  <a:cubicBezTo>
                    <a:pt x="62228" y="426648"/>
                    <a:pt x="51959" y="444997"/>
                    <a:pt x="64380" y="446635"/>
                  </a:cubicBezTo>
                  <a:cubicBezTo>
                    <a:pt x="73066" y="447738"/>
                    <a:pt x="67505" y="455125"/>
                    <a:pt x="74040" y="457531"/>
                  </a:cubicBezTo>
                  <a:cubicBezTo>
                    <a:pt x="83091" y="460873"/>
                    <a:pt x="72173" y="468929"/>
                    <a:pt x="80818" y="471168"/>
                  </a:cubicBezTo>
                  <a:cubicBezTo>
                    <a:pt x="86826" y="472738"/>
                    <a:pt x="92183" y="465887"/>
                    <a:pt x="97257" y="470633"/>
                  </a:cubicBezTo>
                  <a:cubicBezTo>
                    <a:pt x="103995" y="476916"/>
                    <a:pt x="83132" y="477317"/>
                    <a:pt x="85080" y="480660"/>
                  </a:cubicBezTo>
                  <a:cubicBezTo>
                    <a:pt x="87029" y="484002"/>
                    <a:pt x="107729" y="484002"/>
                    <a:pt x="96364" y="491423"/>
                  </a:cubicBezTo>
                  <a:cubicBezTo>
                    <a:pt x="90682" y="495199"/>
                    <a:pt x="97379" y="504558"/>
                    <a:pt x="99977" y="508368"/>
                  </a:cubicBezTo>
                  <a:cubicBezTo>
                    <a:pt x="101316" y="510307"/>
                    <a:pt x="105903" y="513014"/>
                    <a:pt x="105497" y="515554"/>
                  </a:cubicBezTo>
                  <a:cubicBezTo>
                    <a:pt x="105091" y="518095"/>
                    <a:pt x="100789" y="518261"/>
                    <a:pt x="102493" y="521704"/>
                  </a:cubicBezTo>
                  <a:cubicBezTo>
                    <a:pt x="106552" y="530194"/>
                    <a:pt x="96324" y="530528"/>
                    <a:pt x="98434" y="538416"/>
                  </a:cubicBezTo>
                  <a:cubicBezTo>
                    <a:pt x="100545" y="546304"/>
                    <a:pt x="96324" y="545636"/>
                    <a:pt x="103752" y="552053"/>
                  </a:cubicBezTo>
                  <a:cubicBezTo>
                    <a:pt x="104929" y="553055"/>
                    <a:pt x="103386" y="566793"/>
                    <a:pt x="102290" y="568765"/>
                  </a:cubicBezTo>
                  <a:cubicBezTo>
                    <a:pt x="98637" y="575148"/>
                    <a:pt x="90114" y="575784"/>
                    <a:pt x="92549" y="584808"/>
                  </a:cubicBezTo>
                  <a:cubicBezTo>
                    <a:pt x="92833" y="587916"/>
                    <a:pt x="93401" y="590991"/>
                    <a:pt x="94172" y="594033"/>
                  </a:cubicBezTo>
                  <a:cubicBezTo>
                    <a:pt x="96324" y="599046"/>
                    <a:pt x="104076" y="599715"/>
                    <a:pt x="105253" y="605063"/>
                  </a:cubicBezTo>
                  <a:cubicBezTo>
                    <a:pt x="106715" y="611747"/>
                    <a:pt x="116781" y="607035"/>
                    <a:pt x="122504" y="605564"/>
                  </a:cubicBezTo>
                  <a:cubicBezTo>
                    <a:pt x="132855" y="602957"/>
                    <a:pt x="130825" y="608004"/>
                    <a:pt x="132814" y="613753"/>
                  </a:cubicBezTo>
                  <a:cubicBezTo>
                    <a:pt x="137279" y="626520"/>
                    <a:pt x="148522" y="630465"/>
                    <a:pt x="164433" y="624582"/>
                  </a:cubicBezTo>
                  <a:cubicBezTo>
                    <a:pt x="183592" y="617362"/>
                    <a:pt x="199421" y="616427"/>
                    <a:pt x="218864" y="615457"/>
                  </a:cubicBezTo>
                  <a:cubicBezTo>
                    <a:pt x="226130" y="615090"/>
                    <a:pt x="232583" y="613452"/>
                    <a:pt x="224060" y="609341"/>
                  </a:cubicBezTo>
                  <a:cubicBezTo>
                    <a:pt x="216104" y="606065"/>
                    <a:pt x="209528" y="600918"/>
                    <a:pt x="205185" y="594534"/>
                  </a:cubicBezTo>
                  <a:cubicBezTo>
                    <a:pt x="201126" y="589588"/>
                    <a:pt x="194957" y="580363"/>
                    <a:pt x="200517" y="574480"/>
                  </a:cubicBezTo>
                  <a:cubicBezTo>
                    <a:pt x="202953" y="571906"/>
                    <a:pt x="203927" y="567795"/>
                    <a:pt x="206809" y="565623"/>
                  </a:cubicBezTo>
                  <a:cubicBezTo>
                    <a:pt x="208879" y="563985"/>
                    <a:pt x="212289" y="564119"/>
                    <a:pt x="214562" y="562280"/>
                  </a:cubicBezTo>
                  <a:cubicBezTo>
                    <a:pt x="222680" y="555596"/>
                    <a:pt x="216104" y="548677"/>
                    <a:pt x="217322" y="541491"/>
                  </a:cubicBezTo>
                  <a:cubicBezTo>
                    <a:pt x="218905" y="532266"/>
                    <a:pt x="229499" y="523008"/>
                    <a:pt x="237048" y="515722"/>
                  </a:cubicBezTo>
                  <a:cubicBezTo>
                    <a:pt x="242528" y="510407"/>
                    <a:pt x="246952" y="507599"/>
                    <a:pt x="244598" y="501784"/>
                  </a:cubicBezTo>
                  <a:cubicBezTo>
                    <a:pt x="243380" y="498709"/>
                    <a:pt x="246546" y="486777"/>
                    <a:pt x="241879" y="485673"/>
                  </a:cubicBezTo>
                  <a:cubicBezTo>
                    <a:pt x="235019" y="484002"/>
                    <a:pt x="226211" y="488615"/>
                    <a:pt x="219148" y="488782"/>
                  </a:cubicBezTo>
                  <a:cubicBezTo>
                    <a:pt x="210178" y="488916"/>
                    <a:pt x="201573" y="485707"/>
                    <a:pt x="195728" y="480092"/>
                  </a:cubicBezTo>
                  <a:cubicBezTo>
                    <a:pt x="184322" y="467391"/>
                    <a:pt x="203846" y="451013"/>
                    <a:pt x="219473" y="444663"/>
                  </a:cubicBezTo>
                  <a:cubicBezTo>
                    <a:pt x="229904" y="440452"/>
                    <a:pt x="220163" y="437778"/>
                    <a:pt x="225927" y="432831"/>
                  </a:cubicBezTo>
                  <a:cubicBezTo>
                    <a:pt x="233842" y="426146"/>
                    <a:pt x="224669" y="416554"/>
                    <a:pt x="224262" y="409434"/>
                  </a:cubicBezTo>
                  <a:cubicBezTo>
                    <a:pt x="223978" y="404855"/>
                    <a:pt x="238672" y="395530"/>
                    <a:pt x="236724" y="394327"/>
                  </a:cubicBezTo>
                  <a:cubicBezTo>
                    <a:pt x="234775" y="393124"/>
                    <a:pt x="218540" y="392121"/>
                    <a:pt x="231934" y="387174"/>
                  </a:cubicBezTo>
                  <a:cubicBezTo>
                    <a:pt x="239809" y="384266"/>
                    <a:pt x="242772" y="392388"/>
                    <a:pt x="250199" y="387408"/>
                  </a:cubicBezTo>
                  <a:cubicBezTo>
                    <a:pt x="259657" y="381058"/>
                    <a:pt x="252756" y="367621"/>
                    <a:pt x="242447" y="374908"/>
                  </a:cubicBezTo>
                  <a:cubicBezTo>
                    <a:pt x="234329" y="380657"/>
                    <a:pt x="237130" y="381860"/>
                    <a:pt x="225358" y="380256"/>
                  </a:cubicBezTo>
                  <a:cubicBezTo>
                    <a:pt x="214846" y="378852"/>
                    <a:pt x="219676" y="374373"/>
                    <a:pt x="213181" y="369226"/>
                  </a:cubicBezTo>
                  <a:cubicBezTo>
                    <a:pt x="210056" y="366786"/>
                    <a:pt x="200234" y="356558"/>
                    <a:pt x="207418" y="353149"/>
                  </a:cubicBezTo>
                  <a:cubicBezTo>
                    <a:pt x="215536" y="349339"/>
                    <a:pt x="231366" y="352882"/>
                    <a:pt x="240255" y="351913"/>
                  </a:cubicBezTo>
                  <a:cubicBezTo>
                    <a:pt x="250605" y="350809"/>
                    <a:pt x="262620" y="346130"/>
                    <a:pt x="267572" y="338877"/>
                  </a:cubicBezTo>
                  <a:cubicBezTo>
                    <a:pt x="272889" y="331056"/>
                    <a:pt x="255395" y="326711"/>
                    <a:pt x="264609" y="318422"/>
                  </a:cubicBezTo>
                  <a:cubicBezTo>
                    <a:pt x="273011" y="310902"/>
                    <a:pt x="257708" y="310333"/>
                    <a:pt x="257100" y="303482"/>
                  </a:cubicBezTo>
                  <a:cubicBezTo>
                    <a:pt x="256491" y="296630"/>
                    <a:pt x="272564" y="298034"/>
                    <a:pt x="278815" y="296329"/>
                  </a:cubicBezTo>
                  <a:cubicBezTo>
                    <a:pt x="305321" y="289076"/>
                    <a:pt x="336980" y="277946"/>
                    <a:pt x="356626" y="262337"/>
                  </a:cubicBezTo>
                  <a:cubicBezTo>
                    <a:pt x="362674" y="257524"/>
                    <a:pt x="362268" y="254115"/>
                    <a:pt x="364744" y="248567"/>
                  </a:cubicBezTo>
                  <a:cubicBezTo>
                    <a:pt x="368031" y="241180"/>
                    <a:pt x="374120" y="234261"/>
                    <a:pt x="376921" y="226808"/>
                  </a:cubicBezTo>
                  <a:cubicBezTo>
                    <a:pt x="380980" y="216781"/>
                    <a:pt x="365596" y="219756"/>
                    <a:pt x="358168" y="218419"/>
                  </a:cubicBezTo>
                  <a:cubicBezTo>
                    <a:pt x="344043" y="215945"/>
                    <a:pt x="359467" y="203913"/>
                    <a:pt x="352323" y="199935"/>
                  </a:cubicBezTo>
                  <a:cubicBezTo>
                    <a:pt x="345179" y="195958"/>
                    <a:pt x="331136" y="200537"/>
                    <a:pt x="321800" y="199501"/>
                  </a:cubicBezTo>
                  <a:cubicBezTo>
                    <a:pt x="318147" y="199568"/>
                    <a:pt x="315143" y="197161"/>
                    <a:pt x="315062" y="194153"/>
                  </a:cubicBezTo>
                  <a:cubicBezTo>
                    <a:pt x="314981" y="191145"/>
                    <a:pt x="317863" y="188671"/>
                    <a:pt x="321516" y="188605"/>
                  </a:cubicBezTo>
                  <a:cubicBezTo>
                    <a:pt x="322287" y="188605"/>
                    <a:pt x="323018" y="188671"/>
                    <a:pt x="323707" y="188872"/>
                  </a:cubicBezTo>
                  <a:cubicBezTo>
                    <a:pt x="325331" y="178578"/>
                    <a:pt x="317944" y="184460"/>
                    <a:pt x="313966" y="177608"/>
                  </a:cubicBezTo>
                  <a:cubicBezTo>
                    <a:pt x="308973" y="169018"/>
                    <a:pt x="313722" y="159560"/>
                    <a:pt x="310800" y="150569"/>
                  </a:cubicBezTo>
                  <a:cubicBezTo>
                    <a:pt x="307878" y="141578"/>
                    <a:pt x="310435" y="132520"/>
                    <a:pt x="309217" y="123395"/>
                  </a:cubicBezTo>
                  <a:cubicBezTo>
                    <a:pt x="307878" y="113134"/>
                    <a:pt x="316036" y="105681"/>
                    <a:pt x="322652" y="96122"/>
                  </a:cubicBezTo>
                  <a:cubicBezTo>
                    <a:pt x="335763" y="77103"/>
                    <a:pt x="343678" y="56013"/>
                    <a:pt x="368315" y="41273"/>
                  </a:cubicBezTo>
                  <a:cubicBezTo>
                    <a:pt x="378423" y="35224"/>
                    <a:pt x="387921" y="31647"/>
                    <a:pt x="384551" y="22623"/>
                  </a:cubicBezTo>
                  <a:cubicBezTo>
                    <a:pt x="383293" y="18947"/>
                    <a:pt x="379518" y="5343"/>
                    <a:pt x="372374" y="4775"/>
                  </a:cubicBezTo>
                  <a:cubicBezTo>
                    <a:pt x="370142" y="4207"/>
                    <a:pt x="377976" y="4875"/>
                    <a:pt x="372943" y="4474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3B72C17F-DBFB-4A75-A0D9-01EF3D1C1B75}"/>
                </a:ext>
              </a:extLst>
            </p:cNvPr>
            <p:cNvSpPr/>
            <p:nvPr/>
          </p:nvSpPr>
          <p:spPr>
            <a:xfrm>
              <a:off x="4045753" y="5587942"/>
              <a:ext cx="366139" cy="526130"/>
            </a:xfrm>
            <a:custGeom>
              <a:avLst/>
              <a:gdLst>
                <a:gd name="connsiteX0" fmla="*/ 242469 w 375785"/>
                <a:gd name="connsiteY0" fmla="*/ 655867 h 720392"/>
                <a:gd name="connsiteX1" fmla="*/ 222174 w 375785"/>
                <a:gd name="connsiteY1" fmla="*/ 644670 h 720392"/>
                <a:gd name="connsiteX2" fmla="*/ 202975 w 375785"/>
                <a:gd name="connsiteY2" fmla="*/ 635077 h 720392"/>
                <a:gd name="connsiteX3" fmla="*/ 193193 w 375785"/>
                <a:gd name="connsiteY3" fmla="*/ 632470 h 720392"/>
                <a:gd name="connsiteX4" fmla="*/ 181016 w 375785"/>
                <a:gd name="connsiteY4" fmla="*/ 618065 h 720392"/>
                <a:gd name="connsiteX5" fmla="*/ 180326 w 375785"/>
                <a:gd name="connsiteY5" fmla="*/ 606333 h 720392"/>
                <a:gd name="connsiteX6" fmla="*/ 190352 w 375785"/>
                <a:gd name="connsiteY6" fmla="*/ 593699 h 720392"/>
                <a:gd name="connsiteX7" fmla="*/ 192828 w 375785"/>
                <a:gd name="connsiteY7" fmla="*/ 581566 h 720392"/>
                <a:gd name="connsiteX8" fmla="*/ 185238 w 375785"/>
                <a:gd name="connsiteY8" fmla="*/ 571806 h 720392"/>
                <a:gd name="connsiteX9" fmla="*/ 186293 w 375785"/>
                <a:gd name="connsiteY9" fmla="*/ 560743 h 720392"/>
                <a:gd name="connsiteX10" fmla="*/ 190352 w 375785"/>
                <a:gd name="connsiteY10" fmla="*/ 549379 h 720392"/>
                <a:gd name="connsiteX11" fmla="*/ 192544 w 375785"/>
                <a:gd name="connsiteY11" fmla="*/ 541157 h 720392"/>
                <a:gd name="connsiteX12" fmla="*/ 183249 w 375785"/>
                <a:gd name="connsiteY12" fmla="*/ 526551 h 720392"/>
                <a:gd name="connsiteX13" fmla="*/ 187064 w 375785"/>
                <a:gd name="connsiteY13" fmla="*/ 516290 h 720392"/>
                <a:gd name="connsiteX14" fmla="*/ 172939 w 375785"/>
                <a:gd name="connsiteY14" fmla="*/ 508335 h 720392"/>
                <a:gd name="connsiteX15" fmla="*/ 186293 w 375785"/>
                <a:gd name="connsiteY15" fmla="*/ 500146 h 720392"/>
                <a:gd name="connsiteX16" fmla="*/ 168677 w 375785"/>
                <a:gd name="connsiteY16" fmla="*/ 498809 h 720392"/>
                <a:gd name="connsiteX17" fmla="*/ 164983 w 375785"/>
                <a:gd name="connsiteY17" fmla="*/ 486442 h 720392"/>
                <a:gd name="connsiteX18" fmla="*/ 152238 w 375785"/>
                <a:gd name="connsiteY18" fmla="*/ 474276 h 720392"/>
                <a:gd name="connsiteX19" fmla="*/ 147936 w 375785"/>
                <a:gd name="connsiteY19" fmla="*/ 449844 h 720392"/>
                <a:gd name="connsiteX20" fmla="*/ 138397 w 375785"/>
                <a:gd name="connsiteY20" fmla="*/ 435371 h 720392"/>
                <a:gd name="connsiteX21" fmla="*/ 132877 w 375785"/>
                <a:gd name="connsiteY21" fmla="*/ 416253 h 720392"/>
                <a:gd name="connsiteX22" fmla="*/ 135759 w 375785"/>
                <a:gd name="connsiteY22" fmla="*/ 402683 h 720392"/>
                <a:gd name="connsiteX23" fmla="*/ 133080 w 375785"/>
                <a:gd name="connsiteY23" fmla="*/ 388846 h 720392"/>
                <a:gd name="connsiteX24" fmla="*/ 139412 w 375785"/>
                <a:gd name="connsiteY24" fmla="*/ 378651 h 720392"/>
                <a:gd name="connsiteX25" fmla="*/ 129467 w 375785"/>
                <a:gd name="connsiteY25" fmla="*/ 368825 h 720392"/>
                <a:gd name="connsiteX26" fmla="*/ 129792 w 375785"/>
                <a:gd name="connsiteY26" fmla="*/ 333797 h 720392"/>
                <a:gd name="connsiteX27" fmla="*/ 127438 w 375785"/>
                <a:gd name="connsiteY27" fmla="*/ 323101 h 720392"/>
                <a:gd name="connsiteX28" fmla="*/ 124434 w 375785"/>
                <a:gd name="connsiteY28" fmla="*/ 309331 h 720392"/>
                <a:gd name="connsiteX29" fmla="*/ 126139 w 375785"/>
                <a:gd name="connsiteY29" fmla="*/ 295092 h 720392"/>
                <a:gd name="connsiteX30" fmla="*/ 118264 w 375785"/>
                <a:gd name="connsiteY30" fmla="*/ 275239 h 720392"/>
                <a:gd name="connsiteX31" fmla="*/ 103855 w 375785"/>
                <a:gd name="connsiteY31" fmla="*/ 260031 h 720392"/>
                <a:gd name="connsiteX32" fmla="*/ 88390 w 375785"/>
                <a:gd name="connsiteY32" fmla="*/ 243086 h 720392"/>
                <a:gd name="connsiteX33" fmla="*/ 91638 w 375785"/>
                <a:gd name="connsiteY33" fmla="*/ 234295 h 720392"/>
                <a:gd name="connsiteX34" fmla="*/ 97685 w 375785"/>
                <a:gd name="connsiteY34" fmla="*/ 219555 h 720392"/>
                <a:gd name="connsiteX35" fmla="*/ 85508 w 375785"/>
                <a:gd name="connsiteY35" fmla="*/ 205083 h 720392"/>
                <a:gd name="connsiteX36" fmla="*/ 90217 w 375785"/>
                <a:gd name="connsiteY36" fmla="*/ 199835 h 720392"/>
                <a:gd name="connsiteX37" fmla="*/ 89162 w 375785"/>
                <a:gd name="connsiteY37" fmla="*/ 189808 h 720392"/>
                <a:gd name="connsiteX38" fmla="*/ 98132 w 375785"/>
                <a:gd name="connsiteY38" fmla="*/ 173297 h 720392"/>
                <a:gd name="connsiteX39" fmla="*/ 103814 w 375785"/>
                <a:gd name="connsiteY39" fmla="*/ 155081 h 720392"/>
                <a:gd name="connsiteX40" fmla="*/ 101298 w 375785"/>
                <a:gd name="connsiteY40" fmla="*/ 145488 h 720392"/>
                <a:gd name="connsiteX41" fmla="*/ 98497 w 375785"/>
                <a:gd name="connsiteY41" fmla="*/ 132487 h 720392"/>
                <a:gd name="connsiteX42" fmla="*/ 93667 w 375785"/>
                <a:gd name="connsiteY42" fmla="*/ 105982 h 720392"/>
                <a:gd name="connsiteX43" fmla="*/ 107671 w 375785"/>
                <a:gd name="connsiteY43" fmla="*/ 69784 h 720392"/>
                <a:gd name="connsiteX44" fmla="*/ 83682 w 375785"/>
                <a:gd name="connsiteY44" fmla="*/ 63300 h 720392"/>
                <a:gd name="connsiteX45" fmla="*/ 70937 w 375785"/>
                <a:gd name="connsiteY45" fmla="*/ 52939 h 720392"/>
                <a:gd name="connsiteX46" fmla="*/ 52956 w 375785"/>
                <a:gd name="connsiteY46" fmla="*/ 45753 h 720392"/>
                <a:gd name="connsiteX47" fmla="*/ 48450 w 375785"/>
                <a:gd name="connsiteY47" fmla="*/ 22356 h 720392"/>
                <a:gd name="connsiteX48" fmla="*/ 9606 w 375785"/>
                <a:gd name="connsiteY48" fmla="*/ -339 h 720392"/>
                <a:gd name="connsiteX49" fmla="*/ 3639 w 375785"/>
                <a:gd name="connsiteY49" fmla="*/ 16373 h 720392"/>
                <a:gd name="connsiteX50" fmla="*/ 7292 w 375785"/>
                <a:gd name="connsiteY50" fmla="*/ 36093 h 720392"/>
                <a:gd name="connsiteX51" fmla="*/ 25923 w 375785"/>
                <a:gd name="connsiteY51" fmla="*/ 75567 h 720392"/>
                <a:gd name="connsiteX52" fmla="*/ 26816 w 375785"/>
                <a:gd name="connsiteY52" fmla="*/ 102706 h 720392"/>
                <a:gd name="connsiteX53" fmla="*/ 33351 w 375785"/>
                <a:gd name="connsiteY53" fmla="*/ 112734 h 720392"/>
                <a:gd name="connsiteX54" fmla="*/ 40982 w 375785"/>
                <a:gd name="connsiteY54" fmla="*/ 132788 h 720392"/>
                <a:gd name="connsiteX55" fmla="*/ 45041 w 375785"/>
                <a:gd name="connsiteY55" fmla="*/ 160763 h 720392"/>
                <a:gd name="connsiteX56" fmla="*/ 46542 w 375785"/>
                <a:gd name="connsiteY56" fmla="*/ 180015 h 720392"/>
                <a:gd name="connsiteX57" fmla="*/ 47638 w 375785"/>
                <a:gd name="connsiteY57" fmla="*/ 202008 h 720392"/>
                <a:gd name="connsiteX58" fmla="*/ 49424 w 375785"/>
                <a:gd name="connsiteY58" fmla="*/ 216213 h 720392"/>
                <a:gd name="connsiteX59" fmla="*/ 58922 w 375785"/>
                <a:gd name="connsiteY59" fmla="*/ 232457 h 720392"/>
                <a:gd name="connsiteX60" fmla="*/ 73129 w 375785"/>
                <a:gd name="connsiteY60" fmla="*/ 273534 h 720392"/>
                <a:gd name="connsiteX61" fmla="*/ 75117 w 375785"/>
                <a:gd name="connsiteY61" fmla="*/ 306958 h 720392"/>
                <a:gd name="connsiteX62" fmla="*/ 76335 w 375785"/>
                <a:gd name="connsiteY62" fmla="*/ 332995 h 720392"/>
                <a:gd name="connsiteX63" fmla="*/ 72926 w 375785"/>
                <a:gd name="connsiteY63" fmla="*/ 359734 h 720392"/>
                <a:gd name="connsiteX64" fmla="*/ 71018 w 375785"/>
                <a:gd name="connsiteY64" fmla="*/ 369159 h 720392"/>
                <a:gd name="connsiteX65" fmla="*/ 64077 w 375785"/>
                <a:gd name="connsiteY65" fmla="*/ 374340 h 720392"/>
                <a:gd name="connsiteX66" fmla="*/ 70571 w 375785"/>
                <a:gd name="connsiteY66" fmla="*/ 383297 h 720392"/>
                <a:gd name="connsiteX67" fmla="*/ 78689 w 375785"/>
                <a:gd name="connsiteY67" fmla="*/ 399040 h 720392"/>
                <a:gd name="connsiteX68" fmla="*/ 91435 w 375785"/>
                <a:gd name="connsiteY68" fmla="*/ 418392 h 720392"/>
                <a:gd name="connsiteX69" fmla="*/ 91678 w 375785"/>
                <a:gd name="connsiteY69" fmla="*/ 442089 h 720392"/>
                <a:gd name="connsiteX70" fmla="*/ 102069 w 375785"/>
                <a:gd name="connsiteY70" fmla="*/ 461341 h 720392"/>
                <a:gd name="connsiteX71" fmla="*/ 96793 w 375785"/>
                <a:gd name="connsiteY71" fmla="*/ 464918 h 720392"/>
                <a:gd name="connsiteX72" fmla="*/ 95047 w 375785"/>
                <a:gd name="connsiteY72" fmla="*/ 475145 h 720392"/>
                <a:gd name="connsiteX73" fmla="*/ 101826 w 375785"/>
                <a:gd name="connsiteY73" fmla="*/ 494197 h 720392"/>
                <a:gd name="connsiteX74" fmla="*/ 115586 w 375785"/>
                <a:gd name="connsiteY74" fmla="*/ 488949 h 720392"/>
                <a:gd name="connsiteX75" fmla="*/ 108360 w 375785"/>
                <a:gd name="connsiteY75" fmla="*/ 460405 h 720392"/>
                <a:gd name="connsiteX76" fmla="*/ 118305 w 375785"/>
                <a:gd name="connsiteY76" fmla="*/ 450044 h 720392"/>
                <a:gd name="connsiteX77" fmla="*/ 121715 w 375785"/>
                <a:gd name="connsiteY77" fmla="*/ 454523 h 720392"/>
                <a:gd name="connsiteX78" fmla="*/ 130685 w 375785"/>
                <a:gd name="connsiteY78" fmla="*/ 456227 h 720392"/>
                <a:gd name="connsiteX79" fmla="*/ 127316 w 375785"/>
                <a:gd name="connsiteY79" fmla="*/ 464784 h 720392"/>
                <a:gd name="connsiteX80" fmla="*/ 132714 w 375785"/>
                <a:gd name="connsiteY80" fmla="*/ 472939 h 720392"/>
                <a:gd name="connsiteX81" fmla="*/ 130644 w 375785"/>
                <a:gd name="connsiteY81" fmla="*/ 483535 h 720392"/>
                <a:gd name="connsiteX82" fmla="*/ 134703 w 375785"/>
                <a:gd name="connsiteY82" fmla="*/ 495066 h 720392"/>
                <a:gd name="connsiteX83" fmla="*/ 140548 w 375785"/>
                <a:gd name="connsiteY83" fmla="*/ 512747 h 720392"/>
                <a:gd name="connsiteX84" fmla="*/ 141969 w 375785"/>
                <a:gd name="connsiteY84" fmla="*/ 521972 h 720392"/>
                <a:gd name="connsiteX85" fmla="*/ 140142 w 375785"/>
                <a:gd name="connsiteY85" fmla="*/ 531297 h 720392"/>
                <a:gd name="connsiteX86" fmla="*/ 139209 w 375785"/>
                <a:gd name="connsiteY86" fmla="*/ 545970 h 720392"/>
                <a:gd name="connsiteX87" fmla="*/ 131091 w 375785"/>
                <a:gd name="connsiteY87" fmla="*/ 524512 h 720392"/>
                <a:gd name="connsiteX88" fmla="*/ 120822 w 375785"/>
                <a:gd name="connsiteY88" fmla="*/ 527854 h 720392"/>
                <a:gd name="connsiteX89" fmla="*/ 118914 w 375785"/>
                <a:gd name="connsiteY89" fmla="*/ 540121 h 720392"/>
                <a:gd name="connsiteX90" fmla="*/ 113353 w 375785"/>
                <a:gd name="connsiteY90" fmla="*/ 556031 h 720392"/>
                <a:gd name="connsiteX91" fmla="*/ 108320 w 375785"/>
                <a:gd name="connsiteY91" fmla="*/ 563384 h 720392"/>
                <a:gd name="connsiteX92" fmla="*/ 109862 w 375785"/>
                <a:gd name="connsiteY92" fmla="*/ 573946 h 720392"/>
                <a:gd name="connsiteX93" fmla="*/ 116884 w 375785"/>
                <a:gd name="connsiteY93" fmla="*/ 566392 h 720392"/>
                <a:gd name="connsiteX94" fmla="*/ 129467 w 375785"/>
                <a:gd name="connsiteY94" fmla="*/ 566392 h 720392"/>
                <a:gd name="connsiteX95" fmla="*/ 135840 w 375785"/>
                <a:gd name="connsiteY95" fmla="*/ 580630 h 720392"/>
                <a:gd name="connsiteX96" fmla="*/ 162183 w 375785"/>
                <a:gd name="connsiteY96" fmla="*/ 579962 h 720392"/>
                <a:gd name="connsiteX97" fmla="*/ 162183 w 375785"/>
                <a:gd name="connsiteY97" fmla="*/ 585543 h 720392"/>
                <a:gd name="connsiteX98" fmla="*/ 143430 w 375785"/>
                <a:gd name="connsiteY98" fmla="*/ 591393 h 720392"/>
                <a:gd name="connsiteX99" fmla="*/ 120984 w 375785"/>
                <a:gd name="connsiteY99" fmla="*/ 603626 h 720392"/>
                <a:gd name="connsiteX100" fmla="*/ 142984 w 375785"/>
                <a:gd name="connsiteY100" fmla="*/ 602188 h 720392"/>
                <a:gd name="connsiteX101" fmla="*/ 150330 w 375785"/>
                <a:gd name="connsiteY101" fmla="*/ 597442 h 720392"/>
                <a:gd name="connsiteX102" fmla="*/ 145784 w 375785"/>
                <a:gd name="connsiteY102" fmla="*/ 608138 h 720392"/>
                <a:gd name="connsiteX103" fmla="*/ 137301 w 375785"/>
                <a:gd name="connsiteY103" fmla="*/ 623479 h 720392"/>
                <a:gd name="connsiteX104" fmla="*/ 147002 w 375785"/>
                <a:gd name="connsiteY104" fmla="*/ 627824 h 720392"/>
                <a:gd name="connsiteX105" fmla="*/ 149884 w 375785"/>
                <a:gd name="connsiteY105" fmla="*/ 631735 h 720392"/>
                <a:gd name="connsiteX106" fmla="*/ 156825 w 375785"/>
                <a:gd name="connsiteY106" fmla="*/ 623312 h 720392"/>
                <a:gd name="connsiteX107" fmla="*/ 166079 w 375785"/>
                <a:gd name="connsiteY107" fmla="*/ 618499 h 720392"/>
                <a:gd name="connsiteX108" fmla="*/ 165470 w 375785"/>
                <a:gd name="connsiteY108" fmla="*/ 642096 h 720392"/>
                <a:gd name="connsiteX109" fmla="*/ 156906 w 375785"/>
                <a:gd name="connsiteY109" fmla="*/ 652123 h 720392"/>
                <a:gd name="connsiteX110" fmla="*/ 161858 w 375785"/>
                <a:gd name="connsiteY110" fmla="*/ 653761 h 720392"/>
                <a:gd name="connsiteX111" fmla="*/ 161493 w 375785"/>
                <a:gd name="connsiteY111" fmla="*/ 660680 h 720392"/>
                <a:gd name="connsiteX112" fmla="*/ 173426 w 375785"/>
                <a:gd name="connsiteY112" fmla="*/ 656101 h 720392"/>
                <a:gd name="connsiteX113" fmla="*/ 193193 w 375785"/>
                <a:gd name="connsiteY113" fmla="*/ 652758 h 720392"/>
                <a:gd name="connsiteX114" fmla="*/ 185075 w 375785"/>
                <a:gd name="connsiteY114" fmla="*/ 667465 h 720392"/>
                <a:gd name="connsiteX115" fmla="*/ 191488 w 375785"/>
                <a:gd name="connsiteY115" fmla="*/ 664356 h 720392"/>
                <a:gd name="connsiteX116" fmla="*/ 201514 w 375785"/>
                <a:gd name="connsiteY116" fmla="*/ 666161 h 720392"/>
                <a:gd name="connsiteX117" fmla="*/ 207359 w 375785"/>
                <a:gd name="connsiteY117" fmla="*/ 657070 h 720392"/>
                <a:gd name="connsiteX118" fmla="*/ 221241 w 375785"/>
                <a:gd name="connsiteY118" fmla="*/ 661582 h 720392"/>
                <a:gd name="connsiteX119" fmla="*/ 200134 w 375785"/>
                <a:gd name="connsiteY119" fmla="*/ 672579 h 720392"/>
                <a:gd name="connsiteX120" fmla="*/ 206791 w 375785"/>
                <a:gd name="connsiteY120" fmla="*/ 683408 h 720392"/>
                <a:gd name="connsiteX121" fmla="*/ 223229 w 375785"/>
                <a:gd name="connsiteY121" fmla="*/ 669236 h 720392"/>
                <a:gd name="connsiteX122" fmla="*/ 242753 w 375785"/>
                <a:gd name="connsiteY122" fmla="*/ 664122 h 720392"/>
                <a:gd name="connsiteX123" fmla="*/ 245594 w 375785"/>
                <a:gd name="connsiteY123" fmla="*/ 668935 h 720392"/>
                <a:gd name="connsiteX124" fmla="*/ 234230 w 375785"/>
                <a:gd name="connsiteY124" fmla="*/ 676356 h 720392"/>
                <a:gd name="connsiteX125" fmla="*/ 217994 w 375785"/>
                <a:gd name="connsiteY125" fmla="*/ 681636 h 720392"/>
                <a:gd name="connsiteX126" fmla="*/ 227045 w 375785"/>
                <a:gd name="connsiteY126" fmla="*/ 687686 h 720392"/>
                <a:gd name="connsiteX127" fmla="*/ 259517 w 375785"/>
                <a:gd name="connsiteY127" fmla="*/ 670673 h 720392"/>
                <a:gd name="connsiteX128" fmla="*/ 252982 w 375785"/>
                <a:gd name="connsiteY128" fmla="*/ 681703 h 720392"/>
                <a:gd name="connsiteX129" fmla="*/ 238776 w 375785"/>
                <a:gd name="connsiteY129" fmla="*/ 693602 h 720392"/>
                <a:gd name="connsiteX130" fmla="*/ 217141 w 375785"/>
                <a:gd name="connsiteY130" fmla="*/ 706437 h 720392"/>
                <a:gd name="connsiteX131" fmla="*/ 237193 w 375785"/>
                <a:gd name="connsiteY131" fmla="*/ 705935 h 720392"/>
                <a:gd name="connsiteX132" fmla="*/ 259354 w 375785"/>
                <a:gd name="connsiteY132" fmla="*/ 702894 h 720392"/>
                <a:gd name="connsiteX133" fmla="*/ 249004 w 375785"/>
                <a:gd name="connsiteY133" fmla="*/ 698783 h 720392"/>
                <a:gd name="connsiteX134" fmla="*/ 270557 w 375785"/>
                <a:gd name="connsiteY134" fmla="*/ 689224 h 720392"/>
                <a:gd name="connsiteX135" fmla="*/ 267716 w 375785"/>
                <a:gd name="connsiteY135" fmla="*/ 671542 h 720392"/>
                <a:gd name="connsiteX136" fmla="*/ 286265 w 375785"/>
                <a:gd name="connsiteY136" fmla="*/ 655031 h 720392"/>
                <a:gd name="connsiteX137" fmla="*/ 282897 w 375785"/>
                <a:gd name="connsiteY137" fmla="*/ 665559 h 720392"/>
                <a:gd name="connsiteX138" fmla="*/ 287605 w 375785"/>
                <a:gd name="connsiteY138" fmla="*/ 676356 h 720392"/>
                <a:gd name="connsiteX139" fmla="*/ 303841 w 375785"/>
                <a:gd name="connsiteY139" fmla="*/ 670606 h 720392"/>
                <a:gd name="connsiteX140" fmla="*/ 296048 w 375785"/>
                <a:gd name="connsiteY140" fmla="*/ 679397 h 720392"/>
                <a:gd name="connsiteX141" fmla="*/ 302948 w 375785"/>
                <a:gd name="connsiteY141" fmla="*/ 689658 h 720392"/>
                <a:gd name="connsiteX142" fmla="*/ 292232 w 375785"/>
                <a:gd name="connsiteY142" fmla="*/ 688054 h 720392"/>
                <a:gd name="connsiteX143" fmla="*/ 288173 w 375785"/>
                <a:gd name="connsiteY143" fmla="*/ 696877 h 720392"/>
                <a:gd name="connsiteX144" fmla="*/ 269948 w 375785"/>
                <a:gd name="connsiteY144" fmla="*/ 693535 h 720392"/>
                <a:gd name="connsiteX145" fmla="*/ 271247 w 375785"/>
                <a:gd name="connsiteY145" fmla="*/ 703897 h 720392"/>
                <a:gd name="connsiteX146" fmla="*/ 265199 w 375785"/>
                <a:gd name="connsiteY146" fmla="*/ 713689 h 720392"/>
                <a:gd name="connsiteX147" fmla="*/ 286874 w 375785"/>
                <a:gd name="connsiteY147" fmla="*/ 710815 h 720392"/>
                <a:gd name="connsiteX148" fmla="*/ 299985 w 375785"/>
                <a:gd name="connsiteY148" fmla="*/ 718937 h 720392"/>
                <a:gd name="connsiteX149" fmla="*/ 297955 w 375785"/>
                <a:gd name="connsiteY149" fmla="*/ 706403 h 720392"/>
                <a:gd name="connsiteX150" fmla="*/ 328520 w 375785"/>
                <a:gd name="connsiteY150" fmla="*/ 714392 h 720392"/>
                <a:gd name="connsiteX151" fmla="*/ 326368 w 375785"/>
                <a:gd name="connsiteY151" fmla="*/ 707406 h 720392"/>
                <a:gd name="connsiteX152" fmla="*/ 340980 w 375785"/>
                <a:gd name="connsiteY152" fmla="*/ 709077 h 720392"/>
                <a:gd name="connsiteX153" fmla="*/ 356851 w 375785"/>
                <a:gd name="connsiteY153" fmla="*/ 711918 h 720392"/>
                <a:gd name="connsiteX154" fmla="*/ 344309 w 375785"/>
                <a:gd name="connsiteY154" fmla="*/ 701690 h 720392"/>
                <a:gd name="connsiteX155" fmla="*/ 364401 w 375785"/>
                <a:gd name="connsiteY155" fmla="*/ 699050 h 720392"/>
                <a:gd name="connsiteX156" fmla="*/ 375725 w 375785"/>
                <a:gd name="connsiteY156" fmla="*/ 691797 h 720392"/>
                <a:gd name="connsiteX157" fmla="*/ 336759 w 375785"/>
                <a:gd name="connsiteY157" fmla="*/ 698916 h 720392"/>
                <a:gd name="connsiteX158" fmla="*/ 320889 w 375785"/>
                <a:gd name="connsiteY158" fmla="*/ 662150 h 720392"/>
                <a:gd name="connsiteX159" fmla="*/ 315693 w 375785"/>
                <a:gd name="connsiteY159" fmla="*/ 648112 h 720392"/>
                <a:gd name="connsiteX160" fmla="*/ 294546 w 375785"/>
                <a:gd name="connsiteY160" fmla="*/ 650218 h 720392"/>
                <a:gd name="connsiteX161" fmla="*/ 290933 w 375785"/>
                <a:gd name="connsiteY161" fmla="*/ 643533 h 720392"/>
                <a:gd name="connsiteX162" fmla="*/ 272465 w 375785"/>
                <a:gd name="connsiteY162" fmla="*/ 644737 h 720392"/>
                <a:gd name="connsiteX163" fmla="*/ 242672 w 375785"/>
                <a:gd name="connsiteY163" fmla="*/ 655232 h 7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375785" h="720392">
                  <a:moveTo>
                    <a:pt x="242469" y="655867"/>
                  </a:moveTo>
                  <a:cubicBezTo>
                    <a:pt x="234717" y="659209"/>
                    <a:pt x="223920" y="648614"/>
                    <a:pt x="222174" y="644670"/>
                  </a:cubicBezTo>
                  <a:cubicBezTo>
                    <a:pt x="216979" y="633540"/>
                    <a:pt x="220713" y="630298"/>
                    <a:pt x="202975" y="635077"/>
                  </a:cubicBezTo>
                  <a:cubicBezTo>
                    <a:pt x="198104" y="636381"/>
                    <a:pt x="194127" y="636882"/>
                    <a:pt x="193193" y="632470"/>
                  </a:cubicBezTo>
                  <a:cubicBezTo>
                    <a:pt x="191813" y="626187"/>
                    <a:pt x="182315" y="625117"/>
                    <a:pt x="181016" y="618065"/>
                  </a:cubicBezTo>
                  <a:cubicBezTo>
                    <a:pt x="180123" y="614187"/>
                    <a:pt x="179880" y="610244"/>
                    <a:pt x="180326" y="606333"/>
                  </a:cubicBezTo>
                  <a:cubicBezTo>
                    <a:pt x="181422" y="600918"/>
                    <a:pt x="191001" y="598111"/>
                    <a:pt x="190352" y="593699"/>
                  </a:cubicBezTo>
                  <a:cubicBezTo>
                    <a:pt x="189703" y="589287"/>
                    <a:pt x="193234" y="585309"/>
                    <a:pt x="192828" y="581566"/>
                  </a:cubicBezTo>
                  <a:cubicBezTo>
                    <a:pt x="192422" y="577822"/>
                    <a:pt x="181381" y="576319"/>
                    <a:pt x="185238" y="571806"/>
                  </a:cubicBezTo>
                  <a:cubicBezTo>
                    <a:pt x="188566" y="567929"/>
                    <a:pt x="183533" y="564420"/>
                    <a:pt x="186293" y="560743"/>
                  </a:cubicBezTo>
                  <a:cubicBezTo>
                    <a:pt x="191001" y="554493"/>
                    <a:pt x="193924" y="556699"/>
                    <a:pt x="190352" y="549379"/>
                  </a:cubicBezTo>
                  <a:cubicBezTo>
                    <a:pt x="188566" y="545769"/>
                    <a:pt x="195223" y="544466"/>
                    <a:pt x="192544" y="541157"/>
                  </a:cubicBezTo>
                  <a:cubicBezTo>
                    <a:pt x="188728" y="536444"/>
                    <a:pt x="187105" y="531130"/>
                    <a:pt x="183249" y="526551"/>
                  </a:cubicBezTo>
                  <a:cubicBezTo>
                    <a:pt x="178784" y="521337"/>
                    <a:pt x="184791" y="521103"/>
                    <a:pt x="187064" y="516290"/>
                  </a:cubicBezTo>
                  <a:cubicBezTo>
                    <a:pt x="189986" y="510006"/>
                    <a:pt x="174887" y="511577"/>
                    <a:pt x="172939" y="508335"/>
                  </a:cubicBezTo>
                  <a:cubicBezTo>
                    <a:pt x="170990" y="505093"/>
                    <a:pt x="187348" y="504725"/>
                    <a:pt x="186293" y="500146"/>
                  </a:cubicBezTo>
                  <a:cubicBezTo>
                    <a:pt x="184507" y="492425"/>
                    <a:pt x="174116" y="500146"/>
                    <a:pt x="168677" y="498809"/>
                  </a:cubicBezTo>
                  <a:cubicBezTo>
                    <a:pt x="160194" y="496603"/>
                    <a:pt x="170625" y="489518"/>
                    <a:pt x="164983" y="486442"/>
                  </a:cubicBezTo>
                  <a:cubicBezTo>
                    <a:pt x="159341" y="483367"/>
                    <a:pt x="158448" y="475078"/>
                    <a:pt x="152238" y="474276"/>
                  </a:cubicBezTo>
                  <a:cubicBezTo>
                    <a:pt x="139777" y="472639"/>
                    <a:pt x="150249" y="454824"/>
                    <a:pt x="147936" y="449844"/>
                  </a:cubicBezTo>
                  <a:cubicBezTo>
                    <a:pt x="145622" y="444864"/>
                    <a:pt x="143024" y="438814"/>
                    <a:pt x="138397" y="435371"/>
                  </a:cubicBezTo>
                  <a:cubicBezTo>
                    <a:pt x="128574" y="428018"/>
                    <a:pt x="136773" y="424843"/>
                    <a:pt x="132877" y="416253"/>
                  </a:cubicBezTo>
                  <a:cubicBezTo>
                    <a:pt x="129589" y="408967"/>
                    <a:pt x="135353" y="408131"/>
                    <a:pt x="135759" y="402683"/>
                  </a:cubicBezTo>
                  <a:cubicBezTo>
                    <a:pt x="136043" y="398739"/>
                    <a:pt x="126098" y="392088"/>
                    <a:pt x="133080" y="388846"/>
                  </a:cubicBezTo>
                  <a:cubicBezTo>
                    <a:pt x="138438" y="386406"/>
                    <a:pt x="144242" y="383297"/>
                    <a:pt x="139412" y="378651"/>
                  </a:cubicBezTo>
                  <a:cubicBezTo>
                    <a:pt x="134582" y="374005"/>
                    <a:pt x="132633" y="374941"/>
                    <a:pt x="129467" y="368825"/>
                  </a:cubicBezTo>
                  <a:cubicBezTo>
                    <a:pt x="122567" y="355288"/>
                    <a:pt x="115180" y="347434"/>
                    <a:pt x="129792" y="333797"/>
                  </a:cubicBezTo>
                  <a:cubicBezTo>
                    <a:pt x="133851" y="329853"/>
                    <a:pt x="130198" y="326377"/>
                    <a:pt x="127438" y="323101"/>
                  </a:cubicBezTo>
                  <a:cubicBezTo>
                    <a:pt x="122202" y="316885"/>
                    <a:pt x="122526" y="315949"/>
                    <a:pt x="124434" y="309331"/>
                  </a:cubicBezTo>
                  <a:cubicBezTo>
                    <a:pt x="125652" y="305086"/>
                    <a:pt x="125327" y="299471"/>
                    <a:pt x="126139" y="295092"/>
                  </a:cubicBezTo>
                  <a:cubicBezTo>
                    <a:pt x="127397" y="287973"/>
                    <a:pt x="125692" y="279450"/>
                    <a:pt x="118264" y="275239"/>
                  </a:cubicBezTo>
                  <a:cubicBezTo>
                    <a:pt x="110836" y="271028"/>
                    <a:pt x="110674" y="264309"/>
                    <a:pt x="103855" y="260031"/>
                  </a:cubicBezTo>
                  <a:cubicBezTo>
                    <a:pt x="96143" y="255185"/>
                    <a:pt x="88066" y="251809"/>
                    <a:pt x="88390" y="243086"/>
                  </a:cubicBezTo>
                  <a:cubicBezTo>
                    <a:pt x="88390" y="239743"/>
                    <a:pt x="92125" y="238373"/>
                    <a:pt x="91638" y="234295"/>
                  </a:cubicBezTo>
                  <a:cubicBezTo>
                    <a:pt x="90988" y="228546"/>
                    <a:pt x="98538" y="223867"/>
                    <a:pt x="97685" y="219555"/>
                  </a:cubicBezTo>
                  <a:cubicBezTo>
                    <a:pt x="96549" y="213572"/>
                    <a:pt x="86483" y="210698"/>
                    <a:pt x="85508" y="205083"/>
                  </a:cubicBezTo>
                  <a:cubicBezTo>
                    <a:pt x="85143" y="202843"/>
                    <a:pt x="89121" y="201741"/>
                    <a:pt x="90217" y="199835"/>
                  </a:cubicBezTo>
                  <a:cubicBezTo>
                    <a:pt x="91759" y="197095"/>
                    <a:pt x="88877" y="192683"/>
                    <a:pt x="89162" y="189808"/>
                  </a:cubicBezTo>
                  <a:cubicBezTo>
                    <a:pt x="89770" y="183391"/>
                    <a:pt x="97685" y="179246"/>
                    <a:pt x="98132" y="173297"/>
                  </a:cubicBezTo>
                  <a:cubicBezTo>
                    <a:pt x="98822" y="164507"/>
                    <a:pt x="93789" y="163002"/>
                    <a:pt x="103814" y="155081"/>
                  </a:cubicBezTo>
                  <a:cubicBezTo>
                    <a:pt x="111161" y="149265"/>
                    <a:pt x="105763" y="149366"/>
                    <a:pt x="101298" y="145488"/>
                  </a:cubicBezTo>
                  <a:cubicBezTo>
                    <a:pt x="98132" y="142781"/>
                    <a:pt x="104099" y="137099"/>
                    <a:pt x="98497" y="132487"/>
                  </a:cubicBezTo>
                  <a:cubicBezTo>
                    <a:pt x="91313" y="126571"/>
                    <a:pt x="85427" y="113736"/>
                    <a:pt x="93667" y="105982"/>
                  </a:cubicBezTo>
                  <a:cubicBezTo>
                    <a:pt x="109456" y="91142"/>
                    <a:pt x="113272" y="87098"/>
                    <a:pt x="107671" y="69784"/>
                  </a:cubicBezTo>
                  <a:cubicBezTo>
                    <a:pt x="89933" y="85126"/>
                    <a:pt x="93626" y="70720"/>
                    <a:pt x="83682" y="63300"/>
                  </a:cubicBezTo>
                  <a:cubicBezTo>
                    <a:pt x="78568" y="59523"/>
                    <a:pt x="74468" y="57852"/>
                    <a:pt x="70937" y="52939"/>
                  </a:cubicBezTo>
                  <a:cubicBezTo>
                    <a:pt x="67406" y="48025"/>
                    <a:pt x="58395" y="49229"/>
                    <a:pt x="52956" y="45753"/>
                  </a:cubicBezTo>
                  <a:cubicBezTo>
                    <a:pt x="46299" y="41508"/>
                    <a:pt x="55959" y="23793"/>
                    <a:pt x="48450" y="22356"/>
                  </a:cubicBezTo>
                  <a:cubicBezTo>
                    <a:pt x="27303" y="18613"/>
                    <a:pt x="31483" y="3137"/>
                    <a:pt x="9606" y="-339"/>
                  </a:cubicBezTo>
                  <a:cubicBezTo>
                    <a:pt x="10296" y="-339"/>
                    <a:pt x="6156" y="14668"/>
                    <a:pt x="3639" y="16373"/>
                  </a:cubicBezTo>
                  <a:cubicBezTo>
                    <a:pt x="-4479" y="22356"/>
                    <a:pt x="2624" y="31080"/>
                    <a:pt x="7292" y="36093"/>
                  </a:cubicBezTo>
                  <a:cubicBezTo>
                    <a:pt x="17646" y="47658"/>
                    <a:pt x="24080" y="61295"/>
                    <a:pt x="25923" y="75567"/>
                  </a:cubicBezTo>
                  <a:cubicBezTo>
                    <a:pt x="27075" y="84591"/>
                    <a:pt x="27372" y="93648"/>
                    <a:pt x="26816" y="102706"/>
                  </a:cubicBezTo>
                  <a:cubicBezTo>
                    <a:pt x="26329" y="108756"/>
                    <a:pt x="34568" y="106784"/>
                    <a:pt x="33351" y="112734"/>
                  </a:cubicBezTo>
                  <a:cubicBezTo>
                    <a:pt x="31971" y="119418"/>
                    <a:pt x="38343" y="127005"/>
                    <a:pt x="40982" y="132788"/>
                  </a:cubicBezTo>
                  <a:cubicBezTo>
                    <a:pt x="45041" y="141478"/>
                    <a:pt x="44675" y="151438"/>
                    <a:pt x="45041" y="160763"/>
                  </a:cubicBezTo>
                  <a:cubicBezTo>
                    <a:pt x="45406" y="167080"/>
                    <a:pt x="47638" y="173598"/>
                    <a:pt x="46542" y="180015"/>
                  </a:cubicBezTo>
                  <a:cubicBezTo>
                    <a:pt x="45203" y="187636"/>
                    <a:pt x="51616" y="194521"/>
                    <a:pt x="47638" y="202008"/>
                  </a:cubicBezTo>
                  <a:cubicBezTo>
                    <a:pt x="43660" y="209495"/>
                    <a:pt x="40251" y="210899"/>
                    <a:pt x="49424" y="216213"/>
                  </a:cubicBezTo>
                  <a:cubicBezTo>
                    <a:pt x="57542" y="220992"/>
                    <a:pt x="62981" y="223900"/>
                    <a:pt x="58922" y="232457"/>
                  </a:cubicBezTo>
                  <a:cubicBezTo>
                    <a:pt x="53077" y="244857"/>
                    <a:pt x="69151" y="261836"/>
                    <a:pt x="73129" y="273534"/>
                  </a:cubicBezTo>
                  <a:cubicBezTo>
                    <a:pt x="76295" y="284464"/>
                    <a:pt x="76968" y="295828"/>
                    <a:pt x="75117" y="306958"/>
                  </a:cubicBezTo>
                  <a:cubicBezTo>
                    <a:pt x="74022" y="315681"/>
                    <a:pt x="77350" y="324104"/>
                    <a:pt x="76335" y="332995"/>
                  </a:cubicBezTo>
                  <a:cubicBezTo>
                    <a:pt x="75320" y="341885"/>
                    <a:pt x="73088" y="350943"/>
                    <a:pt x="72926" y="359734"/>
                  </a:cubicBezTo>
                  <a:cubicBezTo>
                    <a:pt x="72926" y="362307"/>
                    <a:pt x="73697" y="366686"/>
                    <a:pt x="71018" y="369159"/>
                  </a:cubicBezTo>
                  <a:cubicBezTo>
                    <a:pt x="68339" y="371633"/>
                    <a:pt x="64605" y="371165"/>
                    <a:pt x="64077" y="374340"/>
                  </a:cubicBezTo>
                  <a:cubicBezTo>
                    <a:pt x="63549" y="377515"/>
                    <a:pt x="67568" y="381024"/>
                    <a:pt x="70571" y="383297"/>
                  </a:cubicBezTo>
                  <a:cubicBezTo>
                    <a:pt x="76498" y="387509"/>
                    <a:pt x="74955" y="394060"/>
                    <a:pt x="78689" y="399040"/>
                  </a:cubicBezTo>
                  <a:cubicBezTo>
                    <a:pt x="85062" y="407296"/>
                    <a:pt x="91353" y="407663"/>
                    <a:pt x="91435" y="418392"/>
                  </a:cubicBezTo>
                  <a:cubicBezTo>
                    <a:pt x="91435" y="426380"/>
                    <a:pt x="91678" y="434101"/>
                    <a:pt x="91678" y="442089"/>
                  </a:cubicBezTo>
                  <a:cubicBezTo>
                    <a:pt x="91678" y="449376"/>
                    <a:pt x="103327" y="455459"/>
                    <a:pt x="102069" y="461341"/>
                  </a:cubicBezTo>
                  <a:cubicBezTo>
                    <a:pt x="101623" y="463480"/>
                    <a:pt x="98457" y="463547"/>
                    <a:pt x="96793" y="464918"/>
                  </a:cubicBezTo>
                  <a:cubicBezTo>
                    <a:pt x="93626" y="467558"/>
                    <a:pt x="94601" y="472304"/>
                    <a:pt x="95047" y="475145"/>
                  </a:cubicBezTo>
                  <a:cubicBezTo>
                    <a:pt x="95697" y="479424"/>
                    <a:pt x="96103" y="491857"/>
                    <a:pt x="101826" y="494197"/>
                  </a:cubicBezTo>
                  <a:cubicBezTo>
                    <a:pt x="105235" y="495634"/>
                    <a:pt x="114327" y="491590"/>
                    <a:pt x="115586" y="488949"/>
                  </a:cubicBezTo>
                  <a:cubicBezTo>
                    <a:pt x="119645" y="480025"/>
                    <a:pt x="102150" y="468093"/>
                    <a:pt x="108360" y="460405"/>
                  </a:cubicBezTo>
                  <a:cubicBezTo>
                    <a:pt x="109781" y="458601"/>
                    <a:pt x="114571" y="449777"/>
                    <a:pt x="118305" y="450044"/>
                  </a:cubicBezTo>
                  <a:cubicBezTo>
                    <a:pt x="120619" y="450044"/>
                    <a:pt x="120537" y="453386"/>
                    <a:pt x="121715" y="454523"/>
                  </a:cubicBezTo>
                  <a:cubicBezTo>
                    <a:pt x="123866" y="456328"/>
                    <a:pt x="128331" y="454189"/>
                    <a:pt x="130685" y="456227"/>
                  </a:cubicBezTo>
                  <a:cubicBezTo>
                    <a:pt x="133648" y="458801"/>
                    <a:pt x="127316" y="462010"/>
                    <a:pt x="127316" y="464784"/>
                  </a:cubicBezTo>
                  <a:cubicBezTo>
                    <a:pt x="127316" y="467558"/>
                    <a:pt x="131375" y="470165"/>
                    <a:pt x="132714" y="472939"/>
                  </a:cubicBezTo>
                  <a:cubicBezTo>
                    <a:pt x="134054" y="475714"/>
                    <a:pt x="131050" y="480192"/>
                    <a:pt x="130644" y="483535"/>
                  </a:cubicBezTo>
                  <a:cubicBezTo>
                    <a:pt x="129995" y="488214"/>
                    <a:pt x="136773" y="490721"/>
                    <a:pt x="134703" y="495066"/>
                  </a:cubicBezTo>
                  <a:cubicBezTo>
                    <a:pt x="132633" y="499411"/>
                    <a:pt x="136814" y="510106"/>
                    <a:pt x="140548" y="512747"/>
                  </a:cubicBezTo>
                  <a:cubicBezTo>
                    <a:pt x="144973" y="515855"/>
                    <a:pt x="136855" y="517660"/>
                    <a:pt x="141969" y="521972"/>
                  </a:cubicBezTo>
                  <a:cubicBezTo>
                    <a:pt x="149072" y="527988"/>
                    <a:pt x="148504" y="526618"/>
                    <a:pt x="140142" y="531297"/>
                  </a:cubicBezTo>
                  <a:cubicBezTo>
                    <a:pt x="131781" y="535976"/>
                    <a:pt x="150939" y="546170"/>
                    <a:pt x="139209" y="545970"/>
                  </a:cubicBezTo>
                  <a:cubicBezTo>
                    <a:pt x="114124" y="545569"/>
                    <a:pt x="139980" y="532601"/>
                    <a:pt x="131091" y="524512"/>
                  </a:cubicBezTo>
                  <a:cubicBezTo>
                    <a:pt x="123825" y="518028"/>
                    <a:pt x="106494" y="522841"/>
                    <a:pt x="120822" y="527854"/>
                  </a:cubicBezTo>
                  <a:cubicBezTo>
                    <a:pt x="140427" y="534907"/>
                    <a:pt x="115788" y="534773"/>
                    <a:pt x="118914" y="540121"/>
                  </a:cubicBezTo>
                  <a:cubicBezTo>
                    <a:pt x="122770" y="546605"/>
                    <a:pt x="100121" y="549981"/>
                    <a:pt x="113353" y="556031"/>
                  </a:cubicBezTo>
                  <a:cubicBezTo>
                    <a:pt x="116966" y="557702"/>
                    <a:pt x="109862" y="561512"/>
                    <a:pt x="108320" y="563384"/>
                  </a:cubicBezTo>
                  <a:cubicBezTo>
                    <a:pt x="106777" y="565255"/>
                    <a:pt x="103125" y="579226"/>
                    <a:pt x="109862" y="573946"/>
                  </a:cubicBezTo>
                  <a:cubicBezTo>
                    <a:pt x="112826" y="571606"/>
                    <a:pt x="108036" y="565456"/>
                    <a:pt x="116884" y="566392"/>
                  </a:cubicBezTo>
                  <a:cubicBezTo>
                    <a:pt x="124637" y="567227"/>
                    <a:pt x="121593" y="570469"/>
                    <a:pt x="129467" y="566392"/>
                  </a:cubicBezTo>
                  <a:cubicBezTo>
                    <a:pt x="148625" y="556565"/>
                    <a:pt x="135353" y="578357"/>
                    <a:pt x="135840" y="580630"/>
                  </a:cubicBezTo>
                  <a:cubicBezTo>
                    <a:pt x="138722" y="594267"/>
                    <a:pt x="153537" y="575650"/>
                    <a:pt x="162183" y="579962"/>
                  </a:cubicBezTo>
                  <a:cubicBezTo>
                    <a:pt x="163725" y="580730"/>
                    <a:pt x="166972" y="586947"/>
                    <a:pt x="162183" y="585543"/>
                  </a:cubicBezTo>
                  <a:cubicBezTo>
                    <a:pt x="149397" y="581700"/>
                    <a:pt x="151670" y="586914"/>
                    <a:pt x="143430" y="591393"/>
                  </a:cubicBezTo>
                  <a:cubicBezTo>
                    <a:pt x="135190" y="595871"/>
                    <a:pt x="123338" y="592161"/>
                    <a:pt x="120984" y="603626"/>
                  </a:cubicBezTo>
                  <a:cubicBezTo>
                    <a:pt x="119645" y="610310"/>
                    <a:pt x="140832" y="613887"/>
                    <a:pt x="142984" y="602188"/>
                  </a:cubicBezTo>
                  <a:cubicBezTo>
                    <a:pt x="143349" y="600083"/>
                    <a:pt x="146677" y="595504"/>
                    <a:pt x="150330" y="597442"/>
                  </a:cubicBezTo>
                  <a:cubicBezTo>
                    <a:pt x="158042" y="601720"/>
                    <a:pt x="149681" y="605063"/>
                    <a:pt x="145784" y="608138"/>
                  </a:cubicBezTo>
                  <a:cubicBezTo>
                    <a:pt x="141888" y="611213"/>
                    <a:pt x="140751" y="619469"/>
                    <a:pt x="137301" y="623479"/>
                  </a:cubicBezTo>
                  <a:cubicBezTo>
                    <a:pt x="129792" y="632270"/>
                    <a:pt x="145419" y="627523"/>
                    <a:pt x="147002" y="627824"/>
                  </a:cubicBezTo>
                  <a:cubicBezTo>
                    <a:pt x="148585" y="628125"/>
                    <a:pt x="148179" y="631167"/>
                    <a:pt x="149884" y="631735"/>
                  </a:cubicBezTo>
                  <a:cubicBezTo>
                    <a:pt x="156622" y="634543"/>
                    <a:pt x="160234" y="626655"/>
                    <a:pt x="156825" y="623312"/>
                  </a:cubicBezTo>
                  <a:cubicBezTo>
                    <a:pt x="148057" y="614722"/>
                    <a:pt x="168555" y="608238"/>
                    <a:pt x="166079" y="618499"/>
                  </a:cubicBezTo>
                  <a:cubicBezTo>
                    <a:pt x="164658" y="624382"/>
                    <a:pt x="170788" y="638119"/>
                    <a:pt x="165470" y="642096"/>
                  </a:cubicBezTo>
                  <a:cubicBezTo>
                    <a:pt x="166079" y="641662"/>
                    <a:pt x="159707" y="655131"/>
                    <a:pt x="156906" y="652123"/>
                  </a:cubicBezTo>
                  <a:cubicBezTo>
                    <a:pt x="158651" y="652424"/>
                    <a:pt x="160356" y="652959"/>
                    <a:pt x="161858" y="653761"/>
                  </a:cubicBezTo>
                  <a:cubicBezTo>
                    <a:pt x="163522" y="655733"/>
                    <a:pt x="161087" y="658507"/>
                    <a:pt x="161493" y="660680"/>
                  </a:cubicBezTo>
                  <a:cubicBezTo>
                    <a:pt x="162629" y="666462"/>
                    <a:pt x="170869" y="656201"/>
                    <a:pt x="173426" y="656101"/>
                  </a:cubicBezTo>
                  <a:cubicBezTo>
                    <a:pt x="178662" y="655833"/>
                    <a:pt x="190230" y="648748"/>
                    <a:pt x="193193" y="652758"/>
                  </a:cubicBezTo>
                  <a:cubicBezTo>
                    <a:pt x="194330" y="654296"/>
                    <a:pt x="180691" y="667732"/>
                    <a:pt x="185075" y="667465"/>
                  </a:cubicBezTo>
                  <a:cubicBezTo>
                    <a:pt x="187389" y="666696"/>
                    <a:pt x="189540" y="665660"/>
                    <a:pt x="191488" y="664356"/>
                  </a:cubicBezTo>
                  <a:cubicBezTo>
                    <a:pt x="197130" y="661515"/>
                    <a:pt x="197130" y="665192"/>
                    <a:pt x="201514" y="666161"/>
                  </a:cubicBezTo>
                  <a:cubicBezTo>
                    <a:pt x="207684" y="667532"/>
                    <a:pt x="202772" y="658374"/>
                    <a:pt x="207359" y="657070"/>
                  </a:cubicBezTo>
                  <a:cubicBezTo>
                    <a:pt x="211174" y="656000"/>
                    <a:pt x="222337" y="657070"/>
                    <a:pt x="221241" y="661582"/>
                  </a:cubicBezTo>
                  <a:cubicBezTo>
                    <a:pt x="219414" y="669036"/>
                    <a:pt x="205979" y="668835"/>
                    <a:pt x="200134" y="672579"/>
                  </a:cubicBezTo>
                  <a:cubicBezTo>
                    <a:pt x="194289" y="676322"/>
                    <a:pt x="199403" y="684778"/>
                    <a:pt x="206791" y="683408"/>
                  </a:cubicBezTo>
                  <a:cubicBezTo>
                    <a:pt x="214178" y="682037"/>
                    <a:pt x="216004" y="672378"/>
                    <a:pt x="223229" y="669236"/>
                  </a:cubicBezTo>
                  <a:cubicBezTo>
                    <a:pt x="229318" y="666596"/>
                    <a:pt x="235934" y="664858"/>
                    <a:pt x="242753" y="664122"/>
                  </a:cubicBezTo>
                  <a:cubicBezTo>
                    <a:pt x="249126" y="663487"/>
                    <a:pt x="253956" y="666462"/>
                    <a:pt x="245594" y="668935"/>
                  </a:cubicBezTo>
                  <a:cubicBezTo>
                    <a:pt x="238694" y="670941"/>
                    <a:pt x="239384" y="673080"/>
                    <a:pt x="234230" y="676356"/>
                  </a:cubicBezTo>
                  <a:cubicBezTo>
                    <a:pt x="227816" y="680433"/>
                    <a:pt x="222580" y="675720"/>
                    <a:pt x="217994" y="681636"/>
                  </a:cubicBezTo>
                  <a:cubicBezTo>
                    <a:pt x="210200" y="691229"/>
                    <a:pt x="219576" y="699852"/>
                    <a:pt x="227045" y="687686"/>
                  </a:cubicBezTo>
                  <a:cubicBezTo>
                    <a:pt x="228953" y="684544"/>
                    <a:pt x="256432" y="668568"/>
                    <a:pt x="259517" y="670673"/>
                  </a:cubicBezTo>
                  <a:cubicBezTo>
                    <a:pt x="264631" y="674283"/>
                    <a:pt x="257609" y="679932"/>
                    <a:pt x="252982" y="681703"/>
                  </a:cubicBezTo>
                  <a:cubicBezTo>
                    <a:pt x="245432" y="684578"/>
                    <a:pt x="232403" y="682305"/>
                    <a:pt x="238776" y="693602"/>
                  </a:cubicBezTo>
                  <a:cubicBezTo>
                    <a:pt x="242226" y="699652"/>
                    <a:pt x="194817" y="695440"/>
                    <a:pt x="217141" y="706437"/>
                  </a:cubicBezTo>
                  <a:cubicBezTo>
                    <a:pt x="226355" y="710982"/>
                    <a:pt x="228101" y="707640"/>
                    <a:pt x="237193" y="705935"/>
                  </a:cubicBezTo>
                  <a:cubicBezTo>
                    <a:pt x="242753" y="704899"/>
                    <a:pt x="260004" y="713322"/>
                    <a:pt x="259354" y="702894"/>
                  </a:cubicBezTo>
                  <a:cubicBezTo>
                    <a:pt x="259354" y="699752"/>
                    <a:pt x="248557" y="704097"/>
                    <a:pt x="249004" y="698783"/>
                  </a:cubicBezTo>
                  <a:cubicBezTo>
                    <a:pt x="249532" y="692666"/>
                    <a:pt x="266052" y="695140"/>
                    <a:pt x="270557" y="689224"/>
                  </a:cubicBezTo>
                  <a:cubicBezTo>
                    <a:pt x="275956" y="682104"/>
                    <a:pt x="266498" y="678160"/>
                    <a:pt x="267716" y="671542"/>
                  </a:cubicBezTo>
                  <a:cubicBezTo>
                    <a:pt x="268609" y="665794"/>
                    <a:pt x="278838" y="656769"/>
                    <a:pt x="286265" y="655031"/>
                  </a:cubicBezTo>
                  <a:cubicBezTo>
                    <a:pt x="293693" y="653293"/>
                    <a:pt x="284236" y="664624"/>
                    <a:pt x="282897" y="665559"/>
                  </a:cubicBezTo>
                  <a:cubicBezTo>
                    <a:pt x="276686" y="669905"/>
                    <a:pt x="276199" y="677525"/>
                    <a:pt x="287605" y="676356"/>
                  </a:cubicBezTo>
                  <a:cubicBezTo>
                    <a:pt x="293247" y="675754"/>
                    <a:pt x="297631" y="668601"/>
                    <a:pt x="303841" y="670606"/>
                  </a:cubicBezTo>
                  <a:cubicBezTo>
                    <a:pt x="310051" y="672612"/>
                    <a:pt x="297671" y="677626"/>
                    <a:pt x="296048" y="679397"/>
                  </a:cubicBezTo>
                  <a:cubicBezTo>
                    <a:pt x="291258" y="684544"/>
                    <a:pt x="303029" y="685480"/>
                    <a:pt x="302948" y="689658"/>
                  </a:cubicBezTo>
                  <a:cubicBezTo>
                    <a:pt x="302745" y="697980"/>
                    <a:pt x="293572" y="690126"/>
                    <a:pt x="292232" y="688054"/>
                  </a:cubicBezTo>
                  <a:cubicBezTo>
                    <a:pt x="280055" y="669270"/>
                    <a:pt x="281476" y="699016"/>
                    <a:pt x="288173" y="696877"/>
                  </a:cubicBezTo>
                  <a:cubicBezTo>
                    <a:pt x="282125" y="698783"/>
                    <a:pt x="275996" y="691329"/>
                    <a:pt x="269948" y="693535"/>
                  </a:cubicBezTo>
                  <a:cubicBezTo>
                    <a:pt x="259720" y="697145"/>
                    <a:pt x="276930" y="701590"/>
                    <a:pt x="271247" y="703897"/>
                  </a:cubicBezTo>
                  <a:cubicBezTo>
                    <a:pt x="267188" y="705434"/>
                    <a:pt x="257487" y="710147"/>
                    <a:pt x="265199" y="713689"/>
                  </a:cubicBezTo>
                  <a:cubicBezTo>
                    <a:pt x="271044" y="716363"/>
                    <a:pt x="279122" y="704331"/>
                    <a:pt x="286874" y="710815"/>
                  </a:cubicBezTo>
                  <a:cubicBezTo>
                    <a:pt x="287524" y="711316"/>
                    <a:pt x="299051" y="723783"/>
                    <a:pt x="299985" y="718937"/>
                  </a:cubicBezTo>
                  <a:cubicBezTo>
                    <a:pt x="301000" y="714726"/>
                    <a:pt x="295682" y="710715"/>
                    <a:pt x="297955" y="706403"/>
                  </a:cubicBezTo>
                  <a:cubicBezTo>
                    <a:pt x="300228" y="702092"/>
                    <a:pt x="317641" y="722346"/>
                    <a:pt x="328520" y="714392"/>
                  </a:cubicBezTo>
                  <a:cubicBezTo>
                    <a:pt x="329209" y="713890"/>
                    <a:pt x="324095" y="709879"/>
                    <a:pt x="326368" y="707406"/>
                  </a:cubicBezTo>
                  <a:cubicBezTo>
                    <a:pt x="329818" y="703662"/>
                    <a:pt x="337734" y="707707"/>
                    <a:pt x="340980" y="709077"/>
                  </a:cubicBezTo>
                  <a:cubicBezTo>
                    <a:pt x="343416" y="710113"/>
                    <a:pt x="353969" y="715595"/>
                    <a:pt x="356851" y="711918"/>
                  </a:cubicBezTo>
                  <a:cubicBezTo>
                    <a:pt x="360585" y="707272"/>
                    <a:pt x="345039" y="704365"/>
                    <a:pt x="344309" y="701690"/>
                  </a:cubicBezTo>
                  <a:cubicBezTo>
                    <a:pt x="343741" y="699585"/>
                    <a:pt x="362858" y="699217"/>
                    <a:pt x="364401" y="699050"/>
                  </a:cubicBezTo>
                  <a:cubicBezTo>
                    <a:pt x="371869" y="698181"/>
                    <a:pt x="370895" y="692031"/>
                    <a:pt x="375725" y="691797"/>
                  </a:cubicBezTo>
                  <a:cubicBezTo>
                    <a:pt x="366877" y="690326"/>
                    <a:pt x="340209" y="704231"/>
                    <a:pt x="336759" y="698916"/>
                  </a:cubicBezTo>
                  <a:cubicBezTo>
                    <a:pt x="329331" y="687619"/>
                    <a:pt x="325475" y="674350"/>
                    <a:pt x="320889" y="662150"/>
                  </a:cubicBezTo>
                  <a:cubicBezTo>
                    <a:pt x="319102" y="657471"/>
                    <a:pt x="317357" y="652792"/>
                    <a:pt x="315693" y="648112"/>
                  </a:cubicBezTo>
                  <a:cubicBezTo>
                    <a:pt x="310254" y="648781"/>
                    <a:pt x="298848" y="654998"/>
                    <a:pt x="294546" y="650218"/>
                  </a:cubicBezTo>
                  <a:cubicBezTo>
                    <a:pt x="290812" y="646040"/>
                    <a:pt x="299213" y="645038"/>
                    <a:pt x="290933" y="643533"/>
                  </a:cubicBezTo>
                  <a:cubicBezTo>
                    <a:pt x="284764" y="642531"/>
                    <a:pt x="278351" y="642932"/>
                    <a:pt x="272465" y="644737"/>
                  </a:cubicBezTo>
                  <a:cubicBezTo>
                    <a:pt x="262196" y="647577"/>
                    <a:pt x="252251" y="651087"/>
                    <a:pt x="242672" y="655232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49FC4E7A-9925-498F-A299-71654F948805}"/>
                </a:ext>
              </a:extLst>
            </p:cNvPr>
            <p:cNvSpPr/>
            <p:nvPr/>
          </p:nvSpPr>
          <p:spPr>
            <a:xfrm>
              <a:off x="4251131" y="5555501"/>
              <a:ext cx="230768" cy="99008"/>
            </a:xfrm>
            <a:custGeom>
              <a:avLst/>
              <a:gdLst>
                <a:gd name="connsiteX0" fmla="*/ 225254 w 236848"/>
                <a:gd name="connsiteY0" fmla="*/ 49930 h 135565"/>
                <a:gd name="connsiteX1" fmla="*/ 205243 w 236848"/>
                <a:gd name="connsiteY1" fmla="*/ 57952 h 135565"/>
                <a:gd name="connsiteX2" fmla="*/ 191686 w 236848"/>
                <a:gd name="connsiteY2" fmla="*/ 47925 h 135565"/>
                <a:gd name="connsiteX3" fmla="*/ 162137 w 236848"/>
                <a:gd name="connsiteY3" fmla="*/ 34555 h 135565"/>
                <a:gd name="connsiteX4" fmla="*/ 125322 w 236848"/>
                <a:gd name="connsiteY4" fmla="*/ 36427 h 135565"/>
                <a:gd name="connsiteX5" fmla="*/ 121263 w 236848"/>
                <a:gd name="connsiteY5" fmla="*/ 19715 h 135565"/>
                <a:gd name="connsiteX6" fmla="*/ 110831 w 236848"/>
                <a:gd name="connsiteY6" fmla="*/ 9688 h 135565"/>
                <a:gd name="connsiteX7" fmla="*/ 107706 w 236848"/>
                <a:gd name="connsiteY7" fmla="*/ -339 h 135565"/>
                <a:gd name="connsiteX8" fmla="*/ 83352 w 236848"/>
                <a:gd name="connsiteY8" fmla="*/ 229 h 135565"/>
                <a:gd name="connsiteX9" fmla="*/ 48689 w 236848"/>
                <a:gd name="connsiteY9" fmla="*/ 10524 h 135565"/>
                <a:gd name="connsiteX10" fmla="*/ 23645 w 236848"/>
                <a:gd name="connsiteY10" fmla="*/ 19247 h 135565"/>
                <a:gd name="connsiteX11" fmla="*/ 8058 w 236848"/>
                <a:gd name="connsiteY11" fmla="*/ 48393 h 135565"/>
                <a:gd name="connsiteX12" fmla="*/ -60 w 236848"/>
                <a:gd name="connsiteY12" fmla="*/ 71555 h 135565"/>
                <a:gd name="connsiteX13" fmla="*/ 55548 w 236848"/>
                <a:gd name="connsiteY13" fmla="*/ 87766 h 135565"/>
                <a:gd name="connsiteX14" fmla="*/ 89116 w 236848"/>
                <a:gd name="connsiteY14" fmla="*/ 87766 h 135565"/>
                <a:gd name="connsiteX15" fmla="*/ 111765 w 236848"/>
                <a:gd name="connsiteY15" fmla="*/ 92311 h 135565"/>
                <a:gd name="connsiteX16" fmla="*/ 157428 w 236848"/>
                <a:gd name="connsiteY16" fmla="*/ 94283 h 135565"/>
                <a:gd name="connsiteX17" fmla="*/ 152395 w 236848"/>
                <a:gd name="connsiteY17" fmla="*/ 107653 h 135565"/>
                <a:gd name="connsiteX18" fmla="*/ 147890 w 236848"/>
                <a:gd name="connsiteY18" fmla="*/ 128208 h 135565"/>
                <a:gd name="connsiteX19" fmla="*/ 145333 w 236848"/>
                <a:gd name="connsiteY19" fmla="*/ 135227 h 135565"/>
                <a:gd name="connsiteX20" fmla="*/ 173299 w 236848"/>
                <a:gd name="connsiteY20" fmla="*/ 131651 h 135565"/>
                <a:gd name="connsiteX21" fmla="*/ 205000 w 236848"/>
                <a:gd name="connsiteY21" fmla="*/ 122894 h 135565"/>
                <a:gd name="connsiteX22" fmla="*/ 215918 w 236848"/>
                <a:gd name="connsiteY22" fmla="*/ 118282 h 135565"/>
                <a:gd name="connsiteX23" fmla="*/ 225416 w 236848"/>
                <a:gd name="connsiteY23" fmla="*/ 110026 h 135565"/>
                <a:gd name="connsiteX24" fmla="*/ 233534 w 236848"/>
                <a:gd name="connsiteY24" fmla="*/ 81315 h 135565"/>
                <a:gd name="connsiteX25" fmla="*/ 224889 w 236848"/>
                <a:gd name="connsiteY25" fmla="*/ 49763 h 135565"/>
                <a:gd name="connsiteX26" fmla="*/ 225254 w 236848"/>
                <a:gd name="connsiteY26" fmla="*/ 49930 h 13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6848" h="135565">
                  <a:moveTo>
                    <a:pt x="225254" y="49930"/>
                  </a:moveTo>
                  <a:cubicBezTo>
                    <a:pt x="215107" y="49128"/>
                    <a:pt x="213077" y="56047"/>
                    <a:pt x="205243" y="57952"/>
                  </a:cubicBezTo>
                  <a:cubicBezTo>
                    <a:pt x="201184" y="58921"/>
                    <a:pt x="193269" y="49529"/>
                    <a:pt x="191686" y="47925"/>
                  </a:cubicBezTo>
                  <a:cubicBezTo>
                    <a:pt x="185354" y="41641"/>
                    <a:pt x="176100" y="28272"/>
                    <a:pt x="162137" y="34555"/>
                  </a:cubicBezTo>
                  <a:cubicBezTo>
                    <a:pt x="156617" y="36995"/>
                    <a:pt x="127717" y="41240"/>
                    <a:pt x="125322" y="36427"/>
                  </a:cubicBezTo>
                  <a:cubicBezTo>
                    <a:pt x="122603" y="31046"/>
                    <a:pt x="125322" y="24929"/>
                    <a:pt x="121263" y="19715"/>
                  </a:cubicBezTo>
                  <a:cubicBezTo>
                    <a:pt x="119112" y="17041"/>
                    <a:pt x="110304" y="13031"/>
                    <a:pt x="110831" y="9688"/>
                  </a:cubicBezTo>
                  <a:cubicBezTo>
                    <a:pt x="111765" y="3973"/>
                    <a:pt x="117610" y="4040"/>
                    <a:pt x="107706" y="-339"/>
                  </a:cubicBezTo>
                  <a:cubicBezTo>
                    <a:pt x="101334" y="4675"/>
                    <a:pt x="90780" y="62"/>
                    <a:pt x="83352" y="229"/>
                  </a:cubicBezTo>
                  <a:cubicBezTo>
                    <a:pt x="70891" y="1132"/>
                    <a:pt x="58958" y="4675"/>
                    <a:pt x="48689" y="10524"/>
                  </a:cubicBezTo>
                  <a:cubicBezTo>
                    <a:pt x="41869" y="15036"/>
                    <a:pt x="31235" y="15537"/>
                    <a:pt x="23645" y="19247"/>
                  </a:cubicBezTo>
                  <a:cubicBezTo>
                    <a:pt x="11021" y="24929"/>
                    <a:pt x="4608" y="36895"/>
                    <a:pt x="8058" y="48393"/>
                  </a:cubicBezTo>
                  <a:cubicBezTo>
                    <a:pt x="10128" y="56816"/>
                    <a:pt x="16176" y="68447"/>
                    <a:pt x="-60" y="71555"/>
                  </a:cubicBezTo>
                  <a:cubicBezTo>
                    <a:pt x="15892" y="80914"/>
                    <a:pt x="36796" y="82150"/>
                    <a:pt x="55548" y="87766"/>
                  </a:cubicBezTo>
                  <a:cubicBezTo>
                    <a:pt x="67360" y="91309"/>
                    <a:pt x="76330" y="87766"/>
                    <a:pt x="89116" y="87766"/>
                  </a:cubicBezTo>
                  <a:cubicBezTo>
                    <a:pt x="98167" y="87766"/>
                    <a:pt x="103607" y="91409"/>
                    <a:pt x="111765" y="92311"/>
                  </a:cubicBezTo>
                  <a:cubicBezTo>
                    <a:pt x="126337" y="93949"/>
                    <a:pt x="143628" y="91142"/>
                    <a:pt x="157428" y="94283"/>
                  </a:cubicBezTo>
                  <a:cubicBezTo>
                    <a:pt x="163477" y="95654"/>
                    <a:pt x="154019" y="105313"/>
                    <a:pt x="152395" y="107653"/>
                  </a:cubicBezTo>
                  <a:cubicBezTo>
                    <a:pt x="147200" y="115374"/>
                    <a:pt x="151178" y="121022"/>
                    <a:pt x="147890" y="128208"/>
                  </a:cubicBezTo>
                  <a:cubicBezTo>
                    <a:pt x="147281" y="129478"/>
                    <a:pt x="140462" y="134893"/>
                    <a:pt x="145333" y="135227"/>
                  </a:cubicBezTo>
                  <a:cubicBezTo>
                    <a:pt x="154790" y="134893"/>
                    <a:pt x="164166" y="133690"/>
                    <a:pt x="173299" y="131651"/>
                  </a:cubicBezTo>
                  <a:cubicBezTo>
                    <a:pt x="183934" y="129144"/>
                    <a:pt x="196679" y="128309"/>
                    <a:pt x="205000" y="122894"/>
                  </a:cubicBezTo>
                  <a:cubicBezTo>
                    <a:pt x="208491" y="120554"/>
                    <a:pt x="212631" y="120320"/>
                    <a:pt x="215918" y="118282"/>
                  </a:cubicBezTo>
                  <a:cubicBezTo>
                    <a:pt x="219206" y="116243"/>
                    <a:pt x="221560" y="112432"/>
                    <a:pt x="225416" y="110026"/>
                  </a:cubicBezTo>
                  <a:cubicBezTo>
                    <a:pt x="236538" y="103508"/>
                    <a:pt x="240029" y="91208"/>
                    <a:pt x="233534" y="81315"/>
                  </a:cubicBezTo>
                  <a:cubicBezTo>
                    <a:pt x="230003" y="75466"/>
                    <a:pt x="237025" y="50766"/>
                    <a:pt x="224889" y="49763"/>
                  </a:cubicBezTo>
                  <a:cubicBezTo>
                    <a:pt x="215188" y="49161"/>
                    <a:pt x="235280" y="50766"/>
                    <a:pt x="225254" y="4993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E20DAC37-17BD-4A41-A183-BBEF5C6023FB}"/>
                </a:ext>
              </a:extLst>
            </p:cNvPr>
            <p:cNvSpPr/>
            <p:nvPr/>
          </p:nvSpPr>
          <p:spPr>
            <a:xfrm>
              <a:off x="3424223" y="5343324"/>
              <a:ext cx="95028" cy="26161"/>
            </a:xfrm>
            <a:custGeom>
              <a:avLst/>
              <a:gdLst>
                <a:gd name="connsiteX0" fmla="*/ 95042 w 97531"/>
                <a:gd name="connsiteY0" fmla="*/ 20885 h 35821"/>
                <a:gd name="connsiteX1" fmla="*/ 87330 w 97531"/>
                <a:gd name="connsiteY1" fmla="*/ 8017 h 35821"/>
                <a:gd name="connsiteX2" fmla="*/ 57091 w 97531"/>
                <a:gd name="connsiteY2" fmla="*/ -339 h 35821"/>
                <a:gd name="connsiteX3" fmla="*/ -60 w 97531"/>
                <a:gd name="connsiteY3" fmla="*/ 15604 h 35821"/>
                <a:gd name="connsiteX4" fmla="*/ 15649 w 97531"/>
                <a:gd name="connsiteY4" fmla="*/ 33352 h 35821"/>
                <a:gd name="connsiteX5" fmla="*/ 41383 w 97531"/>
                <a:gd name="connsiteY5" fmla="*/ 27871 h 35821"/>
                <a:gd name="connsiteX6" fmla="*/ 58836 w 97531"/>
                <a:gd name="connsiteY6" fmla="*/ 25999 h 35821"/>
                <a:gd name="connsiteX7" fmla="*/ 71500 w 97531"/>
                <a:gd name="connsiteY7" fmla="*/ 33218 h 35821"/>
                <a:gd name="connsiteX8" fmla="*/ 95042 w 97531"/>
                <a:gd name="connsiteY8" fmla="*/ 20885 h 35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1" h="35821">
                  <a:moveTo>
                    <a:pt x="95042" y="20885"/>
                  </a:moveTo>
                  <a:cubicBezTo>
                    <a:pt x="88426" y="15537"/>
                    <a:pt x="98777" y="10691"/>
                    <a:pt x="87330" y="8017"/>
                  </a:cubicBezTo>
                  <a:cubicBezTo>
                    <a:pt x="77073" y="5684"/>
                    <a:pt x="66978" y="2897"/>
                    <a:pt x="57091" y="-339"/>
                  </a:cubicBezTo>
                  <a:cubicBezTo>
                    <a:pt x="40287" y="7249"/>
                    <a:pt x="17841" y="8051"/>
                    <a:pt x="-60" y="15604"/>
                  </a:cubicBezTo>
                  <a:cubicBezTo>
                    <a:pt x="7612" y="21253"/>
                    <a:pt x="-8746" y="36126"/>
                    <a:pt x="15649" y="33352"/>
                  </a:cubicBezTo>
                  <a:cubicBezTo>
                    <a:pt x="31276" y="31581"/>
                    <a:pt x="25025" y="24662"/>
                    <a:pt x="41383" y="27871"/>
                  </a:cubicBezTo>
                  <a:cubicBezTo>
                    <a:pt x="45442" y="28673"/>
                    <a:pt x="53803" y="25732"/>
                    <a:pt x="58836" y="25999"/>
                  </a:cubicBezTo>
                  <a:cubicBezTo>
                    <a:pt x="67401" y="26434"/>
                    <a:pt x="67482" y="29542"/>
                    <a:pt x="71500" y="33218"/>
                  </a:cubicBezTo>
                  <a:cubicBezTo>
                    <a:pt x="79212" y="40238"/>
                    <a:pt x="105514" y="29475"/>
                    <a:pt x="95042" y="2088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7981102F-F272-4219-8BAF-450F4EBA064D}"/>
                </a:ext>
              </a:extLst>
            </p:cNvPr>
            <p:cNvSpPr/>
            <p:nvPr/>
          </p:nvSpPr>
          <p:spPr>
            <a:xfrm>
              <a:off x="3514781" y="5322916"/>
              <a:ext cx="157591" cy="43158"/>
            </a:xfrm>
            <a:custGeom>
              <a:avLst/>
              <a:gdLst>
                <a:gd name="connsiteX0" fmla="*/ 139658 w 161743"/>
                <a:gd name="connsiteY0" fmla="*/ 1801 h 59093"/>
                <a:gd name="connsiteX1" fmla="*/ 72928 w 161743"/>
                <a:gd name="connsiteY1" fmla="*/ 14736 h 59093"/>
                <a:gd name="connsiteX2" fmla="*/ 38589 w 161743"/>
                <a:gd name="connsiteY2" fmla="*/ 37799 h 59093"/>
                <a:gd name="connsiteX3" fmla="*/ 1166 w 161743"/>
                <a:gd name="connsiteY3" fmla="*/ 37431 h 59093"/>
                <a:gd name="connsiteX4" fmla="*/ 3114 w 161743"/>
                <a:gd name="connsiteY4" fmla="*/ 58755 h 59093"/>
                <a:gd name="connsiteX5" fmla="*/ 42527 w 161743"/>
                <a:gd name="connsiteY5" fmla="*/ 55714 h 59093"/>
                <a:gd name="connsiteX6" fmla="*/ 76095 w 161743"/>
                <a:gd name="connsiteY6" fmla="*/ 55714 h 59093"/>
                <a:gd name="connsiteX7" fmla="*/ 76622 w 161743"/>
                <a:gd name="connsiteY7" fmla="*/ 41809 h 59093"/>
                <a:gd name="connsiteX8" fmla="*/ 84740 w 161743"/>
                <a:gd name="connsiteY8" fmla="*/ 24697 h 59093"/>
                <a:gd name="connsiteX9" fmla="*/ 111042 w 161743"/>
                <a:gd name="connsiteY9" fmla="*/ 11661 h 59093"/>
                <a:gd name="connsiteX10" fmla="*/ 130079 w 161743"/>
                <a:gd name="connsiteY10" fmla="*/ 26836 h 59093"/>
                <a:gd name="connsiteX11" fmla="*/ 148263 w 161743"/>
                <a:gd name="connsiteY11" fmla="*/ 31047 h 59093"/>
                <a:gd name="connsiteX12" fmla="*/ 158938 w 161743"/>
                <a:gd name="connsiteY12" fmla="*/ 17377 h 59093"/>
                <a:gd name="connsiteX13" fmla="*/ 139739 w 161743"/>
                <a:gd name="connsiteY13" fmla="*/ 1668 h 59093"/>
                <a:gd name="connsiteX14" fmla="*/ 139658 w 161743"/>
                <a:gd name="connsiteY14" fmla="*/ 1801 h 59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743" h="59093">
                  <a:moveTo>
                    <a:pt x="139658" y="1801"/>
                  </a:moveTo>
                  <a:cubicBezTo>
                    <a:pt x="123787" y="-4248"/>
                    <a:pt x="86648" y="3305"/>
                    <a:pt x="72928" y="14736"/>
                  </a:cubicBezTo>
                  <a:cubicBezTo>
                    <a:pt x="61645" y="24128"/>
                    <a:pt x="57342" y="33988"/>
                    <a:pt x="38589" y="37799"/>
                  </a:cubicBezTo>
                  <a:cubicBezTo>
                    <a:pt x="26279" y="40299"/>
                    <a:pt x="13399" y="40172"/>
                    <a:pt x="1166" y="37431"/>
                  </a:cubicBezTo>
                  <a:cubicBezTo>
                    <a:pt x="-2406" y="44116"/>
                    <a:pt x="2952" y="52137"/>
                    <a:pt x="3114" y="58755"/>
                  </a:cubicBezTo>
                  <a:cubicBezTo>
                    <a:pt x="15697" y="55413"/>
                    <a:pt x="31527" y="52839"/>
                    <a:pt x="42527" y="55714"/>
                  </a:cubicBezTo>
                  <a:cubicBezTo>
                    <a:pt x="46910" y="56850"/>
                    <a:pt x="72360" y="57719"/>
                    <a:pt x="76095" y="55714"/>
                  </a:cubicBezTo>
                  <a:cubicBezTo>
                    <a:pt x="88799" y="49330"/>
                    <a:pt x="85958" y="44316"/>
                    <a:pt x="76622" y="41809"/>
                  </a:cubicBezTo>
                  <a:cubicBezTo>
                    <a:pt x="69235" y="39771"/>
                    <a:pt x="81615" y="29242"/>
                    <a:pt x="84740" y="24697"/>
                  </a:cubicBezTo>
                  <a:cubicBezTo>
                    <a:pt x="88799" y="18747"/>
                    <a:pt x="101828" y="12397"/>
                    <a:pt x="111042" y="11661"/>
                  </a:cubicBezTo>
                  <a:cubicBezTo>
                    <a:pt x="133204" y="9957"/>
                    <a:pt x="117212" y="22223"/>
                    <a:pt x="130079" y="26836"/>
                  </a:cubicBezTo>
                  <a:cubicBezTo>
                    <a:pt x="135952" y="28737"/>
                    <a:pt x="142045" y="30148"/>
                    <a:pt x="148263" y="31047"/>
                  </a:cubicBezTo>
                  <a:cubicBezTo>
                    <a:pt x="151713" y="26468"/>
                    <a:pt x="155123" y="21855"/>
                    <a:pt x="158938" y="17377"/>
                  </a:cubicBezTo>
                  <a:cubicBezTo>
                    <a:pt x="168436" y="6247"/>
                    <a:pt x="151145" y="6013"/>
                    <a:pt x="139739" y="1668"/>
                  </a:cubicBezTo>
                  <a:cubicBezTo>
                    <a:pt x="125776" y="-3413"/>
                    <a:pt x="149075" y="5445"/>
                    <a:pt x="139658" y="1801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8331112F-86EC-4514-9C4C-A4FCD40D735F}"/>
                </a:ext>
              </a:extLst>
            </p:cNvPr>
            <p:cNvSpPr/>
            <p:nvPr/>
          </p:nvSpPr>
          <p:spPr>
            <a:xfrm>
              <a:off x="3658941" y="5242233"/>
              <a:ext cx="322259" cy="188159"/>
            </a:xfrm>
            <a:custGeom>
              <a:avLst/>
              <a:gdLst>
                <a:gd name="connsiteX0" fmla="*/ 75275 w 330749"/>
                <a:gd name="connsiteY0" fmla="*/ 244366 h 257633"/>
                <a:gd name="connsiteX1" fmla="*/ 100562 w 330749"/>
                <a:gd name="connsiteY1" fmla="*/ 236544 h 257633"/>
                <a:gd name="connsiteX2" fmla="*/ 118665 w 330749"/>
                <a:gd name="connsiteY2" fmla="*/ 240388 h 257633"/>
                <a:gd name="connsiteX3" fmla="*/ 132588 w 330749"/>
                <a:gd name="connsiteY3" fmla="*/ 235442 h 257633"/>
                <a:gd name="connsiteX4" fmla="*/ 154465 w 330749"/>
                <a:gd name="connsiteY4" fmla="*/ 239352 h 257633"/>
                <a:gd name="connsiteX5" fmla="*/ 184461 w 330749"/>
                <a:gd name="connsiteY5" fmla="*/ 243998 h 257633"/>
                <a:gd name="connsiteX6" fmla="*/ 222859 w 330749"/>
                <a:gd name="connsiteY6" fmla="*/ 250014 h 257633"/>
                <a:gd name="connsiteX7" fmla="*/ 276357 w 330749"/>
                <a:gd name="connsiteY7" fmla="*/ 233703 h 257633"/>
                <a:gd name="connsiteX8" fmla="*/ 288818 w 330749"/>
                <a:gd name="connsiteY8" fmla="*/ 256532 h 257633"/>
                <a:gd name="connsiteX9" fmla="*/ 303876 w 330749"/>
                <a:gd name="connsiteY9" fmla="*/ 250850 h 257633"/>
                <a:gd name="connsiteX10" fmla="*/ 299817 w 330749"/>
                <a:gd name="connsiteY10" fmla="*/ 230261 h 257633"/>
                <a:gd name="connsiteX11" fmla="*/ 296530 w 330749"/>
                <a:gd name="connsiteY11" fmla="*/ 209271 h 257633"/>
                <a:gd name="connsiteX12" fmla="*/ 277493 w 330749"/>
                <a:gd name="connsiteY12" fmla="*/ 195901 h 257633"/>
                <a:gd name="connsiteX13" fmla="*/ 270593 w 330749"/>
                <a:gd name="connsiteY13" fmla="*/ 180192 h 257633"/>
                <a:gd name="connsiteX14" fmla="*/ 274124 w 330749"/>
                <a:gd name="connsiteY14" fmla="*/ 169330 h 257633"/>
                <a:gd name="connsiteX15" fmla="*/ 266615 w 330749"/>
                <a:gd name="connsiteY15" fmla="*/ 160038 h 257633"/>
                <a:gd name="connsiteX16" fmla="*/ 295312 w 330749"/>
                <a:gd name="connsiteY16" fmla="*/ 150947 h 257633"/>
                <a:gd name="connsiteX17" fmla="*/ 322264 w 330749"/>
                <a:gd name="connsiteY17" fmla="*/ 127316 h 257633"/>
                <a:gd name="connsiteX18" fmla="*/ 315201 w 330749"/>
                <a:gd name="connsiteY18" fmla="*/ 109167 h 257633"/>
                <a:gd name="connsiteX19" fmla="*/ 294906 w 330749"/>
                <a:gd name="connsiteY19" fmla="*/ 96399 h 257633"/>
                <a:gd name="connsiteX20" fmla="*/ 296246 w 330749"/>
                <a:gd name="connsiteY20" fmla="*/ 74273 h 257633"/>
                <a:gd name="connsiteX21" fmla="*/ 273028 w 330749"/>
                <a:gd name="connsiteY21" fmla="*/ 74607 h 257633"/>
                <a:gd name="connsiteX22" fmla="*/ 233332 w 330749"/>
                <a:gd name="connsiteY22" fmla="*/ 82930 h 257633"/>
                <a:gd name="connsiteX23" fmla="*/ 202199 w 330749"/>
                <a:gd name="connsiteY23" fmla="*/ 80724 h 257633"/>
                <a:gd name="connsiteX24" fmla="*/ 146754 w 330749"/>
                <a:gd name="connsiteY24" fmla="*/ 82997 h 257633"/>
                <a:gd name="connsiteX25" fmla="*/ 134211 w 330749"/>
                <a:gd name="connsiteY25" fmla="*/ 71666 h 257633"/>
                <a:gd name="connsiteX26" fmla="*/ 124754 w 330749"/>
                <a:gd name="connsiteY26" fmla="*/ 67354 h 257633"/>
                <a:gd name="connsiteX27" fmla="*/ 110507 w 330749"/>
                <a:gd name="connsiteY27" fmla="*/ 69627 h 257633"/>
                <a:gd name="connsiteX28" fmla="*/ 115540 w 330749"/>
                <a:gd name="connsiteY28" fmla="*/ 58330 h 257633"/>
                <a:gd name="connsiteX29" fmla="*/ 112902 w 330749"/>
                <a:gd name="connsiteY29" fmla="*/ 48303 h 257633"/>
                <a:gd name="connsiteX30" fmla="*/ 131613 w 330749"/>
                <a:gd name="connsiteY30" fmla="*/ 19726 h 257633"/>
                <a:gd name="connsiteX31" fmla="*/ 149392 w 330749"/>
                <a:gd name="connsiteY31" fmla="*/ 774 h 257633"/>
                <a:gd name="connsiteX32" fmla="*/ 123577 w 330749"/>
                <a:gd name="connsiteY32" fmla="*/ 13008 h 257633"/>
                <a:gd name="connsiteX33" fmla="*/ 109857 w 330749"/>
                <a:gd name="connsiteY33" fmla="*/ 21096 h 257633"/>
                <a:gd name="connsiteX34" fmla="*/ 95894 w 330749"/>
                <a:gd name="connsiteY34" fmla="*/ 33563 h 257633"/>
                <a:gd name="connsiteX35" fmla="*/ 69876 w 330749"/>
                <a:gd name="connsiteY35" fmla="*/ 48871 h 257633"/>
                <a:gd name="connsiteX36" fmla="*/ 43290 w 330749"/>
                <a:gd name="connsiteY36" fmla="*/ 62241 h 257633"/>
                <a:gd name="connsiteX37" fmla="*/ 38257 w 330749"/>
                <a:gd name="connsiteY37" fmla="*/ 89347 h 257633"/>
                <a:gd name="connsiteX38" fmla="*/ 19951 w 330749"/>
                <a:gd name="connsiteY38" fmla="*/ 116487 h 257633"/>
                <a:gd name="connsiteX39" fmla="*/ 14431 w 330749"/>
                <a:gd name="connsiteY39" fmla="*/ 119228 h 257633"/>
                <a:gd name="connsiteX40" fmla="*/ 13091 w 330749"/>
                <a:gd name="connsiteY40" fmla="*/ 125444 h 257633"/>
                <a:gd name="connsiteX41" fmla="*/ -60 w 330749"/>
                <a:gd name="connsiteY41" fmla="*/ 141822 h 257633"/>
                <a:gd name="connsiteX42" fmla="*/ 16866 w 330749"/>
                <a:gd name="connsiteY42" fmla="*/ 146301 h 257633"/>
                <a:gd name="connsiteX43" fmla="*/ 22386 w 330749"/>
                <a:gd name="connsiteY43" fmla="*/ 154389 h 257633"/>
                <a:gd name="connsiteX44" fmla="*/ 26892 w 330749"/>
                <a:gd name="connsiteY44" fmla="*/ 168527 h 257633"/>
                <a:gd name="connsiteX45" fmla="*/ 39069 w 330749"/>
                <a:gd name="connsiteY45" fmla="*/ 183802 h 257633"/>
                <a:gd name="connsiteX46" fmla="*/ 44142 w 330749"/>
                <a:gd name="connsiteY46" fmla="*/ 201817 h 257633"/>
                <a:gd name="connsiteX47" fmla="*/ 23848 w 330749"/>
                <a:gd name="connsiteY47" fmla="*/ 221571 h 257633"/>
                <a:gd name="connsiteX48" fmla="*/ 16866 w 330749"/>
                <a:gd name="connsiteY48" fmla="*/ 236177 h 257633"/>
                <a:gd name="connsiteX49" fmla="*/ 41707 w 330749"/>
                <a:gd name="connsiteY49" fmla="*/ 243898 h 257633"/>
                <a:gd name="connsiteX50" fmla="*/ 75072 w 330749"/>
                <a:gd name="connsiteY50" fmla="*/ 244533 h 257633"/>
                <a:gd name="connsiteX51" fmla="*/ 75275 w 330749"/>
                <a:gd name="connsiteY51" fmla="*/ 244366 h 257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0749" h="257633">
                  <a:moveTo>
                    <a:pt x="75275" y="244366"/>
                  </a:moveTo>
                  <a:cubicBezTo>
                    <a:pt x="85747" y="244566"/>
                    <a:pt x="93337" y="236043"/>
                    <a:pt x="100562" y="236544"/>
                  </a:cubicBezTo>
                  <a:cubicBezTo>
                    <a:pt x="106756" y="237246"/>
                    <a:pt x="112828" y="238550"/>
                    <a:pt x="118665" y="240388"/>
                  </a:cubicBezTo>
                  <a:cubicBezTo>
                    <a:pt x="121953" y="241291"/>
                    <a:pt x="129016" y="236745"/>
                    <a:pt x="132588" y="235442"/>
                  </a:cubicBezTo>
                  <a:cubicBezTo>
                    <a:pt x="144562" y="231030"/>
                    <a:pt x="147849" y="234807"/>
                    <a:pt x="154465" y="239352"/>
                  </a:cubicBezTo>
                  <a:cubicBezTo>
                    <a:pt x="162299" y="244733"/>
                    <a:pt x="176628" y="237413"/>
                    <a:pt x="184461" y="243998"/>
                  </a:cubicBezTo>
                  <a:cubicBezTo>
                    <a:pt x="194203" y="252153"/>
                    <a:pt x="204513" y="256766"/>
                    <a:pt x="222859" y="250014"/>
                  </a:cubicBezTo>
                  <a:cubicBezTo>
                    <a:pt x="241206" y="243263"/>
                    <a:pt x="255737" y="233302"/>
                    <a:pt x="276357" y="233703"/>
                  </a:cubicBezTo>
                  <a:cubicBezTo>
                    <a:pt x="304445" y="234472"/>
                    <a:pt x="262921" y="255095"/>
                    <a:pt x="288818" y="256532"/>
                  </a:cubicBezTo>
                  <a:cubicBezTo>
                    <a:pt x="298275" y="257067"/>
                    <a:pt x="303065" y="259640"/>
                    <a:pt x="303876" y="250850"/>
                  </a:cubicBezTo>
                  <a:cubicBezTo>
                    <a:pt x="303949" y="243831"/>
                    <a:pt x="302578" y="236879"/>
                    <a:pt x="299817" y="230261"/>
                  </a:cubicBezTo>
                  <a:cubicBezTo>
                    <a:pt x="297577" y="223409"/>
                    <a:pt x="296469" y="216357"/>
                    <a:pt x="296530" y="209271"/>
                  </a:cubicBezTo>
                  <a:cubicBezTo>
                    <a:pt x="296773" y="201918"/>
                    <a:pt x="284921" y="199244"/>
                    <a:pt x="277493" y="195901"/>
                  </a:cubicBezTo>
                  <a:cubicBezTo>
                    <a:pt x="272582" y="193696"/>
                    <a:pt x="259999" y="184805"/>
                    <a:pt x="270593" y="180192"/>
                  </a:cubicBezTo>
                  <a:cubicBezTo>
                    <a:pt x="279726" y="176215"/>
                    <a:pt x="293607" y="166322"/>
                    <a:pt x="274124" y="169330"/>
                  </a:cubicBezTo>
                  <a:cubicBezTo>
                    <a:pt x="267265" y="170399"/>
                    <a:pt x="258903" y="163681"/>
                    <a:pt x="266615" y="160038"/>
                  </a:cubicBezTo>
                  <a:cubicBezTo>
                    <a:pt x="275817" y="156278"/>
                    <a:pt x="285424" y="153233"/>
                    <a:pt x="295312" y="150947"/>
                  </a:cubicBezTo>
                  <a:cubicBezTo>
                    <a:pt x="305297" y="148173"/>
                    <a:pt x="348728" y="131160"/>
                    <a:pt x="322264" y="127316"/>
                  </a:cubicBezTo>
                  <a:cubicBezTo>
                    <a:pt x="306515" y="125010"/>
                    <a:pt x="325429" y="113245"/>
                    <a:pt x="315201" y="109167"/>
                  </a:cubicBezTo>
                  <a:cubicBezTo>
                    <a:pt x="304972" y="105090"/>
                    <a:pt x="297504" y="105190"/>
                    <a:pt x="294906" y="96399"/>
                  </a:cubicBezTo>
                  <a:cubicBezTo>
                    <a:pt x="292645" y="89080"/>
                    <a:pt x="293112" y="81369"/>
                    <a:pt x="296246" y="74273"/>
                  </a:cubicBezTo>
                  <a:cubicBezTo>
                    <a:pt x="300670" y="64847"/>
                    <a:pt x="278751" y="72568"/>
                    <a:pt x="273028" y="74607"/>
                  </a:cubicBezTo>
                  <a:cubicBezTo>
                    <a:pt x="259593" y="79320"/>
                    <a:pt x="247619" y="84166"/>
                    <a:pt x="233332" y="82930"/>
                  </a:cubicBezTo>
                  <a:cubicBezTo>
                    <a:pt x="221926" y="81994"/>
                    <a:pt x="215188" y="76713"/>
                    <a:pt x="202199" y="80724"/>
                  </a:cubicBezTo>
                  <a:cubicBezTo>
                    <a:pt x="179875" y="87609"/>
                    <a:pt x="154222" y="102817"/>
                    <a:pt x="146754" y="82997"/>
                  </a:cubicBezTo>
                  <a:cubicBezTo>
                    <a:pt x="144480" y="77047"/>
                    <a:pt x="145049" y="72970"/>
                    <a:pt x="134211" y="71666"/>
                  </a:cubicBezTo>
                  <a:cubicBezTo>
                    <a:pt x="129503" y="71165"/>
                    <a:pt x="128732" y="67822"/>
                    <a:pt x="124754" y="67354"/>
                  </a:cubicBezTo>
                  <a:cubicBezTo>
                    <a:pt x="122318" y="67087"/>
                    <a:pt x="110913" y="71365"/>
                    <a:pt x="110507" y="69627"/>
                  </a:cubicBezTo>
                  <a:cubicBezTo>
                    <a:pt x="109654" y="66285"/>
                    <a:pt x="114566" y="61940"/>
                    <a:pt x="115540" y="58330"/>
                  </a:cubicBezTo>
                  <a:cubicBezTo>
                    <a:pt x="115710" y="54857"/>
                    <a:pt x="114801" y="51408"/>
                    <a:pt x="112902" y="48303"/>
                  </a:cubicBezTo>
                  <a:cubicBezTo>
                    <a:pt x="110304" y="41986"/>
                    <a:pt x="124429" y="25408"/>
                    <a:pt x="131613" y="19726"/>
                  </a:cubicBezTo>
                  <a:cubicBezTo>
                    <a:pt x="136119" y="16149"/>
                    <a:pt x="157916" y="3916"/>
                    <a:pt x="149392" y="774"/>
                  </a:cubicBezTo>
                  <a:cubicBezTo>
                    <a:pt x="136647" y="-3871"/>
                    <a:pt x="129868" y="7159"/>
                    <a:pt x="123577" y="13008"/>
                  </a:cubicBezTo>
                  <a:cubicBezTo>
                    <a:pt x="119518" y="16684"/>
                    <a:pt x="114728" y="18054"/>
                    <a:pt x="109857" y="21096"/>
                  </a:cubicBezTo>
                  <a:cubicBezTo>
                    <a:pt x="103850" y="24806"/>
                    <a:pt x="101455" y="29686"/>
                    <a:pt x="95894" y="33563"/>
                  </a:cubicBezTo>
                  <a:cubicBezTo>
                    <a:pt x="94108" y="34766"/>
                    <a:pt x="66183" y="48871"/>
                    <a:pt x="69876" y="48871"/>
                  </a:cubicBezTo>
                  <a:cubicBezTo>
                    <a:pt x="55995" y="48871"/>
                    <a:pt x="49582" y="53116"/>
                    <a:pt x="43290" y="62241"/>
                  </a:cubicBezTo>
                  <a:cubicBezTo>
                    <a:pt x="35822" y="73003"/>
                    <a:pt x="51408" y="78317"/>
                    <a:pt x="38257" y="89347"/>
                  </a:cubicBezTo>
                  <a:cubicBezTo>
                    <a:pt x="28191" y="97870"/>
                    <a:pt x="25836" y="107295"/>
                    <a:pt x="19951" y="116487"/>
                  </a:cubicBezTo>
                  <a:cubicBezTo>
                    <a:pt x="18904" y="118198"/>
                    <a:pt x="16757" y="119264"/>
                    <a:pt x="14431" y="119228"/>
                  </a:cubicBezTo>
                  <a:cubicBezTo>
                    <a:pt x="15015" y="121363"/>
                    <a:pt x="14532" y="123603"/>
                    <a:pt x="13091" y="125444"/>
                  </a:cubicBezTo>
                  <a:cubicBezTo>
                    <a:pt x="8184" y="130605"/>
                    <a:pt x="3784" y="136083"/>
                    <a:pt x="-60" y="141822"/>
                  </a:cubicBezTo>
                  <a:cubicBezTo>
                    <a:pt x="5582" y="142825"/>
                    <a:pt x="13010" y="143460"/>
                    <a:pt x="16866" y="146301"/>
                  </a:cubicBezTo>
                  <a:cubicBezTo>
                    <a:pt x="19870" y="148473"/>
                    <a:pt x="18977" y="152584"/>
                    <a:pt x="22386" y="154389"/>
                  </a:cubicBezTo>
                  <a:cubicBezTo>
                    <a:pt x="30504" y="158701"/>
                    <a:pt x="24457" y="162845"/>
                    <a:pt x="26892" y="168527"/>
                  </a:cubicBezTo>
                  <a:cubicBezTo>
                    <a:pt x="29429" y="174340"/>
                    <a:pt x="33601" y="179574"/>
                    <a:pt x="39069" y="183802"/>
                  </a:cubicBezTo>
                  <a:cubicBezTo>
                    <a:pt x="47512" y="190286"/>
                    <a:pt x="47187" y="191322"/>
                    <a:pt x="44142" y="201817"/>
                  </a:cubicBezTo>
                  <a:cubicBezTo>
                    <a:pt x="41058" y="212981"/>
                    <a:pt x="33792" y="213449"/>
                    <a:pt x="23848" y="221571"/>
                  </a:cubicBezTo>
                  <a:cubicBezTo>
                    <a:pt x="19789" y="224746"/>
                    <a:pt x="18571" y="232567"/>
                    <a:pt x="16866" y="236177"/>
                  </a:cubicBezTo>
                  <a:cubicBezTo>
                    <a:pt x="12239" y="246204"/>
                    <a:pt x="31560" y="244031"/>
                    <a:pt x="41707" y="243898"/>
                  </a:cubicBezTo>
                  <a:cubicBezTo>
                    <a:pt x="53641" y="243697"/>
                    <a:pt x="63382" y="244332"/>
                    <a:pt x="75072" y="244533"/>
                  </a:cubicBezTo>
                  <a:cubicBezTo>
                    <a:pt x="83839" y="244533"/>
                    <a:pt x="66710" y="244232"/>
                    <a:pt x="75275" y="24436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2A0D28FC-A97B-41D0-B559-2E3668FB42D2}"/>
                </a:ext>
              </a:extLst>
            </p:cNvPr>
            <p:cNvSpPr/>
            <p:nvPr/>
          </p:nvSpPr>
          <p:spPr>
            <a:xfrm>
              <a:off x="4013290" y="5472066"/>
              <a:ext cx="347186" cy="173078"/>
            </a:xfrm>
            <a:custGeom>
              <a:avLst/>
              <a:gdLst>
                <a:gd name="connsiteX0" fmla="*/ 350717 w 356333"/>
                <a:gd name="connsiteY0" fmla="*/ 79042 h 236983"/>
                <a:gd name="connsiteX1" fmla="*/ 329692 w 356333"/>
                <a:gd name="connsiteY1" fmla="*/ 66943 h 236983"/>
                <a:gd name="connsiteX2" fmla="*/ 311791 w 356333"/>
                <a:gd name="connsiteY2" fmla="*/ 62397 h 236983"/>
                <a:gd name="connsiteX3" fmla="*/ 278954 w 356333"/>
                <a:gd name="connsiteY3" fmla="*/ 66842 h 236983"/>
                <a:gd name="connsiteX4" fmla="*/ 264058 w 356333"/>
                <a:gd name="connsiteY4" fmla="*/ 52938 h 236983"/>
                <a:gd name="connsiteX5" fmla="*/ 266940 w 356333"/>
                <a:gd name="connsiteY5" fmla="*/ 46955 h 236983"/>
                <a:gd name="connsiteX6" fmla="*/ 258822 w 356333"/>
                <a:gd name="connsiteY6" fmla="*/ 41674 h 236983"/>
                <a:gd name="connsiteX7" fmla="*/ 240272 w 356333"/>
                <a:gd name="connsiteY7" fmla="*/ 30477 h 236983"/>
                <a:gd name="connsiteX8" fmla="*/ 215188 w 356333"/>
                <a:gd name="connsiteY8" fmla="*/ 35457 h 236983"/>
                <a:gd name="connsiteX9" fmla="*/ 194041 w 356333"/>
                <a:gd name="connsiteY9" fmla="*/ 32617 h 236983"/>
                <a:gd name="connsiteX10" fmla="*/ 176790 w 356333"/>
                <a:gd name="connsiteY10" fmla="*/ 30812 h 236983"/>
                <a:gd name="connsiteX11" fmla="*/ 152923 w 356333"/>
                <a:gd name="connsiteY11" fmla="*/ 34856 h 236983"/>
                <a:gd name="connsiteX12" fmla="*/ 103607 w 356333"/>
                <a:gd name="connsiteY12" fmla="*/ 12228 h 236983"/>
                <a:gd name="connsiteX13" fmla="*/ 96706 w 356333"/>
                <a:gd name="connsiteY13" fmla="*/ -239 h 236983"/>
                <a:gd name="connsiteX14" fmla="*/ 64641 w 356333"/>
                <a:gd name="connsiteY14" fmla="*/ 12596 h 236983"/>
                <a:gd name="connsiteX15" fmla="*/ 33102 w 356333"/>
                <a:gd name="connsiteY15" fmla="*/ 34956 h 236983"/>
                <a:gd name="connsiteX16" fmla="*/ -60 w 356333"/>
                <a:gd name="connsiteY16" fmla="*/ 49362 h 236983"/>
                <a:gd name="connsiteX17" fmla="*/ 28800 w 356333"/>
                <a:gd name="connsiteY17" fmla="*/ 72525 h 236983"/>
                <a:gd name="connsiteX18" fmla="*/ 35497 w 356333"/>
                <a:gd name="connsiteY18" fmla="*/ 97726 h 236983"/>
                <a:gd name="connsiteX19" fmla="*/ 35497 w 356333"/>
                <a:gd name="connsiteY19" fmla="*/ 107753 h 236983"/>
                <a:gd name="connsiteX20" fmla="*/ 38622 w 356333"/>
                <a:gd name="connsiteY20" fmla="*/ 117780 h 236983"/>
                <a:gd name="connsiteX21" fmla="*/ 39231 w 356333"/>
                <a:gd name="connsiteY21" fmla="*/ 131851 h 236983"/>
                <a:gd name="connsiteX22" fmla="*/ 48810 w 356333"/>
                <a:gd name="connsiteY22" fmla="*/ 140842 h 236983"/>
                <a:gd name="connsiteX23" fmla="*/ 56279 w 356333"/>
                <a:gd name="connsiteY23" fmla="*/ 163069 h 236983"/>
                <a:gd name="connsiteX24" fmla="*/ 69674 w 356333"/>
                <a:gd name="connsiteY24" fmla="*/ 178410 h 236983"/>
                <a:gd name="connsiteX25" fmla="*/ 81851 w 356333"/>
                <a:gd name="connsiteY25" fmla="*/ 181051 h 236983"/>
                <a:gd name="connsiteX26" fmla="*/ 82744 w 356333"/>
                <a:gd name="connsiteY26" fmla="*/ 187736 h 236983"/>
                <a:gd name="connsiteX27" fmla="*/ 83636 w 356333"/>
                <a:gd name="connsiteY27" fmla="*/ 202241 h 236983"/>
                <a:gd name="connsiteX28" fmla="*/ 101821 w 356333"/>
                <a:gd name="connsiteY28" fmla="*/ 209127 h 236983"/>
                <a:gd name="connsiteX29" fmla="*/ 117082 w 356333"/>
                <a:gd name="connsiteY29" fmla="*/ 222062 h 236983"/>
                <a:gd name="connsiteX30" fmla="*/ 126824 w 356333"/>
                <a:gd name="connsiteY30" fmla="*/ 236133 h 236983"/>
                <a:gd name="connsiteX31" fmla="*/ 158849 w 356333"/>
                <a:gd name="connsiteY31" fmla="*/ 209394 h 236983"/>
                <a:gd name="connsiteX32" fmla="*/ 204553 w 356333"/>
                <a:gd name="connsiteY32" fmla="*/ 204648 h 236983"/>
                <a:gd name="connsiteX33" fmla="*/ 221398 w 356333"/>
                <a:gd name="connsiteY33" fmla="*/ 191713 h 236983"/>
                <a:gd name="connsiteX34" fmla="*/ 254397 w 356333"/>
                <a:gd name="connsiteY34" fmla="*/ 181051 h 236983"/>
                <a:gd name="connsiteX35" fmla="*/ 250338 w 356333"/>
                <a:gd name="connsiteY35" fmla="*/ 156986 h 236983"/>
                <a:gd name="connsiteX36" fmla="*/ 284109 w 356333"/>
                <a:gd name="connsiteY36" fmla="*/ 128576 h 236983"/>
                <a:gd name="connsiteX37" fmla="*/ 313496 w 356333"/>
                <a:gd name="connsiteY37" fmla="*/ 117579 h 236983"/>
                <a:gd name="connsiteX38" fmla="*/ 343898 w 356333"/>
                <a:gd name="connsiteY38" fmla="*/ 116476 h 236983"/>
                <a:gd name="connsiteX39" fmla="*/ 350595 w 356333"/>
                <a:gd name="connsiteY39" fmla="*/ 79176 h 23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56333" h="236983">
                  <a:moveTo>
                    <a:pt x="350717" y="79042"/>
                  </a:moveTo>
                  <a:cubicBezTo>
                    <a:pt x="345197" y="73661"/>
                    <a:pt x="332330" y="73995"/>
                    <a:pt x="329692" y="66943"/>
                  </a:cubicBezTo>
                  <a:cubicBezTo>
                    <a:pt x="327297" y="60492"/>
                    <a:pt x="321574" y="59991"/>
                    <a:pt x="311791" y="62397"/>
                  </a:cubicBezTo>
                  <a:cubicBezTo>
                    <a:pt x="302010" y="64803"/>
                    <a:pt x="288493" y="70018"/>
                    <a:pt x="278954" y="66842"/>
                  </a:cubicBezTo>
                  <a:cubicBezTo>
                    <a:pt x="275139" y="65572"/>
                    <a:pt x="263733" y="55913"/>
                    <a:pt x="264058" y="52938"/>
                  </a:cubicBezTo>
                  <a:cubicBezTo>
                    <a:pt x="264302" y="50498"/>
                    <a:pt x="269740" y="49328"/>
                    <a:pt x="266940" y="46955"/>
                  </a:cubicBezTo>
                  <a:cubicBezTo>
                    <a:pt x="264139" y="44582"/>
                    <a:pt x="260892" y="43914"/>
                    <a:pt x="258822" y="41674"/>
                  </a:cubicBezTo>
                  <a:cubicBezTo>
                    <a:pt x="254235" y="36761"/>
                    <a:pt x="253343" y="29074"/>
                    <a:pt x="240272" y="30477"/>
                  </a:cubicBezTo>
                  <a:cubicBezTo>
                    <a:pt x="233250" y="31246"/>
                    <a:pt x="221723" y="37162"/>
                    <a:pt x="215188" y="35457"/>
                  </a:cubicBezTo>
                  <a:cubicBezTo>
                    <a:pt x="206583" y="33051"/>
                    <a:pt x="207070" y="29809"/>
                    <a:pt x="194041" y="32617"/>
                  </a:cubicBezTo>
                  <a:cubicBezTo>
                    <a:pt x="185639" y="34455"/>
                    <a:pt x="182838" y="28773"/>
                    <a:pt x="176790" y="30812"/>
                  </a:cubicBezTo>
                  <a:cubicBezTo>
                    <a:pt x="170742" y="32851"/>
                    <a:pt x="160270" y="33051"/>
                    <a:pt x="152923" y="34856"/>
                  </a:cubicBezTo>
                  <a:cubicBezTo>
                    <a:pt x="129138" y="40638"/>
                    <a:pt x="109086" y="24261"/>
                    <a:pt x="103607" y="12228"/>
                  </a:cubicBezTo>
                  <a:cubicBezTo>
                    <a:pt x="102470" y="9688"/>
                    <a:pt x="102551" y="-1509"/>
                    <a:pt x="96706" y="-239"/>
                  </a:cubicBezTo>
                  <a:cubicBezTo>
                    <a:pt x="85220" y="2535"/>
                    <a:pt x="74382" y="6881"/>
                    <a:pt x="64641" y="12596"/>
                  </a:cubicBezTo>
                  <a:cubicBezTo>
                    <a:pt x="53965" y="19548"/>
                    <a:pt x="42884" y="27503"/>
                    <a:pt x="33102" y="34956"/>
                  </a:cubicBezTo>
                  <a:cubicBezTo>
                    <a:pt x="20641" y="44449"/>
                    <a:pt x="17313" y="45819"/>
                    <a:pt x="-60" y="49362"/>
                  </a:cubicBezTo>
                  <a:cubicBezTo>
                    <a:pt x="5907" y="53774"/>
                    <a:pt x="34117" y="64570"/>
                    <a:pt x="28800" y="72525"/>
                  </a:cubicBezTo>
                  <a:cubicBezTo>
                    <a:pt x="22021" y="82552"/>
                    <a:pt x="29165" y="88802"/>
                    <a:pt x="35497" y="97726"/>
                  </a:cubicBezTo>
                  <a:cubicBezTo>
                    <a:pt x="37851" y="101068"/>
                    <a:pt x="36593" y="104043"/>
                    <a:pt x="35497" y="107753"/>
                  </a:cubicBezTo>
                  <a:cubicBezTo>
                    <a:pt x="33752" y="113167"/>
                    <a:pt x="39110" y="113468"/>
                    <a:pt x="38622" y="117780"/>
                  </a:cubicBezTo>
                  <a:cubicBezTo>
                    <a:pt x="38217" y="121624"/>
                    <a:pt x="32777" y="129812"/>
                    <a:pt x="39231" y="131851"/>
                  </a:cubicBezTo>
                  <a:cubicBezTo>
                    <a:pt x="47106" y="134358"/>
                    <a:pt x="51936" y="132687"/>
                    <a:pt x="48810" y="140842"/>
                  </a:cubicBezTo>
                  <a:cubicBezTo>
                    <a:pt x="44427" y="152139"/>
                    <a:pt x="34848" y="159893"/>
                    <a:pt x="56279" y="163069"/>
                  </a:cubicBezTo>
                  <a:cubicBezTo>
                    <a:pt x="66832" y="164673"/>
                    <a:pt x="60825" y="175269"/>
                    <a:pt x="69674" y="178410"/>
                  </a:cubicBezTo>
                  <a:cubicBezTo>
                    <a:pt x="73607" y="179647"/>
                    <a:pt x="77686" y="180549"/>
                    <a:pt x="81851" y="181051"/>
                  </a:cubicBezTo>
                  <a:cubicBezTo>
                    <a:pt x="87493" y="182087"/>
                    <a:pt x="82338" y="184694"/>
                    <a:pt x="82744" y="187736"/>
                  </a:cubicBezTo>
                  <a:cubicBezTo>
                    <a:pt x="83312" y="191446"/>
                    <a:pt x="81323" y="199501"/>
                    <a:pt x="83636" y="202241"/>
                  </a:cubicBezTo>
                  <a:cubicBezTo>
                    <a:pt x="87980" y="207389"/>
                    <a:pt x="96666" y="205751"/>
                    <a:pt x="101821" y="209127"/>
                  </a:cubicBezTo>
                  <a:cubicBezTo>
                    <a:pt x="106976" y="212503"/>
                    <a:pt x="111765" y="218117"/>
                    <a:pt x="117082" y="222062"/>
                  </a:cubicBezTo>
                  <a:cubicBezTo>
                    <a:pt x="122400" y="226005"/>
                    <a:pt x="121791" y="232389"/>
                    <a:pt x="126824" y="236133"/>
                  </a:cubicBezTo>
                  <a:cubicBezTo>
                    <a:pt x="133156" y="240846"/>
                    <a:pt x="156292" y="211533"/>
                    <a:pt x="158849" y="209394"/>
                  </a:cubicBezTo>
                  <a:cubicBezTo>
                    <a:pt x="163395" y="205283"/>
                    <a:pt x="198384" y="202709"/>
                    <a:pt x="204553" y="204648"/>
                  </a:cubicBezTo>
                  <a:cubicBezTo>
                    <a:pt x="224848" y="210363"/>
                    <a:pt x="208856" y="197963"/>
                    <a:pt x="221398" y="191713"/>
                  </a:cubicBezTo>
                  <a:cubicBezTo>
                    <a:pt x="228826" y="187936"/>
                    <a:pt x="253261" y="187936"/>
                    <a:pt x="254397" y="181051"/>
                  </a:cubicBezTo>
                  <a:cubicBezTo>
                    <a:pt x="255818" y="172862"/>
                    <a:pt x="254397" y="164539"/>
                    <a:pt x="250338" y="156986"/>
                  </a:cubicBezTo>
                  <a:cubicBezTo>
                    <a:pt x="242870" y="145688"/>
                    <a:pt x="271811" y="132052"/>
                    <a:pt x="284109" y="128576"/>
                  </a:cubicBezTo>
                  <a:cubicBezTo>
                    <a:pt x="294500" y="125634"/>
                    <a:pt x="302618" y="120353"/>
                    <a:pt x="313496" y="117579"/>
                  </a:cubicBezTo>
                  <a:cubicBezTo>
                    <a:pt x="326038" y="114237"/>
                    <a:pt x="332005" y="115741"/>
                    <a:pt x="343898" y="116476"/>
                  </a:cubicBezTo>
                  <a:cubicBezTo>
                    <a:pt x="362854" y="117713"/>
                    <a:pt x="355710" y="84156"/>
                    <a:pt x="350595" y="7917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1E205E26-CF1C-427D-9482-AD3425440A2A}"/>
                </a:ext>
              </a:extLst>
            </p:cNvPr>
            <p:cNvSpPr/>
            <p:nvPr/>
          </p:nvSpPr>
          <p:spPr>
            <a:xfrm>
              <a:off x="3662123" y="5412742"/>
              <a:ext cx="399907" cy="190701"/>
            </a:xfrm>
            <a:custGeom>
              <a:avLst/>
              <a:gdLst>
                <a:gd name="connsiteX0" fmla="*/ 402206 w 410442"/>
                <a:gd name="connsiteY0" fmla="*/ 240486 h 261113"/>
                <a:gd name="connsiteX1" fmla="*/ 402206 w 410442"/>
                <a:gd name="connsiteY1" fmla="*/ 232465 h 261113"/>
                <a:gd name="connsiteX2" fmla="*/ 410324 w 410442"/>
                <a:gd name="connsiteY2" fmla="*/ 218360 h 261113"/>
                <a:gd name="connsiteX3" fmla="*/ 397498 w 410442"/>
                <a:gd name="connsiteY3" fmla="*/ 205291 h 261113"/>
                <a:gd name="connsiteX4" fmla="*/ 395996 w 410442"/>
                <a:gd name="connsiteY4" fmla="*/ 188847 h 261113"/>
                <a:gd name="connsiteX5" fmla="*/ 390476 w 410442"/>
                <a:gd name="connsiteY5" fmla="*/ 170598 h 261113"/>
                <a:gd name="connsiteX6" fmla="*/ 389461 w 410442"/>
                <a:gd name="connsiteY6" fmla="*/ 153552 h 261113"/>
                <a:gd name="connsiteX7" fmla="*/ 368639 w 410442"/>
                <a:gd name="connsiteY7" fmla="*/ 135670 h 261113"/>
                <a:gd name="connsiteX8" fmla="*/ 353783 w 410442"/>
                <a:gd name="connsiteY8" fmla="*/ 131960 h 261113"/>
                <a:gd name="connsiteX9" fmla="*/ 333488 w 410442"/>
                <a:gd name="connsiteY9" fmla="*/ 139280 h 261113"/>
                <a:gd name="connsiteX10" fmla="*/ 321554 w 410442"/>
                <a:gd name="connsiteY10" fmla="*/ 122000 h 261113"/>
                <a:gd name="connsiteX11" fmla="*/ 307713 w 410442"/>
                <a:gd name="connsiteY11" fmla="*/ 127214 h 261113"/>
                <a:gd name="connsiteX12" fmla="*/ 273537 w 410442"/>
                <a:gd name="connsiteY12" fmla="*/ 133899 h 261113"/>
                <a:gd name="connsiteX13" fmla="*/ 251740 w 410442"/>
                <a:gd name="connsiteY13" fmla="*/ 131058 h 261113"/>
                <a:gd name="connsiteX14" fmla="*/ 243622 w 410442"/>
                <a:gd name="connsiteY14" fmla="*/ 122534 h 261113"/>
                <a:gd name="connsiteX15" fmla="*/ 222028 w 410442"/>
                <a:gd name="connsiteY15" fmla="*/ 112507 h 261113"/>
                <a:gd name="connsiteX16" fmla="*/ 222475 w 410442"/>
                <a:gd name="connsiteY16" fmla="*/ 90815 h 261113"/>
                <a:gd name="connsiteX17" fmla="*/ 227792 w 410442"/>
                <a:gd name="connsiteY17" fmla="*/ 68689 h 261113"/>
                <a:gd name="connsiteX18" fmla="*/ 252146 w 410442"/>
                <a:gd name="connsiteY18" fmla="*/ 43956 h 261113"/>
                <a:gd name="connsiteX19" fmla="*/ 275201 w 410442"/>
                <a:gd name="connsiteY19" fmla="*/ 31455 h 261113"/>
                <a:gd name="connsiteX20" fmla="*/ 296105 w 410442"/>
                <a:gd name="connsiteY20" fmla="*/ 24136 h 261113"/>
                <a:gd name="connsiteX21" fmla="*/ 276743 w 410442"/>
                <a:gd name="connsiteY21" fmla="*/ 16682 h 261113"/>
                <a:gd name="connsiteX22" fmla="*/ 278042 w 410442"/>
                <a:gd name="connsiteY22" fmla="*/ -30 h 261113"/>
                <a:gd name="connsiteX23" fmla="*/ 219837 w 410442"/>
                <a:gd name="connsiteY23" fmla="*/ 16014 h 261113"/>
                <a:gd name="connsiteX24" fmla="*/ 178151 w 410442"/>
                <a:gd name="connsiteY24" fmla="*/ 8126 h 261113"/>
                <a:gd name="connsiteX25" fmla="*/ 148804 w 410442"/>
                <a:gd name="connsiteY25" fmla="*/ 3346 h 261113"/>
                <a:gd name="connsiteX26" fmla="*/ 117226 w 410442"/>
                <a:gd name="connsiteY26" fmla="*/ 6688 h 261113"/>
                <a:gd name="connsiteX27" fmla="*/ 126399 w 410442"/>
                <a:gd name="connsiteY27" fmla="*/ 22598 h 261113"/>
                <a:gd name="connsiteX28" fmla="*/ 100909 w 410442"/>
                <a:gd name="connsiteY28" fmla="*/ 57593 h 261113"/>
                <a:gd name="connsiteX29" fmla="*/ 69939 w 410442"/>
                <a:gd name="connsiteY29" fmla="*/ 83128 h 261113"/>
                <a:gd name="connsiteX30" fmla="*/ 53703 w 410442"/>
                <a:gd name="connsiteY30" fmla="*/ 112140 h 261113"/>
                <a:gd name="connsiteX31" fmla="*/ 36980 w 410442"/>
                <a:gd name="connsiteY31" fmla="*/ 112775 h 261113"/>
                <a:gd name="connsiteX32" fmla="*/ 21961 w 410442"/>
                <a:gd name="connsiteY32" fmla="*/ 109433 h 261113"/>
                <a:gd name="connsiteX33" fmla="*/ 10150 w 410442"/>
                <a:gd name="connsiteY33" fmla="*/ 102982 h 261113"/>
                <a:gd name="connsiteX34" fmla="*/ 408 w 410442"/>
                <a:gd name="connsiteY34" fmla="*/ 123871 h 261113"/>
                <a:gd name="connsiteX35" fmla="*/ 19120 w 410442"/>
                <a:gd name="connsiteY35" fmla="*/ 142522 h 261113"/>
                <a:gd name="connsiteX36" fmla="*/ 49928 w 410442"/>
                <a:gd name="connsiteY36" fmla="*/ 150243 h 261113"/>
                <a:gd name="connsiteX37" fmla="*/ 93724 w 410442"/>
                <a:gd name="connsiteY37" fmla="*/ 165684 h 261113"/>
                <a:gd name="connsiteX38" fmla="*/ 128428 w 410442"/>
                <a:gd name="connsiteY38" fmla="*/ 188814 h 261113"/>
                <a:gd name="connsiteX39" fmla="*/ 171007 w 410442"/>
                <a:gd name="connsiteY39" fmla="*/ 211675 h 261113"/>
                <a:gd name="connsiteX40" fmla="*/ 204169 w 410442"/>
                <a:gd name="connsiteY40" fmla="*/ 232765 h 261113"/>
                <a:gd name="connsiteX41" fmla="*/ 240943 w 410442"/>
                <a:gd name="connsiteY41" fmla="*/ 244765 h 261113"/>
                <a:gd name="connsiteX42" fmla="*/ 305034 w 410442"/>
                <a:gd name="connsiteY42" fmla="*/ 246904 h 261113"/>
                <a:gd name="connsiteX43" fmla="*/ 351916 w 410442"/>
                <a:gd name="connsiteY43" fmla="*/ 251249 h 261113"/>
                <a:gd name="connsiteX44" fmla="*/ 374037 w 410442"/>
                <a:gd name="connsiteY44" fmla="*/ 257198 h 261113"/>
                <a:gd name="connsiteX45" fmla="*/ 393317 w 410442"/>
                <a:gd name="connsiteY45" fmla="*/ 260774 h 261113"/>
                <a:gd name="connsiteX46" fmla="*/ 402409 w 410442"/>
                <a:gd name="connsiteY46" fmla="*/ 240720 h 26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10442" h="261113">
                  <a:moveTo>
                    <a:pt x="402206" y="240486"/>
                  </a:moveTo>
                  <a:cubicBezTo>
                    <a:pt x="403302" y="237879"/>
                    <a:pt x="398147" y="235439"/>
                    <a:pt x="402206" y="232465"/>
                  </a:cubicBezTo>
                  <a:cubicBezTo>
                    <a:pt x="406687" y="228621"/>
                    <a:pt x="409537" y="223674"/>
                    <a:pt x="410324" y="218360"/>
                  </a:cubicBezTo>
                  <a:cubicBezTo>
                    <a:pt x="411501" y="210706"/>
                    <a:pt x="394657" y="215619"/>
                    <a:pt x="397498" y="205291"/>
                  </a:cubicBezTo>
                  <a:cubicBezTo>
                    <a:pt x="399487" y="198205"/>
                    <a:pt x="393926" y="195264"/>
                    <a:pt x="395996" y="188847"/>
                  </a:cubicBezTo>
                  <a:cubicBezTo>
                    <a:pt x="398675" y="180792"/>
                    <a:pt x="394900" y="177282"/>
                    <a:pt x="390476" y="170598"/>
                  </a:cubicBezTo>
                  <a:cubicBezTo>
                    <a:pt x="385646" y="163245"/>
                    <a:pt x="384347" y="161239"/>
                    <a:pt x="389461" y="153552"/>
                  </a:cubicBezTo>
                  <a:cubicBezTo>
                    <a:pt x="394088" y="146633"/>
                    <a:pt x="374037" y="138979"/>
                    <a:pt x="368639" y="135670"/>
                  </a:cubicBezTo>
                  <a:cubicBezTo>
                    <a:pt x="363240" y="132361"/>
                    <a:pt x="363118" y="129520"/>
                    <a:pt x="353783" y="131960"/>
                  </a:cubicBezTo>
                  <a:cubicBezTo>
                    <a:pt x="349074" y="133197"/>
                    <a:pt x="337912" y="139280"/>
                    <a:pt x="333488" y="139280"/>
                  </a:cubicBezTo>
                  <a:cubicBezTo>
                    <a:pt x="325613" y="139280"/>
                    <a:pt x="323016" y="125710"/>
                    <a:pt x="321554" y="122000"/>
                  </a:cubicBezTo>
                  <a:cubicBezTo>
                    <a:pt x="316806" y="110101"/>
                    <a:pt x="312665" y="123470"/>
                    <a:pt x="307713" y="127214"/>
                  </a:cubicBezTo>
                  <a:cubicBezTo>
                    <a:pt x="301706" y="131692"/>
                    <a:pt x="279300" y="138778"/>
                    <a:pt x="273537" y="133899"/>
                  </a:cubicBezTo>
                  <a:cubicBezTo>
                    <a:pt x="266312" y="127749"/>
                    <a:pt x="258600" y="135670"/>
                    <a:pt x="251740" y="131058"/>
                  </a:cubicBezTo>
                  <a:cubicBezTo>
                    <a:pt x="247965" y="128517"/>
                    <a:pt x="248371" y="124874"/>
                    <a:pt x="243622" y="122534"/>
                  </a:cubicBezTo>
                  <a:cubicBezTo>
                    <a:pt x="236600" y="119192"/>
                    <a:pt x="228157" y="116786"/>
                    <a:pt x="222028" y="112507"/>
                  </a:cubicBezTo>
                  <a:cubicBezTo>
                    <a:pt x="215899" y="108229"/>
                    <a:pt x="216143" y="95796"/>
                    <a:pt x="222475" y="90815"/>
                  </a:cubicBezTo>
                  <a:cubicBezTo>
                    <a:pt x="228807" y="85835"/>
                    <a:pt x="226534" y="75608"/>
                    <a:pt x="227792" y="68689"/>
                  </a:cubicBezTo>
                  <a:cubicBezTo>
                    <a:pt x="229740" y="58662"/>
                    <a:pt x="238833" y="51977"/>
                    <a:pt x="252146" y="43956"/>
                  </a:cubicBezTo>
                  <a:cubicBezTo>
                    <a:pt x="259533" y="39443"/>
                    <a:pt x="269640" y="37271"/>
                    <a:pt x="275201" y="31455"/>
                  </a:cubicBezTo>
                  <a:cubicBezTo>
                    <a:pt x="280762" y="25639"/>
                    <a:pt x="287946" y="27010"/>
                    <a:pt x="296105" y="24136"/>
                  </a:cubicBezTo>
                  <a:cubicBezTo>
                    <a:pt x="289691" y="21562"/>
                    <a:pt x="273009" y="24871"/>
                    <a:pt x="276743" y="16682"/>
                  </a:cubicBezTo>
                  <a:cubicBezTo>
                    <a:pt x="279544" y="10632"/>
                    <a:pt x="291518" y="1474"/>
                    <a:pt x="278042" y="-30"/>
                  </a:cubicBezTo>
                  <a:cubicBezTo>
                    <a:pt x="255556" y="-2336"/>
                    <a:pt x="239522" y="8794"/>
                    <a:pt x="219837" y="16014"/>
                  </a:cubicBezTo>
                  <a:cubicBezTo>
                    <a:pt x="196173" y="24737"/>
                    <a:pt x="193453" y="14209"/>
                    <a:pt x="178151" y="8126"/>
                  </a:cubicBezTo>
                  <a:cubicBezTo>
                    <a:pt x="167638" y="3948"/>
                    <a:pt x="157369" y="10098"/>
                    <a:pt x="148804" y="3346"/>
                  </a:cubicBezTo>
                  <a:cubicBezTo>
                    <a:pt x="140240" y="-3405"/>
                    <a:pt x="129606" y="806"/>
                    <a:pt x="117226" y="6688"/>
                  </a:cubicBezTo>
                  <a:cubicBezTo>
                    <a:pt x="134395" y="11301"/>
                    <a:pt x="125831" y="12972"/>
                    <a:pt x="126399" y="22598"/>
                  </a:cubicBezTo>
                  <a:cubicBezTo>
                    <a:pt x="127129" y="34731"/>
                    <a:pt x="114912" y="48167"/>
                    <a:pt x="100909" y="57593"/>
                  </a:cubicBezTo>
                  <a:cubicBezTo>
                    <a:pt x="87960" y="66316"/>
                    <a:pt x="72942" y="70962"/>
                    <a:pt x="69939" y="83128"/>
                  </a:cubicBezTo>
                  <a:cubicBezTo>
                    <a:pt x="68356" y="89579"/>
                    <a:pt x="72212" y="117254"/>
                    <a:pt x="53703" y="112140"/>
                  </a:cubicBezTo>
                  <a:cubicBezTo>
                    <a:pt x="46924" y="110268"/>
                    <a:pt x="44407" y="109232"/>
                    <a:pt x="36980" y="112775"/>
                  </a:cubicBezTo>
                  <a:cubicBezTo>
                    <a:pt x="31500" y="115382"/>
                    <a:pt x="18633" y="114947"/>
                    <a:pt x="21961" y="109433"/>
                  </a:cubicBezTo>
                  <a:cubicBezTo>
                    <a:pt x="25290" y="103918"/>
                    <a:pt x="18390" y="95595"/>
                    <a:pt x="10150" y="102982"/>
                  </a:cubicBezTo>
                  <a:cubicBezTo>
                    <a:pt x="4345" y="108196"/>
                    <a:pt x="-1824" y="118256"/>
                    <a:pt x="408" y="123871"/>
                  </a:cubicBezTo>
                  <a:cubicBezTo>
                    <a:pt x="1870" y="127514"/>
                    <a:pt x="25452" y="140182"/>
                    <a:pt x="19120" y="142522"/>
                  </a:cubicBezTo>
                  <a:cubicBezTo>
                    <a:pt x="2316" y="148739"/>
                    <a:pt x="46762" y="149875"/>
                    <a:pt x="49928" y="150243"/>
                  </a:cubicBezTo>
                  <a:cubicBezTo>
                    <a:pt x="64499" y="151613"/>
                    <a:pt x="82400" y="160270"/>
                    <a:pt x="93724" y="165684"/>
                  </a:cubicBezTo>
                  <a:cubicBezTo>
                    <a:pt x="106956" y="171834"/>
                    <a:pt x="116576" y="181527"/>
                    <a:pt x="128428" y="188814"/>
                  </a:cubicBezTo>
                  <a:cubicBezTo>
                    <a:pt x="141868" y="197336"/>
                    <a:pt x="156102" y="204991"/>
                    <a:pt x="171007" y="211675"/>
                  </a:cubicBezTo>
                  <a:cubicBezTo>
                    <a:pt x="185863" y="218093"/>
                    <a:pt x="199420" y="220833"/>
                    <a:pt x="204169" y="232765"/>
                  </a:cubicBezTo>
                  <a:cubicBezTo>
                    <a:pt x="207781" y="242057"/>
                    <a:pt x="228523" y="243060"/>
                    <a:pt x="240943" y="244765"/>
                  </a:cubicBezTo>
                  <a:cubicBezTo>
                    <a:pt x="261238" y="247572"/>
                    <a:pt x="283806" y="246269"/>
                    <a:pt x="305034" y="246904"/>
                  </a:cubicBezTo>
                  <a:cubicBezTo>
                    <a:pt x="320256" y="247338"/>
                    <a:pt x="338602" y="247071"/>
                    <a:pt x="351916" y="251249"/>
                  </a:cubicBezTo>
                  <a:cubicBezTo>
                    <a:pt x="358921" y="254057"/>
                    <a:pt x="366366" y="256062"/>
                    <a:pt x="374037" y="257198"/>
                  </a:cubicBezTo>
                  <a:cubicBezTo>
                    <a:pt x="379720" y="257733"/>
                    <a:pt x="391328" y="256396"/>
                    <a:pt x="393317" y="260774"/>
                  </a:cubicBezTo>
                  <a:cubicBezTo>
                    <a:pt x="400989" y="252485"/>
                    <a:pt x="399121" y="249143"/>
                    <a:pt x="402409" y="24072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8845F6AF-0255-485A-A19F-CDDFDB3EF491}"/>
                </a:ext>
              </a:extLst>
            </p:cNvPr>
            <p:cNvSpPr/>
            <p:nvPr/>
          </p:nvSpPr>
          <p:spPr>
            <a:xfrm>
              <a:off x="3767258" y="5210068"/>
              <a:ext cx="373849" cy="140879"/>
            </a:xfrm>
            <a:custGeom>
              <a:avLst/>
              <a:gdLst>
                <a:gd name="connsiteX0" fmla="*/ 17844 w 383698"/>
                <a:gd name="connsiteY0" fmla="*/ 66775 h 192895"/>
                <a:gd name="connsiteX1" fmla="*/ 3678 w 383698"/>
                <a:gd name="connsiteY1" fmla="*/ 84756 h 192895"/>
                <a:gd name="connsiteX2" fmla="*/ 4530 w 383698"/>
                <a:gd name="connsiteY2" fmla="*/ 102437 h 192895"/>
                <a:gd name="connsiteX3" fmla="*/ 8589 w 383698"/>
                <a:gd name="connsiteY3" fmla="*/ 112063 h 192895"/>
                <a:gd name="connsiteX4" fmla="*/ 27829 w 383698"/>
                <a:gd name="connsiteY4" fmla="*/ 116342 h 192895"/>
                <a:gd name="connsiteX5" fmla="*/ 46460 w 383698"/>
                <a:gd name="connsiteY5" fmla="*/ 137365 h 192895"/>
                <a:gd name="connsiteX6" fmla="*/ 100282 w 383698"/>
                <a:gd name="connsiteY6" fmla="*/ 123060 h 192895"/>
                <a:gd name="connsiteX7" fmla="*/ 129466 w 383698"/>
                <a:gd name="connsiteY7" fmla="*/ 127238 h 192895"/>
                <a:gd name="connsiteX8" fmla="*/ 162140 w 383698"/>
                <a:gd name="connsiteY8" fmla="*/ 118715 h 192895"/>
                <a:gd name="connsiteX9" fmla="*/ 182841 w 383698"/>
                <a:gd name="connsiteY9" fmla="*/ 129176 h 192895"/>
                <a:gd name="connsiteX10" fmla="*/ 186900 w 383698"/>
                <a:gd name="connsiteY10" fmla="*/ 146423 h 192895"/>
                <a:gd name="connsiteX11" fmla="*/ 207804 w 383698"/>
                <a:gd name="connsiteY11" fmla="*/ 155615 h 192895"/>
                <a:gd name="connsiteX12" fmla="*/ 211376 w 383698"/>
                <a:gd name="connsiteY12" fmla="*/ 171424 h 192895"/>
                <a:gd name="connsiteX13" fmla="*/ 216531 w 383698"/>
                <a:gd name="connsiteY13" fmla="*/ 180649 h 192895"/>
                <a:gd name="connsiteX14" fmla="*/ 250180 w 383698"/>
                <a:gd name="connsiteY14" fmla="*/ 192046 h 192895"/>
                <a:gd name="connsiteX15" fmla="*/ 261748 w 383698"/>
                <a:gd name="connsiteY15" fmla="*/ 190275 h 192895"/>
                <a:gd name="connsiteX16" fmla="*/ 281109 w 383698"/>
                <a:gd name="connsiteY16" fmla="*/ 183590 h 192895"/>
                <a:gd name="connsiteX17" fmla="*/ 307492 w 383698"/>
                <a:gd name="connsiteY17" fmla="*/ 163536 h 192895"/>
                <a:gd name="connsiteX18" fmla="*/ 324581 w 383698"/>
                <a:gd name="connsiteY18" fmla="*/ 143916 h 192895"/>
                <a:gd name="connsiteX19" fmla="*/ 307208 w 383698"/>
                <a:gd name="connsiteY19" fmla="*/ 147259 h 192895"/>
                <a:gd name="connsiteX20" fmla="*/ 292352 w 383698"/>
                <a:gd name="connsiteY20" fmla="*/ 133889 h 192895"/>
                <a:gd name="connsiteX21" fmla="*/ 275264 w 383698"/>
                <a:gd name="connsiteY21" fmla="*/ 126068 h 192895"/>
                <a:gd name="connsiteX22" fmla="*/ 299131 w 383698"/>
                <a:gd name="connsiteY22" fmla="*/ 120887 h 192895"/>
                <a:gd name="connsiteX23" fmla="*/ 324459 w 383698"/>
                <a:gd name="connsiteY23" fmla="*/ 121155 h 192895"/>
                <a:gd name="connsiteX24" fmla="*/ 338097 w 383698"/>
                <a:gd name="connsiteY24" fmla="*/ 108320 h 192895"/>
                <a:gd name="connsiteX25" fmla="*/ 366510 w 383698"/>
                <a:gd name="connsiteY25" fmla="*/ 96221 h 192895"/>
                <a:gd name="connsiteX26" fmla="*/ 374019 w 383698"/>
                <a:gd name="connsiteY26" fmla="*/ 76869 h 192895"/>
                <a:gd name="connsiteX27" fmla="*/ 360503 w 383698"/>
                <a:gd name="connsiteY27" fmla="*/ 65872 h 192895"/>
                <a:gd name="connsiteX28" fmla="*/ 370244 w 383698"/>
                <a:gd name="connsiteY28" fmla="*/ 52001 h 192895"/>
                <a:gd name="connsiteX29" fmla="*/ 367809 w 383698"/>
                <a:gd name="connsiteY29" fmla="*/ 40972 h 192895"/>
                <a:gd name="connsiteX30" fmla="*/ 383639 w 383698"/>
                <a:gd name="connsiteY30" fmla="*/ 18076 h 192895"/>
                <a:gd name="connsiteX31" fmla="*/ 339518 w 383698"/>
                <a:gd name="connsiteY31" fmla="*/ 26666 h 192895"/>
                <a:gd name="connsiteX32" fmla="*/ 340492 w 383698"/>
                <a:gd name="connsiteY32" fmla="*/ 8384 h 192895"/>
                <a:gd name="connsiteX33" fmla="*/ 299902 w 383698"/>
                <a:gd name="connsiteY33" fmla="*/ 12896 h 192895"/>
                <a:gd name="connsiteX34" fmla="*/ 303230 w 383698"/>
                <a:gd name="connsiteY34" fmla="*/ 730 h 192895"/>
                <a:gd name="connsiteX35" fmla="*/ 236338 w 383698"/>
                <a:gd name="connsiteY35" fmla="*/ 24561 h 192895"/>
                <a:gd name="connsiteX36" fmla="*/ 182963 w 383698"/>
                <a:gd name="connsiteY36" fmla="*/ 33852 h 192895"/>
                <a:gd name="connsiteX37" fmla="*/ 132307 w 383698"/>
                <a:gd name="connsiteY37" fmla="*/ 43879 h 192895"/>
                <a:gd name="connsiteX38" fmla="*/ 112459 w 383698"/>
                <a:gd name="connsiteY38" fmla="*/ 35858 h 192895"/>
                <a:gd name="connsiteX39" fmla="*/ 86035 w 383698"/>
                <a:gd name="connsiteY39" fmla="*/ 35557 h 192895"/>
                <a:gd name="connsiteX40" fmla="*/ 74710 w 383698"/>
                <a:gd name="connsiteY40" fmla="*/ 41740 h 192895"/>
                <a:gd name="connsiteX41" fmla="*/ 63142 w 383698"/>
                <a:gd name="connsiteY41" fmla="*/ 55110 h 192895"/>
                <a:gd name="connsiteX42" fmla="*/ 57865 w 383698"/>
                <a:gd name="connsiteY42" fmla="*/ 84589 h 192895"/>
                <a:gd name="connsiteX43" fmla="*/ 28925 w 383698"/>
                <a:gd name="connsiteY43" fmla="*/ 94015 h 192895"/>
                <a:gd name="connsiteX44" fmla="*/ 33390 w 383698"/>
                <a:gd name="connsiteY44" fmla="*/ 77971 h 192895"/>
                <a:gd name="connsiteX45" fmla="*/ 24947 w 383698"/>
                <a:gd name="connsiteY45" fmla="*/ 61494 h 192895"/>
                <a:gd name="connsiteX46" fmla="*/ 17966 w 383698"/>
                <a:gd name="connsiteY46" fmla="*/ 67176 h 192895"/>
                <a:gd name="connsiteX47" fmla="*/ 17844 w 383698"/>
                <a:gd name="connsiteY47" fmla="*/ 66775 h 19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3698" h="192895">
                  <a:moveTo>
                    <a:pt x="17844" y="66775"/>
                  </a:moveTo>
                  <a:cubicBezTo>
                    <a:pt x="14150" y="72958"/>
                    <a:pt x="7575" y="78606"/>
                    <a:pt x="3678" y="84756"/>
                  </a:cubicBezTo>
                  <a:cubicBezTo>
                    <a:pt x="-787" y="91809"/>
                    <a:pt x="6032" y="95887"/>
                    <a:pt x="4530" y="102437"/>
                  </a:cubicBezTo>
                  <a:cubicBezTo>
                    <a:pt x="3029" y="108989"/>
                    <a:pt x="-7078" y="116041"/>
                    <a:pt x="8589" y="112063"/>
                  </a:cubicBezTo>
                  <a:cubicBezTo>
                    <a:pt x="14272" y="110626"/>
                    <a:pt x="22227" y="115406"/>
                    <a:pt x="27829" y="116342"/>
                  </a:cubicBezTo>
                  <a:cubicBezTo>
                    <a:pt x="40696" y="118615"/>
                    <a:pt x="32659" y="134090"/>
                    <a:pt x="46460" y="137365"/>
                  </a:cubicBezTo>
                  <a:cubicBezTo>
                    <a:pt x="63223" y="141343"/>
                    <a:pt x="82990" y="123996"/>
                    <a:pt x="100282" y="123060"/>
                  </a:cubicBezTo>
                  <a:cubicBezTo>
                    <a:pt x="110876" y="122525"/>
                    <a:pt x="118425" y="127606"/>
                    <a:pt x="129466" y="127238"/>
                  </a:cubicBezTo>
                  <a:cubicBezTo>
                    <a:pt x="141318" y="126837"/>
                    <a:pt x="151303" y="122525"/>
                    <a:pt x="162140" y="118715"/>
                  </a:cubicBezTo>
                  <a:cubicBezTo>
                    <a:pt x="188402" y="109490"/>
                    <a:pt x="183653" y="115974"/>
                    <a:pt x="182841" y="129176"/>
                  </a:cubicBezTo>
                  <a:cubicBezTo>
                    <a:pt x="182042" y="135133"/>
                    <a:pt x="183458" y="141145"/>
                    <a:pt x="186900" y="146423"/>
                  </a:cubicBezTo>
                  <a:cubicBezTo>
                    <a:pt x="190959" y="151704"/>
                    <a:pt x="204394" y="150233"/>
                    <a:pt x="207804" y="155615"/>
                  </a:cubicBezTo>
                  <a:cubicBezTo>
                    <a:pt x="211213" y="160996"/>
                    <a:pt x="196967" y="169318"/>
                    <a:pt x="211376" y="171424"/>
                  </a:cubicBezTo>
                  <a:cubicBezTo>
                    <a:pt x="218033" y="172393"/>
                    <a:pt x="222863" y="176571"/>
                    <a:pt x="216531" y="180649"/>
                  </a:cubicBezTo>
                  <a:cubicBezTo>
                    <a:pt x="228708" y="183657"/>
                    <a:pt x="236826" y="189907"/>
                    <a:pt x="250180" y="192046"/>
                  </a:cubicBezTo>
                  <a:cubicBezTo>
                    <a:pt x="254149" y="193132"/>
                    <a:pt x="258517" y="192461"/>
                    <a:pt x="261748" y="190275"/>
                  </a:cubicBezTo>
                  <a:cubicBezTo>
                    <a:pt x="269338" y="184760"/>
                    <a:pt x="273925" y="187300"/>
                    <a:pt x="281109" y="183590"/>
                  </a:cubicBezTo>
                  <a:cubicBezTo>
                    <a:pt x="284437" y="181752"/>
                    <a:pt x="307289" y="165976"/>
                    <a:pt x="307492" y="163536"/>
                  </a:cubicBezTo>
                  <a:cubicBezTo>
                    <a:pt x="308061" y="156350"/>
                    <a:pt x="327787" y="148562"/>
                    <a:pt x="324581" y="143916"/>
                  </a:cubicBezTo>
                  <a:cubicBezTo>
                    <a:pt x="321212" y="138702"/>
                    <a:pt x="311795" y="149297"/>
                    <a:pt x="307208" y="147259"/>
                  </a:cubicBezTo>
                  <a:cubicBezTo>
                    <a:pt x="301047" y="143829"/>
                    <a:pt x="295957" y="139247"/>
                    <a:pt x="292352" y="133889"/>
                  </a:cubicBezTo>
                  <a:cubicBezTo>
                    <a:pt x="290891" y="131249"/>
                    <a:pt x="275386" y="125934"/>
                    <a:pt x="275264" y="126068"/>
                  </a:cubicBezTo>
                  <a:cubicBezTo>
                    <a:pt x="279729" y="120219"/>
                    <a:pt x="292596" y="121455"/>
                    <a:pt x="299131" y="120887"/>
                  </a:cubicBezTo>
                  <a:cubicBezTo>
                    <a:pt x="312444" y="119718"/>
                    <a:pt x="313662" y="118113"/>
                    <a:pt x="324459" y="121155"/>
                  </a:cubicBezTo>
                  <a:cubicBezTo>
                    <a:pt x="333348" y="123662"/>
                    <a:pt x="331278" y="111595"/>
                    <a:pt x="338097" y="108320"/>
                  </a:cubicBezTo>
                  <a:cubicBezTo>
                    <a:pt x="348082" y="103507"/>
                    <a:pt x="356890" y="102437"/>
                    <a:pt x="366510" y="96221"/>
                  </a:cubicBezTo>
                  <a:cubicBezTo>
                    <a:pt x="379052" y="88132"/>
                    <a:pt x="389849" y="83018"/>
                    <a:pt x="374019" y="76869"/>
                  </a:cubicBezTo>
                  <a:cubicBezTo>
                    <a:pt x="364643" y="73259"/>
                    <a:pt x="357336" y="73760"/>
                    <a:pt x="360503" y="65872"/>
                  </a:cubicBezTo>
                  <a:cubicBezTo>
                    <a:pt x="363344" y="58786"/>
                    <a:pt x="354455" y="56948"/>
                    <a:pt x="370244" y="52001"/>
                  </a:cubicBezTo>
                  <a:cubicBezTo>
                    <a:pt x="388753" y="46186"/>
                    <a:pt x="370244" y="44414"/>
                    <a:pt x="367809" y="40972"/>
                  </a:cubicBezTo>
                  <a:cubicBezTo>
                    <a:pt x="364237" y="35958"/>
                    <a:pt x="381244" y="23859"/>
                    <a:pt x="383639" y="18076"/>
                  </a:cubicBezTo>
                  <a:cubicBezTo>
                    <a:pt x="372680" y="18411"/>
                    <a:pt x="347798" y="28103"/>
                    <a:pt x="339518" y="26666"/>
                  </a:cubicBezTo>
                  <a:cubicBezTo>
                    <a:pt x="334363" y="25764"/>
                    <a:pt x="352628" y="10489"/>
                    <a:pt x="340492" y="8384"/>
                  </a:cubicBezTo>
                  <a:cubicBezTo>
                    <a:pt x="328356" y="6278"/>
                    <a:pt x="312444" y="11124"/>
                    <a:pt x="299902" y="12896"/>
                  </a:cubicBezTo>
                  <a:cubicBezTo>
                    <a:pt x="278633" y="15870"/>
                    <a:pt x="301038" y="-73"/>
                    <a:pt x="303230" y="730"/>
                  </a:cubicBezTo>
                  <a:cubicBezTo>
                    <a:pt x="286223" y="-5487"/>
                    <a:pt x="248515" y="17141"/>
                    <a:pt x="236338" y="24561"/>
                  </a:cubicBezTo>
                  <a:cubicBezTo>
                    <a:pt x="215151" y="37295"/>
                    <a:pt x="207439" y="32415"/>
                    <a:pt x="182963" y="33852"/>
                  </a:cubicBezTo>
                  <a:cubicBezTo>
                    <a:pt x="172572" y="34454"/>
                    <a:pt x="136325" y="55845"/>
                    <a:pt x="132307" y="43879"/>
                  </a:cubicBezTo>
                  <a:cubicBezTo>
                    <a:pt x="130359" y="38097"/>
                    <a:pt x="123215" y="33852"/>
                    <a:pt x="112459" y="35858"/>
                  </a:cubicBezTo>
                  <a:cubicBezTo>
                    <a:pt x="97887" y="38431"/>
                    <a:pt x="97725" y="38966"/>
                    <a:pt x="86035" y="35557"/>
                  </a:cubicBezTo>
                  <a:cubicBezTo>
                    <a:pt x="79621" y="33685"/>
                    <a:pt x="71706" y="37328"/>
                    <a:pt x="74710" y="41740"/>
                  </a:cubicBezTo>
                  <a:cubicBezTo>
                    <a:pt x="78769" y="47890"/>
                    <a:pt x="71382" y="50397"/>
                    <a:pt x="63142" y="55110"/>
                  </a:cubicBezTo>
                  <a:cubicBezTo>
                    <a:pt x="38788" y="69014"/>
                    <a:pt x="42563" y="73225"/>
                    <a:pt x="57865" y="84589"/>
                  </a:cubicBezTo>
                  <a:cubicBezTo>
                    <a:pt x="75725" y="97959"/>
                    <a:pt x="34486" y="105513"/>
                    <a:pt x="28925" y="94015"/>
                  </a:cubicBezTo>
                  <a:cubicBezTo>
                    <a:pt x="26652" y="89335"/>
                    <a:pt x="31198" y="82985"/>
                    <a:pt x="33390" y="77971"/>
                  </a:cubicBezTo>
                  <a:cubicBezTo>
                    <a:pt x="37043" y="69649"/>
                    <a:pt x="23648" y="69248"/>
                    <a:pt x="24947" y="61494"/>
                  </a:cubicBezTo>
                  <a:cubicBezTo>
                    <a:pt x="22065" y="62861"/>
                    <a:pt x="19658" y="64816"/>
                    <a:pt x="17966" y="67176"/>
                  </a:cubicBezTo>
                  <a:cubicBezTo>
                    <a:pt x="12689" y="75398"/>
                    <a:pt x="19102" y="64602"/>
                    <a:pt x="17844" y="6677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129AE776-8ACD-4AC3-AB96-F89188943420}"/>
                </a:ext>
              </a:extLst>
            </p:cNvPr>
            <p:cNvSpPr/>
            <p:nvPr/>
          </p:nvSpPr>
          <p:spPr>
            <a:xfrm>
              <a:off x="4217695" y="5225314"/>
              <a:ext cx="108143" cy="60499"/>
            </a:xfrm>
            <a:custGeom>
              <a:avLst/>
              <a:gdLst>
                <a:gd name="connsiteX0" fmla="*/ 14612 w 110992"/>
                <a:gd name="connsiteY0" fmla="*/ 29189 h 82837"/>
                <a:gd name="connsiteX1" fmla="*/ 4586 w 110992"/>
                <a:gd name="connsiteY1" fmla="*/ 40018 h 82837"/>
                <a:gd name="connsiteX2" fmla="*/ 162 w 110992"/>
                <a:gd name="connsiteY2" fmla="*/ 54290 h 82837"/>
                <a:gd name="connsiteX3" fmla="*/ 27844 w 110992"/>
                <a:gd name="connsiteY3" fmla="*/ 68160 h 82837"/>
                <a:gd name="connsiteX4" fmla="*/ 50696 w 110992"/>
                <a:gd name="connsiteY4" fmla="*/ 82499 h 82837"/>
                <a:gd name="connsiteX5" fmla="*/ 66932 w 110992"/>
                <a:gd name="connsiteY5" fmla="*/ 72472 h 82837"/>
                <a:gd name="connsiteX6" fmla="*/ 106426 w 110992"/>
                <a:gd name="connsiteY6" fmla="*/ 61409 h 82837"/>
                <a:gd name="connsiteX7" fmla="*/ 104234 w 110992"/>
                <a:gd name="connsiteY7" fmla="*/ 33634 h 82837"/>
                <a:gd name="connsiteX8" fmla="*/ 101190 w 110992"/>
                <a:gd name="connsiteY8" fmla="*/ 5023 h 82837"/>
                <a:gd name="connsiteX9" fmla="*/ 46678 w 110992"/>
                <a:gd name="connsiteY9" fmla="*/ 12477 h 82837"/>
                <a:gd name="connsiteX10" fmla="*/ 21309 w 110992"/>
                <a:gd name="connsiteY10" fmla="*/ 13513 h 82837"/>
                <a:gd name="connsiteX11" fmla="*/ 14734 w 110992"/>
                <a:gd name="connsiteY11" fmla="*/ 29356 h 82837"/>
                <a:gd name="connsiteX12" fmla="*/ 14612 w 110992"/>
                <a:gd name="connsiteY12" fmla="*/ 29189 h 82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0992" h="82837">
                  <a:moveTo>
                    <a:pt x="14612" y="29189"/>
                  </a:moveTo>
                  <a:cubicBezTo>
                    <a:pt x="20741" y="33199"/>
                    <a:pt x="10553" y="38046"/>
                    <a:pt x="4586" y="40018"/>
                  </a:cubicBezTo>
                  <a:cubicBezTo>
                    <a:pt x="-2598" y="42424"/>
                    <a:pt x="892" y="50847"/>
                    <a:pt x="162" y="54290"/>
                  </a:cubicBezTo>
                  <a:cubicBezTo>
                    <a:pt x="-1989" y="64317"/>
                    <a:pt x="20132" y="61442"/>
                    <a:pt x="27844" y="68160"/>
                  </a:cubicBezTo>
                  <a:cubicBezTo>
                    <a:pt x="34866" y="73559"/>
                    <a:pt x="42497" y="78361"/>
                    <a:pt x="50696" y="82499"/>
                  </a:cubicBezTo>
                  <a:cubicBezTo>
                    <a:pt x="62426" y="81497"/>
                    <a:pt x="67460" y="79591"/>
                    <a:pt x="66932" y="72472"/>
                  </a:cubicBezTo>
                  <a:cubicBezTo>
                    <a:pt x="66161" y="64083"/>
                    <a:pt x="97902" y="58334"/>
                    <a:pt x="106426" y="61409"/>
                  </a:cubicBezTo>
                  <a:cubicBezTo>
                    <a:pt x="113002" y="50446"/>
                    <a:pt x="112474" y="43026"/>
                    <a:pt x="104234" y="33634"/>
                  </a:cubicBezTo>
                  <a:cubicBezTo>
                    <a:pt x="94452" y="22470"/>
                    <a:pt x="98836" y="17490"/>
                    <a:pt x="101190" y="5023"/>
                  </a:cubicBezTo>
                  <a:cubicBezTo>
                    <a:pt x="103910" y="-9616"/>
                    <a:pt x="56988" y="10104"/>
                    <a:pt x="46678" y="12477"/>
                  </a:cubicBezTo>
                  <a:cubicBezTo>
                    <a:pt x="36368" y="14850"/>
                    <a:pt x="31538" y="7664"/>
                    <a:pt x="21309" y="13513"/>
                  </a:cubicBezTo>
                  <a:cubicBezTo>
                    <a:pt x="14531" y="17390"/>
                    <a:pt x="8077" y="24977"/>
                    <a:pt x="14734" y="29356"/>
                  </a:cubicBezTo>
                  <a:cubicBezTo>
                    <a:pt x="20295" y="32765"/>
                    <a:pt x="11771" y="27183"/>
                    <a:pt x="14612" y="2918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425A9DB8-4190-4A9C-8969-ED6CA3EA5AF9}"/>
                </a:ext>
              </a:extLst>
            </p:cNvPr>
            <p:cNvSpPr/>
            <p:nvPr/>
          </p:nvSpPr>
          <p:spPr>
            <a:xfrm>
              <a:off x="4115993" y="5223200"/>
              <a:ext cx="151154" cy="81565"/>
            </a:xfrm>
            <a:custGeom>
              <a:avLst/>
              <a:gdLst>
                <a:gd name="connsiteX0" fmla="*/ 18411 w 155136"/>
                <a:gd name="connsiteY0" fmla="*/ 10056 h 111681"/>
                <a:gd name="connsiteX1" fmla="*/ 16950 w 155136"/>
                <a:gd name="connsiteY1" fmla="*/ 24562 h 111681"/>
                <a:gd name="connsiteX2" fmla="*/ 2500 w 155136"/>
                <a:gd name="connsiteY2" fmla="*/ 37932 h 111681"/>
                <a:gd name="connsiteX3" fmla="*/ 65 w 155136"/>
                <a:gd name="connsiteY3" fmla="*/ 52437 h 111681"/>
                <a:gd name="connsiteX4" fmla="*/ 25798 w 155136"/>
                <a:gd name="connsiteY4" fmla="*/ 62465 h 111681"/>
                <a:gd name="connsiteX5" fmla="*/ 42805 w 155136"/>
                <a:gd name="connsiteY5" fmla="*/ 59790 h 111681"/>
                <a:gd name="connsiteX6" fmla="*/ 55551 w 155136"/>
                <a:gd name="connsiteY6" fmla="*/ 67812 h 111681"/>
                <a:gd name="connsiteX7" fmla="*/ 60990 w 155136"/>
                <a:gd name="connsiteY7" fmla="*/ 77401 h 111681"/>
                <a:gd name="connsiteX8" fmla="*/ 58838 w 155136"/>
                <a:gd name="connsiteY8" fmla="*/ 80179 h 111681"/>
                <a:gd name="connsiteX9" fmla="*/ 60137 w 155136"/>
                <a:gd name="connsiteY9" fmla="*/ 96657 h 111681"/>
                <a:gd name="connsiteX10" fmla="*/ 107100 w 155136"/>
                <a:gd name="connsiteY10" fmla="*/ 105915 h 111681"/>
                <a:gd name="connsiteX11" fmla="*/ 115542 w 155136"/>
                <a:gd name="connsiteY11" fmla="*/ 102238 h 111681"/>
                <a:gd name="connsiteX12" fmla="*/ 125609 w 155136"/>
                <a:gd name="connsiteY12" fmla="*/ 95153 h 111681"/>
                <a:gd name="connsiteX13" fmla="*/ 155077 w 155136"/>
                <a:gd name="connsiteY13" fmla="*/ 85326 h 111681"/>
                <a:gd name="connsiteX14" fmla="*/ 129465 w 155136"/>
                <a:gd name="connsiteY14" fmla="*/ 69283 h 111681"/>
                <a:gd name="connsiteX15" fmla="*/ 103122 w 155136"/>
                <a:gd name="connsiteY15" fmla="*/ 60960 h 111681"/>
                <a:gd name="connsiteX16" fmla="*/ 106126 w 155136"/>
                <a:gd name="connsiteY16" fmla="*/ 44683 h 111681"/>
                <a:gd name="connsiteX17" fmla="*/ 118992 w 155136"/>
                <a:gd name="connsiteY17" fmla="*/ 37998 h 111681"/>
                <a:gd name="connsiteX18" fmla="*/ 117369 w 155136"/>
                <a:gd name="connsiteY18" fmla="*/ 25598 h 111681"/>
                <a:gd name="connsiteX19" fmla="*/ 98251 w 155136"/>
                <a:gd name="connsiteY19" fmla="*/ 15571 h 111681"/>
                <a:gd name="connsiteX20" fmla="*/ 71381 w 155136"/>
                <a:gd name="connsiteY20" fmla="*/ 10792 h 111681"/>
                <a:gd name="connsiteX21" fmla="*/ 49381 w 155136"/>
                <a:gd name="connsiteY21" fmla="*/ 2736 h 111681"/>
                <a:gd name="connsiteX22" fmla="*/ 31927 w 155136"/>
                <a:gd name="connsiteY22" fmla="*/ -238 h 111681"/>
                <a:gd name="connsiteX23" fmla="*/ 18411 w 155136"/>
                <a:gd name="connsiteY23" fmla="*/ 10090 h 11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5136" h="111681">
                  <a:moveTo>
                    <a:pt x="18411" y="10056"/>
                  </a:moveTo>
                  <a:cubicBezTo>
                    <a:pt x="8345" y="16941"/>
                    <a:pt x="7574" y="21053"/>
                    <a:pt x="16950" y="24562"/>
                  </a:cubicBezTo>
                  <a:cubicBezTo>
                    <a:pt x="29127" y="29175"/>
                    <a:pt x="6478" y="34589"/>
                    <a:pt x="2500" y="37932"/>
                  </a:cubicBezTo>
                  <a:cubicBezTo>
                    <a:pt x="552" y="39636"/>
                    <a:pt x="-423" y="50666"/>
                    <a:pt x="65" y="52437"/>
                  </a:cubicBezTo>
                  <a:cubicBezTo>
                    <a:pt x="957" y="55780"/>
                    <a:pt x="21415" y="60492"/>
                    <a:pt x="25798" y="62465"/>
                  </a:cubicBezTo>
                  <a:cubicBezTo>
                    <a:pt x="28518" y="55780"/>
                    <a:pt x="39640" y="54276"/>
                    <a:pt x="42805" y="59790"/>
                  </a:cubicBezTo>
                  <a:cubicBezTo>
                    <a:pt x="45972" y="65305"/>
                    <a:pt x="47717" y="65239"/>
                    <a:pt x="55551" y="67812"/>
                  </a:cubicBezTo>
                  <a:cubicBezTo>
                    <a:pt x="60259" y="69223"/>
                    <a:pt x="62695" y="73514"/>
                    <a:pt x="60990" y="77401"/>
                  </a:cubicBezTo>
                  <a:cubicBezTo>
                    <a:pt x="60543" y="78448"/>
                    <a:pt x="59813" y="79397"/>
                    <a:pt x="58838" y="80179"/>
                  </a:cubicBezTo>
                  <a:cubicBezTo>
                    <a:pt x="53318" y="84858"/>
                    <a:pt x="57459" y="92813"/>
                    <a:pt x="60137" y="96657"/>
                  </a:cubicBezTo>
                  <a:cubicBezTo>
                    <a:pt x="64440" y="102807"/>
                    <a:pt x="96668" y="120053"/>
                    <a:pt x="107100" y="105915"/>
                  </a:cubicBezTo>
                  <a:cubicBezTo>
                    <a:pt x="109454" y="104070"/>
                    <a:pt x="112376" y="102797"/>
                    <a:pt x="115542" y="102238"/>
                  </a:cubicBezTo>
                  <a:cubicBezTo>
                    <a:pt x="122199" y="100166"/>
                    <a:pt x="120941" y="97559"/>
                    <a:pt x="125609" y="95153"/>
                  </a:cubicBezTo>
                  <a:cubicBezTo>
                    <a:pt x="135350" y="90206"/>
                    <a:pt x="142616" y="86396"/>
                    <a:pt x="155077" y="85326"/>
                  </a:cubicBezTo>
                  <a:cubicBezTo>
                    <a:pt x="146350" y="80346"/>
                    <a:pt x="138841" y="73695"/>
                    <a:pt x="129465" y="69283"/>
                  </a:cubicBezTo>
                  <a:cubicBezTo>
                    <a:pt x="123254" y="66408"/>
                    <a:pt x="106044" y="65706"/>
                    <a:pt x="103122" y="60960"/>
                  </a:cubicBezTo>
                  <a:cubicBezTo>
                    <a:pt x="101823" y="58888"/>
                    <a:pt x="104177" y="47090"/>
                    <a:pt x="106126" y="44683"/>
                  </a:cubicBezTo>
                  <a:cubicBezTo>
                    <a:pt x="108602" y="41641"/>
                    <a:pt x="115623" y="40739"/>
                    <a:pt x="118992" y="37998"/>
                  </a:cubicBezTo>
                  <a:cubicBezTo>
                    <a:pt x="123336" y="34322"/>
                    <a:pt x="116801" y="29609"/>
                    <a:pt x="117369" y="25598"/>
                  </a:cubicBezTo>
                  <a:cubicBezTo>
                    <a:pt x="118221" y="19415"/>
                    <a:pt x="106937" y="18913"/>
                    <a:pt x="98251" y="15571"/>
                  </a:cubicBezTo>
                  <a:cubicBezTo>
                    <a:pt x="89565" y="12229"/>
                    <a:pt x="76170" y="16674"/>
                    <a:pt x="71381" y="10792"/>
                  </a:cubicBezTo>
                  <a:cubicBezTo>
                    <a:pt x="65414" y="3539"/>
                    <a:pt x="63953" y="3739"/>
                    <a:pt x="49381" y="2736"/>
                  </a:cubicBezTo>
                  <a:cubicBezTo>
                    <a:pt x="43009" y="2335"/>
                    <a:pt x="38097" y="330"/>
                    <a:pt x="31927" y="-238"/>
                  </a:cubicBezTo>
                  <a:cubicBezTo>
                    <a:pt x="20481" y="-1241"/>
                    <a:pt x="25190" y="5477"/>
                    <a:pt x="18411" y="10090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D3C216F8-8F6E-4EF2-AD56-5262BFCD8F5B}"/>
                </a:ext>
              </a:extLst>
            </p:cNvPr>
            <p:cNvSpPr/>
            <p:nvPr/>
          </p:nvSpPr>
          <p:spPr>
            <a:xfrm>
              <a:off x="3559825" y="5206443"/>
              <a:ext cx="59050" cy="11681"/>
            </a:xfrm>
            <a:custGeom>
              <a:avLst/>
              <a:gdLst>
                <a:gd name="connsiteX0" fmla="*/ 761 w 60606"/>
                <a:gd name="connsiteY0" fmla="*/ 14919 h 15994"/>
                <a:gd name="connsiteX1" fmla="*/ 60509 w 60606"/>
                <a:gd name="connsiteY1" fmla="*/ 1716 h 15994"/>
                <a:gd name="connsiteX2" fmla="*/ 761 w 60606"/>
                <a:gd name="connsiteY2" fmla="*/ 14919 h 15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606" h="15994">
                  <a:moveTo>
                    <a:pt x="761" y="14919"/>
                  </a:moveTo>
                  <a:cubicBezTo>
                    <a:pt x="8148" y="18261"/>
                    <a:pt x="58601" y="9604"/>
                    <a:pt x="60509" y="1716"/>
                  </a:cubicBezTo>
                  <a:cubicBezTo>
                    <a:pt x="62417" y="-6171"/>
                    <a:pt x="-8413" y="10908"/>
                    <a:pt x="761" y="1491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9C64998-CAF9-4D79-B7CD-6723B2A2FE07}"/>
                </a:ext>
              </a:extLst>
            </p:cNvPr>
            <p:cNvSpPr/>
            <p:nvPr/>
          </p:nvSpPr>
          <p:spPr>
            <a:xfrm>
              <a:off x="3871373" y="5134237"/>
              <a:ext cx="47798" cy="12855"/>
            </a:xfrm>
            <a:custGeom>
              <a:avLst/>
              <a:gdLst>
                <a:gd name="connsiteX0" fmla="*/ 2394 w 49057"/>
                <a:gd name="connsiteY0" fmla="*/ 15586 h 17601"/>
                <a:gd name="connsiteX1" fmla="*/ 48950 w 49057"/>
                <a:gd name="connsiteY1" fmla="*/ 2217 h 17601"/>
                <a:gd name="connsiteX2" fmla="*/ 2394 w 49057"/>
                <a:gd name="connsiteY2" fmla="*/ 15586 h 17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57" h="17601">
                  <a:moveTo>
                    <a:pt x="2394" y="15586"/>
                  </a:moveTo>
                  <a:cubicBezTo>
                    <a:pt x="17940" y="22271"/>
                    <a:pt x="47733" y="7130"/>
                    <a:pt x="48950" y="2217"/>
                  </a:cubicBezTo>
                  <a:cubicBezTo>
                    <a:pt x="50980" y="-6339"/>
                    <a:pt x="-13233" y="8768"/>
                    <a:pt x="2394" y="1558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9814F936-A164-4FDB-BB3D-CBA77B6FDED5}"/>
                </a:ext>
              </a:extLst>
            </p:cNvPr>
            <p:cNvSpPr/>
            <p:nvPr/>
          </p:nvSpPr>
          <p:spPr>
            <a:xfrm>
              <a:off x="3369172" y="5519398"/>
              <a:ext cx="3125" cy="9349"/>
            </a:xfrm>
            <a:custGeom>
              <a:avLst/>
              <a:gdLst>
                <a:gd name="connsiteX0" fmla="*/ 2092 w 3207"/>
                <a:gd name="connsiteY0" fmla="*/ 4207 h 12801"/>
                <a:gd name="connsiteX1" fmla="*/ 3148 w 3207"/>
                <a:gd name="connsiteY1" fmla="*/ -339 h 12801"/>
                <a:gd name="connsiteX2" fmla="*/ 2377 w 3207"/>
                <a:gd name="connsiteY2" fmla="*/ 12462 h 12801"/>
                <a:gd name="connsiteX3" fmla="*/ 2092 w 3207"/>
                <a:gd name="connsiteY3" fmla="*/ 4207 h 12801"/>
                <a:gd name="connsiteX4" fmla="*/ 2092 w 3207"/>
                <a:gd name="connsiteY4" fmla="*/ 4207 h 12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7" h="12801">
                  <a:moveTo>
                    <a:pt x="2092" y="4207"/>
                  </a:moveTo>
                  <a:cubicBezTo>
                    <a:pt x="2417" y="2669"/>
                    <a:pt x="2783" y="1165"/>
                    <a:pt x="3148" y="-339"/>
                  </a:cubicBezTo>
                  <a:cubicBezTo>
                    <a:pt x="-818" y="3204"/>
                    <a:pt x="-1143" y="8586"/>
                    <a:pt x="2377" y="12462"/>
                  </a:cubicBezTo>
                  <a:cubicBezTo>
                    <a:pt x="2377" y="9722"/>
                    <a:pt x="2133" y="6947"/>
                    <a:pt x="2092" y="4207"/>
                  </a:cubicBezTo>
                  <a:cubicBezTo>
                    <a:pt x="2052" y="2669"/>
                    <a:pt x="2133" y="7014"/>
                    <a:pt x="2092" y="420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D1A2657B-5864-4504-A0E4-5066CC8770C0}"/>
                </a:ext>
              </a:extLst>
            </p:cNvPr>
            <p:cNvSpPr/>
            <p:nvPr/>
          </p:nvSpPr>
          <p:spPr>
            <a:xfrm>
              <a:off x="3367432" y="5516273"/>
              <a:ext cx="7514" cy="15598"/>
            </a:xfrm>
            <a:custGeom>
              <a:avLst/>
              <a:gdLst>
                <a:gd name="connsiteX0" fmla="*/ 6151 w 7712"/>
                <a:gd name="connsiteY0" fmla="*/ 21019 h 21357"/>
                <a:gd name="connsiteX1" fmla="*/ 2620 w 7712"/>
                <a:gd name="connsiteY1" fmla="*/ 17677 h 21357"/>
                <a:gd name="connsiteX2" fmla="*/ 3594 w 7712"/>
                <a:gd name="connsiteY2" fmla="*/ 3539 h 21357"/>
                <a:gd name="connsiteX3" fmla="*/ 7653 w 7712"/>
                <a:gd name="connsiteY3" fmla="*/ -339 h 21357"/>
                <a:gd name="connsiteX4" fmla="*/ 5542 w 7712"/>
                <a:gd name="connsiteY4" fmla="*/ 8351 h 21357"/>
                <a:gd name="connsiteX5" fmla="*/ 5826 w 7712"/>
                <a:gd name="connsiteY5" fmla="*/ 16507 h 2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2" h="21357">
                  <a:moveTo>
                    <a:pt x="6151" y="21019"/>
                  </a:moveTo>
                  <a:lnTo>
                    <a:pt x="2620" y="17677"/>
                  </a:lnTo>
                  <a:cubicBezTo>
                    <a:pt x="-1293" y="13398"/>
                    <a:pt x="-879" y="7416"/>
                    <a:pt x="3594" y="3539"/>
                  </a:cubicBezTo>
                  <a:lnTo>
                    <a:pt x="7653" y="-339"/>
                  </a:lnTo>
                  <a:cubicBezTo>
                    <a:pt x="6963" y="2569"/>
                    <a:pt x="6273" y="5444"/>
                    <a:pt x="5542" y="8351"/>
                  </a:cubicBezTo>
                  <a:cubicBezTo>
                    <a:pt x="5542" y="11092"/>
                    <a:pt x="5542" y="13799"/>
                    <a:pt x="5826" y="1650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55501A84-4022-4A04-86BC-C4A458252ED7}"/>
                </a:ext>
              </a:extLst>
            </p:cNvPr>
            <p:cNvSpPr/>
            <p:nvPr/>
          </p:nvSpPr>
          <p:spPr>
            <a:xfrm>
              <a:off x="3644268" y="5415120"/>
              <a:ext cx="142448" cy="81672"/>
            </a:xfrm>
            <a:custGeom>
              <a:avLst/>
              <a:gdLst>
                <a:gd name="connsiteX0" fmla="*/ 133724 w 146201"/>
                <a:gd name="connsiteY0" fmla="*/ 3667 h 111827"/>
                <a:gd name="connsiteX1" fmla="*/ 110507 w 146201"/>
                <a:gd name="connsiteY1" fmla="*/ 1026 h 111827"/>
                <a:gd name="connsiteX2" fmla="*/ 84367 w 146201"/>
                <a:gd name="connsiteY2" fmla="*/ 7042 h 111827"/>
                <a:gd name="connsiteX3" fmla="*/ 32169 w 146201"/>
                <a:gd name="connsiteY3" fmla="*/ 5772 h 111827"/>
                <a:gd name="connsiteX4" fmla="*/ 17840 w 146201"/>
                <a:gd name="connsiteY4" fmla="*/ 19710 h 111827"/>
                <a:gd name="connsiteX5" fmla="*/ 14877 w 146201"/>
                <a:gd name="connsiteY5" fmla="*/ 34216 h 111827"/>
                <a:gd name="connsiteX6" fmla="*/ 8058 w 146201"/>
                <a:gd name="connsiteY6" fmla="*/ 51161 h 111827"/>
                <a:gd name="connsiteX7" fmla="*/ -60 w 146201"/>
                <a:gd name="connsiteY7" fmla="*/ 65834 h 111827"/>
                <a:gd name="connsiteX8" fmla="*/ 4933 w 146201"/>
                <a:gd name="connsiteY8" fmla="*/ 71249 h 111827"/>
                <a:gd name="connsiteX9" fmla="*/ 8505 w 146201"/>
                <a:gd name="connsiteY9" fmla="*/ 82279 h 111827"/>
                <a:gd name="connsiteX10" fmla="*/ 32534 w 146201"/>
                <a:gd name="connsiteY10" fmla="*/ 85321 h 111827"/>
                <a:gd name="connsiteX11" fmla="*/ 43453 w 146201"/>
                <a:gd name="connsiteY11" fmla="*/ 84551 h 111827"/>
                <a:gd name="connsiteX12" fmla="*/ 32615 w 146201"/>
                <a:gd name="connsiteY12" fmla="*/ 97219 h 111827"/>
                <a:gd name="connsiteX13" fmla="*/ 40733 w 146201"/>
                <a:gd name="connsiteY13" fmla="*/ 110355 h 111827"/>
                <a:gd name="connsiteX14" fmla="*/ 67360 w 146201"/>
                <a:gd name="connsiteY14" fmla="*/ 108149 h 111827"/>
                <a:gd name="connsiteX15" fmla="*/ 91024 w 146201"/>
                <a:gd name="connsiteY15" fmla="*/ 73388 h 111827"/>
                <a:gd name="connsiteX16" fmla="*/ 114079 w 146201"/>
                <a:gd name="connsiteY16" fmla="*/ 58214 h 111827"/>
                <a:gd name="connsiteX17" fmla="*/ 140016 w 146201"/>
                <a:gd name="connsiteY17" fmla="*/ 34283 h 111827"/>
                <a:gd name="connsiteX18" fmla="*/ 144602 w 146201"/>
                <a:gd name="connsiteY18" fmla="*/ 17002 h 111827"/>
                <a:gd name="connsiteX19" fmla="*/ 133846 w 146201"/>
                <a:gd name="connsiteY19" fmla="*/ 3633 h 11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6201" h="111827">
                  <a:moveTo>
                    <a:pt x="133724" y="3667"/>
                  </a:moveTo>
                  <a:cubicBezTo>
                    <a:pt x="131857" y="3165"/>
                    <a:pt x="112902" y="-3018"/>
                    <a:pt x="110507" y="1026"/>
                  </a:cubicBezTo>
                  <a:cubicBezTo>
                    <a:pt x="106813" y="7310"/>
                    <a:pt x="90740" y="8145"/>
                    <a:pt x="84367" y="7042"/>
                  </a:cubicBezTo>
                  <a:cubicBezTo>
                    <a:pt x="68131" y="4235"/>
                    <a:pt x="49338" y="8045"/>
                    <a:pt x="32169" y="5772"/>
                  </a:cubicBezTo>
                  <a:cubicBezTo>
                    <a:pt x="34442" y="12256"/>
                    <a:pt x="27623" y="15799"/>
                    <a:pt x="17840" y="19710"/>
                  </a:cubicBezTo>
                  <a:cubicBezTo>
                    <a:pt x="8058" y="23620"/>
                    <a:pt x="12767" y="30038"/>
                    <a:pt x="14877" y="34216"/>
                  </a:cubicBezTo>
                  <a:cubicBezTo>
                    <a:pt x="17394" y="39263"/>
                    <a:pt x="6516" y="45245"/>
                    <a:pt x="8058" y="51161"/>
                  </a:cubicBezTo>
                  <a:cubicBezTo>
                    <a:pt x="9601" y="57077"/>
                    <a:pt x="-60" y="59885"/>
                    <a:pt x="-60" y="65834"/>
                  </a:cubicBezTo>
                  <a:cubicBezTo>
                    <a:pt x="78" y="68308"/>
                    <a:pt x="2063" y="70480"/>
                    <a:pt x="4933" y="71249"/>
                  </a:cubicBezTo>
                  <a:cubicBezTo>
                    <a:pt x="11224" y="73656"/>
                    <a:pt x="8383" y="77934"/>
                    <a:pt x="8505" y="82279"/>
                  </a:cubicBezTo>
                  <a:cubicBezTo>
                    <a:pt x="8505" y="85086"/>
                    <a:pt x="29206" y="85822"/>
                    <a:pt x="32534" y="85321"/>
                  </a:cubicBezTo>
                  <a:cubicBezTo>
                    <a:pt x="37242" y="84652"/>
                    <a:pt x="40652" y="78903"/>
                    <a:pt x="43453" y="84551"/>
                  </a:cubicBezTo>
                  <a:cubicBezTo>
                    <a:pt x="46253" y="90200"/>
                    <a:pt x="39069" y="93910"/>
                    <a:pt x="32615" y="97219"/>
                  </a:cubicBezTo>
                  <a:cubicBezTo>
                    <a:pt x="46456" y="100227"/>
                    <a:pt x="34036" y="107614"/>
                    <a:pt x="40733" y="110355"/>
                  </a:cubicBezTo>
                  <a:cubicBezTo>
                    <a:pt x="50962" y="114666"/>
                    <a:pt x="58471" y="105074"/>
                    <a:pt x="67360" y="108149"/>
                  </a:cubicBezTo>
                  <a:cubicBezTo>
                    <a:pt x="93419" y="117206"/>
                    <a:pt x="84611" y="83449"/>
                    <a:pt x="91024" y="73388"/>
                  </a:cubicBezTo>
                  <a:cubicBezTo>
                    <a:pt x="95083" y="67104"/>
                    <a:pt x="106651" y="62793"/>
                    <a:pt x="114079" y="58214"/>
                  </a:cubicBezTo>
                  <a:cubicBezTo>
                    <a:pt x="125200" y="51529"/>
                    <a:pt x="135064" y="43407"/>
                    <a:pt x="140016" y="34283"/>
                  </a:cubicBezTo>
                  <a:cubicBezTo>
                    <a:pt x="143506" y="27899"/>
                    <a:pt x="143182" y="23086"/>
                    <a:pt x="144602" y="17002"/>
                  </a:cubicBezTo>
                  <a:cubicBezTo>
                    <a:pt x="146794" y="7677"/>
                    <a:pt x="148905" y="7677"/>
                    <a:pt x="133846" y="3633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506D8DC1-99D2-427D-86BE-B07AE6D325C5}"/>
                </a:ext>
              </a:extLst>
            </p:cNvPr>
            <p:cNvSpPr/>
            <p:nvPr/>
          </p:nvSpPr>
          <p:spPr>
            <a:xfrm>
              <a:off x="1116407" y="4003405"/>
              <a:ext cx="2982181" cy="1293533"/>
            </a:xfrm>
            <a:custGeom>
              <a:avLst/>
              <a:gdLst>
                <a:gd name="connsiteX0" fmla="*/ 886583 w 3060746"/>
                <a:gd name="connsiteY0" fmla="*/ 1692735 h 1771142"/>
                <a:gd name="connsiteX1" fmla="*/ 841934 w 3060746"/>
                <a:gd name="connsiteY1" fmla="*/ 1701793 h 1771142"/>
                <a:gd name="connsiteX2" fmla="*/ 799193 w 3060746"/>
                <a:gd name="connsiteY2" fmla="*/ 1703164 h 1771142"/>
                <a:gd name="connsiteX3" fmla="*/ 768264 w 3060746"/>
                <a:gd name="connsiteY3" fmla="*/ 1717870 h 1771142"/>
                <a:gd name="connsiteX4" fmla="*/ 731733 w 3060746"/>
                <a:gd name="connsiteY4" fmla="*/ 1730237 h 1771142"/>
                <a:gd name="connsiteX5" fmla="*/ 731733 w 3060746"/>
                <a:gd name="connsiteY5" fmla="*/ 1736921 h 1771142"/>
                <a:gd name="connsiteX6" fmla="*/ 751784 w 3060746"/>
                <a:gd name="connsiteY6" fmla="*/ 1736687 h 1771142"/>
                <a:gd name="connsiteX7" fmla="*/ 793714 w 3060746"/>
                <a:gd name="connsiteY7" fmla="*/ 1727663 h 1771142"/>
                <a:gd name="connsiteX8" fmla="*/ 814536 w 3060746"/>
                <a:gd name="connsiteY8" fmla="*/ 1722917 h 1771142"/>
                <a:gd name="connsiteX9" fmla="*/ 840027 w 3060746"/>
                <a:gd name="connsiteY9" fmla="*/ 1721246 h 1771142"/>
                <a:gd name="connsiteX10" fmla="*/ 855288 w 3060746"/>
                <a:gd name="connsiteY10" fmla="*/ 1720510 h 1771142"/>
                <a:gd name="connsiteX11" fmla="*/ 890804 w 3060746"/>
                <a:gd name="connsiteY11" fmla="*/ 1708678 h 1771142"/>
                <a:gd name="connsiteX12" fmla="*/ 904564 w 3060746"/>
                <a:gd name="connsiteY12" fmla="*/ 1700590 h 1771142"/>
                <a:gd name="connsiteX13" fmla="*/ 908867 w 3060746"/>
                <a:gd name="connsiteY13" fmla="*/ 1688825 h 1771142"/>
                <a:gd name="connsiteX14" fmla="*/ 886705 w 3060746"/>
                <a:gd name="connsiteY14" fmla="*/ 1692735 h 1771142"/>
                <a:gd name="connsiteX15" fmla="*/ 460309 w 3060746"/>
                <a:gd name="connsiteY15" fmla="*/ 1204250 h 1771142"/>
                <a:gd name="connsiteX16" fmla="*/ 507678 w 3060746"/>
                <a:gd name="connsiteY16" fmla="*/ 1205152 h 1771142"/>
                <a:gd name="connsiteX17" fmla="*/ 538201 w 3060746"/>
                <a:gd name="connsiteY17" fmla="*/ 1185399 h 1771142"/>
                <a:gd name="connsiteX18" fmla="*/ 558861 w 3060746"/>
                <a:gd name="connsiteY18" fmla="*/ 1168954 h 1771142"/>
                <a:gd name="connsiteX19" fmla="*/ 587274 w 3060746"/>
                <a:gd name="connsiteY19" fmla="*/ 1150037 h 1771142"/>
                <a:gd name="connsiteX20" fmla="*/ 585569 w 3060746"/>
                <a:gd name="connsiteY20" fmla="*/ 1130417 h 1771142"/>
                <a:gd name="connsiteX21" fmla="*/ 609923 w 3060746"/>
                <a:gd name="connsiteY21" fmla="*/ 1105583 h 1771142"/>
                <a:gd name="connsiteX22" fmla="*/ 610451 w 3060746"/>
                <a:gd name="connsiteY22" fmla="*/ 1092983 h 1771142"/>
                <a:gd name="connsiteX23" fmla="*/ 628432 w 3060746"/>
                <a:gd name="connsiteY23" fmla="*/ 1075936 h 1771142"/>
                <a:gd name="connsiteX24" fmla="*/ 687450 w 3060746"/>
                <a:gd name="connsiteY24" fmla="*/ 1028408 h 1771142"/>
                <a:gd name="connsiteX25" fmla="*/ 696177 w 3060746"/>
                <a:gd name="connsiteY25" fmla="*/ 1006616 h 1771142"/>
                <a:gd name="connsiteX26" fmla="*/ 594296 w 3060746"/>
                <a:gd name="connsiteY26" fmla="*/ 1039037 h 1771142"/>
                <a:gd name="connsiteX27" fmla="*/ 577005 w 3060746"/>
                <a:gd name="connsiteY27" fmla="*/ 1050535 h 1771142"/>
                <a:gd name="connsiteX28" fmla="*/ 566086 w 3060746"/>
                <a:gd name="connsiteY28" fmla="*/ 1051805 h 1771142"/>
                <a:gd name="connsiteX29" fmla="*/ 499194 w 3060746"/>
                <a:gd name="connsiteY29" fmla="*/ 1076739 h 1771142"/>
                <a:gd name="connsiteX30" fmla="*/ 405554 w 3060746"/>
                <a:gd name="connsiteY30" fmla="*/ 1136099 h 1771142"/>
                <a:gd name="connsiteX31" fmla="*/ 429908 w 3060746"/>
                <a:gd name="connsiteY31" fmla="*/ 1143419 h 1771142"/>
                <a:gd name="connsiteX32" fmla="*/ 420004 w 3060746"/>
                <a:gd name="connsiteY32" fmla="*/ 1175438 h 1771142"/>
                <a:gd name="connsiteX33" fmla="*/ 426782 w 3060746"/>
                <a:gd name="connsiteY33" fmla="*/ 1182457 h 1771142"/>
                <a:gd name="connsiteX34" fmla="*/ 412129 w 3060746"/>
                <a:gd name="connsiteY34" fmla="*/ 1213608 h 1771142"/>
                <a:gd name="connsiteX35" fmla="*/ 460391 w 3060746"/>
                <a:gd name="connsiteY35" fmla="*/ 1204250 h 1771142"/>
                <a:gd name="connsiteX36" fmla="*/ 460309 w 3060746"/>
                <a:gd name="connsiteY36" fmla="*/ 1204250 h 1771142"/>
                <a:gd name="connsiteX37" fmla="*/ 1200585 w 3060746"/>
                <a:gd name="connsiteY37" fmla="*/ 911125 h 1771142"/>
                <a:gd name="connsiteX38" fmla="*/ 1245924 w 3060746"/>
                <a:gd name="connsiteY38" fmla="*/ 890469 h 1771142"/>
                <a:gd name="connsiteX39" fmla="*/ 1169372 w 3060746"/>
                <a:gd name="connsiteY39" fmla="*/ 896385 h 1771142"/>
                <a:gd name="connsiteX40" fmla="*/ 1099761 w 3060746"/>
                <a:gd name="connsiteY40" fmla="*/ 902702 h 1771142"/>
                <a:gd name="connsiteX41" fmla="*/ 1094849 w 3060746"/>
                <a:gd name="connsiteY41" fmla="*/ 891071 h 1771142"/>
                <a:gd name="connsiteX42" fmla="*/ 1060226 w 3060746"/>
                <a:gd name="connsiteY42" fmla="*/ 883885 h 1771142"/>
                <a:gd name="connsiteX43" fmla="*/ 1052108 w 3060746"/>
                <a:gd name="connsiteY43" fmla="*/ 866137 h 1771142"/>
                <a:gd name="connsiteX44" fmla="*/ 1063433 w 3060746"/>
                <a:gd name="connsiteY44" fmla="*/ 842272 h 1771142"/>
                <a:gd name="connsiteX45" fmla="*/ 987530 w 3060746"/>
                <a:gd name="connsiteY45" fmla="*/ 870649 h 1771142"/>
                <a:gd name="connsiteX46" fmla="*/ 1031123 w 3060746"/>
                <a:gd name="connsiteY46" fmla="*/ 871685 h 1771142"/>
                <a:gd name="connsiteX47" fmla="*/ 1026334 w 3060746"/>
                <a:gd name="connsiteY47" fmla="*/ 875963 h 1771142"/>
                <a:gd name="connsiteX48" fmla="*/ 989072 w 3060746"/>
                <a:gd name="connsiteY48" fmla="*/ 883417 h 1771142"/>
                <a:gd name="connsiteX49" fmla="*/ 955342 w 3060746"/>
                <a:gd name="connsiteY49" fmla="*/ 910456 h 1771142"/>
                <a:gd name="connsiteX50" fmla="*/ 1002304 w 3060746"/>
                <a:gd name="connsiteY50" fmla="*/ 931814 h 1771142"/>
                <a:gd name="connsiteX51" fmla="*/ 977951 w 3060746"/>
                <a:gd name="connsiteY51" fmla="*/ 946253 h 1771142"/>
                <a:gd name="connsiteX52" fmla="*/ 957453 w 3060746"/>
                <a:gd name="connsiteY52" fmla="*/ 936593 h 1771142"/>
                <a:gd name="connsiteX53" fmla="*/ 885893 w 3060746"/>
                <a:gd name="connsiteY53" fmla="*/ 941206 h 1771142"/>
                <a:gd name="connsiteX54" fmla="*/ 905985 w 3060746"/>
                <a:gd name="connsiteY54" fmla="*/ 947189 h 1771142"/>
                <a:gd name="connsiteX55" fmla="*/ 887923 w 3060746"/>
                <a:gd name="connsiteY55" fmla="*/ 958987 h 1771142"/>
                <a:gd name="connsiteX56" fmla="*/ 859875 w 3060746"/>
                <a:gd name="connsiteY56" fmla="*/ 975331 h 1771142"/>
                <a:gd name="connsiteX57" fmla="*/ 842381 w 3060746"/>
                <a:gd name="connsiteY57" fmla="*/ 967109 h 1771142"/>
                <a:gd name="connsiteX58" fmla="*/ 792009 w 3060746"/>
                <a:gd name="connsiteY58" fmla="*/ 987765 h 1771142"/>
                <a:gd name="connsiteX59" fmla="*/ 767655 w 3060746"/>
                <a:gd name="connsiteY59" fmla="*/ 1018047 h 1771142"/>
                <a:gd name="connsiteX60" fmla="*/ 771349 w 3060746"/>
                <a:gd name="connsiteY60" fmla="*/ 998862 h 1771142"/>
                <a:gd name="connsiteX61" fmla="*/ 710464 w 3060746"/>
                <a:gd name="connsiteY61" fmla="*/ 1019517 h 1771142"/>
                <a:gd name="connsiteX62" fmla="*/ 635901 w 3060746"/>
                <a:gd name="connsiteY62" fmla="*/ 1083022 h 1771142"/>
                <a:gd name="connsiteX63" fmla="*/ 636672 w 3060746"/>
                <a:gd name="connsiteY63" fmla="*/ 1088170 h 1771142"/>
                <a:gd name="connsiteX64" fmla="*/ 629650 w 3060746"/>
                <a:gd name="connsiteY64" fmla="*/ 1113772 h 1771142"/>
                <a:gd name="connsiteX65" fmla="*/ 665409 w 3060746"/>
                <a:gd name="connsiteY65" fmla="*/ 1105917 h 1771142"/>
                <a:gd name="connsiteX66" fmla="*/ 680306 w 3060746"/>
                <a:gd name="connsiteY66" fmla="*/ 1105917 h 1771142"/>
                <a:gd name="connsiteX67" fmla="*/ 745250 w 3060746"/>
                <a:gd name="connsiteY67" fmla="*/ 1066678 h 1771142"/>
                <a:gd name="connsiteX68" fmla="*/ 718582 w 3060746"/>
                <a:gd name="connsiteY68" fmla="*/ 1088069 h 1771142"/>
                <a:gd name="connsiteX69" fmla="*/ 673933 w 3060746"/>
                <a:gd name="connsiteY69" fmla="*/ 1122495 h 1771142"/>
                <a:gd name="connsiteX70" fmla="*/ 838281 w 3060746"/>
                <a:gd name="connsiteY70" fmla="*/ 1053643 h 1771142"/>
                <a:gd name="connsiteX71" fmla="*/ 884107 w 3060746"/>
                <a:gd name="connsiteY71" fmla="*/ 1042680 h 1771142"/>
                <a:gd name="connsiteX72" fmla="*/ 792496 w 3060746"/>
                <a:gd name="connsiteY72" fmla="*/ 1089105 h 1771142"/>
                <a:gd name="connsiteX73" fmla="*/ 722235 w 3060746"/>
                <a:gd name="connsiteY73" fmla="*/ 1135397 h 1771142"/>
                <a:gd name="connsiteX74" fmla="*/ 775002 w 3060746"/>
                <a:gd name="connsiteY74" fmla="*/ 1129782 h 1771142"/>
                <a:gd name="connsiteX75" fmla="*/ 826916 w 3060746"/>
                <a:gd name="connsiteY75" fmla="*/ 1106920 h 1771142"/>
                <a:gd name="connsiteX76" fmla="*/ 852488 w 3060746"/>
                <a:gd name="connsiteY76" fmla="*/ 1100737 h 1771142"/>
                <a:gd name="connsiteX77" fmla="*/ 912763 w 3060746"/>
                <a:gd name="connsiteY77" fmla="*/ 1090008 h 1771142"/>
                <a:gd name="connsiteX78" fmla="*/ 987124 w 3060746"/>
                <a:gd name="connsiteY78" fmla="*/ 1047493 h 1771142"/>
                <a:gd name="connsiteX79" fmla="*/ 1041230 w 3060746"/>
                <a:gd name="connsiteY79" fmla="*/ 1015473 h 1771142"/>
                <a:gd name="connsiteX80" fmla="*/ 1080683 w 3060746"/>
                <a:gd name="connsiteY80" fmla="*/ 984055 h 1771142"/>
                <a:gd name="connsiteX81" fmla="*/ 1133978 w 3060746"/>
                <a:gd name="connsiteY81" fmla="*/ 972825 h 1771142"/>
                <a:gd name="connsiteX82" fmla="*/ 1233098 w 3060746"/>
                <a:gd name="connsiteY82" fmla="*/ 918411 h 1771142"/>
                <a:gd name="connsiteX83" fmla="*/ 1211098 w 3060746"/>
                <a:gd name="connsiteY83" fmla="*/ 918411 h 1771142"/>
                <a:gd name="connsiteX84" fmla="*/ 1190397 w 3060746"/>
                <a:gd name="connsiteY84" fmla="*/ 934087 h 1771142"/>
                <a:gd name="connsiteX85" fmla="*/ 1200870 w 3060746"/>
                <a:gd name="connsiteY85" fmla="*/ 911058 h 1771142"/>
                <a:gd name="connsiteX86" fmla="*/ 1200585 w 3060746"/>
                <a:gd name="connsiteY86" fmla="*/ 911225 h 1771142"/>
                <a:gd name="connsiteX87" fmla="*/ 545873 w 3060746"/>
                <a:gd name="connsiteY87" fmla="*/ 1010393 h 1771142"/>
                <a:gd name="connsiteX88" fmla="*/ 584392 w 3060746"/>
                <a:gd name="connsiteY88" fmla="*/ 969850 h 1771142"/>
                <a:gd name="connsiteX89" fmla="*/ 545873 w 3060746"/>
                <a:gd name="connsiteY89" fmla="*/ 1010393 h 1771142"/>
                <a:gd name="connsiteX90" fmla="*/ 414565 w 3060746"/>
                <a:gd name="connsiteY90" fmla="*/ 1055013 h 1771142"/>
                <a:gd name="connsiteX91" fmla="*/ 426174 w 3060746"/>
                <a:gd name="connsiteY91" fmla="*/ 1059659 h 1771142"/>
                <a:gd name="connsiteX92" fmla="*/ 442856 w 3060746"/>
                <a:gd name="connsiteY92" fmla="*/ 1048128 h 1771142"/>
                <a:gd name="connsiteX93" fmla="*/ 465180 w 3060746"/>
                <a:gd name="connsiteY93" fmla="*/ 1036697 h 1771142"/>
                <a:gd name="connsiteX94" fmla="*/ 473298 w 3060746"/>
                <a:gd name="connsiteY94" fmla="*/ 1022526 h 1771142"/>
                <a:gd name="connsiteX95" fmla="*/ 494973 w 3060746"/>
                <a:gd name="connsiteY95" fmla="*/ 1025099 h 1771142"/>
                <a:gd name="connsiteX96" fmla="*/ 513766 w 3060746"/>
                <a:gd name="connsiteY96" fmla="*/ 1004677 h 1771142"/>
                <a:gd name="connsiteX97" fmla="*/ 539784 w 3060746"/>
                <a:gd name="connsiteY97" fmla="*/ 985960 h 1771142"/>
                <a:gd name="connsiteX98" fmla="*/ 548186 w 3060746"/>
                <a:gd name="connsiteY98" fmla="*/ 956313 h 1771142"/>
                <a:gd name="connsiteX99" fmla="*/ 574813 w 3060746"/>
                <a:gd name="connsiteY99" fmla="*/ 964168 h 1771142"/>
                <a:gd name="connsiteX100" fmla="*/ 598924 w 3060746"/>
                <a:gd name="connsiteY100" fmla="*/ 941005 h 1771142"/>
                <a:gd name="connsiteX101" fmla="*/ 615159 w 3060746"/>
                <a:gd name="connsiteY101" fmla="*/ 920116 h 1771142"/>
                <a:gd name="connsiteX102" fmla="*/ 606311 w 3060746"/>
                <a:gd name="connsiteY102" fmla="*/ 911994 h 1771142"/>
                <a:gd name="connsiteX103" fmla="*/ 623156 w 3060746"/>
                <a:gd name="connsiteY103" fmla="*/ 897555 h 1771142"/>
                <a:gd name="connsiteX104" fmla="*/ 584514 w 3060746"/>
                <a:gd name="connsiteY104" fmla="*/ 905677 h 1771142"/>
                <a:gd name="connsiteX105" fmla="*/ 568481 w 3060746"/>
                <a:gd name="connsiteY105" fmla="*/ 926901 h 1771142"/>
                <a:gd name="connsiteX106" fmla="*/ 515715 w 3060746"/>
                <a:gd name="connsiteY106" fmla="*/ 950631 h 1771142"/>
                <a:gd name="connsiteX107" fmla="*/ 473298 w 3060746"/>
                <a:gd name="connsiteY107" fmla="*/ 996121 h 1771142"/>
                <a:gd name="connsiteX108" fmla="*/ 460634 w 3060746"/>
                <a:gd name="connsiteY108" fmla="*/ 1014069 h 1771142"/>
                <a:gd name="connsiteX109" fmla="*/ 435590 w 3060746"/>
                <a:gd name="connsiteY109" fmla="*/ 1029945 h 1771142"/>
                <a:gd name="connsiteX110" fmla="*/ 414240 w 3060746"/>
                <a:gd name="connsiteY110" fmla="*/ 1055013 h 1771142"/>
                <a:gd name="connsiteX111" fmla="*/ 633750 w 3060746"/>
                <a:gd name="connsiteY111" fmla="*/ 935691 h 1771142"/>
                <a:gd name="connsiteX112" fmla="*/ 631071 w 3060746"/>
                <a:gd name="connsiteY112" fmla="*/ 948425 h 1771142"/>
                <a:gd name="connsiteX113" fmla="*/ 665978 w 3060746"/>
                <a:gd name="connsiteY113" fmla="*/ 935056 h 1771142"/>
                <a:gd name="connsiteX114" fmla="*/ 614672 w 3060746"/>
                <a:gd name="connsiteY114" fmla="*/ 971822 h 1771142"/>
                <a:gd name="connsiteX115" fmla="*/ 664314 w 3060746"/>
                <a:gd name="connsiteY115" fmla="*/ 948425 h 1771142"/>
                <a:gd name="connsiteX116" fmla="*/ 610370 w 3060746"/>
                <a:gd name="connsiteY116" fmla="*/ 985994 h 1771142"/>
                <a:gd name="connsiteX117" fmla="*/ 626403 w 3060746"/>
                <a:gd name="connsiteY117" fmla="*/ 984423 h 1771142"/>
                <a:gd name="connsiteX118" fmla="*/ 683228 w 3060746"/>
                <a:gd name="connsiteY118" fmla="*/ 963399 h 1771142"/>
                <a:gd name="connsiteX119" fmla="*/ 708354 w 3060746"/>
                <a:gd name="connsiteY119" fmla="*/ 934555 h 1771142"/>
                <a:gd name="connsiteX120" fmla="*/ 720165 w 3060746"/>
                <a:gd name="connsiteY120" fmla="*/ 935089 h 1771142"/>
                <a:gd name="connsiteX121" fmla="*/ 794729 w 3060746"/>
                <a:gd name="connsiteY121" fmla="*/ 898825 h 1771142"/>
                <a:gd name="connsiteX122" fmla="*/ 787666 w 3060746"/>
                <a:gd name="connsiteY122" fmla="*/ 910323 h 1771142"/>
                <a:gd name="connsiteX123" fmla="*/ 743910 w 3060746"/>
                <a:gd name="connsiteY123" fmla="*/ 939000 h 1771142"/>
                <a:gd name="connsiteX124" fmla="*/ 757914 w 3060746"/>
                <a:gd name="connsiteY124" fmla="*/ 951133 h 1771142"/>
                <a:gd name="connsiteX125" fmla="*/ 833167 w 3060746"/>
                <a:gd name="connsiteY125" fmla="*/ 902368 h 1771142"/>
                <a:gd name="connsiteX126" fmla="*/ 855451 w 3060746"/>
                <a:gd name="connsiteY126" fmla="*/ 881378 h 1771142"/>
                <a:gd name="connsiteX127" fmla="*/ 895675 w 3060746"/>
                <a:gd name="connsiteY127" fmla="*/ 862259 h 1771142"/>
                <a:gd name="connsiteX128" fmla="*/ 936265 w 3060746"/>
                <a:gd name="connsiteY128" fmla="*/ 839164 h 1771142"/>
                <a:gd name="connsiteX129" fmla="*/ 981441 w 3060746"/>
                <a:gd name="connsiteY129" fmla="*/ 815366 h 1771142"/>
                <a:gd name="connsiteX130" fmla="*/ 964191 w 3060746"/>
                <a:gd name="connsiteY130" fmla="*/ 786187 h 1771142"/>
                <a:gd name="connsiteX131" fmla="*/ 937117 w 3060746"/>
                <a:gd name="connsiteY131" fmla="*/ 805172 h 1771142"/>
                <a:gd name="connsiteX132" fmla="*/ 898719 w 3060746"/>
                <a:gd name="connsiteY132" fmla="*/ 813361 h 1771142"/>
                <a:gd name="connsiteX133" fmla="*/ 867668 w 3060746"/>
                <a:gd name="connsiteY133" fmla="*/ 806509 h 1771142"/>
                <a:gd name="connsiteX134" fmla="*/ 836577 w 3060746"/>
                <a:gd name="connsiteY134" fmla="*/ 817739 h 1771142"/>
                <a:gd name="connsiteX135" fmla="*/ 817215 w 3060746"/>
                <a:gd name="connsiteY135" fmla="*/ 839966 h 1771142"/>
                <a:gd name="connsiteX136" fmla="*/ 840676 w 3060746"/>
                <a:gd name="connsiteY136" fmla="*/ 836624 h 1771142"/>
                <a:gd name="connsiteX137" fmla="*/ 836617 w 3060746"/>
                <a:gd name="connsiteY137" fmla="*/ 849391 h 1771142"/>
                <a:gd name="connsiteX138" fmla="*/ 854720 w 3060746"/>
                <a:gd name="connsiteY138" fmla="*/ 848890 h 1771142"/>
                <a:gd name="connsiteX139" fmla="*/ 843111 w 3060746"/>
                <a:gd name="connsiteY139" fmla="*/ 863229 h 1771142"/>
                <a:gd name="connsiteX140" fmla="*/ 784094 w 3060746"/>
                <a:gd name="connsiteY140" fmla="*/ 877801 h 1771142"/>
                <a:gd name="connsiteX141" fmla="*/ 739445 w 3060746"/>
                <a:gd name="connsiteY141" fmla="*/ 885723 h 1771142"/>
                <a:gd name="connsiteX142" fmla="*/ 712088 w 3060746"/>
                <a:gd name="connsiteY142" fmla="*/ 895382 h 1771142"/>
                <a:gd name="connsiteX143" fmla="*/ 691793 w 3060746"/>
                <a:gd name="connsiteY143" fmla="*/ 905978 h 1771142"/>
                <a:gd name="connsiteX144" fmla="*/ 661635 w 3060746"/>
                <a:gd name="connsiteY144" fmla="*/ 909320 h 1771142"/>
                <a:gd name="connsiteX145" fmla="*/ 633871 w 3060746"/>
                <a:gd name="connsiteY145" fmla="*/ 935691 h 1771142"/>
                <a:gd name="connsiteX146" fmla="*/ 674339 w 3060746"/>
                <a:gd name="connsiteY146" fmla="*/ 851631 h 1771142"/>
                <a:gd name="connsiteX147" fmla="*/ 628026 w 3060746"/>
                <a:gd name="connsiteY147" fmla="*/ 869379 h 1771142"/>
                <a:gd name="connsiteX148" fmla="*/ 674542 w 3060746"/>
                <a:gd name="connsiteY148" fmla="*/ 851664 h 1771142"/>
                <a:gd name="connsiteX149" fmla="*/ 793105 w 3060746"/>
                <a:gd name="connsiteY149" fmla="*/ 789797 h 1771142"/>
                <a:gd name="connsiteX150" fmla="*/ 791968 w 3060746"/>
                <a:gd name="connsiteY150" fmla="*/ 783112 h 1771142"/>
                <a:gd name="connsiteX151" fmla="*/ 748781 w 3060746"/>
                <a:gd name="connsiteY151" fmla="*/ 804704 h 1771142"/>
                <a:gd name="connsiteX152" fmla="*/ 693863 w 3060746"/>
                <a:gd name="connsiteY152" fmla="*/ 845882 h 1771142"/>
                <a:gd name="connsiteX153" fmla="*/ 762581 w 3060746"/>
                <a:gd name="connsiteY153" fmla="*/ 829170 h 1771142"/>
                <a:gd name="connsiteX154" fmla="*/ 789208 w 3060746"/>
                <a:gd name="connsiteY154" fmla="*/ 804470 h 1771142"/>
                <a:gd name="connsiteX155" fmla="*/ 775286 w 3060746"/>
                <a:gd name="connsiteY155" fmla="*/ 804470 h 1771142"/>
                <a:gd name="connsiteX156" fmla="*/ 793105 w 3060746"/>
                <a:gd name="connsiteY156" fmla="*/ 789730 h 1771142"/>
                <a:gd name="connsiteX157" fmla="*/ 793105 w 3060746"/>
                <a:gd name="connsiteY157" fmla="*/ 789797 h 1771142"/>
                <a:gd name="connsiteX158" fmla="*/ 712737 w 3060746"/>
                <a:gd name="connsiteY158" fmla="*/ 811857 h 1771142"/>
                <a:gd name="connsiteX159" fmla="*/ 754382 w 3060746"/>
                <a:gd name="connsiteY159" fmla="*/ 790299 h 1771142"/>
                <a:gd name="connsiteX160" fmla="*/ 793308 w 3060746"/>
                <a:gd name="connsiteY160" fmla="*/ 775124 h 1771142"/>
                <a:gd name="connsiteX161" fmla="*/ 799275 w 3060746"/>
                <a:gd name="connsiteY161" fmla="*/ 758646 h 1771142"/>
                <a:gd name="connsiteX162" fmla="*/ 754626 w 3060746"/>
                <a:gd name="connsiteY162" fmla="*/ 771448 h 1771142"/>
                <a:gd name="connsiteX163" fmla="*/ 691509 w 3060746"/>
                <a:gd name="connsiteY163" fmla="*/ 810553 h 1771142"/>
                <a:gd name="connsiteX164" fmla="*/ 667520 w 3060746"/>
                <a:gd name="connsiteY164" fmla="*/ 828435 h 1771142"/>
                <a:gd name="connsiteX165" fmla="*/ 712818 w 3060746"/>
                <a:gd name="connsiteY165" fmla="*/ 811723 h 1771142"/>
                <a:gd name="connsiteX166" fmla="*/ 712737 w 3060746"/>
                <a:gd name="connsiteY166" fmla="*/ 811756 h 1771142"/>
                <a:gd name="connsiteX167" fmla="*/ 944545 w 3060746"/>
                <a:gd name="connsiteY167" fmla="*/ 676157 h 1771142"/>
                <a:gd name="connsiteX168" fmla="*/ 983024 w 3060746"/>
                <a:gd name="connsiteY168" fmla="*/ 674185 h 1771142"/>
                <a:gd name="connsiteX169" fmla="*/ 956600 w 3060746"/>
                <a:gd name="connsiteY169" fmla="*/ 694640 h 1771142"/>
                <a:gd name="connsiteX170" fmla="*/ 1010422 w 3060746"/>
                <a:gd name="connsiteY170" fmla="*/ 668369 h 1771142"/>
                <a:gd name="connsiteX171" fmla="*/ 1084945 w 3060746"/>
                <a:gd name="connsiteY171" fmla="*/ 647513 h 1771142"/>
                <a:gd name="connsiteX172" fmla="*/ 1144977 w 3060746"/>
                <a:gd name="connsiteY172" fmla="*/ 629397 h 1771142"/>
                <a:gd name="connsiteX173" fmla="*/ 1134221 w 3060746"/>
                <a:gd name="connsiteY173" fmla="*/ 616596 h 1771142"/>
                <a:gd name="connsiteX174" fmla="*/ 1118554 w 3060746"/>
                <a:gd name="connsiteY174" fmla="*/ 608608 h 1771142"/>
                <a:gd name="connsiteX175" fmla="*/ 1067816 w 3060746"/>
                <a:gd name="connsiteY175" fmla="*/ 621977 h 1771142"/>
                <a:gd name="connsiteX176" fmla="*/ 1035710 w 3060746"/>
                <a:gd name="connsiteY176" fmla="*/ 624417 h 1771142"/>
                <a:gd name="connsiteX177" fmla="*/ 1018378 w 3060746"/>
                <a:gd name="connsiteY177" fmla="*/ 636483 h 1771142"/>
                <a:gd name="connsiteX178" fmla="*/ 1008718 w 3060746"/>
                <a:gd name="connsiteY178" fmla="*/ 631536 h 1771142"/>
                <a:gd name="connsiteX179" fmla="*/ 922992 w 3060746"/>
                <a:gd name="connsiteY179" fmla="*/ 663590 h 1771142"/>
                <a:gd name="connsiteX180" fmla="*/ 944545 w 3060746"/>
                <a:gd name="connsiteY180" fmla="*/ 676123 h 1771142"/>
                <a:gd name="connsiteX181" fmla="*/ 944545 w 3060746"/>
                <a:gd name="connsiteY181" fmla="*/ 676157 h 1771142"/>
                <a:gd name="connsiteX182" fmla="*/ 991873 w 3060746"/>
                <a:gd name="connsiteY182" fmla="*/ 727261 h 1771142"/>
                <a:gd name="connsiteX183" fmla="*/ 929852 w 3060746"/>
                <a:gd name="connsiteY183" fmla="*/ 732074 h 1771142"/>
                <a:gd name="connsiteX184" fmla="*/ 991873 w 3060746"/>
                <a:gd name="connsiteY184" fmla="*/ 727195 h 1771142"/>
                <a:gd name="connsiteX185" fmla="*/ 1129432 w 3060746"/>
                <a:gd name="connsiteY185" fmla="*/ 555097 h 1771142"/>
                <a:gd name="connsiteX186" fmla="*/ 1079547 w 3060746"/>
                <a:gd name="connsiteY186" fmla="*/ 566996 h 1771142"/>
                <a:gd name="connsiteX187" fmla="*/ 1129432 w 3060746"/>
                <a:gd name="connsiteY187" fmla="*/ 555030 h 1771142"/>
                <a:gd name="connsiteX188" fmla="*/ 1058805 w 3060746"/>
                <a:gd name="connsiteY188" fmla="*/ 779770 h 1771142"/>
                <a:gd name="connsiteX189" fmla="*/ 1023330 w 3060746"/>
                <a:gd name="connsiteY189" fmla="*/ 786187 h 1771142"/>
                <a:gd name="connsiteX190" fmla="*/ 1058805 w 3060746"/>
                <a:gd name="connsiteY190" fmla="*/ 779770 h 1771142"/>
                <a:gd name="connsiteX191" fmla="*/ 1195187 w 3060746"/>
                <a:gd name="connsiteY191" fmla="*/ 660615 h 1771142"/>
                <a:gd name="connsiteX192" fmla="*/ 1125251 w 3060746"/>
                <a:gd name="connsiteY192" fmla="*/ 692367 h 1771142"/>
                <a:gd name="connsiteX193" fmla="*/ 1152121 w 3060746"/>
                <a:gd name="connsiteY193" fmla="*/ 698484 h 1771142"/>
                <a:gd name="connsiteX194" fmla="*/ 1088720 w 3060746"/>
                <a:gd name="connsiteY194" fmla="*/ 712722 h 1771142"/>
                <a:gd name="connsiteX195" fmla="*/ 1111410 w 3060746"/>
                <a:gd name="connsiteY195" fmla="*/ 723384 h 1771142"/>
                <a:gd name="connsiteX196" fmla="*/ 1063636 w 3060746"/>
                <a:gd name="connsiteY196" fmla="*/ 728431 h 1771142"/>
                <a:gd name="connsiteX197" fmla="*/ 1003319 w 3060746"/>
                <a:gd name="connsiteY197" fmla="*/ 739695 h 1771142"/>
                <a:gd name="connsiteX198" fmla="*/ 1030190 w 3060746"/>
                <a:gd name="connsiteY198" fmla="*/ 754201 h 1771142"/>
                <a:gd name="connsiteX199" fmla="*/ 1101749 w 3060746"/>
                <a:gd name="connsiteY199" fmla="*/ 742703 h 1771142"/>
                <a:gd name="connsiteX200" fmla="*/ 1165394 w 3060746"/>
                <a:gd name="connsiteY200" fmla="*/ 711686 h 1771142"/>
                <a:gd name="connsiteX201" fmla="*/ 1165394 w 3060746"/>
                <a:gd name="connsiteY201" fmla="*/ 730637 h 1771142"/>
                <a:gd name="connsiteX202" fmla="*/ 1223153 w 3060746"/>
                <a:gd name="connsiteY202" fmla="*/ 713758 h 1771142"/>
                <a:gd name="connsiteX203" fmla="*/ 1252013 w 3060746"/>
                <a:gd name="connsiteY203" fmla="*/ 698584 h 1771142"/>
                <a:gd name="connsiteX204" fmla="*/ 1257371 w 3060746"/>
                <a:gd name="connsiteY204" fmla="*/ 685215 h 1771142"/>
                <a:gd name="connsiteX205" fmla="*/ 1248725 w 3060746"/>
                <a:gd name="connsiteY205" fmla="*/ 673984 h 1771142"/>
                <a:gd name="connsiteX206" fmla="*/ 1247101 w 3060746"/>
                <a:gd name="connsiteY206" fmla="*/ 661918 h 1771142"/>
                <a:gd name="connsiteX207" fmla="*/ 1227821 w 3060746"/>
                <a:gd name="connsiteY207" fmla="*/ 655234 h 1771142"/>
                <a:gd name="connsiteX208" fmla="*/ 1195350 w 3060746"/>
                <a:gd name="connsiteY208" fmla="*/ 660481 h 1771142"/>
                <a:gd name="connsiteX209" fmla="*/ 1233341 w 3060746"/>
                <a:gd name="connsiteY209" fmla="*/ 594670 h 1771142"/>
                <a:gd name="connsiteX210" fmla="*/ 1294754 w 3060746"/>
                <a:gd name="connsiteY210" fmla="*/ 562283 h 1771142"/>
                <a:gd name="connsiteX211" fmla="*/ 1286636 w 3060746"/>
                <a:gd name="connsiteY211" fmla="*/ 552523 h 1771142"/>
                <a:gd name="connsiteX212" fmla="*/ 1241013 w 3060746"/>
                <a:gd name="connsiteY212" fmla="*/ 563285 h 1771142"/>
                <a:gd name="connsiteX213" fmla="*/ 1169494 w 3060746"/>
                <a:gd name="connsiteY213" fmla="*/ 582203 h 1771142"/>
                <a:gd name="connsiteX214" fmla="*/ 1233341 w 3060746"/>
                <a:gd name="connsiteY214" fmla="*/ 594670 h 1771142"/>
                <a:gd name="connsiteX215" fmla="*/ 1357140 w 3060746"/>
                <a:gd name="connsiteY215" fmla="*/ 548579 h 1771142"/>
                <a:gd name="connsiteX216" fmla="*/ 1262810 w 3060746"/>
                <a:gd name="connsiteY216" fmla="*/ 596876 h 1771142"/>
                <a:gd name="connsiteX217" fmla="*/ 1357181 w 3060746"/>
                <a:gd name="connsiteY217" fmla="*/ 548579 h 1771142"/>
                <a:gd name="connsiteX218" fmla="*/ 1399232 w 3060746"/>
                <a:gd name="connsiteY218" fmla="*/ 654532 h 1771142"/>
                <a:gd name="connsiteX219" fmla="*/ 1367572 w 3060746"/>
                <a:gd name="connsiteY219" fmla="*/ 635246 h 1771142"/>
                <a:gd name="connsiteX220" fmla="*/ 1302101 w 3060746"/>
                <a:gd name="connsiteY220" fmla="*/ 668068 h 1771142"/>
                <a:gd name="connsiteX221" fmla="*/ 1311923 w 3060746"/>
                <a:gd name="connsiteY221" fmla="*/ 681204 h 1771142"/>
                <a:gd name="connsiteX222" fmla="*/ 1399232 w 3060746"/>
                <a:gd name="connsiteY222" fmla="*/ 654465 h 1771142"/>
                <a:gd name="connsiteX223" fmla="*/ 1269345 w 3060746"/>
                <a:gd name="connsiteY223" fmla="*/ 826663 h 1771142"/>
                <a:gd name="connsiteX224" fmla="*/ 1305875 w 3060746"/>
                <a:gd name="connsiteY224" fmla="*/ 803969 h 1771142"/>
                <a:gd name="connsiteX225" fmla="*/ 1336967 w 3060746"/>
                <a:gd name="connsiteY225" fmla="*/ 786555 h 1771142"/>
                <a:gd name="connsiteX226" fmla="*/ 1347033 w 3060746"/>
                <a:gd name="connsiteY226" fmla="*/ 766501 h 1771142"/>
                <a:gd name="connsiteX227" fmla="*/ 1337373 w 3060746"/>
                <a:gd name="connsiteY227" fmla="*/ 734648 h 1771142"/>
                <a:gd name="connsiteX228" fmla="*/ 1328078 w 3060746"/>
                <a:gd name="connsiteY228" fmla="*/ 756039 h 1771142"/>
                <a:gd name="connsiteX229" fmla="*/ 1313790 w 3060746"/>
                <a:gd name="connsiteY229" fmla="*/ 752329 h 1771142"/>
                <a:gd name="connsiteX230" fmla="*/ 1292115 w 3060746"/>
                <a:gd name="connsiteY230" fmla="*/ 760451 h 1771142"/>
                <a:gd name="connsiteX231" fmla="*/ 1280344 w 3060746"/>
                <a:gd name="connsiteY231" fmla="*/ 753766 h 1771142"/>
                <a:gd name="connsiteX232" fmla="*/ 1308514 w 3060746"/>
                <a:gd name="connsiteY232" fmla="*/ 727027 h 1771142"/>
                <a:gd name="connsiteX233" fmla="*/ 1276651 w 3060746"/>
                <a:gd name="connsiteY233" fmla="*/ 728498 h 1771142"/>
                <a:gd name="connsiteX234" fmla="*/ 1265529 w 3060746"/>
                <a:gd name="connsiteY234" fmla="*/ 726225 h 1771142"/>
                <a:gd name="connsiteX235" fmla="*/ 1235330 w 3060746"/>
                <a:gd name="connsiteY235" fmla="*/ 743238 h 1771142"/>
                <a:gd name="connsiteX236" fmla="*/ 1248035 w 3060746"/>
                <a:gd name="connsiteY236" fmla="*/ 747383 h 1771142"/>
                <a:gd name="connsiteX237" fmla="*/ 1197460 w 3060746"/>
                <a:gd name="connsiteY237" fmla="*/ 765398 h 1771142"/>
                <a:gd name="connsiteX238" fmla="*/ 1187597 w 3060746"/>
                <a:gd name="connsiteY238" fmla="*/ 790365 h 1771142"/>
                <a:gd name="connsiteX239" fmla="*/ 1217593 w 3060746"/>
                <a:gd name="connsiteY239" fmla="*/ 780773 h 1771142"/>
                <a:gd name="connsiteX240" fmla="*/ 1194051 w 3060746"/>
                <a:gd name="connsiteY240" fmla="*/ 810085 h 1771142"/>
                <a:gd name="connsiteX241" fmla="*/ 1153055 w 3060746"/>
                <a:gd name="connsiteY241" fmla="*/ 816202 h 1771142"/>
                <a:gd name="connsiteX242" fmla="*/ 1148428 w 3060746"/>
                <a:gd name="connsiteY242" fmla="*/ 835019 h 1771142"/>
                <a:gd name="connsiteX243" fmla="*/ 1212072 w 3060746"/>
                <a:gd name="connsiteY243" fmla="*/ 824992 h 1771142"/>
                <a:gd name="connsiteX244" fmla="*/ 1269263 w 3060746"/>
                <a:gd name="connsiteY244" fmla="*/ 826697 h 1771142"/>
                <a:gd name="connsiteX245" fmla="*/ 1269507 w 3060746"/>
                <a:gd name="connsiteY245" fmla="*/ 826563 h 1771142"/>
                <a:gd name="connsiteX246" fmla="*/ 1443150 w 3060746"/>
                <a:gd name="connsiteY246" fmla="*/ 620273 h 1771142"/>
                <a:gd name="connsiteX247" fmla="*/ 1471319 w 3060746"/>
                <a:gd name="connsiteY247" fmla="*/ 618635 h 1771142"/>
                <a:gd name="connsiteX248" fmla="*/ 1514831 w 3060746"/>
                <a:gd name="connsiteY248" fmla="*/ 610613 h 1771142"/>
                <a:gd name="connsiteX249" fmla="*/ 1554406 w 3060746"/>
                <a:gd name="connsiteY249" fmla="*/ 586481 h 1771142"/>
                <a:gd name="connsiteX250" fmla="*/ 1576203 w 3060746"/>
                <a:gd name="connsiteY250" fmla="*/ 584008 h 1771142"/>
                <a:gd name="connsiteX251" fmla="*/ 1651984 w 3060746"/>
                <a:gd name="connsiteY251" fmla="*/ 561982 h 1771142"/>
                <a:gd name="connsiteX252" fmla="*/ 1737223 w 3060746"/>
                <a:gd name="connsiteY252" fmla="*/ 524481 h 1771142"/>
                <a:gd name="connsiteX253" fmla="*/ 1767097 w 3060746"/>
                <a:gd name="connsiteY253" fmla="*/ 513718 h 1771142"/>
                <a:gd name="connsiteX254" fmla="*/ 1857003 w 3060746"/>
                <a:gd name="connsiteY254" fmla="*/ 480863 h 1771142"/>
                <a:gd name="connsiteX255" fmla="*/ 1858464 w 3060746"/>
                <a:gd name="connsiteY255" fmla="*/ 451383 h 1771142"/>
                <a:gd name="connsiteX256" fmla="*/ 1793886 w 3060746"/>
                <a:gd name="connsiteY256" fmla="*/ 466758 h 1771142"/>
                <a:gd name="connsiteX257" fmla="*/ 1714817 w 3060746"/>
                <a:gd name="connsiteY257" fmla="*/ 492661 h 1771142"/>
                <a:gd name="connsiteX258" fmla="*/ 1655800 w 3060746"/>
                <a:gd name="connsiteY258" fmla="*/ 520804 h 1771142"/>
                <a:gd name="connsiteX259" fmla="*/ 1569019 w 3060746"/>
                <a:gd name="connsiteY259" fmla="*/ 553893 h 1771142"/>
                <a:gd name="connsiteX260" fmla="*/ 1547709 w 3060746"/>
                <a:gd name="connsiteY260" fmla="*/ 557236 h 1771142"/>
                <a:gd name="connsiteX261" fmla="*/ 1499326 w 3060746"/>
                <a:gd name="connsiteY261" fmla="*/ 568633 h 1771142"/>
                <a:gd name="connsiteX262" fmla="*/ 1515034 w 3060746"/>
                <a:gd name="connsiteY262" fmla="*/ 544401 h 1771142"/>
                <a:gd name="connsiteX263" fmla="*/ 1435803 w 3060746"/>
                <a:gd name="connsiteY263" fmla="*/ 561514 h 1771142"/>
                <a:gd name="connsiteX264" fmla="*/ 1390465 w 3060746"/>
                <a:gd name="connsiteY264" fmla="*/ 579262 h 1771142"/>
                <a:gd name="connsiteX265" fmla="*/ 1336155 w 3060746"/>
                <a:gd name="connsiteY265" fmla="*/ 588687 h 1771142"/>
                <a:gd name="connsiteX266" fmla="*/ 1259928 w 3060746"/>
                <a:gd name="connsiteY266" fmla="*/ 620273 h 1771142"/>
                <a:gd name="connsiteX267" fmla="*/ 1364041 w 3060746"/>
                <a:gd name="connsiteY267" fmla="*/ 605098 h 1771142"/>
                <a:gd name="connsiteX268" fmla="*/ 1379708 w 3060746"/>
                <a:gd name="connsiteY268" fmla="*/ 594503 h 1771142"/>
                <a:gd name="connsiteX269" fmla="*/ 1415955 w 3060746"/>
                <a:gd name="connsiteY269" fmla="*/ 595205 h 1771142"/>
                <a:gd name="connsiteX270" fmla="*/ 1435722 w 3060746"/>
                <a:gd name="connsiteY270" fmla="*/ 603227 h 1771142"/>
                <a:gd name="connsiteX271" fmla="*/ 1443312 w 3060746"/>
                <a:gd name="connsiteY271" fmla="*/ 620139 h 1771142"/>
                <a:gd name="connsiteX272" fmla="*/ 1473430 w 3060746"/>
                <a:gd name="connsiteY272" fmla="*/ 509774 h 1771142"/>
                <a:gd name="connsiteX273" fmla="*/ 1446843 w 3060746"/>
                <a:gd name="connsiteY273" fmla="*/ 534240 h 1771142"/>
                <a:gd name="connsiteX274" fmla="*/ 1473592 w 3060746"/>
                <a:gd name="connsiteY274" fmla="*/ 509774 h 1771142"/>
                <a:gd name="connsiteX275" fmla="*/ 1210530 w 3060746"/>
                <a:gd name="connsiteY275" fmla="*/ 520236 h 1771142"/>
                <a:gd name="connsiteX276" fmla="*/ 1244098 w 3060746"/>
                <a:gd name="connsiteY276" fmla="*/ 524113 h 1771142"/>
                <a:gd name="connsiteX277" fmla="*/ 1282739 w 3060746"/>
                <a:gd name="connsiteY277" fmla="*/ 512381 h 1771142"/>
                <a:gd name="connsiteX278" fmla="*/ 1354705 w 3060746"/>
                <a:gd name="connsiteY278" fmla="*/ 484005 h 1771142"/>
                <a:gd name="connsiteX279" fmla="*/ 1330351 w 3060746"/>
                <a:gd name="connsiteY279" fmla="*/ 518230 h 1771142"/>
                <a:gd name="connsiteX280" fmla="*/ 1359616 w 3060746"/>
                <a:gd name="connsiteY280" fmla="*/ 516827 h 1771142"/>
                <a:gd name="connsiteX281" fmla="*/ 1369966 w 3060746"/>
                <a:gd name="connsiteY281" fmla="*/ 518832 h 1771142"/>
                <a:gd name="connsiteX282" fmla="*/ 1439578 w 3060746"/>
                <a:gd name="connsiteY282" fmla="*/ 501118 h 1771142"/>
                <a:gd name="connsiteX283" fmla="*/ 1463607 w 3060746"/>
                <a:gd name="connsiteY283" fmla="*/ 485709 h 1771142"/>
                <a:gd name="connsiteX284" fmla="*/ 1504197 w 3060746"/>
                <a:gd name="connsiteY284" fmla="*/ 472607 h 1771142"/>
                <a:gd name="connsiteX285" fmla="*/ 1510610 w 3060746"/>
                <a:gd name="connsiteY285" fmla="*/ 455595 h 1771142"/>
                <a:gd name="connsiteX286" fmla="*/ 1527414 w 3060746"/>
                <a:gd name="connsiteY286" fmla="*/ 445033 h 1771142"/>
                <a:gd name="connsiteX287" fmla="*/ 1541905 w 3060746"/>
                <a:gd name="connsiteY287" fmla="*/ 425246 h 1771142"/>
                <a:gd name="connsiteX288" fmla="*/ 1585985 w 3060746"/>
                <a:gd name="connsiteY288" fmla="*/ 401448 h 1771142"/>
                <a:gd name="connsiteX289" fmla="*/ 1599096 w 3060746"/>
                <a:gd name="connsiteY289" fmla="*/ 388079 h 1771142"/>
                <a:gd name="connsiteX290" fmla="*/ 1553919 w 3060746"/>
                <a:gd name="connsiteY290" fmla="*/ 399878 h 1771142"/>
                <a:gd name="connsiteX291" fmla="*/ 1522381 w 3060746"/>
                <a:gd name="connsiteY291" fmla="*/ 401849 h 1771142"/>
                <a:gd name="connsiteX292" fmla="*/ 1513411 w 3060746"/>
                <a:gd name="connsiteY292" fmla="*/ 393527 h 1771142"/>
                <a:gd name="connsiteX293" fmla="*/ 1500868 w 3060746"/>
                <a:gd name="connsiteY293" fmla="*/ 389449 h 1771142"/>
                <a:gd name="connsiteX294" fmla="*/ 1484389 w 3060746"/>
                <a:gd name="connsiteY294" fmla="*/ 387277 h 1771142"/>
                <a:gd name="connsiteX295" fmla="*/ 1476271 w 3060746"/>
                <a:gd name="connsiteY295" fmla="*/ 398039 h 1771142"/>
                <a:gd name="connsiteX296" fmla="*/ 1447858 w 3060746"/>
                <a:gd name="connsiteY296" fmla="*/ 403688 h 1771142"/>
                <a:gd name="connsiteX297" fmla="*/ 1425250 w 3060746"/>
                <a:gd name="connsiteY297" fmla="*/ 400914 h 1771142"/>
                <a:gd name="connsiteX298" fmla="*/ 1375771 w 3060746"/>
                <a:gd name="connsiteY298" fmla="*/ 410038 h 1771142"/>
                <a:gd name="connsiteX299" fmla="*/ 1267153 w 3060746"/>
                <a:gd name="connsiteY299" fmla="*/ 424878 h 1771142"/>
                <a:gd name="connsiteX300" fmla="*/ 1243814 w 3060746"/>
                <a:gd name="connsiteY300" fmla="*/ 438248 h 1771142"/>
                <a:gd name="connsiteX301" fmla="*/ 1273241 w 3060746"/>
                <a:gd name="connsiteY301" fmla="*/ 435373 h 1771142"/>
                <a:gd name="connsiteX302" fmla="*/ 1240079 w 3060746"/>
                <a:gd name="connsiteY302" fmla="*/ 458469 h 1771142"/>
                <a:gd name="connsiteX303" fmla="*/ 1200504 w 3060746"/>
                <a:gd name="connsiteY303" fmla="*/ 488818 h 1771142"/>
                <a:gd name="connsiteX304" fmla="*/ 1248968 w 3060746"/>
                <a:gd name="connsiteY304" fmla="*/ 492394 h 1771142"/>
                <a:gd name="connsiteX305" fmla="*/ 1208379 w 3060746"/>
                <a:gd name="connsiteY305" fmla="*/ 510142 h 1771142"/>
                <a:gd name="connsiteX306" fmla="*/ 1211058 w 3060746"/>
                <a:gd name="connsiteY306" fmla="*/ 520169 h 1771142"/>
                <a:gd name="connsiteX307" fmla="*/ 1210692 w 3060746"/>
                <a:gd name="connsiteY307" fmla="*/ 520236 h 1771142"/>
                <a:gd name="connsiteX308" fmla="*/ 1356166 w 3060746"/>
                <a:gd name="connsiteY308" fmla="*/ 378687 h 1771142"/>
                <a:gd name="connsiteX309" fmla="*/ 1371915 w 3060746"/>
                <a:gd name="connsiteY309" fmla="*/ 377116 h 1771142"/>
                <a:gd name="connsiteX310" fmla="*/ 1403900 w 3060746"/>
                <a:gd name="connsiteY310" fmla="*/ 370431 h 1771142"/>
                <a:gd name="connsiteX311" fmla="*/ 1405442 w 3060746"/>
                <a:gd name="connsiteY311" fmla="*/ 387711 h 1771142"/>
                <a:gd name="connsiteX312" fmla="*/ 1429268 w 3060746"/>
                <a:gd name="connsiteY312" fmla="*/ 386174 h 1771142"/>
                <a:gd name="connsiteX313" fmla="*/ 1464825 w 3060746"/>
                <a:gd name="connsiteY313" fmla="*/ 378821 h 1771142"/>
                <a:gd name="connsiteX314" fmla="*/ 1527779 w 3060746"/>
                <a:gd name="connsiteY314" fmla="*/ 346266 h 1771142"/>
                <a:gd name="connsiteX315" fmla="*/ 1532245 w 3060746"/>
                <a:gd name="connsiteY315" fmla="*/ 357797 h 1771142"/>
                <a:gd name="connsiteX316" fmla="*/ 1560089 w 3060746"/>
                <a:gd name="connsiteY316" fmla="*/ 352784 h 1771142"/>
                <a:gd name="connsiteX317" fmla="*/ 1627671 w 3060746"/>
                <a:gd name="connsiteY317" fmla="*/ 329020 h 1771142"/>
                <a:gd name="connsiteX318" fmla="*/ 1643907 w 3060746"/>
                <a:gd name="connsiteY318" fmla="*/ 315650 h 1771142"/>
                <a:gd name="connsiteX319" fmla="*/ 1684497 w 3060746"/>
                <a:gd name="connsiteY319" fmla="*/ 304152 h 1771142"/>
                <a:gd name="connsiteX320" fmla="*/ 1755001 w 3060746"/>
                <a:gd name="connsiteY320" fmla="*/ 269826 h 1771142"/>
                <a:gd name="connsiteX321" fmla="*/ 1787473 w 3060746"/>
                <a:gd name="connsiteY321" fmla="*/ 252413 h 1771142"/>
                <a:gd name="connsiteX322" fmla="*/ 1720378 w 3060746"/>
                <a:gd name="connsiteY322" fmla="*/ 297534 h 1771142"/>
                <a:gd name="connsiteX323" fmla="*/ 1676257 w 3060746"/>
                <a:gd name="connsiteY323" fmla="*/ 326646 h 1771142"/>
                <a:gd name="connsiteX324" fmla="*/ 1726142 w 3060746"/>
                <a:gd name="connsiteY324" fmla="*/ 329488 h 1771142"/>
                <a:gd name="connsiteX325" fmla="*/ 1640213 w 3060746"/>
                <a:gd name="connsiteY325" fmla="*/ 338345 h 1771142"/>
                <a:gd name="connsiteX326" fmla="*/ 1545558 w 3060746"/>
                <a:gd name="connsiteY326" fmla="*/ 366253 h 1771142"/>
                <a:gd name="connsiteX327" fmla="*/ 1552052 w 3060746"/>
                <a:gd name="connsiteY327" fmla="*/ 392290 h 1771142"/>
                <a:gd name="connsiteX328" fmla="*/ 1587649 w 3060746"/>
                <a:gd name="connsiteY328" fmla="*/ 383266 h 1771142"/>
                <a:gd name="connsiteX329" fmla="*/ 1635302 w 3060746"/>
                <a:gd name="connsiteY329" fmla="*/ 385706 h 1771142"/>
                <a:gd name="connsiteX330" fmla="*/ 1677109 w 3060746"/>
                <a:gd name="connsiteY330" fmla="*/ 384570 h 1771142"/>
                <a:gd name="connsiteX331" fmla="*/ 1711489 w 3060746"/>
                <a:gd name="connsiteY331" fmla="*/ 379289 h 1771142"/>
                <a:gd name="connsiteX332" fmla="*/ 1653811 w 3060746"/>
                <a:gd name="connsiteY332" fmla="*/ 396869 h 1771142"/>
                <a:gd name="connsiteX333" fmla="*/ 1563458 w 3060746"/>
                <a:gd name="connsiteY333" fmla="*/ 428054 h 1771142"/>
                <a:gd name="connsiteX334" fmla="*/ 1549049 w 3060746"/>
                <a:gd name="connsiteY334" fmla="*/ 459071 h 1771142"/>
                <a:gd name="connsiteX335" fmla="*/ 1590328 w 3060746"/>
                <a:gd name="connsiteY335" fmla="*/ 443662 h 1771142"/>
                <a:gd name="connsiteX336" fmla="*/ 1632745 w 3060746"/>
                <a:gd name="connsiteY336" fmla="*/ 417458 h 1771142"/>
                <a:gd name="connsiteX337" fmla="*/ 1618741 w 3060746"/>
                <a:gd name="connsiteY337" fmla="*/ 444197 h 1771142"/>
                <a:gd name="connsiteX338" fmla="*/ 1665176 w 3060746"/>
                <a:gd name="connsiteY338" fmla="*/ 449946 h 1771142"/>
                <a:gd name="connsiteX339" fmla="*/ 1610420 w 3060746"/>
                <a:gd name="connsiteY339" fmla="*/ 455962 h 1771142"/>
                <a:gd name="connsiteX340" fmla="*/ 1530499 w 3060746"/>
                <a:gd name="connsiteY340" fmla="*/ 483370 h 1771142"/>
                <a:gd name="connsiteX341" fmla="*/ 1578152 w 3060746"/>
                <a:gd name="connsiteY341" fmla="*/ 485141 h 1771142"/>
                <a:gd name="connsiteX342" fmla="*/ 1543001 w 3060746"/>
                <a:gd name="connsiteY342" fmla="*/ 502455 h 1771142"/>
                <a:gd name="connsiteX343" fmla="*/ 1501680 w 3060746"/>
                <a:gd name="connsiteY343" fmla="*/ 525851 h 1771142"/>
                <a:gd name="connsiteX344" fmla="*/ 1533178 w 3060746"/>
                <a:gd name="connsiteY344" fmla="*/ 529193 h 1771142"/>
                <a:gd name="connsiteX345" fmla="*/ 1611963 w 3060746"/>
                <a:gd name="connsiteY345" fmla="*/ 500616 h 1771142"/>
                <a:gd name="connsiteX346" fmla="*/ 1679098 w 3060746"/>
                <a:gd name="connsiteY346" fmla="*/ 476585 h 1771142"/>
                <a:gd name="connsiteX347" fmla="*/ 1724153 w 3060746"/>
                <a:gd name="connsiteY347" fmla="*/ 458135 h 1771142"/>
                <a:gd name="connsiteX348" fmla="*/ 1783251 w 3060746"/>
                <a:gd name="connsiteY348" fmla="*/ 441022 h 1771142"/>
                <a:gd name="connsiteX349" fmla="*/ 1823841 w 3060746"/>
                <a:gd name="connsiteY349" fmla="*/ 436577 h 1771142"/>
                <a:gd name="connsiteX350" fmla="*/ 1864674 w 3060746"/>
                <a:gd name="connsiteY350" fmla="*/ 411810 h 1771142"/>
                <a:gd name="connsiteX351" fmla="*/ 1903072 w 3060746"/>
                <a:gd name="connsiteY351" fmla="*/ 395332 h 1771142"/>
                <a:gd name="connsiteX352" fmla="*/ 1888582 w 3060746"/>
                <a:gd name="connsiteY352" fmla="*/ 382698 h 1771142"/>
                <a:gd name="connsiteX353" fmla="*/ 1861630 w 3060746"/>
                <a:gd name="connsiteY353" fmla="*/ 396067 h 1771142"/>
                <a:gd name="connsiteX354" fmla="*/ 1841132 w 3060746"/>
                <a:gd name="connsiteY354" fmla="*/ 394697 h 1771142"/>
                <a:gd name="connsiteX355" fmla="*/ 1753905 w 3060746"/>
                <a:gd name="connsiteY355" fmla="*/ 419865 h 1771142"/>
                <a:gd name="connsiteX356" fmla="*/ 1818078 w 3060746"/>
                <a:gd name="connsiteY356" fmla="*/ 393527 h 1771142"/>
                <a:gd name="connsiteX357" fmla="*/ 1876040 w 3060746"/>
                <a:gd name="connsiteY357" fmla="*/ 368292 h 1771142"/>
                <a:gd name="connsiteX358" fmla="*/ 1866664 w 3060746"/>
                <a:gd name="connsiteY358" fmla="*/ 355157 h 1771142"/>
                <a:gd name="connsiteX359" fmla="*/ 1941755 w 3060746"/>
                <a:gd name="connsiteY359" fmla="*/ 326780 h 1771142"/>
                <a:gd name="connsiteX360" fmla="*/ 1985023 w 3060746"/>
                <a:gd name="connsiteY360" fmla="*/ 276645 h 1771142"/>
                <a:gd name="connsiteX361" fmla="*/ 1920526 w 3060746"/>
                <a:gd name="connsiteY361" fmla="*/ 286505 h 1771142"/>
                <a:gd name="connsiteX362" fmla="*/ 1893737 w 3060746"/>
                <a:gd name="connsiteY362" fmla="*/ 289112 h 1771142"/>
                <a:gd name="connsiteX363" fmla="*/ 1950563 w 3060746"/>
                <a:gd name="connsiteY363" fmla="*/ 266417 h 1771142"/>
                <a:gd name="connsiteX364" fmla="*/ 1995739 w 3060746"/>
                <a:gd name="connsiteY364" fmla="*/ 249939 h 1771142"/>
                <a:gd name="connsiteX365" fmla="*/ 2008444 w 3060746"/>
                <a:gd name="connsiteY365" fmla="*/ 229885 h 1771142"/>
                <a:gd name="connsiteX366" fmla="*/ 2084184 w 3060746"/>
                <a:gd name="connsiteY366" fmla="*/ 200907 h 1771142"/>
                <a:gd name="connsiteX367" fmla="*/ 2121811 w 3060746"/>
                <a:gd name="connsiteY367" fmla="*/ 176341 h 1771142"/>
                <a:gd name="connsiteX368" fmla="*/ 2212894 w 3060746"/>
                <a:gd name="connsiteY368" fmla="*/ 120757 h 1771142"/>
                <a:gd name="connsiteX369" fmla="*/ 2299919 w 3060746"/>
                <a:gd name="connsiteY369" fmla="*/ 80147 h 1771142"/>
                <a:gd name="connsiteX370" fmla="*/ 2271506 w 3060746"/>
                <a:gd name="connsiteY370" fmla="*/ 79145 h 1771142"/>
                <a:gd name="connsiteX371" fmla="*/ 2198120 w 3060746"/>
                <a:gd name="connsiteY371" fmla="*/ 101906 h 1771142"/>
                <a:gd name="connsiteX372" fmla="*/ 2228115 w 3060746"/>
                <a:gd name="connsiteY372" fmla="*/ 85362 h 1771142"/>
                <a:gd name="connsiteX373" fmla="*/ 2292004 w 3060746"/>
                <a:gd name="connsiteY373" fmla="*/ 66110 h 1771142"/>
                <a:gd name="connsiteX374" fmla="*/ 2371438 w 3060746"/>
                <a:gd name="connsiteY374" fmla="*/ 30346 h 1771142"/>
                <a:gd name="connsiteX375" fmla="*/ 2407238 w 3060746"/>
                <a:gd name="connsiteY375" fmla="*/ 265 h 1771142"/>
                <a:gd name="connsiteX376" fmla="*/ 2329833 w 3060746"/>
                <a:gd name="connsiteY376" fmla="*/ 15406 h 1771142"/>
                <a:gd name="connsiteX377" fmla="*/ 2311527 w 3060746"/>
                <a:gd name="connsiteY377" fmla="*/ 10860 h 1771142"/>
                <a:gd name="connsiteX378" fmla="*/ 2280557 w 3060746"/>
                <a:gd name="connsiteY378" fmla="*/ 18147 h 1771142"/>
                <a:gd name="connsiteX379" fmla="*/ 2192193 w 3060746"/>
                <a:gd name="connsiteY379" fmla="*/ 50200 h 1771142"/>
                <a:gd name="connsiteX380" fmla="*/ 2212245 w 3060746"/>
                <a:gd name="connsiteY380" fmla="*/ 31182 h 1771142"/>
                <a:gd name="connsiteX381" fmla="*/ 2100663 w 3060746"/>
                <a:gd name="connsiteY381" fmla="*/ 59826 h 1771142"/>
                <a:gd name="connsiteX382" fmla="*/ 2046233 w 3060746"/>
                <a:gd name="connsiteY382" fmla="*/ 76103 h 1771142"/>
                <a:gd name="connsiteX383" fmla="*/ 1978488 w 3060746"/>
                <a:gd name="connsiteY383" fmla="*/ 92548 h 1771142"/>
                <a:gd name="connsiteX384" fmla="*/ 1956813 w 3060746"/>
                <a:gd name="connsiteY384" fmla="*/ 105516 h 1771142"/>
                <a:gd name="connsiteX385" fmla="*/ 1949142 w 3060746"/>
                <a:gd name="connsiteY385" fmla="*/ 115877 h 1771142"/>
                <a:gd name="connsiteX386" fmla="*/ 1907131 w 3060746"/>
                <a:gd name="connsiteY386" fmla="*/ 120256 h 1771142"/>
                <a:gd name="connsiteX387" fmla="*/ 1850306 w 3060746"/>
                <a:gd name="connsiteY387" fmla="*/ 140811 h 1771142"/>
                <a:gd name="connsiteX388" fmla="*/ 1819823 w 3060746"/>
                <a:gd name="connsiteY388" fmla="*/ 152576 h 1771142"/>
                <a:gd name="connsiteX389" fmla="*/ 1802247 w 3060746"/>
                <a:gd name="connsiteY389" fmla="*/ 164107 h 1771142"/>
                <a:gd name="connsiteX390" fmla="*/ 1718957 w 3060746"/>
                <a:gd name="connsiteY390" fmla="*/ 187504 h 1771142"/>
                <a:gd name="connsiteX391" fmla="*/ 1725289 w 3060746"/>
                <a:gd name="connsiteY391" fmla="*/ 189610 h 1771142"/>
                <a:gd name="connsiteX392" fmla="*/ 1696268 w 3060746"/>
                <a:gd name="connsiteY392" fmla="*/ 200205 h 1771142"/>
                <a:gd name="connsiteX393" fmla="*/ 1686932 w 3060746"/>
                <a:gd name="connsiteY393" fmla="*/ 215379 h 1771142"/>
                <a:gd name="connsiteX394" fmla="*/ 1630675 w 3060746"/>
                <a:gd name="connsiteY394" fmla="*/ 237974 h 1771142"/>
                <a:gd name="connsiteX395" fmla="*/ 1600273 w 3060746"/>
                <a:gd name="connsiteY395" fmla="*/ 258663 h 1771142"/>
                <a:gd name="connsiteX396" fmla="*/ 1553108 w 3060746"/>
                <a:gd name="connsiteY396" fmla="*/ 265983 h 1771142"/>
                <a:gd name="connsiteX397" fmla="*/ 1524005 w 3060746"/>
                <a:gd name="connsiteY397" fmla="*/ 277647 h 1771142"/>
                <a:gd name="connsiteX398" fmla="*/ 1523477 w 3060746"/>
                <a:gd name="connsiteY398" fmla="*/ 284867 h 1771142"/>
                <a:gd name="connsiteX399" fmla="*/ 1496282 w 3060746"/>
                <a:gd name="connsiteY399" fmla="*/ 297434 h 1771142"/>
                <a:gd name="connsiteX400" fmla="*/ 1505009 w 3060746"/>
                <a:gd name="connsiteY400" fmla="*/ 303417 h 1771142"/>
                <a:gd name="connsiteX401" fmla="*/ 1447574 w 3060746"/>
                <a:gd name="connsiteY401" fmla="*/ 321232 h 1771142"/>
                <a:gd name="connsiteX402" fmla="*/ 1411044 w 3060746"/>
                <a:gd name="connsiteY402" fmla="*/ 348505 h 1771142"/>
                <a:gd name="connsiteX403" fmla="*/ 1375690 w 3060746"/>
                <a:gd name="connsiteY403" fmla="*/ 360337 h 1771142"/>
                <a:gd name="connsiteX404" fmla="*/ 1317768 w 3060746"/>
                <a:gd name="connsiteY404" fmla="*/ 392792 h 1771142"/>
                <a:gd name="connsiteX405" fmla="*/ 1356044 w 3060746"/>
                <a:gd name="connsiteY405" fmla="*/ 378319 h 1771142"/>
                <a:gd name="connsiteX406" fmla="*/ 2051915 w 3060746"/>
                <a:gd name="connsiteY406" fmla="*/ 839264 h 1771142"/>
                <a:gd name="connsiteX407" fmla="*/ 2047450 w 3060746"/>
                <a:gd name="connsiteY407" fmla="*/ 820313 h 1771142"/>
                <a:gd name="connsiteX408" fmla="*/ 2051915 w 3060746"/>
                <a:gd name="connsiteY408" fmla="*/ 839264 h 1771142"/>
                <a:gd name="connsiteX409" fmla="*/ 1918294 w 3060746"/>
                <a:gd name="connsiteY409" fmla="*/ 867741 h 1771142"/>
                <a:gd name="connsiteX410" fmla="*/ 1963592 w 3060746"/>
                <a:gd name="connsiteY410" fmla="*/ 830975 h 1771142"/>
                <a:gd name="connsiteX411" fmla="*/ 1918294 w 3060746"/>
                <a:gd name="connsiteY411" fmla="*/ 867741 h 1771142"/>
                <a:gd name="connsiteX412" fmla="*/ 2001827 w 3060746"/>
                <a:gd name="connsiteY412" fmla="*/ 793307 h 1771142"/>
                <a:gd name="connsiteX413" fmla="*/ 1949061 w 3060746"/>
                <a:gd name="connsiteY413" fmla="*/ 792872 h 1771142"/>
                <a:gd name="connsiteX414" fmla="*/ 1879530 w 3060746"/>
                <a:gd name="connsiteY414" fmla="*/ 795212 h 1771142"/>
                <a:gd name="connsiteX415" fmla="*/ 1833867 w 3060746"/>
                <a:gd name="connsiteY415" fmla="*/ 799390 h 1771142"/>
                <a:gd name="connsiteX416" fmla="*/ 1810244 w 3060746"/>
                <a:gd name="connsiteY416" fmla="*/ 798053 h 1771142"/>
                <a:gd name="connsiteX417" fmla="*/ 1797620 w 3060746"/>
                <a:gd name="connsiteY417" fmla="*/ 823588 h 1771142"/>
                <a:gd name="connsiteX418" fmla="*/ 1799569 w 3060746"/>
                <a:gd name="connsiteY418" fmla="*/ 843642 h 1771142"/>
                <a:gd name="connsiteX419" fmla="*/ 1790477 w 3060746"/>
                <a:gd name="connsiteY419" fmla="*/ 863697 h 1771142"/>
                <a:gd name="connsiteX420" fmla="*/ 1793561 w 3060746"/>
                <a:gd name="connsiteY420" fmla="*/ 873924 h 1771142"/>
                <a:gd name="connsiteX421" fmla="*/ 1832162 w 3060746"/>
                <a:gd name="connsiteY421" fmla="*/ 859385 h 1771142"/>
                <a:gd name="connsiteX422" fmla="*/ 1852457 w 3060746"/>
                <a:gd name="connsiteY422" fmla="*/ 863095 h 1771142"/>
                <a:gd name="connsiteX423" fmla="*/ 1888988 w 3060746"/>
                <a:gd name="connsiteY423" fmla="*/ 837158 h 1771142"/>
                <a:gd name="connsiteX424" fmla="*/ 1917401 w 3060746"/>
                <a:gd name="connsiteY424" fmla="*/ 817104 h 1771142"/>
                <a:gd name="connsiteX425" fmla="*/ 2001868 w 3060746"/>
                <a:gd name="connsiteY425" fmla="*/ 793106 h 1771142"/>
                <a:gd name="connsiteX426" fmla="*/ 2451724 w 3060746"/>
                <a:gd name="connsiteY426" fmla="*/ 581301 h 1771142"/>
                <a:gd name="connsiteX427" fmla="*/ 2526166 w 3060746"/>
                <a:gd name="connsiteY427" fmla="*/ 591328 h 1771142"/>
                <a:gd name="connsiteX428" fmla="*/ 2543173 w 3060746"/>
                <a:gd name="connsiteY428" fmla="*/ 581735 h 1771142"/>
                <a:gd name="connsiteX429" fmla="*/ 2564077 w 3060746"/>
                <a:gd name="connsiteY429" fmla="*/ 565625 h 1771142"/>
                <a:gd name="connsiteX430" fmla="*/ 2575077 w 3060746"/>
                <a:gd name="connsiteY430" fmla="*/ 551621 h 1771142"/>
                <a:gd name="connsiteX431" fmla="*/ 2603774 w 3060746"/>
                <a:gd name="connsiteY431" fmla="*/ 528425 h 1771142"/>
                <a:gd name="connsiteX432" fmla="*/ 2551007 w 3060746"/>
                <a:gd name="connsiteY432" fmla="*/ 527255 h 1771142"/>
                <a:gd name="connsiteX433" fmla="*/ 2532539 w 3060746"/>
                <a:gd name="connsiteY433" fmla="*/ 519701 h 1771142"/>
                <a:gd name="connsiteX434" fmla="*/ 2507373 w 3060746"/>
                <a:gd name="connsiteY434" fmla="*/ 516125 h 1771142"/>
                <a:gd name="connsiteX435" fmla="*/ 2424692 w 3060746"/>
                <a:gd name="connsiteY435" fmla="*/ 525550 h 1771142"/>
                <a:gd name="connsiteX436" fmla="*/ 2349844 w 3060746"/>
                <a:gd name="connsiteY436" fmla="*/ 523244 h 1771142"/>
                <a:gd name="connsiteX437" fmla="*/ 2392747 w 3060746"/>
                <a:gd name="connsiteY437" fmla="*/ 501853 h 1771142"/>
                <a:gd name="connsiteX438" fmla="*/ 2353132 w 3060746"/>
                <a:gd name="connsiteY438" fmla="*/ 501853 h 1771142"/>
                <a:gd name="connsiteX439" fmla="*/ 2362995 w 3060746"/>
                <a:gd name="connsiteY439" fmla="*/ 487481 h 1771142"/>
                <a:gd name="connsiteX440" fmla="*/ 2329833 w 3060746"/>
                <a:gd name="connsiteY440" fmla="*/ 493831 h 1771142"/>
                <a:gd name="connsiteX441" fmla="*/ 2319523 w 3060746"/>
                <a:gd name="connsiteY441" fmla="*/ 488450 h 1771142"/>
                <a:gd name="connsiteX442" fmla="*/ 2306251 w 3060746"/>
                <a:gd name="connsiteY442" fmla="*/ 481498 h 1771142"/>
                <a:gd name="connsiteX443" fmla="*/ 2266432 w 3060746"/>
                <a:gd name="connsiteY443" fmla="*/ 491525 h 1771142"/>
                <a:gd name="connsiteX444" fmla="*/ 2237086 w 3060746"/>
                <a:gd name="connsiteY444" fmla="*/ 489820 h 1771142"/>
                <a:gd name="connsiteX445" fmla="*/ 2177703 w 3060746"/>
                <a:gd name="connsiteY445" fmla="*/ 511746 h 1771142"/>
                <a:gd name="connsiteX446" fmla="*/ 2206116 w 3060746"/>
                <a:gd name="connsiteY446" fmla="*/ 492361 h 1771142"/>
                <a:gd name="connsiteX447" fmla="*/ 2181762 w 3060746"/>
                <a:gd name="connsiteY447" fmla="*/ 487381 h 1771142"/>
                <a:gd name="connsiteX448" fmla="*/ 2131146 w 3060746"/>
                <a:gd name="connsiteY448" fmla="*/ 507134 h 1771142"/>
                <a:gd name="connsiteX449" fmla="*/ 2108457 w 3060746"/>
                <a:gd name="connsiteY449" fmla="*/ 499680 h 1771142"/>
                <a:gd name="connsiteX450" fmla="*/ 2080531 w 3060746"/>
                <a:gd name="connsiteY450" fmla="*/ 503691 h 1771142"/>
                <a:gd name="connsiteX451" fmla="*/ 2040834 w 3060746"/>
                <a:gd name="connsiteY451" fmla="*/ 498076 h 1771142"/>
                <a:gd name="connsiteX452" fmla="*/ 1960954 w 3060746"/>
                <a:gd name="connsiteY452" fmla="*/ 522609 h 1771142"/>
                <a:gd name="connsiteX453" fmla="*/ 1949954 w 3060746"/>
                <a:gd name="connsiteY453" fmla="*/ 534842 h 1771142"/>
                <a:gd name="connsiteX454" fmla="*/ 1950644 w 3060746"/>
                <a:gd name="connsiteY454" fmla="*/ 542362 h 1771142"/>
                <a:gd name="connsiteX455" fmla="*/ 1926290 w 3060746"/>
                <a:gd name="connsiteY455" fmla="*/ 540490 h 1771142"/>
                <a:gd name="connsiteX456" fmla="*/ 1874538 w 3060746"/>
                <a:gd name="connsiteY456" fmla="*/ 569101 h 1771142"/>
                <a:gd name="connsiteX457" fmla="*/ 1860453 w 3060746"/>
                <a:gd name="connsiteY457" fmla="*/ 539922 h 1771142"/>
                <a:gd name="connsiteX458" fmla="*/ 1787067 w 3060746"/>
                <a:gd name="connsiteY458" fmla="*/ 539922 h 1771142"/>
                <a:gd name="connsiteX459" fmla="*/ 1762307 w 3060746"/>
                <a:gd name="connsiteY459" fmla="*/ 557069 h 1771142"/>
                <a:gd name="connsiteX460" fmla="*/ 1724802 w 3060746"/>
                <a:gd name="connsiteY460" fmla="*/ 576454 h 1771142"/>
                <a:gd name="connsiteX461" fmla="*/ 1696024 w 3060746"/>
                <a:gd name="connsiteY461" fmla="*/ 603427 h 1771142"/>
                <a:gd name="connsiteX462" fmla="*/ 1725127 w 3060746"/>
                <a:gd name="connsiteY462" fmla="*/ 612752 h 1771142"/>
                <a:gd name="connsiteX463" fmla="*/ 1727603 w 3060746"/>
                <a:gd name="connsiteY463" fmla="*/ 631804 h 1771142"/>
                <a:gd name="connsiteX464" fmla="*/ 1724478 w 3060746"/>
                <a:gd name="connsiteY464" fmla="*/ 642900 h 1771142"/>
                <a:gd name="connsiteX465" fmla="*/ 1670331 w 3060746"/>
                <a:gd name="connsiteY465" fmla="*/ 623682 h 1771142"/>
                <a:gd name="connsiteX466" fmla="*/ 1680844 w 3060746"/>
                <a:gd name="connsiteY466" fmla="*/ 596274 h 1771142"/>
                <a:gd name="connsiteX467" fmla="*/ 1707755 w 3060746"/>
                <a:gd name="connsiteY467" fmla="*/ 569903 h 1771142"/>
                <a:gd name="connsiteX468" fmla="*/ 1658519 w 3060746"/>
                <a:gd name="connsiteY468" fmla="*/ 585211 h 1771142"/>
                <a:gd name="connsiteX469" fmla="*/ 1578070 w 3060746"/>
                <a:gd name="connsiteY469" fmla="*/ 640293 h 1771142"/>
                <a:gd name="connsiteX470" fmla="*/ 1572428 w 3060746"/>
                <a:gd name="connsiteY470" fmla="*/ 690429 h 1771142"/>
                <a:gd name="connsiteX471" fmla="*/ 1619106 w 3060746"/>
                <a:gd name="connsiteY471" fmla="*/ 690763 h 1771142"/>
                <a:gd name="connsiteX472" fmla="*/ 1665947 w 3060746"/>
                <a:gd name="connsiteY472" fmla="*/ 677594 h 1771142"/>
                <a:gd name="connsiteX473" fmla="*/ 1653040 w 3060746"/>
                <a:gd name="connsiteY473" fmla="*/ 688858 h 1771142"/>
                <a:gd name="connsiteX474" fmla="*/ 1620568 w 3060746"/>
                <a:gd name="connsiteY474" fmla="*/ 712455 h 1771142"/>
                <a:gd name="connsiteX475" fmla="*/ 1664608 w 3060746"/>
                <a:gd name="connsiteY475" fmla="*/ 705770 h 1771142"/>
                <a:gd name="connsiteX476" fmla="*/ 1700083 w 3060746"/>
                <a:gd name="connsiteY476" fmla="*/ 690562 h 1771142"/>
                <a:gd name="connsiteX477" fmla="*/ 1733245 w 3060746"/>
                <a:gd name="connsiteY477" fmla="*/ 689058 h 1771142"/>
                <a:gd name="connsiteX478" fmla="*/ 1801355 w 3060746"/>
                <a:gd name="connsiteY478" fmla="*/ 666497 h 1771142"/>
                <a:gd name="connsiteX479" fmla="*/ 1889191 w 3060746"/>
                <a:gd name="connsiteY479" fmla="*/ 633575 h 1771142"/>
                <a:gd name="connsiteX480" fmla="*/ 1958762 w 3060746"/>
                <a:gd name="connsiteY480" fmla="*/ 615292 h 1771142"/>
                <a:gd name="connsiteX481" fmla="*/ 1951253 w 3060746"/>
                <a:gd name="connsiteY481" fmla="*/ 597545 h 1771142"/>
                <a:gd name="connsiteX482" fmla="*/ 1990990 w 3060746"/>
                <a:gd name="connsiteY482" fmla="*/ 590860 h 1771142"/>
                <a:gd name="connsiteX483" fmla="*/ 2007550 w 3060746"/>
                <a:gd name="connsiteY483" fmla="*/ 592598 h 1771142"/>
                <a:gd name="connsiteX484" fmla="*/ 2026019 w 3060746"/>
                <a:gd name="connsiteY484" fmla="*/ 592932 h 1771142"/>
                <a:gd name="connsiteX485" fmla="*/ 2082601 w 3060746"/>
                <a:gd name="connsiteY485" fmla="*/ 592698 h 1771142"/>
                <a:gd name="connsiteX486" fmla="*/ 2058004 w 3060746"/>
                <a:gd name="connsiteY486" fmla="*/ 616696 h 1771142"/>
                <a:gd name="connsiteX487" fmla="*/ 2084834 w 3060746"/>
                <a:gd name="connsiteY487" fmla="*/ 608808 h 1771142"/>
                <a:gd name="connsiteX488" fmla="*/ 2118604 w 3060746"/>
                <a:gd name="connsiteY488" fmla="*/ 592966 h 1771142"/>
                <a:gd name="connsiteX489" fmla="*/ 2138899 w 3060746"/>
                <a:gd name="connsiteY489" fmla="*/ 600820 h 1771142"/>
                <a:gd name="connsiteX490" fmla="*/ 2174537 w 3060746"/>
                <a:gd name="connsiteY490" fmla="*/ 593634 h 1771142"/>
                <a:gd name="connsiteX491" fmla="*/ 2217278 w 3060746"/>
                <a:gd name="connsiteY491" fmla="*/ 606068 h 1771142"/>
                <a:gd name="connsiteX492" fmla="*/ 2218617 w 3060746"/>
                <a:gd name="connsiteY492" fmla="*/ 627158 h 1771142"/>
                <a:gd name="connsiteX493" fmla="*/ 2251657 w 3060746"/>
                <a:gd name="connsiteY493" fmla="*/ 618769 h 1771142"/>
                <a:gd name="connsiteX494" fmla="*/ 2300771 w 3060746"/>
                <a:gd name="connsiteY494" fmla="*/ 601656 h 1771142"/>
                <a:gd name="connsiteX495" fmla="*/ 2319239 w 3060746"/>
                <a:gd name="connsiteY495" fmla="*/ 617766 h 1771142"/>
                <a:gd name="connsiteX496" fmla="*/ 2294601 w 3060746"/>
                <a:gd name="connsiteY496" fmla="*/ 629731 h 1771142"/>
                <a:gd name="connsiteX497" fmla="*/ 2284251 w 3060746"/>
                <a:gd name="connsiteY497" fmla="*/ 628027 h 1771142"/>
                <a:gd name="connsiteX498" fmla="*/ 2180544 w 3060746"/>
                <a:gd name="connsiteY498" fmla="*/ 663356 h 1771142"/>
                <a:gd name="connsiteX499" fmla="*/ 2192315 w 3060746"/>
                <a:gd name="connsiteY499" fmla="*/ 680970 h 1771142"/>
                <a:gd name="connsiteX500" fmla="*/ 2102531 w 3060746"/>
                <a:gd name="connsiteY500" fmla="*/ 708912 h 1771142"/>
                <a:gd name="connsiteX501" fmla="*/ 2077243 w 3060746"/>
                <a:gd name="connsiteY501" fmla="*/ 725056 h 1771142"/>
                <a:gd name="connsiteX502" fmla="*/ 2094940 w 3060746"/>
                <a:gd name="connsiteY502" fmla="*/ 745644 h 1771142"/>
                <a:gd name="connsiteX503" fmla="*/ 2138168 w 3060746"/>
                <a:gd name="connsiteY503" fmla="*/ 728933 h 1771142"/>
                <a:gd name="connsiteX504" fmla="*/ 2172548 w 3060746"/>
                <a:gd name="connsiteY504" fmla="*/ 719541 h 1771142"/>
                <a:gd name="connsiteX505" fmla="*/ 2178961 w 3060746"/>
                <a:gd name="connsiteY505" fmla="*/ 710015 h 1771142"/>
                <a:gd name="connsiteX506" fmla="*/ 2218901 w 3060746"/>
                <a:gd name="connsiteY506" fmla="*/ 697281 h 1771142"/>
                <a:gd name="connsiteX507" fmla="*/ 2272196 w 3060746"/>
                <a:gd name="connsiteY507" fmla="*/ 700255 h 1771142"/>
                <a:gd name="connsiteX508" fmla="*/ 2305114 w 3060746"/>
                <a:gd name="connsiteY508" fmla="*/ 715396 h 1771142"/>
                <a:gd name="connsiteX509" fmla="*/ 2373224 w 3060746"/>
                <a:gd name="connsiteY509" fmla="*/ 703163 h 1771142"/>
                <a:gd name="connsiteX510" fmla="*/ 2434474 w 3060746"/>
                <a:gd name="connsiteY510" fmla="*/ 703531 h 1771142"/>
                <a:gd name="connsiteX511" fmla="*/ 2383818 w 3060746"/>
                <a:gd name="connsiteY511" fmla="*/ 674887 h 1771142"/>
                <a:gd name="connsiteX512" fmla="*/ 2434352 w 3060746"/>
                <a:gd name="connsiteY512" fmla="*/ 664559 h 1771142"/>
                <a:gd name="connsiteX513" fmla="*/ 2511838 w 3060746"/>
                <a:gd name="connsiteY513" fmla="*/ 656203 h 1771142"/>
                <a:gd name="connsiteX514" fmla="*/ 2527221 w 3060746"/>
                <a:gd name="connsiteY514" fmla="*/ 632038 h 1771142"/>
                <a:gd name="connsiteX515" fmla="*/ 2494750 w 3060746"/>
                <a:gd name="connsiteY515" fmla="*/ 617666 h 1771142"/>
                <a:gd name="connsiteX516" fmla="*/ 2396887 w 3060746"/>
                <a:gd name="connsiteY516" fmla="*/ 612151 h 1771142"/>
                <a:gd name="connsiteX517" fmla="*/ 2405290 w 3060746"/>
                <a:gd name="connsiteY517" fmla="*/ 601823 h 1771142"/>
                <a:gd name="connsiteX518" fmla="*/ 2397983 w 3060746"/>
                <a:gd name="connsiteY518" fmla="*/ 591027 h 1771142"/>
                <a:gd name="connsiteX519" fmla="*/ 2451440 w 3060746"/>
                <a:gd name="connsiteY519" fmla="*/ 581301 h 1771142"/>
                <a:gd name="connsiteX520" fmla="*/ 2124205 w 3060746"/>
                <a:gd name="connsiteY520" fmla="*/ 641697 h 1771142"/>
                <a:gd name="connsiteX521" fmla="*/ 2118604 w 3060746"/>
                <a:gd name="connsiteY521" fmla="*/ 619136 h 1771142"/>
                <a:gd name="connsiteX522" fmla="*/ 2058612 w 3060746"/>
                <a:gd name="connsiteY522" fmla="*/ 636817 h 1771142"/>
                <a:gd name="connsiteX523" fmla="*/ 2067826 w 3060746"/>
                <a:gd name="connsiteY523" fmla="*/ 663556 h 1771142"/>
                <a:gd name="connsiteX524" fmla="*/ 2124205 w 3060746"/>
                <a:gd name="connsiteY524" fmla="*/ 641530 h 1771142"/>
                <a:gd name="connsiteX525" fmla="*/ 1848195 w 3060746"/>
                <a:gd name="connsiteY525" fmla="*/ 521372 h 1771142"/>
                <a:gd name="connsiteX526" fmla="*/ 1871981 w 3060746"/>
                <a:gd name="connsiteY526" fmla="*/ 529528 h 1771142"/>
                <a:gd name="connsiteX527" fmla="*/ 1913423 w 3060746"/>
                <a:gd name="connsiteY527" fmla="*/ 534708 h 1771142"/>
                <a:gd name="connsiteX528" fmla="*/ 1961035 w 3060746"/>
                <a:gd name="connsiteY528" fmla="*/ 512047 h 1771142"/>
                <a:gd name="connsiteX529" fmla="*/ 2008200 w 3060746"/>
                <a:gd name="connsiteY529" fmla="*/ 495770 h 1771142"/>
                <a:gd name="connsiteX530" fmla="*/ 1943581 w 3060746"/>
                <a:gd name="connsiteY530" fmla="*/ 492428 h 1771142"/>
                <a:gd name="connsiteX531" fmla="*/ 1895604 w 3060746"/>
                <a:gd name="connsiteY531" fmla="*/ 505797 h 1771142"/>
                <a:gd name="connsiteX532" fmla="*/ 1848195 w 3060746"/>
                <a:gd name="connsiteY532" fmla="*/ 521305 h 1771142"/>
                <a:gd name="connsiteX533" fmla="*/ 1848236 w 3060746"/>
                <a:gd name="connsiteY533" fmla="*/ 521439 h 1771142"/>
                <a:gd name="connsiteX534" fmla="*/ 2668920 w 3060746"/>
                <a:gd name="connsiteY534" fmla="*/ 954308 h 1771142"/>
                <a:gd name="connsiteX535" fmla="*/ 2761668 w 3060746"/>
                <a:gd name="connsiteY535" fmla="*/ 945885 h 1771142"/>
                <a:gd name="connsiteX536" fmla="*/ 2668961 w 3060746"/>
                <a:gd name="connsiteY536" fmla="*/ 954375 h 1771142"/>
                <a:gd name="connsiteX537" fmla="*/ 3040560 w 3060746"/>
                <a:gd name="connsiteY537" fmla="*/ 906880 h 1771142"/>
                <a:gd name="connsiteX538" fmla="*/ 3032117 w 3060746"/>
                <a:gd name="connsiteY538" fmla="*/ 902334 h 1771142"/>
                <a:gd name="connsiteX539" fmla="*/ 3027652 w 3060746"/>
                <a:gd name="connsiteY539" fmla="*/ 895014 h 1771142"/>
                <a:gd name="connsiteX540" fmla="*/ 3019007 w 3060746"/>
                <a:gd name="connsiteY540" fmla="*/ 879974 h 1771142"/>
                <a:gd name="connsiteX541" fmla="*/ 3002162 w 3060746"/>
                <a:gd name="connsiteY541" fmla="*/ 879172 h 1771142"/>
                <a:gd name="connsiteX542" fmla="*/ 2990432 w 3060746"/>
                <a:gd name="connsiteY542" fmla="*/ 885856 h 1771142"/>
                <a:gd name="connsiteX543" fmla="*/ 2945336 w 3060746"/>
                <a:gd name="connsiteY543" fmla="*/ 884486 h 1771142"/>
                <a:gd name="connsiteX544" fmla="*/ 2939045 w 3060746"/>
                <a:gd name="connsiteY544" fmla="*/ 879707 h 1771142"/>
                <a:gd name="connsiteX545" fmla="*/ 2919887 w 3060746"/>
                <a:gd name="connsiteY545" fmla="*/ 888029 h 1771142"/>
                <a:gd name="connsiteX546" fmla="*/ 2913717 w 3060746"/>
                <a:gd name="connsiteY546" fmla="*/ 884185 h 1771142"/>
                <a:gd name="connsiteX547" fmla="*/ 2927639 w 3060746"/>
                <a:gd name="connsiteY547" fmla="*/ 858683 h 1771142"/>
                <a:gd name="connsiteX548" fmla="*/ 2932551 w 3060746"/>
                <a:gd name="connsiteY548" fmla="*/ 845982 h 1771142"/>
                <a:gd name="connsiteX549" fmla="*/ 2909374 w 3060746"/>
                <a:gd name="connsiteY549" fmla="*/ 856009 h 1771142"/>
                <a:gd name="connsiteX550" fmla="*/ 2880352 w 3060746"/>
                <a:gd name="connsiteY550" fmla="*/ 893410 h 1771142"/>
                <a:gd name="connsiteX551" fmla="*/ 2864360 w 3060746"/>
                <a:gd name="connsiteY551" fmla="*/ 920517 h 1771142"/>
                <a:gd name="connsiteX552" fmla="*/ 2856729 w 3060746"/>
                <a:gd name="connsiteY552" fmla="*/ 932716 h 1771142"/>
                <a:gd name="connsiteX553" fmla="*/ 2852670 w 3060746"/>
                <a:gd name="connsiteY553" fmla="*/ 944080 h 1771142"/>
                <a:gd name="connsiteX554" fmla="*/ 2885791 w 3060746"/>
                <a:gd name="connsiteY554" fmla="*/ 946921 h 1771142"/>
                <a:gd name="connsiteX555" fmla="*/ 2926381 w 3060746"/>
                <a:gd name="connsiteY555" fmla="*/ 936894 h 1771142"/>
                <a:gd name="connsiteX556" fmla="*/ 2958609 w 3060746"/>
                <a:gd name="connsiteY556" fmla="*/ 923892 h 1771142"/>
                <a:gd name="connsiteX557" fmla="*/ 2974561 w 3060746"/>
                <a:gd name="connsiteY557" fmla="*/ 932750 h 1771142"/>
                <a:gd name="connsiteX558" fmla="*/ 2982922 w 3060746"/>
                <a:gd name="connsiteY558" fmla="*/ 935491 h 1771142"/>
                <a:gd name="connsiteX559" fmla="*/ 3016612 w 3060746"/>
                <a:gd name="connsiteY559" fmla="*/ 921185 h 1771142"/>
                <a:gd name="connsiteX560" fmla="*/ 3024162 w 3060746"/>
                <a:gd name="connsiteY560" fmla="*/ 928438 h 1771142"/>
                <a:gd name="connsiteX561" fmla="*/ 3048962 w 3060746"/>
                <a:gd name="connsiteY561" fmla="*/ 924795 h 1771142"/>
                <a:gd name="connsiteX562" fmla="*/ 3040357 w 3060746"/>
                <a:gd name="connsiteY562" fmla="*/ 906980 h 1771142"/>
                <a:gd name="connsiteX563" fmla="*/ 3040601 w 3060746"/>
                <a:gd name="connsiteY563" fmla="*/ 906947 h 1771142"/>
                <a:gd name="connsiteX564" fmla="*/ 543965 w 3060746"/>
                <a:gd name="connsiteY564" fmla="*/ 1751661 h 1771142"/>
                <a:gd name="connsiteX565" fmla="*/ 607366 w 3060746"/>
                <a:gd name="connsiteY565" fmla="*/ 1760117 h 1771142"/>
                <a:gd name="connsiteX566" fmla="*/ 592186 w 3060746"/>
                <a:gd name="connsiteY566" fmla="*/ 1747884 h 1771142"/>
                <a:gd name="connsiteX567" fmla="*/ 543965 w 3060746"/>
                <a:gd name="connsiteY567" fmla="*/ 1751661 h 1771142"/>
                <a:gd name="connsiteX568" fmla="*/ 543965 w 3060746"/>
                <a:gd name="connsiteY568" fmla="*/ 1751661 h 1771142"/>
                <a:gd name="connsiteX569" fmla="*/ 2829493 w 3060746"/>
                <a:gd name="connsiteY569" fmla="*/ 994015 h 1771142"/>
                <a:gd name="connsiteX570" fmla="*/ 2816626 w 3060746"/>
                <a:gd name="connsiteY570" fmla="*/ 984456 h 1771142"/>
                <a:gd name="connsiteX571" fmla="*/ 2794180 w 3060746"/>
                <a:gd name="connsiteY571" fmla="*/ 1006649 h 1771142"/>
                <a:gd name="connsiteX572" fmla="*/ 2792962 w 3060746"/>
                <a:gd name="connsiteY572" fmla="*/ 1014838 h 1771142"/>
                <a:gd name="connsiteX573" fmla="*/ 2779811 w 3060746"/>
                <a:gd name="connsiteY573" fmla="*/ 1020420 h 1771142"/>
                <a:gd name="connsiteX574" fmla="*/ 2734716 w 3060746"/>
                <a:gd name="connsiteY574" fmla="*/ 1030012 h 1771142"/>
                <a:gd name="connsiteX575" fmla="*/ 2703218 w 3060746"/>
                <a:gd name="connsiteY575" fmla="*/ 1026971 h 1771142"/>
                <a:gd name="connsiteX576" fmla="*/ 2672857 w 3060746"/>
                <a:gd name="connsiteY576" fmla="*/ 1015908 h 1771142"/>
                <a:gd name="connsiteX577" fmla="*/ 2677200 w 3060746"/>
                <a:gd name="connsiteY577" fmla="*/ 1001201 h 1771142"/>
                <a:gd name="connsiteX578" fmla="*/ 2659057 w 3060746"/>
                <a:gd name="connsiteY578" fmla="*/ 1006950 h 1771142"/>
                <a:gd name="connsiteX579" fmla="*/ 2646677 w 3060746"/>
                <a:gd name="connsiteY579" fmla="*/ 1009624 h 1771142"/>
                <a:gd name="connsiteX580" fmla="*/ 2662588 w 3060746"/>
                <a:gd name="connsiteY580" fmla="*/ 996756 h 1771142"/>
                <a:gd name="connsiteX581" fmla="*/ 2647895 w 3060746"/>
                <a:gd name="connsiteY581" fmla="*/ 973861 h 1771142"/>
                <a:gd name="connsiteX582" fmla="*/ 2554538 w 3060746"/>
                <a:gd name="connsiteY582" fmla="*/ 1016242 h 1771142"/>
                <a:gd name="connsiteX583" fmla="*/ 2496454 w 3060746"/>
                <a:gd name="connsiteY583" fmla="*/ 1069152 h 1771142"/>
                <a:gd name="connsiteX584" fmla="*/ 2495034 w 3060746"/>
                <a:gd name="connsiteY584" fmla="*/ 1063336 h 1771142"/>
                <a:gd name="connsiteX585" fmla="*/ 2507982 w 3060746"/>
                <a:gd name="connsiteY585" fmla="*/ 1051236 h 1771142"/>
                <a:gd name="connsiteX586" fmla="*/ 2511066 w 3060746"/>
                <a:gd name="connsiteY586" fmla="*/ 1038368 h 1771142"/>
                <a:gd name="connsiteX587" fmla="*/ 2519631 w 3060746"/>
                <a:gd name="connsiteY587" fmla="*/ 1035260 h 1771142"/>
                <a:gd name="connsiteX588" fmla="*/ 2528723 w 3060746"/>
                <a:gd name="connsiteY588" fmla="*/ 1026135 h 1771142"/>
                <a:gd name="connsiteX589" fmla="*/ 2549018 w 3060746"/>
                <a:gd name="connsiteY589" fmla="*/ 1003708 h 1771142"/>
                <a:gd name="connsiteX590" fmla="*/ 2579501 w 3060746"/>
                <a:gd name="connsiteY590" fmla="*/ 989236 h 1771142"/>
                <a:gd name="connsiteX591" fmla="*/ 2597442 w 3060746"/>
                <a:gd name="connsiteY591" fmla="*/ 967577 h 1771142"/>
                <a:gd name="connsiteX592" fmla="*/ 2639371 w 3060746"/>
                <a:gd name="connsiteY592" fmla="*/ 951768 h 1771142"/>
                <a:gd name="connsiteX593" fmla="*/ 2716735 w 3060746"/>
                <a:gd name="connsiteY593" fmla="*/ 929040 h 1771142"/>
                <a:gd name="connsiteX594" fmla="*/ 2831441 w 3060746"/>
                <a:gd name="connsiteY594" fmla="*/ 887160 h 1771142"/>
                <a:gd name="connsiteX595" fmla="*/ 2853888 w 3060746"/>
                <a:gd name="connsiteY595" fmla="*/ 867106 h 1771142"/>
                <a:gd name="connsiteX596" fmla="*/ 2898009 w 3060746"/>
                <a:gd name="connsiteY596" fmla="*/ 853970 h 1771142"/>
                <a:gd name="connsiteX597" fmla="*/ 2923215 w 3060746"/>
                <a:gd name="connsiteY597" fmla="*/ 834184 h 1771142"/>
                <a:gd name="connsiteX598" fmla="*/ 2902920 w 3060746"/>
                <a:gd name="connsiteY598" fmla="*/ 827298 h 1771142"/>
                <a:gd name="connsiteX599" fmla="*/ 2921104 w 3060746"/>
                <a:gd name="connsiteY599" fmla="*/ 815199 h 1771142"/>
                <a:gd name="connsiteX600" fmla="*/ 2914366 w 3060746"/>
                <a:gd name="connsiteY600" fmla="*/ 805606 h 1771142"/>
                <a:gd name="connsiteX601" fmla="*/ 2884898 w 3060746"/>
                <a:gd name="connsiteY601" fmla="*/ 803467 h 1771142"/>
                <a:gd name="connsiteX602" fmla="*/ 2863589 w 3060746"/>
                <a:gd name="connsiteY602" fmla="*/ 813494 h 1771142"/>
                <a:gd name="connsiteX603" fmla="*/ 2840777 w 3060746"/>
                <a:gd name="connsiteY603" fmla="*/ 804136 h 1771142"/>
                <a:gd name="connsiteX604" fmla="*/ 2779893 w 3060746"/>
                <a:gd name="connsiteY604" fmla="*/ 837559 h 1771142"/>
                <a:gd name="connsiteX605" fmla="*/ 2772343 w 3060746"/>
                <a:gd name="connsiteY605" fmla="*/ 831944 h 1771142"/>
                <a:gd name="connsiteX606" fmla="*/ 2794018 w 3060746"/>
                <a:gd name="connsiteY606" fmla="*/ 818575 h 1771142"/>
                <a:gd name="connsiteX607" fmla="*/ 2818372 w 3060746"/>
                <a:gd name="connsiteY607" fmla="*/ 808013 h 1771142"/>
                <a:gd name="connsiteX608" fmla="*/ 2851574 w 3060746"/>
                <a:gd name="connsiteY608" fmla="*/ 792170 h 1771142"/>
                <a:gd name="connsiteX609" fmla="*/ 2825150 w 3060746"/>
                <a:gd name="connsiteY609" fmla="*/ 790499 h 1771142"/>
                <a:gd name="connsiteX610" fmla="*/ 2798117 w 3060746"/>
                <a:gd name="connsiteY610" fmla="*/ 790700 h 1771142"/>
                <a:gd name="connsiteX611" fmla="*/ 2779081 w 3060746"/>
                <a:gd name="connsiteY611" fmla="*/ 794677 h 1771142"/>
                <a:gd name="connsiteX612" fmla="*/ 2754727 w 3060746"/>
                <a:gd name="connsiteY612" fmla="*/ 799490 h 1771142"/>
                <a:gd name="connsiteX613" fmla="*/ 2732484 w 3060746"/>
                <a:gd name="connsiteY613" fmla="*/ 790766 h 1771142"/>
                <a:gd name="connsiteX614" fmla="*/ 2698185 w 3060746"/>
                <a:gd name="connsiteY614" fmla="*/ 786722 h 1771142"/>
                <a:gd name="connsiteX615" fmla="*/ 2666485 w 3060746"/>
                <a:gd name="connsiteY615" fmla="*/ 786722 h 1771142"/>
                <a:gd name="connsiteX616" fmla="*/ 2691447 w 3060746"/>
                <a:gd name="connsiteY616" fmla="*/ 778868 h 1771142"/>
                <a:gd name="connsiteX617" fmla="*/ 2678783 w 3060746"/>
                <a:gd name="connsiteY617" fmla="*/ 756741 h 1771142"/>
                <a:gd name="connsiteX618" fmla="*/ 2655769 w 3060746"/>
                <a:gd name="connsiteY618" fmla="*/ 751828 h 1771142"/>
                <a:gd name="connsiteX619" fmla="*/ 2635474 w 3060746"/>
                <a:gd name="connsiteY619" fmla="*/ 742603 h 1771142"/>
                <a:gd name="connsiteX620" fmla="*/ 2595980 w 3060746"/>
                <a:gd name="connsiteY620" fmla="*/ 727061 h 1771142"/>
                <a:gd name="connsiteX621" fmla="*/ 2556324 w 3060746"/>
                <a:gd name="connsiteY621" fmla="*/ 717903 h 1771142"/>
                <a:gd name="connsiteX622" fmla="*/ 2544878 w 3060746"/>
                <a:gd name="connsiteY622" fmla="*/ 735918 h 1771142"/>
                <a:gd name="connsiteX623" fmla="*/ 2548206 w 3060746"/>
                <a:gd name="connsiteY623" fmla="*/ 745945 h 1771142"/>
                <a:gd name="connsiteX624" fmla="*/ 2541671 w 3060746"/>
                <a:gd name="connsiteY624" fmla="*/ 760217 h 1771142"/>
                <a:gd name="connsiteX625" fmla="*/ 2535096 w 3060746"/>
                <a:gd name="connsiteY625" fmla="*/ 770244 h 1771142"/>
                <a:gd name="connsiteX626" fmla="*/ 2513827 w 3060746"/>
                <a:gd name="connsiteY626" fmla="*/ 776495 h 1771142"/>
                <a:gd name="connsiteX627" fmla="*/ 2490122 w 3060746"/>
                <a:gd name="connsiteY627" fmla="*/ 793574 h 1771142"/>
                <a:gd name="connsiteX628" fmla="*/ 2468326 w 3060746"/>
                <a:gd name="connsiteY628" fmla="*/ 791502 h 1771142"/>
                <a:gd name="connsiteX629" fmla="*/ 2459964 w 3060746"/>
                <a:gd name="connsiteY629" fmla="*/ 794042 h 1771142"/>
                <a:gd name="connsiteX630" fmla="*/ 2447787 w 3060746"/>
                <a:gd name="connsiteY630" fmla="*/ 789764 h 1771142"/>
                <a:gd name="connsiteX631" fmla="*/ 2423433 w 3060746"/>
                <a:gd name="connsiteY631" fmla="*/ 789998 h 1771142"/>
                <a:gd name="connsiteX632" fmla="*/ 2404640 w 3060746"/>
                <a:gd name="connsiteY632" fmla="*/ 784616 h 1771142"/>
                <a:gd name="connsiteX633" fmla="*/ 2406751 w 3060746"/>
                <a:gd name="connsiteY633" fmla="*/ 777932 h 1771142"/>
                <a:gd name="connsiteX634" fmla="*/ 2397253 w 3060746"/>
                <a:gd name="connsiteY634" fmla="*/ 769743 h 1771142"/>
                <a:gd name="connsiteX635" fmla="*/ 2393194 w 3060746"/>
                <a:gd name="connsiteY635" fmla="*/ 758346 h 1771142"/>
                <a:gd name="connsiteX636" fmla="*/ 2398917 w 3060746"/>
                <a:gd name="connsiteY636" fmla="*/ 749054 h 1771142"/>
                <a:gd name="connsiteX637" fmla="*/ 2370504 w 3060746"/>
                <a:gd name="connsiteY637" fmla="*/ 754936 h 1771142"/>
                <a:gd name="connsiteX638" fmla="*/ 2338844 w 3060746"/>
                <a:gd name="connsiteY638" fmla="*/ 761387 h 1771142"/>
                <a:gd name="connsiteX639" fmla="*/ 2312988 w 3060746"/>
                <a:gd name="connsiteY639" fmla="*/ 757711 h 1771142"/>
                <a:gd name="connsiteX640" fmla="*/ 2300284 w 3060746"/>
                <a:gd name="connsiteY640" fmla="*/ 755972 h 1771142"/>
                <a:gd name="connsiteX641" fmla="*/ 2283764 w 3060746"/>
                <a:gd name="connsiteY641" fmla="*/ 756507 h 1771142"/>
                <a:gd name="connsiteX642" fmla="*/ 2276052 w 3060746"/>
                <a:gd name="connsiteY642" fmla="*/ 751728 h 1771142"/>
                <a:gd name="connsiteX643" fmla="*/ 2259004 w 3060746"/>
                <a:gd name="connsiteY643" fmla="*/ 753967 h 1771142"/>
                <a:gd name="connsiteX644" fmla="*/ 2218942 w 3060746"/>
                <a:gd name="connsiteY644" fmla="*/ 764195 h 1771142"/>
                <a:gd name="connsiteX645" fmla="*/ 2158869 w 3060746"/>
                <a:gd name="connsiteY645" fmla="*/ 780405 h 1771142"/>
                <a:gd name="connsiteX646" fmla="*/ 2098756 w 3060746"/>
                <a:gd name="connsiteY646" fmla="*/ 805606 h 1771142"/>
                <a:gd name="connsiteX647" fmla="*/ 2117224 w 3060746"/>
                <a:gd name="connsiteY647" fmla="*/ 814698 h 1771142"/>
                <a:gd name="connsiteX648" fmla="*/ 2120715 w 3060746"/>
                <a:gd name="connsiteY648" fmla="*/ 829471 h 1771142"/>
                <a:gd name="connsiteX649" fmla="*/ 2124368 w 3060746"/>
                <a:gd name="connsiteY649" fmla="*/ 839799 h 1771142"/>
                <a:gd name="connsiteX650" fmla="*/ 2149087 w 3060746"/>
                <a:gd name="connsiteY650" fmla="*/ 852500 h 1771142"/>
                <a:gd name="connsiteX651" fmla="*/ 2137641 w 3060746"/>
                <a:gd name="connsiteY651" fmla="*/ 866838 h 1771142"/>
                <a:gd name="connsiteX652" fmla="*/ 2136098 w 3060746"/>
                <a:gd name="connsiteY652" fmla="*/ 878403 h 1771142"/>
                <a:gd name="connsiteX653" fmla="*/ 2128873 w 3060746"/>
                <a:gd name="connsiteY653" fmla="*/ 895616 h 1771142"/>
                <a:gd name="connsiteX654" fmla="*/ 2162928 w 3060746"/>
                <a:gd name="connsiteY654" fmla="*/ 896686 h 1771142"/>
                <a:gd name="connsiteX655" fmla="*/ 2199459 w 3060746"/>
                <a:gd name="connsiteY655" fmla="*/ 905142 h 1771142"/>
                <a:gd name="connsiteX656" fmla="*/ 2194953 w 3060746"/>
                <a:gd name="connsiteY656" fmla="*/ 955845 h 1771142"/>
                <a:gd name="connsiteX657" fmla="*/ 2161345 w 3060746"/>
                <a:gd name="connsiteY657" fmla="*/ 983721 h 1771142"/>
                <a:gd name="connsiteX658" fmla="*/ 2136991 w 3060746"/>
                <a:gd name="connsiteY658" fmla="*/ 996422 h 1771142"/>
                <a:gd name="connsiteX659" fmla="*/ 2165404 w 3060746"/>
                <a:gd name="connsiteY659" fmla="*/ 1009190 h 1771142"/>
                <a:gd name="connsiteX660" fmla="*/ 2184887 w 3060746"/>
                <a:gd name="connsiteY660" fmla="*/ 1031249 h 1771142"/>
                <a:gd name="connsiteX661" fmla="*/ 2194548 w 3060746"/>
                <a:gd name="connsiteY661" fmla="*/ 1044953 h 1771142"/>
                <a:gd name="connsiteX662" fmla="*/ 2195968 w 3060746"/>
                <a:gd name="connsiteY662" fmla="*/ 1053676 h 1771142"/>
                <a:gd name="connsiteX663" fmla="*/ 2184887 w 3060746"/>
                <a:gd name="connsiteY663" fmla="*/ 1059693 h 1771142"/>
                <a:gd name="connsiteX664" fmla="*/ 2172710 w 3060746"/>
                <a:gd name="connsiteY664" fmla="*/ 1075335 h 1771142"/>
                <a:gd name="connsiteX665" fmla="*/ 2155703 w 3060746"/>
                <a:gd name="connsiteY665" fmla="*/ 1078209 h 1771142"/>
                <a:gd name="connsiteX666" fmla="*/ 2138493 w 3060746"/>
                <a:gd name="connsiteY666" fmla="*/ 1075669 h 1771142"/>
                <a:gd name="connsiteX667" fmla="*/ 2106508 w 3060746"/>
                <a:gd name="connsiteY667" fmla="*/ 1072327 h 1771142"/>
                <a:gd name="connsiteX668" fmla="*/ 2083129 w 3060746"/>
                <a:gd name="connsiteY668" fmla="*/ 1066143 h 1771142"/>
                <a:gd name="connsiteX669" fmla="*/ 2056948 w 3060746"/>
                <a:gd name="connsiteY669" fmla="*/ 1039404 h 1771142"/>
                <a:gd name="connsiteX670" fmla="*/ 2050576 w 3060746"/>
                <a:gd name="connsiteY670" fmla="*/ 1020821 h 1771142"/>
                <a:gd name="connsiteX671" fmla="*/ 2004141 w 3060746"/>
                <a:gd name="connsiteY671" fmla="*/ 1030313 h 1771142"/>
                <a:gd name="connsiteX672" fmla="*/ 1959492 w 3060746"/>
                <a:gd name="connsiteY672" fmla="*/ 1045254 h 1771142"/>
                <a:gd name="connsiteX673" fmla="*/ 1927426 w 3060746"/>
                <a:gd name="connsiteY673" fmla="*/ 1047092 h 1771142"/>
                <a:gd name="connsiteX674" fmla="*/ 1883589 w 3060746"/>
                <a:gd name="connsiteY674" fmla="*/ 1054378 h 1771142"/>
                <a:gd name="connsiteX675" fmla="*/ 1857977 w 3060746"/>
                <a:gd name="connsiteY675" fmla="*/ 1051972 h 1771142"/>
                <a:gd name="connsiteX676" fmla="*/ 1791897 w 3060746"/>
                <a:gd name="connsiteY676" fmla="*/ 1063403 h 1771142"/>
                <a:gd name="connsiteX677" fmla="*/ 1763484 w 3060746"/>
                <a:gd name="connsiteY677" fmla="*/ 1067480 h 1771142"/>
                <a:gd name="connsiteX678" fmla="*/ 1730160 w 3060746"/>
                <a:gd name="connsiteY678" fmla="*/ 1079479 h 1771142"/>
                <a:gd name="connsiteX679" fmla="*/ 1705522 w 3060746"/>
                <a:gd name="connsiteY679" fmla="*/ 1094921 h 1771142"/>
                <a:gd name="connsiteX680" fmla="*/ 1702681 w 3060746"/>
                <a:gd name="connsiteY680" fmla="*/ 1085395 h 1771142"/>
                <a:gd name="connsiteX681" fmla="*/ 1653973 w 3060746"/>
                <a:gd name="connsiteY681" fmla="*/ 1066478 h 1771142"/>
                <a:gd name="connsiteX682" fmla="*/ 1600719 w 3060746"/>
                <a:gd name="connsiteY682" fmla="*/ 1069820 h 1771142"/>
                <a:gd name="connsiteX683" fmla="*/ 1596214 w 3060746"/>
                <a:gd name="connsiteY683" fmla="*/ 1029411 h 1771142"/>
                <a:gd name="connsiteX684" fmla="*/ 1597837 w 3060746"/>
                <a:gd name="connsiteY684" fmla="*/ 1012900 h 1771142"/>
                <a:gd name="connsiteX685" fmla="*/ 1618822 w 3060746"/>
                <a:gd name="connsiteY685" fmla="*/ 992578 h 1771142"/>
                <a:gd name="connsiteX686" fmla="*/ 1626940 w 3060746"/>
                <a:gd name="connsiteY686" fmla="*/ 978172 h 1771142"/>
                <a:gd name="connsiteX687" fmla="*/ 1630512 w 3060746"/>
                <a:gd name="connsiteY687" fmla="*/ 969315 h 1771142"/>
                <a:gd name="connsiteX688" fmla="*/ 1638630 w 3060746"/>
                <a:gd name="connsiteY688" fmla="*/ 962263 h 1771142"/>
                <a:gd name="connsiteX689" fmla="*/ 1631405 w 3060746"/>
                <a:gd name="connsiteY689" fmla="*/ 959422 h 1771142"/>
                <a:gd name="connsiteX690" fmla="*/ 1647885 w 3060746"/>
                <a:gd name="connsiteY690" fmla="*/ 951200 h 1771142"/>
                <a:gd name="connsiteX691" fmla="*/ 1679423 w 3060746"/>
                <a:gd name="connsiteY691" fmla="*/ 932014 h 1771142"/>
                <a:gd name="connsiteX692" fmla="*/ 1629254 w 3060746"/>
                <a:gd name="connsiteY692" fmla="*/ 936760 h 1771142"/>
                <a:gd name="connsiteX693" fmla="*/ 1579937 w 3060746"/>
                <a:gd name="connsiteY693" fmla="*/ 944615 h 1771142"/>
                <a:gd name="connsiteX694" fmla="*/ 1574742 w 3060746"/>
                <a:gd name="connsiteY694" fmla="*/ 942409 h 1771142"/>
                <a:gd name="connsiteX695" fmla="*/ 1616184 w 3060746"/>
                <a:gd name="connsiteY695" fmla="*/ 929541 h 1771142"/>
                <a:gd name="connsiteX696" fmla="*/ 1691519 w 3060746"/>
                <a:gd name="connsiteY696" fmla="*/ 907949 h 1771142"/>
                <a:gd name="connsiteX697" fmla="*/ 1687135 w 3060746"/>
                <a:gd name="connsiteY697" fmla="*/ 894145 h 1771142"/>
                <a:gd name="connsiteX698" fmla="*/ 1724640 w 3060746"/>
                <a:gd name="connsiteY698" fmla="*/ 884319 h 1771142"/>
                <a:gd name="connsiteX699" fmla="*/ 1770222 w 3060746"/>
                <a:gd name="connsiteY699" fmla="*/ 839866 h 1771142"/>
                <a:gd name="connsiteX700" fmla="*/ 1700042 w 3060746"/>
                <a:gd name="connsiteY700" fmla="*/ 852767 h 1771142"/>
                <a:gd name="connsiteX701" fmla="*/ 1666637 w 3060746"/>
                <a:gd name="connsiteY701" fmla="*/ 850093 h 1771142"/>
                <a:gd name="connsiteX702" fmla="*/ 1700083 w 3060746"/>
                <a:gd name="connsiteY702" fmla="*/ 840868 h 1771142"/>
                <a:gd name="connsiteX703" fmla="*/ 1771927 w 3060746"/>
                <a:gd name="connsiteY703" fmla="*/ 819043 h 1771142"/>
                <a:gd name="connsiteX704" fmla="*/ 1792222 w 3060746"/>
                <a:gd name="connsiteY704" fmla="*/ 797418 h 1771142"/>
                <a:gd name="connsiteX705" fmla="*/ 1766447 w 3060746"/>
                <a:gd name="connsiteY705" fmla="*/ 798120 h 1771142"/>
                <a:gd name="connsiteX706" fmla="*/ 1788975 w 3060746"/>
                <a:gd name="connsiteY706" fmla="*/ 783614 h 1771142"/>
                <a:gd name="connsiteX707" fmla="*/ 1829077 w 3060746"/>
                <a:gd name="connsiteY707" fmla="*/ 777765 h 1771142"/>
                <a:gd name="connsiteX708" fmla="*/ 1846369 w 3060746"/>
                <a:gd name="connsiteY708" fmla="*/ 764195 h 1771142"/>
                <a:gd name="connsiteX709" fmla="*/ 1815723 w 3060746"/>
                <a:gd name="connsiteY709" fmla="*/ 761220 h 1771142"/>
                <a:gd name="connsiteX710" fmla="*/ 1843487 w 3060746"/>
                <a:gd name="connsiteY710" fmla="*/ 758346 h 1771142"/>
                <a:gd name="connsiteX711" fmla="*/ 1877420 w 3060746"/>
                <a:gd name="connsiteY711" fmla="*/ 753399 h 1771142"/>
                <a:gd name="connsiteX712" fmla="*/ 1907497 w 3060746"/>
                <a:gd name="connsiteY712" fmla="*/ 728398 h 1771142"/>
                <a:gd name="connsiteX713" fmla="*/ 1924504 w 3060746"/>
                <a:gd name="connsiteY713" fmla="*/ 710884 h 1771142"/>
                <a:gd name="connsiteX714" fmla="*/ 1889921 w 3060746"/>
                <a:gd name="connsiteY714" fmla="*/ 700222 h 1771142"/>
                <a:gd name="connsiteX715" fmla="*/ 1879124 w 3060746"/>
                <a:gd name="connsiteY715" fmla="*/ 690195 h 1771142"/>
                <a:gd name="connsiteX716" fmla="*/ 1909445 w 3060746"/>
                <a:gd name="connsiteY716" fmla="*/ 671110 h 1771142"/>
                <a:gd name="connsiteX717" fmla="*/ 1893209 w 3060746"/>
                <a:gd name="connsiteY717" fmla="*/ 669071 h 1771142"/>
                <a:gd name="connsiteX718" fmla="*/ 1897715 w 3060746"/>
                <a:gd name="connsiteY718" fmla="*/ 660448 h 1771142"/>
                <a:gd name="connsiteX719" fmla="*/ 1873361 w 3060746"/>
                <a:gd name="connsiteY719" fmla="*/ 665963 h 1771142"/>
                <a:gd name="connsiteX720" fmla="*/ 1839509 w 3060746"/>
                <a:gd name="connsiteY720" fmla="*/ 664726 h 1771142"/>
                <a:gd name="connsiteX721" fmla="*/ 1758330 w 3060746"/>
                <a:gd name="connsiteY721" fmla="*/ 689292 h 1771142"/>
                <a:gd name="connsiteX722" fmla="*/ 1761820 w 3060746"/>
                <a:gd name="connsiteY722" fmla="*/ 702896 h 1771142"/>
                <a:gd name="connsiteX723" fmla="*/ 1783576 w 3060746"/>
                <a:gd name="connsiteY723" fmla="*/ 707007 h 1771142"/>
                <a:gd name="connsiteX724" fmla="*/ 1777325 w 3060746"/>
                <a:gd name="connsiteY724" fmla="*/ 717234 h 1771142"/>
                <a:gd name="connsiteX725" fmla="*/ 1765149 w 3060746"/>
                <a:gd name="connsiteY725" fmla="*/ 735116 h 1771142"/>
                <a:gd name="connsiteX726" fmla="*/ 1752972 w 3060746"/>
                <a:gd name="connsiteY726" fmla="*/ 753934 h 1771142"/>
                <a:gd name="connsiteX727" fmla="*/ 1736736 w 3060746"/>
                <a:gd name="connsiteY727" fmla="*/ 747817 h 1771142"/>
                <a:gd name="connsiteX728" fmla="*/ 1757031 w 3060746"/>
                <a:gd name="connsiteY728" fmla="*/ 768707 h 1771142"/>
                <a:gd name="connsiteX729" fmla="*/ 1745138 w 3060746"/>
                <a:gd name="connsiteY729" fmla="*/ 775592 h 1771142"/>
                <a:gd name="connsiteX730" fmla="*/ 1735315 w 3060746"/>
                <a:gd name="connsiteY730" fmla="*/ 785887 h 1771142"/>
                <a:gd name="connsiteX731" fmla="*/ 1699921 w 3060746"/>
                <a:gd name="connsiteY731" fmla="*/ 781241 h 1771142"/>
                <a:gd name="connsiteX732" fmla="*/ 1689733 w 3060746"/>
                <a:gd name="connsiteY732" fmla="*/ 765331 h 1771142"/>
                <a:gd name="connsiteX733" fmla="*/ 1685308 w 3060746"/>
                <a:gd name="connsiteY733" fmla="*/ 750190 h 1771142"/>
                <a:gd name="connsiteX734" fmla="*/ 1643866 w 3060746"/>
                <a:gd name="connsiteY734" fmla="*/ 750424 h 1771142"/>
                <a:gd name="connsiteX735" fmla="*/ 1625520 w 3060746"/>
                <a:gd name="connsiteY735" fmla="*/ 770478 h 1771142"/>
                <a:gd name="connsiteX736" fmla="*/ 1603642 w 3060746"/>
                <a:gd name="connsiteY736" fmla="*/ 785753 h 1771142"/>
                <a:gd name="connsiteX737" fmla="*/ 1588096 w 3060746"/>
                <a:gd name="connsiteY737" fmla="*/ 777397 h 1771142"/>
                <a:gd name="connsiteX738" fmla="*/ 1602262 w 3060746"/>
                <a:gd name="connsiteY738" fmla="*/ 759148 h 1771142"/>
                <a:gd name="connsiteX739" fmla="*/ 1561672 w 3060746"/>
                <a:gd name="connsiteY739" fmla="*/ 766601 h 1771142"/>
                <a:gd name="connsiteX740" fmla="*/ 1533706 w 3060746"/>
                <a:gd name="connsiteY740" fmla="*/ 778767 h 1771142"/>
                <a:gd name="connsiteX741" fmla="*/ 1535492 w 3060746"/>
                <a:gd name="connsiteY741" fmla="*/ 762624 h 1771142"/>
                <a:gd name="connsiteX742" fmla="*/ 1538252 w 3060746"/>
                <a:gd name="connsiteY742" fmla="*/ 753466 h 1771142"/>
                <a:gd name="connsiteX743" fmla="*/ 1515806 w 3060746"/>
                <a:gd name="connsiteY743" fmla="*/ 751694 h 1771142"/>
                <a:gd name="connsiteX744" fmla="*/ 1485485 w 3060746"/>
                <a:gd name="connsiteY744" fmla="*/ 756307 h 1771142"/>
                <a:gd name="connsiteX745" fmla="*/ 1479437 w 3060746"/>
                <a:gd name="connsiteY745" fmla="*/ 742068 h 1771142"/>
                <a:gd name="connsiteX746" fmla="*/ 1440471 w 3060746"/>
                <a:gd name="connsiteY746" fmla="*/ 743205 h 1771142"/>
                <a:gd name="connsiteX747" fmla="*/ 1417091 w 3060746"/>
                <a:gd name="connsiteY747" fmla="*/ 745644 h 1771142"/>
                <a:gd name="connsiteX748" fmla="*/ 1434058 w 3060746"/>
                <a:gd name="connsiteY748" fmla="*/ 730571 h 1771142"/>
                <a:gd name="connsiteX749" fmla="*/ 1438117 w 3060746"/>
                <a:gd name="connsiteY749" fmla="*/ 712622 h 1771142"/>
                <a:gd name="connsiteX750" fmla="*/ 1451146 w 3060746"/>
                <a:gd name="connsiteY750" fmla="*/ 702194 h 1771142"/>
                <a:gd name="connsiteX751" fmla="*/ 1503913 w 3060746"/>
                <a:gd name="connsiteY751" fmla="*/ 667834 h 1771142"/>
                <a:gd name="connsiteX752" fmla="*/ 1499854 w 3060746"/>
                <a:gd name="connsiteY752" fmla="*/ 638288 h 1771142"/>
                <a:gd name="connsiteX753" fmla="*/ 1451471 w 3060746"/>
                <a:gd name="connsiteY753" fmla="*/ 655000 h 1771142"/>
                <a:gd name="connsiteX754" fmla="*/ 1410069 w 3060746"/>
                <a:gd name="connsiteY754" fmla="*/ 667266 h 1771142"/>
                <a:gd name="connsiteX755" fmla="*/ 1367572 w 3060746"/>
                <a:gd name="connsiteY755" fmla="*/ 687855 h 1771142"/>
                <a:gd name="connsiteX756" fmla="*/ 1369885 w 3060746"/>
                <a:gd name="connsiteY756" fmla="*/ 698785 h 1771142"/>
                <a:gd name="connsiteX757" fmla="*/ 1349591 w 3060746"/>
                <a:gd name="connsiteY757" fmla="*/ 708177 h 1771142"/>
                <a:gd name="connsiteX758" fmla="*/ 1357709 w 3060746"/>
                <a:gd name="connsiteY758" fmla="*/ 721011 h 1771142"/>
                <a:gd name="connsiteX759" fmla="*/ 1374797 w 3060746"/>
                <a:gd name="connsiteY759" fmla="*/ 736921 h 1771142"/>
                <a:gd name="connsiteX760" fmla="*/ 1399151 w 3060746"/>
                <a:gd name="connsiteY760" fmla="*/ 752898 h 1771142"/>
                <a:gd name="connsiteX761" fmla="*/ 1384011 w 3060746"/>
                <a:gd name="connsiteY761" fmla="*/ 770044 h 1771142"/>
                <a:gd name="connsiteX762" fmla="*/ 1399719 w 3060746"/>
                <a:gd name="connsiteY762" fmla="*/ 775024 h 1771142"/>
                <a:gd name="connsiteX763" fmla="*/ 1371996 w 3060746"/>
                <a:gd name="connsiteY763" fmla="*/ 784717 h 1771142"/>
                <a:gd name="connsiteX764" fmla="*/ 1375528 w 3060746"/>
                <a:gd name="connsiteY764" fmla="*/ 803969 h 1771142"/>
                <a:gd name="connsiteX765" fmla="*/ 1382387 w 3060746"/>
                <a:gd name="connsiteY765" fmla="*/ 816703 h 1771142"/>
                <a:gd name="connsiteX766" fmla="*/ 1413925 w 3060746"/>
                <a:gd name="connsiteY766" fmla="*/ 823388 h 1771142"/>
                <a:gd name="connsiteX767" fmla="*/ 1463810 w 3060746"/>
                <a:gd name="connsiteY767" fmla="*/ 810520 h 1771142"/>
                <a:gd name="connsiteX768" fmla="*/ 1472375 w 3060746"/>
                <a:gd name="connsiteY768" fmla="*/ 816135 h 1771142"/>
                <a:gd name="connsiteX769" fmla="*/ 1477651 w 3060746"/>
                <a:gd name="connsiteY769" fmla="*/ 822385 h 1771142"/>
                <a:gd name="connsiteX770" fmla="*/ 1471603 w 3060746"/>
                <a:gd name="connsiteY770" fmla="*/ 831543 h 1771142"/>
                <a:gd name="connsiteX771" fmla="*/ 1484511 w 3060746"/>
                <a:gd name="connsiteY771" fmla="*/ 822151 h 1771142"/>
                <a:gd name="connsiteX772" fmla="*/ 1503953 w 3060746"/>
                <a:gd name="connsiteY772" fmla="*/ 824858 h 1771142"/>
                <a:gd name="connsiteX773" fmla="*/ 1496282 w 3060746"/>
                <a:gd name="connsiteY773" fmla="*/ 834150 h 1771142"/>
                <a:gd name="connsiteX774" fmla="*/ 1479031 w 3060746"/>
                <a:gd name="connsiteY774" fmla="*/ 852867 h 1771142"/>
                <a:gd name="connsiteX775" fmla="*/ 1453703 w 3060746"/>
                <a:gd name="connsiteY775" fmla="*/ 868476 h 1771142"/>
                <a:gd name="connsiteX776" fmla="*/ 1472375 w 3060746"/>
                <a:gd name="connsiteY776" fmla="*/ 880709 h 1771142"/>
                <a:gd name="connsiteX777" fmla="*/ 1439497 w 3060746"/>
                <a:gd name="connsiteY777" fmla="*/ 892174 h 1771142"/>
                <a:gd name="connsiteX778" fmla="*/ 1432881 w 3060746"/>
                <a:gd name="connsiteY778" fmla="*/ 870782 h 1771142"/>
                <a:gd name="connsiteX779" fmla="*/ 1403413 w 3060746"/>
                <a:gd name="connsiteY779" fmla="*/ 879105 h 1771142"/>
                <a:gd name="connsiteX780" fmla="*/ 1386730 w 3060746"/>
                <a:gd name="connsiteY780" fmla="*/ 876999 h 1771142"/>
                <a:gd name="connsiteX781" fmla="*/ 1418187 w 3060746"/>
                <a:gd name="connsiteY781" fmla="*/ 863128 h 1771142"/>
                <a:gd name="connsiteX782" fmla="*/ 1446600 w 3060746"/>
                <a:gd name="connsiteY782" fmla="*/ 848054 h 1771142"/>
                <a:gd name="connsiteX783" fmla="*/ 1453216 w 3060746"/>
                <a:gd name="connsiteY783" fmla="*/ 830674 h 1771142"/>
                <a:gd name="connsiteX784" fmla="*/ 1420744 w 3060746"/>
                <a:gd name="connsiteY784" fmla="*/ 840935 h 1771142"/>
                <a:gd name="connsiteX785" fmla="*/ 1414859 w 3060746"/>
                <a:gd name="connsiteY785" fmla="*/ 836690 h 1771142"/>
                <a:gd name="connsiteX786" fmla="*/ 1417457 w 3060746"/>
                <a:gd name="connsiteY786" fmla="*/ 828903 h 1771142"/>
                <a:gd name="connsiteX787" fmla="*/ 1370819 w 3060746"/>
                <a:gd name="connsiteY787" fmla="*/ 843743 h 1771142"/>
                <a:gd name="connsiteX788" fmla="*/ 1340214 w 3060746"/>
                <a:gd name="connsiteY788" fmla="*/ 851330 h 1771142"/>
                <a:gd name="connsiteX789" fmla="*/ 1331569 w 3060746"/>
                <a:gd name="connsiteY789" fmla="*/ 874726 h 1771142"/>
                <a:gd name="connsiteX790" fmla="*/ 1308757 w 3060746"/>
                <a:gd name="connsiteY790" fmla="*/ 890669 h 1771142"/>
                <a:gd name="connsiteX791" fmla="*/ 1351174 w 3060746"/>
                <a:gd name="connsiteY791" fmla="*/ 880642 h 1771142"/>
                <a:gd name="connsiteX792" fmla="*/ 1372686 w 3060746"/>
                <a:gd name="connsiteY792" fmla="*/ 881912 h 1771142"/>
                <a:gd name="connsiteX793" fmla="*/ 1366841 w 3060746"/>
                <a:gd name="connsiteY793" fmla="*/ 888965 h 1771142"/>
                <a:gd name="connsiteX794" fmla="*/ 1352351 w 3060746"/>
                <a:gd name="connsiteY794" fmla="*/ 894379 h 1771142"/>
                <a:gd name="connsiteX795" fmla="*/ 1349793 w 3060746"/>
                <a:gd name="connsiteY795" fmla="*/ 901733 h 1771142"/>
                <a:gd name="connsiteX796" fmla="*/ 1353852 w 3060746"/>
                <a:gd name="connsiteY796" fmla="*/ 912395 h 1771142"/>
                <a:gd name="connsiteX797" fmla="*/ 1317322 w 3060746"/>
                <a:gd name="connsiteY797" fmla="*/ 927268 h 1771142"/>
                <a:gd name="connsiteX798" fmla="*/ 1270684 w 3060746"/>
                <a:gd name="connsiteY798" fmla="*/ 951266 h 1771142"/>
                <a:gd name="connsiteX799" fmla="*/ 1173269 w 3060746"/>
                <a:gd name="connsiteY799" fmla="*/ 983320 h 1771142"/>
                <a:gd name="connsiteX800" fmla="*/ 1140797 w 3060746"/>
                <a:gd name="connsiteY800" fmla="*/ 989403 h 1771142"/>
                <a:gd name="connsiteX801" fmla="*/ 1118513 w 3060746"/>
                <a:gd name="connsiteY801" fmla="*/ 986562 h 1771142"/>
                <a:gd name="connsiteX802" fmla="*/ 1054584 w 3060746"/>
                <a:gd name="connsiteY802" fmla="*/ 1017445 h 1771142"/>
                <a:gd name="connsiteX803" fmla="*/ 1025238 w 3060746"/>
                <a:gd name="connsiteY803" fmla="*/ 1040842 h 1771142"/>
                <a:gd name="connsiteX804" fmla="*/ 1043584 w 3060746"/>
                <a:gd name="connsiteY804" fmla="*/ 1040541 h 1771142"/>
                <a:gd name="connsiteX805" fmla="*/ 1062499 w 3060746"/>
                <a:gd name="connsiteY805" fmla="*/ 1025400 h 1771142"/>
                <a:gd name="connsiteX806" fmla="*/ 1100491 w 3060746"/>
                <a:gd name="connsiteY806" fmla="*/ 999931 h 1771142"/>
                <a:gd name="connsiteX807" fmla="*/ 1105849 w 3060746"/>
                <a:gd name="connsiteY807" fmla="*/ 1004577 h 1771142"/>
                <a:gd name="connsiteX808" fmla="*/ 1075001 w 3060746"/>
                <a:gd name="connsiteY808" fmla="*/ 1027974 h 1771142"/>
                <a:gd name="connsiteX809" fmla="*/ 1092008 w 3060746"/>
                <a:gd name="connsiteY809" fmla="*/ 1055448 h 1771142"/>
                <a:gd name="connsiteX810" fmla="*/ 1072971 w 3060746"/>
                <a:gd name="connsiteY810" fmla="*/ 1074399 h 1771142"/>
                <a:gd name="connsiteX811" fmla="*/ 1060226 w 3060746"/>
                <a:gd name="connsiteY811" fmla="*/ 1072861 h 1771142"/>
                <a:gd name="connsiteX812" fmla="*/ 1034452 w 3060746"/>
                <a:gd name="connsiteY812" fmla="*/ 1066177 h 1771142"/>
                <a:gd name="connsiteX813" fmla="*/ 1027470 w 3060746"/>
                <a:gd name="connsiteY813" fmla="*/ 1064305 h 1771142"/>
                <a:gd name="connsiteX814" fmla="*/ 1013101 w 3060746"/>
                <a:gd name="connsiteY814" fmla="*/ 1070689 h 1771142"/>
                <a:gd name="connsiteX815" fmla="*/ 975921 w 3060746"/>
                <a:gd name="connsiteY815" fmla="*/ 1082253 h 1771142"/>
                <a:gd name="connsiteX816" fmla="*/ 887679 w 3060746"/>
                <a:gd name="connsiteY816" fmla="*/ 1132990 h 1771142"/>
                <a:gd name="connsiteX817" fmla="*/ 823994 w 3060746"/>
                <a:gd name="connsiteY817" fmla="*/ 1155284 h 1771142"/>
                <a:gd name="connsiteX818" fmla="*/ 842300 w 3060746"/>
                <a:gd name="connsiteY818" fmla="*/ 1135430 h 1771142"/>
                <a:gd name="connsiteX819" fmla="*/ 850986 w 3060746"/>
                <a:gd name="connsiteY819" fmla="*/ 1122830 h 1771142"/>
                <a:gd name="connsiteX820" fmla="*/ 805363 w 3060746"/>
                <a:gd name="connsiteY820" fmla="*/ 1130150 h 1771142"/>
                <a:gd name="connsiteX821" fmla="*/ 779507 w 3060746"/>
                <a:gd name="connsiteY821" fmla="*/ 1142884 h 1771142"/>
                <a:gd name="connsiteX822" fmla="*/ 698044 w 3060746"/>
                <a:gd name="connsiteY822" fmla="*/ 1175004 h 1771142"/>
                <a:gd name="connsiteX823" fmla="*/ 659727 w 3060746"/>
                <a:gd name="connsiteY823" fmla="*/ 1190813 h 1771142"/>
                <a:gd name="connsiteX824" fmla="*/ 607894 w 3060746"/>
                <a:gd name="connsiteY824" fmla="*/ 1204550 h 1771142"/>
                <a:gd name="connsiteX825" fmla="*/ 543681 w 3060746"/>
                <a:gd name="connsiteY825" fmla="*/ 1246798 h 1771142"/>
                <a:gd name="connsiteX826" fmla="*/ 510113 w 3060746"/>
                <a:gd name="connsiteY826" fmla="*/ 1269526 h 1771142"/>
                <a:gd name="connsiteX827" fmla="*/ 509910 w 3060746"/>
                <a:gd name="connsiteY827" fmla="*/ 1258061 h 1771142"/>
                <a:gd name="connsiteX828" fmla="*/ 494039 w 3060746"/>
                <a:gd name="connsiteY828" fmla="*/ 1251043 h 1771142"/>
                <a:gd name="connsiteX829" fmla="*/ 481132 w 3060746"/>
                <a:gd name="connsiteY829" fmla="*/ 1268256 h 1771142"/>
                <a:gd name="connsiteX830" fmla="*/ 372554 w 3060746"/>
                <a:gd name="connsiteY830" fmla="*/ 1300008 h 1771142"/>
                <a:gd name="connsiteX831" fmla="*/ 385868 w 3060746"/>
                <a:gd name="connsiteY831" fmla="*/ 1307595 h 1771142"/>
                <a:gd name="connsiteX832" fmla="*/ 373691 w 3060746"/>
                <a:gd name="connsiteY832" fmla="*/ 1318759 h 1771142"/>
                <a:gd name="connsiteX833" fmla="*/ 366872 w 3060746"/>
                <a:gd name="connsiteY833" fmla="*/ 1338211 h 1771142"/>
                <a:gd name="connsiteX834" fmla="*/ 346009 w 3060746"/>
                <a:gd name="connsiteY834" fmla="*/ 1345331 h 1771142"/>
                <a:gd name="connsiteX835" fmla="*/ 312076 w 3060746"/>
                <a:gd name="connsiteY835" fmla="*/ 1382732 h 1771142"/>
                <a:gd name="connsiteX836" fmla="*/ 303633 w 3060746"/>
                <a:gd name="connsiteY836" fmla="*/ 1383868 h 1771142"/>
                <a:gd name="connsiteX837" fmla="*/ 286951 w 3060746"/>
                <a:gd name="connsiteY837" fmla="*/ 1398641 h 1771142"/>
                <a:gd name="connsiteX838" fmla="*/ 272014 w 3060746"/>
                <a:gd name="connsiteY838" fmla="*/ 1424210 h 1771142"/>
                <a:gd name="connsiteX839" fmla="*/ 256305 w 3060746"/>
                <a:gd name="connsiteY839" fmla="*/ 1428087 h 1771142"/>
                <a:gd name="connsiteX840" fmla="*/ 292349 w 3060746"/>
                <a:gd name="connsiteY840" fmla="*/ 1385773 h 1771142"/>
                <a:gd name="connsiteX841" fmla="*/ 335212 w 3060746"/>
                <a:gd name="connsiteY841" fmla="*/ 1347904 h 1771142"/>
                <a:gd name="connsiteX842" fmla="*/ 307043 w 3060746"/>
                <a:gd name="connsiteY842" fmla="*/ 1356628 h 1771142"/>
                <a:gd name="connsiteX843" fmla="*/ 251800 w 3060746"/>
                <a:gd name="connsiteY843" fmla="*/ 1406228 h 1771142"/>
                <a:gd name="connsiteX844" fmla="*/ 237025 w 3060746"/>
                <a:gd name="connsiteY844" fmla="*/ 1424578 h 1771142"/>
                <a:gd name="connsiteX845" fmla="*/ 223103 w 3060746"/>
                <a:gd name="connsiteY845" fmla="*/ 1436477 h 1771142"/>
                <a:gd name="connsiteX846" fmla="*/ 215472 w 3060746"/>
                <a:gd name="connsiteY846" fmla="*/ 1433134 h 1771142"/>
                <a:gd name="connsiteX847" fmla="*/ 191118 w 3060746"/>
                <a:gd name="connsiteY847" fmla="*/ 1453188 h 1771142"/>
                <a:gd name="connsiteX848" fmla="*/ 165384 w 3060746"/>
                <a:gd name="connsiteY848" fmla="*/ 1474078 h 1771142"/>
                <a:gd name="connsiteX849" fmla="*/ 185679 w 3060746"/>
                <a:gd name="connsiteY849" fmla="*/ 1477420 h 1771142"/>
                <a:gd name="connsiteX850" fmla="*/ 153938 w 3060746"/>
                <a:gd name="connsiteY850" fmla="*/ 1494801 h 1771142"/>
                <a:gd name="connsiteX851" fmla="*/ 93987 w 3060746"/>
                <a:gd name="connsiteY851" fmla="*/ 1522977 h 1771142"/>
                <a:gd name="connsiteX852" fmla="*/ 54899 w 3060746"/>
                <a:gd name="connsiteY852" fmla="*/ 1531567 h 1771142"/>
                <a:gd name="connsiteX853" fmla="*/ -60 w 3060746"/>
                <a:gd name="connsiteY853" fmla="*/ 1564456 h 1771142"/>
                <a:gd name="connsiteX854" fmla="*/ 172609 w 3060746"/>
                <a:gd name="connsiteY854" fmla="*/ 1746514 h 1771142"/>
                <a:gd name="connsiteX855" fmla="*/ 195218 w 3060746"/>
                <a:gd name="connsiteY855" fmla="*/ 1770345 h 1771142"/>
                <a:gd name="connsiteX856" fmla="*/ 241246 w 3060746"/>
                <a:gd name="connsiteY856" fmla="*/ 1738325 h 1771142"/>
                <a:gd name="connsiteX857" fmla="*/ 263855 w 3060746"/>
                <a:gd name="connsiteY857" fmla="*/ 1738526 h 1771142"/>
                <a:gd name="connsiteX858" fmla="*/ 309924 w 3060746"/>
                <a:gd name="connsiteY858" fmla="*/ 1733479 h 1771142"/>
                <a:gd name="connsiteX859" fmla="*/ 339271 w 3060746"/>
                <a:gd name="connsiteY859" fmla="*/ 1717201 h 1771142"/>
                <a:gd name="connsiteX860" fmla="*/ 348931 w 3060746"/>
                <a:gd name="connsiteY860" fmla="*/ 1696646 h 1771142"/>
                <a:gd name="connsiteX861" fmla="*/ 373650 w 3060746"/>
                <a:gd name="connsiteY861" fmla="*/ 1679332 h 1771142"/>
                <a:gd name="connsiteX862" fmla="*/ 394595 w 3060746"/>
                <a:gd name="connsiteY862" fmla="*/ 1679332 h 1771142"/>
                <a:gd name="connsiteX863" fmla="*/ 465789 w 3060746"/>
                <a:gd name="connsiteY863" fmla="*/ 1672882 h 1771142"/>
                <a:gd name="connsiteX864" fmla="*/ 532356 w 3060746"/>
                <a:gd name="connsiteY864" fmla="*/ 1679566 h 1771142"/>
                <a:gd name="connsiteX865" fmla="*/ 594986 w 3060746"/>
                <a:gd name="connsiteY865" fmla="*/ 1667901 h 1771142"/>
                <a:gd name="connsiteX866" fmla="*/ 607853 w 3060746"/>
                <a:gd name="connsiteY866" fmla="*/ 1674954 h 1771142"/>
                <a:gd name="connsiteX867" fmla="*/ 598802 w 3060746"/>
                <a:gd name="connsiteY867" fmla="*/ 1699387 h 1771142"/>
                <a:gd name="connsiteX868" fmla="*/ 617514 w 3060746"/>
                <a:gd name="connsiteY868" fmla="*/ 1703230 h 1771142"/>
                <a:gd name="connsiteX869" fmla="*/ 621248 w 3060746"/>
                <a:gd name="connsiteY869" fmla="*/ 1713257 h 1771142"/>
                <a:gd name="connsiteX870" fmla="*/ 652502 w 3060746"/>
                <a:gd name="connsiteY870" fmla="*/ 1702395 h 1771142"/>
                <a:gd name="connsiteX871" fmla="*/ 669712 w 3060746"/>
                <a:gd name="connsiteY871" fmla="*/ 1711386 h 1771142"/>
                <a:gd name="connsiteX872" fmla="*/ 692118 w 3060746"/>
                <a:gd name="connsiteY872" fmla="*/ 1699888 h 1771142"/>
                <a:gd name="connsiteX873" fmla="*/ 720530 w 3060746"/>
                <a:gd name="connsiteY873" fmla="*/ 1698351 h 1771142"/>
                <a:gd name="connsiteX874" fmla="*/ 716877 w 3060746"/>
                <a:gd name="connsiteY874" fmla="*/ 1713124 h 1771142"/>
                <a:gd name="connsiteX875" fmla="*/ 728364 w 3060746"/>
                <a:gd name="connsiteY875" fmla="*/ 1711352 h 1771142"/>
                <a:gd name="connsiteX876" fmla="*/ 738512 w 3060746"/>
                <a:gd name="connsiteY876" fmla="*/ 1717135 h 1771142"/>
                <a:gd name="connsiteX877" fmla="*/ 770983 w 3060746"/>
                <a:gd name="connsiteY877" fmla="*/ 1705135 h 1771142"/>
                <a:gd name="connsiteX878" fmla="*/ 806865 w 3060746"/>
                <a:gd name="connsiteY878" fmla="*/ 1698752 h 1771142"/>
                <a:gd name="connsiteX879" fmla="*/ 833492 w 3060746"/>
                <a:gd name="connsiteY879" fmla="*/ 1688725 h 1771142"/>
                <a:gd name="connsiteX880" fmla="*/ 863366 w 3060746"/>
                <a:gd name="connsiteY880" fmla="*/ 1682574 h 1771142"/>
                <a:gd name="connsiteX881" fmla="*/ 892225 w 3060746"/>
                <a:gd name="connsiteY881" fmla="*/ 1673784 h 1771142"/>
                <a:gd name="connsiteX882" fmla="*/ 916254 w 3060746"/>
                <a:gd name="connsiteY882" fmla="*/ 1678798 h 1771142"/>
                <a:gd name="connsiteX883" fmla="*/ 924697 w 3060746"/>
                <a:gd name="connsiteY883" fmla="*/ 1674219 h 1771142"/>
                <a:gd name="connsiteX884" fmla="*/ 977220 w 3060746"/>
                <a:gd name="connsiteY884" fmla="*/ 1645942 h 1771142"/>
                <a:gd name="connsiteX885" fmla="*/ 1183578 w 3060746"/>
                <a:gd name="connsiteY885" fmla="*/ 1539655 h 1771142"/>
                <a:gd name="connsiteX886" fmla="*/ 1657586 w 3060746"/>
                <a:gd name="connsiteY886" fmla="*/ 1322402 h 1771142"/>
                <a:gd name="connsiteX887" fmla="*/ 1712828 w 3060746"/>
                <a:gd name="connsiteY887" fmla="*/ 1299440 h 1771142"/>
                <a:gd name="connsiteX888" fmla="*/ 1721596 w 3060746"/>
                <a:gd name="connsiteY888" fmla="*/ 1295797 h 1771142"/>
                <a:gd name="connsiteX889" fmla="*/ 1720581 w 3060746"/>
                <a:gd name="connsiteY889" fmla="*/ 1289112 h 1771142"/>
                <a:gd name="connsiteX890" fmla="*/ 1741688 w 3060746"/>
                <a:gd name="connsiteY890" fmla="*/ 1291552 h 1771142"/>
                <a:gd name="connsiteX891" fmla="*/ 1779599 w 3060746"/>
                <a:gd name="connsiteY891" fmla="*/ 1282728 h 1771142"/>
                <a:gd name="connsiteX892" fmla="*/ 1817428 w 3060746"/>
                <a:gd name="connsiteY892" fmla="*/ 1273737 h 1771142"/>
                <a:gd name="connsiteX893" fmla="*/ 1849575 w 3060746"/>
                <a:gd name="connsiteY893" fmla="*/ 1269091 h 1771142"/>
                <a:gd name="connsiteX894" fmla="*/ 1861509 w 3060746"/>
                <a:gd name="connsiteY894" fmla="*/ 1259967 h 1771142"/>
                <a:gd name="connsiteX895" fmla="*/ 1884929 w 3060746"/>
                <a:gd name="connsiteY895" fmla="*/ 1252380 h 1771142"/>
                <a:gd name="connsiteX896" fmla="*/ 1914519 w 3060746"/>
                <a:gd name="connsiteY896" fmla="*/ 1234264 h 1771142"/>
                <a:gd name="connsiteX897" fmla="*/ 1937005 w 3060746"/>
                <a:gd name="connsiteY897" fmla="*/ 1213374 h 1771142"/>
                <a:gd name="connsiteX898" fmla="*/ 2005156 w 3060746"/>
                <a:gd name="connsiteY898" fmla="*/ 1204584 h 1771142"/>
                <a:gd name="connsiteX899" fmla="*/ 2040915 w 3060746"/>
                <a:gd name="connsiteY899" fmla="*/ 1202378 h 1771142"/>
                <a:gd name="connsiteX900" fmla="*/ 2079029 w 3060746"/>
                <a:gd name="connsiteY900" fmla="*/ 1220025 h 1771142"/>
                <a:gd name="connsiteX901" fmla="*/ 2141172 w 3060746"/>
                <a:gd name="connsiteY901" fmla="*/ 1206923 h 1771142"/>
                <a:gd name="connsiteX902" fmla="*/ 2196821 w 3060746"/>
                <a:gd name="connsiteY902" fmla="*/ 1193086 h 1771142"/>
                <a:gd name="connsiteX903" fmla="*/ 2228481 w 3060746"/>
                <a:gd name="connsiteY903" fmla="*/ 1210500 h 1771142"/>
                <a:gd name="connsiteX904" fmla="*/ 2182776 w 3060746"/>
                <a:gd name="connsiteY904" fmla="*/ 1218689 h 1771142"/>
                <a:gd name="connsiteX905" fmla="*/ 2179732 w 3060746"/>
                <a:gd name="connsiteY905" fmla="*/ 1238743 h 1771142"/>
                <a:gd name="connsiteX906" fmla="*/ 2170112 w 3060746"/>
                <a:gd name="connsiteY906" fmla="*/ 1270696 h 1771142"/>
                <a:gd name="connsiteX907" fmla="*/ 2181356 w 3060746"/>
                <a:gd name="connsiteY907" fmla="*/ 1281291 h 1771142"/>
                <a:gd name="connsiteX908" fmla="*/ 2234123 w 3060746"/>
                <a:gd name="connsiteY908" fmla="*/ 1254251 h 1771142"/>
                <a:gd name="connsiteX909" fmla="*/ 2258476 w 3060746"/>
                <a:gd name="connsiteY909" fmla="*/ 1242185 h 1771142"/>
                <a:gd name="connsiteX910" fmla="*/ 2270248 w 3060746"/>
                <a:gd name="connsiteY910" fmla="*/ 1238843 h 1771142"/>
                <a:gd name="connsiteX911" fmla="*/ 2272399 w 3060746"/>
                <a:gd name="connsiteY911" fmla="*/ 1226209 h 1771142"/>
                <a:gd name="connsiteX912" fmla="*/ 2252753 w 3060746"/>
                <a:gd name="connsiteY912" fmla="*/ 1231724 h 1771142"/>
                <a:gd name="connsiteX913" fmla="*/ 2268218 w 3060746"/>
                <a:gd name="connsiteY913" fmla="*/ 1212137 h 1771142"/>
                <a:gd name="connsiteX914" fmla="*/ 2320538 w 3060746"/>
                <a:gd name="connsiteY914" fmla="*/ 1191047 h 1771142"/>
                <a:gd name="connsiteX915" fmla="*/ 2341888 w 3060746"/>
                <a:gd name="connsiteY915" fmla="*/ 1181355 h 1771142"/>
                <a:gd name="connsiteX916" fmla="*/ 2364253 w 3060746"/>
                <a:gd name="connsiteY916" fmla="*/ 1163707 h 1771142"/>
                <a:gd name="connsiteX917" fmla="*/ 2426234 w 3060746"/>
                <a:gd name="connsiteY917" fmla="*/ 1137168 h 1771142"/>
                <a:gd name="connsiteX918" fmla="*/ 2486591 w 3060746"/>
                <a:gd name="connsiteY918" fmla="*/ 1117114 h 1771142"/>
                <a:gd name="connsiteX919" fmla="*/ 2512284 w 3060746"/>
                <a:gd name="connsiteY919" fmla="*/ 1089907 h 1771142"/>
                <a:gd name="connsiteX920" fmla="*/ 2520767 w 3060746"/>
                <a:gd name="connsiteY920" fmla="*/ 1061731 h 1771142"/>
                <a:gd name="connsiteX921" fmla="*/ 2545933 w 3060746"/>
                <a:gd name="connsiteY921" fmla="*/ 1046357 h 1771142"/>
                <a:gd name="connsiteX922" fmla="*/ 2584696 w 3060746"/>
                <a:gd name="connsiteY922" fmla="*/ 1042680 h 1771142"/>
                <a:gd name="connsiteX923" fmla="*/ 2595493 w 3060746"/>
                <a:gd name="connsiteY923" fmla="*/ 1060829 h 1771142"/>
                <a:gd name="connsiteX924" fmla="*/ 2614205 w 3060746"/>
                <a:gd name="connsiteY924" fmla="*/ 1072193 h 1771142"/>
                <a:gd name="connsiteX925" fmla="*/ 2645013 w 3060746"/>
                <a:gd name="connsiteY925" fmla="*/ 1067346 h 1771142"/>
                <a:gd name="connsiteX926" fmla="*/ 2687267 w 3060746"/>
                <a:gd name="connsiteY926" fmla="*/ 1040875 h 1771142"/>
                <a:gd name="connsiteX927" fmla="*/ 2695912 w 3060746"/>
                <a:gd name="connsiteY927" fmla="*/ 1035561 h 1771142"/>
                <a:gd name="connsiteX928" fmla="*/ 2691610 w 3060746"/>
                <a:gd name="connsiteY928" fmla="*/ 1045588 h 1771142"/>
                <a:gd name="connsiteX929" fmla="*/ 2731469 w 3060746"/>
                <a:gd name="connsiteY929" fmla="*/ 1040240 h 1771142"/>
                <a:gd name="connsiteX930" fmla="*/ 2693152 w 3060746"/>
                <a:gd name="connsiteY930" fmla="*/ 1054077 h 1771142"/>
                <a:gd name="connsiteX931" fmla="*/ 2659828 w 3060746"/>
                <a:gd name="connsiteY931" fmla="*/ 1082354 h 1771142"/>
                <a:gd name="connsiteX932" fmla="*/ 2684507 w 3060746"/>
                <a:gd name="connsiteY932" fmla="*/ 1091378 h 1771142"/>
                <a:gd name="connsiteX933" fmla="*/ 2723879 w 3060746"/>
                <a:gd name="connsiteY933" fmla="*/ 1060161 h 1771142"/>
                <a:gd name="connsiteX934" fmla="*/ 2767634 w 3060746"/>
                <a:gd name="connsiteY934" fmla="*/ 1042045 h 1771142"/>
                <a:gd name="connsiteX935" fmla="*/ 2810213 w 3060746"/>
                <a:gd name="connsiteY935" fmla="*/ 1020453 h 1771142"/>
                <a:gd name="connsiteX936" fmla="*/ 2805342 w 3060746"/>
                <a:gd name="connsiteY936" fmla="*/ 1014638 h 1771142"/>
                <a:gd name="connsiteX937" fmla="*/ 2822674 w 3060746"/>
                <a:gd name="connsiteY937" fmla="*/ 1006649 h 1771142"/>
                <a:gd name="connsiteX938" fmla="*/ 2842969 w 3060746"/>
                <a:gd name="connsiteY938" fmla="*/ 997324 h 1771142"/>
                <a:gd name="connsiteX939" fmla="*/ 2828681 w 3060746"/>
                <a:gd name="connsiteY939" fmla="*/ 993982 h 1771142"/>
                <a:gd name="connsiteX940" fmla="*/ 781861 w 3060746"/>
                <a:gd name="connsiteY940" fmla="*/ 1236637 h 1771142"/>
                <a:gd name="connsiteX941" fmla="*/ 754342 w 3060746"/>
                <a:gd name="connsiteY941" fmla="*/ 1266050 h 1771142"/>
                <a:gd name="connsiteX942" fmla="*/ 736645 w 3060746"/>
                <a:gd name="connsiteY942" fmla="*/ 1285001 h 1771142"/>
                <a:gd name="connsiteX943" fmla="*/ 715984 w 3060746"/>
                <a:gd name="connsiteY943" fmla="*/ 1308397 h 1771142"/>
                <a:gd name="connsiteX944" fmla="*/ 695365 w 3060746"/>
                <a:gd name="connsiteY944" fmla="*/ 1324240 h 1771142"/>
                <a:gd name="connsiteX945" fmla="*/ 706973 w 3060746"/>
                <a:gd name="connsiteY945" fmla="*/ 1302849 h 1771142"/>
                <a:gd name="connsiteX946" fmla="*/ 686476 w 3060746"/>
                <a:gd name="connsiteY946" fmla="*/ 1308832 h 1771142"/>
                <a:gd name="connsiteX947" fmla="*/ 673933 w 3060746"/>
                <a:gd name="connsiteY947" fmla="*/ 1332529 h 1771142"/>
                <a:gd name="connsiteX948" fmla="*/ 632288 w 3060746"/>
                <a:gd name="connsiteY948" fmla="*/ 1350244 h 1771142"/>
                <a:gd name="connsiteX949" fmla="*/ 638864 w 3060746"/>
                <a:gd name="connsiteY949" fmla="*/ 1344462 h 1771142"/>
                <a:gd name="connsiteX950" fmla="*/ 640934 w 3060746"/>
                <a:gd name="connsiteY950" fmla="*/ 1335203 h 1771142"/>
                <a:gd name="connsiteX951" fmla="*/ 643247 w 3060746"/>
                <a:gd name="connsiteY951" fmla="*/ 1322770 h 1771142"/>
                <a:gd name="connsiteX952" fmla="*/ 671417 w 3060746"/>
                <a:gd name="connsiteY952" fmla="*/ 1301980 h 1771142"/>
                <a:gd name="connsiteX953" fmla="*/ 628432 w 3060746"/>
                <a:gd name="connsiteY953" fmla="*/ 1314213 h 1771142"/>
                <a:gd name="connsiteX954" fmla="*/ 606676 w 3060746"/>
                <a:gd name="connsiteY954" fmla="*/ 1334501 h 1771142"/>
                <a:gd name="connsiteX955" fmla="*/ 572378 w 3060746"/>
                <a:gd name="connsiteY955" fmla="*/ 1350912 h 1771142"/>
                <a:gd name="connsiteX956" fmla="*/ 702752 w 3060746"/>
                <a:gd name="connsiteY956" fmla="*/ 1252981 h 1771142"/>
                <a:gd name="connsiteX957" fmla="*/ 725158 w 3060746"/>
                <a:gd name="connsiteY957" fmla="*/ 1264813 h 1771142"/>
                <a:gd name="connsiteX958" fmla="*/ 761688 w 3060746"/>
                <a:gd name="connsiteY958" fmla="*/ 1236537 h 1771142"/>
                <a:gd name="connsiteX959" fmla="*/ 781780 w 3060746"/>
                <a:gd name="connsiteY959" fmla="*/ 1236804 h 1771142"/>
                <a:gd name="connsiteX960" fmla="*/ 781861 w 3060746"/>
                <a:gd name="connsiteY960" fmla="*/ 1236637 h 1771142"/>
                <a:gd name="connsiteX961" fmla="*/ 1030393 w 3060746"/>
                <a:gd name="connsiteY961" fmla="*/ 1254385 h 1771142"/>
                <a:gd name="connsiteX962" fmla="*/ 1004253 w 3060746"/>
                <a:gd name="connsiteY962" fmla="*/ 1277447 h 1771142"/>
                <a:gd name="connsiteX963" fmla="*/ 990290 w 3060746"/>
                <a:gd name="connsiteY963" fmla="*/ 1297501 h 1771142"/>
                <a:gd name="connsiteX964" fmla="*/ 907162 w 3060746"/>
                <a:gd name="connsiteY964" fmla="*/ 1339949 h 1771142"/>
                <a:gd name="connsiteX965" fmla="*/ 905904 w 3060746"/>
                <a:gd name="connsiteY965" fmla="*/ 1334836 h 1771142"/>
                <a:gd name="connsiteX966" fmla="*/ 923642 w 3060746"/>
                <a:gd name="connsiteY966" fmla="*/ 1314347 h 1771142"/>
                <a:gd name="connsiteX967" fmla="*/ 945154 w 3060746"/>
                <a:gd name="connsiteY967" fmla="*/ 1290649 h 1771142"/>
                <a:gd name="connsiteX968" fmla="*/ 911911 w 3060746"/>
                <a:gd name="connsiteY968" fmla="*/ 1289146 h 1771142"/>
                <a:gd name="connsiteX969" fmla="*/ 970076 w 3060746"/>
                <a:gd name="connsiteY969" fmla="*/ 1267387 h 1771142"/>
                <a:gd name="connsiteX970" fmla="*/ 1039647 w 3060746"/>
                <a:gd name="connsiteY970" fmla="*/ 1228281 h 1771142"/>
                <a:gd name="connsiteX971" fmla="*/ 1088355 w 3060746"/>
                <a:gd name="connsiteY971" fmla="*/ 1197197 h 1771142"/>
                <a:gd name="connsiteX972" fmla="*/ 1030271 w 3060746"/>
                <a:gd name="connsiteY972" fmla="*/ 1254385 h 1771142"/>
                <a:gd name="connsiteX973" fmla="*/ 1030393 w 3060746"/>
                <a:gd name="connsiteY973" fmla="*/ 1254385 h 1771142"/>
                <a:gd name="connsiteX974" fmla="*/ 1658722 w 3060746"/>
                <a:gd name="connsiteY974" fmla="*/ 1284901 h 1771142"/>
                <a:gd name="connsiteX975" fmla="*/ 1644191 w 3060746"/>
                <a:gd name="connsiteY975" fmla="*/ 1277848 h 1771142"/>
                <a:gd name="connsiteX976" fmla="*/ 1608431 w 3060746"/>
                <a:gd name="connsiteY976" fmla="*/ 1269225 h 1771142"/>
                <a:gd name="connsiteX977" fmla="*/ 1553189 w 3060746"/>
                <a:gd name="connsiteY977" fmla="*/ 1243923 h 1771142"/>
                <a:gd name="connsiteX978" fmla="*/ 1620121 w 3060746"/>
                <a:gd name="connsiteY978" fmla="*/ 1247266 h 1771142"/>
                <a:gd name="connsiteX979" fmla="*/ 1658722 w 3060746"/>
                <a:gd name="connsiteY979" fmla="*/ 1284800 h 1771142"/>
                <a:gd name="connsiteX980" fmla="*/ 1658560 w 3060746"/>
                <a:gd name="connsiteY980" fmla="*/ 1284968 h 177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</a:cxnLst>
              <a:rect l="l" t="t" r="r" b="b"/>
              <a:pathLst>
                <a:path w="3060746" h="1771142">
                  <a:moveTo>
                    <a:pt x="886583" y="1692735"/>
                  </a:moveTo>
                  <a:cubicBezTo>
                    <a:pt x="870591" y="1692735"/>
                    <a:pt x="857318" y="1704567"/>
                    <a:pt x="841934" y="1701793"/>
                  </a:cubicBezTo>
                  <a:cubicBezTo>
                    <a:pt x="833248" y="1700189"/>
                    <a:pt x="811289" y="1695877"/>
                    <a:pt x="799193" y="1703164"/>
                  </a:cubicBezTo>
                  <a:cubicBezTo>
                    <a:pt x="789809" y="1709280"/>
                    <a:pt x="779390" y="1714233"/>
                    <a:pt x="768264" y="1717870"/>
                  </a:cubicBezTo>
                  <a:cubicBezTo>
                    <a:pt x="756087" y="1721379"/>
                    <a:pt x="742327" y="1720878"/>
                    <a:pt x="731733" y="1730237"/>
                  </a:cubicBezTo>
                  <a:cubicBezTo>
                    <a:pt x="727228" y="1734147"/>
                    <a:pt x="723250" y="1738994"/>
                    <a:pt x="731733" y="1736921"/>
                  </a:cubicBezTo>
                  <a:cubicBezTo>
                    <a:pt x="740216" y="1734849"/>
                    <a:pt x="743910" y="1739629"/>
                    <a:pt x="751784" y="1736687"/>
                  </a:cubicBezTo>
                  <a:cubicBezTo>
                    <a:pt x="764919" y="1731470"/>
                    <a:pt x="779158" y="1728405"/>
                    <a:pt x="793714" y="1727663"/>
                  </a:cubicBezTo>
                  <a:cubicBezTo>
                    <a:pt x="802075" y="1727663"/>
                    <a:pt x="806459" y="1724320"/>
                    <a:pt x="814536" y="1722917"/>
                  </a:cubicBezTo>
                  <a:cubicBezTo>
                    <a:pt x="825049" y="1721212"/>
                    <a:pt x="827931" y="1727529"/>
                    <a:pt x="840027" y="1721246"/>
                  </a:cubicBezTo>
                  <a:cubicBezTo>
                    <a:pt x="846521" y="1717903"/>
                    <a:pt x="849281" y="1720945"/>
                    <a:pt x="855288" y="1720510"/>
                  </a:cubicBezTo>
                  <a:cubicBezTo>
                    <a:pt x="869414" y="1719507"/>
                    <a:pt x="875827" y="1716566"/>
                    <a:pt x="890804" y="1708678"/>
                  </a:cubicBezTo>
                  <a:cubicBezTo>
                    <a:pt x="895553" y="1706175"/>
                    <a:pt x="900144" y="1703474"/>
                    <a:pt x="904564" y="1700590"/>
                  </a:cubicBezTo>
                  <a:cubicBezTo>
                    <a:pt x="914468" y="1694106"/>
                    <a:pt x="907812" y="1695075"/>
                    <a:pt x="908867" y="1688825"/>
                  </a:cubicBezTo>
                  <a:cubicBezTo>
                    <a:pt x="909719" y="1683845"/>
                    <a:pt x="891738" y="1692702"/>
                    <a:pt x="886705" y="1692735"/>
                  </a:cubicBezTo>
                  <a:close/>
                  <a:moveTo>
                    <a:pt x="460309" y="1204250"/>
                  </a:moveTo>
                  <a:cubicBezTo>
                    <a:pt x="480280" y="1195961"/>
                    <a:pt x="493918" y="1203548"/>
                    <a:pt x="507678" y="1205152"/>
                  </a:cubicBezTo>
                  <a:cubicBezTo>
                    <a:pt x="528419" y="1207592"/>
                    <a:pt x="523711" y="1193220"/>
                    <a:pt x="538201" y="1185399"/>
                  </a:cubicBezTo>
                  <a:cubicBezTo>
                    <a:pt x="548146" y="1180017"/>
                    <a:pt x="550378" y="1174402"/>
                    <a:pt x="558861" y="1168954"/>
                  </a:cubicBezTo>
                  <a:cubicBezTo>
                    <a:pt x="568847" y="1162504"/>
                    <a:pt x="581105" y="1158560"/>
                    <a:pt x="587274" y="1150037"/>
                  </a:cubicBezTo>
                  <a:cubicBezTo>
                    <a:pt x="593444" y="1141513"/>
                    <a:pt x="584189" y="1137803"/>
                    <a:pt x="585569" y="1130417"/>
                  </a:cubicBezTo>
                  <a:cubicBezTo>
                    <a:pt x="587437" y="1120624"/>
                    <a:pt x="601805" y="1114574"/>
                    <a:pt x="609923" y="1105583"/>
                  </a:cubicBezTo>
                  <a:cubicBezTo>
                    <a:pt x="614388" y="1100503"/>
                    <a:pt x="609923" y="1097160"/>
                    <a:pt x="610451" y="1092983"/>
                  </a:cubicBezTo>
                  <a:cubicBezTo>
                    <a:pt x="611344" y="1086966"/>
                    <a:pt x="621248" y="1081251"/>
                    <a:pt x="628432" y="1075936"/>
                  </a:cubicBezTo>
                  <a:cubicBezTo>
                    <a:pt x="649174" y="1060528"/>
                    <a:pt x="668657" y="1044418"/>
                    <a:pt x="687450" y="1028408"/>
                  </a:cubicBezTo>
                  <a:cubicBezTo>
                    <a:pt x="698044" y="1019384"/>
                    <a:pt x="720774" y="1003140"/>
                    <a:pt x="696177" y="1006616"/>
                  </a:cubicBezTo>
                  <a:cubicBezTo>
                    <a:pt x="667114" y="1010760"/>
                    <a:pt x="619908" y="1017479"/>
                    <a:pt x="594296" y="1039037"/>
                  </a:cubicBezTo>
                  <a:cubicBezTo>
                    <a:pt x="591536" y="1041376"/>
                    <a:pt x="581795" y="1053710"/>
                    <a:pt x="577005" y="1050535"/>
                  </a:cubicBezTo>
                  <a:cubicBezTo>
                    <a:pt x="574042" y="1048596"/>
                    <a:pt x="572175" y="1046524"/>
                    <a:pt x="566086" y="1051805"/>
                  </a:cubicBezTo>
                  <a:cubicBezTo>
                    <a:pt x="552002" y="1064004"/>
                    <a:pt x="516161" y="1074232"/>
                    <a:pt x="499194" y="1076739"/>
                  </a:cubicBezTo>
                  <a:cubicBezTo>
                    <a:pt x="473907" y="1080415"/>
                    <a:pt x="428122" y="1122261"/>
                    <a:pt x="405554" y="1136099"/>
                  </a:cubicBezTo>
                  <a:cubicBezTo>
                    <a:pt x="379536" y="1151942"/>
                    <a:pt x="423657" y="1141513"/>
                    <a:pt x="429908" y="1143419"/>
                  </a:cubicBezTo>
                  <a:cubicBezTo>
                    <a:pt x="439893" y="1146360"/>
                    <a:pt x="419476" y="1168319"/>
                    <a:pt x="420004" y="1175438"/>
                  </a:cubicBezTo>
                  <a:cubicBezTo>
                    <a:pt x="420247" y="1179215"/>
                    <a:pt x="427878" y="1176742"/>
                    <a:pt x="426782" y="1182457"/>
                  </a:cubicBezTo>
                  <a:cubicBezTo>
                    <a:pt x="424956" y="1192083"/>
                    <a:pt x="417568" y="1203381"/>
                    <a:pt x="412129" y="1213608"/>
                  </a:cubicBezTo>
                  <a:cubicBezTo>
                    <a:pt x="400683" y="1235200"/>
                    <a:pt x="446387" y="1209998"/>
                    <a:pt x="460391" y="1204250"/>
                  </a:cubicBezTo>
                  <a:cubicBezTo>
                    <a:pt x="487099" y="1193220"/>
                    <a:pt x="433480" y="1215446"/>
                    <a:pt x="460309" y="1204250"/>
                  </a:cubicBezTo>
                  <a:close/>
                  <a:moveTo>
                    <a:pt x="1200585" y="911125"/>
                  </a:moveTo>
                  <a:cubicBezTo>
                    <a:pt x="1206471" y="902167"/>
                    <a:pt x="1251039" y="901365"/>
                    <a:pt x="1245924" y="890469"/>
                  </a:cubicBezTo>
                  <a:cubicBezTo>
                    <a:pt x="1240567" y="878904"/>
                    <a:pt x="1188165" y="893176"/>
                    <a:pt x="1169372" y="896385"/>
                  </a:cubicBezTo>
                  <a:cubicBezTo>
                    <a:pt x="1150579" y="899593"/>
                    <a:pt x="1103657" y="915737"/>
                    <a:pt x="1099761" y="902702"/>
                  </a:cubicBezTo>
                  <a:cubicBezTo>
                    <a:pt x="1098543" y="898491"/>
                    <a:pt x="1103008" y="892040"/>
                    <a:pt x="1094849" y="891071"/>
                  </a:cubicBezTo>
                  <a:cubicBezTo>
                    <a:pt x="1080967" y="889399"/>
                    <a:pt x="1069278" y="890135"/>
                    <a:pt x="1060226" y="883885"/>
                  </a:cubicBezTo>
                  <a:cubicBezTo>
                    <a:pt x="1054259" y="879807"/>
                    <a:pt x="1049064" y="873857"/>
                    <a:pt x="1052108" y="866137"/>
                  </a:cubicBezTo>
                  <a:cubicBezTo>
                    <a:pt x="1055152" y="858416"/>
                    <a:pt x="1065381" y="849425"/>
                    <a:pt x="1063433" y="842272"/>
                  </a:cubicBezTo>
                  <a:cubicBezTo>
                    <a:pt x="1058562" y="824290"/>
                    <a:pt x="998895" y="859753"/>
                    <a:pt x="987530" y="870649"/>
                  </a:cubicBezTo>
                  <a:cubicBezTo>
                    <a:pt x="977098" y="880676"/>
                    <a:pt x="1022518" y="871317"/>
                    <a:pt x="1031123" y="871685"/>
                  </a:cubicBezTo>
                  <a:cubicBezTo>
                    <a:pt x="1041027" y="872086"/>
                    <a:pt x="1033112" y="875027"/>
                    <a:pt x="1026334" y="875963"/>
                  </a:cubicBezTo>
                  <a:cubicBezTo>
                    <a:pt x="1015699" y="877434"/>
                    <a:pt x="1000113" y="877835"/>
                    <a:pt x="989072" y="883417"/>
                  </a:cubicBezTo>
                  <a:cubicBezTo>
                    <a:pt x="971091" y="892474"/>
                    <a:pt x="941014" y="898424"/>
                    <a:pt x="955342" y="910456"/>
                  </a:cubicBezTo>
                  <a:cubicBezTo>
                    <a:pt x="960822" y="915035"/>
                    <a:pt x="1005633" y="925697"/>
                    <a:pt x="1002304" y="931814"/>
                  </a:cubicBezTo>
                  <a:cubicBezTo>
                    <a:pt x="1000194" y="935658"/>
                    <a:pt x="983796" y="946587"/>
                    <a:pt x="977951" y="946253"/>
                  </a:cubicBezTo>
                  <a:cubicBezTo>
                    <a:pt x="968696" y="945651"/>
                    <a:pt x="963176" y="939836"/>
                    <a:pt x="957453" y="936593"/>
                  </a:cubicBezTo>
                  <a:cubicBezTo>
                    <a:pt x="941542" y="927569"/>
                    <a:pt x="915158" y="930243"/>
                    <a:pt x="885893" y="941206"/>
                  </a:cubicBezTo>
                  <a:cubicBezTo>
                    <a:pt x="851879" y="953940"/>
                    <a:pt x="903712" y="945651"/>
                    <a:pt x="905985" y="947189"/>
                  </a:cubicBezTo>
                  <a:cubicBezTo>
                    <a:pt x="914387" y="952670"/>
                    <a:pt x="894823" y="956915"/>
                    <a:pt x="887923" y="958987"/>
                  </a:cubicBezTo>
                  <a:cubicBezTo>
                    <a:pt x="878668" y="961695"/>
                    <a:pt x="861458" y="978841"/>
                    <a:pt x="859875" y="975331"/>
                  </a:cubicBezTo>
                  <a:cubicBezTo>
                    <a:pt x="856953" y="968914"/>
                    <a:pt x="857764" y="964402"/>
                    <a:pt x="842381" y="967109"/>
                  </a:cubicBezTo>
                  <a:cubicBezTo>
                    <a:pt x="823908" y="970766"/>
                    <a:pt x="806686" y="977828"/>
                    <a:pt x="792009" y="987765"/>
                  </a:cubicBezTo>
                  <a:cubicBezTo>
                    <a:pt x="772120" y="1002070"/>
                    <a:pt x="804511" y="1004477"/>
                    <a:pt x="767655" y="1018047"/>
                  </a:cubicBezTo>
                  <a:cubicBezTo>
                    <a:pt x="734737" y="1030313"/>
                    <a:pt x="781050" y="1004510"/>
                    <a:pt x="771349" y="998862"/>
                  </a:cubicBezTo>
                  <a:cubicBezTo>
                    <a:pt x="752150" y="987731"/>
                    <a:pt x="731611" y="1002538"/>
                    <a:pt x="710464" y="1019517"/>
                  </a:cubicBezTo>
                  <a:cubicBezTo>
                    <a:pt x="685258" y="1039839"/>
                    <a:pt x="654004" y="1061030"/>
                    <a:pt x="635901" y="1083022"/>
                  </a:cubicBezTo>
                  <a:cubicBezTo>
                    <a:pt x="632045" y="1087735"/>
                    <a:pt x="631071" y="1088704"/>
                    <a:pt x="636672" y="1088170"/>
                  </a:cubicBezTo>
                  <a:cubicBezTo>
                    <a:pt x="648443" y="1087066"/>
                    <a:pt x="624941" y="1110162"/>
                    <a:pt x="629650" y="1113772"/>
                  </a:cubicBezTo>
                  <a:cubicBezTo>
                    <a:pt x="637768" y="1120089"/>
                    <a:pt x="658753" y="1103244"/>
                    <a:pt x="665409" y="1105917"/>
                  </a:cubicBezTo>
                  <a:cubicBezTo>
                    <a:pt x="670402" y="1107956"/>
                    <a:pt x="669915" y="1112335"/>
                    <a:pt x="680306" y="1105917"/>
                  </a:cubicBezTo>
                  <a:cubicBezTo>
                    <a:pt x="696826" y="1095690"/>
                    <a:pt x="724630" y="1069686"/>
                    <a:pt x="745250" y="1066678"/>
                  </a:cubicBezTo>
                  <a:cubicBezTo>
                    <a:pt x="753368" y="1065475"/>
                    <a:pt x="720896" y="1086431"/>
                    <a:pt x="718582" y="1088069"/>
                  </a:cubicBezTo>
                  <a:cubicBezTo>
                    <a:pt x="707704" y="1095155"/>
                    <a:pt x="674989" y="1113471"/>
                    <a:pt x="673933" y="1122495"/>
                  </a:cubicBezTo>
                  <a:cubicBezTo>
                    <a:pt x="671052" y="1141814"/>
                    <a:pt x="821964" y="1059693"/>
                    <a:pt x="838281" y="1053643"/>
                  </a:cubicBezTo>
                  <a:cubicBezTo>
                    <a:pt x="841731" y="1052206"/>
                    <a:pt x="895959" y="1032586"/>
                    <a:pt x="884107" y="1042680"/>
                  </a:cubicBezTo>
                  <a:cubicBezTo>
                    <a:pt x="862919" y="1060662"/>
                    <a:pt x="819163" y="1075067"/>
                    <a:pt x="792496" y="1089105"/>
                  </a:cubicBezTo>
                  <a:cubicBezTo>
                    <a:pt x="771876" y="1099934"/>
                    <a:pt x="733113" y="1119822"/>
                    <a:pt x="722235" y="1135397"/>
                  </a:cubicBezTo>
                  <a:cubicBezTo>
                    <a:pt x="713062" y="1148499"/>
                    <a:pt x="770578" y="1130851"/>
                    <a:pt x="775002" y="1129782"/>
                  </a:cubicBezTo>
                  <a:cubicBezTo>
                    <a:pt x="793470" y="1125136"/>
                    <a:pt x="810396" y="1116145"/>
                    <a:pt x="826916" y="1106920"/>
                  </a:cubicBezTo>
                  <a:cubicBezTo>
                    <a:pt x="835521" y="1102141"/>
                    <a:pt x="848835" y="1094286"/>
                    <a:pt x="852488" y="1100737"/>
                  </a:cubicBezTo>
                  <a:cubicBezTo>
                    <a:pt x="859956" y="1113872"/>
                    <a:pt x="893078" y="1098798"/>
                    <a:pt x="912763" y="1090008"/>
                  </a:cubicBezTo>
                  <a:cubicBezTo>
                    <a:pt x="939622" y="1078470"/>
                    <a:pt x="964609" y="1064185"/>
                    <a:pt x="987124" y="1047493"/>
                  </a:cubicBezTo>
                  <a:cubicBezTo>
                    <a:pt x="1004699" y="1034291"/>
                    <a:pt x="1022437" y="1027205"/>
                    <a:pt x="1041230" y="1015473"/>
                  </a:cubicBezTo>
                  <a:cubicBezTo>
                    <a:pt x="1054422" y="1007251"/>
                    <a:pt x="1062662" y="980512"/>
                    <a:pt x="1080683" y="984055"/>
                  </a:cubicBezTo>
                  <a:cubicBezTo>
                    <a:pt x="1095133" y="986929"/>
                    <a:pt x="1116118" y="974797"/>
                    <a:pt x="1133978" y="972825"/>
                  </a:cubicBezTo>
                  <a:cubicBezTo>
                    <a:pt x="1152974" y="970485"/>
                    <a:pt x="1253474" y="928906"/>
                    <a:pt x="1233098" y="918411"/>
                  </a:cubicBezTo>
                  <a:cubicBezTo>
                    <a:pt x="1228430" y="915971"/>
                    <a:pt x="1219257" y="916005"/>
                    <a:pt x="1211098" y="918411"/>
                  </a:cubicBezTo>
                  <a:cubicBezTo>
                    <a:pt x="1198921" y="921987"/>
                    <a:pt x="1200870" y="929508"/>
                    <a:pt x="1190397" y="934087"/>
                  </a:cubicBezTo>
                  <a:cubicBezTo>
                    <a:pt x="1155774" y="949194"/>
                    <a:pt x="1199611" y="912896"/>
                    <a:pt x="1200870" y="911058"/>
                  </a:cubicBezTo>
                  <a:cubicBezTo>
                    <a:pt x="1206146" y="902802"/>
                    <a:pt x="1195065" y="919681"/>
                    <a:pt x="1200585" y="911225"/>
                  </a:cubicBezTo>
                  <a:close/>
                  <a:moveTo>
                    <a:pt x="545873" y="1010393"/>
                  </a:moveTo>
                  <a:cubicBezTo>
                    <a:pt x="572337" y="998327"/>
                    <a:pt x="590156" y="974897"/>
                    <a:pt x="584392" y="969850"/>
                  </a:cubicBezTo>
                  <a:cubicBezTo>
                    <a:pt x="578629" y="964803"/>
                    <a:pt x="532600" y="1016375"/>
                    <a:pt x="545873" y="1010393"/>
                  </a:cubicBezTo>
                  <a:close/>
                  <a:moveTo>
                    <a:pt x="414565" y="1055013"/>
                  </a:moveTo>
                  <a:cubicBezTo>
                    <a:pt x="422358" y="1052640"/>
                    <a:pt x="422683" y="1057954"/>
                    <a:pt x="426174" y="1059659"/>
                  </a:cubicBezTo>
                  <a:cubicBezTo>
                    <a:pt x="429664" y="1061364"/>
                    <a:pt x="439609" y="1050367"/>
                    <a:pt x="442856" y="1048128"/>
                  </a:cubicBezTo>
                  <a:cubicBezTo>
                    <a:pt x="449797" y="1043315"/>
                    <a:pt x="459092" y="1042346"/>
                    <a:pt x="465180" y="1036697"/>
                  </a:cubicBezTo>
                  <a:cubicBezTo>
                    <a:pt x="470376" y="1031884"/>
                    <a:pt x="470295" y="1027238"/>
                    <a:pt x="473298" y="1022526"/>
                  </a:cubicBezTo>
                  <a:cubicBezTo>
                    <a:pt x="475571" y="1019183"/>
                    <a:pt x="490955" y="1025467"/>
                    <a:pt x="494973" y="1025099"/>
                  </a:cubicBezTo>
                  <a:cubicBezTo>
                    <a:pt x="512508" y="1023495"/>
                    <a:pt x="512508" y="1010961"/>
                    <a:pt x="513766" y="1004677"/>
                  </a:cubicBezTo>
                  <a:cubicBezTo>
                    <a:pt x="515877" y="994182"/>
                    <a:pt x="537349" y="997759"/>
                    <a:pt x="539784" y="985960"/>
                  </a:cubicBezTo>
                  <a:cubicBezTo>
                    <a:pt x="541732" y="976702"/>
                    <a:pt x="530854" y="967410"/>
                    <a:pt x="548186" y="956313"/>
                  </a:cubicBezTo>
                  <a:cubicBezTo>
                    <a:pt x="561134" y="948058"/>
                    <a:pt x="562149" y="965839"/>
                    <a:pt x="574813" y="964168"/>
                  </a:cubicBezTo>
                  <a:cubicBezTo>
                    <a:pt x="595108" y="961461"/>
                    <a:pt x="590278" y="947456"/>
                    <a:pt x="598924" y="941005"/>
                  </a:cubicBezTo>
                  <a:cubicBezTo>
                    <a:pt x="615443" y="928906"/>
                    <a:pt x="615565" y="931647"/>
                    <a:pt x="615159" y="920116"/>
                  </a:cubicBezTo>
                  <a:cubicBezTo>
                    <a:pt x="615159" y="916372"/>
                    <a:pt x="602577" y="916339"/>
                    <a:pt x="606311" y="911994"/>
                  </a:cubicBezTo>
                  <a:cubicBezTo>
                    <a:pt x="610654" y="906880"/>
                    <a:pt x="619381" y="902903"/>
                    <a:pt x="623156" y="897555"/>
                  </a:cubicBezTo>
                  <a:cubicBezTo>
                    <a:pt x="625226" y="894547"/>
                    <a:pt x="591293" y="903471"/>
                    <a:pt x="584514" y="905677"/>
                  </a:cubicBezTo>
                  <a:cubicBezTo>
                    <a:pt x="567223" y="911225"/>
                    <a:pt x="583905" y="919514"/>
                    <a:pt x="568481" y="926901"/>
                  </a:cubicBezTo>
                  <a:cubicBezTo>
                    <a:pt x="550987" y="935257"/>
                    <a:pt x="529393" y="938265"/>
                    <a:pt x="515715" y="950631"/>
                  </a:cubicBezTo>
                  <a:cubicBezTo>
                    <a:pt x="499933" y="964706"/>
                    <a:pt x="485739" y="979934"/>
                    <a:pt x="473298" y="996121"/>
                  </a:cubicBezTo>
                  <a:cubicBezTo>
                    <a:pt x="469239" y="1002003"/>
                    <a:pt x="466844" y="1008187"/>
                    <a:pt x="460634" y="1014069"/>
                  </a:cubicBezTo>
                  <a:cubicBezTo>
                    <a:pt x="454424" y="1019952"/>
                    <a:pt x="443465" y="1024364"/>
                    <a:pt x="435590" y="1029945"/>
                  </a:cubicBezTo>
                  <a:cubicBezTo>
                    <a:pt x="432871" y="1031784"/>
                    <a:pt x="402185" y="1058656"/>
                    <a:pt x="414240" y="1055013"/>
                  </a:cubicBezTo>
                  <a:close/>
                  <a:moveTo>
                    <a:pt x="633750" y="935691"/>
                  </a:moveTo>
                  <a:cubicBezTo>
                    <a:pt x="624333" y="940872"/>
                    <a:pt x="616661" y="951133"/>
                    <a:pt x="631071" y="948425"/>
                  </a:cubicBezTo>
                  <a:cubicBezTo>
                    <a:pt x="633709" y="947924"/>
                    <a:pt x="666343" y="934321"/>
                    <a:pt x="665978" y="935056"/>
                  </a:cubicBezTo>
                  <a:cubicBezTo>
                    <a:pt x="661350" y="945685"/>
                    <a:pt x="616539" y="955511"/>
                    <a:pt x="614672" y="971822"/>
                  </a:cubicBezTo>
                  <a:cubicBezTo>
                    <a:pt x="613495" y="981649"/>
                    <a:pt x="656967" y="947623"/>
                    <a:pt x="664314" y="948425"/>
                  </a:cubicBezTo>
                  <a:cubicBezTo>
                    <a:pt x="664679" y="948425"/>
                    <a:pt x="614388" y="982284"/>
                    <a:pt x="610370" y="985994"/>
                  </a:cubicBezTo>
                  <a:cubicBezTo>
                    <a:pt x="600953" y="994517"/>
                    <a:pt x="622547" y="985994"/>
                    <a:pt x="626403" y="984423"/>
                  </a:cubicBezTo>
                  <a:cubicBezTo>
                    <a:pt x="643816" y="977237"/>
                    <a:pt x="667195" y="972758"/>
                    <a:pt x="683228" y="963399"/>
                  </a:cubicBezTo>
                  <a:cubicBezTo>
                    <a:pt x="697029" y="955311"/>
                    <a:pt x="700479" y="943679"/>
                    <a:pt x="708354" y="934555"/>
                  </a:cubicBezTo>
                  <a:cubicBezTo>
                    <a:pt x="718420" y="922890"/>
                    <a:pt x="717730" y="930410"/>
                    <a:pt x="720165" y="935089"/>
                  </a:cubicBezTo>
                  <a:cubicBezTo>
                    <a:pt x="723615" y="941774"/>
                    <a:pt x="784053" y="902100"/>
                    <a:pt x="794729" y="898825"/>
                  </a:cubicBezTo>
                  <a:cubicBezTo>
                    <a:pt x="805404" y="895549"/>
                    <a:pt x="789452" y="908852"/>
                    <a:pt x="787666" y="910323"/>
                  </a:cubicBezTo>
                  <a:cubicBezTo>
                    <a:pt x="774227" y="921011"/>
                    <a:pt x="759574" y="930614"/>
                    <a:pt x="743910" y="939000"/>
                  </a:cubicBezTo>
                  <a:cubicBezTo>
                    <a:pt x="706365" y="959321"/>
                    <a:pt x="725117" y="965304"/>
                    <a:pt x="757914" y="951133"/>
                  </a:cubicBezTo>
                  <a:cubicBezTo>
                    <a:pt x="786042" y="939033"/>
                    <a:pt x="812426" y="919247"/>
                    <a:pt x="833167" y="902368"/>
                  </a:cubicBezTo>
                  <a:cubicBezTo>
                    <a:pt x="841553" y="896101"/>
                    <a:pt x="849029" y="889058"/>
                    <a:pt x="855451" y="881378"/>
                  </a:cubicBezTo>
                  <a:cubicBezTo>
                    <a:pt x="864421" y="869111"/>
                    <a:pt x="882321" y="870649"/>
                    <a:pt x="895675" y="862259"/>
                  </a:cubicBezTo>
                  <a:cubicBezTo>
                    <a:pt x="910612" y="852934"/>
                    <a:pt x="918040" y="846751"/>
                    <a:pt x="936265" y="839164"/>
                  </a:cubicBezTo>
                  <a:cubicBezTo>
                    <a:pt x="950999" y="833081"/>
                    <a:pt x="972025" y="825393"/>
                    <a:pt x="981441" y="815366"/>
                  </a:cubicBezTo>
                  <a:cubicBezTo>
                    <a:pt x="992847" y="803267"/>
                    <a:pt x="989559" y="780338"/>
                    <a:pt x="964191" y="786187"/>
                  </a:cubicBezTo>
                  <a:cubicBezTo>
                    <a:pt x="946899" y="790232"/>
                    <a:pt x="946737" y="797016"/>
                    <a:pt x="937117" y="805172"/>
                  </a:cubicBezTo>
                  <a:cubicBezTo>
                    <a:pt x="924940" y="815466"/>
                    <a:pt x="909882" y="814263"/>
                    <a:pt x="898719" y="813361"/>
                  </a:cubicBezTo>
                  <a:cubicBezTo>
                    <a:pt x="885041" y="812258"/>
                    <a:pt x="876314" y="811756"/>
                    <a:pt x="867668" y="806509"/>
                  </a:cubicBezTo>
                  <a:cubicBezTo>
                    <a:pt x="859023" y="801261"/>
                    <a:pt x="846196" y="809550"/>
                    <a:pt x="836577" y="817739"/>
                  </a:cubicBezTo>
                  <a:cubicBezTo>
                    <a:pt x="828865" y="824424"/>
                    <a:pt x="819001" y="833281"/>
                    <a:pt x="817215" y="839966"/>
                  </a:cubicBezTo>
                  <a:cubicBezTo>
                    <a:pt x="815308" y="847286"/>
                    <a:pt x="834588" y="837225"/>
                    <a:pt x="840676" y="836624"/>
                  </a:cubicBezTo>
                  <a:cubicBezTo>
                    <a:pt x="851798" y="835220"/>
                    <a:pt x="841163" y="845748"/>
                    <a:pt x="836617" y="849391"/>
                  </a:cubicBezTo>
                  <a:cubicBezTo>
                    <a:pt x="829230" y="855207"/>
                    <a:pt x="851960" y="849391"/>
                    <a:pt x="854720" y="848890"/>
                  </a:cubicBezTo>
                  <a:cubicBezTo>
                    <a:pt x="883417" y="843108"/>
                    <a:pt x="857074" y="857146"/>
                    <a:pt x="843111" y="863229"/>
                  </a:cubicBezTo>
                  <a:cubicBezTo>
                    <a:pt x="818758" y="873857"/>
                    <a:pt x="804064" y="878303"/>
                    <a:pt x="784094" y="877801"/>
                  </a:cubicBezTo>
                  <a:cubicBezTo>
                    <a:pt x="771227" y="877467"/>
                    <a:pt x="754017" y="881578"/>
                    <a:pt x="739445" y="885723"/>
                  </a:cubicBezTo>
                  <a:cubicBezTo>
                    <a:pt x="730000" y="888280"/>
                    <a:pt x="720847" y="891512"/>
                    <a:pt x="712088" y="895382"/>
                  </a:cubicBezTo>
                  <a:cubicBezTo>
                    <a:pt x="705350" y="898424"/>
                    <a:pt x="698815" y="904039"/>
                    <a:pt x="691793" y="905978"/>
                  </a:cubicBezTo>
                  <a:cubicBezTo>
                    <a:pt x="679616" y="909320"/>
                    <a:pt x="676328" y="902635"/>
                    <a:pt x="661635" y="909320"/>
                  </a:cubicBezTo>
                  <a:cubicBezTo>
                    <a:pt x="643816" y="917542"/>
                    <a:pt x="649783" y="926934"/>
                    <a:pt x="633871" y="935691"/>
                  </a:cubicBezTo>
                  <a:close/>
                  <a:moveTo>
                    <a:pt x="674339" y="851631"/>
                  </a:moveTo>
                  <a:cubicBezTo>
                    <a:pt x="675922" y="840200"/>
                    <a:pt x="621573" y="869011"/>
                    <a:pt x="628026" y="869379"/>
                  </a:cubicBezTo>
                  <a:cubicBezTo>
                    <a:pt x="642679" y="870014"/>
                    <a:pt x="672959" y="862995"/>
                    <a:pt x="674542" y="851664"/>
                  </a:cubicBezTo>
                  <a:close/>
                  <a:moveTo>
                    <a:pt x="793105" y="789797"/>
                  </a:moveTo>
                  <a:cubicBezTo>
                    <a:pt x="802116" y="784683"/>
                    <a:pt x="804348" y="779202"/>
                    <a:pt x="791968" y="783112"/>
                  </a:cubicBezTo>
                  <a:cubicBezTo>
                    <a:pt x="776910" y="787691"/>
                    <a:pt x="762216" y="797384"/>
                    <a:pt x="748781" y="804704"/>
                  </a:cubicBezTo>
                  <a:cubicBezTo>
                    <a:pt x="735346" y="812024"/>
                    <a:pt x="686597" y="835855"/>
                    <a:pt x="693863" y="845882"/>
                  </a:cubicBezTo>
                  <a:cubicBezTo>
                    <a:pt x="702914" y="858315"/>
                    <a:pt x="743179" y="841437"/>
                    <a:pt x="762581" y="829170"/>
                  </a:cubicBezTo>
                  <a:cubicBezTo>
                    <a:pt x="773703" y="822185"/>
                    <a:pt x="785312" y="812458"/>
                    <a:pt x="789208" y="804470"/>
                  </a:cubicBezTo>
                  <a:cubicBezTo>
                    <a:pt x="793673" y="795145"/>
                    <a:pt x="778046" y="807177"/>
                    <a:pt x="775286" y="804470"/>
                  </a:cubicBezTo>
                  <a:cubicBezTo>
                    <a:pt x="772526" y="801763"/>
                    <a:pt x="789858" y="791602"/>
                    <a:pt x="793105" y="789730"/>
                  </a:cubicBezTo>
                  <a:cubicBezTo>
                    <a:pt x="811208" y="779335"/>
                    <a:pt x="775042" y="800092"/>
                    <a:pt x="793105" y="789797"/>
                  </a:cubicBezTo>
                  <a:close/>
                  <a:moveTo>
                    <a:pt x="712737" y="811857"/>
                  </a:moveTo>
                  <a:cubicBezTo>
                    <a:pt x="730394" y="807044"/>
                    <a:pt x="735549" y="794042"/>
                    <a:pt x="754382" y="790299"/>
                  </a:cubicBezTo>
                  <a:cubicBezTo>
                    <a:pt x="768329" y="787140"/>
                    <a:pt x="781500" y="782003"/>
                    <a:pt x="793308" y="775124"/>
                  </a:cubicBezTo>
                  <a:cubicBezTo>
                    <a:pt x="803415" y="769141"/>
                    <a:pt x="810315" y="759983"/>
                    <a:pt x="799275" y="758646"/>
                  </a:cubicBezTo>
                  <a:cubicBezTo>
                    <a:pt x="787544" y="757243"/>
                    <a:pt x="767574" y="765498"/>
                    <a:pt x="754626" y="771448"/>
                  </a:cubicBezTo>
                  <a:cubicBezTo>
                    <a:pt x="731652" y="781943"/>
                    <a:pt x="712128" y="797718"/>
                    <a:pt x="691509" y="810553"/>
                  </a:cubicBezTo>
                  <a:cubicBezTo>
                    <a:pt x="685136" y="814531"/>
                    <a:pt x="668981" y="823321"/>
                    <a:pt x="667520" y="828435"/>
                  </a:cubicBezTo>
                  <a:cubicBezTo>
                    <a:pt x="664922" y="837593"/>
                    <a:pt x="708394" y="813027"/>
                    <a:pt x="712818" y="811723"/>
                  </a:cubicBezTo>
                  <a:cubicBezTo>
                    <a:pt x="729217" y="807278"/>
                    <a:pt x="696298" y="816269"/>
                    <a:pt x="712737" y="811756"/>
                  </a:cubicBezTo>
                  <a:close/>
                  <a:moveTo>
                    <a:pt x="944545" y="676157"/>
                  </a:moveTo>
                  <a:cubicBezTo>
                    <a:pt x="964150" y="657807"/>
                    <a:pt x="1015618" y="658676"/>
                    <a:pt x="983024" y="674185"/>
                  </a:cubicBezTo>
                  <a:cubicBezTo>
                    <a:pt x="975109" y="677895"/>
                    <a:pt x="920679" y="700122"/>
                    <a:pt x="956600" y="694640"/>
                  </a:cubicBezTo>
                  <a:cubicBezTo>
                    <a:pt x="975840" y="691732"/>
                    <a:pt x="993984" y="676692"/>
                    <a:pt x="1010422" y="668369"/>
                  </a:cubicBezTo>
                  <a:cubicBezTo>
                    <a:pt x="1032905" y="656654"/>
                    <a:pt x="1058448" y="649505"/>
                    <a:pt x="1084945" y="647513"/>
                  </a:cubicBezTo>
                  <a:cubicBezTo>
                    <a:pt x="1103089" y="646477"/>
                    <a:pt x="1130243" y="643335"/>
                    <a:pt x="1144977" y="629397"/>
                  </a:cubicBezTo>
                  <a:cubicBezTo>
                    <a:pt x="1157845" y="617265"/>
                    <a:pt x="1149036" y="616028"/>
                    <a:pt x="1134221" y="616596"/>
                  </a:cubicBezTo>
                  <a:cubicBezTo>
                    <a:pt x="1121760" y="617164"/>
                    <a:pt x="1130162" y="608207"/>
                    <a:pt x="1118554" y="608608"/>
                  </a:cubicBezTo>
                  <a:cubicBezTo>
                    <a:pt x="1101668" y="609209"/>
                    <a:pt x="1083200" y="621008"/>
                    <a:pt x="1067816" y="621977"/>
                  </a:cubicBezTo>
                  <a:cubicBezTo>
                    <a:pt x="1059698" y="622546"/>
                    <a:pt x="1045289" y="617432"/>
                    <a:pt x="1035710" y="624417"/>
                  </a:cubicBezTo>
                  <a:cubicBezTo>
                    <a:pt x="1032341" y="626891"/>
                    <a:pt x="1023939" y="635648"/>
                    <a:pt x="1018378" y="636483"/>
                  </a:cubicBezTo>
                  <a:cubicBezTo>
                    <a:pt x="1012817" y="637319"/>
                    <a:pt x="1013913" y="631770"/>
                    <a:pt x="1008718" y="631536"/>
                  </a:cubicBezTo>
                  <a:cubicBezTo>
                    <a:pt x="987570" y="630534"/>
                    <a:pt x="942922" y="652861"/>
                    <a:pt x="922992" y="663590"/>
                  </a:cubicBezTo>
                  <a:cubicBezTo>
                    <a:pt x="886461" y="683076"/>
                    <a:pt x="929974" y="689727"/>
                    <a:pt x="944545" y="676123"/>
                  </a:cubicBezTo>
                  <a:cubicBezTo>
                    <a:pt x="959117" y="662520"/>
                    <a:pt x="930258" y="689526"/>
                    <a:pt x="944545" y="676157"/>
                  </a:cubicBezTo>
                  <a:close/>
                  <a:moveTo>
                    <a:pt x="991873" y="727261"/>
                  </a:moveTo>
                  <a:cubicBezTo>
                    <a:pt x="999301" y="715229"/>
                    <a:pt x="926158" y="720577"/>
                    <a:pt x="929852" y="732074"/>
                  </a:cubicBezTo>
                  <a:cubicBezTo>
                    <a:pt x="933546" y="743572"/>
                    <a:pt x="984080" y="739829"/>
                    <a:pt x="991873" y="727195"/>
                  </a:cubicBezTo>
                  <a:close/>
                  <a:moveTo>
                    <a:pt x="1129432" y="555097"/>
                  </a:moveTo>
                  <a:cubicBezTo>
                    <a:pt x="1134952" y="542463"/>
                    <a:pt x="1056735" y="567798"/>
                    <a:pt x="1079547" y="566996"/>
                  </a:cubicBezTo>
                  <a:cubicBezTo>
                    <a:pt x="1092657" y="566394"/>
                    <a:pt x="1123749" y="567564"/>
                    <a:pt x="1129432" y="555030"/>
                  </a:cubicBezTo>
                  <a:close/>
                  <a:moveTo>
                    <a:pt x="1058805" y="779770"/>
                  </a:moveTo>
                  <a:cubicBezTo>
                    <a:pt x="1065584" y="769743"/>
                    <a:pt x="1025928" y="773085"/>
                    <a:pt x="1023330" y="786187"/>
                  </a:cubicBezTo>
                  <a:cubicBezTo>
                    <a:pt x="1020732" y="799289"/>
                    <a:pt x="1052108" y="789797"/>
                    <a:pt x="1058805" y="779770"/>
                  </a:cubicBezTo>
                  <a:close/>
                  <a:moveTo>
                    <a:pt x="1195187" y="660615"/>
                  </a:moveTo>
                  <a:cubicBezTo>
                    <a:pt x="1199246" y="671645"/>
                    <a:pt x="1084499" y="683811"/>
                    <a:pt x="1125251" y="692367"/>
                  </a:cubicBezTo>
                  <a:cubicBezTo>
                    <a:pt x="1130284" y="693403"/>
                    <a:pt x="1171889" y="692902"/>
                    <a:pt x="1152121" y="698484"/>
                  </a:cubicBezTo>
                  <a:cubicBezTo>
                    <a:pt x="1139944" y="701826"/>
                    <a:pt x="1094890" y="704567"/>
                    <a:pt x="1088720" y="712722"/>
                  </a:cubicBezTo>
                  <a:cubicBezTo>
                    <a:pt x="1080156" y="723953"/>
                    <a:pt x="1108163" y="718939"/>
                    <a:pt x="1111410" y="723384"/>
                  </a:cubicBezTo>
                  <a:cubicBezTo>
                    <a:pt x="1119000" y="733813"/>
                    <a:pt x="1066761" y="728933"/>
                    <a:pt x="1063636" y="728431"/>
                  </a:cubicBezTo>
                  <a:cubicBezTo>
                    <a:pt x="1049876" y="726192"/>
                    <a:pt x="1019596" y="724588"/>
                    <a:pt x="1003319" y="739695"/>
                  </a:cubicBezTo>
                  <a:cubicBezTo>
                    <a:pt x="991142" y="750859"/>
                    <a:pt x="1020408" y="753934"/>
                    <a:pt x="1030190" y="754201"/>
                  </a:cubicBezTo>
                  <a:cubicBezTo>
                    <a:pt x="1054714" y="754137"/>
                    <a:pt x="1078995" y="750237"/>
                    <a:pt x="1101749" y="742703"/>
                  </a:cubicBezTo>
                  <a:cubicBezTo>
                    <a:pt x="1123993" y="734448"/>
                    <a:pt x="1142989" y="718271"/>
                    <a:pt x="1165394" y="711686"/>
                  </a:cubicBezTo>
                  <a:cubicBezTo>
                    <a:pt x="1179398" y="707542"/>
                    <a:pt x="1164217" y="726961"/>
                    <a:pt x="1165394" y="730637"/>
                  </a:cubicBezTo>
                  <a:cubicBezTo>
                    <a:pt x="1168763" y="743171"/>
                    <a:pt x="1212316" y="719206"/>
                    <a:pt x="1223153" y="713758"/>
                  </a:cubicBezTo>
                  <a:cubicBezTo>
                    <a:pt x="1231880" y="709346"/>
                    <a:pt x="1245518" y="704333"/>
                    <a:pt x="1252013" y="698584"/>
                  </a:cubicBezTo>
                  <a:cubicBezTo>
                    <a:pt x="1257290" y="693905"/>
                    <a:pt x="1254286" y="689894"/>
                    <a:pt x="1257371" y="685215"/>
                  </a:cubicBezTo>
                  <a:cubicBezTo>
                    <a:pt x="1266422" y="671845"/>
                    <a:pt x="1255300" y="681638"/>
                    <a:pt x="1248725" y="673984"/>
                  </a:cubicBezTo>
                  <a:cubicBezTo>
                    <a:pt x="1245884" y="670642"/>
                    <a:pt x="1249821" y="665361"/>
                    <a:pt x="1247101" y="661918"/>
                  </a:cubicBezTo>
                  <a:cubicBezTo>
                    <a:pt x="1243854" y="657774"/>
                    <a:pt x="1235817" y="656036"/>
                    <a:pt x="1227821" y="655234"/>
                  </a:cubicBezTo>
                  <a:cubicBezTo>
                    <a:pt x="1225224" y="654966"/>
                    <a:pt x="1193157" y="654498"/>
                    <a:pt x="1195350" y="660481"/>
                  </a:cubicBezTo>
                  <a:close/>
                  <a:moveTo>
                    <a:pt x="1233341" y="594670"/>
                  </a:moveTo>
                  <a:cubicBezTo>
                    <a:pt x="1253636" y="586281"/>
                    <a:pt x="1280101" y="574616"/>
                    <a:pt x="1294754" y="562283"/>
                  </a:cubicBezTo>
                  <a:cubicBezTo>
                    <a:pt x="1298001" y="559575"/>
                    <a:pt x="1282577" y="558940"/>
                    <a:pt x="1286636" y="552523"/>
                  </a:cubicBezTo>
                  <a:cubicBezTo>
                    <a:pt x="1297352" y="535811"/>
                    <a:pt x="1246046" y="562149"/>
                    <a:pt x="1241013" y="563285"/>
                  </a:cubicBezTo>
                  <a:cubicBezTo>
                    <a:pt x="1230703" y="565458"/>
                    <a:pt x="1168926" y="572009"/>
                    <a:pt x="1169494" y="582203"/>
                  </a:cubicBezTo>
                  <a:cubicBezTo>
                    <a:pt x="1170184" y="593534"/>
                    <a:pt x="1210287" y="604229"/>
                    <a:pt x="1233341" y="594670"/>
                  </a:cubicBezTo>
                  <a:close/>
                  <a:moveTo>
                    <a:pt x="1357140" y="548579"/>
                  </a:moveTo>
                  <a:cubicBezTo>
                    <a:pt x="1351579" y="545504"/>
                    <a:pt x="1241378" y="598013"/>
                    <a:pt x="1262810" y="596876"/>
                  </a:cubicBezTo>
                  <a:cubicBezTo>
                    <a:pt x="1298894" y="594637"/>
                    <a:pt x="1362498" y="551420"/>
                    <a:pt x="1357181" y="548579"/>
                  </a:cubicBezTo>
                  <a:close/>
                  <a:moveTo>
                    <a:pt x="1399232" y="654532"/>
                  </a:moveTo>
                  <a:cubicBezTo>
                    <a:pt x="1435194" y="639023"/>
                    <a:pt x="1380155" y="634478"/>
                    <a:pt x="1367572" y="635246"/>
                  </a:cubicBezTo>
                  <a:cubicBezTo>
                    <a:pt x="1343705" y="636450"/>
                    <a:pt x="1316469" y="655301"/>
                    <a:pt x="1302101" y="668068"/>
                  </a:cubicBezTo>
                  <a:cubicBezTo>
                    <a:pt x="1285865" y="682374"/>
                    <a:pt x="1286555" y="687020"/>
                    <a:pt x="1311923" y="681204"/>
                  </a:cubicBezTo>
                  <a:cubicBezTo>
                    <a:pt x="1339930" y="674853"/>
                    <a:pt x="1372280" y="666197"/>
                    <a:pt x="1399232" y="654465"/>
                  </a:cubicBezTo>
                  <a:close/>
                  <a:moveTo>
                    <a:pt x="1269345" y="826663"/>
                  </a:moveTo>
                  <a:cubicBezTo>
                    <a:pt x="1295322" y="824324"/>
                    <a:pt x="1291831" y="815366"/>
                    <a:pt x="1305875" y="803969"/>
                  </a:cubicBezTo>
                  <a:cubicBezTo>
                    <a:pt x="1314765" y="796816"/>
                    <a:pt x="1328524" y="793942"/>
                    <a:pt x="1336967" y="786555"/>
                  </a:cubicBezTo>
                  <a:cubicBezTo>
                    <a:pt x="1343234" y="781134"/>
                    <a:pt x="1346826" y="773984"/>
                    <a:pt x="1347033" y="766501"/>
                  </a:cubicBezTo>
                  <a:cubicBezTo>
                    <a:pt x="1347439" y="759816"/>
                    <a:pt x="1349956" y="734982"/>
                    <a:pt x="1337373" y="734648"/>
                  </a:cubicBezTo>
                  <a:cubicBezTo>
                    <a:pt x="1306565" y="733879"/>
                    <a:pt x="1331122" y="754702"/>
                    <a:pt x="1328078" y="756039"/>
                  </a:cubicBezTo>
                  <a:cubicBezTo>
                    <a:pt x="1324019" y="757944"/>
                    <a:pt x="1319229" y="751494"/>
                    <a:pt x="1313790" y="752329"/>
                  </a:cubicBezTo>
                  <a:cubicBezTo>
                    <a:pt x="1306647" y="753432"/>
                    <a:pt x="1298894" y="757811"/>
                    <a:pt x="1292115" y="760451"/>
                  </a:cubicBezTo>
                  <a:cubicBezTo>
                    <a:pt x="1276123" y="766735"/>
                    <a:pt x="1267518" y="763225"/>
                    <a:pt x="1280344" y="753766"/>
                  </a:cubicBezTo>
                  <a:cubicBezTo>
                    <a:pt x="1289883" y="746681"/>
                    <a:pt x="1310827" y="734682"/>
                    <a:pt x="1308514" y="727027"/>
                  </a:cubicBezTo>
                  <a:cubicBezTo>
                    <a:pt x="1306444" y="720176"/>
                    <a:pt x="1283673" y="730838"/>
                    <a:pt x="1276651" y="728498"/>
                  </a:cubicBezTo>
                  <a:cubicBezTo>
                    <a:pt x="1271009" y="726626"/>
                    <a:pt x="1280710" y="719775"/>
                    <a:pt x="1265529" y="726225"/>
                  </a:cubicBezTo>
                  <a:cubicBezTo>
                    <a:pt x="1254631" y="730825"/>
                    <a:pt x="1244487" y="736543"/>
                    <a:pt x="1235330" y="743238"/>
                  </a:cubicBezTo>
                  <a:cubicBezTo>
                    <a:pt x="1222788" y="752764"/>
                    <a:pt x="1244828" y="744408"/>
                    <a:pt x="1248035" y="747383"/>
                  </a:cubicBezTo>
                  <a:cubicBezTo>
                    <a:pt x="1253149" y="752062"/>
                    <a:pt x="1204685" y="761989"/>
                    <a:pt x="1197460" y="765398"/>
                  </a:cubicBezTo>
                  <a:cubicBezTo>
                    <a:pt x="1175014" y="775893"/>
                    <a:pt x="1143922" y="807812"/>
                    <a:pt x="1187597" y="790365"/>
                  </a:cubicBezTo>
                  <a:cubicBezTo>
                    <a:pt x="1193726" y="787925"/>
                    <a:pt x="1212965" y="777765"/>
                    <a:pt x="1217593" y="780773"/>
                  </a:cubicBezTo>
                  <a:cubicBezTo>
                    <a:pt x="1224858" y="785586"/>
                    <a:pt x="1208663" y="806074"/>
                    <a:pt x="1194051" y="810085"/>
                  </a:cubicBezTo>
                  <a:cubicBezTo>
                    <a:pt x="1179438" y="814096"/>
                    <a:pt x="1167830" y="810586"/>
                    <a:pt x="1153055" y="816202"/>
                  </a:cubicBezTo>
                  <a:cubicBezTo>
                    <a:pt x="1133572" y="823655"/>
                    <a:pt x="1134140" y="833716"/>
                    <a:pt x="1148428" y="835019"/>
                  </a:cubicBezTo>
                  <a:cubicBezTo>
                    <a:pt x="1167911" y="836791"/>
                    <a:pt x="1191047" y="826764"/>
                    <a:pt x="1212072" y="824992"/>
                  </a:cubicBezTo>
                  <a:cubicBezTo>
                    <a:pt x="1233098" y="823221"/>
                    <a:pt x="1247913" y="828669"/>
                    <a:pt x="1269263" y="826697"/>
                  </a:cubicBezTo>
                  <a:cubicBezTo>
                    <a:pt x="1307661" y="823221"/>
                    <a:pt x="1231393" y="830173"/>
                    <a:pt x="1269507" y="826563"/>
                  </a:cubicBezTo>
                  <a:close/>
                  <a:moveTo>
                    <a:pt x="1443150" y="620273"/>
                  </a:moveTo>
                  <a:cubicBezTo>
                    <a:pt x="1451268" y="624551"/>
                    <a:pt x="1458087" y="624183"/>
                    <a:pt x="1471319" y="618635"/>
                  </a:cubicBezTo>
                  <a:cubicBezTo>
                    <a:pt x="1485566" y="612686"/>
                    <a:pt x="1500219" y="614223"/>
                    <a:pt x="1514831" y="610613"/>
                  </a:cubicBezTo>
                  <a:cubicBezTo>
                    <a:pt x="1536709" y="605232"/>
                    <a:pt x="1542798" y="597678"/>
                    <a:pt x="1554406" y="586481"/>
                  </a:cubicBezTo>
                  <a:cubicBezTo>
                    <a:pt x="1562037" y="579162"/>
                    <a:pt x="1567639" y="584710"/>
                    <a:pt x="1576203" y="584008"/>
                  </a:cubicBezTo>
                  <a:cubicBezTo>
                    <a:pt x="1599299" y="582069"/>
                    <a:pt x="1629376" y="569836"/>
                    <a:pt x="1651984" y="561982"/>
                  </a:cubicBezTo>
                  <a:cubicBezTo>
                    <a:pt x="1678855" y="552590"/>
                    <a:pt x="1719404" y="541426"/>
                    <a:pt x="1737223" y="524481"/>
                  </a:cubicBezTo>
                  <a:cubicBezTo>
                    <a:pt x="1747289" y="514855"/>
                    <a:pt x="1749806" y="517161"/>
                    <a:pt x="1767097" y="513718"/>
                  </a:cubicBezTo>
                  <a:cubicBezTo>
                    <a:pt x="1791451" y="508838"/>
                    <a:pt x="1840848" y="495469"/>
                    <a:pt x="1857003" y="480863"/>
                  </a:cubicBezTo>
                  <a:cubicBezTo>
                    <a:pt x="1864390" y="474178"/>
                    <a:pt x="1877298" y="449679"/>
                    <a:pt x="1858464" y="451383"/>
                  </a:cubicBezTo>
                  <a:cubicBezTo>
                    <a:pt x="1838169" y="453255"/>
                    <a:pt x="1814100" y="460876"/>
                    <a:pt x="1793886" y="466758"/>
                  </a:cubicBezTo>
                  <a:cubicBezTo>
                    <a:pt x="1767259" y="474479"/>
                    <a:pt x="1740713" y="483069"/>
                    <a:pt x="1714817" y="492661"/>
                  </a:cubicBezTo>
                  <a:cubicBezTo>
                    <a:pt x="1691681" y="501251"/>
                    <a:pt x="1676582" y="511111"/>
                    <a:pt x="1655800" y="520804"/>
                  </a:cubicBezTo>
                  <a:cubicBezTo>
                    <a:pt x="1626940" y="534174"/>
                    <a:pt x="1596295" y="538218"/>
                    <a:pt x="1569019" y="553893"/>
                  </a:cubicBezTo>
                  <a:cubicBezTo>
                    <a:pt x="1561185" y="558406"/>
                    <a:pt x="1554934" y="557236"/>
                    <a:pt x="1547709" y="557236"/>
                  </a:cubicBezTo>
                  <a:cubicBezTo>
                    <a:pt x="1530783" y="557236"/>
                    <a:pt x="1516090" y="565959"/>
                    <a:pt x="1499326" y="568633"/>
                  </a:cubicBezTo>
                  <a:cubicBezTo>
                    <a:pt x="1482563" y="571307"/>
                    <a:pt x="1521569" y="545738"/>
                    <a:pt x="1515034" y="544401"/>
                  </a:cubicBezTo>
                  <a:cubicBezTo>
                    <a:pt x="1498555" y="541059"/>
                    <a:pt x="1455043" y="554695"/>
                    <a:pt x="1435803" y="561514"/>
                  </a:cubicBezTo>
                  <a:cubicBezTo>
                    <a:pt x="1420054" y="567029"/>
                    <a:pt x="1406944" y="575151"/>
                    <a:pt x="1390465" y="579262"/>
                  </a:cubicBezTo>
                  <a:cubicBezTo>
                    <a:pt x="1371956" y="583908"/>
                    <a:pt x="1354542" y="584409"/>
                    <a:pt x="1336155" y="588687"/>
                  </a:cubicBezTo>
                  <a:cubicBezTo>
                    <a:pt x="1312776" y="594102"/>
                    <a:pt x="1277584" y="606769"/>
                    <a:pt x="1259928" y="620273"/>
                  </a:cubicBezTo>
                  <a:cubicBezTo>
                    <a:pt x="1236548" y="638021"/>
                    <a:pt x="1349428" y="610947"/>
                    <a:pt x="1364041" y="605098"/>
                  </a:cubicBezTo>
                  <a:cubicBezTo>
                    <a:pt x="1371103" y="602190"/>
                    <a:pt x="1373985" y="596442"/>
                    <a:pt x="1379708" y="594503"/>
                  </a:cubicBezTo>
                  <a:cubicBezTo>
                    <a:pt x="1391885" y="590425"/>
                    <a:pt x="1407106" y="593968"/>
                    <a:pt x="1415955" y="595205"/>
                  </a:cubicBezTo>
                  <a:cubicBezTo>
                    <a:pt x="1424803" y="596442"/>
                    <a:pt x="1436250" y="596408"/>
                    <a:pt x="1435722" y="603227"/>
                  </a:cubicBezTo>
                  <a:cubicBezTo>
                    <a:pt x="1435194" y="610045"/>
                    <a:pt x="1435316" y="615961"/>
                    <a:pt x="1443312" y="620139"/>
                  </a:cubicBezTo>
                  <a:close/>
                  <a:moveTo>
                    <a:pt x="1473430" y="509774"/>
                  </a:moveTo>
                  <a:cubicBezTo>
                    <a:pt x="1442663" y="514052"/>
                    <a:pt x="1416036" y="540390"/>
                    <a:pt x="1446843" y="534240"/>
                  </a:cubicBezTo>
                  <a:cubicBezTo>
                    <a:pt x="1473430" y="529093"/>
                    <a:pt x="1504359" y="505697"/>
                    <a:pt x="1473592" y="509774"/>
                  </a:cubicBezTo>
                  <a:close/>
                  <a:moveTo>
                    <a:pt x="1210530" y="520236"/>
                  </a:moveTo>
                  <a:cubicBezTo>
                    <a:pt x="1227172" y="517495"/>
                    <a:pt x="1229891" y="524848"/>
                    <a:pt x="1244098" y="524113"/>
                  </a:cubicBezTo>
                  <a:cubicBezTo>
                    <a:pt x="1257005" y="523411"/>
                    <a:pt x="1270197" y="517963"/>
                    <a:pt x="1282739" y="512381"/>
                  </a:cubicBezTo>
                  <a:cubicBezTo>
                    <a:pt x="1294023" y="507301"/>
                    <a:pt x="1344841" y="479158"/>
                    <a:pt x="1354705" y="484005"/>
                  </a:cubicBezTo>
                  <a:cubicBezTo>
                    <a:pt x="1373214" y="492962"/>
                    <a:pt x="1246655" y="529193"/>
                    <a:pt x="1330351" y="518230"/>
                  </a:cubicBezTo>
                  <a:cubicBezTo>
                    <a:pt x="1337535" y="517294"/>
                    <a:pt x="1356004" y="513585"/>
                    <a:pt x="1359616" y="516827"/>
                  </a:cubicBezTo>
                  <a:cubicBezTo>
                    <a:pt x="1362295" y="519233"/>
                    <a:pt x="1361849" y="519902"/>
                    <a:pt x="1369966" y="518832"/>
                  </a:cubicBezTo>
                  <a:cubicBezTo>
                    <a:pt x="1390546" y="516158"/>
                    <a:pt x="1419283" y="510075"/>
                    <a:pt x="1439578" y="501118"/>
                  </a:cubicBezTo>
                  <a:cubicBezTo>
                    <a:pt x="1450010" y="496539"/>
                    <a:pt x="1450781" y="490489"/>
                    <a:pt x="1463607" y="485709"/>
                  </a:cubicBezTo>
                  <a:cubicBezTo>
                    <a:pt x="1474566" y="481632"/>
                    <a:pt x="1497459" y="479927"/>
                    <a:pt x="1504197" y="472607"/>
                  </a:cubicBezTo>
                  <a:cubicBezTo>
                    <a:pt x="1509392" y="466858"/>
                    <a:pt x="1508986" y="460976"/>
                    <a:pt x="1510610" y="455595"/>
                  </a:cubicBezTo>
                  <a:cubicBezTo>
                    <a:pt x="1513451" y="446136"/>
                    <a:pt x="1519256" y="450915"/>
                    <a:pt x="1527414" y="445033"/>
                  </a:cubicBezTo>
                  <a:cubicBezTo>
                    <a:pt x="1535573" y="439150"/>
                    <a:pt x="1534355" y="431663"/>
                    <a:pt x="1541905" y="425246"/>
                  </a:cubicBezTo>
                  <a:cubicBezTo>
                    <a:pt x="1552702" y="416121"/>
                    <a:pt x="1571535" y="408701"/>
                    <a:pt x="1585985" y="401448"/>
                  </a:cubicBezTo>
                  <a:cubicBezTo>
                    <a:pt x="1592804" y="398106"/>
                    <a:pt x="1606524" y="391187"/>
                    <a:pt x="1599096" y="388079"/>
                  </a:cubicBezTo>
                  <a:cubicBezTo>
                    <a:pt x="1588705" y="383901"/>
                    <a:pt x="1565853" y="395532"/>
                    <a:pt x="1553919" y="399878"/>
                  </a:cubicBezTo>
                  <a:cubicBezTo>
                    <a:pt x="1544787" y="403220"/>
                    <a:pt x="1520839" y="410372"/>
                    <a:pt x="1522381" y="401849"/>
                  </a:cubicBezTo>
                  <a:cubicBezTo>
                    <a:pt x="1523518" y="395466"/>
                    <a:pt x="1527414" y="392558"/>
                    <a:pt x="1513411" y="393527"/>
                  </a:cubicBezTo>
                  <a:cubicBezTo>
                    <a:pt x="1507160" y="393995"/>
                    <a:pt x="1493847" y="395833"/>
                    <a:pt x="1500868" y="389449"/>
                  </a:cubicBezTo>
                  <a:cubicBezTo>
                    <a:pt x="1508986" y="382029"/>
                    <a:pt x="1491127" y="385104"/>
                    <a:pt x="1484389" y="387277"/>
                  </a:cubicBezTo>
                  <a:cubicBezTo>
                    <a:pt x="1470589" y="391689"/>
                    <a:pt x="1476271" y="393327"/>
                    <a:pt x="1476271" y="398039"/>
                  </a:cubicBezTo>
                  <a:cubicBezTo>
                    <a:pt x="1476271" y="403955"/>
                    <a:pt x="1451268" y="403989"/>
                    <a:pt x="1447858" y="403688"/>
                  </a:cubicBezTo>
                  <a:cubicBezTo>
                    <a:pt x="1438685" y="402886"/>
                    <a:pt x="1436615" y="399476"/>
                    <a:pt x="1425250" y="400914"/>
                  </a:cubicBezTo>
                  <a:cubicBezTo>
                    <a:pt x="1409014" y="402986"/>
                    <a:pt x="1392129" y="407064"/>
                    <a:pt x="1375771" y="410038"/>
                  </a:cubicBezTo>
                  <a:cubicBezTo>
                    <a:pt x="1340174" y="416723"/>
                    <a:pt x="1302709" y="412512"/>
                    <a:pt x="1267153" y="424878"/>
                  </a:cubicBezTo>
                  <a:cubicBezTo>
                    <a:pt x="1261998" y="426683"/>
                    <a:pt x="1242799" y="434036"/>
                    <a:pt x="1243814" y="438248"/>
                  </a:cubicBezTo>
                  <a:cubicBezTo>
                    <a:pt x="1244828" y="442459"/>
                    <a:pt x="1275149" y="428455"/>
                    <a:pt x="1273241" y="435373"/>
                  </a:cubicBezTo>
                  <a:cubicBezTo>
                    <a:pt x="1272145" y="439083"/>
                    <a:pt x="1195471" y="468062"/>
                    <a:pt x="1240079" y="458469"/>
                  </a:cubicBezTo>
                  <a:cubicBezTo>
                    <a:pt x="1282415" y="449411"/>
                    <a:pt x="1203548" y="481197"/>
                    <a:pt x="1200504" y="488818"/>
                  </a:cubicBezTo>
                  <a:cubicBezTo>
                    <a:pt x="1193076" y="506599"/>
                    <a:pt x="1257330" y="483670"/>
                    <a:pt x="1248968" y="492394"/>
                  </a:cubicBezTo>
                  <a:cubicBezTo>
                    <a:pt x="1239876" y="501719"/>
                    <a:pt x="1221773" y="505396"/>
                    <a:pt x="1208379" y="510142"/>
                  </a:cubicBezTo>
                  <a:cubicBezTo>
                    <a:pt x="1186217" y="517896"/>
                    <a:pt x="1193320" y="523211"/>
                    <a:pt x="1211058" y="520169"/>
                  </a:cubicBezTo>
                  <a:cubicBezTo>
                    <a:pt x="1236102" y="516025"/>
                    <a:pt x="1183173" y="524848"/>
                    <a:pt x="1210692" y="520236"/>
                  </a:cubicBezTo>
                  <a:close/>
                  <a:moveTo>
                    <a:pt x="1356166" y="378687"/>
                  </a:moveTo>
                  <a:cubicBezTo>
                    <a:pt x="1370981" y="366788"/>
                    <a:pt x="1391723" y="360170"/>
                    <a:pt x="1371915" y="377116"/>
                  </a:cubicBezTo>
                  <a:cubicBezTo>
                    <a:pt x="1357709" y="389316"/>
                    <a:pt x="1400734" y="370866"/>
                    <a:pt x="1403900" y="370431"/>
                  </a:cubicBezTo>
                  <a:cubicBezTo>
                    <a:pt x="1401667" y="370732"/>
                    <a:pt x="1373335" y="396635"/>
                    <a:pt x="1405442" y="387711"/>
                  </a:cubicBezTo>
                  <a:cubicBezTo>
                    <a:pt x="1418471" y="384135"/>
                    <a:pt x="1420663" y="384068"/>
                    <a:pt x="1429268" y="386174"/>
                  </a:cubicBezTo>
                  <a:cubicBezTo>
                    <a:pt x="1437873" y="388280"/>
                    <a:pt x="1455205" y="381996"/>
                    <a:pt x="1464825" y="378821"/>
                  </a:cubicBezTo>
                  <a:cubicBezTo>
                    <a:pt x="1471644" y="376514"/>
                    <a:pt x="1533462" y="347202"/>
                    <a:pt x="1527779" y="346266"/>
                  </a:cubicBezTo>
                  <a:cubicBezTo>
                    <a:pt x="1534558" y="347403"/>
                    <a:pt x="1527090" y="356293"/>
                    <a:pt x="1532245" y="357797"/>
                  </a:cubicBezTo>
                  <a:cubicBezTo>
                    <a:pt x="1537399" y="359301"/>
                    <a:pt x="1553270" y="354622"/>
                    <a:pt x="1560089" y="352784"/>
                  </a:cubicBezTo>
                  <a:cubicBezTo>
                    <a:pt x="1581277" y="347102"/>
                    <a:pt x="1609284" y="339414"/>
                    <a:pt x="1627671" y="329020"/>
                  </a:cubicBezTo>
                  <a:cubicBezTo>
                    <a:pt x="1636154" y="324207"/>
                    <a:pt x="1631730" y="319594"/>
                    <a:pt x="1643907" y="315650"/>
                  </a:cubicBezTo>
                  <a:cubicBezTo>
                    <a:pt x="1657748" y="310937"/>
                    <a:pt x="1670858" y="309667"/>
                    <a:pt x="1684497" y="304152"/>
                  </a:cubicBezTo>
                  <a:cubicBezTo>
                    <a:pt x="1709106" y="294329"/>
                    <a:pt x="1732689" y="282848"/>
                    <a:pt x="1755001" y="269826"/>
                  </a:cubicBezTo>
                  <a:cubicBezTo>
                    <a:pt x="1765798" y="263442"/>
                    <a:pt x="1778502" y="243422"/>
                    <a:pt x="1787473" y="252413"/>
                  </a:cubicBezTo>
                  <a:cubicBezTo>
                    <a:pt x="1800705" y="265481"/>
                    <a:pt x="1740713" y="289178"/>
                    <a:pt x="1720378" y="297534"/>
                  </a:cubicBezTo>
                  <a:cubicBezTo>
                    <a:pt x="1707268" y="302815"/>
                    <a:pt x="1639198" y="327148"/>
                    <a:pt x="1676257" y="326646"/>
                  </a:cubicBezTo>
                  <a:cubicBezTo>
                    <a:pt x="1682467" y="326479"/>
                    <a:pt x="1747086" y="322669"/>
                    <a:pt x="1726142" y="329488"/>
                  </a:cubicBezTo>
                  <a:cubicBezTo>
                    <a:pt x="1692858" y="340317"/>
                    <a:pt x="1670128" y="334568"/>
                    <a:pt x="1640213" y="338345"/>
                  </a:cubicBezTo>
                  <a:cubicBezTo>
                    <a:pt x="1609162" y="342289"/>
                    <a:pt x="1575270" y="354421"/>
                    <a:pt x="1545558" y="366253"/>
                  </a:cubicBezTo>
                  <a:cubicBezTo>
                    <a:pt x="1520555" y="376281"/>
                    <a:pt x="1533381" y="393159"/>
                    <a:pt x="1552052" y="392290"/>
                  </a:cubicBezTo>
                  <a:cubicBezTo>
                    <a:pt x="1562321" y="391822"/>
                    <a:pt x="1576406" y="385071"/>
                    <a:pt x="1587649" y="383266"/>
                  </a:cubicBezTo>
                  <a:cubicBezTo>
                    <a:pt x="1603532" y="380796"/>
                    <a:pt x="1619914" y="381635"/>
                    <a:pt x="1635302" y="385706"/>
                  </a:cubicBezTo>
                  <a:cubicBezTo>
                    <a:pt x="1646667" y="388614"/>
                    <a:pt x="1661685" y="387444"/>
                    <a:pt x="1677109" y="384570"/>
                  </a:cubicBezTo>
                  <a:cubicBezTo>
                    <a:pt x="1685755" y="382932"/>
                    <a:pt x="1705116" y="376882"/>
                    <a:pt x="1711489" y="379289"/>
                  </a:cubicBezTo>
                  <a:cubicBezTo>
                    <a:pt x="1723057" y="383567"/>
                    <a:pt x="1658276" y="396000"/>
                    <a:pt x="1653811" y="396869"/>
                  </a:cubicBezTo>
                  <a:cubicBezTo>
                    <a:pt x="1620487" y="403554"/>
                    <a:pt x="1591790" y="410974"/>
                    <a:pt x="1563458" y="428054"/>
                  </a:cubicBezTo>
                  <a:cubicBezTo>
                    <a:pt x="1551687" y="435106"/>
                    <a:pt x="1515034" y="464820"/>
                    <a:pt x="1549049" y="459071"/>
                  </a:cubicBezTo>
                  <a:cubicBezTo>
                    <a:pt x="1563011" y="456798"/>
                    <a:pt x="1578273" y="449812"/>
                    <a:pt x="1590328" y="443662"/>
                  </a:cubicBezTo>
                  <a:cubicBezTo>
                    <a:pt x="1602383" y="437512"/>
                    <a:pt x="1620446" y="421035"/>
                    <a:pt x="1632745" y="417458"/>
                  </a:cubicBezTo>
                  <a:cubicBezTo>
                    <a:pt x="1633435" y="417224"/>
                    <a:pt x="1609162" y="443362"/>
                    <a:pt x="1618741" y="444197"/>
                  </a:cubicBezTo>
                  <a:cubicBezTo>
                    <a:pt x="1626859" y="444999"/>
                    <a:pt x="1679626" y="437011"/>
                    <a:pt x="1665176" y="449946"/>
                  </a:cubicBezTo>
                  <a:cubicBezTo>
                    <a:pt x="1646424" y="466658"/>
                    <a:pt x="1623693" y="458369"/>
                    <a:pt x="1610420" y="455962"/>
                  </a:cubicBezTo>
                  <a:cubicBezTo>
                    <a:pt x="1594185" y="452921"/>
                    <a:pt x="1531067" y="468162"/>
                    <a:pt x="1530499" y="483370"/>
                  </a:cubicBezTo>
                  <a:cubicBezTo>
                    <a:pt x="1530012" y="495569"/>
                    <a:pt x="1585214" y="474412"/>
                    <a:pt x="1578152" y="485141"/>
                  </a:cubicBezTo>
                  <a:cubicBezTo>
                    <a:pt x="1573727" y="491826"/>
                    <a:pt x="1552702" y="497875"/>
                    <a:pt x="1543001" y="502455"/>
                  </a:cubicBezTo>
                  <a:cubicBezTo>
                    <a:pt x="1528210" y="508955"/>
                    <a:pt x="1514348" y="516803"/>
                    <a:pt x="1501680" y="525851"/>
                  </a:cubicBezTo>
                  <a:cubicBezTo>
                    <a:pt x="1478828" y="543432"/>
                    <a:pt x="1518403" y="534274"/>
                    <a:pt x="1533178" y="529193"/>
                  </a:cubicBezTo>
                  <a:cubicBezTo>
                    <a:pt x="1556639" y="521005"/>
                    <a:pt x="1587812" y="503992"/>
                    <a:pt x="1611963" y="500616"/>
                  </a:cubicBezTo>
                  <a:cubicBezTo>
                    <a:pt x="1641309" y="496472"/>
                    <a:pt x="1658681" y="493430"/>
                    <a:pt x="1679098" y="476585"/>
                  </a:cubicBezTo>
                  <a:cubicBezTo>
                    <a:pt x="1689164" y="468296"/>
                    <a:pt x="1710271" y="462680"/>
                    <a:pt x="1724153" y="458135"/>
                  </a:cubicBezTo>
                  <a:cubicBezTo>
                    <a:pt x="1742905" y="451951"/>
                    <a:pt x="1764053" y="442860"/>
                    <a:pt x="1783251" y="441022"/>
                  </a:cubicBezTo>
                  <a:cubicBezTo>
                    <a:pt x="1797945" y="439618"/>
                    <a:pt x="1807605" y="442392"/>
                    <a:pt x="1823841" y="436577"/>
                  </a:cubicBezTo>
                  <a:cubicBezTo>
                    <a:pt x="1842431" y="429892"/>
                    <a:pt x="1851239" y="420868"/>
                    <a:pt x="1864674" y="411810"/>
                  </a:cubicBezTo>
                  <a:cubicBezTo>
                    <a:pt x="1875553" y="404490"/>
                    <a:pt x="1892519" y="402652"/>
                    <a:pt x="1903072" y="395332"/>
                  </a:cubicBezTo>
                  <a:cubicBezTo>
                    <a:pt x="1913626" y="388012"/>
                    <a:pt x="1902261" y="379021"/>
                    <a:pt x="1888582" y="382698"/>
                  </a:cubicBezTo>
                  <a:cubicBezTo>
                    <a:pt x="1877663" y="385639"/>
                    <a:pt x="1871534" y="392457"/>
                    <a:pt x="1861630" y="396067"/>
                  </a:cubicBezTo>
                  <a:cubicBezTo>
                    <a:pt x="1857206" y="397705"/>
                    <a:pt x="1847749" y="393761"/>
                    <a:pt x="1841132" y="394697"/>
                  </a:cubicBezTo>
                  <a:cubicBezTo>
                    <a:pt x="1825830" y="396836"/>
                    <a:pt x="1757802" y="426817"/>
                    <a:pt x="1753905" y="419865"/>
                  </a:cubicBezTo>
                  <a:cubicBezTo>
                    <a:pt x="1747817" y="408969"/>
                    <a:pt x="1807768" y="397070"/>
                    <a:pt x="1818078" y="393527"/>
                  </a:cubicBezTo>
                  <a:cubicBezTo>
                    <a:pt x="1836708" y="386842"/>
                    <a:pt x="1861062" y="378018"/>
                    <a:pt x="1876040" y="368292"/>
                  </a:cubicBezTo>
                  <a:cubicBezTo>
                    <a:pt x="1889028" y="359869"/>
                    <a:pt x="1869018" y="359903"/>
                    <a:pt x="1866664" y="355157"/>
                  </a:cubicBezTo>
                  <a:cubicBezTo>
                    <a:pt x="1863497" y="348706"/>
                    <a:pt x="1932094" y="331760"/>
                    <a:pt x="1941755" y="326780"/>
                  </a:cubicBezTo>
                  <a:cubicBezTo>
                    <a:pt x="1965094" y="314413"/>
                    <a:pt x="1989366" y="290014"/>
                    <a:pt x="1985023" y="276645"/>
                  </a:cubicBezTo>
                  <a:cubicBezTo>
                    <a:pt x="1981330" y="265348"/>
                    <a:pt x="1934530" y="281859"/>
                    <a:pt x="1920526" y="286505"/>
                  </a:cubicBezTo>
                  <a:cubicBezTo>
                    <a:pt x="1905102" y="291552"/>
                    <a:pt x="1853999" y="308898"/>
                    <a:pt x="1893737" y="289112"/>
                  </a:cubicBezTo>
                  <a:cubicBezTo>
                    <a:pt x="1911868" y="280244"/>
                    <a:pt x="1930881" y="272651"/>
                    <a:pt x="1950563" y="266417"/>
                  </a:cubicBezTo>
                  <a:cubicBezTo>
                    <a:pt x="1964688" y="261838"/>
                    <a:pt x="1984455" y="257593"/>
                    <a:pt x="1995739" y="249939"/>
                  </a:cubicBezTo>
                  <a:cubicBezTo>
                    <a:pt x="2007023" y="242285"/>
                    <a:pt x="1987174" y="235935"/>
                    <a:pt x="2008444" y="229885"/>
                  </a:cubicBezTo>
                  <a:cubicBezTo>
                    <a:pt x="2029713" y="223836"/>
                    <a:pt x="2085564" y="218588"/>
                    <a:pt x="2084184" y="200907"/>
                  </a:cubicBezTo>
                  <a:cubicBezTo>
                    <a:pt x="2083575" y="192685"/>
                    <a:pt x="2109228" y="183961"/>
                    <a:pt x="2121811" y="176341"/>
                  </a:cubicBezTo>
                  <a:cubicBezTo>
                    <a:pt x="2152253" y="157857"/>
                    <a:pt x="2180382" y="138238"/>
                    <a:pt x="2212894" y="120757"/>
                  </a:cubicBezTo>
                  <a:cubicBezTo>
                    <a:pt x="2238060" y="107187"/>
                    <a:pt x="2279055" y="94988"/>
                    <a:pt x="2299919" y="80147"/>
                  </a:cubicBezTo>
                  <a:cubicBezTo>
                    <a:pt x="2317859" y="67380"/>
                    <a:pt x="2279624" y="76805"/>
                    <a:pt x="2271506" y="79145"/>
                  </a:cubicBezTo>
                  <a:cubicBezTo>
                    <a:pt x="2247801" y="86097"/>
                    <a:pt x="2222433" y="97060"/>
                    <a:pt x="2198120" y="101906"/>
                  </a:cubicBezTo>
                  <a:cubicBezTo>
                    <a:pt x="2182614" y="104948"/>
                    <a:pt x="2224543" y="86732"/>
                    <a:pt x="2228115" y="85362"/>
                  </a:cubicBezTo>
                  <a:cubicBezTo>
                    <a:pt x="2249953" y="76872"/>
                    <a:pt x="2269842" y="72594"/>
                    <a:pt x="2292004" y="66110"/>
                  </a:cubicBezTo>
                  <a:cubicBezTo>
                    <a:pt x="2321066" y="57620"/>
                    <a:pt x="2347733" y="42713"/>
                    <a:pt x="2371438" y="30346"/>
                  </a:cubicBezTo>
                  <a:cubicBezTo>
                    <a:pt x="2375010" y="28374"/>
                    <a:pt x="2438654" y="-5216"/>
                    <a:pt x="2407238" y="265"/>
                  </a:cubicBezTo>
                  <a:cubicBezTo>
                    <a:pt x="2382437" y="4610"/>
                    <a:pt x="2352604" y="20787"/>
                    <a:pt x="2329833" y="15406"/>
                  </a:cubicBezTo>
                  <a:cubicBezTo>
                    <a:pt x="2321269" y="13401"/>
                    <a:pt x="2326586" y="7117"/>
                    <a:pt x="2311527" y="10860"/>
                  </a:cubicBezTo>
                  <a:cubicBezTo>
                    <a:pt x="2306778" y="11997"/>
                    <a:pt x="2283114" y="20887"/>
                    <a:pt x="2280557" y="18147"/>
                  </a:cubicBezTo>
                  <a:cubicBezTo>
                    <a:pt x="2273779" y="10359"/>
                    <a:pt x="2199905" y="46657"/>
                    <a:pt x="2192193" y="50200"/>
                  </a:cubicBezTo>
                  <a:cubicBezTo>
                    <a:pt x="2164105" y="62634"/>
                    <a:pt x="2211149" y="29812"/>
                    <a:pt x="2212245" y="31182"/>
                  </a:cubicBezTo>
                  <a:cubicBezTo>
                    <a:pt x="2210743" y="29243"/>
                    <a:pt x="2110770" y="57486"/>
                    <a:pt x="2100663" y="59826"/>
                  </a:cubicBezTo>
                  <a:cubicBezTo>
                    <a:pt x="2076878" y="64973"/>
                    <a:pt x="2067583" y="64037"/>
                    <a:pt x="2046233" y="76103"/>
                  </a:cubicBezTo>
                  <a:cubicBezTo>
                    <a:pt x="2024882" y="88169"/>
                    <a:pt x="2003857" y="82186"/>
                    <a:pt x="1978488" y="92548"/>
                  </a:cubicBezTo>
                  <a:cubicBezTo>
                    <a:pt x="1970655" y="95723"/>
                    <a:pt x="1959979" y="100670"/>
                    <a:pt x="1956813" y="105516"/>
                  </a:cubicBezTo>
                  <a:cubicBezTo>
                    <a:pt x="1953647" y="110362"/>
                    <a:pt x="1968016" y="113371"/>
                    <a:pt x="1949142" y="115877"/>
                  </a:cubicBezTo>
                  <a:cubicBezTo>
                    <a:pt x="1933596" y="117916"/>
                    <a:pt x="1923733" y="115242"/>
                    <a:pt x="1907131" y="120256"/>
                  </a:cubicBezTo>
                  <a:cubicBezTo>
                    <a:pt x="1887648" y="126172"/>
                    <a:pt x="1869789" y="134728"/>
                    <a:pt x="1850306" y="140811"/>
                  </a:cubicBezTo>
                  <a:cubicBezTo>
                    <a:pt x="1839631" y="144154"/>
                    <a:pt x="1827332" y="146293"/>
                    <a:pt x="1819823" y="152576"/>
                  </a:cubicBezTo>
                  <a:cubicBezTo>
                    <a:pt x="1814343" y="157155"/>
                    <a:pt x="1812233" y="161333"/>
                    <a:pt x="1802247" y="164107"/>
                  </a:cubicBezTo>
                  <a:cubicBezTo>
                    <a:pt x="1798838" y="164943"/>
                    <a:pt x="1712098" y="182758"/>
                    <a:pt x="1718957" y="187504"/>
                  </a:cubicBezTo>
                  <a:cubicBezTo>
                    <a:pt x="1720540" y="188574"/>
                    <a:pt x="1728983" y="185833"/>
                    <a:pt x="1725289" y="189610"/>
                  </a:cubicBezTo>
                  <a:cubicBezTo>
                    <a:pt x="1719282" y="195793"/>
                    <a:pt x="1705441" y="197397"/>
                    <a:pt x="1696268" y="200205"/>
                  </a:cubicBezTo>
                  <a:cubicBezTo>
                    <a:pt x="1671224" y="207859"/>
                    <a:pt x="1692209" y="209463"/>
                    <a:pt x="1686932" y="215379"/>
                  </a:cubicBezTo>
                  <a:cubicBezTo>
                    <a:pt x="1678327" y="224738"/>
                    <a:pt x="1636154" y="227278"/>
                    <a:pt x="1630675" y="237974"/>
                  </a:cubicBezTo>
                  <a:cubicBezTo>
                    <a:pt x="1625966" y="247232"/>
                    <a:pt x="1624180" y="255287"/>
                    <a:pt x="1600273" y="258663"/>
                  </a:cubicBezTo>
                  <a:cubicBezTo>
                    <a:pt x="1583428" y="261036"/>
                    <a:pt x="1571048" y="261069"/>
                    <a:pt x="1553108" y="265983"/>
                  </a:cubicBezTo>
                  <a:cubicBezTo>
                    <a:pt x="1549049" y="267052"/>
                    <a:pt x="1523152" y="274004"/>
                    <a:pt x="1524005" y="277647"/>
                  </a:cubicBezTo>
                  <a:cubicBezTo>
                    <a:pt x="1524857" y="281291"/>
                    <a:pt x="1539510" y="277447"/>
                    <a:pt x="1523477" y="284867"/>
                  </a:cubicBezTo>
                  <a:cubicBezTo>
                    <a:pt x="1514831" y="288911"/>
                    <a:pt x="1503791" y="292554"/>
                    <a:pt x="1496282" y="297434"/>
                  </a:cubicBezTo>
                  <a:cubicBezTo>
                    <a:pt x="1489382" y="301880"/>
                    <a:pt x="1507566" y="298771"/>
                    <a:pt x="1505009" y="303417"/>
                  </a:cubicBezTo>
                  <a:cubicBezTo>
                    <a:pt x="1496526" y="318825"/>
                    <a:pt x="1464419" y="315951"/>
                    <a:pt x="1447574" y="321232"/>
                  </a:cubicBezTo>
                  <a:cubicBezTo>
                    <a:pt x="1425209" y="328217"/>
                    <a:pt x="1419973" y="337008"/>
                    <a:pt x="1411044" y="348505"/>
                  </a:cubicBezTo>
                  <a:cubicBezTo>
                    <a:pt x="1406091" y="354889"/>
                    <a:pt x="1386690" y="355792"/>
                    <a:pt x="1375690" y="360337"/>
                  </a:cubicBezTo>
                  <a:cubicBezTo>
                    <a:pt x="1359454" y="367022"/>
                    <a:pt x="1325074" y="382263"/>
                    <a:pt x="1317768" y="392792"/>
                  </a:cubicBezTo>
                  <a:cubicBezTo>
                    <a:pt x="1312126" y="400847"/>
                    <a:pt x="1352229" y="381327"/>
                    <a:pt x="1356044" y="378319"/>
                  </a:cubicBezTo>
                  <a:close/>
                  <a:moveTo>
                    <a:pt x="2051915" y="839264"/>
                  </a:moveTo>
                  <a:cubicBezTo>
                    <a:pt x="2061575" y="835153"/>
                    <a:pt x="2072941" y="810854"/>
                    <a:pt x="2047450" y="820313"/>
                  </a:cubicBezTo>
                  <a:cubicBezTo>
                    <a:pt x="2021960" y="829772"/>
                    <a:pt x="2037019" y="845648"/>
                    <a:pt x="2051915" y="839264"/>
                  </a:cubicBezTo>
                  <a:close/>
                  <a:moveTo>
                    <a:pt x="1918294" y="867741"/>
                  </a:moveTo>
                  <a:cubicBezTo>
                    <a:pt x="1944718" y="866538"/>
                    <a:pt x="1969274" y="835721"/>
                    <a:pt x="1963592" y="830975"/>
                  </a:cubicBezTo>
                  <a:cubicBezTo>
                    <a:pt x="1957909" y="826229"/>
                    <a:pt x="1886228" y="869178"/>
                    <a:pt x="1918294" y="867741"/>
                  </a:cubicBezTo>
                  <a:close/>
                  <a:moveTo>
                    <a:pt x="2001827" y="793307"/>
                  </a:moveTo>
                  <a:cubicBezTo>
                    <a:pt x="2001056" y="784249"/>
                    <a:pt x="1957179" y="798454"/>
                    <a:pt x="1949061" y="792872"/>
                  </a:cubicBezTo>
                  <a:cubicBezTo>
                    <a:pt x="1935626" y="783313"/>
                    <a:pt x="1904412" y="792137"/>
                    <a:pt x="1879530" y="795212"/>
                  </a:cubicBezTo>
                  <a:cubicBezTo>
                    <a:pt x="1865527" y="796950"/>
                    <a:pt x="1845841" y="801228"/>
                    <a:pt x="1833867" y="799390"/>
                  </a:cubicBezTo>
                  <a:cubicBezTo>
                    <a:pt x="1824450" y="797952"/>
                    <a:pt x="1825384" y="788895"/>
                    <a:pt x="1810244" y="798053"/>
                  </a:cubicBezTo>
                  <a:cubicBezTo>
                    <a:pt x="1795104" y="807211"/>
                    <a:pt x="1797011" y="814764"/>
                    <a:pt x="1797620" y="823588"/>
                  </a:cubicBezTo>
                  <a:cubicBezTo>
                    <a:pt x="1798229" y="831777"/>
                    <a:pt x="1790558" y="837760"/>
                    <a:pt x="1799569" y="843642"/>
                  </a:cubicBezTo>
                  <a:cubicBezTo>
                    <a:pt x="1806997" y="848656"/>
                    <a:pt x="1798310" y="856745"/>
                    <a:pt x="1790477" y="863697"/>
                  </a:cubicBezTo>
                  <a:cubicBezTo>
                    <a:pt x="1786174" y="867473"/>
                    <a:pt x="1775783" y="881043"/>
                    <a:pt x="1793561" y="873924"/>
                  </a:cubicBezTo>
                  <a:cubicBezTo>
                    <a:pt x="1800786" y="870983"/>
                    <a:pt x="1827779" y="852366"/>
                    <a:pt x="1832162" y="859385"/>
                  </a:cubicBezTo>
                  <a:cubicBezTo>
                    <a:pt x="1835653" y="864967"/>
                    <a:pt x="1836789" y="870114"/>
                    <a:pt x="1852457" y="863095"/>
                  </a:cubicBezTo>
                  <a:cubicBezTo>
                    <a:pt x="1866594" y="856524"/>
                    <a:pt x="1879011" y="847707"/>
                    <a:pt x="1888988" y="837158"/>
                  </a:cubicBezTo>
                  <a:cubicBezTo>
                    <a:pt x="1897106" y="828702"/>
                    <a:pt x="1898973" y="821015"/>
                    <a:pt x="1917401" y="817104"/>
                  </a:cubicBezTo>
                  <a:cubicBezTo>
                    <a:pt x="1929984" y="814430"/>
                    <a:pt x="2003289" y="810419"/>
                    <a:pt x="2001868" y="793106"/>
                  </a:cubicBezTo>
                  <a:close/>
                  <a:moveTo>
                    <a:pt x="2451724" y="581301"/>
                  </a:moveTo>
                  <a:cubicBezTo>
                    <a:pt x="2476484" y="575385"/>
                    <a:pt x="2501609" y="592197"/>
                    <a:pt x="2526166" y="591328"/>
                  </a:cubicBezTo>
                  <a:cubicBezTo>
                    <a:pt x="2536800" y="590927"/>
                    <a:pt x="2541834" y="587150"/>
                    <a:pt x="2543173" y="581735"/>
                  </a:cubicBezTo>
                  <a:cubicBezTo>
                    <a:pt x="2545243" y="573078"/>
                    <a:pt x="2548287" y="570806"/>
                    <a:pt x="2564077" y="565625"/>
                  </a:cubicBezTo>
                  <a:cubicBezTo>
                    <a:pt x="2578892" y="560745"/>
                    <a:pt x="2571383" y="558272"/>
                    <a:pt x="2575077" y="551621"/>
                  </a:cubicBezTo>
                  <a:cubicBezTo>
                    <a:pt x="2579663" y="543432"/>
                    <a:pt x="2592124" y="534909"/>
                    <a:pt x="2603774" y="528425"/>
                  </a:cubicBezTo>
                  <a:cubicBezTo>
                    <a:pt x="2637788" y="509173"/>
                    <a:pt x="2560627" y="526453"/>
                    <a:pt x="2551007" y="527255"/>
                  </a:cubicBezTo>
                  <a:cubicBezTo>
                    <a:pt x="2540535" y="528024"/>
                    <a:pt x="2534446" y="524447"/>
                    <a:pt x="2532539" y="519701"/>
                  </a:cubicBezTo>
                  <a:cubicBezTo>
                    <a:pt x="2530956" y="515690"/>
                    <a:pt x="2513867" y="516125"/>
                    <a:pt x="2507373" y="516125"/>
                  </a:cubicBezTo>
                  <a:cubicBezTo>
                    <a:pt x="2479528" y="516125"/>
                    <a:pt x="2453307" y="524380"/>
                    <a:pt x="2424692" y="525550"/>
                  </a:cubicBezTo>
                  <a:cubicBezTo>
                    <a:pt x="2403057" y="526386"/>
                    <a:pt x="2351955" y="540758"/>
                    <a:pt x="2349844" y="523244"/>
                  </a:cubicBezTo>
                  <a:cubicBezTo>
                    <a:pt x="2349032" y="516760"/>
                    <a:pt x="2407400" y="505496"/>
                    <a:pt x="2392747" y="501853"/>
                  </a:cubicBezTo>
                  <a:cubicBezTo>
                    <a:pt x="2390515" y="501251"/>
                    <a:pt x="2334217" y="512983"/>
                    <a:pt x="2353132" y="501853"/>
                  </a:cubicBezTo>
                  <a:cubicBezTo>
                    <a:pt x="2362102" y="496539"/>
                    <a:pt x="2377486" y="491024"/>
                    <a:pt x="2362995" y="487481"/>
                  </a:cubicBezTo>
                  <a:cubicBezTo>
                    <a:pt x="2349479" y="484138"/>
                    <a:pt x="2339412" y="484439"/>
                    <a:pt x="2329833" y="493831"/>
                  </a:cubicBezTo>
                  <a:cubicBezTo>
                    <a:pt x="2318468" y="505028"/>
                    <a:pt x="2315911" y="494332"/>
                    <a:pt x="2319523" y="488450"/>
                  </a:cubicBezTo>
                  <a:cubicBezTo>
                    <a:pt x="2324273" y="480696"/>
                    <a:pt x="2320822" y="479760"/>
                    <a:pt x="2306251" y="481498"/>
                  </a:cubicBezTo>
                  <a:cubicBezTo>
                    <a:pt x="2292353" y="482838"/>
                    <a:pt x="2278865" y="486237"/>
                    <a:pt x="2266432" y="491525"/>
                  </a:cubicBezTo>
                  <a:cubicBezTo>
                    <a:pt x="2244473" y="502321"/>
                    <a:pt x="2248694" y="491859"/>
                    <a:pt x="2237086" y="489820"/>
                  </a:cubicBezTo>
                  <a:cubicBezTo>
                    <a:pt x="2221864" y="487147"/>
                    <a:pt x="2186876" y="521573"/>
                    <a:pt x="2177703" y="511746"/>
                  </a:cubicBezTo>
                  <a:cubicBezTo>
                    <a:pt x="2175957" y="509875"/>
                    <a:pt x="2203153" y="496940"/>
                    <a:pt x="2206116" y="492361"/>
                  </a:cubicBezTo>
                  <a:cubicBezTo>
                    <a:pt x="2212935" y="482334"/>
                    <a:pt x="2193939" y="484038"/>
                    <a:pt x="2181762" y="487381"/>
                  </a:cubicBezTo>
                  <a:cubicBezTo>
                    <a:pt x="2157408" y="494065"/>
                    <a:pt x="2155825" y="509707"/>
                    <a:pt x="2131146" y="507134"/>
                  </a:cubicBezTo>
                  <a:cubicBezTo>
                    <a:pt x="2123028" y="506265"/>
                    <a:pt x="2110852" y="504393"/>
                    <a:pt x="2108457" y="499680"/>
                  </a:cubicBezTo>
                  <a:cubicBezTo>
                    <a:pt x="2106508" y="495536"/>
                    <a:pt x="2086132" y="502354"/>
                    <a:pt x="2080531" y="503691"/>
                  </a:cubicBezTo>
                  <a:cubicBezTo>
                    <a:pt x="2056177" y="509574"/>
                    <a:pt x="2064782" y="495135"/>
                    <a:pt x="2040834" y="498076"/>
                  </a:cubicBezTo>
                  <a:cubicBezTo>
                    <a:pt x="2016886" y="501017"/>
                    <a:pt x="1979949" y="509473"/>
                    <a:pt x="1960954" y="522609"/>
                  </a:cubicBezTo>
                  <a:cubicBezTo>
                    <a:pt x="1955636" y="526219"/>
                    <a:pt x="1950278" y="530865"/>
                    <a:pt x="1949954" y="534842"/>
                  </a:cubicBezTo>
                  <a:cubicBezTo>
                    <a:pt x="1949954" y="537014"/>
                    <a:pt x="1954784" y="539622"/>
                    <a:pt x="1950644" y="542362"/>
                  </a:cubicBezTo>
                  <a:cubicBezTo>
                    <a:pt x="1940090" y="549348"/>
                    <a:pt x="1931932" y="541259"/>
                    <a:pt x="1926290" y="540490"/>
                  </a:cubicBezTo>
                  <a:cubicBezTo>
                    <a:pt x="1910825" y="538352"/>
                    <a:pt x="1888257" y="570171"/>
                    <a:pt x="1874538" y="569101"/>
                  </a:cubicBezTo>
                  <a:cubicBezTo>
                    <a:pt x="1860819" y="568032"/>
                    <a:pt x="1874538" y="544100"/>
                    <a:pt x="1860453" y="539922"/>
                  </a:cubicBezTo>
                  <a:cubicBezTo>
                    <a:pt x="1837642" y="533238"/>
                    <a:pt x="1821771" y="523211"/>
                    <a:pt x="1787067" y="539922"/>
                  </a:cubicBezTo>
                  <a:cubicBezTo>
                    <a:pt x="1775499" y="545471"/>
                    <a:pt x="1770831" y="550651"/>
                    <a:pt x="1762307" y="557069"/>
                  </a:cubicBezTo>
                  <a:cubicBezTo>
                    <a:pt x="1752485" y="564522"/>
                    <a:pt x="1736817" y="570204"/>
                    <a:pt x="1724802" y="576454"/>
                  </a:cubicBezTo>
                  <a:cubicBezTo>
                    <a:pt x="1711083" y="583574"/>
                    <a:pt x="1694157" y="594603"/>
                    <a:pt x="1696024" y="603427"/>
                  </a:cubicBezTo>
                  <a:cubicBezTo>
                    <a:pt x="1698094" y="612886"/>
                    <a:pt x="1720378" y="607237"/>
                    <a:pt x="1725127" y="612752"/>
                  </a:cubicBezTo>
                  <a:cubicBezTo>
                    <a:pt x="1730282" y="619069"/>
                    <a:pt x="1685592" y="639825"/>
                    <a:pt x="1727603" y="631804"/>
                  </a:cubicBezTo>
                  <a:cubicBezTo>
                    <a:pt x="1762672" y="625119"/>
                    <a:pt x="1760075" y="639224"/>
                    <a:pt x="1724478" y="642900"/>
                  </a:cubicBezTo>
                  <a:cubicBezTo>
                    <a:pt x="1688880" y="646577"/>
                    <a:pt x="1689246" y="632873"/>
                    <a:pt x="1670331" y="623682"/>
                  </a:cubicBezTo>
                  <a:cubicBezTo>
                    <a:pt x="1660467" y="618869"/>
                    <a:pt x="1674390" y="604029"/>
                    <a:pt x="1680844" y="596274"/>
                  </a:cubicBezTo>
                  <a:cubicBezTo>
                    <a:pt x="1685999" y="590125"/>
                    <a:pt x="1710637" y="575251"/>
                    <a:pt x="1707755" y="569903"/>
                  </a:cubicBezTo>
                  <a:cubicBezTo>
                    <a:pt x="1704873" y="564555"/>
                    <a:pt x="1663593" y="582872"/>
                    <a:pt x="1658519" y="585211"/>
                  </a:cubicBezTo>
                  <a:cubicBezTo>
                    <a:pt x="1625804" y="600118"/>
                    <a:pt x="1594956" y="619571"/>
                    <a:pt x="1578070" y="640293"/>
                  </a:cubicBezTo>
                  <a:cubicBezTo>
                    <a:pt x="1562687" y="659144"/>
                    <a:pt x="1561834" y="677059"/>
                    <a:pt x="1572428" y="690429"/>
                  </a:cubicBezTo>
                  <a:cubicBezTo>
                    <a:pt x="1582129" y="702628"/>
                    <a:pt x="1590815" y="700623"/>
                    <a:pt x="1619106" y="690763"/>
                  </a:cubicBezTo>
                  <a:cubicBezTo>
                    <a:pt x="1633881" y="685616"/>
                    <a:pt x="1650848" y="679198"/>
                    <a:pt x="1665947" y="677594"/>
                  </a:cubicBezTo>
                  <a:cubicBezTo>
                    <a:pt x="1684456" y="675589"/>
                    <a:pt x="1659331" y="687020"/>
                    <a:pt x="1653040" y="688858"/>
                  </a:cubicBezTo>
                  <a:cubicBezTo>
                    <a:pt x="1635545" y="693905"/>
                    <a:pt x="1577421" y="712990"/>
                    <a:pt x="1620568" y="712455"/>
                  </a:cubicBezTo>
                  <a:cubicBezTo>
                    <a:pt x="1635598" y="712271"/>
                    <a:pt x="1650486" y="710012"/>
                    <a:pt x="1664608" y="705770"/>
                  </a:cubicBezTo>
                  <a:cubicBezTo>
                    <a:pt x="1676541" y="702094"/>
                    <a:pt x="1688150" y="692401"/>
                    <a:pt x="1700083" y="690562"/>
                  </a:cubicBezTo>
                  <a:cubicBezTo>
                    <a:pt x="1713072" y="688557"/>
                    <a:pt x="1717943" y="693370"/>
                    <a:pt x="1733245" y="689058"/>
                  </a:cubicBezTo>
                  <a:cubicBezTo>
                    <a:pt x="1756259" y="682574"/>
                    <a:pt x="1778137" y="672848"/>
                    <a:pt x="1801355" y="666497"/>
                  </a:cubicBezTo>
                  <a:cubicBezTo>
                    <a:pt x="1826277" y="659646"/>
                    <a:pt x="1878800" y="653128"/>
                    <a:pt x="1889191" y="633575"/>
                  </a:cubicBezTo>
                  <a:cubicBezTo>
                    <a:pt x="1892519" y="627158"/>
                    <a:pt x="1949061" y="617833"/>
                    <a:pt x="1958762" y="615292"/>
                  </a:cubicBezTo>
                  <a:cubicBezTo>
                    <a:pt x="2000041" y="604196"/>
                    <a:pt x="1941064" y="607003"/>
                    <a:pt x="1951253" y="597545"/>
                  </a:cubicBezTo>
                  <a:cubicBezTo>
                    <a:pt x="1956692" y="592531"/>
                    <a:pt x="1983724" y="591395"/>
                    <a:pt x="1990990" y="590860"/>
                  </a:cubicBezTo>
                  <a:cubicBezTo>
                    <a:pt x="1997200" y="590392"/>
                    <a:pt x="2003979" y="590359"/>
                    <a:pt x="2007550" y="592598"/>
                  </a:cubicBezTo>
                  <a:cubicBezTo>
                    <a:pt x="2012299" y="595639"/>
                    <a:pt x="2019727" y="592096"/>
                    <a:pt x="2026019" y="592932"/>
                  </a:cubicBezTo>
                  <a:cubicBezTo>
                    <a:pt x="2043594" y="595272"/>
                    <a:pt x="2063848" y="591228"/>
                    <a:pt x="2082601" y="592698"/>
                  </a:cubicBezTo>
                  <a:cubicBezTo>
                    <a:pt x="2101353" y="594169"/>
                    <a:pt x="2058612" y="611349"/>
                    <a:pt x="2058004" y="616696"/>
                  </a:cubicBezTo>
                  <a:cubicBezTo>
                    <a:pt x="2057111" y="624016"/>
                    <a:pt x="2082357" y="610446"/>
                    <a:pt x="2084834" y="608808"/>
                  </a:cubicBezTo>
                  <a:cubicBezTo>
                    <a:pt x="2092667" y="603661"/>
                    <a:pt x="2106590" y="592096"/>
                    <a:pt x="2118604" y="592966"/>
                  </a:cubicBezTo>
                  <a:cubicBezTo>
                    <a:pt x="2127818" y="593668"/>
                    <a:pt x="2131633" y="598648"/>
                    <a:pt x="2138899" y="600820"/>
                  </a:cubicBezTo>
                  <a:cubicBezTo>
                    <a:pt x="2147017" y="603193"/>
                    <a:pt x="2162238" y="593233"/>
                    <a:pt x="2174537" y="593634"/>
                  </a:cubicBezTo>
                  <a:cubicBezTo>
                    <a:pt x="2190773" y="594169"/>
                    <a:pt x="2211352" y="598414"/>
                    <a:pt x="2217278" y="606068"/>
                  </a:cubicBezTo>
                  <a:cubicBezTo>
                    <a:pt x="2221946" y="612084"/>
                    <a:pt x="2213828" y="621844"/>
                    <a:pt x="2218617" y="627158"/>
                  </a:cubicBezTo>
                  <a:cubicBezTo>
                    <a:pt x="2222351" y="631269"/>
                    <a:pt x="2246665" y="620841"/>
                    <a:pt x="2251657" y="618769"/>
                  </a:cubicBezTo>
                  <a:cubicBezTo>
                    <a:pt x="2269314" y="611248"/>
                    <a:pt x="2280070" y="601188"/>
                    <a:pt x="2300771" y="601656"/>
                  </a:cubicBezTo>
                  <a:cubicBezTo>
                    <a:pt x="2323177" y="602157"/>
                    <a:pt x="2343715" y="603461"/>
                    <a:pt x="2319239" y="617766"/>
                  </a:cubicBezTo>
                  <a:cubicBezTo>
                    <a:pt x="2311483" y="622358"/>
                    <a:pt x="2303235" y="626366"/>
                    <a:pt x="2294601" y="629731"/>
                  </a:cubicBezTo>
                  <a:cubicBezTo>
                    <a:pt x="2284048" y="633742"/>
                    <a:pt x="2288553" y="630367"/>
                    <a:pt x="2284251" y="628027"/>
                  </a:cubicBezTo>
                  <a:cubicBezTo>
                    <a:pt x="2260912" y="615226"/>
                    <a:pt x="2154364" y="645975"/>
                    <a:pt x="2180544" y="663356"/>
                  </a:cubicBezTo>
                  <a:cubicBezTo>
                    <a:pt x="2188378" y="668536"/>
                    <a:pt x="2208957" y="670040"/>
                    <a:pt x="2192315" y="680970"/>
                  </a:cubicBezTo>
                  <a:cubicBezTo>
                    <a:pt x="2164633" y="699186"/>
                    <a:pt x="2133419" y="698049"/>
                    <a:pt x="2102531" y="708912"/>
                  </a:cubicBezTo>
                  <a:cubicBezTo>
                    <a:pt x="2094413" y="711853"/>
                    <a:pt x="2085036" y="720777"/>
                    <a:pt x="2077243" y="725056"/>
                  </a:cubicBezTo>
                  <a:cubicBezTo>
                    <a:pt x="2052889" y="738425"/>
                    <a:pt x="2066081" y="754669"/>
                    <a:pt x="2094940" y="745644"/>
                  </a:cubicBezTo>
                  <a:cubicBezTo>
                    <a:pt x="2109918" y="740999"/>
                    <a:pt x="2123353" y="734147"/>
                    <a:pt x="2138168" y="728933"/>
                  </a:cubicBezTo>
                  <a:cubicBezTo>
                    <a:pt x="2149574" y="724855"/>
                    <a:pt x="2161061" y="722950"/>
                    <a:pt x="2172548" y="719541"/>
                  </a:cubicBezTo>
                  <a:cubicBezTo>
                    <a:pt x="2180666" y="717168"/>
                    <a:pt x="2176039" y="713324"/>
                    <a:pt x="2178961" y="710015"/>
                  </a:cubicBezTo>
                  <a:cubicBezTo>
                    <a:pt x="2185293" y="702729"/>
                    <a:pt x="2208308" y="699319"/>
                    <a:pt x="2218901" y="697281"/>
                  </a:cubicBezTo>
                  <a:cubicBezTo>
                    <a:pt x="2242484" y="692735"/>
                    <a:pt x="2249871" y="705637"/>
                    <a:pt x="2272196" y="700255"/>
                  </a:cubicBezTo>
                  <a:cubicBezTo>
                    <a:pt x="2295291" y="694707"/>
                    <a:pt x="2285631" y="715196"/>
                    <a:pt x="2305114" y="715396"/>
                  </a:cubicBezTo>
                  <a:cubicBezTo>
                    <a:pt x="2326424" y="715630"/>
                    <a:pt x="2351143" y="705001"/>
                    <a:pt x="2373224" y="703163"/>
                  </a:cubicBezTo>
                  <a:cubicBezTo>
                    <a:pt x="2393762" y="701492"/>
                    <a:pt x="2413448" y="704734"/>
                    <a:pt x="2434474" y="703531"/>
                  </a:cubicBezTo>
                  <a:cubicBezTo>
                    <a:pt x="2588715" y="695041"/>
                    <a:pt x="2391327" y="666096"/>
                    <a:pt x="2383818" y="674887"/>
                  </a:cubicBezTo>
                  <a:cubicBezTo>
                    <a:pt x="2390150" y="667400"/>
                    <a:pt x="2425503" y="664559"/>
                    <a:pt x="2434352" y="664559"/>
                  </a:cubicBezTo>
                  <a:cubicBezTo>
                    <a:pt x="2459802" y="664559"/>
                    <a:pt x="2484561" y="667066"/>
                    <a:pt x="2511838" y="656203"/>
                  </a:cubicBezTo>
                  <a:cubicBezTo>
                    <a:pt x="2524015" y="651357"/>
                    <a:pt x="2550520" y="631871"/>
                    <a:pt x="2527221" y="632038"/>
                  </a:cubicBezTo>
                  <a:cubicBezTo>
                    <a:pt x="2503923" y="632205"/>
                    <a:pt x="2509199" y="623949"/>
                    <a:pt x="2494750" y="617666"/>
                  </a:cubicBezTo>
                  <a:cubicBezTo>
                    <a:pt x="2472750" y="608107"/>
                    <a:pt x="2412230" y="629665"/>
                    <a:pt x="2396887" y="612151"/>
                  </a:cubicBezTo>
                  <a:cubicBezTo>
                    <a:pt x="2393803" y="608608"/>
                    <a:pt x="2405005" y="605666"/>
                    <a:pt x="2405290" y="601823"/>
                  </a:cubicBezTo>
                  <a:cubicBezTo>
                    <a:pt x="2405290" y="597311"/>
                    <a:pt x="2396238" y="596274"/>
                    <a:pt x="2397983" y="591027"/>
                  </a:cubicBezTo>
                  <a:cubicBezTo>
                    <a:pt x="2403504" y="574315"/>
                    <a:pt x="2435854" y="585044"/>
                    <a:pt x="2451440" y="581301"/>
                  </a:cubicBezTo>
                  <a:close/>
                  <a:moveTo>
                    <a:pt x="2124205" y="641697"/>
                  </a:moveTo>
                  <a:cubicBezTo>
                    <a:pt x="2143607" y="633609"/>
                    <a:pt x="2128873" y="621643"/>
                    <a:pt x="2118604" y="619136"/>
                  </a:cubicBezTo>
                  <a:cubicBezTo>
                    <a:pt x="2103343" y="615092"/>
                    <a:pt x="2070505" y="627091"/>
                    <a:pt x="2058612" y="636817"/>
                  </a:cubicBezTo>
                  <a:cubicBezTo>
                    <a:pt x="2044568" y="648282"/>
                    <a:pt x="2041808" y="665562"/>
                    <a:pt x="2067826" y="663556"/>
                  </a:cubicBezTo>
                  <a:cubicBezTo>
                    <a:pt x="2088365" y="662119"/>
                    <a:pt x="2106630" y="648850"/>
                    <a:pt x="2124205" y="641530"/>
                  </a:cubicBezTo>
                  <a:close/>
                  <a:moveTo>
                    <a:pt x="1848195" y="521372"/>
                  </a:moveTo>
                  <a:cubicBezTo>
                    <a:pt x="1844907" y="530397"/>
                    <a:pt x="1862808" y="527355"/>
                    <a:pt x="1871981" y="529528"/>
                  </a:cubicBezTo>
                  <a:cubicBezTo>
                    <a:pt x="1887121" y="533104"/>
                    <a:pt x="1886187" y="544067"/>
                    <a:pt x="1913423" y="534708"/>
                  </a:cubicBezTo>
                  <a:cubicBezTo>
                    <a:pt x="1930998" y="528692"/>
                    <a:pt x="1942566" y="518331"/>
                    <a:pt x="1961035" y="512047"/>
                  </a:cubicBezTo>
                  <a:cubicBezTo>
                    <a:pt x="1975850" y="506967"/>
                    <a:pt x="1994968" y="502822"/>
                    <a:pt x="2008200" y="495770"/>
                  </a:cubicBezTo>
                  <a:cubicBezTo>
                    <a:pt x="2032554" y="482835"/>
                    <a:pt x="1951050" y="490957"/>
                    <a:pt x="1943581" y="492428"/>
                  </a:cubicBezTo>
                  <a:cubicBezTo>
                    <a:pt x="1926655" y="495536"/>
                    <a:pt x="1912205" y="502455"/>
                    <a:pt x="1895604" y="505797"/>
                  </a:cubicBezTo>
                  <a:cubicBezTo>
                    <a:pt x="1883427" y="508270"/>
                    <a:pt x="1851808" y="511278"/>
                    <a:pt x="1848195" y="521305"/>
                  </a:cubicBezTo>
                  <a:cubicBezTo>
                    <a:pt x="1843812" y="533639"/>
                    <a:pt x="1852619" y="509273"/>
                    <a:pt x="1848236" y="521439"/>
                  </a:cubicBezTo>
                  <a:close/>
                  <a:moveTo>
                    <a:pt x="2668920" y="954308"/>
                  </a:moveTo>
                  <a:cubicBezTo>
                    <a:pt x="2674116" y="959121"/>
                    <a:pt x="2761992" y="954308"/>
                    <a:pt x="2761668" y="945885"/>
                  </a:cubicBezTo>
                  <a:cubicBezTo>
                    <a:pt x="2761343" y="937462"/>
                    <a:pt x="2664536" y="949963"/>
                    <a:pt x="2668961" y="954375"/>
                  </a:cubicBezTo>
                  <a:close/>
                  <a:moveTo>
                    <a:pt x="3040560" y="906880"/>
                  </a:moveTo>
                  <a:cubicBezTo>
                    <a:pt x="3036907" y="913331"/>
                    <a:pt x="3030291" y="905677"/>
                    <a:pt x="3032117" y="902334"/>
                  </a:cubicBezTo>
                  <a:cubicBezTo>
                    <a:pt x="3034390" y="898223"/>
                    <a:pt x="3045715" y="888965"/>
                    <a:pt x="3027652" y="895014"/>
                  </a:cubicBezTo>
                  <a:cubicBezTo>
                    <a:pt x="3001026" y="904039"/>
                    <a:pt x="3017464" y="887260"/>
                    <a:pt x="3019007" y="879974"/>
                  </a:cubicBezTo>
                  <a:cubicBezTo>
                    <a:pt x="3019616" y="876966"/>
                    <a:pt x="3004963" y="878771"/>
                    <a:pt x="3002162" y="879172"/>
                  </a:cubicBezTo>
                  <a:cubicBezTo>
                    <a:pt x="2992015" y="880676"/>
                    <a:pt x="2994247" y="881846"/>
                    <a:pt x="2990432" y="885856"/>
                  </a:cubicBezTo>
                  <a:cubicBezTo>
                    <a:pt x="2981461" y="895115"/>
                    <a:pt x="2953048" y="886157"/>
                    <a:pt x="2945336" y="884486"/>
                  </a:cubicBezTo>
                  <a:cubicBezTo>
                    <a:pt x="2939613" y="883216"/>
                    <a:pt x="2949395" y="878537"/>
                    <a:pt x="2939045" y="879707"/>
                  </a:cubicBezTo>
                  <a:cubicBezTo>
                    <a:pt x="2932713" y="880375"/>
                    <a:pt x="2920374" y="883450"/>
                    <a:pt x="2919887" y="888029"/>
                  </a:cubicBezTo>
                  <a:cubicBezTo>
                    <a:pt x="2919278" y="893778"/>
                    <a:pt x="2913555" y="886024"/>
                    <a:pt x="2913717" y="884185"/>
                  </a:cubicBezTo>
                  <a:cubicBezTo>
                    <a:pt x="2914447" y="876832"/>
                    <a:pt x="2923864" y="866471"/>
                    <a:pt x="2927639" y="858683"/>
                  </a:cubicBezTo>
                  <a:cubicBezTo>
                    <a:pt x="2929303" y="855341"/>
                    <a:pt x="2946879" y="844979"/>
                    <a:pt x="2932551" y="845982"/>
                  </a:cubicBezTo>
                  <a:cubicBezTo>
                    <a:pt x="2923568" y="846804"/>
                    <a:pt x="2915292" y="850384"/>
                    <a:pt x="2909374" y="856009"/>
                  </a:cubicBezTo>
                  <a:cubicBezTo>
                    <a:pt x="2896803" y="866782"/>
                    <a:pt x="2886940" y="879493"/>
                    <a:pt x="2880352" y="893410"/>
                  </a:cubicBezTo>
                  <a:cubicBezTo>
                    <a:pt x="2874832" y="906345"/>
                    <a:pt x="2889607" y="910791"/>
                    <a:pt x="2864360" y="920517"/>
                  </a:cubicBezTo>
                  <a:cubicBezTo>
                    <a:pt x="2857987" y="922990"/>
                    <a:pt x="2844958" y="931480"/>
                    <a:pt x="2856729" y="932716"/>
                  </a:cubicBezTo>
                  <a:cubicBezTo>
                    <a:pt x="2863751" y="933485"/>
                    <a:pt x="2854740" y="941707"/>
                    <a:pt x="2852670" y="944080"/>
                  </a:cubicBezTo>
                  <a:cubicBezTo>
                    <a:pt x="2838748" y="961093"/>
                    <a:pt x="2869352" y="952470"/>
                    <a:pt x="2885791" y="946921"/>
                  </a:cubicBezTo>
                  <a:cubicBezTo>
                    <a:pt x="2899105" y="942409"/>
                    <a:pt x="2913149" y="940905"/>
                    <a:pt x="2926381" y="936894"/>
                  </a:cubicBezTo>
                  <a:cubicBezTo>
                    <a:pt x="2935879" y="933920"/>
                    <a:pt x="2948949" y="922422"/>
                    <a:pt x="2958609" y="923892"/>
                  </a:cubicBezTo>
                  <a:cubicBezTo>
                    <a:pt x="2977240" y="926733"/>
                    <a:pt x="2984221" y="919180"/>
                    <a:pt x="2974561" y="932750"/>
                  </a:cubicBezTo>
                  <a:cubicBezTo>
                    <a:pt x="2970786" y="938031"/>
                    <a:pt x="2974886" y="940738"/>
                    <a:pt x="2982922" y="935491"/>
                  </a:cubicBezTo>
                  <a:cubicBezTo>
                    <a:pt x="2990959" y="930243"/>
                    <a:pt x="3003217" y="919113"/>
                    <a:pt x="3016612" y="921185"/>
                  </a:cubicBezTo>
                  <a:cubicBezTo>
                    <a:pt x="3023959" y="922322"/>
                    <a:pt x="3015435" y="927870"/>
                    <a:pt x="3024162" y="928438"/>
                  </a:cubicBezTo>
                  <a:cubicBezTo>
                    <a:pt x="3032657" y="928786"/>
                    <a:pt x="3041136" y="927539"/>
                    <a:pt x="3048962" y="924795"/>
                  </a:cubicBezTo>
                  <a:cubicBezTo>
                    <a:pt x="3078511" y="914768"/>
                    <a:pt x="3043239" y="901967"/>
                    <a:pt x="3040357" y="906980"/>
                  </a:cubicBezTo>
                  <a:cubicBezTo>
                    <a:pt x="3036826" y="913464"/>
                    <a:pt x="3044375" y="900329"/>
                    <a:pt x="3040601" y="906947"/>
                  </a:cubicBezTo>
                  <a:close/>
                  <a:moveTo>
                    <a:pt x="543965" y="1751661"/>
                  </a:moveTo>
                  <a:cubicBezTo>
                    <a:pt x="526227" y="1771448"/>
                    <a:pt x="592673" y="1765298"/>
                    <a:pt x="607366" y="1760117"/>
                  </a:cubicBezTo>
                  <a:cubicBezTo>
                    <a:pt x="626565" y="1753232"/>
                    <a:pt x="595758" y="1748720"/>
                    <a:pt x="592186" y="1747884"/>
                  </a:cubicBezTo>
                  <a:cubicBezTo>
                    <a:pt x="576843" y="1744107"/>
                    <a:pt x="566979" y="1726192"/>
                    <a:pt x="543965" y="1751661"/>
                  </a:cubicBezTo>
                  <a:cubicBezTo>
                    <a:pt x="526593" y="1771013"/>
                    <a:pt x="561378" y="1732342"/>
                    <a:pt x="543965" y="1751661"/>
                  </a:cubicBezTo>
                  <a:close/>
                  <a:moveTo>
                    <a:pt x="2829493" y="994015"/>
                  </a:moveTo>
                  <a:cubicBezTo>
                    <a:pt x="2815409" y="998895"/>
                    <a:pt x="2833836" y="975231"/>
                    <a:pt x="2816626" y="984456"/>
                  </a:cubicBezTo>
                  <a:cubicBezTo>
                    <a:pt x="2806276" y="989971"/>
                    <a:pt x="2800918" y="999898"/>
                    <a:pt x="2794180" y="1006649"/>
                  </a:cubicBezTo>
                  <a:cubicBezTo>
                    <a:pt x="2791663" y="1009223"/>
                    <a:pt x="2797387" y="1012866"/>
                    <a:pt x="2792962" y="1014838"/>
                  </a:cubicBezTo>
                  <a:cubicBezTo>
                    <a:pt x="2788538" y="1016810"/>
                    <a:pt x="2783870" y="1018749"/>
                    <a:pt x="2779811" y="1020420"/>
                  </a:cubicBezTo>
                  <a:cubicBezTo>
                    <a:pt x="2765593" y="1025804"/>
                    <a:pt x="2750323" y="1029053"/>
                    <a:pt x="2734716" y="1030012"/>
                  </a:cubicBezTo>
                  <a:cubicBezTo>
                    <a:pt x="2724163" y="1030614"/>
                    <a:pt x="2714786" y="1026904"/>
                    <a:pt x="2703218" y="1026971"/>
                  </a:cubicBezTo>
                  <a:cubicBezTo>
                    <a:pt x="2691042" y="1026971"/>
                    <a:pt x="2677403" y="1021957"/>
                    <a:pt x="2672857" y="1015908"/>
                  </a:cubicBezTo>
                  <a:cubicBezTo>
                    <a:pt x="2669570" y="1011496"/>
                    <a:pt x="2681543" y="1005179"/>
                    <a:pt x="2677200" y="1001201"/>
                  </a:cubicBezTo>
                  <a:cubicBezTo>
                    <a:pt x="2672857" y="997224"/>
                    <a:pt x="2661857" y="1004276"/>
                    <a:pt x="2659057" y="1006950"/>
                  </a:cubicBezTo>
                  <a:cubicBezTo>
                    <a:pt x="2656256" y="1009624"/>
                    <a:pt x="2648625" y="1013635"/>
                    <a:pt x="2646677" y="1009624"/>
                  </a:cubicBezTo>
                  <a:cubicBezTo>
                    <a:pt x="2644241" y="1004845"/>
                    <a:pt x="2656418" y="999898"/>
                    <a:pt x="2662588" y="996756"/>
                  </a:cubicBezTo>
                  <a:cubicBezTo>
                    <a:pt x="2691407" y="982183"/>
                    <a:pt x="2684222" y="963934"/>
                    <a:pt x="2647895" y="973861"/>
                  </a:cubicBezTo>
                  <a:cubicBezTo>
                    <a:pt x="2614165" y="983119"/>
                    <a:pt x="2581246" y="1000332"/>
                    <a:pt x="2554538" y="1016242"/>
                  </a:cubicBezTo>
                  <a:cubicBezTo>
                    <a:pt x="2527830" y="1032152"/>
                    <a:pt x="2519834" y="1052440"/>
                    <a:pt x="2496454" y="1069152"/>
                  </a:cubicBezTo>
                  <a:cubicBezTo>
                    <a:pt x="2484277" y="1077942"/>
                    <a:pt x="2490893" y="1067246"/>
                    <a:pt x="2495034" y="1063336"/>
                  </a:cubicBezTo>
                  <a:cubicBezTo>
                    <a:pt x="2499174" y="1059425"/>
                    <a:pt x="2503923" y="1055314"/>
                    <a:pt x="2507982" y="1051236"/>
                  </a:cubicBezTo>
                  <a:cubicBezTo>
                    <a:pt x="2512650" y="1046524"/>
                    <a:pt x="2507982" y="1041544"/>
                    <a:pt x="2511066" y="1038368"/>
                  </a:cubicBezTo>
                  <a:cubicBezTo>
                    <a:pt x="2513993" y="1037476"/>
                    <a:pt x="2516855" y="1036436"/>
                    <a:pt x="2519631" y="1035260"/>
                  </a:cubicBezTo>
                  <a:cubicBezTo>
                    <a:pt x="2523049" y="1032496"/>
                    <a:pt x="2526097" y="1029438"/>
                    <a:pt x="2528723" y="1026135"/>
                  </a:cubicBezTo>
                  <a:cubicBezTo>
                    <a:pt x="2535096" y="1018715"/>
                    <a:pt x="2540413" y="1010727"/>
                    <a:pt x="2549018" y="1003708"/>
                  </a:cubicBezTo>
                  <a:cubicBezTo>
                    <a:pt x="2554173" y="999430"/>
                    <a:pt x="2579420" y="993213"/>
                    <a:pt x="2579501" y="989236"/>
                  </a:cubicBezTo>
                  <a:cubicBezTo>
                    <a:pt x="2579501" y="983052"/>
                    <a:pt x="2589486" y="972825"/>
                    <a:pt x="2597442" y="967577"/>
                  </a:cubicBezTo>
                  <a:cubicBezTo>
                    <a:pt x="2607751" y="960892"/>
                    <a:pt x="2626463" y="955879"/>
                    <a:pt x="2639371" y="951768"/>
                  </a:cubicBezTo>
                  <a:cubicBezTo>
                    <a:pt x="2664861" y="943646"/>
                    <a:pt x="2690757" y="936226"/>
                    <a:pt x="2716735" y="929040"/>
                  </a:cubicBezTo>
                  <a:cubicBezTo>
                    <a:pt x="2759029" y="917375"/>
                    <a:pt x="2801973" y="911058"/>
                    <a:pt x="2831441" y="887160"/>
                  </a:cubicBezTo>
                  <a:cubicBezTo>
                    <a:pt x="2839235" y="880843"/>
                    <a:pt x="2842807" y="872253"/>
                    <a:pt x="2853888" y="867106"/>
                  </a:cubicBezTo>
                  <a:cubicBezTo>
                    <a:pt x="2867607" y="860923"/>
                    <a:pt x="2884858" y="860421"/>
                    <a:pt x="2898009" y="853970"/>
                  </a:cubicBezTo>
                  <a:cubicBezTo>
                    <a:pt x="2909414" y="848221"/>
                    <a:pt x="2913839" y="840601"/>
                    <a:pt x="2923215" y="834184"/>
                  </a:cubicBezTo>
                  <a:cubicBezTo>
                    <a:pt x="2943510" y="820413"/>
                    <a:pt x="2900079" y="832947"/>
                    <a:pt x="2902920" y="827298"/>
                  </a:cubicBezTo>
                  <a:cubicBezTo>
                    <a:pt x="2904665" y="823956"/>
                    <a:pt x="2918425" y="821015"/>
                    <a:pt x="2921104" y="815199"/>
                  </a:cubicBezTo>
                  <a:cubicBezTo>
                    <a:pt x="2923783" y="809383"/>
                    <a:pt x="2923905" y="806776"/>
                    <a:pt x="2914366" y="805606"/>
                  </a:cubicBezTo>
                  <a:cubicBezTo>
                    <a:pt x="2906249" y="804604"/>
                    <a:pt x="2894924" y="797819"/>
                    <a:pt x="2884898" y="803467"/>
                  </a:cubicBezTo>
                  <a:cubicBezTo>
                    <a:pt x="2880027" y="806241"/>
                    <a:pt x="2871666" y="814798"/>
                    <a:pt x="2863589" y="813494"/>
                  </a:cubicBezTo>
                  <a:cubicBezTo>
                    <a:pt x="2852751" y="811656"/>
                    <a:pt x="2876861" y="791903"/>
                    <a:pt x="2840777" y="804136"/>
                  </a:cubicBezTo>
                  <a:cubicBezTo>
                    <a:pt x="2817885" y="811957"/>
                    <a:pt x="2798807" y="827365"/>
                    <a:pt x="2779893" y="837559"/>
                  </a:cubicBezTo>
                  <a:cubicBezTo>
                    <a:pt x="2771775" y="842005"/>
                    <a:pt x="2770963" y="834518"/>
                    <a:pt x="2772343" y="831944"/>
                  </a:cubicBezTo>
                  <a:cubicBezTo>
                    <a:pt x="2774169" y="828602"/>
                    <a:pt x="2789025" y="821549"/>
                    <a:pt x="2794018" y="818575"/>
                  </a:cubicBezTo>
                  <a:cubicBezTo>
                    <a:pt x="2801040" y="814230"/>
                    <a:pt x="2811106" y="812993"/>
                    <a:pt x="2818372" y="808013"/>
                  </a:cubicBezTo>
                  <a:cubicBezTo>
                    <a:pt x="2825637" y="803033"/>
                    <a:pt x="2847637" y="797986"/>
                    <a:pt x="2851574" y="792170"/>
                  </a:cubicBezTo>
                  <a:cubicBezTo>
                    <a:pt x="2857297" y="783781"/>
                    <a:pt x="2831482" y="788059"/>
                    <a:pt x="2825150" y="790499"/>
                  </a:cubicBezTo>
                  <a:cubicBezTo>
                    <a:pt x="2815571" y="794142"/>
                    <a:pt x="2806235" y="791602"/>
                    <a:pt x="2798117" y="790700"/>
                  </a:cubicBezTo>
                  <a:cubicBezTo>
                    <a:pt x="2789999" y="789797"/>
                    <a:pt x="2784236" y="795412"/>
                    <a:pt x="2779081" y="794677"/>
                  </a:cubicBezTo>
                  <a:cubicBezTo>
                    <a:pt x="2766904" y="793006"/>
                    <a:pt x="2765930" y="799457"/>
                    <a:pt x="2754727" y="799490"/>
                  </a:cubicBezTo>
                  <a:cubicBezTo>
                    <a:pt x="2744336" y="799490"/>
                    <a:pt x="2740561" y="792805"/>
                    <a:pt x="2732484" y="790766"/>
                  </a:cubicBezTo>
                  <a:cubicBezTo>
                    <a:pt x="2721313" y="788193"/>
                    <a:pt x="2709782" y="786836"/>
                    <a:pt x="2698185" y="786722"/>
                  </a:cubicBezTo>
                  <a:cubicBezTo>
                    <a:pt x="2691772" y="786722"/>
                    <a:pt x="2669773" y="789530"/>
                    <a:pt x="2666485" y="786722"/>
                  </a:cubicBezTo>
                  <a:cubicBezTo>
                    <a:pt x="2662426" y="783380"/>
                    <a:pt x="2688403" y="780739"/>
                    <a:pt x="2691447" y="778868"/>
                  </a:cubicBezTo>
                  <a:cubicBezTo>
                    <a:pt x="2720834" y="760953"/>
                    <a:pt x="2678702" y="768306"/>
                    <a:pt x="2678783" y="756741"/>
                  </a:cubicBezTo>
                  <a:cubicBezTo>
                    <a:pt x="2678783" y="752597"/>
                    <a:pt x="2660680" y="753132"/>
                    <a:pt x="2655769" y="751828"/>
                  </a:cubicBezTo>
                  <a:cubicBezTo>
                    <a:pt x="2648536" y="749508"/>
                    <a:pt x="2641713" y="746407"/>
                    <a:pt x="2635474" y="742603"/>
                  </a:cubicBezTo>
                  <a:cubicBezTo>
                    <a:pt x="2622830" y="736567"/>
                    <a:pt x="2609627" y="731373"/>
                    <a:pt x="2595980" y="727061"/>
                  </a:cubicBezTo>
                  <a:cubicBezTo>
                    <a:pt x="2588715" y="724454"/>
                    <a:pt x="2560708" y="703664"/>
                    <a:pt x="2556324" y="717903"/>
                  </a:cubicBezTo>
                  <a:cubicBezTo>
                    <a:pt x="2554092" y="725256"/>
                    <a:pt x="2553564" y="729000"/>
                    <a:pt x="2544878" y="735918"/>
                  </a:cubicBezTo>
                  <a:cubicBezTo>
                    <a:pt x="2539682" y="740096"/>
                    <a:pt x="2555269" y="739662"/>
                    <a:pt x="2548206" y="745945"/>
                  </a:cubicBezTo>
                  <a:cubicBezTo>
                    <a:pt x="2543214" y="750324"/>
                    <a:pt x="2548206" y="758346"/>
                    <a:pt x="2541671" y="760217"/>
                  </a:cubicBezTo>
                  <a:cubicBezTo>
                    <a:pt x="2536638" y="761621"/>
                    <a:pt x="2534284" y="770244"/>
                    <a:pt x="2535096" y="770244"/>
                  </a:cubicBezTo>
                  <a:cubicBezTo>
                    <a:pt x="2529819" y="770244"/>
                    <a:pt x="2510011" y="767403"/>
                    <a:pt x="2513827" y="776495"/>
                  </a:cubicBezTo>
                  <a:cubicBezTo>
                    <a:pt x="2516140" y="781943"/>
                    <a:pt x="2498078" y="790532"/>
                    <a:pt x="2490122" y="793574"/>
                  </a:cubicBezTo>
                  <a:cubicBezTo>
                    <a:pt x="2477012" y="798554"/>
                    <a:pt x="2477945" y="789931"/>
                    <a:pt x="2468326" y="791502"/>
                  </a:cubicBezTo>
                  <a:cubicBezTo>
                    <a:pt x="2464672" y="792070"/>
                    <a:pt x="2463780" y="795212"/>
                    <a:pt x="2459964" y="794042"/>
                  </a:cubicBezTo>
                  <a:cubicBezTo>
                    <a:pt x="2456149" y="792872"/>
                    <a:pt x="2453713" y="789630"/>
                    <a:pt x="2447787" y="789764"/>
                  </a:cubicBezTo>
                  <a:cubicBezTo>
                    <a:pt x="2439953" y="789764"/>
                    <a:pt x="2421566" y="799323"/>
                    <a:pt x="2423433" y="789998"/>
                  </a:cubicBezTo>
                  <a:cubicBezTo>
                    <a:pt x="2424651" y="783647"/>
                    <a:pt x="2406548" y="788627"/>
                    <a:pt x="2404640" y="784616"/>
                  </a:cubicBezTo>
                  <a:cubicBezTo>
                    <a:pt x="2403666" y="782611"/>
                    <a:pt x="2408496" y="780338"/>
                    <a:pt x="2406751" y="777932"/>
                  </a:cubicBezTo>
                  <a:cubicBezTo>
                    <a:pt x="2403853" y="775000"/>
                    <a:pt x="2400675" y="772263"/>
                    <a:pt x="2397253" y="769743"/>
                  </a:cubicBezTo>
                  <a:cubicBezTo>
                    <a:pt x="2393446" y="766855"/>
                    <a:pt x="2391883" y="762470"/>
                    <a:pt x="2393194" y="758346"/>
                  </a:cubicBezTo>
                  <a:cubicBezTo>
                    <a:pt x="2394412" y="755538"/>
                    <a:pt x="2400054" y="751661"/>
                    <a:pt x="2398917" y="749054"/>
                  </a:cubicBezTo>
                  <a:cubicBezTo>
                    <a:pt x="2396400" y="743305"/>
                    <a:pt x="2379231" y="756741"/>
                    <a:pt x="2370504" y="754936"/>
                  </a:cubicBezTo>
                  <a:cubicBezTo>
                    <a:pt x="2362670" y="753332"/>
                    <a:pt x="2347896" y="759682"/>
                    <a:pt x="2338844" y="761387"/>
                  </a:cubicBezTo>
                  <a:cubicBezTo>
                    <a:pt x="2322121" y="764462"/>
                    <a:pt x="2324800" y="757644"/>
                    <a:pt x="2312988" y="757711"/>
                  </a:cubicBezTo>
                  <a:cubicBezTo>
                    <a:pt x="2307509" y="757711"/>
                    <a:pt x="2303734" y="758245"/>
                    <a:pt x="2300284" y="755972"/>
                  </a:cubicBezTo>
                  <a:cubicBezTo>
                    <a:pt x="2294926" y="752430"/>
                    <a:pt x="2290299" y="756908"/>
                    <a:pt x="2283764" y="756507"/>
                  </a:cubicBezTo>
                  <a:cubicBezTo>
                    <a:pt x="2279705" y="756240"/>
                    <a:pt x="2280760" y="752196"/>
                    <a:pt x="2276052" y="751728"/>
                  </a:cubicBezTo>
                  <a:cubicBezTo>
                    <a:pt x="2270572" y="751159"/>
                    <a:pt x="2264687" y="753900"/>
                    <a:pt x="2259004" y="753967"/>
                  </a:cubicBezTo>
                  <a:cubicBezTo>
                    <a:pt x="2242322" y="754268"/>
                    <a:pt x="2233879" y="754936"/>
                    <a:pt x="2218942" y="764195"/>
                  </a:cubicBezTo>
                  <a:cubicBezTo>
                    <a:pt x="2202706" y="774222"/>
                    <a:pt x="2177946" y="778500"/>
                    <a:pt x="2158869" y="780405"/>
                  </a:cubicBezTo>
                  <a:cubicBezTo>
                    <a:pt x="2133866" y="782912"/>
                    <a:pt x="2108051" y="790232"/>
                    <a:pt x="2098756" y="805606"/>
                  </a:cubicBezTo>
                  <a:cubicBezTo>
                    <a:pt x="2093560" y="814297"/>
                    <a:pt x="2106427" y="815199"/>
                    <a:pt x="2117224" y="814698"/>
                  </a:cubicBezTo>
                  <a:cubicBezTo>
                    <a:pt x="2131146" y="814029"/>
                    <a:pt x="2124693" y="823455"/>
                    <a:pt x="2120715" y="829471"/>
                  </a:cubicBezTo>
                  <a:cubicBezTo>
                    <a:pt x="2115316" y="837593"/>
                    <a:pt x="2113936" y="836390"/>
                    <a:pt x="2124368" y="839799"/>
                  </a:cubicBezTo>
                  <a:cubicBezTo>
                    <a:pt x="2132486" y="842506"/>
                    <a:pt x="2145028" y="847486"/>
                    <a:pt x="2149087" y="852500"/>
                  </a:cubicBezTo>
                  <a:cubicBezTo>
                    <a:pt x="2156596" y="861791"/>
                    <a:pt x="2138655" y="859920"/>
                    <a:pt x="2137641" y="866838"/>
                  </a:cubicBezTo>
                  <a:cubicBezTo>
                    <a:pt x="2136951" y="871417"/>
                    <a:pt x="2140563" y="872922"/>
                    <a:pt x="2136098" y="878403"/>
                  </a:cubicBezTo>
                  <a:cubicBezTo>
                    <a:pt x="2132039" y="883250"/>
                    <a:pt x="2124652" y="891772"/>
                    <a:pt x="2128873" y="895616"/>
                  </a:cubicBezTo>
                  <a:cubicBezTo>
                    <a:pt x="2133095" y="899460"/>
                    <a:pt x="2154688" y="896619"/>
                    <a:pt x="2162928" y="896686"/>
                  </a:cubicBezTo>
                  <a:cubicBezTo>
                    <a:pt x="2178393" y="896686"/>
                    <a:pt x="2191341" y="898758"/>
                    <a:pt x="2199459" y="905142"/>
                  </a:cubicBezTo>
                  <a:cubicBezTo>
                    <a:pt x="2217440" y="919079"/>
                    <a:pt x="2219754" y="936192"/>
                    <a:pt x="2194953" y="955845"/>
                  </a:cubicBezTo>
                  <a:cubicBezTo>
                    <a:pt x="2183507" y="965003"/>
                    <a:pt x="2176363" y="975900"/>
                    <a:pt x="2161345" y="983721"/>
                  </a:cubicBezTo>
                  <a:cubicBezTo>
                    <a:pt x="2155906" y="986562"/>
                    <a:pt x="2135124" y="992010"/>
                    <a:pt x="2136991" y="996422"/>
                  </a:cubicBezTo>
                  <a:cubicBezTo>
                    <a:pt x="2140563" y="1004410"/>
                    <a:pt x="2160777" y="1002204"/>
                    <a:pt x="2165404" y="1009190"/>
                  </a:cubicBezTo>
                  <a:cubicBezTo>
                    <a:pt x="2170031" y="1016175"/>
                    <a:pt x="2176404" y="1025534"/>
                    <a:pt x="2184887" y="1031249"/>
                  </a:cubicBezTo>
                  <a:cubicBezTo>
                    <a:pt x="2191625" y="1035795"/>
                    <a:pt x="2202990" y="1035694"/>
                    <a:pt x="2194548" y="1044953"/>
                  </a:cubicBezTo>
                  <a:cubicBezTo>
                    <a:pt x="2186430" y="1053643"/>
                    <a:pt x="2187039" y="1051337"/>
                    <a:pt x="2195968" y="1053676"/>
                  </a:cubicBezTo>
                  <a:cubicBezTo>
                    <a:pt x="2210946" y="1057620"/>
                    <a:pt x="2191463" y="1059793"/>
                    <a:pt x="2184887" y="1059693"/>
                  </a:cubicBezTo>
                  <a:cubicBezTo>
                    <a:pt x="2173522" y="1059693"/>
                    <a:pt x="2170884" y="1071926"/>
                    <a:pt x="2172710" y="1075335"/>
                  </a:cubicBezTo>
                  <a:cubicBezTo>
                    <a:pt x="2174131" y="1078176"/>
                    <a:pt x="2157205" y="1078176"/>
                    <a:pt x="2155703" y="1078209"/>
                  </a:cubicBezTo>
                  <a:cubicBezTo>
                    <a:pt x="2144622" y="1078610"/>
                    <a:pt x="2143932" y="1080281"/>
                    <a:pt x="2138493" y="1075669"/>
                  </a:cubicBezTo>
                  <a:cubicBezTo>
                    <a:pt x="2132039" y="1070188"/>
                    <a:pt x="2117346" y="1073196"/>
                    <a:pt x="2106508" y="1072327"/>
                  </a:cubicBezTo>
                  <a:cubicBezTo>
                    <a:pt x="2097498" y="1071524"/>
                    <a:pt x="2093885" y="1066812"/>
                    <a:pt x="2083129" y="1066143"/>
                  </a:cubicBezTo>
                  <a:cubicBezTo>
                    <a:pt x="2060683" y="1064840"/>
                    <a:pt x="2072860" y="1045187"/>
                    <a:pt x="2056948" y="1039404"/>
                  </a:cubicBezTo>
                  <a:cubicBezTo>
                    <a:pt x="2045867" y="1035527"/>
                    <a:pt x="2060398" y="1024364"/>
                    <a:pt x="2050576" y="1020821"/>
                  </a:cubicBezTo>
                  <a:cubicBezTo>
                    <a:pt x="2039657" y="1016910"/>
                    <a:pt x="2017170" y="1026336"/>
                    <a:pt x="2004141" y="1030313"/>
                  </a:cubicBezTo>
                  <a:cubicBezTo>
                    <a:pt x="1989285" y="1034825"/>
                    <a:pt x="1974632" y="1042279"/>
                    <a:pt x="1959492" y="1045254"/>
                  </a:cubicBezTo>
                  <a:cubicBezTo>
                    <a:pt x="1948777" y="1047359"/>
                    <a:pt x="1938020" y="1045955"/>
                    <a:pt x="1927426" y="1047092"/>
                  </a:cubicBezTo>
                  <a:cubicBezTo>
                    <a:pt x="1912895" y="1048629"/>
                    <a:pt x="1897958" y="1052974"/>
                    <a:pt x="1883589" y="1054378"/>
                  </a:cubicBezTo>
                  <a:cubicBezTo>
                    <a:pt x="1872184" y="1055515"/>
                    <a:pt x="1867354" y="1052039"/>
                    <a:pt x="1857977" y="1051972"/>
                  </a:cubicBezTo>
                  <a:cubicBezTo>
                    <a:pt x="1840361" y="1051771"/>
                    <a:pt x="1809919" y="1054612"/>
                    <a:pt x="1791897" y="1063403"/>
                  </a:cubicBezTo>
                  <a:cubicBezTo>
                    <a:pt x="1784307" y="1067113"/>
                    <a:pt x="1771034" y="1066745"/>
                    <a:pt x="1763484" y="1067480"/>
                  </a:cubicBezTo>
                  <a:cubicBezTo>
                    <a:pt x="1749846" y="1068984"/>
                    <a:pt x="1741566" y="1072661"/>
                    <a:pt x="1730160" y="1079479"/>
                  </a:cubicBezTo>
                  <a:cubicBezTo>
                    <a:pt x="1721758" y="1084526"/>
                    <a:pt x="1713924" y="1089874"/>
                    <a:pt x="1705522" y="1094921"/>
                  </a:cubicBezTo>
                  <a:cubicBezTo>
                    <a:pt x="1696105" y="1100570"/>
                    <a:pt x="1703899" y="1086799"/>
                    <a:pt x="1702681" y="1085395"/>
                  </a:cubicBezTo>
                  <a:cubicBezTo>
                    <a:pt x="1697607" y="1079513"/>
                    <a:pt x="1668261" y="1062901"/>
                    <a:pt x="1653973" y="1066478"/>
                  </a:cubicBezTo>
                  <a:cubicBezTo>
                    <a:pt x="1626250" y="1073162"/>
                    <a:pt x="1611395" y="1085262"/>
                    <a:pt x="1600719" y="1069820"/>
                  </a:cubicBezTo>
                  <a:cubicBezTo>
                    <a:pt x="1591993" y="1057219"/>
                    <a:pt x="1591018" y="1045788"/>
                    <a:pt x="1596214" y="1029411"/>
                  </a:cubicBezTo>
                  <a:cubicBezTo>
                    <a:pt x="1598081" y="1023595"/>
                    <a:pt x="1596214" y="1018414"/>
                    <a:pt x="1597837" y="1012900"/>
                  </a:cubicBezTo>
                  <a:cubicBezTo>
                    <a:pt x="1600232" y="1005212"/>
                    <a:pt x="1619837" y="999530"/>
                    <a:pt x="1618822" y="992578"/>
                  </a:cubicBezTo>
                  <a:cubicBezTo>
                    <a:pt x="1617727" y="985125"/>
                    <a:pt x="1616265" y="985626"/>
                    <a:pt x="1626940" y="978172"/>
                  </a:cubicBezTo>
                  <a:cubicBezTo>
                    <a:pt x="1630037" y="975996"/>
                    <a:pt x="1631413" y="972584"/>
                    <a:pt x="1630512" y="969315"/>
                  </a:cubicBezTo>
                  <a:cubicBezTo>
                    <a:pt x="1630512" y="965739"/>
                    <a:pt x="1638102" y="964569"/>
                    <a:pt x="1638630" y="962263"/>
                  </a:cubicBezTo>
                  <a:cubicBezTo>
                    <a:pt x="1639158" y="959956"/>
                    <a:pt x="1629457" y="962463"/>
                    <a:pt x="1631405" y="959422"/>
                  </a:cubicBezTo>
                  <a:cubicBezTo>
                    <a:pt x="1633353" y="956380"/>
                    <a:pt x="1644353" y="952737"/>
                    <a:pt x="1647885" y="951200"/>
                  </a:cubicBezTo>
                  <a:cubicBezTo>
                    <a:pt x="1658966" y="946854"/>
                    <a:pt x="1675080" y="939568"/>
                    <a:pt x="1679423" y="932014"/>
                  </a:cubicBezTo>
                  <a:cubicBezTo>
                    <a:pt x="1690220" y="913264"/>
                    <a:pt x="1637453" y="938699"/>
                    <a:pt x="1629254" y="936760"/>
                  </a:cubicBezTo>
                  <a:cubicBezTo>
                    <a:pt x="1614560" y="933418"/>
                    <a:pt x="1599299" y="939902"/>
                    <a:pt x="1579937" y="944615"/>
                  </a:cubicBezTo>
                  <a:cubicBezTo>
                    <a:pt x="1575878" y="945618"/>
                    <a:pt x="1566096" y="946687"/>
                    <a:pt x="1574742" y="942409"/>
                  </a:cubicBezTo>
                  <a:cubicBezTo>
                    <a:pt x="1586919" y="936393"/>
                    <a:pt x="1603155" y="932817"/>
                    <a:pt x="1616184" y="929541"/>
                  </a:cubicBezTo>
                  <a:cubicBezTo>
                    <a:pt x="1635667" y="924628"/>
                    <a:pt x="1676298" y="920550"/>
                    <a:pt x="1691519" y="907949"/>
                  </a:cubicBezTo>
                  <a:cubicBezTo>
                    <a:pt x="1698378" y="902268"/>
                    <a:pt x="1686486" y="898725"/>
                    <a:pt x="1687135" y="894145"/>
                  </a:cubicBezTo>
                  <a:cubicBezTo>
                    <a:pt x="1687703" y="890201"/>
                    <a:pt x="1719972" y="885556"/>
                    <a:pt x="1724640" y="884319"/>
                  </a:cubicBezTo>
                  <a:cubicBezTo>
                    <a:pt x="1755529" y="875996"/>
                    <a:pt x="1753946" y="853770"/>
                    <a:pt x="1770222" y="839866"/>
                  </a:cubicBezTo>
                  <a:cubicBezTo>
                    <a:pt x="1788691" y="824023"/>
                    <a:pt x="1710149" y="851497"/>
                    <a:pt x="1700042" y="852767"/>
                  </a:cubicBezTo>
                  <a:cubicBezTo>
                    <a:pt x="1693508" y="853469"/>
                    <a:pt x="1662700" y="856778"/>
                    <a:pt x="1666637" y="850093"/>
                  </a:cubicBezTo>
                  <a:cubicBezTo>
                    <a:pt x="1670574" y="843408"/>
                    <a:pt x="1692899" y="841503"/>
                    <a:pt x="1700083" y="840868"/>
                  </a:cubicBezTo>
                  <a:cubicBezTo>
                    <a:pt x="1731215" y="837994"/>
                    <a:pt x="1750983" y="840267"/>
                    <a:pt x="1771927" y="819043"/>
                  </a:cubicBezTo>
                  <a:cubicBezTo>
                    <a:pt x="1777041" y="813862"/>
                    <a:pt x="1791166" y="802598"/>
                    <a:pt x="1792222" y="797418"/>
                  </a:cubicBezTo>
                  <a:cubicBezTo>
                    <a:pt x="1793074" y="793273"/>
                    <a:pt x="1770872" y="798186"/>
                    <a:pt x="1766447" y="798120"/>
                  </a:cubicBezTo>
                  <a:cubicBezTo>
                    <a:pt x="1755610" y="797919"/>
                    <a:pt x="1785930" y="784750"/>
                    <a:pt x="1788975" y="783614"/>
                  </a:cubicBezTo>
                  <a:cubicBezTo>
                    <a:pt x="1806875" y="776929"/>
                    <a:pt x="1810487" y="786956"/>
                    <a:pt x="1829077" y="777765"/>
                  </a:cubicBezTo>
                  <a:cubicBezTo>
                    <a:pt x="1836221" y="774222"/>
                    <a:pt x="1858383" y="766735"/>
                    <a:pt x="1846369" y="764195"/>
                  </a:cubicBezTo>
                  <a:cubicBezTo>
                    <a:pt x="1841092" y="763058"/>
                    <a:pt x="1809838" y="767236"/>
                    <a:pt x="1815723" y="761220"/>
                  </a:cubicBezTo>
                  <a:cubicBezTo>
                    <a:pt x="1821609" y="755204"/>
                    <a:pt x="1836384" y="758880"/>
                    <a:pt x="1843487" y="758346"/>
                  </a:cubicBezTo>
                  <a:cubicBezTo>
                    <a:pt x="1861427" y="756942"/>
                    <a:pt x="1860088" y="765431"/>
                    <a:pt x="1877420" y="753399"/>
                  </a:cubicBezTo>
                  <a:cubicBezTo>
                    <a:pt x="1890084" y="744608"/>
                    <a:pt x="1899216" y="738258"/>
                    <a:pt x="1907497" y="728398"/>
                  </a:cubicBezTo>
                  <a:cubicBezTo>
                    <a:pt x="1913139" y="721713"/>
                    <a:pt x="1927102" y="719240"/>
                    <a:pt x="1924504" y="710884"/>
                  </a:cubicBezTo>
                  <a:cubicBezTo>
                    <a:pt x="1921500" y="701091"/>
                    <a:pt x="1893453" y="708879"/>
                    <a:pt x="1889921" y="700222"/>
                  </a:cubicBezTo>
                  <a:cubicBezTo>
                    <a:pt x="1888785" y="697348"/>
                    <a:pt x="1854527" y="696244"/>
                    <a:pt x="1879124" y="690195"/>
                  </a:cubicBezTo>
                  <a:cubicBezTo>
                    <a:pt x="1887973" y="688022"/>
                    <a:pt x="1914722" y="677460"/>
                    <a:pt x="1909445" y="671110"/>
                  </a:cubicBezTo>
                  <a:cubicBezTo>
                    <a:pt x="1907659" y="669004"/>
                    <a:pt x="1891423" y="672079"/>
                    <a:pt x="1893209" y="669071"/>
                  </a:cubicBezTo>
                  <a:cubicBezTo>
                    <a:pt x="1894995" y="666063"/>
                    <a:pt x="1905386" y="661217"/>
                    <a:pt x="1897715" y="660448"/>
                  </a:cubicBezTo>
                  <a:cubicBezTo>
                    <a:pt x="1890043" y="659679"/>
                    <a:pt x="1881032" y="664124"/>
                    <a:pt x="1873361" y="665963"/>
                  </a:cubicBezTo>
                  <a:cubicBezTo>
                    <a:pt x="1855785" y="670141"/>
                    <a:pt x="1854933" y="660013"/>
                    <a:pt x="1839509" y="664726"/>
                  </a:cubicBezTo>
                  <a:cubicBezTo>
                    <a:pt x="1811989" y="673149"/>
                    <a:pt x="1785240" y="678096"/>
                    <a:pt x="1758330" y="689292"/>
                  </a:cubicBezTo>
                  <a:cubicBezTo>
                    <a:pt x="1749927" y="692835"/>
                    <a:pt x="1758613" y="701559"/>
                    <a:pt x="1761820" y="702896"/>
                  </a:cubicBezTo>
                  <a:cubicBezTo>
                    <a:pt x="1764296" y="703932"/>
                    <a:pt x="1798107" y="698216"/>
                    <a:pt x="1783576" y="707007"/>
                  </a:cubicBezTo>
                  <a:cubicBezTo>
                    <a:pt x="1774281" y="712622"/>
                    <a:pt x="1791248" y="713090"/>
                    <a:pt x="1777325" y="717234"/>
                  </a:cubicBezTo>
                  <a:cubicBezTo>
                    <a:pt x="1761090" y="722081"/>
                    <a:pt x="1763728" y="728599"/>
                    <a:pt x="1765149" y="735116"/>
                  </a:cubicBezTo>
                  <a:cubicBezTo>
                    <a:pt x="1766001" y="739394"/>
                    <a:pt x="1765149" y="750290"/>
                    <a:pt x="1752972" y="753934"/>
                  </a:cubicBezTo>
                  <a:cubicBezTo>
                    <a:pt x="1744367" y="756474"/>
                    <a:pt x="1747857" y="743238"/>
                    <a:pt x="1736736" y="747817"/>
                  </a:cubicBezTo>
                  <a:cubicBezTo>
                    <a:pt x="1708120" y="759448"/>
                    <a:pt x="1760724" y="762256"/>
                    <a:pt x="1757031" y="768707"/>
                  </a:cubicBezTo>
                  <a:cubicBezTo>
                    <a:pt x="1755650" y="771180"/>
                    <a:pt x="1748222" y="773854"/>
                    <a:pt x="1745138" y="775592"/>
                  </a:cubicBezTo>
                  <a:cubicBezTo>
                    <a:pt x="1738725" y="779235"/>
                    <a:pt x="1739739" y="782277"/>
                    <a:pt x="1735315" y="785887"/>
                  </a:cubicBezTo>
                  <a:cubicBezTo>
                    <a:pt x="1734584" y="786455"/>
                    <a:pt x="1702843" y="781675"/>
                    <a:pt x="1699921" y="781241"/>
                  </a:cubicBezTo>
                  <a:cubicBezTo>
                    <a:pt x="1690545" y="779703"/>
                    <a:pt x="1676013" y="774222"/>
                    <a:pt x="1689733" y="765331"/>
                  </a:cubicBezTo>
                  <a:cubicBezTo>
                    <a:pt x="1700205" y="758646"/>
                    <a:pt x="1694806" y="753533"/>
                    <a:pt x="1685308" y="750190"/>
                  </a:cubicBezTo>
                  <a:cubicBezTo>
                    <a:pt x="1679220" y="748051"/>
                    <a:pt x="1652309" y="748753"/>
                    <a:pt x="1643866" y="750424"/>
                  </a:cubicBezTo>
                  <a:cubicBezTo>
                    <a:pt x="1622151" y="754702"/>
                    <a:pt x="1630431" y="763092"/>
                    <a:pt x="1625520" y="770478"/>
                  </a:cubicBezTo>
                  <a:cubicBezTo>
                    <a:pt x="1619188" y="780138"/>
                    <a:pt x="1615535" y="800994"/>
                    <a:pt x="1603642" y="785753"/>
                  </a:cubicBezTo>
                  <a:cubicBezTo>
                    <a:pt x="1599583" y="780305"/>
                    <a:pt x="1596173" y="779737"/>
                    <a:pt x="1588096" y="777397"/>
                  </a:cubicBezTo>
                  <a:cubicBezTo>
                    <a:pt x="1578436" y="774589"/>
                    <a:pt x="1613302" y="760184"/>
                    <a:pt x="1602262" y="759148"/>
                  </a:cubicBezTo>
                  <a:cubicBezTo>
                    <a:pt x="1595889" y="758546"/>
                    <a:pt x="1570602" y="765164"/>
                    <a:pt x="1561672" y="766601"/>
                  </a:cubicBezTo>
                  <a:cubicBezTo>
                    <a:pt x="1552742" y="768038"/>
                    <a:pt x="1541824" y="784616"/>
                    <a:pt x="1533706" y="778767"/>
                  </a:cubicBezTo>
                  <a:cubicBezTo>
                    <a:pt x="1530986" y="776729"/>
                    <a:pt x="1527739" y="764963"/>
                    <a:pt x="1535492" y="762624"/>
                  </a:cubicBezTo>
                  <a:cubicBezTo>
                    <a:pt x="1548967" y="758546"/>
                    <a:pt x="1554082" y="750859"/>
                    <a:pt x="1538252" y="753466"/>
                  </a:cubicBezTo>
                  <a:cubicBezTo>
                    <a:pt x="1525588" y="755571"/>
                    <a:pt x="1525669" y="751293"/>
                    <a:pt x="1515806" y="751694"/>
                  </a:cubicBezTo>
                  <a:cubicBezTo>
                    <a:pt x="1509433" y="751928"/>
                    <a:pt x="1488813" y="758880"/>
                    <a:pt x="1485485" y="756307"/>
                  </a:cubicBezTo>
                  <a:cubicBezTo>
                    <a:pt x="1480655" y="752630"/>
                    <a:pt x="1488976" y="743505"/>
                    <a:pt x="1479437" y="742068"/>
                  </a:cubicBezTo>
                  <a:cubicBezTo>
                    <a:pt x="1466477" y="740407"/>
                    <a:pt x="1453253" y="740791"/>
                    <a:pt x="1440471" y="743205"/>
                  </a:cubicBezTo>
                  <a:cubicBezTo>
                    <a:pt x="1432028" y="744809"/>
                    <a:pt x="1420176" y="751794"/>
                    <a:pt x="1417091" y="745644"/>
                  </a:cubicBezTo>
                  <a:cubicBezTo>
                    <a:pt x="1416320" y="744040"/>
                    <a:pt x="1431582" y="733645"/>
                    <a:pt x="1434058" y="730571"/>
                  </a:cubicBezTo>
                  <a:cubicBezTo>
                    <a:pt x="1437427" y="726359"/>
                    <a:pt x="1454353" y="708945"/>
                    <a:pt x="1438117" y="712622"/>
                  </a:cubicBezTo>
                  <a:cubicBezTo>
                    <a:pt x="1414615" y="717903"/>
                    <a:pt x="1442176" y="704834"/>
                    <a:pt x="1451146" y="702194"/>
                  </a:cubicBezTo>
                  <a:cubicBezTo>
                    <a:pt x="1486135" y="692167"/>
                    <a:pt x="1492020" y="687956"/>
                    <a:pt x="1503913" y="667834"/>
                  </a:cubicBezTo>
                  <a:cubicBezTo>
                    <a:pt x="1510813" y="656136"/>
                    <a:pt x="1539591" y="623214"/>
                    <a:pt x="1499854" y="638288"/>
                  </a:cubicBezTo>
                  <a:cubicBezTo>
                    <a:pt x="1483171" y="644672"/>
                    <a:pt x="1469046" y="651824"/>
                    <a:pt x="1451471" y="655000"/>
                  </a:cubicBezTo>
                  <a:cubicBezTo>
                    <a:pt x="1437082" y="657590"/>
                    <a:pt x="1423163" y="661715"/>
                    <a:pt x="1410069" y="667266"/>
                  </a:cubicBezTo>
                  <a:cubicBezTo>
                    <a:pt x="1395355" y="673333"/>
                    <a:pt x="1381157" y="680211"/>
                    <a:pt x="1367572" y="687855"/>
                  </a:cubicBezTo>
                  <a:cubicBezTo>
                    <a:pt x="1350727" y="697515"/>
                    <a:pt x="1360387" y="696044"/>
                    <a:pt x="1369885" y="698785"/>
                  </a:cubicBezTo>
                  <a:cubicBezTo>
                    <a:pt x="1380033" y="701693"/>
                    <a:pt x="1352188" y="706338"/>
                    <a:pt x="1349591" y="708177"/>
                  </a:cubicBezTo>
                  <a:cubicBezTo>
                    <a:pt x="1344801" y="711753"/>
                    <a:pt x="1356491" y="718939"/>
                    <a:pt x="1357709" y="721011"/>
                  </a:cubicBezTo>
                  <a:cubicBezTo>
                    <a:pt x="1361768" y="727228"/>
                    <a:pt x="1361768" y="735684"/>
                    <a:pt x="1374797" y="736921"/>
                  </a:cubicBezTo>
                  <a:cubicBezTo>
                    <a:pt x="1391033" y="738459"/>
                    <a:pt x="1394158" y="744475"/>
                    <a:pt x="1399151" y="752898"/>
                  </a:cubicBezTo>
                  <a:cubicBezTo>
                    <a:pt x="1403209" y="759582"/>
                    <a:pt x="1391033" y="763560"/>
                    <a:pt x="1384011" y="770044"/>
                  </a:cubicBezTo>
                  <a:cubicBezTo>
                    <a:pt x="1381900" y="772016"/>
                    <a:pt x="1399759" y="771648"/>
                    <a:pt x="1399719" y="775024"/>
                  </a:cubicBezTo>
                  <a:cubicBezTo>
                    <a:pt x="1399719" y="780539"/>
                    <a:pt x="1377760" y="781074"/>
                    <a:pt x="1371996" y="784717"/>
                  </a:cubicBezTo>
                  <a:cubicBezTo>
                    <a:pt x="1361970" y="791000"/>
                    <a:pt x="1364812" y="804136"/>
                    <a:pt x="1375528" y="803969"/>
                  </a:cubicBezTo>
                  <a:cubicBezTo>
                    <a:pt x="1393225" y="803735"/>
                    <a:pt x="1384254" y="807110"/>
                    <a:pt x="1382387" y="816703"/>
                  </a:cubicBezTo>
                  <a:cubicBezTo>
                    <a:pt x="1380398" y="827064"/>
                    <a:pt x="1398623" y="826496"/>
                    <a:pt x="1413925" y="823388"/>
                  </a:cubicBezTo>
                  <a:cubicBezTo>
                    <a:pt x="1430527" y="819845"/>
                    <a:pt x="1447250" y="813361"/>
                    <a:pt x="1463810" y="810520"/>
                  </a:cubicBezTo>
                  <a:cubicBezTo>
                    <a:pt x="1487109" y="806342"/>
                    <a:pt x="1470710" y="811489"/>
                    <a:pt x="1472375" y="816135"/>
                  </a:cubicBezTo>
                  <a:cubicBezTo>
                    <a:pt x="1473389" y="818909"/>
                    <a:pt x="1479275" y="818341"/>
                    <a:pt x="1477651" y="822385"/>
                  </a:cubicBezTo>
                  <a:cubicBezTo>
                    <a:pt x="1476393" y="825427"/>
                    <a:pt x="1472659" y="828535"/>
                    <a:pt x="1471603" y="831543"/>
                  </a:cubicBezTo>
                  <a:cubicBezTo>
                    <a:pt x="1467747" y="842840"/>
                    <a:pt x="1482968" y="826095"/>
                    <a:pt x="1484511" y="822151"/>
                  </a:cubicBezTo>
                  <a:cubicBezTo>
                    <a:pt x="1489219" y="809985"/>
                    <a:pt x="1502452" y="821516"/>
                    <a:pt x="1503953" y="824858"/>
                  </a:cubicBezTo>
                  <a:cubicBezTo>
                    <a:pt x="1505455" y="828201"/>
                    <a:pt x="1501599" y="830808"/>
                    <a:pt x="1496282" y="834150"/>
                  </a:cubicBezTo>
                  <a:cubicBezTo>
                    <a:pt x="1486825" y="840133"/>
                    <a:pt x="1486825" y="846651"/>
                    <a:pt x="1479031" y="852867"/>
                  </a:cubicBezTo>
                  <a:cubicBezTo>
                    <a:pt x="1472050" y="858449"/>
                    <a:pt x="1449441" y="862460"/>
                    <a:pt x="1453703" y="868476"/>
                  </a:cubicBezTo>
                  <a:cubicBezTo>
                    <a:pt x="1456910" y="873055"/>
                    <a:pt x="1472983" y="875161"/>
                    <a:pt x="1472375" y="880709"/>
                  </a:cubicBezTo>
                  <a:cubicBezTo>
                    <a:pt x="1471684" y="887394"/>
                    <a:pt x="1445829" y="891873"/>
                    <a:pt x="1439497" y="892174"/>
                  </a:cubicBezTo>
                  <a:cubicBezTo>
                    <a:pt x="1419202" y="893109"/>
                    <a:pt x="1435803" y="878035"/>
                    <a:pt x="1432881" y="870782"/>
                  </a:cubicBezTo>
                  <a:cubicBezTo>
                    <a:pt x="1431419" y="867173"/>
                    <a:pt x="1409258" y="877467"/>
                    <a:pt x="1403413" y="879105"/>
                  </a:cubicBezTo>
                  <a:cubicBezTo>
                    <a:pt x="1399638" y="880074"/>
                    <a:pt x="1374269" y="882046"/>
                    <a:pt x="1386730" y="876999"/>
                  </a:cubicBezTo>
                  <a:cubicBezTo>
                    <a:pt x="1392900" y="874526"/>
                    <a:pt x="1419730" y="868276"/>
                    <a:pt x="1418187" y="863128"/>
                  </a:cubicBezTo>
                  <a:cubicBezTo>
                    <a:pt x="1415792" y="854940"/>
                    <a:pt x="1434788" y="852867"/>
                    <a:pt x="1446600" y="848054"/>
                  </a:cubicBezTo>
                  <a:cubicBezTo>
                    <a:pt x="1461415" y="841971"/>
                    <a:pt x="1465799" y="832513"/>
                    <a:pt x="1453216" y="830674"/>
                  </a:cubicBezTo>
                  <a:cubicBezTo>
                    <a:pt x="1439862" y="828736"/>
                    <a:pt x="1433408" y="834618"/>
                    <a:pt x="1420744" y="840935"/>
                  </a:cubicBezTo>
                  <a:cubicBezTo>
                    <a:pt x="1408080" y="847252"/>
                    <a:pt x="1400449" y="842138"/>
                    <a:pt x="1414859" y="836690"/>
                  </a:cubicBezTo>
                  <a:cubicBezTo>
                    <a:pt x="1430364" y="830774"/>
                    <a:pt x="1442135" y="820781"/>
                    <a:pt x="1417457" y="828903"/>
                  </a:cubicBezTo>
                  <a:cubicBezTo>
                    <a:pt x="1398907" y="835019"/>
                    <a:pt x="1390383" y="844979"/>
                    <a:pt x="1370819" y="843743"/>
                  </a:cubicBezTo>
                  <a:cubicBezTo>
                    <a:pt x="1362336" y="843208"/>
                    <a:pt x="1348048" y="844578"/>
                    <a:pt x="1340214" y="851330"/>
                  </a:cubicBezTo>
                  <a:cubicBezTo>
                    <a:pt x="1330229" y="859987"/>
                    <a:pt x="1341960" y="866304"/>
                    <a:pt x="1331569" y="874726"/>
                  </a:cubicBezTo>
                  <a:cubicBezTo>
                    <a:pt x="1326292" y="879072"/>
                    <a:pt x="1305672" y="885255"/>
                    <a:pt x="1308757" y="890669"/>
                  </a:cubicBezTo>
                  <a:cubicBezTo>
                    <a:pt x="1312370" y="896886"/>
                    <a:pt x="1343299" y="882681"/>
                    <a:pt x="1351174" y="880642"/>
                  </a:cubicBezTo>
                  <a:cubicBezTo>
                    <a:pt x="1354299" y="879773"/>
                    <a:pt x="1383077" y="877534"/>
                    <a:pt x="1372686" y="881912"/>
                  </a:cubicBezTo>
                  <a:cubicBezTo>
                    <a:pt x="1367450" y="884085"/>
                    <a:pt x="1368059" y="886391"/>
                    <a:pt x="1366841" y="888965"/>
                  </a:cubicBezTo>
                  <a:cubicBezTo>
                    <a:pt x="1365218" y="892307"/>
                    <a:pt x="1355841" y="892976"/>
                    <a:pt x="1352351" y="894379"/>
                  </a:cubicBezTo>
                  <a:cubicBezTo>
                    <a:pt x="1345410" y="897120"/>
                    <a:pt x="1343299" y="901064"/>
                    <a:pt x="1349793" y="901733"/>
                  </a:cubicBezTo>
                  <a:cubicBezTo>
                    <a:pt x="1358723" y="902669"/>
                    <a:pt x="1350686" y="908852"/>
                    <a:pt x="1353852" y="912395"/>
                  </a:cubicBezTo>
                  <a:cubicBezTo>
                    <a:pt x="1357018" y="915938"/>
                    <a:pt x="1322355" y="925163"/>
                    <a:pt x="1317322" y="927268"/>
                  </a:cubicBezTo>
                  <a:cubicBezTo>
                    <a:pt x="1301212" y="934501"/>
                    <a:pt x="1285641" y="942513"/>
                    <a:pt x="1270684" y="951266"/>
                  </a:cubicBezTo>
                  <a:cubicBezTo>
                    <a:pt x="1235127" y="971321"/>
                    <a:pt x="1208257" y="967611"/>
                    <a:pt x="1173269" y="983320"/>
                  </a:cubicBezTo>
                  <a:cubicBezTo>
                    <a:pt x="1161376" y="988634"/>
                    <a:pt x="1153582" y="983821"/>
                    <a:pt x="1140797" y="989403"/>
                  </a:cubicBezTo>
                  <a:cubicBezTo>
                    <a:pt x="1127199" y="995219"/>
                    <a:pt x="1122856" y="991275"/>
                    <a:pt x="1118513" y="986562"/>
                  </a:cubicBezTo>
                  <a:cubicBezTo>
                    <a:pt x="1108447" y="975666"/>
                    <a:pt x="1065259" y="1010627"/>
                    <a:pt x="1054584" y="1017445"/>
                  </a:cubicBezTo>
                  <a:cubicBezTo>
                    <a:pt x="1043909" y="1024264"/>
                    <a:pt x="1026861" y="1032486"/>
                    <a:pt x="1025238" y="1040842"/>
                  </a:cubicBezTo>
                  <a:cubicBezTo>
                    <a:pt x="1023614" y="1049198"/>
                    <a:pt x="1033802" y="1045086"/>
                    <a:pt x="1043584" y="1040541"/>
                  </a:cubicBezTo>
                  <a:cubicBezTo>
                    <a:pt x="1052189" y="1036497"/>
                    <a:pt x="1053691" y="1029912"/>
                    <a:pt x="1062499" y="1025400"/>
                  </a:cubicBezTo>
                  <a:cubicBezTo>
                    <a:pt x="1080034" y="1016476"/>
                    <a:pt x="1085838" y="1010025"/>
                    <a:pt x="1100491" y="999931"/>
                  </a:cubicBezTo>
                  <a:cubicBezTo>
                    <a:pt x="1110963" y="992712"/>
                    <a:pt x="1110517" y="999931"/>
                    <a:pt x="1105849" y="1004577"/>
                  </a:cubicBezTo>
                  <a:cubicBezTo>
                    <a:pt x="1096501" y="1013173"/>
                    <a:pt x="1086171" y="1021008"/>
                    <a:pt x="1075001" y="1027974"/>
                  </a:cubicBezTo>
                  <a:cubicBezTo>
                    <a:pt x="1037090" y="1052707"/>
                    <a:pt x="1075610" y="1045320"/>
                    <a:pt x="1092008" y="1055448"/>
                  </a:cubicBezTo>
                  <a:cubicBezTo>
                    <a:pt x="1094687" y="1057119"/>
                    <a:pt x="1077842" y="1072995"/>
                    <a:pt x="1072971" y="1074399"/>
                  </a:cubicBezTo>
                  <a:cubicBezTo>
                    <a:pt x="1069602" y="1075402"/>
                    <a:pt x="1051499" y="1078878"/>
                    <a:pt x="1060226" y="1072861"/>
                  </a:cubicBezTo>
                  <a:cubicBezTo>
                    <a:pt x="1078289" y="1060461"/>
                    <a:pt x="1046385" y="1060762"/>
                    <a:pt x="1034452" y="1066177"/>
                  </a:cubicBezTo>
                  <a:cubicBezTo>
                    <a:pt x="1027511" y="1069319"/>
                    <a:pt x="1031894" y="1064071"/>
                    <a:pt x="1027470" y="1064305"/>
                  </a:cubicBezTo>
                  <a:cubicBezTo>
                    <a:pt x="1023980" y="1064506"/>
                    <a:pt x="1016552" y="1069452"/>
                    <a:pt x="1013101" y="1070689"/>
                  </a:cubicBezTo>
                  <a:cubicBezTo>
                    <a:pt x="998002" y="1075970"/>
                    <a:pt x="989519" y="1070288"/>
                    <a:pt x="975921" y="1082253"/>
                  </a:cubicBezTo>
                  <a:cubicBezTo>
                    <a:pt x="955910" y="1099834"/>
                    <a:pt x="914428" y="1119554"/>
                    <a:pt x="887679" y="1132990"/>
                  </a:cubicBezTo>
                  <a:cubicBezTo>
                    <a:pt x="880901" y="1136333"/>
                    <a:pt x="823750" y="1165445"/>
                    <a:pt x="823994" y="1155284"/>
                  </a:cubicBezTo>
                  <a:cubicBezTo>
                    <a:pt x="823994" y="1149635"/>
                    <a:pt x="835237" y="1140611"/>
                    <a:pt x="842300" y="1135430"/>
                  </a:cubicBezTo>
                  <a:cubicBezTo>
                    <a:pt x="850702" y="1129214"/>
                    <a:pt x="866856" y="1124167"/>
                    <a:pt x="850986" y="1122830"/>
                  </a:cubicBezTo>
                  <a:cubicBezTo>
                    <a:pt x="837429" y="1121693"/>
                    <a:pt x="821437" y="1124935"/>
                    <a:pt x="805363" y="1130150"/>
                  </a:cubicBezTo>
                  <a:cubicBezTo>
                    <a:pt x="802846" y="1130985"/>
                    <a:pt x="776382" y="1139909"/>
                    <a:pt x="779507" y="1142884"/>
                  </a:cubicBezTo>
                  <a:cubicBezTo>
                    <a:pt x="783566" y="1146895"/>
                    <a:pt x="707217" y="1172364"/>
                    <a:pt x="698044" y="1175004"/>
                  </a:cubicBezTo>
                  <a:cubicBezTo>
                    <a:pt x="685014" y="1178547"/>
                    <a:pt x="672594" y="1185833"/>
                    <a:pt x="659727" y="1190813"/>
                  </a:cubicBezTo>
                  <a:cubicBezTo>
                    <a:pt x="641056" y="1198133"/>
                    <a:pt x="625956" y="1200239"/>
                    <a:pt x="607894" y="1204550"/>
                  </a:cubicBezTo>
                  <a:cubicBezTo>
                    <a:pt x="578182" y="1211636"/>
                    <a:pt x="553747" y="1228749"/>
                    <a:pt x="543681" y="1246798"/>
                  </a:cubicBezTo>
                  <a:cubicBezTo>
                    <a:pt x="539906" y="1253482"/>
                    <a:pt x="520301" y="1266852"/>
                    <a:pt x="510113" y="1269526"/>
                  </a:cubicBezTo>
                  <a:cubicBezTo>
                    <a:pt x="503822" y="1271063"/>
                    <a:pt x="511006" y="1259866"/>
                    <a:pt x="509910" y="1258061"/>
                  </a:cubicBezTo>
                  <a:cubicBezTo>
                    <a:pt x="505149" y="1254990"/>
                    <a:pt x="499779" y="1252617"/>
                    <a:pt x="494039" y="1251043"/>
                  </a:cubicBezTo>
                  <a:cubicBezTo>
                    <a:pt x="483202" y="1251344"/>
                    <a:pt x="481863" y="1264947"/>
                    <a:pt x="481132" y="1268256"/>
                  </a:cubicBezTo>
                  <a:cubicBezTo>
                    <a:pt x="468022" y="1323939"/>
                    <a:pt x="416473" y="1277648"/>
                    <a:pt x="372554" y="1300008"/>
                  </a:cubicBezTo>
                  <a:cubicBezTo>
                    <a:pt x="358795" y="1307027"/>
                    <a:pt x="384731" y="1305590"/>
                    <a:pt x="385868" y="1307595"/>
                  </a:cubicBezTo>
                  <a:cubicBezTo>
                    <a:pt x="387491" y="1310135"/>
                    <a:pt x="374381" y="1315316"/>
                    <a:pt x="373691" y="1318759"/>
                  </a:cubicBezTo>
                  <a:cubicBezTo>
                    <a:pt x="372230" y="1326145"/>
                    <a:pt x="376248" y="1328786"/>
                    <a:pt x="366872" y="1338211"/>
                  </a:cubicBezTo>
                  <a:cubicBezTo>
                    <a:pt x="359200" y="1346066"/>
                    <a:pt x="356806" y="1338211"/>
                    <a:pt x="346009" y="1345331"/>
                  </a:cubicBezTo>
                  <a:cubicBezTo>
                    <a:pt x="331356" y="1354923"/>
                    <a:pt x="330990" y="1376615"/>
                    <a:pt x="312076" y="1382732"/>
                  </a:cubicBezTo>
                  <a:cubicBezTo>
                    <a:pt x="308301" y="1383935"/>
                    <a:pt x="307367" y="1381528"/>
                    <a:pt x="303633" y="1383868"/>
                  </a:cubicBezTo>
                  <a:cubicBezTo>
                    <a:pt x="297378" y="1388230"/>
                    <a:pt x="291777" y="1393186"/>
                    <a:pt x="286951" y="1398641"/>
                  </a:cubicBezTo>
                  <a:cubicBezTo>
                    <a:pt x="276560" y="1409337"/>
                    <a:pt x="270715" y="1415888"/>
                    <a:pt x="272014" y="1424210"/>
                  </a:cubicBezTo>
                  <a:cubicBezTo>
                    <a:pt x="273394" y="1434237"/>
                    <a:pt x="232195" y="1454024"/>
                    <a:pt x="256305" y="1428087"/>
                  </a:cubicBezTo>
                  <a:cubicBezTo>
                    <a:pt x="269335" y="1414049"/>
                    <a:pt x="278183" y="1399677"/>
                    <a:pt x="292349" y="1385773"/>
                  </a:cubicBezTo>
                  <a:cubicBezTo>
                    <a:pt x="305663" y="1372705"/>
                    <a:pt x="323278" y="1361608"/>
                    <a:pt x="335212" y="1347904"/>
                  </a:cubicBezTo>
                  <a:cubicBezTo>
                    <a:pt x="351448" y="1329220"/>
                    <a:pt x="315445" y="1350912"/>
                    <a:pt x="307043" y="1356628"/>
                  </a:cubicBezTo>
                  <a:cubicBezTo>
                    <a:pt x="285571" y="1371167"/>
                    <a:pt x="272298" y="1390586"/>
                    <a:pt x="251800" y="1406228"/>
                  </a:cubicBezTo>
                  <a:cubicBezTo>
                    <a:pt x="236822" y="1417659"/>
                    <a:pt x="253423" y="1416255"/>
                    <a:pt x="237025" y="1424578"/>
                  </a:cubicBezTo>
                  <a:cubicBezTo>
                    <a:pt x="227852" y="1429291"/>
                    <a:pt x="229516" y="1431831"/>
                    <a:pt x="223103" y="1436477"/>
                  </a:cubicBezTo>
                  <a:cubicBezTo>
                    <a:pt x="213767" y="1443161"/>
                    <a:pt x="219572" y="1432265"/>
                    <a:pt x="215472" y="1433134"/>
                  </a:cubicBezTo>
                  <a:cubicBezTo>
                    <a:pt x="195664" y="1436711"/>
                    <a:pt x="202646" y="1444331"/>
                    <a:pt x="191118" y="1453188"/>
                  </a:cubicBezTo>
                  <a:cubicBezTo>
                    <a:pt x="181742" y="1460207"/>
                    <a:pt x="171067" y="1465589"/>
                    <a:pt x="165384" y="1474078"/>
                  </a:cubicBezTo>
                  <a:cubicBezTo>
                    <a:pt x="157835" y="1485442"/>
                    <a:pt x="177845" y="1477822"/>
                    <a:pt x="185679" y="1477420"/>
                  </a:cubicBezTo>
                  <a:cubicBezTo>
                    <a:pt x="205040" y="1476284"/>
                    <a:pt x="155196" y="1494132"/>
                    <a:pt x="153938" y="1494801"/>
                  </a:cubicBezTo>
                  <a:cubicBezTo>
                    <a:pt x="132507" y="1504460"/>
                    <a:pt x="116798" y="1515423"/>
                    <a:pt x="93987" y="1522977"/>
                  </a:cubicBezTo>
                  <a:cubicBezTo>
                    <a:pt x="79902" y="1527623"/>
                    <a:pt x="67279" y="1528124"/>
                    <a:pt x="54899" y="1531567"/>
                  </a:cubicBezTo>
                  <a:cubicBezTo>
                    <a:pt x="39150" y="1535945"/>
                    <a:pt x="14796" y="1555999"/>
                    <a:pt x="-60" y="1564456"/>
                  </a:cubicBezTo>
                  <a:lnTo>
                    <a:pt x="172609" y="1746514"/>
                  </a:lnTo>
                  <a:cubicBezTo>
                    <a:pt x="180159" y="1754469"/>
                    <a:pt x="187696" y="1762413"/>
                    <a:pt x="195218" y="1770345"/>
                  </a:cubicBezTo>
                  <a:cubicBezTo>
                    <a:pt x="199764" y="1775158"/>
                    <a:pt x="237756" y="1740598"/>
                    <a:pt x="241246" y="1738325"/>
                  </a:cubicBezTo>
                  <a:cubicBezTo>
                    <a:pt x="253626" y="1730036"/>
                    <a:pt x="256427" y="1738091"/>
                    <a:pt x="263855" y="1738526"/>
                  </a:cubicBezTo>
                  <a:cubicBezTo>
                    <a:pt x="277331" y="1739328"/>
                    <a:pt x="295637" y="1733211"/>
                    <a:pt x="309924" y="1733479"/>
                  </a:cubicBezTo>
                  <a:cubicBezTo>
                    <a:pt x="325470" y="1733779"/>
                    <a:pt x="328799" y="1728198"/>
                    <a:pt x="339271" y="1717201"/>
                  </a:cubicBezTo>
                  <a:cubicBezTo>
                    <a:pt x="348282" y="1707743"/>
                    <a:pt x="343533" y="1704133"/>
                    <a:pt x="348931" y="1696646"/>
                  </a:cubicBezTo>
                  <a:cubicBezTo>
                    <a:pt x="353680" y="1689961"/>
                    <a:pt x="365167" y="1683276"/>
                    <a:pt x="373650" y="1679332"/>
                  </a:cubicBezTo>
                  <a:cubicBezTo>
                    <a:pt x="385827" y="1674051"/>
                    <a:pt x="385827" y="1679332"/>
                    <a:pt x="394595" y="1679332"/>
                  </a:cubicBezTo>
                  <a:cubicBezTo>
                    <a:pt x="416878" y="1679332"/>
                    <a:pt x="443302" y="1672213"/>
                    <a:pt x="465789" y="1672882"/>
                  </a:cubicBezTo>
                  <a:cubicBezTo>
                    <a:pt x="488276" y="1673550"/>
                    <a:pt x="506622" y="1684246"/>
                    <a:pt x="532356" y="1679566"/>
                  </a:cubicBezTo>
                  <a:cubicBezTo>
                    <a:pt x="547375" y="1676826"/>
                    <a:pt x="590359" y="1656571"/>
                    <a:pt x="594986" y="1667901"/>
                  </a:cubicBezTo>
                  <a:cubicBezTo>
                    <a:pt x="597340" y="1673584"/>
                    <a:pt x="597381" y="1675322"/>
                    <a:pt x="607853" y="1674954"/>
                  </a:cubicBezTo>
                  <a:cubicBezTo>
                    <a:pt x="623277" y="1674419"/>
                    <a:pt x="604281" y="1692067"/>
                    <a:pt x="598802" y="1699387"/>
                  </a:cubicBezTo>
                  <a:cubicBezTo>
                    <a:pt x="602536" y="1702361"/>
                    <a:pt x="625226" y="1695576"/>
                    <a:pt x="617514" y="1703230"/>
                  </a:cubicBezTo>
                  <a:cubicBezTo>
                    <a:pt x="608422" y="1712255"/>
                    <a:pt x="617717" y="1707709"/>
                    <a:pt x="621248" y="1713257"/>
                  </a:cubicBezTo>
                  <a:cubicBezTo>
                    <a:pt x="626849" y="1722215"/>
                    <a:pt x="645358" y="1712990"/>
                    <a:pt x="652502" y="1702395"/>
                  </a:cubicBezTo>
                  <a:cubicBezTo>
                    <a:pt x="660620" y="1690162"/>
                    <a:pt x="667764" y="1711352"/>
                    <a:pt x="669712" y="1711386"/>
                  </a:cubicBezTo>
                  <a:cubicBezTo>
                    <a:pt x="679738" y="1711386"/>
                    <a:pt x="680874" y="1701359"/>
                    <a:pt x="692118" y="1699888"/>
                  </a:cubicBezTo>
                  <a:cubicBezTo>
                    <a:pt x="699302" y="1698986"/>
                    <a:pt x="715660" y="1696345"/>
                    <a:pt x="720530" y="1698351"/>
                  </a:cubicBezTo>
                  <a:cubicBezTo>
                    <a:pt x="725401" y="1700356"/>
                    <a:pt x="707663" y="1709480"/>
                    <a:pt x="716877" y="1713124"/>
                  </a:cubicBezTo>
                  <a:cubicBezTo>
                    <a:pt x="720936" y="1714694"/>
                    <a:pt x="723737" y="1711453"/>
                    <a:pt x="728364" y="1711352"/>
                  </a:cubicBezTo>
                  <a:cubicBezTo>
                    <a:pt x="734412" y="1711352"/>
                    <a:pt x="733032" y="1717235"/>
                    <a:pt x="738512" y="1717135"/>
                  </a:cubicBezTo>
                  <a:cubicBezTo>
                    <a:pt x="750502" y="1715761"/>
                    <a:pt x="761766" y="1711596"/>
                    <a:pt x="770983" y="1705135"/>
                  </a:cubicBezTo>
                  <a:cubicBezTo>
                    <a:pt x="782714" y="1695509"/>
                    <a:pt x="795053" y="1702127"/>
                    <a:pt x="806865" y="1698752"/>
                  </a:cubicBezTo>
                  <a:cubicBezTo>
                    <a:pt x="818676" y="1695376"/>
                    <a:pt x="824684" y="1685382"/>
                    <a:pt x="833492" y="1688725"/>
                  </a:cubicBezTo>
                  <a:cubicBezTo>
                    <a:pt x="846846" y="1693738"/>
                    <a:pt x="845669" y="1693437"/>
                    <a:pt x="863366" y="1682574"/>
                  </a:cubicBezTo>
                  <a:cubicBezTo>
                    <a:pt x="872758" y="1679159"/>
                    <a:pt x="882394" y="1676224"/>
                    <a:pt x="892225" y="1673784"/>
                  </a:cubicBezTo>
                  <a:cubicBezTo>
                    <a:pt x="896852" y="1673416"/>
                    <a:pt x="913454" y="1680469"/>
                    <a:pt x="916254" y="1678798"/>
                  </a:cubicBezTo>
                  <a:lnTo>
                    <a:pt x="924697" y="1674219"/>
                  </a:lnTo>
                  <a:cubicBezTo>
                    <a:pt x="942151" y="1664726"/>
                    <a:pt x="959657" y="1655301"/>
                    <a:pt x="977220" y="1645942"/>
                  </a:cubicBezTo>
                  <a:cubicBezTo>
                    <a:pt x="1045464" y="1609554"/>
                    <a:pt x="1114251" y="1574125"/>
                    <a:pt x="1183578" y="1539655"/>
                  </a:cubicBezTo>
                  <a:cubicBezTo>
                    <a:pt x="1339066" y="1462336"/>
                    <a:pt x="1497065" y="1389918"/>
                    <a:pt x="1657586" y="1322402"/>
                  </a:cubicBezTo>
                  <a:cubicBezTo>
                    <a:pt x="1675961" y="1314671"/>
                    <a:pt x="1694372" y="1307017"/>
                    <a:pt x="1712828" y="1299440"/>
                  </a:cubicBezTo>
                  <a:lnTo>
                    <a:pt x="1721596" y="1295797"/>
                  </a:lnTo>
                  <a:cubicBezTo>
                    <a:pt x="1721060" y="1293591"/>
                    <a:pt x="1720719" y="1291358"/>
                    <a:pt x="1720581" y="1289112"/>
                  </a:cubicBezTo>
                  <a:cubicBezTo>
                    <a:pt x="1722894" y="1277982"/>
                    <a:pt x="1739496" y="1291084"/>
                    <a:pt x="1741688" y="1291552"/>
                  </a:cubicBezTo>
                  <a:cubicBezTo>
                    <a:pt x="1750333" y="1293357"/>
                    <a:pt x="1771805" y="1288845"/>
                    <a:pt x="1779599" y="1282728"/>
                  </a:cubicBezTo>
                  <a:cubicBezTo>
                    <a:pt x="1794495" y="1271063"/>
                    <a:pt x="1801842" y="1279185"/>
                    <a:pt x="1817428" y="1273737"/>
                  </a:cubicBezTo>
                  <a:cubicBezTo>
                    <a:pt x="1830052" y="1269325"/>
                    <a:pt x="1837723" y="1273136"/>
                    <a:pt x="1849575" y="1269091"/>
                  </a:cubicBezTo>
                  <a:cubicBezTo>
                    <a:pt x="1856678" y="1266685"/>
                    <a:pt x="1856557" y="1263175"/>
                    <a:pt x="1861509" y="1259967"/>
                  </a:cubicBezTo>
                  <a:cubicBezTo>
                    <a:pt x="1867719" y="1255923"/>
                    <a:pt x="1877745" y="1253917"/>
                    <a:pt x="1884929" y="1252380"/>
                  </a:cubicBezTo>
                  <a:cubicBezTo>
                    <a:pt x="1904980" y="1248101"/>
                    <a:pt x="1906360" y="1247333"/>
                    <a:pt x="1914519" y="1234264"/>
                  </a:cubicBezTo>
                  <a:cubicBezTo>
                    <a:pt x="1919390" y="1226476"/>
                    <a:pt x="1923408" y="1218221"/>
                    <a:pt x="1937005" y="1213374"/>
                  </a:cubicBezTo>
                  <a:cubicBezTo>
                    <a:pt x="1954865" y="1206957"/>
                    <a:pt x="1995739" y="1193320"/>
                    <a:pt x="2005156" y="1204584"/>
                  </a:cubicBezTo>
                  <a:cubicBezTo>
                    <a:pt x="2012949" y="1213876"/>
                    <a:pt x="2030484" y="1197899"/>
                    <a:pt x="2040915" y="1202378"/>
                  </a:cubicBezTo>
                  <a:cubicBezTo>
                    <a:pt x="2052037" y="1207024"/>
                    <a:pt x="2063848" y="1220259"/>
                    <a:pt x="2079029" y="1220025"/>
                  </a:cubicBezTo>
                  <a:cubicBezTo>
                    <a:pt x="2099324" y="1219725"/>
                    <a:pt x="2118807" y="1210299"/>
                    <a:pt x="2141172" y="1206923"/>
                  </a:cubicBezTo>
                  <a:cubicBezTo>
                    <a:pt x="2158788" y="1204216"/>
                    <a:pt x="2180463" y="1189443"/>
                    <a:pt x="2196821" y="1193086"/>
                  </a:cubicBezTo>
                  <a:cubicBezTo>
                    <a:pt x="2202219" y="1194256"/>
                    <a:pt x="2236680" y="1205319"/>
                    <a:pt x="2228481" y="1210500"/>
                  </a:cubicBezTo>
                  <a:cubicBezTo>
                    <a:pt x="2213503" y="1219892"/>
                    <a:pt x="2196739" y="1212706"/>
                    <a:pt x="2182776" y="1218689"/>
                  </a:cubicBezTo>
                  <a:cubicBezTo>
                    <a:pt x="2181112" y="1219357"/>
                    <a:pt x="2178961" y="1237072"/>
                    <a:pt x="2179732" y="1238743"/>
                  </a:cubicBezTo>
                  <a:cubicBezTo>
                    <a:pt x="2181721" y="1242586"/>
                    <a:pt x="2185212" y="1268824"/>
                    <a:pt x="2170112" y="1270696"/>
                  </a:cubicBezTo>
                  <a:cubicBezTo>
                    <a:pt x="2170234" y="1276010"/>
                    <a:pt x="2174979" y="1280479"/>
                    <a:pt x="2181356" y="1281291"/>
                  </a:cubicBezTo>
                  <a:cubicBezTo>
                    <a:pt x="2196861" y="1267186"/>
                    <a:pt x="2207577" y="1257527"/>
                    <a:pt x="2234123" y="1254251"/>
                  </a:cubicBezTo>
                  <a:cubicBezTo>
                    <a:pt x="2246300" y="1252747"/>
                    <a:pt x="2251211" y="1248870"/>
                    <a:pt x="2258476" y="1242185"/>
                  </a:cubicBezTo>
                  <a:cubicBezTo>
                    <a:pt x="2260060" y="1240782"/>
                    <a:pt x="2272642" y="1231724"/>
                    <a:pt x="2270248" y="1238843"/>
                  </a:cubicBezTo>
                  <a:cubicBezTo>
                    <a:pt x="2278366" y="1232961"/>
                    <a:pt x="2277919" y="1230520"/>
                    <a:pt x="2272399" y="1226209"/>
                  </a:cubicBezTo>
                  <a:cubicBezTo>
                    <a:pt x="2267000" y="1228549"/>
                    <a:pt x="2258517" y="1233128"/>
                    <a:pt x="2252753" y="1231724"/>
                  </a:cubicBezTo>
                  <a:cubicBezTo>
                    <a:pt x="2239278" y="1228381"/>
                    <a:pt x="2260019" y="1216583"/>
                    <a:pt x="2268218" y="1212137"/>
                  </a:cubicBezTo>
                  <a:cubicBezTo>
                    <a:pt x="2284900" y="1203013"/>
                    <a:pt x="2303653" y="1199069"/>
                    <a:pt x="2320538" y="1191047"/>
                  </a:cubicBezTo>
                  <a:cubicBezTo>
                    <a:pt x="2326627" y="1188173"/>
                    <a:pt x="2334542" y="1182424"/>
                    <a:pt x="2341888" y="1181355"/>
                  </a:cubicBezTo>
                  <a:cubicBezTo>
                    <a:pt x="2350980" y="1180051"/>
                    <a:pt x="2358124" y="1169422"/>
                    <a:pt x="2364253" y="1163707"/>
                  </a:cubicBezTo>
                  <a:cubicBezTo>
                    <a:pt x="2380002" y="1149335"/>
                    <a:pt x="2402083" y="1144889"/>
                    <a:pt x="2426234" y="1137168"/>
                  </a:cubicBezTo>
                  <a:cubicBezTo>
                    <a:pt x="2441171" y="1132355"/>
                    <a:pt x="2475754" y="1125437"/>
                    <a:pt x="2486591" y="1117114"/>
                  </a:cubicBezTo>
                  <a:cubicBezTo>
                    <a:pt x="2497428" y="1108792"/>
                    <a:pt x="2508753" y="1099166"/>
                    <a:pt x="2512284" y="1089907"/>
                  </a:cubicBezTo>
                  <a:cubicBezTo>
                    <a:pt x="2515816" y="1080649"/>
                    <a:pt x="2515450" y="1071491"/>
                    <a:pt x="2520767" y="1061731"/>
                  </a:cubicBezTo>
                  <a:cubicBezTo>
                    <a:pt x="2526085" y="1051972"/>
                    <a:pt x="2529779" y="1047727"/>
                    <a:pt x="2545933" y="1046357"/>
                  </a:cubicBezTo>
                  <a:cubicBezTo>
                    <a:pt x="2556324" y="1045488"/>
                    <a:pt x="2582464" y="1034792"/>
                    <a:pt x="2584696" y="1042680"/>
                  </a:cubicBezTo>
                  <a:cubicBezTo>
                    <a:pt x="2586275" y="1049412"/>
                    <a:pt x="2590001" y="1055675"/>
                    <a:pt x="2595493" y="1060829"/>
                  </a:cubicBezTo>
                  <a:cubicBezTo>
                    <a:pt x="2600916" y="1065448"/>
                    <a:pt x="2607240" y="1069292"/>
                    <a:pt x="2614205" y="1072193"/>
                  </a:cubicBezTo>
                  <a:cubicBezTo>
                    <a:pt x="2629751" y="1078878"/>
                    <a:pt x="2628330" y="1076772"/>
                    <a:pt x="2645013" y="1067346"/>
                  </a:cubicBezTo>
                  <a:cubicBezTo>
                    <a:pt x="2661695" y="1057921"/>
                    <a:pt x="2677200" y="1054311"/>
                    <a:pt x="2687267" y="1040875"/>
                  </a:cubicBezTo>
                  <a:cubicBezTo>
                    <a:pt x="2688647" y="1039037"/>
                    <a:pt x="2690879" y="1032853"/>
                    <a:pt x="2695912" y="1035561"/>
                  </a:cubicBezTo>
                  <a:cubicBezTo>
                    <a:pt x="2703178" y="1039505"/>
                    <a:pt x="2692340" y="1041911"/>
                    <a:pt x="2691610" y="1045588"/>
                  </a:cubicBezTo>
                  <a:cubicBezTo>
                    <a:pt x="2690636" y="1050468"/>
                    <a:pt x="2731388" y="1040708"/>
                    <a:pt x="2731469" y="1040240"/>
                  </a:cubicBezTo>
                  <a:cubicBezTo>
                    <a:pt x="2731022" y="1044719"/>
                    <a:pt x="2698997" y="1051938"/>
                    <a:pt x="2693152" y="1054077"/>
                  </a:cubicBezTo>
                  <a:cubicBezTo>
                    <a:pt x="2677809" y="1059592"/>
                    <a:pt x="2664739" y="1073530"/>
                    <a:pt x="2659828" y="1082354"/>
                  </a:cubicBezTo>
                  <a:cubicBezTo>
                    <a:pt x="2654917" y="1091178"/>
                    <a:pt x="2671640" y="1094420"/>
                    <a:pt x="2684507" y="1091378"/>
                  </a:cubicBezTo>
                  <a:cubicBezTo>
                    <a:pt x="2708333" y="1085729"/>
                    <a:pt x="2711986" y="1070722"/>
                    <a:pt x="2723879" y="1060161"/>
                  </a:cubicBezTo>
                  <a:cubicBezTo>
                    <a:pt x="2730982" y="1053910"/>
                    <a:pt x="2756959" y="1046791"/>
                    <a:pt x="2767634" y="1042045"/>
                  </a:cubicBezTo>
                  <a:cubicBezTo>
                    <a:pt x="2774007" y="1039104"/>
                    <a:pt x="2810213" y="1024999"/>
                    <a:pt x="2810213" y="1020453"/>
                  </a:cubicBezTo>
                  <a:cubicBezTo>
                    <a:pt x="2810213" y="1018147"/>
                    <a:pt x="2802095" y="1017779"/>
                    <a:pt x="2805342" y="1014638"/>
                  </a:cubicBezTo>
                  <a:cubicBezTo>
                    <a:pt x="2808590" y="1011496"/>
                    <a:pt x="2817519" y="1008688"/>
                    <a:pt x="2822674" y="1006649"/>
                  </a:cubicBezTo>
                  <a:cubicBezTo>
                    <a:pt x="2829895" y="1004266"/>
                    <a:pt x="2836714" y="1001131"/>
                    <a:pt x="2842969" y="997324"/>
                  </a:cubicBezTo>
                  <a:cubicBezTo>
                    <a:pt x="2853157" y="990038"/>
                    <a:pt x="2835419" y="991575"/>
                    <a:pt x="2828681" y="993982"/>
                  </a:cubicBezTo>
                  <a:close/>
                  <a:moveTo>
                    <a:pt x="781861" y="1236637"/>
                  </a:moveTo>
                  <a:cubicBezTo>
                    <a:pt x="776585" y="1247099"/>
                    <a:pt x="771430" y="1258128"/>
                    <a:pt x="754342" y="1266050"/>
                  </a:cubicBezTo>
                  <a:cubicBezTo>
                    <a:pt x="740866" y="1272266"/>
                    <a:pt x="713752" y="1285736"/>
                    <a:pt x="736645" y="1285001"/>
                  </a:cubicBezTo>
                  <a:cubicBezTo>
                    <a:pt x="750689" y="1284533"/>
                    <a:pt x="720165" y="1304186"/>
                    <a:pt x="715984" y="1308397"/>
                  </a:cubicBezTo>
                  <a:cubicBezTo>
                    <a:pt x="714604" y="1309667"/>
                    <a:pt x="691387" y="1333231"/>
                    <a:pt x="695365" y="1324240"/>
                  </a:cubicBezTo>
                  <a:cubicBezTo>
                    <a:pt x="698490" y="1317188"/>
                    <a:pt x="704416" y="1309835"/>
                    <a:pt x="706973" y="1302849"/>
                  </a:cubicBezTo>
                  <a:cubicBezTo>
                    <a:pt x="711276" y="1290917"/>
                    <a:pt x="692889" y="1302047"/>
                    <a:pt x="686476" y="1308832"/>
                  </a:cubicBezTo>
                  <a:cubicBezTo>
                    <a:pt x="678845" y="1316887"/>
                    <a:pt x="680752" y="1326179"/>
                    <a:pt x="673933" y="1332529"/>
                  </a:cubicBezTo>
                  <a:cubicBezTo>
                    <a:pt x="670159" y="1335872"/>
                    <a:pt x="631111" y="1358332"/>
                    <a:pt x="632288" y="1350244"/>
                  </a:cubicBezTo>
                  <a:cubicBezTo>
                    <a:pt x="634399" y="1348305"/>
                    <a:pt x="636591" y="1346367"/>
                    <a:pt x="638864" y="1344462"/>
                  </a:cubicBezTo>
                  <a:cubicBezTo>
                    <a:pt x="641137" y="1341119"/>
                    <a:pt x="638864" y="1338713"/>
                    <a:pt x="640934" y="1335203"/>
                  </a:cubicBezTo>
                  <a:cubicBezTo>
                    <a:pt x="645521" y="1327783"/>
                    <a:pt x="654044" y="1324574"/>
                    <a:pt x="643247" y="1322770"/>
                  </a:cubicBezTo>
                  <a:cubicBezTo>
                    <a:pt x="629488" y="1320497"/>
                    <a:pt x="668332" y="1306994"/>
                    <a:pt x="671417" y="1301980"/>
                  </a:cubicBezTo>
                  <a:cubicBezTo>
                    <a:pt x="677749" y="1291686"/>
                    <a:pt x="634886" y="1306827"/>
                    <a:pt x="628432" y="1314213"/>
                  </a:cubicBezTo>
                  <a:cubicBezTo>
                    <a:pt x="622149" y="1321640"/>
                    <a:pt x="614847" y="1328448"/>
                    <a:pt x="606676" y="1334501"/>
                  </a:cubicBezTo>
                  <a:cubicBezTo>
                    <a:pt x="602617" y="1337509"/>
                    <a:pt x="576356" y="1353553"/>
                    <a:pt x="572378" y="1350912"/>
                  </a:cubicBezTo>
                  <a:cubicBezTo>
                    <a:pt x="573190" y="1351414"/>
                    <a:pt x="690088" y="1258830"/>
                    <a:pt x="702752" y="1252981"/>
                  </a:cubicBezTo>
                  <a:cubicBezTo>
                    <a:pt x="735467" y="1236470"/>
                    <a:pt x="677992" y="1285068"/>
                    <a:pt x="725158" y="1264813"/>
                  </a:cubicBezTo>
                  <a:cubicBezTo>
                    <a:pt x="744316" y="1256591"/>
                    <a:pt x="752231" y="1248101"/>
                    <a:pt x="761688" y="1236537"/>
                  </a:cubicBezTo>
                  <a:cubicBezTo>
                    <a:pt x="771917" y="1224137"/>
                    <a:pt x="787869" y="1224805"/>
                    <a:pt x="781780" y="1236804"/>
                  </a:cubicBezTo>
                  <a:cubicBezTo>
                    <a:pt x="771917" y="1256290"/>
                    <a:pt x="791847" y="1216984"/>
                    <a:pt x="781861" y="1236637"/>
                  </a:cubicBezTo>
                  <a:close/>
                  <a:moveTo>
                    <a:pt x="1030393" y="1254385"/>
                  </a:moveTo>
                  <a:cubicBezTo>
                    <a:pt x="1023955" y="1263630"/>
                    <a:pt x="1015009" y="1271521"/>
                    <a:pt x="1004253" y="1277447"/>
                  </a:cubicBezTo>
                  <a:cubicBezTo>
                    <a:pt x="987246" y="1287207"/>
                    <a:pt x="996663" y="1288109"/>
                    <a:pt x="990290" y="1297501"/>
                  </a:cubicBezTo>
                  <a:cubicBezTo>
                    <a:pt x="981401" y="1310570"/>
                    <a:pt x="925346" y="1334067"/>
                    <a:pt x="907162" y="1339949"/>
                  </a:cubicBezTo>
                  <a:cubicBezTo>
                    <a:pt x="892631" y="1344629"/>
                    <a:pt x="895513" y="1340885"/>
                    <a:pt x="905904" y="1334836"/>
                  </a:cubicBezTo>
                  <a:cubicBezTo>
                    <a:pt x="921531" y="1325744"/>
                    <a:pt x="920638" y="1324307"/>
                    <a:pt x="923642" y="1314347"/>
                  </a:cubicBezTo>
                  <a:cubicBezTo>
                    <a:pt x="925996" y="1306726"/>
                    <a:pt x="946737" y="1295396"/>
                    <a:pt x="945154" y="1290649"/>
                  </a:cubicBezTo>
                  <a:cubicBezTo>
                    <a:pt x="942516" y="1282628"/>
                    <a:pt x="912682" y="1293658"/>
                    <a:pt x="911911" y="1289146"/>
                  </a:cubicBezTo>
                  <a:cubicBezTo>
                    <a:pt x="910003" y="1276578"/>
                    <a:pt x="961431" y="1267153"/>
                    <a:pt x="970076" y="1267387"/>
                  </a:cubicBezTo>
                  <a:cubicBezTo>
                    <a:pt x="1007135" y="1268055"/>
                    <a:pt x="1017363" y="1247767"/>
                    <a:pt x="1039647" y="1228281"/>
                  </a:cubicBezTo>
                  <a:cubicBezTo>
                    <a:pt x="1043381" y="1224939"/>
                    <a:pt x="1083849" y="1190646"/>
                    <a:pt x="1088355" y="1197197"/>
                  </a:cubicBezTo>
                  <a:cubicBezTo>
                    <a:pt x="1095012" y="1206756"/>
                    <a:pt x="1039647" y="1242319"/>
                    <a:pt x="1030271" y="1254385"/>
                  </a:cubicBezTo>
                  <a:cubicBezTo>
                    <a:pt x="1015537" y="1273503"/>
                    <a:pt x="1044924" y="1235434"/>
                    <a:pt x="1030393" y="1254385"/>
                  </a:cubicBezTo>
                  <a:close/>
                  <a:moveTo>
                    <a:pt x="1658722" y="1284901"/>
                  </a:moveTo>
                  <a:cubicBezTo>
                    <a:pt x="1650239" y="1289012"/>
                    <a:pt x="1646302" y="1280221"/>
                    <a:pt x="1644191" y="1277848"/>
                  </a:cubicBezTo>
                  <a:cubicBezTo>
                    <a:pt x="1636479" y="1269125"/>
                    <a:pt x="1626859" y="1268022"/>
                    <a:pt x="1608431" y="1269225"/>
                  </a:cubicBezTo>
                  <a:cubicBezTo>
                    <a:pt x="1588948" y="1270462"/>
                    <a:pt x="1533259" y="1264746"/>
                    <a:pt x="1553189" y="1243923"/>
                  </a:cubicBezTo>
                  <a:cubicBezTo>
                    <a:pt x="1576974" y="1219190"/>
                    <a:pt x="1607376" y="1240748"/>
                    <a:pt x="1620121" y="1247266"/>
                  </a:cubicBezTo>
                  <a:cubicBezTo>
                    <a:pt x="1628239" y="1251344"/>
                    <a:pt x="1684821" y="1272099"/>
                    <a:pt x="1658722" y="1284800"/>
                  </a:cubicBezTo>
                  <a:cubicBezTo>
                    <a:pt x="1644435" y="1291819"/>
                    <a:pt x="1670168" y="1279286"/>
                    <a:pt x="1658560" y="128496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5260A882-4841-473B-91AA-1D9FF8107301}"/>
                </a:ext>
              </a:extLst>
            </p:cNvPr>
            <p:cNvSpPr/>
            <p:nvPr/>
          </p:nvSpPr>
          <p:spPr>
            <a:xfrm>
              <a:off x="1960043" y="4762484"/>
              <a:ext cx="1719107" cy="623569"/>
            </a:xfrm>
            <a:custGeom>
              <a:avLst/>
              <a:gdLst>
                <a:gd name="connsiteX0" fmla="*/ 1718592 w 1764396"/>
                <a:gd name="connsiteY0" fmla="*/ 1121 h 853808"/>
                <a:gd name="connsiteX1" fmla="*/ 1668342 w 1764396"/>
                <a:gd name="connsiteY1" fmla="*/ 8274 h 853808"/>
                <a:gd name="connsiteX2" fmla="*/ 1648493 w 1764396"/>
                <a:gd name="connsiteY2" fmla="*/ 41430 h 853808"/>
                <a:gd name="connsiteX3" fmla="*/ 1598162 w 1764396"/>
                <a:gd name="connsiteY3" fmla="*/ 86184 h 853808"/>
                <a:gd name="connsiteX4" fmla="*/ 1544746 w 1764396"/>
                <a:gd name="connsiteY4" fmla="*/ 103164 h 853808"/>
                <a:gd name="connsiteX5" fmla="*/ 1507809 w 1764396"/>
                <a:gd name="connsiteY5" fmla="*/ 116934 h 853808"/>
                <a:gd name="connsiteX6" fmla="*/ 1484876 w 1764396"/>
                <a:gd name="connsiteY6" fmla="*/ 138158 h 853808"/>
                <a:gd name="connsiteX7" fmla="*/ 1484389 w 1764396"/>
                <a:gd name="connsiteY7" fmla="*/ 149823 h 853808"/>
                <a:gd name="connsiteX8" fmla="*/ 1407268 w 1764396"/>
                <a:gd name="connsiteY8" fmla="*/ 186990 h 853808"/>
                <a:gd name="connsiteX9" fmla="*/ 1334491 w 1764396"/>
                <a:gd name="connsiteY9" fmla="*/ 253202 h 853808"/>
                <a:gd name="connsiteX10" fmla="*/ 1283186 w 1764396"/>
                <a:gd name="connsiteY10" fmla="*/ 255809 h 853808"/>
                <a:gd name="connsiteX11" fmla="*/ 1298123 w 1764396"/>
                <a:gd name="connsiteY11" fmla="*/ 246852 h 853808"/>
                <a:gd name="connsiteX12" fmla="*/ 1316023 w 1764396"/>
                <a:gd name="connsiteY12" fmla="*/ 241938 h 853808"/>
                <a:gd name="connsiteX13" fmla="*/ 1283145 w 1764396"/>
                <a:gd name="connsiteY13" fmla="*/ 215199 h 853808"/>
                <a:gd name="connsiteX14" fmla="*/ 1256802 w 1764396"/>
                <a:gd name="connsiteY14" fmla="*/ 231243 h 853808"/>
                <a:gd name="connsiteX15" fmla="*/ 1256802 w 1764396"/>
                <a:gd name="connsiteY15" fmla="*/ 215400 h 853808"/>
                <a:gd name="connsiteX16" fmla="*/ 1243327 w 1764396"/>
                <a:gd name="connsiteY16" fmla="*/ 195112 h 853808"/>
                <a:gd name="connsiteX17" fmla="*/ 1204644 w 1764396"/>
                <a:gd name="connsiteY17" fmla="*/ 204370 h 853808"/>
                <a:gd name="connsiteX18" fmla="*/ 1200058 w 1764396"/>
                <a:gd name="connsiteY18" fmla="*/ 214899 h 853808"/>
                <a:gd name="connsiteX19" fmla="*/ 1183051 w 1764396"/>
                <a:gd name="connsiteY19" fmla="*/ 226898 h 853808"/>
                <a:gd name="connsiteX20" fmla="*/ 1178789 w 1764396"/>
                <a:gd name="connsiteY20" fmla="*/ 258416 h 853808"/>
                <a:gd name="connsiteX21" fmla="*/ 1193442 w 1764396"/>
                <a:gd name="connsiteY21" fmla="*/ 281812 h 853808"/>
                <a:gd name="connsiteX22" fmla="*/ 1170671 w 1764396"/>
                <a:gd name="connsiteY22" fmla="*/ 304875 h 853808"/>
                <a:gd name="connsiteX23" fmla="*/ 1139579 w 1764396"/>
                <a:gd name="connsiteY23" fmla="*/ 258750 h 853808"/>
                <a:gd name="connsiteX24" fmla="*/ 1137509 w 1764396"/>
                <a:gd name="connsiteY24" fmla="*/ 249659 h 853808"/>
                <a:gd name="connsiteX25" fmla="*/ 1127605 w 1764396"/>
                <a:gd name="connsiteY25" fmla="*/ 249893 h 853808"/>
                <a:gd name="connsiteX26" fmla="*/ 1143841 w 1764396"/>
                <a:gd name="connsiteY26" fmla="*/ 228335 h 853808"/>
                <a:gd name="connsiteX27" fmla="*/ 1190722 w 1764396"/>
                <a:gd name="connsiteY27" fmla="*/ 201362 h 853808"/>
                <a:gd name="connsiteX28" fmla="*/ 1218567 w 1764396"/>
                <a:gd name="connsiteY28" fmla="*/ 189363 h 853808"/>
                <a:gd name="connsiteX29" fmla="*/ 1228024 w 1764396"/>
                <a:gd name="connsiteY29" fmla="*/ 180840 h 853808"/>
                <a:gd name="connsiteX30" fmla="*/ 1205132 w 1764396"/>
                <a:gd name="connsiteY30" fmla="*/ 184583 h 853808"/>
                <a:gd name="connsiteX31" fmla="*/ 1190032 w 1764396"/>
                <a:gd name="connsiteY31" fmla="*/ 186221 h 853808"/>
                <a:gd name="connsiteX32" fmla="*/ 1133491 w 1764396"/>
                <a:gd name="connsiteY32" fmla="*/ 211055 h 853808"/>
                <a:gd name="connsiteX33" fmla="*/ 1108082 w 1764396"/>
                <a:gd name="connsiteY33" fmla="*/ 214197 h 853808"/>
                <a:gd name="connsiteX34" fmla="*/ 1088882 w 1764396"/>
                <a:gd name="connsiteY34" fmla="*/ 214598 h 853808"/>
                <a:gd name="connsiteX35" fmla="*/ 1076705 w 1764396"/>
                <a:gd name="connsiteY35" fmla="*/ 209551 h 853808"/>
                <a:gd name="connsiteX36" fmla="*/ 1031367 w 1764396"/>
                <a:gd name="connsiteY36" fmla="*/ 246317 h 853808"/>
                <a:gd name="connsiteX37" fmla="*/ 1009327 w 1764396"/>
                <a:gd name="connsiteY37" fmla="*/ 250495 h 853808"/>
                <a:gd name="connsiteX38" fmla="*/ 981726 w 1764396"/>
                <a:gd name="connsiteY38" fmla="*/ 261491 h 853808"/>
                <a:gd name="connsiteX39" fmla="*/ 986556 w 1764396"/>
                <a:gd name="connsiteY39" fmla="*/ 242740 h 853808"/>
                <a:gd name="connsiteX40" fmla="*/ 1038592 w 1764396"/>
                <a:gd name="connsiteY40" fmla="*/ 209584 h 853808"/>
                <a:gd name="connsiteX41" fmla="*/ 1000559 w 1764396"/>
                <a:gd name="connsiteY41" fmla="*/ 218542 h 853808"/>
                <a:gd name="connsiteX42" fmla="*/ 972146 w 1764396"/>
                <a:gd name="connsiteY42" fmla="*/ 231543 h 853808"/>
                <a:gd name="connsiteX43" fmla="*/ 938660 w 1764396"/>
                <a:gd name="connsiteY43" fmla="*/ 235788 h 853808"/>
                <a:gd name="connsiteX44" fmla="*/ 899369 w 1764396"/>
                <a:gd name="connsiteY44" fmla="*/ 249759 h 853808"/>
                <a:gd name="connsiteX45" fmla="*/ 868196 w 1764396"/>
                <a:gd name="connsiteY45" fmla="*/ 246183 h 853808"/>
                <a:gd name="connsiteX46" fmla="*/ 855735 w 1764396"/>
                <a:gd name="connsiteY46" fmla="*/ 254338 h 853808"/>
                <a:gd name="connsiteX47" fmla="*/ 850986 w 1764396"/>
                <a:gd name="connsiteY47" fmla="*/ 258750 h 853808"/>
                <a:gd name="connsiteX48" fmla="*/ 711276 w 1764396"/>
                <a:gd name="connsiteY48" fmla="*/ 317743 h 853808"/>
                <a:gd name="connsiteX49" fmla="*/ 214782 w 1764396"/>
                <a:gd name="connsiteY49" fmla="*/ 552610 h 853808"/>
                <a:gd name="connsiteX50" fmla="*/ 50881 w 1764396"/>
                <a:gd name="connsiteY50" fmla="*/ 639512 h 853808"/>
                <a:gd name="connsiteX51" fmla="*/ 74747 w 1764396"/>
                <a:gd name="connsiteY51" fmla="*/ 671331 h 853808"/>
                <a:gd name="connsiteX52" fmla="*/ 66629 w 1764396"/>
                <a:gd name="connsiteY52" fmla="*/ 662841 h 853808"/>
                <a:gd name="connsiteX53" fmla="*/ 44589 w 1764396"/>
                <a:gd name="connsiteY53" fmla="*/ 657093 h 853808"/>
                <a:gd name="connsiteX54" fmla="*/ -60 w 1764396"/>
                <a:gd name="connsiteY54" fmla="*/ 681525 h 853808"/>
                <a:gd name="connsiteX55" fmla="*/ 23848 w 1764396"/>
                <a:gd name="connsiteY55" fmla="*/ 692288 h 853808"/>
                <a:gd name="connsiteX56" fmla="*/ 54290 w 1764396"/>
                <a:gd name="connsiteY56" fmla="*/ 699641 h 853808"/>
                <a:gd name="connsiteX57" fmla="*/ 54290 w 1764396"/>
                <a:gd name="connsiteY57" fmla="*/ 707395 h 853808"/>
                <a:gd name="connsiteX58" fmla="*/ 66102 w 1764396"/>
                <a:gd name="connsiteY58" fmla="*/ 726513 h 853808"/>
                <a:gd name="connsiteX59" fmla="*/ 87898 w 1764396"/>
                <a:gd name="connsiteY59" fmla="*/ 765619 h 853808"/>
                <a:gd name="connsiteX60" fmla="*/ 103728 w 1764396"/>
                <a:gd name="connsiteY60" fmla="*/ 785105 h 853808"/>
                <a:gd name="connsiteX61" fmla="*/ 128975 w 1764396"/>
                <a:gd name="connsiteY61" fmla="*/ 811476 h 853808"/>
                <a:gd name="connsiteX62" fmla="*/ 154303 w 1764396"/>
                <a:gd name="connsiteY62" fmla="*/ 825715 h 853808"/>
                <a:gd name="connsiteX63" fmla="*/ 181052 w 1764396"/>
                <a:gd name="connsiteY63" fmla="*/ 831731 h 853808"/>
                <a:gd name="connsiteX64" fmla="*/ 217583 w 1764396"/>
                <a:gd name="connsiteY64" fmla="*/ 834037 h 853808"/>
                <a:gd name="connsiteX65" fmla="*/ 244169 w 1764396"/>
                <a:gd name="connsiteY65" fmla="*/ 838048 h 853808"/>
                <a:gd name="connsiteX66" fmla="*/ 258457 w 1764396"/>
                <a:gd name="connsiteY66" fmla="*/ 848075 h 853808"/>
                <a:gd name="connsiteX67" fmla="*/ 301360 w 1764396"/>
                <a:gd name="connsiteY67" fmla="*/ 848810 h 853808"/>
                <a:gd name="connsiteX68" fmla="*/ 320640 w 1764396"/>
                <a:gd name="connsiteY68" fmla="*/ 849813 h 853808"/>
                <a:gd name="connsiteX69" fmla="*/ 369672 w 1764396"/>
                <a:gd name="connsiteY69" fmla="*/ 837179 h 853808"/>
                <a:gd name="connsiteX70" fmla="*/ 428649 w 1764396"/>
                <a:gd name="connsiteY70" fmla="*/ 842059 h 853808"/>
                <a:gd name="connsiteX71" fmla="*/ 471431 w 1764396"/>
                <a:gd name="connsiteY71" fmla="*/ 816022 h 853808"/>
                <a:gd name="connsiteX72" fmla="*/ 508205 w 1764396"/>
                <a:gd name="connsiteY72" fmla="*/ 803187 h 853808"/>
                <a:gd name="connsiteX73" fmla="*/ 569902 w 1764396"/>
                <a:gd name="connsiteY73" fmla="*/ 786977 h 853808"/>
                <a:gd name="connsiteX74" fmla="*/ 607123 w 1764396"/>
                <a:gd name="connsiteY74" fmla="*/ 777117 h 853808"/>
                <a:gd name="connsiteX75" fmla="*/ 658996 w 1764396"/>
                <a:gd name="connsiteY75" fmla="*/ 752049 h 853808"/>
                <a:gd name="connsiteX76" fmla="*/ 686922 w 1764396"/>
                <a:gd name="connsiteY76" fmla="*/ 733365 h 853808"/>
                <a:gd name="connsiteX77" fmla="*/ 729298 w 1764396"/>
                <a:gd name="connsiteY77" fmla="*/ 710804 h 853808"/>
                <a:gd name="connsiteX78" fmla="*/ 799437 w 1764396"/>
                <a:gd name="connsiteY78" fmla="*/ 713980 h 853808"/>
                <a:gd name="connsiteX79" fmla="*/ 847657 w 1764396"/>
                <a:gd name="connsiteY79" fmla="*/ 715216 h 853808"/>
                <a:gd name="connsiteX80" fmla="*/ 862838 w 1764396"/>
                <a:gd name="connsiteY80" fmla="*/ 692154 h 853808"/>
                <a:gd name="connsiteX81" fmla="*/ 913251 w 1764396"/>
                <a:gd name="connsiteY81" fmla="*/ 680924 h 853808"/>
                <a:gd name="connsiteX82" fmla="*/ 961958 w 1764396"/>
                <a:gd name="connsiteY82" fmla="*/ 692990 h 853808"/>
                <a:gd name="connsiteX83" fmla="*/ 994998 w 1764396"/>
                <a:gd name="connsiteY83" fmla="*/ 707027 h 853808"/>
                <a:gd name="connsiteX84" fmla="*/ 1049104 w 1764396"/>
                <a:gd name="connsiteY84" fmla="*/ 696432 h 853808"/>
                <a:gd name="connsiteX85" fmla="*/ 1026983 w 1764396"/>
                <a:gd name="connsiteY85" fmla="*/ 683063 h 853808"/>
                <a:gd name="connsiteX86" fmla="*/ 1030068 w 1764396"/>
                <a:gd name="connsiteY86" fmla="*/ 668891 h 853808"/>
                <a:gd name="connsiteX87" fmla="*/ 1035223 w 1764396"/>
                <a:gd name="connsiteY87" fmla="*/ 655221 h 853808"/>
                <a:gd name="connsiteX88" fmla="*/ 1041352 w 1764396"/>
                <a:gd name="connsiteY88" fmla="*/ 642085 h 853808"/>
                <a:gd name="connsiteX89" fmla="*/ 1064244 w 1764396"/>
                <a:gd name="connsiteY89" fmla="*/ 629919 h 853808"/>
                <a:gd name="connsiteX90" fmla="*/ 1075975 w 1764396"/>
                <a:gd name="connsiteY90" fmla="*/ 615447 h 853808"/>
                <a:gd name="connsiteX91" fmla="*/ 1077396 w 1764396"/>
                <a:gd name="connsiteY91" fmla="*/ 605821 h 853808"/>
                <a:gd name="connsiteX92" fmla="*/ 1095499 w 1764396"/>
                <a:gd name="connsiteY92" fmla="*/ 597665 h 853808"/>
                <a:gd name="connsiteX93" fmla="*/ 1109827 w 1764396"/>
                <a:gd name="connsiteY93" fmla="*/ 587638 h 853808"/>
                <a:gd name="connsiteX94" fmla="*/ 1120786 w 1764396"/>
                <a:gd name="connsiteY94" fmla="*/ 580018 h 853808"/>
                <a:gd name="connsiteX95" fmla="*/ 1146966 w 1764396"/>
                <a:gd name="connsiteY95" fmla="*/ 578313 h 853808"/>
                <a:gd name="connsiteX96" fmla="*/ 1156302 w 1764396"/>
                <a:gd name="connsiteY96" fmla="*/ 568286 h 853808"/>
                <a:gd name="connsiteX97" fmla="*/ 1187110 w 1764396"/>
                <a:gd name="connsiteY97" fmla="*/ 568520 h 853808"/>
                <a:gd name="connsiteX98" fmla="*/ 1208582 w 1764396"/>
                <a:gd name="connsiteY98" fmla="*/ 560699 h 853808"/>
                <a:gd name="connsiteX99" fmla="*/ 1212641 w 1764396"/>
                <a:gd name="connsiteY99" fmla="*/ 551574 h 853808"/>
                <a:gd name="connsiteX100" fmla="*/ 1238009 w 1764396"/>
                <a:gd name="connsiteY100" fmla="*/ 553546 h 853808"/>
                <a:gd name="connsiteX101" fmla="*/ 1232205 w 1764396"/>
                <a:gd name="connsiteY101" fmla="*/ 547129 h 853808"/>
                <a:gd name="connsiteX102" fmla="*/ 1219500 w 1764396"/>
                <a:gd name="connsiteY102" fmla="*/ 537637 h 853808"/>
                <a:gd name="connsiteX103" fmla="*/ 1256599 w 1764396"/>
                <a:gd name="connsiteY103" fmla="*/ 520022 h 853808"/>
                <a:gd name="connsiteX104" fmla="*/ 1272470 w 1764396"/>
                <a:gd name="connsiteY104" fmla="*/ 511566 h 853808"/>
                <a:gd name="connsiteX105" fmla="*/ 1294997 w 1764396"/>
                <a:gd name="connsiteY105" fmla="*/ 506185 h 853808"/>
                <a:gd name="connsiteX106" fmla="*/ 1331772 w 1764396"/>
                <a:gd name="connsiteY106" fmla="*/ 494754 h 853808"/>
                <a:gd name="connsiteX107" fmla="*/ 1364852 w 1764396"/>
                <a:gd name="connsiteY107" fmla="*/ 492882 h 853808"/>
                <a:gd name="connsiteX108" fmla="*/ 1403250 w 1764396"/>
                <a:gd name="connsiteY108" fmla="*/ 481051 h 853808"/>
                <a:gd name="connsiteX109" fmla="*/ 1433895 w 1764396"/>
                <a:gd name="connsiteY109" fmla="*/ 494186 h 853808"/>
                <a:gd name="connsiteX110" fmla="*/ 1445504 w 1764396"/>
                <a:gd name="connsiteY110" fmla="*/ 510898 h 853808"/>
                <a:gd name="connsiteX111" fmla="*/ 1462146 w 1764396"/>
                <a:gd name="connsiteY111" fmla="*/ 515310 h 853808"/>
                <a:gd name="connsiteX112" fmla="*/ 1470629 w 1764396"/>
                <a:gd name="connsiteY112" fmla="*/ 525337 h 853808"/>
                <a:gd name="connsiteX113" fmla="*/ 1497378 w 1764396"/>
                <a:gd name="connsiteY113" fmla="*/ 529983 h 853808"/>
                <a:gd name="connsiteX114" fmla="*/ 1518525 w 1764396"/>
                <a:gd name="connsiteY114" fmla="*/ 533960 h 853808"/>
                <a:gd name="connsiteX115" fmla="*/ 1527982 w 1764396"/>
                <a:gd name="connsiteY115" fmla="*/ 514240 h 853808"/>
                <a:gd name="connsiteX116" fmla="*/ 1518444 w 1764396"/>
                <a:gd name="connsiteY116" fmla="*/ 492749 h 853808"/>
                <a:gd name="connsiteX117" fmla="*/ 1497053 w 1764396"/>
                <a:gd name="connsiteY117" fmla="*/ 479079 h 853808"/>
                <a:gd name="connsiteX118" fmla="*/ 1475947 w 1764396"/>
                <a:gd name="connsiteY118" fmla="*/ 465208 h 853808"/>
                <a:gd name="connsiteX119" fmla="*/ 1453216 w 1764396"/>
                <a:gd name="connsiteY119" fmla="*/ 418883 h 853808"/>
                <a:gd name="connsiteX120" fmla="*/ 1466854 w 1764396"/>
                <a:gd name="connsiteY120" fmla="*/ 397224 h 853808"/>
                <a:gd name="connsiteX121" fmla="*/ 1489382 w 1764396"/>
                <a:gd name="connsiteY121" fmla="*/ 376769 h 853808"/>
                <a:gd name="connsiteX122" fmla="*/ 1512315 w 1764396"/>
                <a:gd name="connsiteY122" fmla="*/ 357818 h 853808"/>
                <a:gd name="connsiteX123" fmla="*/ 1533827 w 1764396"/>
                <a:gd name="connsiteY123" fmla="*/ 336059 h 853808"/>
                <a:gd name="connsiteX124" fmla="*/ 1552620 w 1764396"/>
                <a:gd name="connsiteY124" fmla="*/ 319581 h 853808"/>
                <a:gd name="connsiteX125" fmla="*/ 1542676 w 1764396"/>
                <a:gd name="connsiteY125" fmla="*/ 314334 h 853808"/>
                <a:gd name="connsiteX126" fmla="*/ 1549901 w 1764396"/>
                <a:gd name="connsiteY126" fmla="*/ 308986 h 853808"/>
                <a:gd name="connsiteX127" fmla="*/ 1576934 w 1764396"/>
                <a:gd name="connsiteY127" fmla="*/ 297020 h 853808"/>
                <a:gd name="connsiteX128" fmla="*/ 1558100 w 1764396"/>
                <a:gd name="connsiteY128" fmla="*/ 292976 h 853808"/>
                <a:gd name="connsiteX129" fmla="*/ 1557004 w 1764396"/>
                <a:gd name="connsiteY129" fmla="*/ 281010 h 853808"/>
                <a:gd name="connsiteX130" fmla="*/ 1541377 w 1764396"/>
                <a:gd name="connsiteY130" fmla="*/ 273958 h 853808"/>
                <a:gd name="connsiteX131" fmla="*/ 1515765 w 1764396"/>
                <a:gd name="connsiteY131" fmla="*/ 266839 h 853808"/>
                <a:gd name="connsiteX132" fmla="*/ 1526643 w 1764396"/>
                <a:gd name="connsiteY132" fmla="*/ 253937 h 853808"/>
                <a:gd name="connsiteX133" fmla="*/ 1526156 w 1764396"/>
                <a:gd name="connsiteY133" fmla="*/ 229571 h 853808"/>
                <a:gd name="connsiteX134" fmla="*/ 1526805 w 1764396"/>
                <a:gd name="connsiteY134" fmla="*/ 239197 h 853808"/>
                <a:gd name="connsiteX135" fmla="*/ 1544989 w 1764396"/>
                <a:gd name="connsiteY135" fmla="*/ 252366 h 853808"/>
                <a:gd name="connsiteX136" fmla="*/ 1560292 w 1764396"/>
                <a:gd name="connsiteY136" fmla="*/ 261057 h 853808"/>
                <a:gd name="connsiteX137" fmla="*/ 1553879 w 1764396"/>
                <a:gd name="connsiteY137" fmla="*/ 233148 h 853808"/>
                <a:gd name="connsiteX138" fmla="*/ 1551606 w 1764396"/>
                <a:gd name="connsiteY138" fmla="*/ 226062 h 853808"/>
                <a:gd name="connsiteX139" fmla="*/ 1571901 w 1764396"/>
                <a:gd name="connsiteY139" fmla="*/ 223689 h 853808"/>
                <a:gd name="connsiteX140" fmla="*/ 1585173 w 1764396"/>
                <a:gd name="connsiteY140" fmla="*/ 204905 h 853808"/>
                <a:gd name="connsiteX141" fmla="*/ 1586919 w 1764396"/>
                <a:gd name="connsiteY141" fmla="*/ 197217 h 853808"/>
                <a:gd name="connsiteX142" fmla="*/ 1579856 w 1764396"/>
                <a:gd name="connsiteY142" fmla="*/ 192939 h 853808"/>
                <a:gd name="connsiteX143" fmla="*/ 1630796 w 1764396"/>
                <a:gd name="connsiteY143" fmla="*/ 169543 h 853808"/>
                <a:gd name="connsiteX144" fmla="*/ 1626169 w 1764396"/>
                <a:gd name="connsiteY144" fmla="*/ 165398 h 853808"/>
                <a:gd name="connsiteX145" fmla="*/ 1593251 w 1764396"/>
                <a:gd name="connsiteY145" fmla="*/ 178066 h 853808"/>
                <a:gd name="connsiteX146" fmla="*/ 1626859 w 1764396"/>
                <a:gd name="connsiteY146" fmla="*/ 158312 h 853808"/>
                <a:gd name="connsiteX147" fmla="*/ 1644678 w 1764396"/>
                <a:gd name="connsiteY147" fmla="*/ 150023 h 853808"/>
                <a:gd name="connsiteX148" fmla="*/ 1646992 w 1764396"/>
                <a:gd name="connsiteY148" fmla="*/ 142570 h 853808"/>
                <a:gd name="connsiteX149" fmla="*/ 1669478 w 1764396"/>
                <a:gd name="connsiteY149" fmla="*/ 140030 h 853808"/>
                <a:gd name="connsiteX150" fmla="*/ 1671832 w 1764396"/>
                <a:gd name="connsiteY150" fmla="*/ 126961 h 853808"/>
                <a:gd name="connsiteX151" fmla="*/ 1658194 w 1764396"/>
                <a:gd name="connsiteY151" fmla="*/ 125123 h 853808"/>
                <a:gd name="connsiteX152" fmla="*/ 1660833 w 1764396"/>
                <a:gd name="connsiteY152" fmla="*/ 115530 h 853808"/>
                <a:gd name="connsiteX153" fmla="*/ 1663674 w 1764396"/>
                <a:gd name="connsiteY153" fmla="*/ 102729 h 853808"/>
                <a:gd name="connsiteX154" fmla="*/ 1681615 w 1764396"/>
                <a:gd name="connsiteY154" fmla="*/ 88390 h 853808"/>
                <a:gd name="connsiteX155" fmla="*/ 1694563 w 1764396"/>
                <a:gd name="connsiteY155" fmla="*/ 80201 h 853808"/>
                <a:gd name="connsiteX156" fmla="*/ 1709906 w 1764396"/>
                <a:gd name="connsiteY156" fmla="*/ 61986 h 853808"/>
                <a:gd name="connsiteX157" fmla="*/ 1735112 w 1764396"/>
                <a:gd name="connsiteY157" fmla="*/ 59111 h 853808"/>
                <a:gd name="connsiteX158" fmla="*/ 1764337 w 1764396"/>
                <a:gd name="connsiteY158" fmla="*/ 38088 h 853808"/>
                <a:gd name="connsiteX159" fmla="*/ 1719120 w 1764396"/>
                <a:gd name="connsiteY159" fmla="*/ 854 h 853808"/>
                <a:gd name="connsiteX160" fmla="*/ 1718592 w 1764396"/>
                <a:gd name="connsiteY160" fmla="*/ 1121 h 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764396" h="853808">
                  <a:moveTo>
                    <a:pt x="1718592" y="1121"/>
                  </a:moveTo>
                  <a:cubicBezTo>
                    <a:pt x="1717456" y="-650"/>
                    <a:pt x="1671914" y="6536"/>
                    <a:pt x="1668342" y="8274"/>
                  </a:cubicBezTo>
                  <a:cubicBezTo>
                    <a:pt x="1653527" y="15259"/>
                    <a:pt x="1650198" y="33041"/>
                    <a:pt x="1648493" y="41430"/>
                  </a:cubicBezTo>
                  <a:cubicBezTo>
                    <a:pt x="1644434" y="60983"/>
                    <a:pt x="1630188" y="76124"/>
                    <a:pt x="1598162" y="86184"/>
                  </a:cubicBezTo>
                  <a:cubicBezTo>
                    <a:pt x="1580331" y="91756"/>
                    <a:pt x="1562524" y="97415"/>
                    <a:pt x="1544746" y="103164"/>
                  </a:cubicBezTo>
                  <a:cubicBezTo>
                    <a:pt x="1533381" y="106773"/>
                    <a:pt x="1516333" y="110383"/>
                    <a:pt x="1507809" y="116934"/>
                  </a:cubicBezTo>
                  <a:cubicBezTo>
                    <a:pt x="1499622" y="123599"/>
                    <a:pt x="1491963" y="130688"/>
                    <a:pt x="1484876" y="138158"/>
                  </a:cubicBezTo>
                  <a:cubicBezTo>
                    <a:pt x="1478098" y="144843"/>
                    <a:pt x="1489463" y="142971"/>
                    <a:pt x="1484389" y="149823"/>
                  </a:cubicBezTo>
                  <a:cubicBezTo>
                    <a:pt x="1472212" y="166267"/>
                    <a:pt x="1429877" y="177297"/>
                    <a:pt x="1407268" y="186990"/>
                  </a:cubicBezTo>
                  <a:cubicBezTo>
                    <a:pt x="1422612" y="199022"/>
                    <a:pt x="1355273" y="242607"/>
                    <a:pt x="1334491" y="253202"/>
                  </a:cubicBezTo>
                  <a:cubicBezTo>
                    <a:pt x="1319270" y="260823"/>
                    <a:pt x="1282820" y="271685"/>
                    <a:pt x="1283186" y="255809"/>
                  </a:cubicBezTo>
                  <a:cubicBezTo>
                    <a:pt x="1283186" y="251029"/>
                    <a:pt x="1290532" y="247119"/>
                    <a:pt x="1298123" y="246852"/>
                  </a:cubicBezTo>
                  <a:cubicBezTo>
                    <a:pt x="1308148" y="246484"/>
                    <a:pt x="1307174" y="249960"/>
                    <a:pt x="1316023" y="241938"/>
                  </a:cubicBezTo>
                  <a:cubicBezTo>
                    <a:pt x="1299787" y="239933"/>
                    <a:pt x="1303359" y="211857"/>
                    <a:pt x="1283145" y="215199"/>
                  </a:cubicBezTo>
                  <a:cubicBezTo>
                    <a:pt x="1270441" y="217272"/>
                    <a:pt x="1265570" y="225995"/>
                    <a:pt x="1256802" y="231243"/>
                  </a:cubicBezTo>
                  <a:cubicBezTo>
                    <a:pt x="1249253" y="235755"/>
                    <a:pt x="1256031" y="216737"/>
                    <a:pt x="1256802" y="215400"/>
                  </a:cubicBezTo>
                  <a:cubicBezTo>
                    <a:pt x="1261430" y="204972"/>
                    <a:pt x="1258832" y="197585"/>
                    <a:pt x="1243327" y="195112"/>
                  </a:cubicBezTo>
                  <a:cubicBezTo>
                    <a:pt x="1232164" y="193340"/>
                    <a:pt x="1213493" y="195446"/>
                    <a:pt x="1204644" y="204370"/>
                  </a:cubicBezTo>
                  <a:cubicBezTo>
                    <a:pt x="1200870" y="208180"/>
                    <a:pt x="1202412" y="211055"/>
                    <a:pt x="1200058" y="214899"/>
                  </a:cubicBezTo>
                  <a:cubicBezTo>
                    <a:pt x="1196932" y="219879"/>
                    <a:pt x="1188936" y="222987"/>
                    <a:pt x="1183051" y="226898"/>
                  </a:cubicBezTo>
                  <a:cubicBezTo>
                    <a:pt x="1169981" y="235688"/>
                    <a:pt x="1175704" y="251096"/>
                    <a:pt x="1178789" y="258416"/>
                  </a:cubicBezTo>
                  <a:cubicBezTo>
                    <a:pt x="1182198" y="266471"/>
                    <a:pt x="1195025" y="272287"/>
                    <a:pt x="1193442" y="281812"/>
                  </a:cubicBezTo>
                  <a:cubicBezTo>
                    <a:pt x="1192346" y="288497"/>
                    <a:pt x="1181874" y="300797"/>
                    <a:pt x="1170671" y="304875"/>
                  </a:cubicBezTo>
                  <a:cubicBezTo>
                    <a:pt x="1137306" y="317075"/>
                    <a:pt x="1139295" y="267574"/>
                    <a:pt x="1139579" y="258750"/>
                  </a:cubicBezTo>
                  <a:cubicBezTo>
                    <a:pt x="1139579" y="255909"/>
                    <a:pt x="1140229" y="251698"/>
                    <a:pt x="1137509" y="249659"/>
                  </a:cubicBezTo>
                  <a:cubicBezTo>
                    <a:pt x="1134789" y="247620"/>
                    <a:pt x="1129066" y="251665"/>
                    <a:pt x="1127605" y="249893"/>
                  </a:cubicBezTo>
                  <a:cubicBezTo>
                    <a:pt x="1123952" y="245481"/>
                    <a:pt x="1138808" y="232713"/>
                    <a:pt x="1143841" y="228335"/>
                  </a:cubicBezTo>
                  <a:cubicBezTo>
                    <a:pt x="1156586" y="217104"/>
                    <a:pt x="1172619" y="209116"/>
                    <a:pt x="1190722" y="201362"/>
                  </a:cubicBezTo>
                  <a:cubicBezTo>
                    <a:pt x="1199977" y="197418"/>
                    <a:pt x="1209637" y="193741"/>
                    <a:pt x="1218567" y="189363"/>
                  </a:cubicBezTo>
                  <a:cubicBezTo>
                    <a:pt x="1225264" y="186021"/>
                    <a:pt x="1223032" y="183781"/>
                    <a:pt x="1228024" y="180840"/>
                  </a:cubicBezTo>
                  <a:cubicBezTo>
                    <a:pt x="1217430" y="180405"/>
                    <a:pt x="1211788" y="178801"/>
                    <a:pt x="1205132" y="184583"/>
                  </a:cubicBezTo>
                  <a:cubicBezTo>
                    <a:pt x="1199774" y="189363"/>
                    <a:pt x="1195228" y="186890"/>
                    <a:pt x="1190032" y="186221"/>
                  </a:cubicBezTo>
                  <a:cubicBezTo>
                    <a:pt x="1169737" y="183614"/>
                    <a:pt x="1150051" y="203367"/>
                    <a:pt x="1133491" y="211055"/>
                  </a:cubicBezTo>
                  <a:cubicBezTo>
                    <a:pt x="1125089" y="214932"/>
                    <a:pt x="1115022" y="216336"/>
                    <a:pt x="1108082" y="214197"/>
                  </a:cubicBezTo>
                  <a:cubicBezTo>
                    <a:pt x="1099639" y="211589"/>
                    <a:pt x="1098908" y="213829"/>
                    <a:pt x="1088882" y="214598"/>
                  </a:cubicBezTo>
                  <a:cubicBezTo>
                    <a:pt x="1079709" y="215300"/>
                    <a:pt x="1092617" y="197084"/>
                    <a:pt x="1076705" y="209551"/>
                  </a:cubicBezTo>
                  <a:cubicBezTo>
                    <a:pt x="1061931" y="221282"/>
                    <a:pt x="1050403" y="236290"/>
                    <a:pt x="1031367" y="246317"/>
                  </a:cubicBezTo>
                  <a:cubicBezTo>
                    <a:pt x="1022437" y="250929"/>
                    <a:pt x="1018216" y="249057"/>
                    <a:pt x="1009327" y="250495"/>
                  </a:cubicBezTo>
                  <a:cubicBezTo>
                    <a:pt x="998773" y="252199"/>
                    <a:pt x="991792" y="259486"/>
                    <a:pt x="981726" y="261491"/>
                  </a:cubicBezTo>
                  <a:cubicBezTo>
                    <a:pt x="962567" y="265301"/>
                    <a:pt x="981726" y="247019"/>
                    <a:pt x="986556" y="242740"/>
                  </a:cubicBezTo>
                  <a:cubicBezTo>
                    <a:pt x="1000559" y="230440"/>
                    <a:pt x="1027389" y="221082"/>
                    <a:pt x="1038592" y="209584"/>
                  </a:cubicBezTo>
                  <a:cubicBezTo>
                    <a:pt x="1026415" y="211723"/>
                    <a:pt x="1012411" y="213628"/>
                    <a:pt x="1000559" y="218542"/>
                  </a:cubicBezTo>
                  <a:cubicBezTo>
                    <a:pt x="988707" y="223455"/>
                    <a:pt x="988626" y="231911"/>
                    <a:pt x="972146" y="231543"/>
                  </a:cubicBezTo>
                  <a:cubicBezTo>
                    <a:pt x="960659" y="231209"/>
                    <a:pt x="948929" y="237292"/>
                    <a:pt x="938660" y="235788"/>
                  </a:cubicBezTo>
                  <a:cubicBezTo>
                    <a:pt x="921409" y="233215"/>
                    <a:pt x="915524" y="247487"/>
                    <a:pt x="899369" y="249759"/>
                  </a:cubicBezTo>
                  <a:cubicBezTo>
                    <a:pt x="879074" y="252634"/>
                    <a:pt x="880048" y="251230"/>
                    <a:pt x="868196" y="246183"/>
                  </a:cubicBezTo>
                  <a:cubicBezTo>
                    <a:pt x="858820" y="242206"/>
                    <a:pt x="854314" y="249759"/>
                    <a:pt x="855735" y="254338"/>
                  </a:cubicBezTo>
                  <a:cubicBezTo>
                    <a:pt x="856628" y="257246"/>
                    <a:pt x="856019" y="256678"/>
                    <a:pt x="850986" y="258750"/>
                  </a:cubicBezTo>
                  <a:cubicBezTo>
                    <a:pt x="804226" y="278002"/>
                    <a:pt x="757658" y="297665"/>
                    <a:pt x="711276" y="317743"/>
                  </a:cubicBezTo>
                  <a:cubicBezTo>
                    <a:pt x="542962" y="390516"/>
                    <a:pt x="377466" y="468807"/>
                    <a:pt x="214782" y="552610"/>
                  </a:cubicBezTo>
                  <a:cubicBezTo>
                    <a:pt x="159771" y="580887"/>
                    <a:pt x="105137" y="609855"/>
                    <a:pt x="50881" y="639512"/>
                  </a:cubicBezTo>
                  <a:cubicBezTo>
                    <a:pt x="59810" y="640682"/>
                    <a:pt x="94961" y="660402"/>
                    <a:pt x="74747" y="671331"/>
                  </a:cubicBezTo>
                  <a:cubicBezTo>
                    <a:pt x="58511" y="680021"/>
                    <a:pt x="66629" y="666251"/>
                    <a:pt x="66629" y="662841"/>
                  </a:cubicBezTo>
                  <a:cubicBezTo>
                    <a:pt x="67035" y="653349"/>
                    <a:pt x="48851" y="663042"/>
                    <a:pt x="44589" y="657093"/>
                  </a:cubicBezTo>
                  <a:cubicBezTo>
                    <a:pt x="31682" y="667120"/>
                    <a:pt x="15121" y="674339"/>
                    <a:pt x="-60" y="681525"/>
                  </a:cubicBezTo>
                  <a:cubicBezTo>
                    <a:pt x="8667" y="684634"/>
                    <a:pt x="13376" y="690249"/>
                    <a:pt x="23848" y="692288"/>
                  </a:cubicBezTo>
                  <a:cubicBezTo>
                    <a:pt x="31073" y="693691"/>
                    <a:pt x="45401" y="701680"/>
                    <a:pt x="54290" y="699641"/>
                  </a:cubicBezTo>
                  <a:cubicBezTo>
                    <a:pt x="75275" y="694861"/>
                    <a:pt x="54655" y="704253"/>
                    <a:pt x="54290" y="707395"/>
                  </a:cubicBezTo>
                  <a:cubicBezTo>
                    <a:pt x="53478" y="713478"/>
                    <a:pt x="63220" y="721567"/>
                    <a:pt x="66102" y="726513"/>
                  </a:cubicBezTo>
                  <a:cubicBezTo>
                    <a:pt x="73489" y="739114"/>
                    <a:pt x="87533" y="749910"/>
                    <a:pt x="87898" y="765619"/>
                  </a:cubicBezTo>
                  <a:cubicBezTo>
                    <a:pt x="88223" y="776849"/>
                    <a:pt x="90171" y="781662"/>
                    <a:pt x="103728" y="785105"/>
                  </a:cubicBezTo>
                  <a:cubicBezTo>
                    <a:pt x="122115" y="789784"/>
                    <a:pt x="120776" y="800847"/>
                    <a:pt x="128975" y="811476"/>
                  </a:cubicBezTo>
                  <a:cubicBezTo>
                    <a:pt x="134374" y="818495"/>
                    <a:pt x="147890" y="819130"/>
                    <a:pt x="154303" y="825715"/>
                  </a:cubicBezTo>
                  <a:cubicBezTo>
                    <a:pt x="161894" y="833435"/>
                    <a:pt x="166480" y="831062"/>
                    <a:pt x="181052" y="831731"/>
                  </a:cubicBezTo>
                  <a:cubicBezTo>
                    <a:pt x="188805" y="832065"/>
                    <a:pt x="213524" y="830594"/>
                    <a:pt x="217583" y="834037"/>
                  </a:cubicBezTo>
                  <a:cubicBezTo>
                    <a:pt x="224442" y="840053"/>
                    <a:pt x="239339" y="833268"/>
                    <a:pt x="244169" y="838048"/>
                  </a:cubicBezTo>
                  <a:cubicBezTo>
                    <a:pt x="249527" y="843362"/>
                    <a:pt x="246158" y="848075"/>
                    <a:pt x="258457" y="848075"/>
                  </a:cubicBezTo>
                  <a:cubicBezTo>
                    <a:pt x="271486" y="848342"/>
                    <a:pt x="292024" y="843964"/>
                    <a:pt x="301360" y="848810"/>
                  </a:cubicBezTo>
                  <a:cubicBezTo>
                    <a:pt x="310696" y="853657"/>
                    <a:pt x="304810" y="855829"/>
                    <a:pt x="320640" y="849813"/>
                  </a:cubicBezTo>
                  <a:cubicBezTo>
                    <a:pt x="336470" y="843797"/>
                    <a:pt x="354573" y="845401"/>
                    <a:pt x="369672" y="837179"/>
                  </a:cubicBezTo>
                  <a:cubicBezTo>
                    <a:pt x="395122" y="823308"/>
                    <a:pt x="412982" y="836778"/>
                    <a:pt x="428649" y="842059"/>
                  </a:cubicBezTo>
                  <a:cubicBezTo>
                    <a:pt x="437133" y="840822"/>
                    <a:pt x="463759" y="820634"/>
                    <a:pt x="471431" y="816022"/>
                  </a:cubicBezTo>
                  <a:cubicBezTo>
                    <a:pt x="488113" y="805995"/>
                    <a:pt x="489088" y="806396"/>
                    <a:pt x="508205" y="803187"/>
                  </a:cubicBezTo>
                  <a:cubicBezTo>
                    <a:pt x="528135" y="799845"/>
                    <a:pt x="549810" y="792191"/>
                    <a:pt x="569902" y="786977"/>
                  </a:cubicBezTo>
                  <a:cubicBezTo>
                    <a:pt x="580618" y="784169"/>
                    <a:pt x="597016" y="782063"/>
                    <a:pt x="607123" y="777117"/>
                  </a:cubicBezTo>
                  <a:cubicBezTo>
                    <a:pt x="624414" y="768694"/>
                    <a:pt x="641705" y="760338"/>
                    <a:pt x="658996" y="752049"/>
                  </a:cubicBezTo>
                  <a:cubicBezTo>
                    <a:pt x="672959" y="745364"/>
                    <a:pt x="682417" y="743292"/>
                    <a:pt x="686922" y="733365"/>
                  </a:cubicBezTo>
                  <a:cubicBezTo>
                    <a:pt x="690981" y="724775"/>
                    <a:pt x="717689" y="716119"/>
                    <a:pt x="729298" y="710804"/>
                  </a:cubicBezTo>
                  <a:cubicBezTo>
                    <a:pt x="738268" y="706626"/>
                    <a:pt x="795946" y="708565"/>
                    <a:pt x="799437" y="713980"/>
                  </a:cubicBezTo>
                  <a:cubicBezTo>
                    <a:pt x="805688" y="723338"/>
                    <a:pt x="831909" y="717857"/>
                    <a:pt x="847657" y="715216"/>
                  </a:cubicBezTo>
                  <a:cubicBezTo>
                    <a:pt x="860971" y="712977"/>
                    <a:pt x="854030" y="699006"/>
                    <a:pt x="862838" y="692154"/>
                  </a:cubicBezTo>
                  <a:cubicBezTo>
                    <a:pt x="873391" y="683965"/>
                    <a:pt x="901845" y="680556"/>
                    <a:pt x="913251" y="680924"/>
                  </a:cubicBezTo>
                  <a:cubicBezTo>
                    <a:pt x="931881" y="681525"/>
                    <a:pt x="941988" y="692254"/>
                    <a:pt x="961958" y="692990"/>
                  </a:cubicBezTo>
                  <a:cubicBezTo>
                    <a:pt x="975596" y="693491"/>
                    <a:pt x="979453" y="710370"/>
                    <a:pt x="994998" y="707027"/>
                  </a:cubicBezTo>
                  <a:cubicBezTo>
                    <a:pt x="1010544" y="703685"/>
                    <a:pt x="1034127" y="697401"/>
                    <a:pt x="1049104" y="696432"/>
                  </a:cubicBezTo>
                  <a:cubicBezTo>
                    <a:pt x="1046588" y="691251"/>
                    <a:pt x="1024426" y="688377"/>
                    <a:pt x="1026983" y="683063"/>
                  </a:cubicBezTo>
                  <a:cubicBezTo>
                    <a:pt x="1029540" y="677748"/>
                    <a:pt x="1035710" y="673036"/>
                    <a:pt x="1030068" y="668891"/>
                  </a:cubicBezTo>
                  <a:cubicBezTo>
                    <a:pt x="1023695" y="664111"/>
                    <a:pt x="1027917" y="662006"/>
                    <a:pt x="1035223" y="655221"/>
                  </a:cubicBezTo>
                  <a:cubicBezTo>
                    <a:pt x="1041880" y="649071"/>
                    <a:pt x="1038551" y="647534"/>
                    <a:pt x="1041352" y="642085"/>
                  </a:cubicBezTo>
                  <a:cubicBezTo>
                    <a:pt x="1044153" y="636637"/>
                    <a:pt x="1058521" y="634565"/>
                    <a:pt x="1064244" y="629919"/>
                  </a:cubicBezTo>
                  <a:cubicBezTo>
                    <a:pt x="1069387" y="625855"/>
                    <a:pt x="1073393" y="620918"/>
                    <a:pt x="1075975" y="615447"/>
                  </a:cubicBezTo>
                  <a:cubicBezTo>
                    <a:pt x="1077314" y="612305"/>
                    <a:pt x="1072281" y="608428"/>
                    <a:pt x="1077396" y="605821"/>
                  </a:cubicBezTo>
                  <a:cubicBezTo>
                    <a:pt x="1083159" y="602913"/>
                    <a:pt x="1092333" y="602478"/>
                    <a:pt x="1095499" y="597665"/>
                  </a:cubicBezTo>
                  <a:cubicBezTo>
                    <a:pt x="1099964" y="590713"/>
                    <a:pt x="1096473" y="589945"/>
                    <a:pt x="1109827" y="587638"/>
                  </a:cubicBezTo>
                  <a:cubicBezTo>
                    <a:pt x="1120746" y="585833"/>
                    <a:pt x="1112749" y="582190"/>
                    <a:pt x="1120786" y="580018"/>
                  </a:cubicBezTo>
                  <a:cubicBezTo>
                    <a:pt x="1130406" y="577444"/>
                    <a:pt x="1136291" y="582057"/>
                    <a:pt x="1146966" y="578313"/>
                  </a:cubicBezTo>
                  <a:cubicBezTo>
                    <a:pt x="1156667" y="574971"/>
                    <a:pt x="1151025" y="571294"/>
                    <a:pt x="1156302" y="568286"/>
                  </a:cubicBezTo>
                  <a:cubicBezTo>
                    <a:pt x="1164420" y="563674"/>
                    <a:pt x="1178139" y="570325"/>
                    <a:pt x="1187110" y="568520"/>
                  </a:cubicBezTo>
                  <a:cubicBezTo>
                    <a:pt x="1194623" y="566635"/>
                    <a:pt x="1201832" y="564008"/>
                    <a:pt x="1208582" y="560699"/>
                  </a:cubicBezTo>
                  <a:cubicBezTo>
                    <a:pt x="1215522" y="557357"/>
                    <a:pt x="1210084" y="552811"/>
                    <a:pt x="1212641" y="551574"/>
                  </a:cubicBezTo>
                  <a:cubicBezTo>
                    <a:pt x="1216700" y="549602"/>
                    <a:pt x="1232935" y="554014"/>
                    <a:pt x="1238009" y="553546"/>
                  </a:cubicBezTo>
                  <a:cubicBezTo>
                    <a:pt x="1257858" y="551775"/>
                    <a:pt x="1239105" y="547396"/>
                    <a:pt x="1232205" y="547129"/>
                  </a:cubicBezTo>
                  <a:cubicBezTo>
                    <a:pt x="1228958" y="547129"/>
                    <a:pt x="1218161" y="539442"/>
                    <a:pt x="1219500" y="537637"/>
                  </a:cubicBezTo>
                  <a:cubicBezTo>
                    <a:pt x="1226725" y="528077"/>
                    <a:pt x="1244219" y="524936"/>
                    <a:pt x="1256599" y="520022"/>
                  </a:cubicBezTo>
                  <a:cubicBezTo>
                    <a:pt x="1262931" y="517516"/>
                    <a:pt x="1263094" y="505684"/>
                    <a:pt x="1272470" y="511566"/>
                  </a:cubicBezTo>
                  <a:cubicBezTo>
                    <a:pt x="1280141" y="516379"/>
                    <a:pt x="1283876" y="512469"/>
                    <a:pt x="1294997" y="506185"/>
                  </a:cubicBezTo>
                  <a:cubicBezTo>
                    <a:pt x="1306119" y="499901"/>
                    <a:pt x="1317930" y="494086"/>
                    <a:pt x="1331772" y="494754"/>
                  </a:cubicBezTo>
                  <a:cubicBezTo>
                    <a:pt x="1343949" y="495389"/>
                    <a:pt x="1352432" y="506686"/>
                    <a:pt x="1364852" y="492882"/>
                  </a:cubicBezTo>
                  <a:cubicBezTo>
                    <a:pt x="1377273" y="479079"/>
                    <a:pt x="1383848" y="476973"/>
                    <a:pt x="1403250" y="481051"/>
                  </a:cubicBezTo>
                  <a:cubicBezTo>
                    <a:pt x="1415711" y="483658"/>
                    <a:pt x="1434667" y="483658"/>
                    <a:pt x="1433895" y="494186"/>
                  </a:cubicBezTo>
                  <a:cubicBezTo>
                    <a:pt x="1433327" y="501706"/>
                    <a:pt x="1439456" y="505750"/>
                    <a:pt x="1445504" y="510898"/>
                  </a:cubicBezTo>
                  <a:cubicBezTo>
                    <a:pt x="1449563" y="514441"/>
                    <a:pt x="1456666" y="513237"/>
                    <a:pt x="1462146" y="515310"/>
                  </a:cubicBezTo>
                  <a:cubicBezTo>
                    <a:pt x="1467625" y="517382"/>
                    <a:pt x="1467625" y="521995"/>
                    <a:pt x="1470629" y="525337"/>
                  </a:cubicBezTo>
                  <a:cubicBezTo>
                    <a:pt x="1473633" y="528679"/>
                    <a:pt x="1490924" y="527075"/>
                    <a:pt x="1497378" y="529983"/>
                  </a:cubicBezTo>
                  <a:cubicBezTo>
                    <a:pt x="1503832" y="532890"/>
                    <a:pt x="1506957" y="536667"/>
                    <a:pt x="1518525" y="533960"/>
                  </a:cubicBezTo>
                  <a:cubicBezTo>
                    <a:pt x="1530093" y="531253"/>
                    <a:pt x="1526643" y="519488"/>
                    <a:pt x="1527982" y="514240"/>
                  </a:cubicBezTo>
                  <a:cubicBezTo>
                    <a:pt x="1530702" y="504714"/>
                    <a:pt x="1525750" y="499266"/>
                    <a:pt x="1518444" y="492749"/>
                  </a:cubicBezTo>
                  <a:cubicBezTo>
                    <a:pt x="1512741" y="486853"/>
                    <a:pt x="1505407" y="482167"/>
                    <a:pt x="1497053" y="479079"/>
                  </a:cubicBezTo>
                  <a:cubicBezTo>
                    <a:pt x="1488123" y="476405"/>
                    <a:pt x="1484876" y="468784"/>
                    <a:pt x="1475947" y="465208"/>
                  </a:cubicBezTo>
                  <a:cubicBezTo>
                    <a:pt x="1452161" y="455749"/>
                    <a:pt x="1444124" y="439171"/>
                    <a:pt x="1453216" y="418883"/>
                  </a:cubicBezTo>
                  <a:cubicBezTo>
                    <a:pt x="1456455" y="411155"/>
                    <a:pt x="1461050" y="403859"/>
                    <a:pt x="1466854" y="397224"/>
                  </a:cubicBezTo>
                  <a:cubicBezTo>
                    <a:pt x="1475662" y="387732"/>
                    <a:pt x="1485526" y="387197"/>
                    <a:pt x="1489382" y="376769"/>
                  </a:cubicBezTo>
                  <a:cubicBezTo>
                    <a:pt x="1492966" y="367828"/>
                    <a:pt x="1501469" y="360802"/>
                    <a:pt x="1512315" y="357818"/>
                  </a:cubicBezTo>
                  <a:cubicBezTo>
                    <a:pt x="1525506" y="353640"/>
                    <a:pt x="1523396" y="343278"/>
                    <a:pt x="1533827" y="336059"/>
                  </a:cubicBezTo>
                  <a:cubicBezTo>
                    <a:pt x="1540119" y="331681"/>
                    <a:pt x="1563458" y="324127"/>
                    <a:pt x="1552620" y="319581"/>
                  </a:cubicBezTo>
                  <a:cubicBezTo>
                    <a:pt x="1549252" y="318177"/>
                    <a:pt x="1543447" y="317375"/>
                    <a:pt x="1542676" y="314334"/>
                  </a:cubicBezTo>
                  <a:cubicBezTo>
                    <a:pt x="1542270" y="312696"/>
                    <a:pt x="1545233" y="307248"/>
                    <a:pt x="1549901" y="308986"/>
                  </a:cubicBezTo>
                  <a:cubicBezTo>
                    <a:pt x="1559602" y="312663"/>
                    <a:pt x="1572307" y="302101"/>
                    <a:pt x="1576934" y="297020"/>
                  </a:cubicBezTo>
                  <a:cubicBezTo>
                    <a:pt x="1589395" y="283250"/>
                    <a:pt x="1562606" y="297589"/>
                    <a:pt x="1558100" y="292976"/>
                  </a:cubicBezTo>
                  <a:cubicBezTo>
                    <a:pt x="1554650" y="289366"/>
                    <a:pt x="1571901" y="283818"/>
                    <a:pt x="1557004" y="281010"/>
                  </a:cubicBezTo>
                  <a:cubicBezTo>
                    <a:pt x="1546207" y="278938"/>
                    <a:pt x="1530215" y="286893"/>
                    <a:pt x="1541377" y="273958"/>
                  </a:cubicBezTo>
                  <a:cubicBezTo>
                    <a:pt x="1547587" y="266772"/>
                    <a:pt x="1521610" y="267039"/>
                    <a:pt x="1515765" y="266839"/>
                  </a:cubicBezTo>
                  <a:cubicBezTo>
                    <a:pt x="1504278" y="266471"/>
                    <a:pt x="1526968" y="257514"/>
                    <a:pt x="1526643" y="253937"/>
                  </a:cubicBezTo>
                  <a:cubicBezTo>
                    <a:pt x="1526156" y="248823"/>
                    <a:pt x="1511138" y="234485"/>
                    <a:pt x="1526156" y="229571"/>
                  </a:cubicBezTo>
                  <a:cubicBezTo>
                    <a:pt x="1533503" y="227198"/>
                    <a:pt x="1527049" y="237693"/>
                    <a:pt x="1526805" y="239197"/>
                  </a:cubicBezTo>
                  <a:cubicBezTo>
                    <a:pt x="1525547" y="247921"/>
                    <a:pt x="1538049" y="247520"/>
                    <a:pt x="1544989" y="252366"/>
                  </a:cubicBezTo>
                  <a:cubicBezTo>
                    <a:pt x="1550916" y="256544"/>
                    <a:pt x="1551768" y="279941"/>
                    <a:pt x="1560292" y="261057"/>
                  </a:cubicBezTo>
                  <a:cubicBezTo>
                    <a:pt x="1566056" y="248289"/>
                    <a:pt x="1568410" y="238462"/>
                    <a:pt x="1553879" y="233148"/>
                  </a:cubicBezTo>
                  <a:cubicBezTo>
                    <a:pt x="1552499" y="232646"/>
                    <a:pt x="1546248" y="227232"/>
                    <a:pt x="1551606" y="226062"/>
                  </a:cubicBezTo>
                  <a:cubicBezTo>
                    <a:pt x="1560373" y="224090"/>
                    <a:pt x="1563377" y="231711"/>
                    <a:pt x="1571901" y="223689"/>
                  </a:cubicBezTo>
                  <a:cubicBezTo>
                    <a:pt x="1577681" y="218147"/>
                    <a:pt x="1582182" y="211780"/>
                    <a:pt x="1585173" y="204905"/>
                  </a:cubicBezTo>
                  <a:cubicBezTo>
                    <a:pt x="1586387" y="202468"/>
                    <a:pt x="1586980" y="199851"/>
                    <a:pt x="1586919" y="197217"/>
                  </a:cubicBezTo>
                  <a:cubicBezTo>
                    <a:pt x="1586554" y="194276"/>
                    <a:pt x="1580140" y="194878"/>
                    <a:pt x="1579856" y="192939"/>
                  </a:cubicBezTo>
                  <a:cubicBezTo>
                    <a:pt x="1579410" y="189597"/>
                    <a:pt x="1624099" y="173219"/>
                    <a:pt x="1630796" y="169543"/>
                  </a:cubicBezTo>
                  <a:cubicBezTo>
                    <a:pt x="1642973" y="162858"/>
                    <a:pt x="1638914" y="160418"/>
                    <a:pt x="1626169" y="165398"/>
                  </a:cubicBezTo>
                  <a:cubicBezTo>
                    <a:pt x="1618985" y="168172"/>
                    <a:pt x="1601044" y="178400"/>
                    <a:pt x="1593251" y="178066"/>
                  </a:cubicBezTo>
                  <a:cubicBezTo>
                    <a:pt x="1586269" y="177732"/>
                    <a:pt x="1624099" y="159382"/>
                    <a:pt x="1626859" y="158312"/>
                  </a:cubicBezTo>
                  <a:cubicBezTo>
                    <a:pt x="1632379" y="156106"/>
                    <a:pt x="1641756" y="153934"/>
                    <a:pt x="1644678" y="150023"/>
                  </a:cubicBezTo>
                  <a:cubicBezTo>
                    <a:pt x="1645368" y="149121"/>
                    <a:pt x="1645855" y="142570"/>
                    <a:pt x="1646992" y="142570"/>
                  </a:cubicBezTo>
                  <a:cubicBezTo>
                    <a:pt x="1656084" y="142570"/>
                    <a:pt x="1659453" y="145177"/>
                    <a:pt x="1669478" y="140030"/>
                  </a:cubicBezTo>
                  <a:cubicBezTo>
                    <a:pt x="1679504" y="134883"/>
                    <a:pt x="1680762" y="129668"/>
                    <a:pt x="1671832" y="126961"/>
                  </a:cubicBezTo>
                  <a:cubicBezTo>
                    <a:pt x="1669357" y="126192"/>
                    <a:pt x="1657098" y="127295"/>
                    <a:pt x="1658194" y="125123"/>
                  </a:cubicBezTo>
                  <a:cubicBezTo>
                    <a:pt x="1660711" y="120243"/>
                    <a:pt x="1662903" y="119775"/>
                    <a:pt x="1660833" y="115530"/>
                  </a:cubicBezTo>
                  <a:cubicBezTo>
                    <a:pt x="1659087" y="111921"/>
                    <a:pt x="1661117" y="106840"/>
                    <a:pt x="1663674" y="102729"/>
                  </a:cubicBezTo>
                  <a:cubicBezTo>
                    <a:pt x="1667490" y="96746"/>
                    <a:pt x="1678246" y="93638"/>
                    <a:pt x="1681615" y="88390"/>
                  </a:cubicBezTo>
                  <a:cubicBezTo>
                    <a:pt x="1684984" y="83143"/>
                    <a:pt x="1688921" y="84045"/>
                    <a:pt x="1694563" y="80201"/>
                  </a:cubicBezTo>
                  <a:cubicBezTo>
                    <a:pt x="1702031" y="75121"/>
                    <a:pt x="1700245" y="66063"/>
                    <a:pt x="1709906" y="61986"/>
                  </a:cubicBezTo>
                  <a:cubicBezTo>
                    <a:pt x="1717537" y="58643"/>
                    <a:pt x="1727035" y="61183"/>
                    <a:pt x="1735112" y="59111"/>
                  </a:cubicBezTo>
                  <a:cubicBezTo>
                    <a:pt x="1746802" y="56170"/>
                    <a:pt x="1756543" y="43703"/>
                    <a:pt x="1764337" y="38088"/>
                  </a:cubicBezTo>
                  <a:cubicBezTo>
                    <a:pt x="1735924" y="29230"/>
                    <a:pt x="1729957" y="17365"/>
                    <a:pt x="1719120" y="854"/>
                  </a:cubicBezTo>
                  <a:cubicBezTo>
                    <a:pt x="1715629" y="-3358"/>
                    <a:pt x="1721311" y="5266"/>
                    <a:pt x="1718592" y="1121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2E052D12-BC62-4565-BFE3-18AB960B502A}"/>
                </a:ext>
              </a:extLst>
            </p:cNvPr>
            <p:cNvSpPr/>
            <p:nvPr/>
          </p:nvSpPr>
          <p:spPr>
            <a:xfrm>
              <a:off x="787854" y="5691594"/>
              <a:ext cx="32658" cy="27710"/>
            </a:xfrm>
            <a:custGeom>
              <a:avLst/>
              <a:gdLst>
                <a:gd name="connsiteX0" fmla="*/ 28830 w 33518"/>
                <a:gd name="connsiteY0" fmla="*/ 1025 h 37941"/>
                <a:gd name="connsiteX1" fmla="*/ 417 w 33518"/>
                <a:gd name="connsiteY1" fmla="*/ 37557 h 37941"/>
                <a:gd name="connsiteX2" fmla="*/ 28830 w 33518"/>
                <a:gd name="connsiteY2" fmla="*/ 1025 h 3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18" h="37941">
                  <a:moveTo>
                    <a:pt x="28830" y="1025"/>
                  </a:moveTo>
                  <a:cubicBezTo>
                    <a:pt x="19291" y="5905"/>
                    <a:pt x="-3642" y="31775"/>
                    <a:pt x="417" y="37557"/>
                  </a:cubicBezTo>
                  <a:cubicBezTo>
                    <a:pt x="1756" y="39295"/>
                    <a:pt x="47948" y="-8969"/>
                    <a:pt x="28830" y="102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1402D2E0-8710-4FAF-A003-CF358F3F11F3}"/>
                </a:ext>
              </a:extLst>
            </p:cNvPr>
            <p:cNvSpPr/>
            <p:nvPr/>
          </p:nvSpPr>
          <p:spPr>
            <a:xfrm>
              <a:off x="786104" y="5688294"/>
              <a:ext cx="39982" cy="32124"/>
            </a:xfrm>
            <a:custGeom>
              <a:avLst/>
              <a:gdLst>
                <a:gd name="connsiteX0" fmla="*/ 5257 w 41035"/>
                <a:gd name="connsiteY0" fmla="*/ 41808 h 43985"/>
                <a:gd name="connsiteX1" fmla="*/ 5257 w 41035"/>
                <a:gd name="connsiteY1" fmla="*/ 41808 h 43985"/>
                <a:gd name="connsiteX2" fmla="*/ 1969 w 41035"/>
                <a:gd name="connsiteY2" fmla="*/ 43647 h 43985"/>
                <a:gd name="connsiteX3" fmla="*/ 1117 w 41035"/>
                <a:gd name="connsiteY3" fmla="*/ 43647 h 43985"/>
                <a:gd name="connsiteX4" fmla="*/ 630 w 41035"/>
                <a:gd name="connsiteY4" fmla="*/ 43179 h 43985"/>
                <a:gd name="connsiteX5" fmla="*/ 24172 w 41035"/>
                <a:gd name="connsiteY5" fmla="*/ 8452 h 43985"/>
                <a:gd name="connsiteX6" fmla="*/ 24415 w 41035"/>
                <a:gd name="connsiteY6" fmla="*/ 7917 h 43985"/>
                <a:gd name="connsiteX7" fmla="*/ 25958 w 41035"/>
                <a:gd name="connsiteY7" fmla="*/ 6513 h 43985"/>
                <a:gd name="connsiteX8" fmla="*/ 25958 w 41035"/>
                <a:gd name="connsiteY8" fmla="*/ 6513 h 43985"/>
                <a:gd name="connsiteX9" fmla="*/ 26404 w 41035"/>
                <a:gd name="connsiteY9" fmla="*/ 6280 h 43985"/>
                <a:gd name="connsiteX10" fmla="*/ 34522 w 41035"/>
                <a:gd name="connsiteY10" fmla="*/ 2001 h 43985"/>
                <a:gd name="connsiteX11" fmla="*/ 34522 w 41035"/>
                <a:gd name="connsiteY11" fmla="*/ 2001 h 43985"/>
                <a:gd name="connsiteX12" fmla="*/ 34969 w 41035"/>
                <a:gd name="connsiteY12" fmla="*/ 1800 h 43985"/>
                <a:gd name="connsiteX13" fmla="*/ 40976 w 41035"/>
                <a:gd name="connsiteY13" fmla="*/ -339 h 43985"/>
                <a:gd name="connsiteX14" fmla="*/ 36917 w 41035"/>
                <a:gd name="connsiteY14" fmla="*/ 3004 h 43985"/>
                <a:gd name="connsiteX15" fmla="*/ 36917 w 41035"/>
                <a:gd name="connsiteY15" fmla="*/ 3004 h 43985"/>
                <a:gd name="connsiteX16" fmla="*/ 5257 w 41035"/>
                <a:gd name="connsiteY16" fmla="*/ 41808 h 43985"/>
                <a:gd name="connsiteX17" fmla="*/ 26891 w 41035"/>
                <a:gd name="connsiteY17" fmla="*/ 9488 h 43985"/>
                <a:gd name="connsiteX18" fmla="*/ 3796 w 41035"/>
                <a:gd name="connsiteY18" fmla="*/ 39870 h 43985"/>
                <a:gd name="connsiteX19" fmla="*/ 33386 w 41035"/>
                <a:gd name="connsiteY19" fmla="*/ 5711 h 43985"/>
                <a:gd name="connsiteX20" fmla="*/ 33386 w 41035"/>
                <a:gd name="connsiteY20" fmla="*/ 5711 h 43985"/>
                <a:gd name="connsiteX21" fmla="*/ 30910 w 41035"/>
                <a:gd name="connsiteY21" fmla="*/ 6747 h 43985"/>
                <a:gd name="connsiteX22" fmla="*/ 26891 w 41035"/>
                <a:gd name="connsiteY22" fmla="*/ 9488 h 4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035" h="43985">
                  <a:moveTo>
                    <a:pt x="5257" y="41808"/>
                  </a:moveTo>
                  <a:lnTo>
                    <a:pt x="5257" y="41808"/>
                  </a:lnTo>
                  <a:cubicBezTo>
                    <a:pt x="4364" y="42644"/>
                    <a:pt x="3232" y="43279"/>
                    <a:pt x="1969" y="43647"/>
                  </a:cubicBezTo>
                  <a:lnTo>
                    <a:pt x="1117" y="43647"/>
                  </a:lnTo>
                  <a:lnTo>
                    <a:pt x="630" y="43179"/>
                  </a:lnTo>
                  <a:cubicBezTo>
                    <a:pt x="-3673" y="37597"/>
                    <a:pt x="13132" y="17510"/>
                    <a:pt x="24172" y="8452"/>
                  </a:cubicBezTo>
                  <a:lnTo>
                    <a:pt x="24415" y="7917"/>
                  </a:lnTo>
                  <a:cubicBezTo>
                    <a:pt x="24793" y="7349"/>
                    <a:pt x="25321" y="6881"/>
                    <a:pt x="25958" y="6513"/>
                  </a:cubicBezTo>
                  <a:lnTo>
                    <a:pt x="25958" y="6513"/>
                  </a:lnTo>
                  <a:lnTo>
                    <a:pt x="26404" y="6280"/>
                  </a:lnTo>
                  <a:cubicBezTo>
                    <a:pt x="28986" y="4708"/>
                    <a:pt x="31697" y="3271"/>
                    <a:pt x="34522" y="2001"/>
                  </a:cubicBezTo>
                  <a:lnTo>
                    <a:pt x="34522" y="2001"/>
                  </a:lnTo>
                  <a:lnTo>
                    <a:pt x="34969" y="1800"/>
                  </a:lnTo>
                  <a:lnTo>
                    <a:pt x="40976" y="-339"/>
                  </a:lnTo>
                  <a:lnTo>
                    <a:pt x="36917" y="3004"/>
                  </a:lnTo>
                  <a:lnTo>
                    <a:pt x="36917" y="3004"/>
                  </a:lnTo>
                  <a:cubicBezTo>
                    <a:pt x="39718" y="7750"/>
                    <a:pt x="11670" y="36595"/>
                    <a:pt x="5257" y="41808"/>
                  </a:cubicBezTo>
                  <a:close/>
                  <a:moveTo>
                    <a:pt x="26891" y="9488"/>
                  </a:moveTo>
                  <a:cubicBezTo>
                    <a:pt x="16866" y="17409"/>
                    <a:pt x="2862" y="34355"/>
                    <a:pt x="3796" y="39870"/>
                  </a:cubicBezTo>
                  <a:cubicBezTo>
                    <a:pt x="12726" y="32417"/>
                    <a:pt x="34563" y="7917"/>
                    <a:pt x="33386" y="5711"/>
                  </a:cubicBezTo>
                  <a:lnTo>
                    <a:pt x="33386" y="5711"/>
                  </a:lnTo>
                  <a:cubicBezTo>
                    <a:pt x="32513" y="5978"/>
                    <a:pt x="31681" y="6313"/>
                    <a:pt x="30910" y="6747"/>
                  </a:cubicBezTo>
                  <a:cubicBezTo>
                    <a:pt x="29469" y="7549"/>
                    <a:pt x="28125" y="8485"/>
                    <a:pt x="26891" y="948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2D3ADA09-D3D4-4F9F-8877-795129CFA6E4}"/>
                </a:ext>
              </a:extLst>
            </p:cNvPr>
            <p:cNvSpPr/>
            <p:nvPr/>
          </p:nvSpPr>
          <p:spPr>
            <a:xfrm>
              <a:off x="744520" y="5752550"/>
              <a:ext cx="13854" cy="16485"/>
            </a:xfrm>
            <a:custGeom>
              <a:avLst/>
              <a:gdLst>
                <a:gd name="connsiteX0" fmla="*/ 5316 w 14219"/>
                <a:gd name="connsiteY0" fmla="*/ 19907 h 22572"/>
                <a:gd name="connsiteX1" fmla="*/ 7873 w 14219"/>
                <a:gd name="connsiteY1" fmla="*/ -147 h 22572"/>
                <a:gd name="connsiteX2" fmla="*/ 5316 w 14219"/>
                <a:gd name="connsiteY2" fmla="*/ 19907 h 22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9" h="22572">
                  <a:moveTo>
                    <a:pt x="5316" y="19907"/>
                  </a:moveTo>
                  <a:cubicBezTo>
                    <a:pt x="15626" y="6136"/>
                    <a:pt x="17493" y="-1685"/>
                    <a:pt x="7873" y="-147"/>
                  </a:cubicBezTo>
                  <a:cubicBezTo>
                    <a:pt x="-1747" y="1390"/>
                    <a:pt x="-2639" y="30536"/>
                    <a:pt x="5316" y="19907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4D5E28AF-1E12-4F11-B588-11A04ED1B4C9}"/>
                </a:ext>
              </a:extLst>
            </p:cNvPr>
            <p:cNvSpPr/>
            <p:nvPr/>
          </p:nvSpPr>
          <p:spPr>
            <a:xfrm>
              <a:off x="742685" y="5752885"/>
              <a:ext cx="7943" cy="17283"/>
            </a:xfrm>
            <a:custGeom>
              <a:avLst/>
              <a:gdLst>
                <a:gd name="connsiteX0" fmla="*/ 6673 w 8152"/>
                <a:gd name="connsiteY0" fmla="*/ 21855 h 23664"/>
                <a:gd name="connsiteX1" fmla="*/ 1640 w 8152"/>
                <a:gd name="connsiteY1" fmla="*/ 22790 h 23664"/>
                <a:gd name="connsiteX2" fmla="*/ 259 w 8152"/>
                <a:gd name="connsiteY2" fmla="*/ 12329 h 23664"/>
                <a:gd name="connsiteX3" fmla="*/ 6186 w 8152"/>
                <a:gd name="connsiteY3" fmla="*/ -339 h 23664"/>
                <a:gd name="connsiteX4" fmla="*/ 8093 w 8152"/>
                <a:gd name="connsiteY4" fmla="*/ 1232 h 23664"/>
                <a:gd name="connsiteX5" fmla="*/ 4034 w 8152"/>
                <a:gd name="connsiteY5" fmla="*/ 11058 h 23664"/>
                <a:gd name="connsiteX6" fmla="*/ 4968 w 8152"/>
                <a:gd name="connsiteY6" fmla="*/ 20083 h 23664"/>
                <a:gd name="connsiteX7" fmla="*/ 4724 w 8152"/>
                <a:gd name="connsiteY7" fmla="*/ 20317 h 23664"/>
                <a:gd name="connsiteX8" fmla="*/ 6673 w 8152"/>
                <a:gd name="connsiteY8" fmla="*/ 21855 h 2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52" h="23664">
                  <a:moveTo>
                    <a:pt x="6673" y="21855"/>
                  </a:moveTo>
                  <a:cubicBezTo>
                    <a:pt x="4806" y="23392"/>
                    <a:pt x="2817" y="23760"/>
                    <a:pt x="1640" y="22790"/>
                  </a:cubicBezTo>
                  <a:cubicBezTo>
                    <a:pt x="-268" y="21186"/>
                    <a:pt x="-309" y="16105"/>
                    <a:pt x="259" y="12329"/>
                  </a:cubicBezTo>
                  <a:cubicBezTo>
                    <a:pt x="609" y="7716"/>
                    <a:pt x="2679" y="3271"/>
                    <a:pt x="6186" y="-339"/>
                  </a:cubicBezTo>
                  <a:lnTo>
                    <a:pt x="8093" y="1232"/>
                  </a:lnTo>
                  <a:cubicBezTo>
                    <a:pt x="5646" y="4140"/>
                    <a:pt x="4237" y="7549"/>
                    <a:pt x="4034" y="11058"/>
                  </a:cubicBezTo>
                  <a:cubicBezTo>
                    <a:pt x="3194" y="14067"/>
                    <a:pt x="3519" y="17242"/>
                    <a:pt x="4968" y="20083"/>
                  </a:cubicBezTo>
                  <a:cubicBezTo>
                    <a:pt x="4968" y="20083"/>
                    <a:pt x="4968" y="20083"/>
                    <a:pt x="4724" y="20317"/>
                  </a:cubicBezTo>
                  <a:cubicBezTo>
                    <a:pt x="5496" y="20852"/>
                    <a:pt x="5983" y="21353"/>
                    <a:pt x="6673" y="21855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A57E2E6B-7BE1-4D4C-A679-DC215EA8C1D1}"/>
                </a:ext>
              </a:extLst>
            </p:cNvPr>
            <p:cNvSpPr/>
            <p:nvPr/>
          </p:nvSpPr>
          <p:spPr>
            <a:xfrm>
              <a:off x="612539" y="5655721"/>
              <a:ext cx="47955" cy="27778"/>
            </a:xfrm>
            <a:custGeom>
              <a:avLst/>
              <a:gdLst>
                <a:gd name="connsiteX0" fmla="*/ 20508 w 49218"/>
                <a:gd name="connsiteY0" fmla="*/ 14748 h 38034"/>
                <a:gd name="connsiteX1" fmla="*/ 213 w 49218"/>
                <a:gd name="connsiteY1" fmla="*/ 33499 h 38034"/>
                <a:gd name="connsiteX2" fmla="*/ 29275 w 49218"/>
                <a:gd name="connsiteY2" fmla="*/ 25276 h 38034"/>
                <a:gd name="connsiteX3" fmla="*/ 44496 w 49218"/>
                <a:gd name="connsiteY3" fmla="*/ -259 h 38034"/>
                <a:gd name="connsiteX4" fmla="*/ 20386 w 49218"/>
                <a:gd name="connsiteY4" fmla="*/ 14748 h 38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18" h="38034">
                  <a:moveTo>
                    <a:pt x="20508" y="14748"/>
                  </a:moveTo>
                  <a:cubicBezTo>
                    <a:pt x="14094" y="11406"/>
                    <a:pt x="1430" y="29354"/>
                    <a:pt x="213" y="33499"/>
                  </a:cubicBezTo>
                  <a:cubicBezTo>
                    <a:pt x="-2994" y="45096"/>
                    <a:pt x="23065" y="29421"/>
                    <a:pt x="29275" y="25276"/>
                  </a:cubicBezTo>
                  <a:cubicBezTo>
                    <a:pt x="38408" y="19127"/>
                    <a:pt x="58134" y="1579"/>
                    <a:pt x="44496" y="-259"/>
                  </a:cubicBezTo>
                  <a:cubicBezTo>
                    <a:pt x="33618" y="-1730"/>
                    <a:pt x="25987" y="17723"/>
                    <a:pt x="20386" y="1474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245A4997-D0AF-493A-B7DE-99B23552C33A}"/>
                </a:ext>
              </a:extLst>
            </p:cNvPr>
            <p:cNvSpPr/>
            <p:nvPr/>
          </p:nvSpPr>
          <p:spPr>
            <a:xfrm>
              <a:off x="610762" y="5654741"/>
              <a:ext cx="51635" cy="29941"/>
            </a:xfrm>
            <a:custGeom>
              <a:avLst/>
              <a:gdLst>
                <a:gd name="connsiteX0" fmla="*/ 37755 w 52995"/>
                <a:gd name="connsiteY0" fmla="*/ 23276 h 40996"/>
                <a:gd name="connsiteX1" fmla="*/ 31870 w 52995"/>
                <a:gd name="connsiteY1" fmla="*/ 27655 h 40996"/>
                <a:gd name="connsiteX2" fmla="*/ 2524 w 52995"/>
                <a:gd name="connsiteY2" fmla="*/ 40556 h 40996"/>
                <a:gd name="connsiteX3" fmla="*/ 251 w 52995"/>
                <a:gd name="connsiteY3" fmla="*/ 35409 h 40996"/>
                <a:gd name="connsiteX4" fmla="*/ 13483 w 52995"/>
                <a:gd name="connsiteY4" fmla="*/ 17795 h 40996"/>
                <a:gd name="connsiteX5" fmla="*/ 19490 w 52995"/>
                <a:gd name="connsiteY5" fmla="*/ 14452 h 40996"/>
                <a:gd name="connsiteX6" fmla="*/ 19490 w 52995"/>
                <a:gd name="connsiteY6" fmla="*/ 14452 h 40996"/>
                <a:gd name="connsiteX7" fmla="*/ 21966 w 52995"/>
                <a:gd name="connsiteY7" fmla="*/ 13817 h 40996"/>
                <a:gd name="connsiteX8" fmla="*/ 21966 w 52995"/>
                <a:gd name="connsiteY8" fmla="*/ 13817 h 40996"/>
                <a:gd name="connsiteX9" fmla="*/ 22981 w 52995"/>
                <a:gd name="connsiteY9" fmla="*/ 14352 h 40996"/>
                <a:gd name="connsiteX10" fmla="*/ 23914 w 52995"/>
                <a:gd name="connsiteY10" fmla="*/ 14820 h 40996"/>
                <a:gd name="connsiteX11" fmla="*/ 25781 w 52995"/>
                <a:gd name="connsiteY11" fmla="*/ 14252 h 40996"/>
                <a:gd name="connsiteX12" fmla="*/ 29840 w 52995"/>
                <a:gd name="connsiteY12" fmla="*/ 10141 h 40996"/>
                <a:gd name="connsiteX13" fmla="*/ 36254 w 52995"/>
                <a:gd name="connsiteY13" fmla="*/ 3757 h 40996"/>
                <a:gd name="connsiteX14" fmla="*/ 47538 w 52995"/>
                <a:gd name="connsiteY14" fmla="*/ -321 h 40996"/>
                <a:gd name="connsiteX15" fmla="*/ 52895 w 52995"/>
                <a:gd name="connsiteY15" fmla="*/ 4826 h 40996"/>
                <a:gd name="connsiteX16" fmla="*/ 37755 w 52995"/>
                <a:gd name="connsiteY16" fmla="*/ 23276 h 40996"/>
                <a:gd name="connsiteX17" fmla="*/ 15390 w 52995"/>
                <a:gd name="connsiteY17" fmla="*/ 19366 h 40996"/>
                <a:gd name="connsiteX18" fmla="*/ 4025 w 52995"/>
                <a:gd name="connsiteY18" fmla="*/ 34373 h 40996"/>
                <a:gd name="connsiteX19" fmla="*/ 5081 w 52995"/>
                <a:gd name="connsiteY19" fmla="*/ 37414 h 40996"/>
                <a:gd name="connsiteX20" fmla="*/ 30571 w 52995"/>
                <a:gd name="connsiteY20" fmla="*/ 25649 h 40996"/>
                <a:gd name="connsiteX21" fmla="*/ 49161 w 52995"/>
                <a:gd name="connsiteY21" fmla="*/ 6097 h 40996"/>
                <a:gd name="connsiteX22" fmla="*/ 45102 w 52995"/>
                <a:gd name="connsiteY22" fmla="*/ 2754 h 40996"/>
                <a:gd name="connsiteX23" fmla="*/ 38121 w 52995"/>
                <a:gd name="connsiteY23" fmla="*/ 5294 h 40996"/>
                <a:gd name="connsiteX24" fmla="*/ 32519 w 52995"/>
                <a:gd name="connsiteY24" fmla="*/ 10876 h 40996"/>
                <a:gd name="connsiteX25" fmla="*/ 25822 w 52995"/>
                <a:gd name="connsiteY25" fmla="*/ 17026 h 40996"/>
                <a:gd name="connsiteX26" fmla="*/ 25335 w 52995"/>
                <a:gd name="connsiteY26" fmla="*/ 17627 h 40996"/>
                <a:gd name="connsiteX27" fmla="*/ 24686 w 52995"/>
                <a:gd name="connsiteY27" fmla="*/ 18296 h 40996"/>
                <a:gd name="connsiteX28" fmla="*/ 23833 w 52995"/>
                <a:gd name="connsiteY28" fmla="*/ 18597 h 40996"/>
                <a:gd name="connsiteX29" fmla="*/ 22453 w 52995"/>
                <a:gd name="connsiteY29" fmla="*/ 18597 h 40996"/>
                <a:gd name="connsiteX30" fmla="*/ 22453 w 52995"/>
                <a:gd name="connsiteY30" fmla="*/ 18597 h 40996"/>
                <a:gd name="connsiteX31" fmla="*/ 21641 w 52995"/>
                <a:gd name="connsiteY31" fmla="*/ 18162 h 40996"/>
                <a:gd name="connsiteX32" fmla="*/ 20627 w 52995"/>
                <a:gd name="connsiteY32" fmla="*/ 17661 h 40996"/>
                <a:gd name="connsiteX33" fmla="*/ 20627 w 52995"/>
                <a:gd name="connsiteY33" fmla="*/ 17661 h 40996"/>
                <a:gd name="connsiteX34" fmla="*/ 15390 w 52995"/>
                <a:gd name="connsiteY34" fmla="*/ 19432 h 40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995" h="40996">
                  <a:moveTo>
                    <a:pt x="37755" y="23276"/>
                  </a:moveTo>
                  <a:cubicBezTo>
                    <a:pt x="35726" y="24947"/>
                    <a:pt x="33696" y="26451"/>
                    <a:pt x="31870" y="27655"/>
                  </a:cubicBezTo>
                  <a:cubicBezTo>
                    <a:pt x="31870" y="27655"/>
                    <a:pt x="10195" y="41993"/>
                    <a:pt x="2524" y="40556"/>
                  </a:cubicBezTo>
                  <a:cubicBezTo>
                    <a:pt x="900" y="40255"/>
                    <a:pt x="-764" y="39119"/>
                    <a:pt x="251" y="35409"/>
                  </a:cubicBezTo>
                  <a:cubicBezTo>
                    <a:pt x="3157" y="28858"/>
                    <a:pt x="7662" y="22875"/>
                    <a:pt x="13483" y="17795"/>
                  </a:cubicBezTo>
                  <a:cubicBezTo>
                    <a:pt x="15175" y="16357"/>
                    <a:pt x="17221" y="15188"/>
                    <a:pt x="19490" y="14452"/>
                  </a:cubicBezTo>
                  <a:lnTo>
                    <a:pt x="19490" y="14452"/>
                  </a:lnTo>
                  <a:cubicBezTo>
                    <a:pt x="20505" y="13617"/>
                    <a:pt x="20911" y="13416"/>
                    <a:pt x="21966" y="13817"/>
                  </a:cubicBezTo>
                  <a:lnTo>
                    <a:pt x="21966" y="13817"/>
                  </a:lnTo>
                  <a:lnTo>
                    <a:pt x="22981" y="14352"/>
                  </a:lnTo>
                  <a:lnTo>
                    <a:pt x="23914" y="14820"/>
                  </a:lnTo>
                  <a:cubicBezTo>
                    <a:pt x="24483" y="15087"/>
                    <a:pt x="24807" y="15021"/>
                    <a:pt x="25781" y="14252"/>
                  </a:cubicBezTo>
                  <a:cubicBezTo>
                    <a:pt x="27222" y="12949"/>
                    <a:pt x="28578" y="11578"/>
                    <a:pt x="29840" y="10141"/>
                  </a:cubicBezTo>
                  <a:cubicBezTo>
                    <a:pt x="31768" y="7868"/>
                    <a:pt x="33912" y="5729"/>
                    <a:pt x="36254" y="3757"/>
                  </a:cubicBezTo>
                  <a:cubicBezTo>
                    <a:pt x="39006" y="983"/>
                    <a:pt x="43199" y="-521"/>
                    <a:pt x="47538" y="-321"/>
                  </a:cubicBezTo>
                  <a:cubicBezTo>
                    <a:pt x="51597" y="214"/>
                    <a:pt x="53220" y="1952"/>
                    <a:pt x="52895" y="4826"/>
                  </a:cubicBezTo>
                  <a:cubicBezTo>
                    <a:pt x="52287" y="11077"/>
                    <a:pt x="41165" y="20502"/>
                    <a:pt x="37755" y="23276"/>
                  </a:cubicBezTo>
                  <a:close/>
                  <a:moveTo>
                    <a:pt x="15390" y="19366"/>
                  </a:moveTo>
                  <a:cubicBezTo>
                    <a:pt x="10471" y="23711"/>
                    <a:pt x="6615" y="28825"/>
                    <a:pt x="4025" y="34373"/>
                  </a:cubicBezTo>
                  <a:cubicBezTo>
                    <a:pt x="3295" y="37080"/>
                    <a:pt x="4634" y="37347"/>
                    <a:pt x="5081" y="37414"/>
                  </a:cubicBezTo>
                  <a:cubicBezTo>
                    <a:pt x="9464" y="38250"/>
                    <a:pt x="24077" y="30028"/>
                    <a:pt x="30571" y="25649"/>
                  </a:cubicBezTo>
                  <a:cubicBezTo>
                    <a:pt x="37065" y="21271"/>
                    <a:pt x="48552" y="11244"/>
                    <a:pt x="49161" y="6097"/>
                  </a:cubicBezTo>
                  <a:cubicBezTo>
                    <a:pt x="49161" y="4191"/>
                    <a:pt x="48106" y="3088"/>
                    <a:pt x="45102" y="2754"/>
                  </a:cubicBezTo>
                  <a:cubicBezTo>
                    <a:pt x="42407" y="2587"/>
                    <a:pt x="39789" y="3556"/>
                    <a:pt x="38121" y="5294"/>
                  </a:cubicBezTo>
                  <a:cubicBezTo>
                    <a:pt x="36112" y="7066"/>
                    <a:pt x="34240" y="8904"/>
                    <a:pt x="32519" y="10876"/>
                  </a:cubicBezTo>
                  <a:cubicBezTo>
                    <a:pt x="30648" y="13182"/>
                    <a:pt x="28395" y="15255"/>
                    <a:pt x="25822" y="17026"/>
                  </a:cubicBezTo>
                  <a:lnTo>
                    <a:pt x="25335" y="17627"/>
                  </a:lnTo>
                  <a:cubicBezTo>
                    <a:pt x="25096" y="17828"/>
                    <a:pt x="24880" y="18062"/>
                    <a:pt x="24686" y="18296"/>
                  </a:cubicBezTo>
                  <a:lnTo>
                    <a:pt x="23833" y="18597"/>
                  </a:lnTo>
                  <a:cubicBezTo>
                    <a:pt x="23411" y="18831"/>
                    <a:pt x="22875" y="18831"/>
                    <a:pt x="22453" y="18597"/>
                  </a:cubicBezTo>
                  <a:lnTo>
                    <a:pt x="22453" y="18597"/>
                  </a:lnTo>
                  <a:cubicBezTo>
                    <a:pt x="22169" y="18463"/>
                    <a:pt x="21897" y="18330"/>
                    <a:pt x="21641" y="18162"/>
                  </a:cubicBezTo>
                  <a:lnTo>
                    <a:pt x="20627" y="17661"/>
                  </a:lnTo>
                  <a:lnTo>
                    <a:pt x="20627" y="17661"/>
                  </a:lnTo>
                  <a:cubicBezTo>
                    <a:pt x="19815" y="17093"/>
                    <a:pt x="18435" y="16892"/>
                    <a:pt x="15390" y="19432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0D30609F-5414-449E-B1CE-780EDC150AAE}"/>
                </a:ext>
              </a:extLst>
            </p:cNvPr>
            <p:cNvSpPr/>
            <p:nvPr/>
          </p:nvSpPr>
          <p:spPr>
            <a:xfrm>
              <a:off x="438475" y="5146146"/>
              <a:ext cx="1276650" cy="536312"/>
            </a:xfrm>
            <a:custGeom>
              <a:avLst/>
              <a:gdLst>
                <a:gd name="connsiteX0" fmla="*/ 1291630 w 1310283"/>
                <a:gd name="connsiteY0" fmla="*/ 107239 h 734334"/>
                <a:gd name="connsiteX1" fmla="*/ 1238620 w 1310283"/>
                <a:gd name="connsiteY1" fmla="*/ 112353 h 734334"/>
                <a:gd name="connsiteX2" fmla="*/ 1175625 w 1310283"/>
                <a:gd name="connsiteY2" fmla="*/ 109211 h 734334"/>
                <a:gd name="connsiteX3" fmla="*/ 1098504 w 1310283"/>
                <a:gd name="connsiteY3" fmla="*/ 113957 h 734334"/>
                <a:gd name="connsiteX4" fmla="*/ 1050771 w 1310283"/>
                <a:gd name="connsiteY4" fmla="*/ 125889 h 734334"/>
                <a:gd name="connsiteX5" fmla="*/ 1043099 w 1310283"/>
                <a:gd name="connsiteY5" fmla="*/ 142902 h 734334"/>
                <a:gd name="connsiteX6" fmla="*/ 1017649 w 1310283"/>
                <a:gd name="connsiteY6" fmla="*/ 167769 h 734334"/>
                <a:gd name="connsiteX7" fmla="*/ 977628 w 1310283"/>
                <a:gd name="connsiteY7" fmla="*/ 171111 h 734334"/>
                <a:gd name="connsiteX8" fmla="*/ 947510 w 1310283"/>
                <a:gd name="connsiteY8" fmla="*/ 169674 h 734334"/>
                <a:gd name="connsiteX9" fmla="*/ 891253 w 1310283"/>
                <a:gd name="connsiteY9" fmla="*/ 205504 h 734334"/>
                <a:gd name="connsiteX10" fmla="*/ 885530 w 1310283"/>
                <a:gd name="connsiteY10" fmla="*/ 199454 h 734334"/>
                <a:gd name="connsiteX11" fmla="*/ 702470 w 1310283"/>
                <a:gd name="connsiteY11" fmla="*/ 6433 h 734334"/>
                <a:gd name="connsiteX12" fmla="*/ 696016 w 1310283"/>
                <a:gd name="connsiteY12" fmla="*/ -252 h 734334"/>
                <a:gd name="connsiteX13" fmla="*/ 611874 w 1310283"/>
                <a:gd name="connsiteY13" fmla="*/ 39857 h 734334"/>
                <a:gd name="connsiteX14" fmla="*/ 539421 w 1310283"/>
                <a:gd name="connsiteY14" fmla="*/ 85346 h 734334"/>
                <a:gd name="connsiteX15" fmla="*/ 495624 w 1310283"/>
                <a:gd name="connsiteY15" fmla="*/ 114391 h 734334"/>
                <a:gd name="connsiteX16" fmla="*/ 439083 w 1310283"/>
                <a:gd name="connsiteY16" fmla="*/ 139760 h 734334"/>
                <a:gd name="connsiteX17" fmla="*/ 368091 w 1310283"/>
                <a:gd name="connsiteY17" fmla="*/ 193639 h 734334"/>
                <a:gd name="connsiteX18" fmla="*/ 356158 w 1310283"/>
                <a:gd name="connsiteY18" fmla="*/ 198184 h 734334"/>
                <a:gd name="connsiteX19" fmla="*/ 340977 w 1310283"/>
                <a:gd name="connsiteY19" fmla="*/ 206373 h 734334"/>
                <a:gd name="connsiteX20" fmla="*/ 316624 w 1310283"/>
                <a:gd name="connsiteY20" fmla="*/ 209080 h 734334"/>
                <a:gd name="connsiteX21" fmla="*/ 284598 w 1310283"/>
                <a:gd name="connsiteY21" fmla="*/ 235819 h 734334"/>
                <a:gd name="connsiteX22" fmla="*/ 267956 w 1310283"/>
                <a:gd name="connsiteY22" fmla="*/ 245846 h 734334"/>
                <a:gd name="connsiteX23" fmla="*/ 258743 w 1310283"/>
                <a:gd name="connsiteY23" fmla="*/ 243674 h 734334"/>
                <a:gd name="connsiteX24" fmla="*/ 238772 w 1310283"/>
                <a:gd name="connsiteY24" fmla="*/ 269176 h 734334"/>
                <a:gd name="connsiteX25" fmla="*/ 233861 w 1310283"/>
                <a:gd name="connsiteY25" fmla="*/ 260218 h 734334"/>
                <a:gd name="connsiteX26" fmla="*/ 205976 w 1310283"/>
                <a:gd name="connsiteY26" fmla="*/ 272218 h 734334"/>
                <a:gd name="connsiteX27" fmla="*/ 185438 w 1310283"/>
                <a:gd name="connsiteY27" fmla="*/ 302299 h 734334"/>
                <a:gd name="connsiteX28" fmla="*/ 151504 w 1310283"/>
                <a:gd name="connsiteY28" fmla="*/ 335990 h 734334"/>
                <a:gd name="connsiteX29" fmla="*/ 127151 w 1310283"/>
                <a:gd name="connsiteY29" fmla="*/ 363665 h 734334"/>
                <a:gd name="connsiteX30" fmla="*/ 138029 w 1310283"/>
                <a:gd name="connsiteY30" fmla="*/ 361392 h 734334"/>
                <a:gd name="connsiteX31" fmla="*/ 131940 w 1310283"/>
                <a:gd name="connsiteY31" fmla="*/ 370984 h 734334"/>
                <a:gd name="connsiteX32" fmla="*/ 113675 w 1310283"/>
                <a:gd name="connsiteY32" fmla="*/ 383886 h 734334"/>
                <a:gd name="connsiteX33" fmla="*/ 85749 w 1310283"/>
                <a:gd name="connsiteY33" fmla="*/ 409990 h 734334"/>
                <a:gd name="connsiteX34" fmla="*/ 66956 w 1310283"/>
                <a:gd name="connsiteY34" fmla="*/ 435057 h 734334"/>
                <a:gd name="connsiteX35" fmla="*/ 60624 w 1310283"/>
                <a:gd name="connsiteY35" fmla="*/ 456148 h 734334"/>
                <a:gd name="connsiteX36" fmla="*/ 63952 w 1310283"/>
                <a:gd name="connsiteY36" fmla="*/ 474698 h 734334"/>
                <a:gd name="connsiteX37" fmla="*/ 7614 w 1310283"/>
                <a:gd name="connsiteY37" fmla="*/ 532019 h 734334"/>
                <a:gd name="connsiteX38" fmla="*/ 18938 w 1310283"/>
                <a:gd name="connsiteY38" fmla="*/ 548196 h 734334"/>
                <a:gd name="connsiteX39" fmla="*/ 105151 w 1310283"/>
                <a:gd name="connsiteY39" fmla="*/ 518917 h 734334"/>
                <a:gd name="connsiteX40" fmla="*/ 156294 w 1310283"/>
                <a:gd name="connsiteY40" fmla="*/ 487065 h 734334"/>
                <a:gd name="connsiteX41" fmla="*/ 174438 w 1310283"/>
                <a:gd name="connsiteY41" fmla="*/ 487867 h 734334"/>
                <a:gd name="connsiteX42" fmla="*/ 210197 w 1310283"/>
                <a:gd name="connsiteY42" fmla="*/ 468280 h 734334"/>
                <a:gd name="connsiteX43" fmla="*/ 200293 w 1310283"/>
                <a:gd name="connsiteY43" fmla="*/ 482352 h 734334"/>
                <a:gd name="connsiteX44" fmla="*/ 175128 w 1310283"/>
                <a:gd name="connsiteY44" fmla="*/ 514405 h 734334"/>
                <a:gd name="connsiteX45" fmla="*/ 162707 w 1310283"/>
                <a:gd name="connsiteY45" fmla="*/ 519485 h 734334"/>
                <a:gd name="connsiteX46" fmla="*/ 146471 w 1310283"/>
                <a:gd name="connsiteY46" fmla="*/ 531184 h 734334"/>
                <a:gd name="connsiteX47" fmla="*/ 122808 w 1310283"/>
                <a:gd name="connsiteY47" fmla="*/ 542313 h 734334"/>
                <a:gd name="connsiteX48" fmla="*/ 79295 w 1310283"/>
                <a:gd name="connsiteY48" fmla="*/ 578712 h 734334"/>
                <a:gd name="connsiteX49" fmla="*/ 79295 w 1310283"/>
                <a:gd name="connsiteY49" fmla="*/ 588271 h 734334"/>
                <a:gd name="connsiteX50" fmla="*/ 46823 w 1310283"/>
                <a:gd name="connsiteY50" fmla="*/ 622463 h 734334"/>
                <a:gd name="connsiteX51" fmla="*/ 72476 w 1310283"/>
                <a:gd name="connsiteY51" fmla="*/ 624335 h 734334"/>
                <a:gd name="connsiteX52" fmla="*/ 85100 w 1310283"/>
                <a:gd name="connsiteY52" fmla="*/ 620525 h 734334"/>
                <a:gd name="connsiteX53" fmla="*/ 93218 w 1310283"/>
                <a:gd name="connsiteY53" fmla="*/ 624803 h 734334"/>
                <a:gd name="connsiteX54" fmla="*/ 161165 w 1310283"/>
                <a:gd name="connsiteY54" fmla="*/ 584695 h 734334"/>
                <a:gd name="connsiteX55" fmla="*/ 190511 w 1310283"/>
                <a:gd name="connsiteY55" fmla="*/ 564941 h 734334"/>
                <a:gd name="connsiteX56" fmla="*/ 209670 w 1310283"/>
                <a:gd name="connsiteY56" fmla="*/ 535094 h 734334"/>
                <a:gd name="connsiteX57" fmla="*/ 237636 w 1310283"/>
                <a:gd name="connsiteY57" fmla="*/ 511497 h 734334"/>
                <a:gd name="connsiteX58" fmla="*/ 239868 w 1310283"/>
                <a:gd name="connsiteY58" fmla="*/ 520421 h 734334"/>
                <a:gd name="connsiteX59" fmla="*/ 248960 w 1310283"/>
                <a:gd name="connsiteY59" fmla="*/ 554480 h 734334"/>
                <a:gd name="connsiteX60" fmla="*/ 228219 w 1310283"/>
                <a:gd name="connsiteY60" fmla="*/ 574868 h 734334"/>
                <a:gd name="connsiteX61" fmla="*/ 216042 w 1310283"/>
                <a:gd name="connsiteY61" fmla="*/ 598264 h 734334"/>
                <a:gd name="connsiteX62" fmla="*/ 192622 w 1310283"/>
                <a:gd name="connsiteY62" fmla="*/ 631889 h 734334"/>
                <a:gd name="connsiteX63" fmla="*/ 181135 w 1310283"/>
                <a:gd name="connsiteY63" fmla="*/ 646428 h 734334"/>
                <a:gd name="connsiteX64" fmla="*/ 176630 w 1310283"/>
                <a:gd name="connsiteY64" fmla="*/ 669824 h 734334"/>
                <a:gd name="connsiteX65" fmla="*/ 167375 w 1310283"/>
                <a:gd name="connsiteY65" fmla="*/ 683194 h 734334"/>
                <a:gd name="connsiteX66" fmla="*/ 198751 w 1310283"/>
                <a:gd name="connsiteY66" fmla="*/ 676710 h 734334"/>
                <a:gd name="connsiteX67" fmla="*/ 217057 w 1310283"/>
                <a:gd name="connsiteY67" fmla="*/ 684731 h 734334"/>
                <a:gd name="connsiteX68" fmla="*/ 277252 w 1310283"/>
                <a:gd name="connsiteY68" fmla="*/ 669490 h 734334"/>
                <a:gd name="connsiteX69" fmla="*/ 303716 w 1310283"/>
                <a:gd name="connsiteY69" fmla="*/ 631722 h 734334"/>
                <a:gd name="connsiteX70" fmla="*/ 324011 w 1310283"/>
                <a:gd name="connsiteY70" fmla="*/ 628145 h 734334"/>
                <a:gd name="connsiteX71" fmla="*/ 336188 w 1310283"/>
                <a:gd name="connsiteY71" fmla="*/ 641849 h 734334"/>
                <a:gd name="connsiteX72" fmla="*/ 369066 w 1310283"/>
                <a:gd name="connsiteY72" fmla="*/ 633359 h 734334"/>
                <a:gd name="connsiteX73" fmla="*/ 374708 w 1310283"/>
                <a:gd name="connsiteY73" fmla="*/ 619990 h 734334"/>
                <a:gd name="connsiteX74" fmla="*/ 404785 w 1310283"/>
                <a:gd name="connsiteY74" fmla="*/ 599936 h 734334"/>
                <a:gd name="connsiteX75" fmla="*/ 432548 w 1310283"/>
                <a:gd name="connsiteY75" fmla="*/ 592449 h 734334"/>
                <a:gd name="connsiteX76" fmla="*/ 431817 w 1310283"/>
                <a:gd name="connsiteY76" fmla="*/ 572963 h 734334"/>
                <a:gd name="connsiteX77" fmla="*/ 449149 w 1310283"/>
                <a:gd name="connsiteY77" fmla="*/ 569621 h 734334"/>
                <a:gd name="connsiteX78" fmla="*/ 475248 w 1310283"/>
                <a:gd name="connsiteY78" fmla="*/ 543584 h 734334"/>
                <a:gd name="connsiteX79" fmla="*/ 473300 w 1310283"/>
                <a:gd name="connsiteY79" fmla="*/ 567916 h 734334"/>
                <a:gd name="connsiteX80" fmla="*/ 486898 w 1310283"/>
                <a:gd name="connsiteY80" fmla="*/ 583057 h 734334"/>
                <a:gd name="connsiteX81" fmla="*/ 478333 w 1310283"/>
                <a:gd name="connsiteY81" fmla="*/ 605284 h 734334"/>
                <a:gd name="connsiteX82" fmla="*/ 458566 w 1310283"/>
                <a:gd name="connsiteY82" fmla="*/ 634830 h 734334"/>
                <a:gd name="connsiteX83" fmla="*/ 438758 w 1310283"/>
                <a:gd name="connsiteY83" fmla="*/ 677645 h 734334"/>
                <a:gd name="connsiteX84" fmla="*/ 412253 w 1310283"/>
                <a:gd name="connsiteY84" fmla="*/ 695661 h 734334"/>
                <a:gd name="connsiteX85" fmla="*/ 401619 w 1310283"/>
                <a:gd name="connsiteY85" fmla="*/ 721464 h 734334"/>
                <a:gd name="connsiteX86" fmla="*/ 419559 w 1310283"/>
                <a:gd name="connsiteY86" fmla="*/ 712306 h 734334"/>
                <a:gd name="connsiteX87" fmla="*/ 431127 w 1310283"/>
                <a:gd name="connsiteY87" fmla="*/ 696196 h 734334"/>
                <a:gd name="connsiteX88" fmla="*/ 456780 w 1310283"/>
                <a:gd name="connsiteY88" fmla="*/ 667351 h 734334"/>
                <a:gd name="connsiteX89" fmla="*/ 494285 w 1310283"/>
                <a:gd name="connsiteY89" fmla="*/ 623533 h 734334"/>
                <a:gd name="connsiteX90" fmla="*/ 522292 w 1310283"/>
                <a:gd name="connsiteY90" fmla="*/ 573865 h 734334"/>
                <a:gd name="connsiteX91" fmla="*/ 527244 w 1310283"/>
                <a:gd name="connsiteY91" fmla="*/ 557655 h 734334"/>
                <a:gd name="connsiteX92" fmla="*/ 538487 w 1310283"/>
                <a:gd name="connsiteY92" fmla="*/ 544286 h 734334"/>
                <a:gd name="connsiteX93" fmla="*/ 550136 w 1310283"/>
                <a:gd name="connsiteY93" fmla="*/ 523697 h 734334"/>
                <a:gd name="connsiteX94" fmla="*/ 568199 w 1310283"/>
                <a:gd name="connsiteY94" fmla="*/ 501904 h 734334"/>
                <a:gd name="connsiteX95" fmla="*/ 564424 w 1310283"/>
                <a:gd name="connsiteY95" fmla="*/ 494217 h 734334"/>
                <a:gd name="connsiteX96" fmla="*/ 573516 w 1310283"/>
                <a:gd name="connsiteY96" fmla="*/ 479343 h 734334"/>
                <a:gd name="connsiteX97" fmla="*/ 546280 w 1310283"/>
                <a:gd name="connsiteY97" fmla="*/ 475734 h 734334"/>
                <a:gd name="connsiteX98" fmla="*/ 562516 w 1310283"/>
                <a:gd name="connsiteY98" fmla="*/ 454142 h 734334"/>
                <a:gd name="connsiteX99" fmla="*/ 571000 w 1310283"/>
                <a:gd name="connsiteY99" fmla="*/ 424963 h 734334"/>
                <a:gd name="connsiteX100" fmla="*/ 582649 w 1310283"/>
                <a:gd name="connsiteY100" fmla="*/ 396587 h 734334"/>
                <a:gd name="connsiteX101" fmla="*/ 600914 w 1310283"/>
                <a:gd name="connsiteY101" fmla="*/ 369179 h 734334"/>
                <a:gd name="connsiteX102" fmla="*/ 607043 w 1310283"/>
                <a:gd name="connsiteY102" fmla="*/ 368812 h 734334"/>
                <a:gd name="connsiteX103" fmla="*/ 624740 w 1310283"/>
                <a:gd name="connsiteY103" fmla="*/ 359787 h 734334"/>
                <a:gd name="connsiteX104" fmla="*/ 633345 w 1310283"/>
                <a:gd name="connsiteY104" fmla="*/ 360055 h 734334"/>
                <a:gd name="connsiteX105" fmla="*/ 616095 w 1310283"/>
                <a:gd name="connsiteY105" fmla="*/ 371385 h 734334"/>
                <a:gd name="connsiteX106" fmla="*/ 596612 w 1310283"/>
                <a:gd name="connsiteY106" fmla="*/ 399829 h 734334"/>
                <a:gd name="connsiteX107" fmla="*/ 600955 w 1310283"/>
                <a:gd name="connsiteY107" fmla="*/ 422022 h 734334"/>
                <a:gd name="connsiteX108" fmla="*/ 612036 w 1310283"/>
                <a:gd name="connsiteY108" fmla="*/ 425732 h 734334"/>
                <a:gd name="connsiteX109" fmla="*/ 627135 w 1310283"/>
                <a:gd name="connsiteY109" fmla="*/ 423860 h 734334"/>
                <a:gd name="connsiteX110" fmla="*/ 662245 w 1310283"/>
                <a:gd name="connsiteY110" fmla="*/ 375363 h 734334"/>
                <a:gd name="connsiteX111" fmla="*/ 701902 w 1310283"/>
                <a:gd name="connsiteY111" fmla="*/ 344947 h 734334"/>
                <a:gd name="connsiteX112" fmla="*/ 685666 w 1310283"/>
                <a:gd name="connsiteY112" fmla="*/ 340034 h 734334"/>
                <a:gd name="connsiteX113" fmla="*/ 677954 w 1310283"/>
                <a:gd name="connsiteY113" fmla="*/ 323656 h 734334"/>
                <a:gd name="connsiteX114" fmla="*/ 716392 w 1310283"/>
                <a:gd name="connsiteY114" fmla="*/ 306042 h 734334"/>
                <a:gd name="connsiteX115" fmla="*/ 746226 w 1310283"/>
                <a:gd name="connsiteY115" fmla="*/ 294511 h 734334"/>
                <a:gd name="connsiteX116" fmla="*/ 729381 w 1310283"/>
                <a:gd name="connsiteY116" fmla="*/ 310120 h 734334"/>
                <a:gd name="connsiteX117" fmla="*/ 737255 w 1310283"/>
                <a:gd name="connsiteY117" fmla="*/ 312393 h 734334"/>
                <a:gd name="connsiteX118" fmla="*/ 753491 w 1310283"/>
                <a:gd name="connsiteY118" fmla="*/ 294110 h 734334"/>
                <a:gd name="connsiteX119" fmla="*/ 768509 w 1310283"/>
                <a:gd name="connsiteY119" fmla="*/ 289464 h 734334"/>
                <a:gd name="connsiteX120" fmla="*/ 779347 w 1310283"/>
                <a:gd name="connsiteY120" fmla="*/ 275393 h 734334"/>
                <a:gd name="connsiteX121" fmla="*/ 796395 w 1310283"/>
                <a:gd name="connsiteY121" fmla="*/ 274724 h 734334"/>
                <a:gd name="connsiteX122" fmla="*/ 834427 w 1310283"/>
                <a:gd name="connsiteY122" fmla="*/ 253734 h 734334"/>
                <a:gd name="connsiteX123" fmla="*/ 888127 w 1310283"/>
                <a:gd name="connsiteY123" fmla="*/ 218272 h 734334"/>
                <a:gd name="connsiteX124" fmla="*/ 932776 w 1310283"/>
                <a:gd name="connsiteY124" fmla="*/ 194006 h 734334"/>
                <a:gd name="connsiteX125" fmla="*/ 950311 w 1310283"/>
                <a:gd name="connsiteY125" fmla="*/ 184882 h 734334"/>
                <a:gd name="connsiteX126" fmla="*/ 957252 w 1310283"/>
                <a:gd name="connsiteY126" fmla="*/ 195945 h 734334"/>
                <a:gd name="connsiteX127" fmla="*/ 1019922 w 1310283"/>
                <a:gd name="connsiteY127" fmla="*/ 178431 h 734334"/>
                <a:gd name="connsiteX128" fmla="*/ 1056818 w 1310283"/>
                <a:gd name="connsiteY128" fmla="*/ 162087 h 734334"/>
                <a:gd name="connsiteX129" fmla="*/ 1078047 w 1310283"/>
                <a:gd name="connsiteY129" fmla="*/ 148918 h 734334"/>
                <a:gd name="connsiteX130" fmla="*/ 1097165 w 1310283"/>
                <a:gd name="connsiteY130" fmla="*/ 142400 h 734334"/>
                <a:gd name="connsiteX131" fmla="*/ 1075409 w 1310283"/>
                <a:gd name="connsiteY131" fmla="*/ 129900 h 734334"/>
                <a:gd name="connsiteX132" fmla="*/ 1093187 w 1310283"/>
                <a:gd name="connsiteY132" fmla="*/ 127861 h 734334"/>
                <a:gd name="connsiteX133" fmla="*/ 1111168 w 1310283"/>
                <a:gd name="connsiteY133" fmla="*/ 144573 h 734334"/>
                <a:gd name="connsiteX134" fmla="*/ 1089980 w 1310283"/>
                <a:gd name="connsiteY134" fmla="*/ 156338 h 734334"/>
                <a:gd name="connsiteX135" fmla="*/ 1072892 w 1310283"/>
                <a:gd name="connsiteY135" fmla="*/ 164025 h 734334"/>
                <a:gd name="connsiteX136" fmla="*/ 1116485 w 1310283"/>
                <a:gd name="connsiteY136" fmla="*/ 169841 h 734334"/>
                <a:gd name="connsiteX137" fmla="*/ 1141123 w 1310283"/>
                <a:gd name="connsiteY137" fmla="*/ 164594 h 734334"/>
                <a:gd name="connsiteX138" fmla="*/ 1120220 w 1310283"/>
                <a:gd name="connsiteY138" fmla="*/ 155636 h 734334"/>
                <a:gd name="connsiteX139" fmla="*/ 1132397 w 1310283"/>
                <a:gd name="connsiteY139" fmla="*/ 151291 h 734334"/>
                <a:gd name="connsiteX140" fmla="*/ 1149769 w 1310283"/>
                <a:gd name="connsiteY140" fmla="*/ 139894 h 734334"/>
                <a:gd name="connsiteX141" fmla="*/ 1137592 w 1310283"/>
                <a:gd name="connsiteY141" fmla="*/ 127126 h 734334"/>
                <a:gd name="connsiteX142" fmla="*/ 1166005 w 1310283"/>
                <a:gd name="connsiteY142" fmla="*/ 128630 h 734334"/>
                <a:gd name="connsiteX143" fmla="*/ 1161946 w 1310283"/>
                <a:gd name="connsiteY143" fmla="*/ 143771 h 734334"/>
                <a:gd name="connsiteX144" fmla="*/ 1150216 w 1310283"/>
                <a:gd name="connsiteY144" fmla="*/ 158778 h 734334"/>
                <a:gd name="connsiteX145" fmla="*/ 1165274 w 1310283"/>
                <a:gd name="connsiteY145" fmla="*/ 167134 h 734334"/>
                <a:gd name="connsiteX146" fmla="*/ 1168440 w 1310283"/>
                <a:gd name="connsiteY146" fmla="*/ 155837 h 734334"/>
                <a:gd name="connsiteX147" fmla="*/ 1180617 w 1310283"/>
                <a:gd name="connsiteY147" fmla="*/ 149152 h 734334"/>
                <a:gd name="connsiteX148" fmla="*/ 1199491 w 1310283"/>
                <a:gd name="connsiteY148" fmla="*/ 143637 h 734334"/>
                <a:gd name="connsiteX149" fmla="*/ 1219502 w 1310283"/>
                <a:gd name="connsiteY149" fmla="*/ 134078 h 734334"/>
                <a:gd name="connsiteX150" fmla="*/ 1193647 w 1310283"/>
                <a:gd name="connsiteY150" fmla="*/ 135983 h 734334"/>
                <a:gd name="connsiteX151" fmla="*/ 1216702 w 1310283"/>
                <a:gd name="connsiteY151" fmla="*/ 126324 h 734334"/>
                <a:gd name="connsiteX152" fmla="*/ 1227823 w 1310283"/>
                <a:gd name="connsiteY152" fmla="*/ 139192 h 734334"/>
                <a:gd name="connsiteX153" fmla="*/ 1202414 w 1310283"/>
                <a:gd name="connsiteY153" fmla="*/ 151993 h 734334"/>
                <a:gd name="connsiteX154" fmla="*/ 1201886 w 1310283"/>
                <a:gd name="connsiteY154" fmla="*/ 162020 h 734334"/>
                <a:gd name="connsiteX155" fmla="*/ 1214063 w 1310283"/>
                <a:gd name="connsiteY155" fmla="*/ 176492 h 734334"/>
                <a:gd name="connsiteX156" fmla="*/ 1224617 w 1310283"/>
                <a:gd name="connsiteY156" fmla="*/ 166031 h 734334"/>
                <a:gd name="connsiteX157" fmla="*/ 1245561 w 1310283"/>
                <a:gd name="connsiteY157" fmla="*/ 152895 h 734334"/>
                <a:gd name="connsiteX158" fmla="*/ 1259037 w 1310283"/>
                <a:gd name="connsiteY158" fmla="*/ 141899 h 734334"/>
                <a:gd name="connsiteX159" fmla="*/ 1269347 w 1310283"/>
                <a:gd name="connsiteY159" fmla="*/ 130702 h 734334"/>
                <a:gd name="connsiteX160" fmla="*/ 1282213 w 1310283"/>
                <a:gd name="connsiteY160" fmla="*/ 139492 h 734334"/>
                <a:gd name="connsiteX161" fmla="*/ 1294390 w 1310283"/>
                <a:gd name="connsiteY161" fmla="*/ 134579 h 734334"/>
                <a:gd name="connsiteX162" fmla="*/ 1309611 w 1310283"/>
                <a:gd name="connsiteY162" fmla="*/ 110949 h 734334"/>
                <a:gd name="connsiteX163" fmla="*/ 1291265 w 1310283"/>
                <a:gd name="connsiteY163" fmla="*/ 107205 h 734334"/>
                <a:gd name="connsiteX164" fmla="*/ 1291630 w 1310283"/>
                <a:gd name="connsiteY164" fmla="*/ 107239 h 73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310283" h="734334">
                  <a:moveTo>
                    <a:pt x="1291630" y="107239"/>
                  </a:moveTo>
                  <a:cubicBezTo>
                    <a:pt x="1290940" y="91229"/>
                    <a:pt x="1256398" y="107239"/>
                    <a:pt x="1238620" y="112353"/>
                  </a:cubicBezTo>
                  <a:cubicBezTo>
                    <a:pt x="1212561" y="119672"/>
                    <a:pt x="1195189" y="112085"/>
                    <a:pt x="1175625" y="109211"/>
                  </a:cubicBezTo>
                  <a:cubicBezTo>
                    <a:pt x="1152489" y="105868"/>
                    <a:pt x="1125293" y="111116"/>
                    <a:pt x="1098504" y="113957"/>
                  </a:cubicBezTo>
                  <a:cubicBezTo>
                    <a:pt x="1078940" y="116063"/>
                    <a:pt x="1073866" y="107272"/>
                    <a:pt x="1050771" y="125889"/>
                  </a:cubicBezTo>
                  <a:cubicBezTo>
                    <a:pt x="1040339" y="134312"/>
                    <a:pt x="1047970" y="135181"/>
                    <a:pt x="1043099" y="142902"/>
                  </a:cubicBezTo>
                  <a:cubicBezTo>
                    <a:pt x="1039649" y="148316"/>
                    <a:pt x="1026214" y="165496"/>
                    <a:pt x="1017649" y="167769"/>
                  </a:cubicBezTo>
                  <a:cubicBezTo>
                    <a:pt x="1004417" y="171111"/>
                    <a:pt x="991063" y="168805"/>
                    <a:pt x="977628" y="171111"/>
                  </a:cubicBezTo>
                  <a:cubicBezTo>
                    <a:pt x="962163" y="173952"/>
                    <a:pt x="959971" y="169072"/>
                    <a:pt x="947510" y="169674"/>
                  </a:cubicBezTo>
                  <a:cubicBezTo>
                    <a:pt x="929570" y="170576"/>
                    <a:pt x="908625" y="206440"/>
                    <a:pt x="891253" y="205504"/>
                  </a:cubicBezTo>
                  <a:cubicBezTo>
                    <a:pt x="888817" y="205504"/>
                    <a:pt x="886666" y="200658"/>
                    <a:pt x="885530" y="199454"/>
                  </a:cubicBezTo>
                  <a:lnTo>
                    <a:pt x="702470" y="6433"/>
                  </a:lnTo>
                  <a:lnTo>
                    <a:pt x="696016" y="-252"/>
                  </a:lnTo>
                  <a:cubicBezTo>
                    <a:pt x="694149" y="-2324"/>
                    <a:pt x="619383" y="33172"/>
                    <a:pt x="611874" y="39857"/>
                  </a:cubicBezTo>
                  <a:cubicBezTo>
                    <a:pt x="587195" y="60579"/>
                    <a:pt x="567793" y="70740"/>
                    <a:pt x="539421" y="85346"/>
                  </a:cubicBezTo>
                  <a:cubicBezTo>
                    <a:pt x="523185" y="93702"/>
                    <a:pt x="511211" y="105768"/>
                    <a:pt x="495624" y="114391"/>
                  </a:cubicBezTo>
                  <a:cubicBezTo>
                    <a:pt x="477237" y="124418"/>
                    <a:pt x="457714" y="129900"/>
                    <a:pt x="439083" y="139760"/>
                  </a:cubicBezTo>
                  <a:cubicBezTo>
                    <a:pt x="412180" y="154593"/>
                    <a:pt x="388232" y="172766"/>
                    <a:pt x="368091" y="193639"/>
                  </a:cubicBezTo>
                  <a:cubicBezTo>
                    <a:pt x="364032" y="197984"/>
                    <a:pt x="360420" y="197616"/>
                    <a:pt x="356158" y="198184"/>
                  </a:cubicBezTo>
                  <a:cubicBezTo>
                    <a:pt x="349664" y="199120"/>
                    <a:pt x="346822" y="203532"/>
                    <a:pt x="340977" y="206373"/>
                  </a:cubicBezTo>
                  <a:cubicBezTo>
                    <a:pt x="332859" y="210384"/>
                    <a:pt x="332454" y="198218"/>
                    <a:pt x="316624" y="209080"/>
                  </a:cubicBezTo>
                  <a:cubicBezTo>
                    <a:pt x="305283" y="217436"/>
                    <a:pt x="294587" y="226364"/>
                    <a:pt x="284598" y="235819"/>
                  </a:cubicBezTo>
                  <a:cubicBezTo>
                    <a:pt x="279930" y="239897"/>
                    <a:pt x="274004" y="244944"/>
                    <a:pt x="267956" y="245846"/>
                  </a:cubicBezTo>
                  <a:cubicBezTo>
                    <a:pt x="264263" y="246481"/>
                    <a:pt x="262274" y="242237"/>
                    <a:pt x="258743" y="243674"/>
                  </a:cubicBezTo>
                  <a:cubicBezTo>
                    <a:pt x="248352" y="247852"/>
                    <a:pt x="248352" y="262124"/>
                    <a:pt x="238772" y="269176"/>
                  </a:cubicBezTo>
                  <a:cubicBezTo>
                    <a:pt x="217097" y="285219"/>
                    <a:pt x="235525" y="262491"/>
                    <a:pt x="233861" y="260218"/>
                  </a:cubicBezTo>
                  <a:cubicBezTo>
                    <a:pt x="231263" y="256542"/>
                    <a:pt x="210928" y="269577"/>
                    <a:pt x="205976" y="272218"/>
                  </a:cubicBezTo>
                  <a:cubicBezTo>
                    <a:pt x="194692" y="278200"/>
                    <a:pt x="188725" y="295614"/>
                    <a:pt x="185438" y="302299"/>
                  </a:cubicBezTo>
                  <a:cubicBezTo>
                    <a:pt x="179593" y="314431"/>
                    <a:pt x="165427" y="326230"/>
                    <a:pt x="151504" y="335990"/>
                  </a:cubicBezTo>
                  <a:cubicBezTo>
                    <a:pt x="147811" y="338530"/>
                    <a:pt x="109453" y="367542"/>
                    <a:pt x="127151" y="363665"/>
                  </a:cubicBezTo>
                  <a:cubicBezTo>
                    <a:pt x="129911" y="363029"/>
                    <a:pt x="136852" y="359319"/>
                    <a:pt x="138029" y="361392"/>
                  </a:cubicBezTo>
                  <a:cubicBezTo>
                    <a:pt x="139206" y="363464"/>
                    <a:pt x="136527" y="368979"/>
                    <a:pt x="131940" y="370984"/>
                  </a:cubicBezTo>
                  <a:cubicBezTo>
                    <a:pt x="119520" y="376432"/>
                    <a:pt x="121143" y="372756"/>
                    <a:pt x="113675" y="383886"/>
                  </a:cubicBezTo>
                  <a:cubicBezTo>
                    <a:pt x="107546" y="393010"/>
                    <a:pt x="95856" y="402436"/>
                    <a:pt x="85749" y="409990"/>
                  </a:cubicBezTo>
                  <a:cubicBezTo>
                    <a:pt x="73937" y="418813"/>
                    <a:pt x="71258" y="424696"/>
                    <a:pt x="66956" y="435057"/>
                  </a:cubicBezTo>
                  <a:cubicBezTo>
                    <a:pt x="64724" y="440371"/>
                    <a:pt x="57458" y="452872"/>
                    <a:pt x="60624" y="456148"/>
                  </a:cubicBezTo>
                  <a:cubicBezTo>
                    <a:pt x="65495" y="461228"/>
                    <a:pt x="67281" y="465005"/>
                    <a:pt x="63952" y="474698"/>
                  </a:cubicBezTo>
                  <a:cubicBezTo>
                    <a:pt x="57377" y="493682"/>
                    <a:pt x="27787" y="516243"/>
                    <a:pt x="7614" y="532019"/>
                  </a:cubicBezTo>
                  <a:cubicBezTo>
                    <a:pt x="-7892" y="544185"/>
                    <a:pt x="2256" y="556285"/>
                    <a:pt x="18938" y="548196"/>
                  </a:cubicBezTo>
                  <a:cubicBezTo>
                    <a:pt x="53196" y="531484"/>
                    <a:pt x="74343" y="518516"/>
                    <a:pt x="105151" y="518917"/>
                  </a:cubicBezTo>
                  <a:cubicBezTo>
                    <a:pt x="125730" y="519218"/>
                    <a:pt x="136527" y="502473"/>
                    <a:pt x="156294" y="487065"/>
                  </a:cubicBezTo>
                  <a:cubicBezTo>
                    <a:pt x="168917" y="477037"/>
                    <a:pt x="169120" y="484491"/>
                    <a:pt x="174438" y="487867"/>
                  </a:cubicBezTo>
                  <a:cubicBezTo>
                    <a:pt x="183002" y="493348"/>
                    <a:pt x="199847" y="472224"/>
                    <a:pt x="210197" y="468280"/>
                  </a:cubicBezTo>
                  <a:cubicBezTo>
                    <a:pt x="225703" y="462298"/>
                    <a:pt x="202079" y="480847"/>
                    <a:pt x="200293" y="482352"/>
                  </a:cubicBezTo>
                  <a:cubicBezTo>
                    <a:pt x="186858" y="493348"/>
                    <a:pt x="186371" y="503809"/>
                    <a:pt x="175128" y="514405"/>
                  </a:cubicBezTo>
                  <a:cubicBezTo>
                    <a:pt x="170703" y="518549"/>
                    <a:pt x="167334" y="517313"/>
                    <a:pt x="162707" y="519485"/>
                  </a:cubicBezTo>
                  <a:cubicBezTo>
                    <a:pt x="156683" y="522761"/>
                    <a:pt x="151222" y="526705"/>
                    <a:pt x="146471" y="531184"/>
                  </a:cubicBezTo>
                  <a:cubicBezTo>
                    <a:pt x="136527" y="539840"/>
                    <a:pt x="124999" y="554346"/>
                    <a:pt x="122808" y="542313"/>
                  </a:cubicBezTo>
                  <a:cubicBezTo>
                    <a:pt x="119073" y="521858"/>
                    <a:pt x="83232" y="568117"/>
                    <a:pt x="79295" y="578712"/>
                  </a:cubicBezTo>
                  <a:cubicBezTo>
                    <a:pt x="78037" y="582054"/>
                    <a:pt x="86804" y="583625"/>
                    <a:pt x="79295" y="588271"/>
                  </a:cubicBezTo>
                  <a:cubicBezTo>
                    <a:pt x="61761" y="599067"/>
                    <a:pt x="57417" y="607890"/>
                    <a:pt x="46823" y="622463"/>
                  </a:cubicBezTo>
                  <a:cubicBezTo>
                    <a:pt x="23931" y="653547"/>
                    <a:pt x="47919" y="640278"/>
                    <a:pt x="72476" y="624335"/>
                  </a:cubicBezTo>
                  <a:cubicBezTo>
                    <a:pt x="77509" y="620993"/>
                    <a:pt x="90214" y="611199"/>
                    <a:pt x="85100" y="620525"/>
                  </a:cubicBezTo>
                  <a:cubicBezTo>
                    <a:pt x="78483" y="632557"/>
                    <a:pt x="84166" y="625371"/>
                    <a:pt x="93218" y="624803"/>
                  </a:cubicBezTo>
                  <a:cubicBezTo>
                    <a:pt x="119479" y="623065"/>
                    <a:pt x="139003" y="604949"/>
                    <a:pt x="161165" y="584695"/>
                  </a:cubicBezTo>
                  <a:cubicBezTo>
                    <a:pt x="171596" y="575102"/>
                    <a:pt x="178172" y="571960"/>
                    <a:pt x="190511" y="564941"/>
                  </a:cubicBezTo>
                  <a:cubicBezTo>
                    <a:pt x="200456" y="559326"/>
                    <a:pt x="204636" y="542548"/>
                    <a:pt x="209670" y="535094"/>
                  </a:cubicBezTo>
                  <a:cubicBezTo>
                    <a:pt x="215474" y="526471"/>
                    <a:pt x="225378" y="514472"/>
                    <a:pt x="237636" y="511497"/>
                  </a:cubicBezTo>
                  <a:cubicBezTo>
                    <a:pt x="247824" y="509024"/>
                    <a:pt x="244861" y="514104"/>
                    <a:pt x="239868" y="520421"/>
                  </a:cubicBezTo>
                  <a:cubicBezTo>
                    <a:pt x="230046" y="532922"/>
                    <a:pt x="291904" y="520421"/>
                    <a:pt x="248960" y="554480"/>
                  </a:cubicBezTo>
                  <a:cubicBezTo>
                    <a:pt x="238935" y="562468"/>
                    <a:pt x="225094" y="566312"/>
                    <a:pt x="228219" y="574868"/>
                  </a:cubicBezTo>
                  <a:cubicBezTo>
                    <a:pt x="231564" y="584059"/>
                    <a:pt x="226437" y="593920"/>
                    <a:pt x="216042" y="598264"/>
                  </a:cubicBezTo>
                  <a:cubicBezTo>
                    <a:pt x="187021" y="611166"/>
                    <a:pt x="174356" y="619689"/>
                    <a:pt x="192622" y="631889"/>
                  </a:cubicBezTo>
                  <a:cubicBezTo>
                    <a:pt x="195991" y="634128"/>
                    <a:pt x="183936" y="643219"/>
                    <a:pt x="181135" y="646428"/>
                  </a:cubicBezTo>
                  <a:cubicBezTo>
                    <a:pt x="171637" y="657458"/>
                    <a:pt x="180770" y="660566"/>
                    <a:pt x="176630" y="669824"/>
                  </a:cubicBezTo>
                  <a:cubicBezTo>
                    <a:pt x="175371" y="672732"/>
                    <a:pt x="164453" y="682325"/>
                    <a:pt x="167375" y="683194"/>
                  </a:cubicBezTo>
                  <a:cubicBezTo>
                    <a:pt x="173301" y="685099"/>
                    <a:pt x="190105" y="683595"/>
                    <a:pt x="198751" y="676710"/>
                  </a:cubicBezTo>
                  <a:cubicBezTo>
                    <a:pt x="220101" y="659664"/>
                    <a:pt x="213282" y="679818"/>
                    <a:pt x="217057" y="684731"/>
                  </a:cubicBezTo>
                  <a:cubicBezTo>
                    <a:pt x="217057" y="684397"/>
                    <a:pt x="273111" y="671964"/>
                    <a:pt x="277252" y="669490"/>
                  </a:cubicBezTo>
                  <a:cubicBezTo>
                    <a:pt x="293487" y="659463"/>
                    <a:pt x="303107" y="641314"/>
                    <a:pt x="303716" y="631722"/>
                  </a:cubicBezTo>
                  <a:cubicBezTo>
                    <a:pt x="303960" y="627778"/>
                    <a:pt x="322469" y="628012"/>
                    <a:pt x="324011" y="628145"/>
                  </a:cubicBezTo>
                  <a:cubicBezTo>
                    <a:pt x="337284" y="629181"/>
                    <a:pt x="329937" y="636401"/>
                    <a:pt x="336188" y="641849"/>
                  </a:cubicBezTo>
                  <a:cubicBezTo>
                    <a:pt x="345726" y="650071"/>
                    <a:pt x="353154" y="651876"/>
                    <a:pt x="369066" y="633359"/>
                  </a:cubicBezTo>
                  <a:cubicBezTo>
                    <a:pt x="374139" y="627510"/>
                    <a:pt x="371095" y="625204"/>
                    <a:pt x="374708" y="619990"/>
                  </a:cubicBezTo>
                  <a:cubicBezTo>
                    <a:pt x="382010" y="610932"/>
                    <a:pt x="392506" y="603947"/>
                    <a:pt x="404785" y="599936"/>
                  </a:cubicBezTo>
                  <a:cubicBezTo>
                    <a:pt x="408844" y="598666"/>
                    <a:pt x="429626" y="597229"/>
                    <a:pt x="432548" y="592449"/>
                  </a:cubicBezTo>
                  <a:cubicBezTo>
                    <a:pt x="434537" y="589106"/>
                    <a:pt x="420696" y="578277"/>
                    <a:pt x="431817" y="572963"/>
                  </a:cubicBezTo>
                  <a:cubicBezTo>
                    <a:pt x="438555" y="569621"/>
                    <a:pt x="438718" y="577308"/>
                    <a:pt x="449149" y="569621"/>
                  </a:cubicBezTo>
                  <a:cubicBezTo>
                    <a:pt x="452883" y="566780"/>
                    <a:pt x="474599" y="543082"/>
                    <a:pt x="475248" y="543584"/>
                  </a:cubicBezTo>
                  <a:cubicBezTo>
                    <a:pt x="479835" y="546926"/>
                    <a:pt x="470540" y="562368"/>
                    <a:pt x="473300" y="567916"/>
                  </a:cubicBezTo>
                  <a:cubicBezTo>
                    <a:pt x="475735" y="572863"/>
                    <a:pt x="488399" y="576305"/>
                    <a:pt x="486898" y="583057"/>
                  </a:cubicBezTo>
                  <a:cubicBezTo>
                    <a:pt x="485558" y="589274"/>
                    <a:pt x="480079" y="598331"/>
                    <a:pt x="478333" y="605284"/>
                  </a:cubicBezTo>
                  <a:cubicBezTo>
                    <a:pt x="475451" y="616481"/>
                    <a:pt x="465507" y="623834"/>
                    <a:pt x="458566" y="634830"/>
                  </a:cubicBezTo>
                  <a:cubicBezTo>
                    <a:pt x="452559" y="644356"/>
                    <a:pt x="448540" y="670292"/>
                    <a:pt x="438758" y="677645"/>
                  </a:cubicBezTo>
                  <a:cubicBezTo>
                    <a:pt x="430234" y="684063"/>
                    <a:pt x="420615" y="689010"/>
                    <a:pt x="412253" y="695661"/>
                  </a:cubicBezTo>
                  <a:cubicBezTo>
                    <a:pt x="400076" y="705320"/>
                    <a:pt x="404866" y="711938"/>
                    <a:pt x="401619" y="721464"/>
                  </a:cubicBezTo>
                  <a:cubicBezTo>
                    <a:pt x="393014" y="746699"/>
                    <a:pt x="410711" y="728683"/>
                    <a:pt x="419559" y="712306"/>
                  </a:cubicBezTo>
                  <a:cubicBezTo>
                    <a:pt x="423618" y="704953"/>
                    <a:pt x="417854" y="698201"/>
                    <a:pt x="431127" y="696196"/>
                  </a:cubicBezTo>
                  <a:cubicBezTo>
                    <a:pt x="442614" y="694458"/>
                    <a:pt x="448824" y="673601"/>
                    <a:pt x="456780" y="667351"/>
                  </a:cubicBezTo>
                  <a:cubicBezTo>
                    <a:pt x="467861" y="658561"/>
                    <a:pt x="497167" y="632023"/>
                    <a:pt x="494285" y="623533"/>
                  </a:cubicBezTo>
                  <a:cubicBezTo>
                    <a:pt x="489942" y="610966"/>
                    <a:pt x="509384" y="589173"/>
                    <a:pt x="522292" y="573865"/>
                  </a:cubicBezTo>
                  <a:cubicBezTo>
                    <a:pt x="529679" y="565075"/>
                    <a:pt x="524687" y="565142"/>
                    <a:pt x="527244" y="557655"/>
                  </a:cubicBezTo>
                  <a:cubicBezTo>
                    <a:pt x="528421" y="554313"/>
                    <a:pt x="536133" y="547828"/>
                    <a:pt x="538487" y="544286"/>
                  </a:cubicBezTo>
                  <a:cubicBezTo>
                    <a:pt x="542818" y="537601"/>
                    <a:pt x="546707" y="530716"/>
                    <a:pt x="550136" y="523697"/>
                  </a:cubicBezTo>
                  <a:cubicBezTo>
                    <a:pt x="553343" y="517513"/>
                    <a:pt x="567590" y="506985"/>
                    <a:pt x="568199" y="501904"/>
                  </a:cubicBezTo>
                  <a:cubicBezTo>
                    <a:pt x="568564" y="498562"/>
                    <a:pt x="565601" y="496757"/>
                    <a:pt x="564424" y="494217"/>
                  </a:cubicBezTo>
                  <a:cubicBezTo>
                    <a:pt x="562476" y="490005"/>
                    <a:pt x="571324" y="484558"/>
                    <a:pt x="573516" y="479343"/>
                  </a:cubicBezTo>
                  <a:cubicBezTo>
                    <a:pt x="582933" y="456649"/>
                    <a:pt x="538487" y="496055"/>
                    <a:pt x="546280" y="475734"/>
                  </a:cubicBezTo>
                  <a:cubicBezTo>
                    <a:pt x="549609" y="467010"/>
                    <a:pt x="554723" y="462097"/>
                    <a:pt x="562516" y="454142"/>
                  </a:cubicBezTo>
                  <a:cubicBezTo>
                    <a:pt x="574693" y="441675"/>
                    <a:pt x="564018" y="436461"/>
                    <a:pt x="571000" y="424963"/>
                  </a:cubicBezTo>
                  <a:cubicBezTo>
                    <a:pt x="575546" y="417476"/>
                    <a:pt x="575059" y="402570"/>
                    <a:pt x="582649" y="396587"/>
                  </a:cubicBezTo>
                  <a:cubicBezTo>
                    <a:pt x="593486" y="388164"/>
                    <a:pt x="590767" y="377201"/>
                    <a:pt x="600914" y="369179"/>
                  </a:cubicBezTo>
                  <a:cubicBezTo>
                    <a:pt x="602700" y="367809"/>
                    <a:pt x="605663" y="369012"/>
                    <a:pt x="607043" y="368812"/>
                  </a:cubicBezTo>
                  <a:cubicBezTo>
                    <a:pt x="613091" y="367943"/>
                    <a:pt x="618896" y="362394"/>
                    <a:pt x="624740" y="359787"/>
                  </a:cubicBezTo>
                  <a:cubicBezTo>
                    <a:pt x="628191" y="358250"/>
                    <a:pt x="633305" y="357180"/>
                    <a:pt x="633345" y="360055"/>
                  </a:cubicBezTo>
                  <a:cubicBezTo>
                    <a:pt x="633345" y="365202"/>
                    <a:pt x="620438" y="369213"/>
                    <a:pt x="616095" y="371385"/>
                  </a:cubicBezTo>
                  <a:cubicBezTo>
                    <a:pt x="603431" y="377636"/>
                    <a:pt x="592959" y="393044"/>
                    <a:pt x="596612" y="399829"/>
                  </a:cubicBezTo>
                  <a:cubicBezTo>
                    <a:pt x="599331" y="404909"/>
                    <a:pt x="594095" y="420585"/>
                    <a:pt x="600955" y="422022"/>
                  </a:cubicBezTo>
                  <a:cubicBezTo>
                    <a:pt x="607815" y="423459"/>
                    <a:pt x="626161" y="408653"/>
                    <a:pt x="612036" y="425732"/>
                  </a:cubicBezTo>
                  <a:cubicBezTo>
                    <a:pt x="597911" y="442811"/>
                    <a:pt x="615040" y="435458"/>
                    <a:pt x="627135" y="423860"/>
                  </a:cubicBezTo>
                  <a:cubicBezTo>
                    <a:pt x="642925" y="408686"/>
                    <a:pt x="649541" y="391038"/>
                    <a:pt x="662245" y="375363"/>
                  </a:cubicBezTo>
                  <a:cubicBezTo>
                    <a:pt x="665533" y="371285"/>
                    <a:pt x="701820" y="344880"/>
                    <a:pt x="701902" y="344947"/>
                  </a:cubicBezTo>
                  <a:cubicBezTo>
                    <a:pt x="697315" y="340101"/>
                    <a:pt x="695854" y="337828"/>
                    <a:pt x="685666" y="340034"/>
                  </a:cubicBezTo>
                  <a:cubicBezTo>
                    <a:pt x="668659" y="343711"/>
                    <a:pt x="672230" y="333817"/>
                    <a:pt x="677954" y="323656"/>
                  </a:cubicBezTo>
                  <a:cubicBezTo>
                    <a:pt x="680227" y="319579"/>
                    <a:pt x="712130" y="305340"/>
                    <a:pt x="716392" y="306042"/>
                  </a:cubicBezTo>
                  <a:cubicBezTo>
                    <a:pt x="718543" y="306343"/>
                    <a:pt x="750244" y="288328"/>
                    <a:pt x="746226" y="294511"/>
                  </a:cubicBezTo>
                  <a:cubicBezTo>
                    <a:pt x="742613" y="300026"/>
                    <a:pt x="732100" y="304304"/>
                    <a:pt x="729381" y="310120"/>
                  </a:cubicBezTo>
                  <a:cubicBezTo>
                    <a:pt x="727798" y="313462"/>
                    <a:pt x="732222" y="316270"/>
                    <a:pt x="737255" y="312393"/>
                  </a:cubicBezTo>
                  <a:cubicBezTo>
                    <a:pt x="744683" y="306744"/>
                    <a:pt x="743100" y="299291"/>
                    <a:pt x="753491" y="294110"/>
                  </a:cubicBezTo>
                  <a:cubicBezTo>
                    <a:pt x="758524" y="292506"/>
                    <a:pt x="763517" y="290935"/>
                    <a:pt x="768509" y="289464"/>
                  </a:cubicBezTo>
                  <a:cubicBezTo>
                    <a:pt x="775328" y="285788"/>
                    <a:pt x="773705" y="278000"/>
                    <a:pt x="779347" y="275393"/>
                  </a:cubicBezTo>
                  <a:cubicBezTo>
                    <a:pt x="784136" y="273187"/>
                    <a:pt x="786207" y="279638"/>
                    <a:pt x="796395" y="274724"/>
                  </a:cubicBezTo>
                  <a:cubicBezTo>
                    <a:pt x="809598" y="268397"/>
                    <a:pt x="822303" y="261385"/>
                    <a:pt x="834427" y="253734"/>
                  </a:cubicBezTo>
                  <a:cubicBezTo>
                    <a:pt x="844575" y="247050"/>
                    <a:pt x="877452" y="218873"/>
                    <a:pt x="888127" y="218272"/>
                  </a:cubicBezTo>
                  <a:cubicBezTo>
                    <a:pt x="907489" y="217135"/>
                    <a:pt x="923075" y="210852"/>
                    <a:pt x="932776" y="194006"/>
                  </a:cubicBezTo>
                  <a:cubicBezTo>
                    <a:pt x="935861" y="188725"/>
                    <a:pt x="943532" y="181773"/>
                    <a:pt x="950311" y="184882"/>
                  </a:cubicBezTo>
                  <a:cubicBezTo>
                    <a:pt x="957089" y="187990"/>
                    <a:pt x="933426" y="206507"/>
                    <a:pt x="957252" y="195945"/>
                  </a:cubicBezTo>
                  <a:cubicBezTo>
                    <a:pt x="976532" y="186757"/>
                    <a:pt x="997833" y="180804"/>
                    <a:pt x="1019922" y="178431"/>
                  </a:cubicBezTo>
                  <a:cubicBezTo>
                    <a:pt x="1028974" y="177462"/>
                    <a:pt x="1067494" y="171479"/>
                    <a:pt x="1056818" y="162087"/>
                  </a:cubicBezTo>
                  <a:cubicBezTo>
                    <a:pt x="1048701" y="155101"/>
                    <a:pt x="1067047" y="153397"/>
                    <a:pt x="1078047" y="148918"/>
                  </a:cubicBezTo>
                  <a:cubicBezTo>
                    <a:pt x="1081091" y="147715"/>
                    <a:pt x="1099438" y="146311"/>
                    <a:pt x="1097165" y="142400"/>
                  </a:cubicBezTo>
                  <a:cubicBezTo>
                    <a:pt x="1094202" y="137153"/>
                    <a:pt x="1074232" y="136418"/>
                    <a:pt x="1075409" y="129900"/>
                  </a:cubicBezTo>
                  <a:cubicBezTo>
                    <a:pt x="1075896" y="126992"/>
                    <a:pt x="1091969" y="127761"/>
                    <a:pt x="1093187" y="127861"/>
                  </a:cubicBezTo>
                  <a:cubicBezTo>
                    <a:pt x="1104268" y="128763"/>
                    <a:pt x="1110072" y="137086"/>
                    <a:pt x="1111168" y="144573"/>
                  </a:cubicBezTo>
                  <a:cubicBezTo>
                    <a:pt x="1112061" y="150790"/>
                    <a:pt x="1096272" y="157541"/>
                    <a:pt x="1089980" y="156338"/>
                  </a:cubicBezTo>
                  <a:cubicBezTo>
                    <a:pt x="1083689" y="155135"/>
                    <a:pt x="1079427" y="156338"/>
                    <a:pt x="1072892" y="164025"/>
                  </a:cubicBezTo>
                  <a:cubicBezTo>
                    <a:pt x="1057671" y="182275"/>
                    <a:pt x="1112183" y="165496"/>
                    <a:pt x="1116485" y="169841"/>
                  </a:cubicBezTo>
                  <a:cubicBezTo>
                    <a:pt x="1120788" y="174186"/>
                    <a:pt x="1155614" y="176526"/>
                    <a:pt x="1141123" y="164594"/>
                  </a:cubicBezTo>
                  <a:cubicBezTo>
                    <a:pt x="1135847" y="160215"/>
                    <a:pt x="1124076" y="160683"/>
                    <a:pt x="1120220" y="155636"/>
                  </a:cubicBezTo>
                  <a:cubicBezTo>
                    <a:pt x="1115146" y="148951"/>
                    <a:pt x="1129068" y="144874"/>
                    <a:pt x="1132397" y="151291"/>
                  </a:cubicBezTo>
                  <a:cubicBezTo>
                    <a:pt x="1137876" y="161318"/>
                    <a:pt x="1144898" y="145542"/>
                    <a:pt x="1149769" y="139894"/>
                  </a:cubicBezTo>
                  <a:cubicBezTo>
                    <a:pt x="1156872" y="131605"/>
                    <a:pt x="1137592" y="132774"/>
                    <a:pt x="1137592" y="127126"/>
                  </a:cubicBezTo>
                  <a:cubicBezTo>
                    <a:pt x="1137592" y="120207"/>
                    <a:pt x="1164422" y="125622"/>
                    <a:pt x="1166005" y="128630"/>
                  </a:cubicBezTo>
                  <a:cubicBezTo>
                    <a:pt x="1166979" y="130334"/>
                    <a:pt x="1163367" y="141398"/>
                    <a:pt x="1161946" y="143771"/>
                  </a:cubicBezTo>
                  <a:cubicBezTo>
                    <a:pt x="1158130" y="150255"/>
                    <a:pt x="1146400" y="152661"/>
                    <a:pt x="1150216" y="158778"/>
                  </a:cubicBezTo>
                  <a:cubicBezTo>
                    <a:pt x="1151474" y="160850"/>
                    <a:pt x="1158861" y="170476"/>
                    <a:pt x="1165274" y="167134"/>
                  </a:cubicBezTo>
                  <a:cubicBezTo>
                    <a:pt x="1169942" y="164727"/>
                    <a:pt x="1167020" y="158410"/>
                    <a:pt x="1168440" y="155837"/>
                  </a:cubicBezTo>
                  <a:cubicBezTo>
                    <a:pt x="1173664" y="155569"/>
                    <a:pt x="1178312" y="153019"/>
                    <a:pt x="1180617" y="149152"/>
                  </a:cubicBezTo>
                  <a:cubicBezTo>
                    <a:pt x="1186381" y="139125"/>
                    <a:pt x="1189709" y="144205"/>
                    <a:pt x="1199491" y="143637"/>
                  </a:cubicBezTo>
                  <a:cubicBezTo>
                    <a:pt x="1202982" y="143436"/>
                    <a:pt x="1231314" y="136117"/>
                    <a:pt x="1219502" y="134078"/>
                  </a:cubicBezTo>
                  <a:cubicBezTo>
                    <a:pt x="1211384" y="132707"/>
                    <a:pt x="1195148" y="143771"/>
                    <a:pt x="1193647" y="135983"/>
                  </a:cubicBezTo>
                  <a:cubicBezTo>
                    <a:pt x="1191901" y="127193"/>
                    <a:pt x="1210735" y="125956"/>
                    <a:pt x="1216702" y="126324"/>
                  </a:cubicBezTo>
                  <a:cubicBezTo>
                    <a:pt x="1227742" y="126792"/>
                    <a:pt x="1236509" y="128529"/>
                    <a:pt x="1227823" y="139192"/>
                  </a:cubicBezTo>
                  <a:cubicBezTo>
                    <a:pt x="1218122" y="151124"/>
                    <a:pt x="1218569" y="149787"/>
                    <a:pt x="1202414" y="151993"/>
                  </a:cubicBezTo>
                  <a:cubicBezTo>
                    <a:pt x="1184879" y="154399"/>
                    <a:pt x="1195270" y="160583"/>
                    <a:pt x="1201886" y="162020"/>
                  </a:cubicBezTo>
                  <a:cubicBezTo>
                    <a:pt x="1212074" y="164193"/>
                    <a:pt x="1205945" y="174353"/>
                    <a:pt x="1214063" y="176492"/>
                  </a:cubicBezTo>
                  <a:cubicBezTo>
                    <a:pt x="1227864" y="180035"/>
                    <a:pt x="1224860" y="169808"/>
                    <a:pt x="1224617" y="166031"/>
                  </a:cubicBezTo>
                  <a:cubicBezTo>
                    <a:pt x="1224089" y="158912"/>
                    <a:pt x="1250472" y="163725"/>
                    <a:pt x="1245561" y="152895"/>
                  </a:cubicBezTo>
                  <a:cubicBezTo>
                    <a:pt x="1242720" y="146578"/>
                    <a:pt x="1243937" y="140596"/>
                    <a:pt x="1259037" y="141899"/>
                  </a:cubicBezTo>
                  <a:cubicBezTo>
                    <a:pt x="1265977" y="142500"/>
                    <a:pt x="1263096" y="133643"/>
                    <a:pt x="1269347" y="130702"/>
                  </a:cubicBezTo>
                  <a:cubicBezTo>
                    <a:pt x="1280914" y="125254"/>
                    <a:pt x="1275354" y="141732"/>
                    <a:pt x="1282213" y="139492"/>
                  </a:cubicBezTo>
                  <a:cubicBezTo>
                    <a:pt x="1290575" y="136785"/>
                    <a:pt x="1288302" y="129800"/>
                    <a:pt x="1294390" y="134579"/>
                  </a:cubicBezTo>
                  <a:cubicBezTo>
                    <a:pt x="1297678" y="130201"/>
                    <a:pt x="1313508" y="113990"/>
                    <a:pt x="1309611" y="110949"/>
                  </a:cubicBezTo>
                  <a:cubicBezTo>
                    <a:pt x="1305715" y="107907"/>
                    <a:pt x="1291549" y="113456"/>
                    <a:pt x="1291265" y="107205"/>
                  </a:cubicBezTo>
                  <a:cubicBezTo>
                    <a:pt x="1291265" y="99384"/>
                    <a:pt x="1291874" y="115026"/>
                    <a:pt x="1291630" y="10723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50AA08D5-BD37-4CCE-9D39-78C5053CD7B9}"/>
                </a:ext>
              </a:extLst>
            </p:cNvPr>
            <p:cNvSpPr/>
            <p:nvPr/>
          </p:nvSpPr>
          <p:spPr>
            <a:xfrm>
              <a:off x="994322" y="5479659"/>
              <a:ext cx="56721" cy="54813"/>
            </a:xfrm>
            <a:custGeom>
              <a:avLst/>
              <a:gdLst>
                <a:gd name="connsiteX0" fmla="*/ 43006 w 58215"/>
                <a:gd name="connsiteY0" fmla="*/ 629 h 75051"/>
                <a:gd name="connsiteX1" fmla="*/ 14594 w 58215"/>
                <a:gd name="connsiteY1" fmla="*/ 52837 h 75051"/>
                <a:gd name="connsiteX2" fmla="*/ 6476 w 58215"/>
                <a:gd name="connsiteY2" fmla="*/ 74128 h 75051"/>
                <a:gd name="connsiteX3" fmla="*/ 32047 w 58215"/>
                <a:gd name="connsiteY3" fmla="*/ 60992 h 75051"/>
                <a:gd name="connsiteX4" fmla="*/ 54980 w 58215"/>
                <a:gd name="connsiteY4" fmla="*/ 18410 h 75051"/>
                <a:gd name="connsiteX5" fmla="*/ 46619 w 58215"/>
                <a:gd name="connsiteY5" fmla="*/ 11726 h 75051"/>
                <a:gd name="connsiteX6" fmla="*/ 42803 w 58215"/>
                <a:gd name="connsiteY6" fmla="*/ 763 h 75051"/>
                <a:gd name="connsiteX7" fmla="*/ 43006 w 58215"/>
                <a:gd name="connsiteY7" fmla="*/ 629 h 7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15" h="75051">
                  <a:moveTo>
                    <a:pt x="43006" y="629"/>
                  </a:moveTo>
                  <a:cubicBezTo>
                    <a:pt x="36066" y="-8429"/>
                    <a:pt x="16420" y="50765"/>
                    <a:pt x="14594" y="52837"/>
                  </a:cubicBezTo>
                  <a:cubicBezTo>
                    <a:pt x="5664" y="62630"/>
                    <a:pt x="-8461" y="70183"/>
                    <a:pt x="6476" y="74128"/>
                  </a:cubicBezTo>
                  <a:cubicBezTo>
                    <a:pt x="19099" y="77470"/>
                    <a:pt x="20276" y="65604"/>
                    <a:pt x="32047" y="60992"/>
                  </a:cubicBezTo>
                  <a:cubicBezTo>
                    <a:pt x="43818" y="56379"/>
                    <a:pt x="66508" y="17541"/>
                    <a:pt x="54980" y="18410"/>
                  </a:cubicBezTo>
                  <a:cubicBezTo>
                    <a:pt x="45482" y="19146"/>
                    <a:pt x="32412" y="25095"/>
                    <a:pt x="46619" y="11726"/>
                  </a:cubicBezTo>
                  <a:cubicBezTo>
                    <a:pt x="64762" y="-5554"/>
                    <a:pt x="47349" y="6746"/>
                    <a:pt x="42803" y="763"/>
                  </a:cubicBezTo>
                  <a:cubicBezTo>
                    <a:pt x="40327" y="-2947"/>
                    <a:pt x="45726" y="4205"/>
                    <a:pt x="43006" y="629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71FBD969-1DE0-4332-A990-D42BE05265D7}"/>
                </a:ext>
              </a:extLst>
            </p:cNvPr>
            <p:cNvSpPr/>
            <p:nvPr/>
          </p:nvSpPr>
          <p:spPr>
            <a:xfrm>
              <a:off x="992531" y="5478608"/>
              <a:ext cx="60562" cy="56978"/>
            </a:xfrm>
            <a:custGeom>
              <a:avLst/>
              <a:gdLst>
                <a:gd name="connsiteX0" fmla="*/ 20288 w 62157"/>
                <a:gd name="connsiteY0" fmla="*/ 74697 h 78016"/>
                <a:gd name="connsiteX1" fmla="*/ 7178 w 62157"/>
                <a:gd name="connsiteY1" fmla="*/ 77070 h 78016"/>
                <a:gd name="connsiteX2" fmla="*/ -47 w 62157"/>
                <a:gd name="connsiteY2" fmla="*/ 71221 h 78016"/>
                <a:gd name="connsiteX3" fmla="*/ 8639 w 62157"/>
                <a:gd name="connsiteY3" fmla="*/ 60158 h 78016"/>
                <a:gd name="connsiteX4" fmla="*/ 15052 w 62157"/>
                <a:gd name="connsiteY4" fmla="*/ 53908 h 78016"/>
                <a:gd name="connsiteX5" fmla="*/ 18705 w 62157"/>
                <a:gd name="connsiteY5" fmla="*/ 44683 h 78016"/>
                <a:gd name="connsiteX6" fmla="*/ 40583 w 62157"/>
                <a:gd name="connsiteY6" fmla="*/ 964 h 78016"/>
                <a:gd name="connsiteX7" fmla="*/ 43627 w 62157"/>
                <a:gd name="connsiteY7" fmla="*/ -339 h 78016"/>
                <a:gd name="connsiteX8" fmla="*/ 44277 w 62157"/>
                <a:gd name="connsiteY8" fmla="*/ -339 h 78016"/>
                <a:gd name="connsiteX9" fmla="*/ 44804 w 62157"/>
                <a:gd name="connsiteY9" fmla="*/ -339 h 78016"/>
                <a:gd name="connsiteX10" fmla="*/ 45900 w 62157"/>
                <a:gd name="connsiteY10" fmla="*/ -5 h 78016"/>
                <a:gd name="connsiteX11" fmla="*/ 45900 w 62157"/>
                <a:gd name="connsiteY11" fmla="*/ -5 h 78016"/>
                <a:gd name="connsiteX12" fmla="*/ 46266 w 62157"/>
                <a:gd name="connsiteY12" fmla="*/ 497 h 78016"/>
                <a:gd name="connsiteX13" fmla="*/ 46672 w 62157"/>
                <a:gd name="connsiteY13" fmla="*/ 1031 h 78016"/>
                <a:gd name="connsiteX14" fmla="*/ 46672 w 62157"/>
                <a:gd name="connsiteY14" fmla="*/ 1031 h 78016"/>
                <a:gd name="connsiteX15" fmla="*/ 54059 w 62157"/>
                <a:gd name="connsiteY15" fmla="*/ 2168 h 78016"/>
                <a:gd name="connsiteX16" fmla="*/ 58645 w 62157"/>
                <a:gd name="connsiteY16" fmla="*/ 2870 h 78016"/>
                <a:gd name="connsiteX17" fmla="*/ 49919 w 62157"/>
                <a:gd name="connsiteY17" fmla="*/ 13666 h 78016"/>
                <a:gd name="connsiteX18" fmla="*/ 44317 w 62157"/>
                <a:gd name="connsiteY18" fmla="*/ 20350 h 78016"/>
                <a:gd name="connsiteX19" fmla="*/ 50365 w 62157"/>
                <a:gd name="connsiteY19" fmla="*/ 19715 h 78016"/>
                <a:gd name="connsiteX20" fmla="*/ 57793 w 62157"/>
                <a:gd name="connsiteY20" fmla="*/ 18545 h 78016"/>
                <a:gd name="connsiteX21" fmla="*/ 62096 w 62157"/>
                <a:gd name="connsiteY21" fmla="*/ 22423 h 78016"/>
                <a:gd name="connsiteX22" fmla="*/ 37742 w 62157"/>
                <a:gd name="connsiteY22" fmla="*/ 61863 h 78016"/>
                <a:gd name="connsiteX23" fmla="*/ 37742 w 62157"/>
                <a:gd name="connsiteY23" fmla="*/ 61863 h 78016"/>
                <a:gd name="connsiteX24" fmla="*/ 34007 w 62157"/>
                <a:gd name="connsiteY24" fmla="*/ 63968 h 78016"/>
                <a:gd name="connsiteX25" fmla="*/ 24875 w 62157"/>
                <a:gd name="connsiteY25" fmla="*/ 70653 h 78016"/>
                <a:gd name="connsiteX26" fmla="*/ 20288 w 62157"/>
                <a:gd name="connsiteY26" fmla="*/ 74697 h 78016"/>
                <a:gd name="connsiteX27" fmla="*/ 42207 w 62157"/>
                <a:gd name="connsiteY27" fmla="*/ 2636 h 78016"/>
                <a:gd name="connsiteX28" fmla="*/ 22480 w 62157"/>
                <a:gd name="connsiteY28" fmla="*/ 43981 h 78016"/>
                <a:gd name="connsiteX29" fmla="*/ 17934 w 62157"/>
                <a:gd name="connsiteY29" fmla="*/ 54609 h 78016"/>
                <a:gd name="connsiteX30" fmla="*/ 11074 w 62157"/>
                <a:gd name="connsiteY30" fmla="*/ 61294 h 78016"/>
                <a:gd name="connsiteX31" fmla="*/ 3849 w 62157"/>
                <a:gd name="connsiteY31" fmla="*/ 69851 h 78016"/>
                <a:gd name="connsiteX32" fmla="*/ 9897 w 62157"/>
                <a:gd name="connsiteY32" fmla="*/ 74095 h 78016"/>
                <a:gd name="connsiteX33" fmla="*/ 18502 w 62157"/>
                <a:gd name="connsiteY33" fmla="*/ 73026 h 78016"/>
                <a:gd name="connsiteX34" fmla="*/ 22277 w 62157"/>
                <a:gd name="connsiteY34" fmla="*/ 69684 h 78016"/>
                <a:gd name="connsiteX35" fmla="*/ 34048 w 62157"/>
                <a:gd name="connsiteY35" fmla="*/ 61227 h 78016"/>
                <a:gd name="connsiteX36" fmla="*/ 36037 w 62157"/>
                <a:gd name="connsiteY36" fmla="*/ 60058 h 78016"/>
                <a:gd name="connsiteX37" fmla="*/ 36037 w 62157"/>
                <a:gd name="connsiteY37" fmla="*/ 60058 h 78016"/>
                <a:gd name="connsiteX38" fmla="*/ 58199 w 62157"/>
                <a:gd name="connsiteY38" fmla="*/ 23860 h 78016"/>
                <a:gd name="connsiteX39" fmla="*/ 56210 w 62157"/>
                <a:gd name="connsiteY39" fmla="*/ 21453 h 78016"/>
                <a:gd name="connsiteX40" fmla="*/ 49350 w 62157"/>
                <a:gd name="connsiteY40" fmla="*/ 22523 h 78016"/>
                <a:gd name="connsiteX41" fmla="*/ 40502 w 62157"/>
                <a:gd name="connsiteY41" fmla="*/ 22289 h 78016"/>
                <a:gd name="connsiteX42" fmla="*/ 47402 w 62157"/>
                <a:gd name="connsiteY42" fmla="*/ 12630 h 78016"/>
                <a:gd name="connsiteX43" fmla="*/ 54708 w 62157"/>
                <a:gd name="connsiteY43" fmla="*/ 4909 h 78016"/>
                <a:gd name="connsiteX44" fmla="*/ 52719 w 62157"/>
                <a:gd name="connsiteY44" fmla="*/ 5142 h 78016"/>
                <a:gd name="connsiteX45" fmla="*/ 44601 w 62157"/>
                <a:gd name="connsiteY45" fmla="*/ 4741 h 78016"/>
                <a:gd name="connsiteX46" fmla="*/ 43749 w 62157"/>
                <a:gd name="connsiteY46" fmla="*/ 4374 h 78016"/>
                <a:gd name="connsiteX47" fmla="*/ 43749 w 62157"/>
                <a:gd name="connsiteY47" fmla="*/ 4374 h 78016"/>
                <a:gd name="connsiteX48" fmla="*/ 43343 w 62157"/>
                <a:gd name="connsiteY48" fmla="*/ 3839 h 78016"/>
                <a:gd name="connsiteX49" fmla="*/ 42897 w 62157"/>
                <a:gd name="connsiteY49" fmla="*/ 3237 h 78016"/>
                <a:gd name="connsiteX50" fmla="*/ 42207 w 62157"/>
                <a:gd name="connsiteY50" fmla="*/ 2636 h 78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2157" h="78016">
                  <a:moveTo>
                    <a:pt x="20288" y="74697"/>
                  </a:moveTo>
                  <a:cubicBezTo>
                    <a:pt x="16834" y="77505"/>
                    <a:pt x="11740" y="78407"/>
                    <a:pt x="7178" y="77070"/>
                  </a:cubicBezTo>
                  <a:cubicBezTo>
                    <a:pt x="2063" y="75733"/>
                    <a:pt x="-250" y="73728"/>
                    <a:pt x="-47" y="71221"/>
                  </a:cubicBezTo>
                  <a:cubicBezTo>
                    <a:pt x="196" y="67879"/>
                    <a:pt x="4296" y="64135"/>
                    <a:pt x="8639" y="60158"/>
                  </a:cubicBezTo>
                  <a:cubicBezTo>
                    <a:pt x="10908" y="58153"/>
                    <a:pt x="13047" y="56080"/>
                    <a:pt x="15052" y="53908"/>
                  </a:cubicBezTo>
                  <a:cubicBezTo>
                    <a:pt x="15336" y="53406"/>
                    <a:pt x="16960" y="49161"/>
                    <a:pt x="18705" y="44683"/>
                  </a:cubicBezTo>
                  <a:cubicBezTo>
                    <a:pt x="28122" y="20117"/>
                    <a:pt x="34941" y="5076"/>
                    <a:pt x="40583" y="964"/>
                  </a:cubicBezTo>
                  <a:cubicBezTo>
                    <a:pt x="41440" y="330"/>
                    <a:pt x="42491" y="-138"/>
                    <a:pt x="43627" y="-339"/>
                  </a:cubicBezTo>
                  <a:lnTo>
                    <a:pt x="44277" y="-339"/>
                  </a:lnTo>
                  <a:lnTo>
                    <a:pt x="44804" y="-339"/>
                  </a:lnTo>
                  <a:cubicBezTo>
                    <a:pt x="45332" y="-339"/>
                    <a:pt x="45535" y="-339"/>
                    <a:pt x="45900" y="-5"/>
                  </a:cubicBezTo>
                  <a:lnTo>
                    <a:pt x="45900" y="-5"/>
                  </a:lnTo>
                  <a:lnTo>
                    <a:pt x="46266" y="497"/>
                  </a:lnTo>
                  <a:lnTo>
                    <a:pt x="46672" y="1031"/>
                  </a:lnTo>
                  <a:lnTo>
                    <a:pt x="46672" y="1031"/>
                  </a:lnTo>
                  <a:cubicBezTo>
                    <a:pt x="48173" y="3004"/>
                    <a:pt x="51299" y="2569"/>
                    <a:pt x="54059" y="2168"/>
                  </a:cubicBezTo>
                  <a:cubicBezTo>
                    <a:pt x="56088" y="1900"/>
                    <a:pt x="58118" y="1600"/>
                    <a:pt x="58645" y="2870"/>
                  </a:cubicBezTo>
                  <a:cubicBezTo>
                    <a:pt x="59173" y="4140"/>
                    <a:pt x="56941" y="6947"/>
                    <a:pt x="49919" y="13666"/>
                  </a:cubicBezTo>
                  <a:cubicBezTo>
                    <a:pt x="44155" y="19181"/>
                    <a:pt x="44317" y="20350"/>
                    <a:pt x="44317" y="20350"/>
                  </a:cubicBezTo>
                  <a:cubicBezTo>
                    <a:pt x="44317" y="20350"/>
                    <a:pt x="48052" y="20350"/>
                    <a:pt x="50365" y="19715"/>
                  </a:cubicBezTo>
                  <a:cubicBezTo>
                    <a:pt x="52809" y="19181"/>
                    <a:pt x="55289" y="18813"/>
                    <a:pt x="57793" y="18545"/>
                  </a:cubicBezTo>
                  <a:cubicBezTo>
                    <a:pt x="59701" y="18545"/>
                    <a:pt x="61852" y="18946"/>
                    <a:pt x="62096" y="22423"/>
                  </a:cubicBezTo>
                  <a:cubicBezTo>
                    <a:pt x="62299" y="31246"/>
                    <a:pt x="47970" y="54442"/>
                    <a:pt x="37742" y="61863"/>
                  </a:cubicBezTo>
                  <a:lnTo>
                    <a:pt x="37742" y="61863"/>
                  </a:lnTo>
                  <a:cubicBezTo>
                    <a:pt x="36626" y="62698"/>
                    <a:pt x="35367" y="63433"/>
                    <a:pt x="34007" y="63968"/>
                  </a:cubicBezTo>
                  <a:cubicBezTo>
                    <a:pt x="30432" y="65639"/>
                    <a:pt x="27318" y="67912"/>
                    <a:pt x="24875" y="70653"/>
                  </a:cubicBezTo>
                  <a:cubicBezTo>
                    <a:pt x="23466" y="72090"/>
                    <a:pt x="21932" y="73427"/>
                    <a:pt x="20288" y="74697"/>
                  </a:cubicBezTo>
                  <a:close/>
                  <a:moveTo>
                    <a:pt x="42207" y="2636"/>
                  </a:moveTo>
                  <a:cubicBezTo>
                    <a:pt x="36971" y="6479"/>
                    <a:pt x="26742" y="32717"/>
                    <a:pt x="22480" y="43981"/>
                  </a:cubicBezTo>
                  <a:cubicBezTo>
                    <a:pt x="21429" y="47658"/>
                    <a:pt x="19907" y="51200"/>
                    <a:pt x="17934" y="54609"/>
                  </a:cubicBezTo>
                  <a:cubicBezTo>
                    <a:pt x="15742" y="57016"/>
                    <a:pt x="13266" y="59289"/>
                    <a:pt x="11074" y="61294"/>
                  </a:cubicBezTo>
                  <a:cubicBezTo>
                    <a:pt x="7259" y="64637"/>
                    <a:pt x="4012" y="67745"/>
                    <a:pt x="3849" y="69851"/>
                  </a:cubicBezTo>
                  <a:cubicBezTo>
                    <a:pt x="3687" y="71957"/>
                    <a:pt x="5716" y="73193"/>
                    <a:pt x="9897" y="74095"/>
                  </a:cubicBezTo>
                  <a:cubicBezTo>
                    <a:pt x="12759" y="75232"/>
                    <a:pt x="16180" y="74831"/>
                    <a:pt x="18502" y="73026"/>
                  </a:cubicBezTo>
                  <a:cubicBezTo>
                    <a:pt x="19854" y="71990"/>
                    <a:pt x="21116" y="70853"/>
                    <a:pt x="22277" y="69684"/>
                  </a:cubicBezTo>
                  <a:cubicBezTo>
                    <a:pt x="25455" y="66241"/>
                    <a:pt x="29461" y="63366"/>
                    <a:pt x="34048" y="61227"/>
                  </a:cubicBezTo>
                  <a:cubicBezTo>
                    <a:pt x="34779" y="60927"/>
                    <a:pt x="35448" y="60526"/>
                    <a:pt x="36037" y="60058"/>
                  </a:cubicBezTo>
                  <a:lnTo>
                    <a:pt x="36037" y="60058"/>
                  </a:lnTo>
                  <a:cubicBezTo>
                    <a:pt x="44926" y="53607"/>
                    <a:pt x="58402" y="31647"/>
                    <a:pt x="58199" y="23860"/>
                  </a:cubicBezTo>
                  <a:cubicBezTo>
                    <a:pt x="58199" y="22155"/>
                    <a:pt x="57468" y="21353"/>
                    <a:pt x="56210" y="21453"/>
                  </a:cubicBezTo>
                  <a:cubicBezTo>
                    <a:pt x="53897" y="21687"/>
                    <a:pt x="51603" y="22021"/>
                    <a:pt x="49350" y="22523"/>
                  </a:cubicBezTo>
                  <a:cubicBezTo>
                    <a:pt x="45007" y="23392"/>
                    <a:pt x="41232" y="24127"/>
                    <a:pt x="40502" y="22289"/>
                  </a:cubicBezTo>
                  <a:cubicBezTo>
                    <a:pt x="39771" y="20451"/>
                    <a:pt x="41882" y="17877"/>
                    <a:pt x="47402" y="12630"/>
                  </a:cubicBezTo>
                  <a:cubicBezTo>
                    <a:pt x="50138" y="10256"/>
                    <a:pt x="52585" y="7683"/>
                    <a:pt x="54708" y="4909"/>
                  </a:cubicBezTo>
                  <a:cubicBezTo>
                    <a:pt x="54039" y="4942"/>
                    <a:pt x="53377" y="5042"/>
                    <a:pt x="52719" y="5142"/>
                  </a:cubicBezTo>
                  <a:cubicBezTo>
                    <a:pt x="50036" y="5778"/>
                    <a:pt x="47171" y="5644"/>
                    <a:pt x="44601" y="4741"/>
                  </a:cubicBezTo>
                  <a:cubicBezTo>
                    <a:pt x="44236" y="4741"/>
                    <a:pt x="44074" y="4741"/>
                    <a:pt x="43749" y="4374"/>
                  </a:cubicBezTo>
                  <a:lnTo>
                    <a:pt x="43749" y="4374"/>
                  </a:lnTo>
                  <a:cubicBezTo>
                    <a:pt x="43749" y="4374"/>
                    <a:pt x="43465" y="4040"/>
                    <a:pt x="43343" y="3839"/>
                  </a:cubicBezTo>
                  <a:lnTo>
                    <a:pt x="42897" y="3237"/>
                  </a:lnTo>
                  <a:cubicBezTo>
                    <a:pt x="42531" y="2669"/>
                    <a:pt x="42247" y="2636"/>
                    <a:pt x="42207" y="2636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E1840347-E69E-4636-8987-2471E0EA9CC2}"/>
                </a:ext>
              </a:extLst>
            </p:cNvPr>
            <p:cNvSpPr/>
            <p:nvPr/>
          </p:nvSpPr>
          <p:spPr>
            <a:xfrm>
              <a:off x="3510235" y="5131113"/>
              <a:ext cx="30355" cy="14186"/>
            </a:xfrm>
            <a:custGeom>
              <a:avLst/>
              <a:gdLst>
                <a:gd name="connsiteX0" fmla="*/ 30672 w 31155"/>
                <a:gd name="connsiteY0" fmla="*/ 18493 h 19424"/>
                <a:gd name="connsiteX1" fmla="*/ -54 w 31155"/>
                <a:gd name="connsiteY1" fmla="*/ 4088 h 19424"/>
                <a:gd name="connsiteX2" fmla="*/ 16182 w 31155"/>
                <a:gd name="connsiteY2" fmla="*/ 6360 h 19424"/>
                <a:gd name="connsiteX3" fmla="*/ 30713 w 31155"/>
                <a:gd name="connsiteY3" fmla="*/ 18493 h 19424"/>
                <a:gd name="connsiteX4" fmla="*/ 30672 w 31155"/>
                <a:gd name="connsiteY4" fmla="*/ 18493 h 1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155" h="19424">
                  <a:moveTo>
                    <a:pt x="30672" y="18493"/>
                  </a:moveTo>
                  <a:cubicBezTo>
                    <a:pt x="29941" y="21000"/>
                    <a:pt x="189" y="9870"/>
                    <a:pt x="-54" y="4088"/>
                  </a:cubicBezTo>
                  <a:cubicBezTo>
                    <a:pt x="-379" y="-5438"/>
                    <a:pt x="14680" y="2851"/>
                    <a:pt x="16182" y="6360"/>
                  </a:cubicBezTo>
                  <a:cubicBezTo>
                    <a:pt x="18049" y="10872"/>
                    <a:pt x="31930" y="14382"/>
                    <a:pt x="30713" y="18493"/>
                  </a:cubicBezTo>
                  <a:cubicBezTo>
                    <a:pt x="29779" y="21133"/>
                    <a:pt x="31971" y="13814"/>
                    <a:pt x="30672" y="18493"/>
                  </a:cubicBezTo>
                  <a:close/>
                </a:path>
              </a:pathLst>
            </a:custGeom>
            <a:noFill/>
            <a:ln w="3021" cap="flat">
              <a:solidFill>
                <a:schemeClr val="bg1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EDA4FA49-37B9-4998-ABF1-93CB5216314D}"/>
                </a:ext>
              </a:extLst>
            </p:cNvPr>
            <p:cNvSpPr/>
            <p:nvPr/>
          </p:nvSpPr>
          <p:spPr>
            <a:xfrm>
              <a:off x="3508182" y="5130234"/>
              <a:ext cx="33919" cy="16292"/>
            </a:xfrm>
            <a:custGeom>
              <a:avLst/>
              <a:gdLst>
                <a:gd name="connsiteX0" fmla="*/ 32170 w 34813"/>
                <a:gd name="connsiteY0" fmla="*/ 21969 h 22308"/>
                <a:gd name="connsiteX1" fmla="*/ 30993 w 34813"/>
                <a:gd name="connsiteY1" fmla="*/ 21268 h 22308"/>
                <a:gd name="connsiteX2" fmla="*/ 30993 w 34813"/>
                <a:gd name="connsiteY2" fmla="*/ 21268 h 22308"/>
                <a:gd name="connsiteX3" fmla="*/ 25960 w 34813"/>
                <a:gd name="connsiteY3" fmla="*/ 20298 h 22308"/>
                <a:gd name="connsiteX4" fmla="*/ 23 w 34813"/>
                <a:gd name="connsiteY4" fmla="*/ 5659 h 22308"/>
                <a:gd name="connsiteX5" fmla="*/ 3717 w 34813"/>
                <a:gd name="connsiteY5" fmla="*/ 77 h 22308"/>
                <a:gd name="connsiteX6" fmla="*/ 8425 w 34813"/>
                <a:gd name="connsiteY6" fmla="*/ -123 h 22308"/>
                <a:gd name="connsiteX7" fmla="*/ 19993 w 34813"/>
                <a:gd name="connsiteY7" fmla="*/ 6996 h 22308"/>
                <a:gd name="connsiteX8" fmla="*/ 27177 w 34813"/>
                <a:gd name="connsiteY8" fmla="*/ 12343 h 22308"/>
                <a:gd name="connsiteX9" fmla="*/ 33753 w 34813"/>
                <a:gd name="connsiteY9" fmla="*/ 16755 h 22308"/>
                <a:gd name="connsiteX10" fmla="*/ 33753 w 34813"/>
                <a:gd name="connsiteY10" fmla="*/ 16755 h 22308"/>
                <a:gd name="connsiteX11" fmla="*/ 34483 w 34813"/>
                <a:gd name="connsiteY11" fmla="*/ 17223 h 22308"/>
                <a:gd name="connsiteX12" fmla="*/ 34727 w 34813"/>
                <a:gd name="connsiteY12" fmla="*/ 18092 h 22308"/>
                <a:gd name="connsiteX13" fmla="*/ 34727 w 34813"/>
                <a:gd name="connsiteY13" fmla="*/ 18092 h 22308"/>
                <a:gd name="connsiteX14" fmla="*/ 34727 w 34813"/>
                <a:gd name="connsiteY14" fmla="*/ 18694 h 22308"/>
                <a:gd name="connsiteX15" fmla="*/ 34402 w 34813"/>
                <a:gd name="connsiteY15" fmla="*/ 19763 h 22308"/>
                <a:gd name="connsiteX16" fmla="*/ 34402 w 34813"/>
                <a:gd name="connsiteY16" fmla="*/ 20298 h 22308"/>
                <a:gd name="connsiteX17" fmla="*/ 34402 w 34813"/>
                <a:gd name="connsiteY17" fmla="*/ 20298 h 22308"/>
                <a:gd name="connsiteX18" fmla="*/ 33793 w 34813"/>
                <a:gd name="connsiteY18" fmla="*/ 21134 h 22308"/>
                <a:gd name="connsiteX19" fmla="*/ 4731 w 34813"/>
                <a:gd name="connsiteY19" fmla="*/ 2283 h 22308"/>
                <a:gd name="connsiteX20" fmla="*/ 3879 w 34813"/>
                <a:gd name="connsiteY20" fmla="*/ 5091 h 22308"/>
                <a:gd name="connsiteX21" fmla="*/ 30546 w 34813"/>
                <a:gd name="connsiteY21" fmla="*/ 18861 h 22308"/>
                <a:gd name="connsiteX22" fmla="*/ 24255 w 34813"/>
                <a:gd name="connsiteY22" fmla="*/ 14483 h 22308"/>
                <a:gd name="connsiteX23" fmla="*/ 16137 w 34813"/>
                <a:gd name="connsiteY23" fmla="*/ 8299 h 22308"/>
                <a:gd name="connsiteX24" fmla="*/ 6314 w 34813"/>
                <a:gd name="connsiteY24" fmla="*/ 2350 h 22308"/>
                <a:gd name="connsiteX25" fmla="*/ 4731 w 34813"/>
                <a:gd name="connsiteY25" fmla="*/ 2283 h 22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13" h="22308">
                  <a:moveTo>
                    <a:pt x="32170" y="21969"/>
                  </a:moveTo>
                  <a:lnTo>
                    <a:pt x="30993" y="21268"/>
                  </a:lnTo>
                  <a:lnTo>
                    <a:pt x="30993" y="21268"/>
                  </a:lnTo>
                  <a:cubicBezTo>
                    <a:pt x="29268" y="21144"/>
                    <a:pt x="27571" y="20816"/>
                    <a:pt x="25960" y="20298"/>
                  </a:cubicBezTo>
                  <a:cubicBezTo>
                    <a:pt x="18694" y="18260"/>
                    <a:pt x="226" y="10906"/>
                    <a:pt x="23" y="5659"/>
                  </a:cubicBezTo>
                  <a:cubicBezTo>
                    <a:pt x="-440" y="3322"/>
                    <a:pt x="1082" y="1023"/>
                    <a:pt x="3717" y="77"/>
                  </a:cubicBezTo>
                  <a:cubicBezTo>
                    <a:pt x="5222" y="-398"/>
                    <a:pt x="6870" y="-468"/>
                    <a:pt x="8425" y="-123"/>
                  </a:cubicBezTo>
                  <a:cubicBezTo>
                    <a:pt x="13251" y="933"/>
                    <a:pt x="17395" y="3483"/>
                    <a:pt x="19993" y="6996"/>
                  </a:cubicBezTo>
                  <a:cubicBezTo>
                    <a:pt x="20724" y="8801"/>
                    <a:pt x="24052" y="10605"/>
                    <a:pt x="27177" y="12343"/>
                  </a:cubicBezTo>
                  <a:cubicBezTo>
                    <a:pt x="29661" y="13490"/>
                    <a:pt x="31886" y="14984"/>
                    <a:pt x="33753" y="16755"/>
                  </a:cubicBezTo>
                  <a:lnTo>
                    <a:pt x="33753" y="16755"/>
                  </a:lnTo>
                  <a:lnTo>
                    <a:pt x="34483" y="17223"/>
                  </a:lnTo>
                  <a:cubicBezTo>
                    <a:pt x="34715" y="17471"/>
                    <a:pt x="34804" y="17788"/>
                    <a:pt x="34727" y="18092"/>
                  </a:cubicBezTo>
                  <a:lnTo>
                    <a:pt x="34727" y="18092"/>
                  </a:lnTo>
                  <a:cubicBezTo>
                    <a:pt x="34747" y="18293"/>
                    <a:pt x="34747" y="18493"/>
                    <a:pt x="34727" y="18694"/>
                  </a:cubicBezTo>
                  <a:cubicBezTo>
                    <a:pt x="34658" y="19058"/>
                    <a:pt x="34548" y="19416"/>
                    <a:pt x="34402" y="19763"/>
                  </a:cubicBezTo>
                  <a:cubicBezTo>
                    <a:pt x="34427" y="19941"/>
                    <a:pt x="34427" y="20121"/>
                    <a:pt x="34402" y="20298"/>
                  </a:cubicBezTo>
                  <a:lnTo>
                    <a:pt x="34402" y="20298"/>
                  </a:lnTo>
                  <a:cubicBezTo>
                    <a:pt x="34277" y="20609"/>
                    <a:pt x="34069" y="20893"/>
                    <a:pt x="33793" y="21134"/>
                  </a:cubicBezTo>
                  <a:close/>
                  <a:moveTo>
                    <a:pt x="4731" y="2283"/>
                  </a:moveTo>
                  <a:cubicBezTo>
                    <a:pt x="4528" y="2283"/>
                    <a:pt x="3798" y="3052"/>
                    <a:pt x="3879" y="5091"/>
                  </a:cubicBezTo>
                  <a:cubicBezTo>
                    <a:pt x="3879" y="9335"/>
                    <a:pt x="23890" y="17457"/>
                    <a:pt x="30546" y="18861"/>
                  </a:cubicBezTo>
                  <a:cubicBezTo>
                    <a:pt x="28821" y="17073"/>
                    <a:pt x="26682" y="15585"/>
                    <a:pt x="24255" y="14483"/>
                  </a:cubicBezTo>
                  <a:cubicBezTo>
                    <a:pt x="20805" y="12577"/>
                    <a:pt x="17233" y="10639"/>
                    <a:pt x="16137" y="8299"/>
                  </a:cubicBezTo>
                  <a:cubicBezTo>
                    <a:pt x="13836" y="5411"/>
                    <a:pt x="10349" y="3299"/>
                    <a:pt x="6314" y="2350"/>
                  </a:cubicBezTo>
                  <a:cubicBezTo>
                    <a:pt x="5803" y="2220"/>
                    <a:pt x="5259" y="2196"/>
                    <a:pt x="4731" y="2283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51813206-07AA-4BCF-9D88-B1A77D378295}"/>
                </a:ext>
              </a:extLst>
            </p:cNvPr>
            <p:cNvSpPr/>
            <p:nvPr/>
          </p:nvSpPr>
          <p:spPr>
            <a:xfrm>
              <a:off x="4071525" y="5202277"/>
              <a:ext cx="26098" cy="12542"/>
            </a:xfrm>
            <a:custGeom>
              <a:avLst/>
              <a:gdLst>
                <a:gd name="connsiteX0" fmla="*/ 5113 w 26786"/>
                <a:gd name="connsiteY0" fmla="*/ 16378 h 17173"/>
                <a:gd name="connsiteX1" fmla="*/ 1379 w 26786"/>
                <a:gd name="connsiteY1" fmla="*/ 8924 h 17173"/>
                <a:gd name="connsiteX2" fmla="*/ 12217 w 26786"/>
                <a:gd name="connsiteY2" fmla="*/ 1237 h 17173"/>
                <a:gd name="connsiteX3" fmla="*/ 5113 w 26786"/>
                <a:gd name="connsiteY3" fmla="*/ 16378 h 17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86" h="17173">
                  <a:moveTo>
                    <a:pt x="5113" y="16378"/>
                  </a:moveTo>
                  <a:cubicBezTo>
                    <a:pt x="161" y="15241"/>
                    <a:pt x="8604" y="8924"/>
                    <a:pt x="1379" y="8924"/>
                  </a:cubicBezTo>
                  <a:cubicBezTo>
                    <a:pt x="-4831" y="8924"/>
                    <a:pt x="10999" y="1605"/>
                    <a:pt x="12217" y="1237"/>
                  </a:cubicBezTo>
                  <a:cubicBezTo>
                    <a:pt x="38884" y="-7119"/>
                    <a:pt x="24150" y="20689"/>
                    <a:pt x="5113" y="16378"/>
                  </a:cubicBezTo>
                  <a:close/>
                </a:path>
              </a:pathLst>
            </a:custGeom>
            <a:solidFill>
              <a:schemeClr val="accent4"/>
            </a:solidFill>
            <a:ln w="3021" cap="flat">
              <a:solidFill>
                <a:srgbClr val="BF1F99">
                  <a:alpha val="44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384" name="S EUROPE">
            <a:extLst>
              <a:ext uri="{FF2B5EF4-FFF2-40B4-BE49-F238E27FC236}">
                <a16:creationId xmlns:a16="http://schemas.microsoft.com/office/drawing/2014/main" id="{D8C20253-5FAC-4AD2-8EA9-A903771B0177}"/>
              </a:ext>
            </a:extLst>
          </p:cNvPr>
          <p:cNvGrpSpPr/>
          <p:nvPr/>
        </p:nvGrpSpPr>
        <p:grpSpPr>
          <a:xfrm>
            <a:off x="5398454" y="4429389"/>
            <a:ext cx="1739054" cy="379028"/>
            <a:chOff x="5398454" y="4429389"/>
            <a:chExt cx="1739054" cy="379028"/>
          </a:xfrm>
        </p:grpSpPr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10DC2CB1-B8CF-4BE2-B311-7D588A0194AC}"/>
                </a:ext>
              </a:extLst>
            </p:cNvPr>
            <p:cNvSpPr/>
            <p:nvPr/>
          </p:nvSpPr>
          <p:spPr>
            <a:xfrm>
              <a:off x="6261225" y="4532294"/>
              <a:ext cx="111073" cy="42953"/>
            </a:xfrm>
            <a:custGeom>
              <a:avLst/>
              <a:gdLst>
                <a:gd name="connsiteX0" fmla="*/ 83642 w 113999"/>
                <a:gd name="connsiteY0" fmla="*/ 53194 h 58813"/>
                <a:gd name="connsiteX1" fmla="*/ 100771 w 113999"/>
                <a:gd name="connsiteY1" fmla="*/ 38120 h 58813"/>
                <a:gd name="connsiteX2" fmla="*/ 113841 w 113999"/>
                <a:gd name="connsiteY2" fmla="*/ 22879 h 58813"/>
                <a:gd name="connsiteX3" fmla="*/ 84778 w 113999"/>
                <a:gd name="connsiteY3" fmla="*/ 3694 h 58813"/>
                <a:gd name="connsiteX4" fmla="*/ 47030 w 113999"/>
                <a:gd name="connsiteY4" fmla="*/ 1321 h 58813"/>
                <a:gd name="connsiteX5" fmla="*/ 34853 w 113999"/>
                <a:gd name="connsiteY5" fmla="*/ -50 h 58813"/>
                <a:gd name="connsiteX6" fmla="*/ 14071 w 113999"/>
                <a:gd name="connsiteY6" fmla="*/ 1822 h 58813"/>
                <a:gd name="connsiteX7" fmla="*/ 1894 w 113999"/>
                <a:gd name="connsiteY7" fmla="*/ 8239 h 58813"/>
                <a:gd name="connsiteX8" fmla="*/ 14518 w 113999"/>
                <a:gd name="connsiteY8" fmla="*/ 17999 h 58813"/>
                <a:gd name="connsiteX9" fmla="*/ 40373 w 113999"/>
                <a:gd name="connsiteY9" fmla="*/ 35446 h 58813"/>
                <a:gd name="connsiteX10" fmla="*/ 82262 w 113999"/>
                <a:gd name="connsiteY10" fmla="*/ 58475 h 58813"/>
                <a:gd name="connsiteX11" fmla="*/ 83804 w 113999"/>
                <a:gd name="connsiteY11" fmla="*/ 53194 h 58813"/>
                <a:gd name="connsiteX12" fmla="*/ 83642 w 113999"/>
                <a:gd name="connsiteY12" fmla="*/ 53194 h 58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999" h="58813">
                  <a:moveTo>
                    <a:pt x="83642" y="53194"/>
                  </a:moveTo>
                  <a:cubicBezTo>
                    <a:pt x="82100" y="48548"/>
                    <a:pt x="95575" y="41128"/>
                    <a:pt x="100771" y="38120"/>
                  </a:cubicBezTo>
                  <a:cubicBezTo>
                    <a:pt x="110228" y="32605"/>
                    <a:pt x="112948" y="31603"/>
                    <a:pt x="113841" y="22879"/>
                  </a:cubicBezTo>
                  <a:cubicBezTo>
                    <a:pt x="115018" y="11782"/>
                    <a:pt x="105723" y="6869"/>
                    <a:pt x="84778" y="3694"/>
                  </a:cubicBezTo>
                  <a:cubicBezTo>
                    <a:pt x="73008" y="1922"/>
                    <a:pt x="59126" y="2290"/>
                    <a:pt x="47030" y="1321"/>
                  </a:cubicBezTo>
                  <a:cubicBezTo>
                    <a:pt x="42931" y="1120"/>
                    <a:pt x="38872" y="662"/>
                    <a:pt x="34853" y="-50"/>
                  </a:cubicBezTo>
                  <a:cubicBezTo>
                    <a:pt x="27506" y="-1754"/>
                    <a:pt x="20931" y="4763"/>
                    <a:pt x="14071" y="1822"/>
                  </a:cubicBezTo>
                  <a:cubicBezTo>
                    <a:pt x="5953" y="-1721"/>
                    <a:pt x="-4438" y="4162"/>
                    <a:pt x="1894" y="8239"/>
                  </a:cubicBezTo>
                  <a:cubicBezTo>
                    <a:pt x="6522" y="11314"/>
                    <a:pt x="14640" y="13520"/>
                    <a:pt x="14518" y="17999"/>
                  </a:cubicBezTo>
                  <a:cubicBezTo>
                    <a:pt x="14518" y="25152"/>
                    <a:pt x="42038" y="29463"/>
                    <a:pt x="40373" y="35446"/>
                  </a:cubicBezTo>
                  <a:cubicBezTo>
                    <a:pt x="38994" y="40861"/>
                    <a:pt x="75606" y="55500"/>
                    <a:pt x="82262" y="58475"/>
                  </a:cubicBezTo>
                  <a:cubicBezTo>
                    <a:pt x="83277" y="56841"/>
                    <a:pt x="83804" y="55029"/>
                    <a:pt x="83804" y="53194"/>
                  </a:cubicBezTo>
                  <a:cubicBezTo>
                    <a:pt x="82506" y="49785"/>
                    <a:pt x="83926" y="54097"/>
                    <a:pt x="83642" y="53194"/>
                  </a:cubicBezTo>
                  <a:close/>
                </a:path>
              </a:pathLst>
            </a:custGeom>
            <a:solidFill>
              <a:schemeClr val="accent5"/>
            </a:solidFill>
            <a:ln w="3021" cap="flat">
              <a:solidFill>
                <a:schemeClr val="accent5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99ECEE6B-FE75-43B4-885A-534315F5DBCA}"/>
                </a:ext>
              </a:extLst>
            </p:cNvPr>
            <p:cNvSpPr/>
            <p:nvPr/>
          </p:nvSpPr>
          <p:spPr>
            <a:xfrm>
              <a:off x="6177867" y="4506592"/>
              <a:ext cx="106057" cy="21860"/>
            </a:xfrm>
            <a:custGeom>
              <a:avLst/>
              <a:gdLst>
                <a:gd name="connsiteX0" fmla="*/ 99 w 108851"/>
                <a:gd name="connsiteY0" fmla="*/ 25950 h 29931"/>
                <a:gd name="connsiteX1" fmla="*/ 20800 w 108851"/>
                <a:gd name="connsiteY1" fmla="*/ 24746 h 29931"/>
                <a:gd name="connsiteX2" fmla="*/ 32206 w 108851"/>
                <a:gd name="connsiteY2" fmla="*/ 29459 h 29931"/>
                <a:gd name="connsiteX3" fmla="*/ 66423 w 108851"/>
                <a:gd name="connsiteY3" fmla="*/ 29125 h 29931"/>
                <a:gd name="connsiteX4" fmla="*/ 84729 w 108851"/>
                <a:gd name="connsiteY4" fmla="*/ 18262 h 29931"/>
                <a:gd name="connsiteX5" fmla="*/ 107987 w 108851"/>
                <a:gd name="connsiteY5" fmla="*/ 6698 h 29931"/>
                <a:gd name="connsiteX6" fmla="*/ 99179 w 108851"/>
                <a:gd name="connsiteY6" fmla="*/ -188 h 29931"/>
                <a:gd name="connsiteX7" fmla="*/ 54977 w 108851"/>
                <a:gd name="connsiteY7" fmla="*/ 7266 h 29931"/>
                <a:gd name="connsiteX8" fmla="*/ 15077 w 108851"/>
                <a:gd name="connsiteY8" fmla="*/ 3923 h 29931"/>
                <a:gd name="connsiteX9" fmla="*/ 1276 w 108851"/>
                <a:gd name="connsiteY9" fmla="*/ 7065 h 29931"/>
                <a:gd name="connsiteX10" fmla="*/ 99 w 108851"/>
                <a:gd name="connsiteY10" fmla="*/ 25883 h 29931"/>
                <a:gd name="connsiteX11" fmla="*/ 99 w 108851"/>
                <a:gd name="connsiteY11" fmla="*/ 25950 h 2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8851" h="29931">
                  <a:moveTo>
                    <a:pt x="99" y="25950"/>
                  </a:moveTo>
                  <a:cubicBezTo>
                    <a:pt x="6797" y="24275"/>
                    <a:pt x="13859" y="23864"/>
                    <a:pt x="20800" y="24746"/>
                  </a:cubicBezTo>
                  <a:cubicBezTo>
                    <a:pt x="30014" y="26752"/>
                    <a:pt x="20353" y="30328"/>
                    <a:pt x="32206" y="29459"/>
                  </a:cubicBezTo>
                  <a:cubicBezTo>
                    <a:pt x="43571" y="28714"/>
                    <a:pt x="55017" y="28603"/>
                    <a:pt x="66423" y="29125"/>
                  </a:cubicBezTo>
                  <a:cubicBezTo>
                    <a:pt x="67681" y="29125"/>
                    <a:pt x="84201" y="19766"/>
                    <a:pt x="84729" y="18262"/>
                  </a:cubicBezTo>
                  <a:cubicBezTo>
                    <a:pt x="87083" y="11577"/>
                    <a:pt x="98326" y="10842"/>
                    <a:pt x="107987" y="6698"/>
                  </a:cubicBezTo>
                  <a:cubicBezTo>
                    <a:pt x="111234" y="5294"/>
                    <a:pt x="103928" y="-1424"/>
                    <a:pt x="99179" y="-188"/>
                  </a:cubicBezTo>
                  <a:cubicBezTo>
                    <a:pt x="85378" y="3456"/>
                    <a:pt x="69467" y="4057"/>
                    <a:pt x="54977" y="7266"/>
                  </a:cubicBezTo>
                  <a:cubicBezTo>
                    <a:pt x="44342" y="9639"/>
                    <a:pt x="26320" y="4425"/>
                    <a:pt x="15077" y="3923"/>
                  </a:cubicBezTo>
                  <a:cubicBezTo>
                    <a:pt x="5741" y="3589"/>
                    <a:pt x="2332" y="1283"/>
                    <a:pt x="1276" y="7065"/>
                  </a:cubicBezTo>
                  <a:cubicBezTo>
                    <a:pt x="59" y="13285"/>
                    <a:pt x="-307" y="19592"/>
                    <a:pt x="99" y="25883"/>
                  </a:cubicBezTo>
                  <a:cubicBezTo>
                    <a:pt x="8217" y="24379"/>
                    <a:pt x="-429" y="17861"/>
                    <a:pt x="99" y="25950"/>
                  </a:cubicBezTo>
                  <a:close/>
                </a:path>
              </a:pathLst>
            </a:custGeom>
            <a:solidFill>
              <a:schemeClr val="accent5"/>
            </a:solidFill>
            <a:ln w="3021" cap="flat">
              <a:solidFill>
                <a:schemeClr val="accent5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387" name="Group 386">
              <a:extLst>
                <a:ext uri="{FF2B5EF4-FFF2-40B4-BE49-F238E27FC236}">
                  <a16:creationId xmlns:a16="http://schemas.microsoft.com/office/drawing/2014/main" id="{46F42B62-44A2-4AD8-80D1-CD7264D58D57}"/>
                </a:ext>
              </a:extLst>
            </p:cNvPr>
            <p:cNvGrpSpPr/>
            <p:nvPr/>
          </p:nvGrpSpPr>
          <p:grpSpPr>
            <a:xfrm>
              <a:off x="5398454" y="4440470"/>
              <a:ext cx="1739054" cy="367947"/>
              <a:chOff x="5398454" y="4440470"/>
              <a:chExt cx="1739054" cy="367947"/>
            </a:xfrm>
          </p:grpSpPr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B03BDCF2-2274-4F61-AC67-C3BD66E1EDD8}"/>
                  </a:ext>
                </a:extLst>
              </p:cNvPr>
              <p:cNvSpPr/>
              <p:nvPr/>
            </p:nvSpPr>
            <p:spPr>
              <a:xfrm>
                <a:off x="6799085" y="4728594"/>
                <a:ext cx="45693" cy="51506"/>
              </a:xfrm>
              <a:custGeom>
                <a:avLst/>
                <a:gdLst>
                  <a:gd name="connsiteX0" fmla="*/ 16011 w 46897"/>
                  <a:gd name="connsiteY0" fmla="*/ 68948 h 70523"/>
                  <a:gd name="connsiteX1" fmla="*/ 19055 w 46897"/>
                  <a:gd name="connsiteY1" fmla="*/ 70185 h 70523"/>
                  <a:gd name="connsiteX2" fmla="*/ 31922 w 46897"/>
                  <a:gd name="connsiteY2" fmla="*/ 46387 h 70523"/>
                  <a:gd name="connsiteX3" fmla="*/ 27213 w 46897"/>
                  <a:gd name="connsiteY3" fmla="*/ 25030 h 70523"/>
                  <a:gd name="connsiteX4" fmla="*/ 32125 w 46897"/>
                  <a:gd name="connsiteY4" fmla="*/ 16340 h 70523"/>
                  <a:gd name="connsiteX5" fmla="*/ 45438 w 46897"/>
                  <a:gd name="connsiteY5" fmla="*/ 12362 h 70523"/>
                  <a:gd name="connsiteX6" fmla="*/ 32937 w 46897"/>
                  <a:gd name="connsiteY6" fmla="*/ -339 h 70523"/>
                  <a:gd name="connsiteX7" fmla="*/ 12642 w 46897"/>
                  <a:gd name="connsiteY7" fmla="*/ 24261 h 70523"/>
                  <a:gd name="connsiteX8" fmla="*/ 465 w 46897"/>
                  <a:gd name="connsiteY8" fmla="*/ 38366 h 70523"/>
                  <a:gd name="connsiteX9" fmla="*/ 16011 w 46897"/>
                  <a:gd name="connsiteY9" fmla="*/ 68948 h 70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897" h="70523">
                    <a:moveTo>
                      <a:pt x="16011" y="68948"/>
                    </a:moveTo>
                    <a:lnTo>
                      <a:pt x="19055" y="70185"/>
                    </a:lnTo>
                    <a:cubicBezTo>
                      <a:pt x="21653" y="63500"/>
                      <a:pt x="23114" y="51568"/>
                      <a:pt x="31922" y="46387"/>
                    </a:cubicBezTo>
                    <a:cubicBezTo>
                      <a:pt x="44707" y="38733"/>
                      <a:pt x="24656" y="33018"/>
                      <a:pt x="27213" y="25030"/>
                    </a:cubicBezTo>
                    <a:cubicBezTo>
                      <a:pt x="27904" y="21835"/>
                      <a:pt x="29608" y="18840"/>
                      <a:pt x="32125" y="16340"/>
                    </a:cubicBezTo>
                    <a:cubicBezTo>
                      <a:pt x="37320" y="11794"/>
                      <a:pt x="42881" y="19314"/>
                      <a:pt x="45438" y="12362"/>
                    </a:cubicBezTo>
                    <a:cubicBezTo>
                      <a:pt x="48726" y="3539"/>
                      <a:pt x="46859" y="4207"/>
                      <a:pt x="32937" y="-339"/>
                    </a:cubicBezTo>
                    <a:cubicBezTo>
                      <a:pt x="24819" y="7482"/>
                      <a:pt x="21287" y="16373"/>
                      <a:pt x="12642" y="24261"/>
                    </a:cubicBezTo>
                    <a:cubicBezTo>
                      <a:pt x="7852" y="28639"/>
                      <a:pt x="-2499" y="32985"/>
                      <a:pt x="465" y="38366"/>
                    </a:cubicBezTo>
                    <a:cubicBezTo>
                      <a:pt x="5619" y="46354"/>
                      <a:pt x="20394" y="61328"/>
                      <a:pt x="16011" y="6894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3021" cap="flat">
                <a:solidFill>
                  <a:schemeClr val="accent5">
                    <a:alpha val="44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grpSp>
            <p:nvGrpSpPr>
              <p:cNvPr id="390" name="Group 389">
                <a:extLst>
                  <a:ext uri="{FF2B5EF4-FFF2-40B4-BE49-F238E27FC236}">
                    <a16:creationId xmlns:a16="http://schemas.microsoft.com/office/drawing/2014/main" id="{F2F07EAF-254E-43AD-8C3C-5B7919581750}"/>
                  </a:ext>
                </a:extLst>
              </p:cNvPr>
              <p:cNvGrpSpPr/>
              <p:nvPr/>
            </p:nvGrpSpPr>
            <p:grpSpPr>
              <a:xfrm>
                <a:off x="5398454" y="4440470"/>
                <a:ext cx="1739054" cy="367947"/>
                <a:chOff x="5398454" y="4440470"/>
                <a:chExt cx="1739054" cy="367947"/>
              </a:xfrm>
            </p:grpSpPr>
            <p:sp>
              <p:nvSpPr>
                <p:cNvPr id="391" name="Freeform: Shape 390">
                  <a:extLst>
                    <a:ext uri="{FF2B5EF4-FFF2-40B4-BE49-F238E27FC236}">
                      <a16:creationId xmlns:a16="http://schemas.microsoft.com/office/drawing/2014/main" id="{F37AF82C-2701-4440-9809-2C3DA372D809}"/>
                    </a:ext>
                  </a:extLst>
                </p:cNvPr>
                <p:cNvSpPr/>
                <p:nvPr/>
              </p:nvSpPr>
              <p:spPr>
                <a:xfrm>
                  <a:off x="5398454" y="4683181"/>
                  <a:ext cx="351455" cy="125236"/>
                </a:xfrm>
                <a:custGeom>
                  <a:avLst/>
                  <a:gdLst>
                    <a:gd name="connsiteX0" fmla="*/ 135835 w 360714"/>
                    <a:gd name="connsiteY0" fmla="*/ 167127 h 171476"/>
                    <a:gd name="connsiteX1" fmla="*/ 142370 w 360714"/>
                    <a:gd name="connsiteY1" fmla="*/ 138750 h 171476"/>
                    <a:gd name="connsiteX2" fmla="*/ 184624 w 360714"/>
                    <a:gd name="connsiteY2" fmla="*/ 122039 h 171476"/>
                    <a:gd name="connsiteX3" fmla="*/ 200860 w 360714"/>
                    <a:gd name="connsiteY3" fmla="*/ 116758 h 171476"/>
                    <a:gd name="connsiteX4" fmla="*/ 226472 w 360714"/>
                    <a:gd name="connsiteY4" fmla="*/ 113616 h 171476"/>
                    <a:gd name="connsiteX5" fmla="*/ 242992 w 360714"/>
                    <a:gd name="connsiteY5" fmla="*/ 100246 h 171476"/>
                    <a:gd name="connsiteX6" fmla="*/ 272298 w 360714"/>
                    <a:gd name="connsiteY6" fmla="*/ 93796 h 171476"/>
                    <a:gd name="connsiteX7" fmla="*/ 281349 w 360714"/>
                    <a:gd name="connsiteY7" fmla="*/ 84437 h 171476"/>
                    <a:gd name="connsiteX8" fmla="*/ 290969 w 360714"/>
                    <a:gd name="connsiteY8" fmla="*/ 75513 h 171476"/>
                    <a:gd name="connsiteX9" fmla="*/ 312076 w 360714"/>
                    <a:gd name="connsiteY9" fmla="*/ 67023 h 171476"/>
                    <a:gd name="connsiteX10" fmla="*/ 343086 w 360714"/>
                    <a:gd name="connsiteY10" fmla="*/ 65419 h 171476"/>
                    <a:gd name="connsiteX11" fmla="*/ 351204 w 360714"/>
                    <a:gd name="connsiteY11" fmla="*/ 48206 h 171476"/>
                    <a:gd name="connsiteX12" fmla="*/ 344466 w 360714"/>
                    <a:gd name="connsiteY12" fmla="*/ 35872 h 171476"/>
                    <a:gd name="connsiteX13" fmla="*/ 331680 w 360714"/>
                    <a:gd name="connsiteY13" fmla="*/ 12476 h 171476"/>
                    <a:gd name="connsiteX14" fmla="*/ 264139 w 360714"/>
                    <a:gd name="connsiteY14" fmla="*/ 9134 h 171476"/>
                    <a:gd name="connsiteX15" fmla="*/ 231667 w 360714"/>
                    <a:gd name="connsiteY15" fmla="*/ 2950 h 171476"/>
                    <a:gd name="connsiteX16" fmla="*/ 204675 w 360714"/>
                    <a:gd name="connsiteY16" fmla="*/ 3518 h 171476"/>
                    <a:gd name="connsiteX17" fmla="*/ 180037 w 360714"/>
                    <a:gd name="connsiteY17" fmla="*/ 35371 h 171476"/>
                    <a:gd name="connsiteX18" fmla="*/ 156333 w 360714"/>
                    <a:gd name="connsiteY18" fmla="*/ 47838 h 171476"/>
                    <a:gd name="connsiteX19" fmla="*/ 122684 w 360714"/>
                    <a:gd name="connsiteY19" fmla="*/ 56395 h 171476"/>
                    <a:gd name="connsiteX20" fmla="*/ 91349 w 360714"/>
                    <a:gd name="connsiteY20" fmla="*/ 88682 h 171476"/>
                    <a:gd name="connsiteX21" fmla="*/ 96747 w 360714"/>
                    <a:gd name="connsiteY21" fmla="*/ 118362 h 171476"/>
                    <a:gd name="connsiteX22" fmla="*/ 59364 w 360714"/>
                    <a:gd name="connsiteY22" fmla="*/ 145101 h 171476"/>
                    <a:gd name="connsiteX23" fmla="*/ 39719 w 360714"/>
                    <a:gd name="connsiteY23" fmla="*/ 157467 h 171476"/>
                    <a:gd name="connsiteX24" fmla="*/ -60 w 360714"/>
                    <a:gd name="connsiteY24" fmla="*/ 171138 h 171476"/>
                    <a:gd name="connsiteX25" fmla="*/ 86031 w 360714"/>
                    <a:gd name="connsiteY25" fmla="*/ 164253 h 171476"/>
                    <a:gd name="connsiteX26" fmla="*/ 135754 w 360714"/>
                    <a:gd name="connsiteY26" fmla="*/ 167227 h 171476"/>
                    <a:gd name="connsiteX27" fmla="*/ 135835 w 360714"/>
                    <a:gd name="connsiteY27" fmla="*/ 167127 h 1714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360714" h="171476">
                      <a:moveTo>
                        <a:pt x="135835" y="167127"/>
                      </a:moveTo>
                      <a:cubicBezTo>
                        <a:pt x="134292" y="156632"/>
                        <a:pt x="126053" y="146271"/>
                        <a:pt x="142370" y="138750"/>
                      </a:cubicBezTo>
                      <a:cubicBezTo>
                        <a:pt x="153370" y="133703"/>
                        <a:pt x="170499" y="123710"/>
                        <a:pt x="184624" y="122039"/>
                      </a:cubicBezTo>
                      <a:cubicBezTo>
                        <a:pt x="196517" y="120568"/>
                        <a:pt x="193716" y="120902"/>
                        <a:pt x="200860" y="116758"/>
                      </a:cubicBezTo>
                      <a:cubicBezTo>
                        <a:pt x="206339" y="113415"/>
                        <a:pt x="219450" y="114819"/>
                        <a:pt x="226472" y="113616"/>
                      </a:cubicBezTo>
                      <a:cubicBezTo>
                        <a:pt x="242261" y="110908"/>
                        <a:pt x="235442" y="105427"/>
                        <a:pt x="242992" y="100246"/>
                      </a:cubicBezTo>
                      <a:cubicBezTo>
                        <a:pt x="250542" y="95066"/>
                        <a:pt x="265276" y="99578"/>
                        <a:pt x="272298" y="93796"/>
                      </a:cubicBezTo>
                      <a:cubicBezTo>
                        <a:pt x="278021" y="89116"/>
                        <a:pt x="282161" y="91322"/>
                        <a:pt x="281349" y="84437"/>
                      </a:cubicBezTo>
                      <a:cubicBezTo>
                        <a:pt x="280659" y="78320"/>
                        <a:pt x="279929" y="76048"/>
                        <a:pt x="290969" y="75513"/>
                      </a:cubicBezTo>
                      <a:cubicBezTo>
                        <a:pt x="304607" y="74811"/>
                        <a:pt x="303146" y="68628"/>
                        <a:pt x="312076" y="67023"/>
                      </a:cubicBezTo>
                      <a:cubicBezTo>
                        <a:pt x="322345" y="65670"/>
                        <a:pt x="332695" y="65132"/>
                        <a:pt x="343086" y="65419"/>
                      </a:cubicBezTo>
                      <a:cubicBezTo>
                        <a:pt x="363381" y="65218"/>
                        <a:pt x="366100" y="55592"/>
                        <a:pt x="351204" y="48206"/>
                      </a:cubicBezTo>
                      <a:cubicBezTo>
                        <a:pt x="343086" y="44195"/>
                        <a:pt x="343898" y="42658"/>
                        <a:pt x="344466" y="35872"/>
                      </a:cubicBezTo>
                      <a:cubicBezTo>
                        <a:pt x="345319" y="26146"/>
                        <a:pt x="340407" y="20264"/>
                        <a:pt x="331680" y="12476"/>
                      </a:cubicBezTo>
                      <a:cubicBezTo>
                        <a:pt x="321533" y="3051"/>
                        <a:pt x="281795" y="7897"/>
                        <a:pt x="264139" y="9134"/>
                      </a:cubicBezTo>
                      <a:cubicBezTo>
                        <a:pt x="248918" y="10237"/>
                        <a:pt x="242789" y="7630"/>
                        <a:pt x="231667" y="2950"/>
                      </a:cubicBezTo>
                      <a:cubicBezTo>
                        <a:pt x="223549" y="-392"/>
                        <a:pt x="211372" y="-2598"/>
                        <a:pt x="204675" y="3518"/>
                      </a:cubicBezTo>
                      <a:cubicBezTo>
                        <a:pt x="193675" y="13545"/>
                        <a:pt x="189251" y="25043"/>
                        <a:pt x="180037" y="35371"/>
                      </a:cubicBezTo>
                      <a:cubicBezTo>
                        <a:pt x="175045" y="40953"/>
                        <a:pt x="166034" y="44830"/>
                        <a:pt x="156333" y="47838"/>
                      </a:cubicBezTo>
                      <a:cubicBezTo>
                        <a:pt x="146632" y="50846"/>
                        <a:pt x="128650" y="51481"/>
                        <a:pt x="122684" y="56395"/>
                      </a:cubicBezTo>
                      <a:cubicBezTo>
                        <a:pt x="111400" y="66589"/>
                        <a:pt x="100928" y="77375"/>
                        <a:pt x="91349" y="88682"/>
                      </a:cubicBezTo>
                      <a:cubicBezTo>
                        <a:pt x="80917" y="99946"/>
                        <a:pt x="102957" y="108736"/>
                        <a:pt x="96747" y="118362"/>
                      </a:cubicBezTo>
                      <a:cubicBezTo>
                        <a:pt x="89725" y="129458"/>
                        <a:pt x="74057" y="137146"/>
                        <a:pt x="59364" y="145101"/>
                      </a:cubicBezTo>
                      <a:cubicBezTo>
                        <a:pt x="52261" y="148944"/>
                        <a:pt x="47187" y="153791"/>
                        <a:pt x="39719" y="157467"/>
                      </a:cubicBezTo>
                      <a:cubicBezTo>
                        <a:pt x="27542" y="163551"/>
                        <a:pt x="10981" y="163952"/>
                        <a:pt x="-60" y="171138"/>
                      </a:cubicBezTo>
                      <a:cubicBezTo>
                        <a:pt x="28597" y="168688"/>
                        <a:pt x="57294" y="166392"/>
                        <a:pt x="86031" y="164253"/>
                      </a:cubicBezTo>
                      <a:cubicBezTo>
                        <a:pt x="104784" y="162849"/>
                        <a:pt x="124754" y="158470"/>
                        <a:pt x="135754" y="167227"/>
                      </a:cubicBezTo>
                      <a:cubicBezTo>
                        <a:pt x="134374" y="156030"/>
                        <a:pt x="131695" y="163818"/>
                        <a:pt x="135835" y="16712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3021" cap="flat">
                  <a:solidFill>
                    <a:schemeClr val="accent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grpSp>
              <p:nvGrpSpPr>
                <p:cNvPr id="392" name="Group 391">
                  <a:extLst>
                    <a:ext uri="{FF2B5EF4-FFF2-40B4-BE49-F238E27FC236}">
                      <a16:creationId xmlns:a16="http://schemas.microsoft.com/office/drawing/2014/main" id="{8B44EA4A-489D-4E58-8501-6F303CEB5ED7}"/>
                    </a:ext>
                  </a:extLst>
                </p:cNvPr>
                <p:cNvGrpSpPr/>
                <p:nvPr/>
              </p:nvGrpSpPr>
              <p:grpSpPr>
                <a:xfrm>
                  <a:off x="5482354" y="4440470"/>
                  <a:ext cx="1655154" cy="258807"/>
                  <a:chOff x="5482354" y="4440470"/>
                  <a:chExt cx="1655154" cy="258807"/>
                </a:xfrm>
                <a:solidFill>
                  <a:schemeClr val="accent5"/>
                </a:solidFill>
              </p:grpSpPr>
              <p:grpSp>
                <p:nvGrpSpPr>
                  <p:cNvPr id="393" name="Group 392">
                    <a:extLst>
                      <a:ext uri="{FF2B5EF4-FFF2-40B4-BE49-F238E27FC236}">
                        <a16:creationId xmlns:a16="http://schemas.microsoft.com/office/drawing/2014/main" id="{BDCFBBE6-12D4-434E-A20E-C208FC349ACD}"/>
                      </a:ext>
                    </a:extLst>
                  </p:cNvPr>
                  <p:cNvGrpSpPr/>
                  <p:nvPr/>
                </p:nvGrpSpPr>
                <p:grpSpPr>
                  <a:xfrm>
                    <a:off x="5482354" y="4440470"/>
                    <a:ext cx="1655154" cy="258807"/>
                    <a:chOff x="5482354" y="4440470"/>
                    <a:chExt cx="1655154" cy="258807"/>
                  </a:xfrm>
                  <a:grpFill/>
                </p:grpSpPr>
                <p:sp>
                  <p:nvSpPr>
                    <p:cNvPr id="395" name="Freeform: Shape 394">
                      <a:extLst>
                        <a:ext uri="{FF2B5EF4-FFF2-40B4-BE49-F238E27FC236}">
                          <a16:creationId xmlns:a16="http://schemas.microsoft.com/office/drawing/2014/main" id="{5D59A852-A40C-4EE0-ACCE-16A5061726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04132" y="4512734"/>
                      <a:ext cx="167871" cy="57533"/>
                    </a:xfrm>
                    <a:custGeom>
                      <a:avLst/>
                      <a:gdLst>
                        <a:gd name="connsiteX0" fmla="*/ 98970 w 172294"/>
                        <a:gd name="connsiteY0" fmla="*/ 62327 h 78776"/>
                        <a:gd name="connsiteX1" fmla="*/ 86306 w 172294"/>
                        <a:gd name="connsiteY1" fmla="*/ 54606 h 78776"/>
                        <a:gd name="connsiteX2" fmla="*/ 71775 w 172294"/>
                        <a:gd name="connsiteY2" fmla="*/ 41839 h 78776"/>
                        <a:gd name="connsiteX3" fmla="*/ 58421 w 172294"/>
                        <a:gd name="connsiteY3" fmla="*/ 32981 h 78776"/>
                        <a:gd name="connsiteX4" fmla="*/ 82775 w 172294"/>
                        <a:gd name="connsiteY4" fmla="*/ 28169 h 78776"/>
                        <a:gd name="connsiteX5" fmla="*/ 130183 w 172294"/>
                        <a:gd name="connsiteY5" fmla="*/ 29840 h 78776"/>
                        <a:gd name="connsiteX6" fmla="*/ 172235 w 172294"/>
                        <a:gd name="connsiteY6" fmla="*/ 39131 h 78776"/>
                        <a:gd name="connsiteX7" fmla="*/ 166430 w 172294"/>
                        <a:gd name="connsiteY7" fmla="*/ 25194 h 78776"/>
                        <a:gd name="connsiteX8" fmla="*/ 153035 w 172294"/>
                        <a:gd name="connsiteY8" fmla="*/ 12426 h 78776"/>
                        <a:gd name="connsiteX9" fmla="*/ 112730 w 172294"/>
                        <a:gd name="connsiteY9" fmla="*/ 11156 h 78776"/>
                        <a:gd name="connsiteX10" fmla="*/ 72911 w 172294"/>
                        <a:gd name="connsiteY10" fmla="*/ 1697 h 78776"/>
                        <a:gd name="connsiteX11" fmla="*/ 49004 w 172294"/>
                        <a:gd name="connsiteY11" fmla="*/ 14097 h 78776"/>
                        <a:gd name="connsiteX12" fmla="*/ 34148 w 172294"/>
                        <a:gd name="connsiteY12" fmla="*/ 20247 h 78776"/>
                        <a:gd name="connsiteX13" fmla="*/ 11986 w 172294"/>
                        <a:gd name="connsiteY13" fmla="*/ 20648 h 78776"/>
                        <a:gd name="connsiteX14" fmla="*/ 17668 w 172294"/>
                        <a:gd name="connsiteY14" fmla="*/ 29205 h 78776"/>
                        <a:gd name="connsiteX15" fmla="*/ 43524 w 172294"/>
                        <a:gd name="connsiteY15" fmla="*/ 48991 h 78776"/>
                        <a:gd name="connsiteX16" fmla="*/ 58177 w 172294"/>
                        <a:gd name="connsiteY16" fmla="*/ 59018 h 78776"/>
                        <a:gd name="connsiteX17" fmla="*/ 81435 w 172294"/>
                        <a:gd name="connsiteY17" fmla="*/ 64968 h 78776"/>
                        <a:gd name="connsiteX18" fmla="*/ 95520 w 172294"/>
                        <a:gd name="connsiteY18" fmla="*/ 72956 h 78776"/>
                        <a:gd name="connsiteX19" fmla="*/ 124460 w 172294"/>
                        <a:gd name="connsiteY19" fmla="*/ 78438 h 78776"/>
                        <a:gd name="connsiteX20" fmla="*/ 98807 w 172294"/>
                        <a:gd name="connsiteY20" fmla="*/ 62294 h 78776"/>
                        <a:gd name="connsiteX21" fmla="*/ 98970 w 172294"/>
                        <a:gd name="connsiteY21" fmla="*/ 62327 h 787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172294" h="78776">
                          <a:moveTo>
                            <a:pt x="98970" y="62327"/>
                          </a:moveTo>
                          <a:cubicBezTo>
                            <a:pt x="99660" y="59854"/>
                            <a:pt x="89026" y="55943"/>
                            <a:pt x="86306" y="54606"/>
                          </a:cubicBezTo>
                          <a:cubicBezTo>
                            <a:pt x="77376" y="50161"/>
                            <a:pt x="76727" y="47120"/>
                            <a:pt x="71775" y="41839"/>
                          </a:cubicBezTo>
                          <a:cubicBezTo>
                            <a:pt x="68731" y="38496"/>
                            <a:pt x="59598" y="36658"/>
                            <a:pt x="58421" y="32981"/>
                          </a:cubicBezTo>
                          <a:cubicBezTo>
                            <a:pt x="55580" y="24960"/>
                            <a:pt x="76524" y="30040"/>
                            <a:pt x="82775" y="28169"/>
                          </a:cubicBezTo>
                          <a:cubicBezTo>
                            <a:pt x="94627" y="24826"/>
                            <a:pt x="116951" y="29071"/>
                            <a:pt x="130183" y="29840"/>
                          </a:cubicBezTo>
                          <a:cubicBezTo>
                            <a:pt x="144837" y="30481"/>
                            <a:pt x="159164" y="33647"/>
                            <a:pt x="172235" y="39131"/>
                          </a:cubicBezTo>
                          <a:cubicBezTo>
                            <a:pt x="171585" y="35488"/>
                            <a:pt x="170286" y="28336"/>
                            <a:pt x="166430" y="25194"/>
                          </a:cubicBezTo>
                          <a:cubicBezTo>
                            <a:pt x="159895" y="19913"/>
                            <a:pt x="154253" y="19813"/>
                            <a:pt x="153035" y="12426"/>
                          </a:cubicBezTo>
                          <a:cubicBezTo>
                            <a:pt x="140006" y="14164"/>
                            <a:pt x="125029" y="15568"/>
                            <a:pt x="112730" y="11156"/>
                          </a:cubicBezTo>
                          <a:cubicBezTo>
                            <a:pt x="97590" y="5708"/>
                            <a:pt x="90527" y="-4754"/>
                            <a:pt x="72911" y="1697"/>
                          </a:cubicBezTo>
                          <a:cubicBezTo>
                            <a:pt x="61424" y="5908"/>
                            <a:pt x="58015" y="9251"/>
                            <a:pt x="49004" y="14097"/>
                          </a:cubicBezTo>
                          <a:cubicBezTo>
                            <a:pt x="42550" y="17439"/>
                            <a:pt x="45229" y="21784"/>
                            <a:pt x="34148" y="20247"/>
                          </a:cubicBezTo>
                          <a:cubicBezTo>
                            <a:pt x="26761" y="19442"/>
                            <a:pt x="19292" y="19579"/>
                            <a:pt x="11986" y="20648"/>
                          </a:cubicBezTo>
                          <a:cubicBezTo>
                            <a:pt x="-10460" y="22520"/>
                            <a:pt x="2610" y="28035"/>
                            <a:pt x="17668" y="29205"/>
                          </a:cubicBezTo>
                          <a:cubicBezTo>
                            <a:pt x="31834" y="30341"/>
                            <a:pt x="35772" y="43109"/>
                            <a:pt x="43524" y="48991"/>
                          </a:cubicBezTo>
                          <a:cubicBezTo>
                            <a:pt x="48192" y="52534"/>
                            <a:pt x="53103" y="55880"/>
                            <a:pt x="58177" y="59018"/>
                          </a:cubicBezTo>
                          <a:cubicBezTo>
                            <a:pt x="64347" y="62862"/>
                            <a:pt x="74413" y="62361"/>
                            <a:pt x="81435" y="64968"/>
                          </a:cubicBezTo>
                          <a:cubicBezTo>
                            <a:pt x="87564" y="67307"/>
                            <a:pt x="86996" y="70884"/>
                            <a:pt x="95520" y="72956"/>
                          </a:cubicBezTo>
                          <a:cubicBezTo>
                            <a:pt x="105342" y="75329"/>
                            <a:pt x="115165" y="75095"/>
                            <a:pt x="124460" y="78438"/>
                          </a:cubicBezTo>
                          <a:cubicBezTo>
                            <a:pt x="120726" y="75363"/>
                            <a:pt x="97915" y="65837"/>
                            <a:pt x="98807" y="62294"/>
                          </a:cubicBezTo>
                          <a:cubicBezTo>
                            <a:pt x="99619" y="59252"/>
                            <a:pt x="98280" y="64333"/>
                            <a:pt x="98970" y="62327"/>
                          </a:cubicBezTo>
                          <a:close/>
                        </a:path>
                      </a:pathLst>
                    </a:custGeom>
                    <a:grpFill/>
                    <a:ln w="3021" cap="flat">
                      <a:solidFill>
                        <a:schemeClr val="accent5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grpSp>
                  <p:nvGrpSpPr>
                    <p:cNvPr id="396" name="Group 395">
                      <a:extLst>
                        <a:ext uri="{FF2B5EF4-FFF2-40B4-BE49-F238E27FC236}">
                          <a16:creationId xmlns:a16="http://schemas.microsoft.com/office/drawing/2014/main" id="{55C698DA-3083-4DA3-BEBE-746F2A7F86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482354" y="4440470"/>
                      <a:ext cx="1655154" cy="258807"/>
                      <a:chOff x="5482354" y="4440470"/>
                      <a:chExt cx="1655154" cy="258807"/>
                    </a:xfrm>
                    <a:grpFill/>
                  </p:grpSpPr>
                  <p:sp>
                    <p:nvSpPr>
                      <p:cNvPr id="397" name="Freeform: Shape 396">
                        <a:extLst>
                          <a:ext uri="{FF2B5EF4-FFF2-40B4-BE49-F238E27FC236}">
                            <a16:creationId xmlns:a16="http://schemas.microsoft.com/office/drawing/2014/main" id="{82D2107F-0BF0-4E3D-B27B-50F07BE0F1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83012" y="4594311"/>
                        <a:ext cx="96233" cy="76220"/>
                      </a:xfrm>
                      <a:custGeom>
                        <a:avLst/>
                        <a:gdLst>
                          <a:gd name="connsiteX0" fmla="*/ 79369 w 98768"/>
                          <a:gd name="connsiteY0" fmla="*/ 81951 h 104363"/>
                          <a:gd name="connsiteX1" fmla="*/ 71738 w 98768"/>
                          <a:gd name="connsiteY1" fmla="*/ 73829 h 104363"/>
                          <a:gd name="connsiteX2" fmla="*/ 79856 w 98768"/>
                          <a:gd name="connsiteY2" fmla="*/ 61295 h 104363"/>
                          <a:gd name="connsiteX3" fmla="*/ 76041 w 98768"/>
                          <a:gd name="connsiteY3" fmla="*/ 48294 h 104363"/>
                          <a:gd name="connsiteX4" fmla="*/ 83225 w 98768"/>
                          <a:gd name="connsiteY4" fmla="*/ 33186 h 104363"/>
                          <a:gd name="connsiteX5" fmla="*/ 78598 w 98768"/>
                          <a:gd name="connsiteY5" fmla="*/ 18045 h 104363"/>
                          <a:gd name="connsiteX6" fmla="*/ 95727 w 98768"/>
                          <a:gd name="connsiteY6" fmla="*/ 5712 h 104363"/>
                          <a:gd name="connsiteX7" fmla="*/ 74580 w 98768"/>
                          <a:gd name="connsiteY7" fmla="*/ 732 h 104363"/>
                          <a:gd name="connsiteX8" fmla="*/ 43285 w 98768"/>
                          <a:gd name="connsiteY8" fmla="*/ 4442 h 104363"/>
                          <a:gd name="connsiteX9" fmla="*/ 24330 w 98768"/>
                          <a:gd name="connsiteY9" fmla="*/ 2470 h 104363"/>
                          <a:gd name="connsiteX10" fmla="*/ 15765 w 98768"/>
                          <a:gd name="connsiteY10" fmla="*/ 9656 h 104363"/>
                          <a:gd name="connsiteX11" fmla="*/ 19215 w 98768"/>
                          <a:gd name="connsiteY11" fmla="*/ 17845 h 104363"/>
                          <a:gd name="connsiteX12" fmla="*/ 5009 w 98768"/>
                          <a:gd name="connsiteY12" fmla="*/ 56449 h 104363"/>
                          <a:gd name="connsiteX13" fmla="*/ 16293 w 98768"/>
                          <a:gd name="connsiteY13" fmla="*/ 72492 h 104363"/>
                          <a:gd name="connsiteX14" fmla="*/ 24411 w 98768"/>
                          <a:gd name="connsiteY14" fmla="*/ 90341 h 104363"/>
                          <a:gd name="connsiteX15" fmla="*/ 28470 w 98768"/>
                          <a:gd name="connsiteY15" fmla="*/ 103877 h 104363"/>
                          <a:gd name="connsiteX16" fmla="*/ 72712 w 98768"/>
                          <a:gd name="connsiteY16" fmla="*/ 98396 h 104363"/>
                          <a:gd name="connsiteX17" fmla="*/ 79085 w 98768"/>
                          <a:gd name="connsiteY17" fmla="*/ 81951 h 10436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98768" h="104363">
                            <a:moveTo>
                              <a:pt x="79369" y="81951"/>
                            </a:moveTo>
                            <a:cubicBezTo>
                              <a:pt x="91546" y="79979"/>
                              <a:pt x="74904" y="75266"/>
                              <a:pt x="71738" y="73829"/>
                            </a:cubicBezTo>
                            <a:cubicBezTo>
                              <a:pt x="61550" y="69250"/>
                              <a:pt x="84281" y="64404"/>
                              <a:pt x="79856" y="61295"/>
                            </a:cubicBezTo>
                            <a:cubicBezTo>
                              <a:pt x="74215" y="57218"/>
                              <a:pt x="53189" y="49764"/>
                              <a:pt x="76041" y="48294"/>
                            </a:cubicBezTo>
                            <a:cubicBezTo>
                              <a:pt x="79004" y="43451"/>
                              <a:pt x="81399" y="38394"/>
                              <a:pt x="83225" y="33186"/>
                            </a:cubicBezTo>
                            <a:cubicBezTo>
                              <a:pt x="84321" y="28607"/>
                              <a:pt x="72550" y="22157"/>
                              <a:pt x="78598" y="18045"/>
                            </a:cubicBezTo>
                            <a:cubicBezTo>
                              <a:pt x="81318" y="16174"/>
                              <a:pt x="107376" y="7250"/>
                              <a:pt x="95727" y="5712"/>
                            </a:cubicBezTo>
                            <a:cubicBezTo>
                              <a:pt x="86472" y="4509"/>
                              <a:pt x="86310" y="-1407"/>
                              <a:pt x="74580" y="732"/>
                            </a:cubicBezTo>
                            <a:cubicBezTo>
                              <a:pt x="64351" y="2968"/>
                              <a:pt x="53839" y="4211"/>
                              <a:pt x="43285" y="4442"/>
                            </a:cubicBezTo>
                            <a:cubicBezTo>
                              <a:pt x="33706" y="4709"/>
                              <a:pt x="34193" y="-4950"/>
                              <a:pt x="24330" y="2470"/>
                            </a:cubicBezTo>
                            <a:cubicBezTo>
                              <a:pt x="17876" y="7417"/>
                              <a:pt x="15847" y="1267"/>
                              <a:pt x="15765" y="9656"/>
                            </a:cubicBezTo>
                            <a:cubicBezTo>
                              <a:pt x="16090" y="12574"/>
                              <a:pt x="17267" y="15385"/>
                              <a:pt x="19215" y="17845"/>
                            </a:cubicBezTo>
                            <a:cubicBezTo>
                              <a:pt x="24857" y="28540"/>
                              <a:pt x="15156" y="46556"/>
                              <a:pt x="5009" y="56449"/>
                            </a:cubicBezTo>
                            <a:cubicBezTo>
                              <a:pt x="-5139" y="66342"/>
                              <a:pt x="625" y="67278"/>
                              <a:pt x="16293" y="72492"/>
                            </a:cubicBezTo>
                            <a:cubicBezTo>
                              <a:pt x="25953" y="75835"/>
                              <a:pt x="24939" y="84892"/>
                              <a:pt x="24411" y="90341"/>
                            </a:cubicBezTo>
                            <a:cubicBezTo>
                              <a:pt x="24167" y="93683"/>
                              <a:pt x="19418" y="103275"/>
                              <a:pt x="28470" y="103877"/>
                            </a:cubicBezTo>
                            <a:cubicBezTo>
                              <a:pt x="43245" y="104880"/>
                              <a:pt x="58668" y="100535"/>
                              <a:pt x="72712" y="98396"/>
                            </a:cubicBezTo>
                            <a:cubicBezTo>
                              <a:pt x="65609" y="93382"/>
                              <a:pt x="64310" y="84358"/>
                              <a:pt x="79085" y="81951"/>
                            </a:cubicBezTo>
                            <a:close/>
                          </a:path>
                        </a:pathLst>
                      </a:custGeom>
                      <a:grpFill/>
                      <a:ln w="3021" cap="flat">
                        <a:solidFill>
                          <a:schemeClr val="accent5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/>
                      </a:p>
                    </p:txBody>
                  </p:sp>
                  <p:grpSp>
                    <p:nvGrpSpPr>
                      <p:cNvPr id="398" name="Group 397">
                        <a:extLst>
                          <a:ext uri="{FF2B5EF4-FFF2-40B4-BE49-F238E27FC236}">
                            <a16:creationId xmlns:a16="http://schemas.microsoft.com/office/drawing/2014/main" id="{0A9C3007-4626-49B2-9CA8-B1D4BA838D08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482354" y="4440470"/>
                        <a:ext cx="1655154" cy="258807"/>
                        <a:chOff x="5482354" y="4440470"/>
                        <a:chExt cx="1655154" cy="258807"/>
                      </a:xfrm>
                      <a:grpFill/>
                    </p:grpSpPr>
                    <p:sp>
                      <p:nvSpPr>
                        <p:cNvPr id="399" name="Freeform: Shape 398">
                          <a:extLst>
                            <a:ext uri="{FF2B5EF4-FFF2-40B4-BE49-F238E27FC236}">
                              <a16:creationId xmlns:a16="http://schemas.microsoft.com/office/drawing/2014/main" id="{18163187-2228-4D57-8032-9460A29FC3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0651" y="4552738"/>
                          <a:ext cx="195148" cy="45459"/>
                        </a:xfrm>
                        <a:custGeom>
                          <a:avLst/>
                          <a:gdLst>
                            <a:gd name="connsiteX0" fmla="*/ 155946 w 200289"/>
                            <a:gd name="connsiteY0" fmla="*/ 6617 h 62244"/>
                            <a:gd name="connsiteX1" fmla="*/ 110161 w 200289"/>
                            <a:gd name="connsiteY1" fmla="*/ 10762 h 62244"/>
                            <a:gd name="connsiteX2" fmla="*/ 56947 w 200289"/>
                            <a:gd name="connsiteY2" fmla="*/ 9826 h 62244"/>
                            <a:gd name="connsiteX3" fmla="*/ 14004 w 200289"/>
                            <a:gd name="connsiteY3" fmla="*/ 835 h 62244"/>
                            <a:gd name="connsiteX4" fmla="*/ 1258 w 200289"/>
                            <a:gd name="connsiteY4" fmla="*/ 3222 h 62244"/>
                            <a:gd name="connsiteX5" fmla="*/ -41 w 200289"/>
                            <a:gd name="connsiteY5" fmla="*/ 5949 h 62244"/>
                            <a:gd name="connsiteX6" fmla="*/ 15505 w 200289"/>
                            <a:gd name="connsiteY6" fmla="*/ 20956 h 62244"/>
                            <a:gd name="connsiteX7" fmla="*/ 4424 w 200289"/>
                            <a:gd name="connsiteY7" fmla="*/ 39607 h 62244"/>
                            <a:gd name="connsiteX8" fmla="*/ 38276 w 200289"/>
                            <a:gd name="connsiteY8" fmla="*/ 55249 h 62244"/>
                            <a:gd name="connsiteX9" fmla="*/ 91043 w 200289"/>
                            <a:gd name="connsiteY9" fmla="*/ 60831 h 62244"/>
                            <a:gd name="connsiteX10" fmla="*/ 108983 w 200289"/>
                            <a:gd name="connsiteY10" fmla="*/ 61800 h 62244"/>
                            <a:gd name="connsiteX11" fmla="*/ 130212 w 200289"/>
                            <a:gd name="connsiteY11" fmla="*/ 55416 h 62244"/>
                            <a:gd name="connsiteX12" fmla="*/ 169219 w 200289"/>
                            <a:gd name="connsiteY12" fmla="*/ 46492 h 62244"/>
                            <a:gd name="connsiteX13" fmla="*/ 172750 w 200289"/>
                            <a:gd name="connsiteY13" fmla="*/ 31952 h 62244"/>
                            <a:gd name="connsiteX14" fmla="*/ 200230 w 200289"/>
                            <a:gd name="connsiteY14" fmla="*/ 18149 h 62244"/>
                            <a:gd name="connsiteX15" fmla="*/ 155783 w 200289"/>
                            <a:gd name="connsiteY15" fmla="*/ 6617 h 62244"/>
                            <a:gd name="connsiteX16" fmla="*/ 155946 w 200289"/>
                            <a:gd name="connsiteY16" fmla="*/ 6617 h 6224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</a:cxnLst>
                          <a:rect l="l" t="t" r="r" b="b"/>
                          <a:pathLst>
                            <a:path w="200289" h="62244">
                              <a:moveTo>
                                <a:pt x="155946" y="6617"/>
                              </a:moveTo>
                              <a:cubicBezTo>
                                <a:pt x="137437" y="4411"/>
                                <a:pt x="125544" y="6617"/>
                                <a:pt x="110161" y="10762"/>
                              </a:cubicBezTo>
                              <a:cubicBezTo>
                                <a:pt x="97131" y="14104"/>
                                <a:pt x="71519" y="10996"/>
                                <a:pt x="56947" y="9826"/>
                              </a:cubicBezTo>
                              <a:cubicBezTo>
                                <a:pt x="38560" y="8355"/>
                                <a:pt x="28048" y="6684"/>
                                <a:pt x="14004" y="835"/>
                              </a:cubicBezTo>
                              <a:cubicBezTo>
                                <a:pt x="9660" y="-1408"/>
                                <a:pt x="3978" y="-341"/>
                                <a:pt x="1258" y="3222"/>
                              </a:cubicBezTo>
                              <a:cubicBezTo>
                                <a:pt x="609" y="4054"/>
                                <a:pt x="162" y="4980"/>
                                <a:pt x="-41" y="5949"/>
                              </a:cubicBezTo>
                              <a:cubicBezTo>
                                <a:pt x="-609" y="11798"/>
                                <a:pt x="11812" y="15709"/>
                                <a:pt x="15505" y="20956"/>
                              </a:cubicBezTo>
                              <a:cubicBezTo>
                                <a:pt x="18103" y="24666"/>
                                <a:pt x="-9620" y="31485"/>
                                <a:pt x="4424" y="39607"/>
                              </a:cubicBezTo>
                              <a:cubicBezTo>
                                <a:pt x="16601" y="46759"/>
                                <a:pt x="20052" y="54981"/>
                                <a:pt x="38276" y="55249"/>
                              </a:cubicBezTo>
                              <a:cubicBezTo>
                                <a:pt x="57394" y="55583"/>
                                <a:pt x="72696" y="58825"/>
                                <a:pt x="91043" y="60831"/>
                              </a:cubicBezTo>
                              <a:cubicBezTo>
                                <a:pt x="96969" y="61770"/>
                                <a:pt x="102976" y="62097"/>
                                <a:pt x="108983" y="61800"/>
                              </a:cubicBezTo>
                              <a:cubicBezTo>
                                <a:pt x="118644" y="60797"/>
                                <a:pt x="115640" y="55416"/>
                                <a:pt x="130212" y="55416"/>
                              </a:cubicBezTo>
                              <a:cubicBezTo>
                                <a:pt x="123677" y="40576"/>
                                <a:pt x="191299" y="62535"/>
                                <a:pt x="169219" y="46492"/>
                              </a:cubicBezTo>
                              <a:cubicBezTo>
                                <a:pt x="159193" y="39205"/>
                                <a:pt x="165160" y="36665"/>
                                <a:pt x="172750" y="31952"/>
                              </a:cubicBezTo>
                              <a:cubicBezTo>
                                <a:pt x="178392" y="28610"/>
                                <a:pt x="198159" y="21925"/>
                                <a:pt x="200230" y="18149"/>
                              </a:cubicBezTo>
                              <a:cubicBezTo>
                                <a:pt x="183994" y="14205"/>
                                <a:pt x="173643" y="8823"/>
                                <a:pt x="155783" y="6617"/>
                              </a:cubicBezTo>
                              <a:cubicBezTo>
                                <a:pt x="148234" y="5715"/>
                                <a:pt x="163496" y="7553"/>
                                <a:pt x="155946" y="6617"/>
                              </a:cubicBezTo>
                              <a:close/>
                            </a:path>
                          </a:pathLst>
                        </a:custGeom>
                        <a:grpFill/>
                        <a:ln w="3021" cap="flat">
                          <a:solidFill>
                            <a:schemeClr val="accent5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GB"/>
                        </a:p>
                      </p:txBody>
                    </p:sp>
                    <p:grpSp>
                      <p:nvGrpSpPr>
                        <p:cNvPr id="400" name="Group 399">
                          <a:extLst>
                            <a:ext uri="{FF2B5EF4-FFF2-40B4-BE49-F238E27FC236}">
                              <a16:creationId xmlns:a16="http://schemas.microsoft.com/office/drawing/2014/main" id="{9831CEE0-3EFB-4D18-961C-3DF198B23A0A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5482354" y="4440470"/>
                          <a:ext cx="1655154" cy="258807"/>
                          <a:chOff x="5482354" y="4440470"/>
                          <a:chExt cx="1655154" cy="258807"/>
                        </a:xfrm>
                        <a:grpFill/>
                      </p:grpSpPr>
                      <p:sp>
                        <p:nvSpPr>
                          <p:cNvPr id="401" name="Freeform: Shape 400">
                            <a:extLst>
                              <a:ext uri="{FF2B5EF4-FFF2-40B4-BE49-F238E27FC236}">
                                <a16:creationId xmlns:a16="http://schemas.microsoft.com/office/drawing/2014/main" id="{1D8934CF-1AEE-4920-8B21-2066DF950A0F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410774" y="4491249"/>
                            <a:ext cx="280203" cy="74869"/>
                          </a:xfrm>
                          <a:custGeom>
                            <a:avLst/>
                            <a:gdLst>
                              <a:gd name="connsiteX0" fmla="*/ 257834 w 287585"/>
                              <a:gd name="connsiteY0" fmla="*/ 69486 h 102513"/>
                              <a:gd name="connsiteX1" fmla="*/ 240908 w 287585"/>
                              <a:gd name="connsiteY1" fmla="*/ 34793 h 102513"/>
                              <a:gd name="connsiteX2" fmla="*/ 213469 w 287585"/>
                              <a:gd name="connsiteY2" fmla="*/ 9457 h 102513"/>
                              <a:gd name="connsiteX3" fmla="*/ 191226 w 287585"/>
                              <a:gd name="connsiteY3" fmla="*/ 1335 h 102513"/>
                              <a:gd name="connsiteX4" fmla="*/ 169429 w 287585"/>
                              <a:gd name="connsiteY4" fmla="*/ 6483 h 102513"/>
                              <a:gd name="connsiteX5" fmla="*/ 142275 w 287585"/>
                              <a:gd name="connsiteY5" fmla="*/ 8889 h 102513"/>
                              <a:gd name="connsiteX6" fmla="*/ 119220 w 287585"/>
                              <a:gd name="connsiteY6" fmla="*/ 4110 h 102513"/>
                              <a:gd name="connsiteX7" fmla="*/ 74003 w 287585"/>
                              <a:gd name="connsiteY7" fmla="*/ -302 h 102513"/>
                              <a:gd name="connsiteX8" fmla="*/ 44616 w 287585"/>
                              <a:gd name="connsiteY8" fmla="*/ 12265 h 102513"/>
                              <a:gd name="connsiteX9" fmla="*/ 17542 w 287585"/>
                              <a:gd name="connsiteY9" fmla="*/ 34291 h 102513"/>
                              <a:gd name="connsiteX10" fmla="*/ 6259 w 287585"/>
                              <a:gd name="connsiteY10" fmla="*/ 49131 h 102513"/>
                              <a:gd name="connsiteX11" fmla="*/ 18436 w 287585"/>
                              <a:gd name="connsiteY11" fmla="*/ 58156 h 102513"/>
                              <a:gd name="connsiteX12" fmla="*/ 20749 w 287585"/>
                              <a:gd name="connsiteY12" fmla="*/ 65743 h 102513"/>
                              <a:gd name="connsiteX13" fmla="*/ 49690 w 287585"/>
                              <a:gd name="connsiteY13" fmla="*/ 72427 h 102513"/>
                              <a:gd name="connsiteX14" fmla="*/ 58944 w 287585"/>
                              <a:gd name="connsiteY14" fmla="*/ 79814 h 102513"/>
                              <a:gd name="connsiteX15" fmla="*/ 74084 w 287585"/>
                              <a:gd name="connsiteY15" fmla="*/ 89641 h 102513"/>
                              <a:gd name="connsiteX16" fmla="*/ 161271 w 287585"/>
                              <a:gd name="connsiteY16" fmla="*/ 94788 h 102513"/>
                              <a:gd name="connsiteX17" fmla="*/ 207056 w 287585"/>
                              <a:gd name="connsiteY17" fmla="*/ 90643 h 102513"/>
                              <a:gd name="connsiteX18" fmla="*/ 251502 w 287585"/>
                              <a:gd name="connsiteY18" fmla="*/ 102174 h 102513"/>
                              <a:gd name="connsiteX19" fmla="*/ 255886 w 287585"/>
                              <a:gd name="connsiteY19" fmla="*/ 86432 h 102513"/>
                              <a:gd name="connsiteX20" fmla="*/ 280240 w 287585"/>
                              <a:gd name="connsiteY20" fmla="*/ 80115 h 102513"/>
                              <a:gd name="connsiteX21" fmla="*/ 280240 w 287585"/>
                              <a:gd name="connsiteY21" fmla="*/ 67949 h 102513"/>
                              <a:gd name="connsiteX22" fmla="*/ 257469 w 287585"/>
                              <a:gd name="connsiteY22" fmla="*/ 69319 h 102513"/>
                              <a:gd name="connsiteX23" fmla="*/ 257834 w 287585"/>
                              <a:gd name="connsiteY23" fmla="*/ 69486 h 102513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  <a:cxn ang="0">
                                <a:pos x="connsiteX18" y="connsiteY18"/>
                              </a:cxn>
                              <a:cxn ang="0">
                                <a:pos x="connsiteX19" y="connsiteY19"/>
                              </a:cxn>
                              <a:cxn ang="0">
                                <a:pos x="connsiteX20" y="connsiteY20"/>
                              </a:cxn>
                              <a:cxn ang="0">
                                <a:pos x="connsiteX21" y="connsiteY21"/>
                              </a:cxn>
                              <a:cxn ang="0">
                                <a:pos x="connsiteX22" y="connsiteY22"/>
                              </a:cxn>
                              <a:cxn ang="0">
                                <a:pos x="connsiteX23" y="connsiteY23"/>
                              </a:cxn>
                            </a:cxnLst>
                            <a:rect l="l" t="t" r="r" b="b"/>
                            <a:pathLst>
                              <a:path w="287585" h="102513">
                                <a:moveTo>
                                  <a:pt x="257834" y="69486"/>
                                </a:moveTo>
                                <a:cubicBezTo>
                                  <a:pt x="227067" y="65342"/>
                                  <a:pt x="249229" y="45120"/>
                                  <a:pt x="240908" y="34793"/>
                                </a:cubicBezTo>
                                <a:cubicBezTo>
                                  <a:pt x="233643" y="25868"/>
                                  <a:pt x="221709" y="18081"/>
                                  <a:pt x="213469" y="9457"/>
                                </a:cubicBezTo>
                                <a:cubicBezTo>
                                  <a:pt x="206610" y="2171"/>
                                  <a:pt x="207137" y="-2408"/>
                                  <a:pt x="191226" y="1335"/>
                                </a:cubicBezTo>
                                <a:cubicBezTo>
                                  <a:pt x="183514" y="3140"/>
                                  <a:pt x="179496" y="6984"/>
                                  <a:pt x="169429" y="6483"/>
                                </a:cubicBezTo>
                                <a:cubicBezTo>
                                  <a:pt x="158632" y="5948"/>
                                  <a:pt x="151732" y="9223"/>
                                  <a:pt x="142275" y="8889"/>
                                </a:cubicBezTo>
                                <a:cubicBezTo>
                                  <a:pt x="134847" y="8655"/>
                                  <a:pt x="127703" y="4477"/>
                                  <a:pt x="119220" y="4110"/>
                                </a:cubicBezTo>
                                <a:cubicBezTo>
                                  <a:pt x="103430" y="3408"/>
                                  <a:pt x="90198" y="-770"/>
                                  <a:pt x="74003" y="-302"/>
                                </a:cubicBezTo>
                                <a:cubicBezTo>
                                  <a:pt x="77778" y="3876"/>
                                  <a:pt x="48797" y="8789"/>
                                  <a:pt x="44616" y="12265"/>
                                </a:cubicBezTo>
                                <a:cubicBezTo>
                                  <a:pt x="35930" y="19384"/>
                                  <a:pt x="29638" y="28509"/>
                                  <a:pt x="17542" y="34291"/>
                                </a:cubicBezTo>
                                <a:cubicBezTo>
                                  <a:pt x="1306" y="42045"/>
                                  <a:pt x="-6405" y="38068"/>
                                  <a:pt x="6259" y="49131"/>
                                </a:cubicBezTo>
                                <a:cubicBezTo>
                                  <a:pt x="10318" y="52808"/>
                                  <a:pt x="6989" y="57755"/>
                                  <a:pt x="18436" y="58156"/>
                                </a:cubicBezTo>
                                <a:cubicBezTo>
                                  <a:pt x="24402" y="58356"/>
                                  <a:pt x="21074" y="64205"/>
                                  <a:pt x="20749" y="65743"/>
                                </a:cubicBezTo>
                                <a:cubicBezTo>
                                  <a:pt x="19653" y="71191"/>
                                  <a:pt x="42384" y="71124"/>
                                  <a:pt x="49690" y="72427"/>
                                </a:cubicBezTo>
                                <a:cubicBezTo>
                                  <a:pt x="58295" y="74132"/>
                                  <a:pt x="56874" y="75369"/>
                                  <a:pt x="58944" y="79814"/>
                                </a:cubicBezTo>
                                <a:cubicBezTo>
                                  <a:pt x="61014" y="84259"/>
                                  <a:pt x="66738" y="85997"/>
                                  <a:pt x="74084" y="89641"/>
                                </a:cubicBezTo>
                                <a:cubicBezTo>
                                  <a:pt x="85936" y="95423"/>
                                  <a:pt x="148891" y="97930"/>
                                  <a:pt x="161271" y="94788"/>
                                </a:cubicBezTo>
                                <a:cubicBezTo>
                                  <a:pt x="176654" y="90777"/>
                                  <a:pt x="188547" y="88437"/>
                                  <a:pt x="207056" y="90643"/>
                                </a:cubicBezTo>
                                <a:cubicBezTo>
                                  <a:pt x="224916" y="92849"/>
                                  <a:pt x="235104" y="98230"/>
                                  <a:pt x="251502" y="102174"/>
                                </a:cubicBezTo>
                                <a:cubicBezTo>
                                  <a:pt x="254343" y="96893"/>
                                  <a:pt x="251218" y="91613"/>
                                  <a:pt x="255886" y="86432"/>
                                </a:cubicBezTo>
                                <a:cubicBezTo>
                                  <a:pt x="261974" y="79747"/>
                                  <a:pt x="269239" y="81820"/>
                                  <a:pt x="280240" y="80115"/>
                                </a:cubicBezTo>
                                <a:cubicBezTo>
                                  <a:pt x="292416" y="78276"/>
                                  <a:pt x="287140" y="71057"/>
                                  <a:pt x="280240" y="67949"/>
                                </a:cubicBezTo>
                                <a:cubicBezTo>
                                  <a:pt x="271513" y="63904"/>
                                  <a:pt x="266155" y="70522"/>
                                  <a:pt x="257469" y="69319"/>
                                </a:cubicBezTo>
                                <a:cubicBezTo>
                                  <a:pt x="251218" y="68584"/>
                                  <a:pt x="260675" y="69854"/>
                                  <a:pt x="257834" y="69486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 w="3021" cap="flat">
                            <a:solidFill>
                              <a:schemeClr val="accent5"/>
                            </a:solidFill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GB"/>
                          </a:p>
                        </p:txBody>
                      </p:sp>
                      <p:grpSp>
                        <p:nvGrpSpPr>
                          <p:cNvPr id="402" name="Group 401">
                            <a:extLst>
                              <a:ext uri="{FF2B5EF4-FFF2-40B4-BE49-F238E27FC236}">
                                <a16:creationId xmlns:a16="http://schemas.microsoft.com/office/drawing/2014/main" id="{E00E4F79-11FA-410B-B4FF-AD51F7B1E2D3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5482354" y="4440470"/>
                            <a:ext cx="1655154" cy="258807"/>
                            <a:chOff x="5482354" y="4440470"/>
                            <a:chExt cx="1655154" cy="258807"/>
                          </a:xfrm>
                          <a:grpFill/>
                        </p:grpSpPr>
                        <p:sp>
                          <p:nvSpPr>
                            <p:cNvPr id="403" name="Freeform: Shape 402">
                              <a:extLst>
                                <a:ext uri="{FF2B5EF4-FFF2-40B4-BE49-F238E27FC236}">
                                  <a16:creationId xmlns:a16="http://schemas.microsoft.com/office/drawing/2014/main" id="{9C4614C7-B7CF-4D6E-8C8F-FF3E75AF319F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6569614" y="4589619"/>
                              <a:ext cx="567894" cy="109658"/>
                            </a:xfrm>
                            <a:custGeom>
                              <a:avLst/>
                              <a:gdLst>
                                <a:gd name="connsiteX0" fmla="*/ 569669 w 582855"/>
                                <a:gd name="connsiteY0" fmla="*/ 131994 h 150147"/>
                                <a:gd name="connsiteX1" fmla="*/ 571577 w 582855"/>
                                <a:gd name="connsiteY1" fmla="*/ 111939 h 150147"/>
                                <a:gd name="connsiteX2" fmla="*/ 579694 w 582855"/>
                                <a:gd name="connsiteY2" fmla="*/ 92854 h 150147"/>
                                <a:gd name="connsiteX3" fmla="*/ 555341 w 582855"/>
                                <a:gd name="connsiteY3" fmla="*/ 77045 h 150147"/>
                                <a:gd name="connsiteX4" fmla="*/ 523113 w 582855"/>
                                <a:gd name="connsiteY4" fmla="*/ 49704 h 150147"/>
                                <a:gd name="connsiteX5" fmla="*/ 489667 w 582855"/>
                                <a:gd name="connsiteY5" fmla="*/ 48201 h 150147"/>
                                <a:gd name="connsiteX6" fmla="*/ 455449 w 582855"/>
                                <a:gd name="connsiteY6" fmla="*/ 52445 h 150147"/>
                                <a:gd name="connsiteX7" fmla="*/ 396026 w 582855"/>
                                <a:gd name="connsiteY7" fmla="*/ 47499 h 150147"/>
                                <a:gd name="connsiteX8" fmla="*/ 336440 w 582855"/>
                                <a:gd name="connsiteY8" fmla="*/ 35733 h 150147"/>
                                <a:gd name="connsiteX9" fmla="*/ 315049 w 582855"/>
                                <a:gd name="connsiteY9" fmla="*/ 27344 h 150147"/>
                                <a:gd name="connsiteX10" fmla="*/ 304821 w 582855"/>
                                <a:gd name="connsiteY10" fmla="*/ 24838 h 150147"/>
                                <a:gd name="connsiteX11" fmla="*/ 178424 w 582855"/>
                                <a:gd name="connsiteY11" fmla="*/ 22464 h 150147"/>
                                <a:gd name="connsiteX12" fmla="*/ 131259 w 582855"/>
                                <a:gd name="connsiteY12" fmla="*/ 25439 h 150147"/>
                                <a:gd name="connsiteX13" fmla="*/ 96067 w 582855"/>
                                <a:gd name="connsiteY13" fmla="*/ 28347 h 150147"/>
                                <a:gd name="connsiteX14" fmla="*/ 40013 w 582855"/>
                                <a:gd name="connsiteY14" fmla="*/ 33962 h 150147"/>
                                <a:gd name="connsiteX15" fmla="*/ 4173 w 582855"/>
                                <a:gd name="connsiteY15" fmla="*/ 45527 h 150147"/>
                                <a:gd name="connsiteX16" fmla="*/ 22032 w 582855"/>
                                <a:gd name="connsiteY16" fmla="*/ 49905 h 150147"/>
                                <a:gd name="connsiteX17" fmla="*/ 24751 w 582855"/>
                                <a:gd name="connsiteY17" fmla="*/ 62339 h 150147"/>
                                <a:gd name="connsiteX18" fmla="*/ 22844 w 582855"/>
                                <a:gd name="connsiteY18" fmla="*/ 76343 h 150147"/>
                                <a:gd name="connsiteX19" fmla="*/ 20124 w 582855"/>
                                <a:gd name="connsiteY19" fmla="*/ 86136 h 150147"/>
                                <a:gd name="connsiteX20" fmla="*/ 42530 w 582855"/>
                                <a:gd name="connsiteY20" fmla="*/ 97835 h 150147"/>
                                <a:gd name="connsiteX21" fmla="*/ 57142 w 582855"/>
                                <a:gd name="connsiteY21" fmla="*/ 103283 h 150147"/>
                                <a:gd name="connsiteX22" fmla="*/ 81902 w 582855"/>
                                <a:gd name="connsiteY22" fmla="*/ 108998 h 150147"/>
                                <a:gd name="connsiteX23" fmla="*/ 118960 w 582855"/>
                                <a:gd name="connsiteY23" fmla="*/ 121699 h 150147"/>
                                <a:gd name="connsiteX24" fmla="*/ 158089 w 582855"/>
                                <a:gd name="connsiteY24" fmla="*/ 112708 h 150147"/>
                                <a:gd name="connsiteX25" fmla="*/ 204564 w 582855"/>
                                <a:gd name="connsiteY25" fmla="*/ 129988 h 150147"/>
                                <a:gd name="connsiteX26" fmla="*/ 258833 w 582855"/>
                                <a:gd name="connsiteY26" fmla="*/ 122134 h 150147"/>
                                <a:gd name="connsiteX27" fmla="*/ 275515 w 582855"/>
                                <a:gd name="connsiteY27" fmla="*/ 124841 h 150147"/>
                                <a:gd name="connsiteX28" fmla="*/ 310706 w 582855"/>
                                <a:gd name="connsiteY28" fmla="*/ 124841 h 150147"/>
                                <a:gd name="connsiteX29" fmla="*/ 304334 w 582855"/>
                                <a:gd name="connsiteY29" fmla="*/ 131526 h 150147"/>
                                <a:gd name="connsiteX30" fmla="*/ 300599 w 582855"/>
                                <a:gd name="connsiteY30" fmla="*/ 143558 h 150147"/>
                                <a:gd name="connsiteX31" fmla="*/ 323411 w 582855"/>
                                <a:gd name="connsiteY31" fmla="*/ 130489 h 150147"/>
                                <a:gd name="connsiteX32" fmla="*/ 344680 w 582855"/>
                                <a:gd name="connsiteY32" fmla="*/ 133832 h 150147"/>
                                <a:gd name="connsiteX33" fmla="*/ 375609 w 582855"/>
                                <a:gd name="connsiteY33" fmla="*/ 130824 h 150147"/>
                                <a:gd name="connsiteX34" fmla="*/ 388882 w 582855"/>
                                <a:gd name="connsiteY34" fmla="*/ 135269 h 150147"/>
                                <a:gd name="connsiteX35" fmla="*/ 417782 w 582855"/>
                                <a:gd name="connsiteY35" fmla="*/ 137074 h 150147"/>
                                <a:gd name="connsiteX36" fmla="*/ 469818 w 582855"/>
                                <a:gd name="connsiteY36" fmla="*/ 135603 h 150147"/>
                                <a:gd name="connsiteX37" fmla="*/ 505496 w 582855"/>
                                <a:gd name="connsiteY37" fmla="*/ 138277 h 150147"/>
                                <a:gd name="connsiteX38" fmla="*/ 522138 w 582855"/>
                                <a:gd name="connsiteY38" fmla="*/ 134567 h 150147"/>
                                <a:gd name="connsiteX39" fmla="*/ 545071 w 582855"/>
                                <a:gd name="connsiteY39" fmla="*/ 140550 h 150147"/>
                                <a:gd name="connsiteX40" fmla="*/ 574783 w 582855"/>
                                <a:gd name="connsiteY40" fmla="*/ 149407 h 150147"/>
                                <a:gd name="connsiteX41" fmla="*/ 569466 w 582855"/>
                                <a:gd name="connsiteY41" fmla="*/ 132227 h 150147"/>
                                <a:gd name="connsiteX42" fmla="*/ 51459 w 582855"/>
                                <a:gd name="connsiteY42" fmla="*/ 22264 h 150147"/>
                                <a:gd name="connsiteX43" fmla="*/ 95702 w 582855"/>
                                <a:gd name="connsiteY43" fmla="*/ 21228 h 150147"/>
                                <a:gd name="connsiteX44" fmla="*/ 80481 w 582855"/>
                                <a:gd name="connsiteY44" fmla="*/ 14376 h 150147"/>
                                <a:gd name="connsiteX45" fmla="*/ 64245 w 582855"/>
                                <a:gd name="connsiteY45" fmla="*/ 1474 h 150147"/>
                                <a:gd name="connsiteX46" fmla="*/ 17445 w 582855"/>
                                <a:gd name="connsiteY46" fmla="*/ 1675 h 150147"/>
                                <a:gd name="connsiteX47" fmla="*/ 18947 w 582855"/>
                                <a:gd name="connsiteY47" fmla="*/ 14242 h 150147"/>
                                <a:gd name="connsiteX48" fmla="*/ 2711 w 582855"/>
                                <a:gd name="connsiteY48" fmla="*/ 24604 h 150147"/>
                                <a:gd name="connsiteX49" fmla="*/ 51419 w 582855"/>
                                <a:gd name="connsiteY49" fmla="*/ 22264 h 15014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  <a:cxn ang="0">
                                  <a:pos x="connsiteX18" y="connsiteY18"/>
                                </a:cxn>
                                <a:cxn ang="0">
                                  <a:pos x="connsiteX19" y="connsiteY19"/>
                                </a:cxn>
                                <a:cxn ang="0">
                                  <a:pos x="connsiteX20" y="connsiteY20"/>
                                </a:cxn>
                                <a:cxn ang="0">
                                  <a:pos x="connsiteX21" y="connsiteY21"/>
                                </a:cxn>
                                <a:cxn ang="0">
                                  <a:pos x="connsiteX22" y="connsiteY22"/>
                                </a:cxn>
                                <a:cxn ang="0">
                                  <a:pos x="connsiteX23" y="connsiteY23"/>
                                </a:cxn>
                                <a:cxn ang="0">
                                  <a:pos x="connsiteX24" y="connsiteY24"/>
                                </a:cxn>
                                <a:cxn ang="0">
                                  <a:pos x="connsiteX25" y="connsiteY25"/>
                                </a:cxn>
                                <a:cxn ang="0">
                                  <a:pos x="connsiteX26" y="connsiteY26"/>
                                </a:cxn>
                                <a:cxn ang="0">
                                  <a:pos x="connsiteX27" y="connsiteY27"/>
                                </a:cxn>
                                <a:cxn ang="0">
                                  <a:pos x="connsiteX28" y="connsiteY28"/>
                                </a:cxn>
                                <a:cxn ang="0">
                                  <a:pos x="connsiteX29" y="connsiteY29"/>
                                </a:cxn>
                                <a:cxn ang="0">
                                  <a:pos x="connsiteX30" y="connsiteY30"/>
                                </a:cxn>
                                <a:cxn ang="0">
                                  <a:pos x="connsiteX31" y="connsiteY31"/>
                                </a:cxn>
                                <a:cxn ang="0">
                                  <a:pos x="connsiteX32" y="connsiteY32"/>
                                </a:cxn>
                                <a:cxn ang="0">
                                  <a:pos x="connsiteX33" y="connsiteY33"/>
                                </a:cxn>
                                <a:cxn ang="0">
                                  <a:pos x="connsiteX34" y="connsiteY34"/>
                                </a:cxn>
                                <a:cxn ang="0">
                                  <a:pos x="connsiteX35" y="connsiteY35"/>
                                </a:cxn>
                                <a:cxn ang="0">
                                  <a:pos x="connsiteX36" y="connsiteY36"/>
                                </a:cxn>
                                <a:cxn ang="0">
                                  <a:pos x="connsiteX37" y="connsiteY37"/>
                                </a:cxn>
                                <a:cxn ang="0">
                                  <a:pos x="connsiteX38" y="connsiteY38"/>
                                </a:cxn>
                                <a:cxn ang="0">
                                  <a:pos x="connsiteX39" y="connsiteY39"/>
                                </a:cxn>
                                <a:cxn ang="0">
                                  <a:pos x="connsiteX40" y="connsiteY40"/>
                                </a:cxn>
                                <a:cxn ang="0">
                                  <a:pos x="connsiteX41" y="connsiteY41"/>
                                </a:cxn>
                                <a:cxn ang="0">
                                  <a:pos x="connsiteX42" y="connsiteY42"/>
                                </a:cxn>
                                <a:cxn ang="0">
                                  <a:pos x="connsiteX43" y="connsiteY43"/>
                                </a:cxn>
                                <a:cxn ang="0">
                                  <a:pos x="connsiteX44" y="connsiteY44"/>
                                </a:cxn>
                                <a:cxn ang="0">
                                  <a:pos x="connsiteX45" y="connsiteY45"/>
                                </a:cxn>
                                <a:cxn ang="0">
                                  <a:pos x="connsiteX46" y="connsiteY46"/>
                                </a:cxn>
                                <a:cxn ang="0">
                                  <a:pos x="connsiteX47" y="connsiteY47"/>
                                </a:cxn>
                                <a:cxn ang="0">
                                  <a:pos x="connsiteX48" y="connsiteY48"/>
                                </a:cxn>
                                <a:cxn ang="0">
                                  <a:pos x="connsiteX49" y="connsiteY49"/>
                                </a:cxn>
                              </a:cxnLst>
                              <a:rect l="l" t="t" r="r" b="b"/>
                              <a:pathLst>
                                <a:path w="582855" h="150147">
                                  <a:moveTo>
                                    <a:pt x="569669" y="131994"/>
                                  </a:moveTo>
                                  <a:cubicBezTo>
                                    <a:pt x="565610" y="130991"/>
                                    <a:pt x="573038" y="115282"/>
                                    <a:pt x="571577" y="111939"/>
                                  </a:cubicBezTo>
                                  <a:cubicBezTo>
                                    <a:pt x="568776" y="104800"/>
                                    <a:pt x="572104" y="96992"/>
                                    <a:pt x="579694" y="92854"/>
                                  </a:cubicBezTo>
                                  <a:cubicBezTo>
                                    <a:pt x="593008" y="84666"/>
                                    <a:pt x="559400" y="84365"/>
                                    <a:pt x="555341" y="77045"/>
                                  </a:cubicBezTo>
                                  <a:cubicBezTo>
                                    <a:pt x="549171" y="65547"/>
                                    <a:pt x="551525" y="50874"/>
                                    <a:pt x="523113" y="49704"/>
                                  </a:cubicBezTo>
                                  <a:cubicBezTo>
                                    <a:pt x="511260" y="49237"/>
                                    <a:pt x="499976" y="45593"/>
                                    <a:pt x="489667" y="48201"/>
                                  </a:cubicBezTo>
                                  <a:cubicBezTo>
                                    <a:pt x="478545" y="50828"/>
                                    <a:pt x="467017" y="52255"/>
                                    <a:pt x="455449" y="52445"/>
                                  </a:cubicBezTo>
                                  <a:cubicBezTo>
                                    <a:pt x="436128" y="53014"/>
                                    <a:pt x="415874" y="48267"/>
                                    <a:pt x="396026" y="47499"/>
                                  </a:cubicBezTo>
                                  <a:cubicBezTo>
                                    <a:pt x="374351" y="46663"/>
                                    <a:pt x="356004" y="40814"/>
                                    <a:pt x="336440" y="35733"/>
                                  </a:cubicBezTo>
                                  <a:cubicBezTo>
                                    <a:pt x="327876" y="33528"/>
                                    <a:pt x="325319" y="28247"/>
                                    <a:pt x="315049" y="27344"/>
                                  </a:cubicBezTo>
                                  <a:cubicBezTo>
                                    <a:pt x="311477" y="27097"/>
                                    <a:pt x="307987" y="26241"/>
                                    <a:pt x="304821" y="24838"/>
                                  </a:cubicBezTo>
                                  <a:cubicBezTo>
                                    <a:pt x="269467" y="9697"/>
                                    <a:pt x="212763" y="12504"/>
                                    <a:pt x="178424" y="22464"/>
                                  </a:cubicBezTo>
                                  <a:cubicBezTo>
                                    <a:pt x="162188" y="27144"/>
                                    <a:pt x="150539" y="27411"/>
                                    <a:pt x="131259" y="25439"/>
                                  </a:cubicBezTo>
                                  <a:cubicBezTo>
                                    <a:pt x="114617" y="23768"/>
                                    <a:pt x="101750" y="18988"/>
                                    <a:pt x="96067" y="28347"/>
                                  </a:cubicBezTo>
                                  <a:cubicBezTo>
                                    <a:pt x="89289" y="39444"/>
                                    <a:pt x="56452" y="35032"/>
                                    <a:pt x="40013" y="33962"/>
                                  </a:cubicBezTo>
                                  <a:cubicBezTo>
                                    <a:pt x="33681" y="33594"/>
                                    <a:pt x="-14377" y="36168"/>
                                    <a:pt x="4173" y="45527"/>
                                  </a:cubicBezTo>
                                  <a:cubicBezTo>
                                    <a:pt x="8515" y="47699"/>
                                    <a:pt x="20611" y="45293"/>
                                    <a:pt x="22032" y="49905"/>
                                  </a:cubicBezTo>
                                  <a:cubicBezTo>
                                    <a:pt x="23533" y="53946"/>
                                    <a:pt x="24427" y="58121"/>
                                    <a:pt x="24751" y="62339"/>
                                  </a:cubicBezTo>
                                  <a:cubicBezTo>
                                    <a:pt x="24142" y="67519"/>
                                    <a:pt x="10545" y="70528"/>
                                    <a:pt x="22844" y="76343"/>
                                  </a:cubicBezTo>
                                  <a:cubicBezTo>
                                    <a:pt x="36482" y="82794"/>
                                    <a:pt x="21423" y="82660"/>
                                    <a:pt x="20124" y="86136"/>
                                  </a:cubicBezTo>
                                  <a:cubicBezTo>
                                    <a:pt x="19678" y="87306"/>
                                    <a:pt x="39242" y="96899"/>
                                    <a:pt x="42530" y="97835"/>
                                  </a:cubicBezTo>
                                  <a:cubicBezTo>
                                    <a:pt x="45817" y="98770"/>
                                    <a:pt x="57345" y="100642"/>
                                    <a:pt x="57142" y="103283"/>
                                  </a:cubicBezTo>
                                  <a:cubicBezTo>
                                    <a:pt x="56614" y="109366"/>
                                    <a:pt x="76341" y="105087"/>
                                    <a:pt x="81902" y="108998"/>
                                  </a:cubicBezTo>
                                  <a:cubicBezTo>
                                    <a:pt x="94728" y="117956"/>
                                    <a:pt x="94485" y="124139"/>
                                    <a:pt x="118960" y="121699"/>
                                  </a:cubicBezTo>
                                  <a:cubicBezTo>
                                    <a:pt x="138362" y="119827"/>
                                    <a:pt x="132436" y="109700"/>
                                    <a:pt x="158089" y="112708"/>
                                  </a:cubicBezTo>
                                  <a:cubicBezTo>
                                    <a:pt x="176070" y="114847"/>
                                    <a:pt x="187476" y="129420"/>
                                    <a:pt x="204564" y="129988"/>
                                  </a:cubicBezTo>
                                  <a:cubicBezTo>
                                    <a:pt x="223154" y="130720"/>
                                    <a:pt x="241663" y="128036"/>
                                    <a:pt x="258833" y="122134"/>
                                  </a:cubicBezTo>
                                  <a:cubicBezTo>
                                    <a:pt x="265692" y="119794"/>
                                    <a:pt x="269345" y="122535"/>
                                    <a:pt x="275515" y="124841"/>
                                  </a:cubicBezTo>
                                  <a:cubicBezTo>
                                    <a:pt x="287692" y="129353"/>
                                    <a:pt x="299463" y="120128"/>
                                    <a:pt x="310706" y="124841"/>
                                  </a:cubicBezTo>
                                  <a:cubicBezTo>
                                    <a:pt x="314440" y="126412"/>
                                    <a:pt x="305552" y="130623"/>
                                    <a:pt x="304334" y="131526"/>
                                  </a:cubicBezTo>
                                  <a:cubicBezTo>
                                    <a:pt x="297961" y="135770"/>
                                    <a:pt x="303319" y="138778"/>
                                    <a:pt x="300599" y="143558"/>
                                  </a:cubicBezTo>
                                  <a:cubicBezTo>
                                    <a:pt x="320894" y="143792"/>
                                    <a:pt x="314319" y="136238"/>
                                    <a:pt x="323411" y="130489"/>
                                  </a:cubicBezTo>
                                  <a:cubicBezTo>
                                    <a:pt x="329458" y="126679"/>
                                    <a:pt x="337739" y="132996"/>
                                    <a:pt x="344680" y="133832"/>
                                  </a:cubicBezTo>
                                  <a:cubicBezTo>
                                    <a:pt x="356167" y="135068"/>
                                    <a:pt x="364975" y="131826"/>
                                    <a:pt x="375609" y="130824"/>
                                  </a:cubicBezTo>
                                  <a:cubicBezTo>
                                    <a:pt x="380683" y="130356"/>
                                    <a:pt x="383727" y="134600"/>
                                    <a:pt x="388882" y="135269"/>
                                  </a:cubicBezTo>
                                  <a:cubicBezTo>
                                    <a:pt x="398380" y="136472"/>
                                    <a:pt x="408203" y="136138"/>
                                    <a:pt x="417782" y="137074"/>
                                  </a:cubicBezTo>
                                  <a:cubicBezTo>
                                    <a:pt x="435358" y="138812"/>
                                    <a:pt x="451268" y="134166"/>
                                    <a:pt x="469818" y="135603"/>
                                  </a:cubicBezTo>
                                  <a:cubicBezTo>
                                    <a:pt x="483700" y="136673"/>
                                    <a:pt x="492751" y="134734"/>
                                    <a:pt x="505496" y="138277"/>
                                  </a:cubicBezTo>
                                  <a:cubicBezTo>
                                    <a:pt x="508825" y="139213"/>
                                    <a:pt x="516415" y="134333"/>
                                    <a:pt x="522138" y="134567"/>
                                  </a:cubicBezTo>
                                  <a:cubicBezTo>
                                    <a:pt x="531920" y="135002"/>
                                    <a:pt x="536548" y="138845"/>
                                    <a:pt x="545071" y="140550"/>
                                  </a:cubicBezTo>
                                  <a:cubicBezTo>
                                    <a:pt x="555868" y="142722"/>
                                    <a:pt x="564027" y="146967"/>
                                    <a:pt x="574783" y="149407"/>
                                  </a:cubicBezTo>
                                  <a:cubicBezTo>
                                    <a:pt x="588868" y="152749"/>
                                    <a:pt x="577137" y="134199"/>
                                    <a:pt x="569466" y="132227"/>
                                  </a:cubicBezTo>
                                  <a:close/>
                                  <a:moveTo>
                                    <a:pt x="51459" y="22264"/>
                                  </a:moveTo>
                                  <a:cubicBezTo>
                                    <a:pt x="56695" y="21495"/>
                                    <a:pt x="96717" y="25606"/>
                                    <a:pt x="95702" y="21228"/>
                                  </a:cubicBezTo>
                                  <a:cubicBezTo>
                                    <a:pt x="94972" y="18353"/>
                                    <a:pt x="84297" y="15713"/>
                                    <a:pt x="80481" y="14376"/>
                                  </a:cubicBezTo>
                                  <a:cubicBezTo>
                                    <a:pt x="70455" y="10833"/>
                                    <a:pt x="66965" y="7691"/>
                                    <a:pt x="64245" y="1474"/>
                                  </a:cubicBezTo>
                                  <a:cubicBezTo>
                                    <a:pt x="58441" y="3145"/>
                                    <a:pt x="17161" y="-3506"/>
                                    <a:pt x="17445" y="1675"/>
                                  </a:cubicBezTo>
                                  <a:cubicBezTo>
                                    <a:pt x="17648" y="5586"/>
                                    <a:pt x="23696" y="10699"/>
                                    <a:pt x="18947" y="14242"/>
                                  </a:cubicBezTo>
                                  <a:cubicBezTo>
                                    <a:pt x="13914" y="18072"/>
                                    <a:pt x="8475" y="21539"/>
                                    <a:pt x="2711" y="24604"/>
                                  </a:cubicBezTo>
                                  <a:cubicBezTo>
                                    <a:pt x="26497" y="35667"/>
                                    <a:pt x="29663" y="25339"/>
                                    <a:pt x="51419" y="22264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 w="3021" cap="flat">
                              <a:solidFill>
                                <a:schemeClr val="accent5"/>
                              </a:solidFill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en-GB"/>
                            </a:p>
                          </p:txBody>
                        </p:sp>
                        <p:grpSp>
                          <p:nvGrpSpPr>
                            <p:cNvPr id="404" name="Group 403">
                              <a:extLst>
                                <a:ext uri="{FF2B5EF4-FFF2-40B4-BE49-F238E27FC236}">
                                  <a16:creationId xmlns:a16="http://schemas.microsoft.com/office/drawing/2014/main" id="{13449E53-5895-442A-99BA-87695EF14347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5482354" y="4440470"/>
                              <a:ext cx="1107411" cy="249587"/>
                              <a:chOff x="5482354" y="4440470"/>
                              <a:chExt cx="1107411" cy="249587"/>
                            </a:xfrm>
                            <a:grpFill/>
                          </p:grpSpPr>
                          <p:sp>
                            <p:nvSpPr>
                              <p:cNvPr id="405" name="Freeform: Shape 404">
                                <a:extLst>
                                  <a:ext uri="{FF2B5EF4-FFF2-40B4-BE49-F238E27FC236}">
                                    <a16:creationId xmlns:a16="http://schemas.microsoft.com/office/drawing/2014/main" id="{87F5D2B2-69B6-4E15-9768-67AFD4FF4D3A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6390750" y="4592921"/>
                                <a:ext cx="199015" cy="97136"/>
                              </a:xfrm>
                              <a:custGeom>
                                <a:avLst/>
                                <a:gdLst>
                                  <a:gd name="connsiteX0" fmla="*/ 202118 w 204258"/>
                                  <a:gd name="connsiteY0" fmla="*/ 395 h 133001"/>
                                  <a:gd name="connsiteX1" fmla="*/ 180889 w 204258"/>
                                  <a:gd name="connsiteY1" fmla="*/ 6779 h 133001"/>
                                  <a:gd name="connsiteX2" fmla="*/ 150041 w 204258"/>
                                  <a:gd name="connsiteY2" fmla="*/ 4206 h 133001"/>
                                  <a:gd name="connsiteX3" fmla="*/ 94271 w 204258"/>
                                  <a:gd name="connsiteY3" fmla="*/ 1966 h 133001"/>
                                  <a:gd name="connsiteX4" fmla="*/ 69308 w 204258"/>
                                  <a:gd name="connsiteY4" fmla="*/ 7180 h 133001"/>
                                  <a:gd name="connsiteX5" fmla="*/ 44427 w 204258"/>
                                  <a:gd name="connsiteY5" fmla="*/ 11559 h 133001"/>
                                  <a:gd name="connsiteX6" fmla="*/ 17556 w 204258"/>
                                  <a:gd name="connsiteY6" fmla="*/ 21586 h 133001"/>
                                  <a:gd name="connsiteX7" fmla="*/ -60 w 204258"/>
                                  <a:gd name="connsiteY7" fmla="*/ 36660 h 133001"/>
                                  <a:gd name="connsiteX8" fmla="*/ 17434 w 204258"/>
                                  <a:gd name="connsiteY8" fmla="*/ 48459 h 133001"/>
                                  <a:gd name="connsiteX9" fmla="*/ 35294 w 204258"/>
                                  <a:gd name="connsiteY9" fmla="*/ 58486 h 133001"/>
                                  <a:gd name="connsiteX10" fmla="*/ 59404 w 204258"/>
                                  <a:gd name="connsiteY10" fmla="*/ 58285 h 133001"/>
                                  <a:gd name="connsiteX11" fmla="*/ 58552 w 204258"/>
                                  <a:gd name="connsiteY11" fmla="*/ 63499 h 133001"/>
                                  <a:gd name="connsiteX12" fmla="*/ 30829 w 204258"/>
                                  <a:gd name="connsiteY12" fmla="*/ 65705 h 133001"/>
                                  <a:gd name="connsiteX13" fmla="*/ 40043 w 204258"/>
                                  <a:gd name="connsiteY13" fmla="*/ 78373 h 133001"/>
                                  <a:gd name="connsiteX14" fmla="*/ 61109 w 204258"/>
                                  <a:gd name="connsiteY14" fmla="*/ 91742 h 133001"/>
                                  <a:gd name="connsiteX15" fmla="*/ 86153 w 204258"/>
                                  <a:gd name="connsiteY15" fmla="*/ 98427 h 133001"/>
                                  <a:gd name="connsiteX16" fmla="*/ 80633 w 204258"/>
                                  <a:gd name="connsiteY16" fmla="*/ 85492 h 133001"/>
                                  <a:gd name="connsiteX17" fmla="*/ 97275 w 204258"/>
                                  <a:gd name="connsiteY17" fmla="*/ 83787 h 133001"/>
                                  <a:gd name="connsiteX18" fmla="*/ 87898 w 204258"/>
                                  <a:gd name="connsiteY18" fmla="*/ 75164 h 133001"/>
                                  <a:gd name="connsiteX19" fmla="*/ 87533 w 204258"/>
                                  <a:gd name="connsiteY19" fmla="*/ 71454 h 133001"/>
                                  <a:gd name="connsiteX20" fmla="*/ 106894 w 204258"/>
                                  <a:gd name="connsiteY20" fmla="*/ 74128 h 133001"/>
                                  <a:gd name="connsiteX21" fmla="*/ 106610 w 204258"/>
                                  <a:gd name="connsiteY21" fmla="*/ 56848 h 133001"/>
                                  <a:gd name="connsiteX22" fmla="*/ 86640 w 204258"/>
                                  <a:gd name="connsiteY22" fmla="*/ 56848 h 133001"/>
                                  <a:gd name="connsiteX23" fmla="*/ 96219 w 204258"/>
                                  <a:gd name="connsiteY23" fmla="*/ 50163 h 133001"/>
                                  <a:gd name="connsiteX24" fmla="*/ 78563 w 204258"/>
                                  <a:gd name="connsiteY24" fmla="*/ 21619 h 133001"/>
                                  <a:gd name="connsiteX25" fmla="*/ 108072 w 204258"/>
                                  <a:gd name="connsiteY25" fmla="*/ 27936 h 133001"/>
                                  <a:gd name="connsiteX26" fmla="*/ 116677 w 204258"/>
                                  <a:gd name="connsiteY26" fmla="*/ 16238 h 133001"/>
                                  <a:gd name="connsiteX27" fmla="*/ 138554 w 204258"/>
                                  <a:gd name="connsiteY27" fmla="*/ 17575 h 133001"/>
                                  <a:gd name="connsiteX28" fmla="*/ 158606 w 204258"/>
                                  <a:gd name="connsiteY28" fmla="*/ 13765 h 133001"/>
                                  <a:gd name="connsiteX29" fmla="*/ 194365 w 204258"/>
                                  <a:gd name="connsiteY29" fmla="*/ 14634 h 133001"/>
                                  <a:gd name="connsiteX30" fmla="*/ 202483 w 204258"/>
                                  <a:gd name="connsiteY30" fmla="*/ 9720 h 133001"/>
                                  <a:gd name="connsiteX31" fmla="*/ 202036 w 204258"/>
                                  <a:gd name="connsiteY31" fmla="*/ 395 h 133001"/>
                                  <a:gd name="connsiteX32" fmla="*/ 202118 w 204258"/>
                                  <a:gd name="connsiteY32" fmla="*/ 395 h 133001"/>
                                  <a:gd name="connsiteX33" fmla="*/ 166033 w 204258"/>
                                  <a:gd name="connsiteY33" fmla="*/ 126001 h 133001"/>
                                  <a:gd name="connsiteX34" fmla="*/ 129746 w 204258"/>
                                  <a:gd name="connsiteY34" fmla="*/ 123461 h 133001"/>
                                  <a:gd name="connsiteX35" fmla="*/ 96422 w 204258"/>
                                  <a:gd name="connsiteY35" fmla="*/ 122124 h 133001"/>
                                  <a:gd name="connsiteX36" fmla="*/ 133968 w 204258"/>
                                  <a:gd name="connsiteY36" fmla="*/ 131783 h 133001"/>
                                  <a:gd name="connsiteX37" fmla="*/ 185435 w 204258"/>
                                  <a:gd name="connsiteY37" fmla="*/ 127739 h 133001"/>
                                  <a:gd name="connsiteX38" fmla="*/ 166033 w 204258"/>
                                  <a:gd name="connsiteY38" fmla="*/ 126001 h 133001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  <a:cxn ang="0">
                                    <a:pos x="connsiteX14" y="connsiteY14"/>
                                  </a:cxn>
                                  <a:cxn ang="0">
                                    <a:pos x="connsiteX15" y="connsiteY15"/>
                                  </a:cxn>
                                  <a:cxn ang="0">
                                    <a:pos x="connsiteX16" y="connsiteY16"/>
                                  </a:cxn>
                                  <a:cxn ang="0">
                                    <a:pos x="connsiteX17" y="connsiteY17"/>
                                  </a:cxn>
                                  <a:cxn ang="0">
                                    <a:pos x="connsiteX18" y="connsiteY18"/>
                                  </a:cxn>
                                  <a:cxn ang="0">
                                    <a:pos x="connsiteX19" y="connsiteY19"/>
                                  </a:cxn>
                                  <a:cxn ang="0">
                                    <a:pos x="connsiteX20" y="connsiteY20"/>
                                  </a:cxn>
                                  <a:cxn ang="0">
                                    <a:pos x="connsiteX21" y="connsiteY21"/>
                                  </a:cxn>
                                  <a:cxn ang="0">
                                    <a:pos x="connsiteX22" y="connsiteY22"/>
                                  </a:cxn>
                                  <a:cxn ang="0">
                                    <a:pos x="connsiteX23" y="connsiteY23"/>
                                  </a:cxn>
                                  <a:cxn ang="0">
                                    <a:pos x="connsiteX24" y="connsiteY24"/>
                                  </a:cxn>
                                  <a:cxn ang="0">
                                    <a:pos x="connsiteX25" y="connsiteY25"/>
                                  </a:cxn>
                                  <a:cxn ang="0">
                                    <a:pos x="connsiteX26" y="connsiteY26"/>
                                  </a:cxn>
                                  <a:cxn ang="0">
                                    <a:pos x="connsiteX27" y="connsiteY27"/>
                                  </a:cxn>
                                  <a:cxn ang="0">
                                    <a:pos x="connsiteX28" y="connsiteY28"/>
                                  </a:cxn>
                                  <a:cxn ang="0">
                                    <a:pos x="connsiteX29" y="connsiteY29"/>
                                  </a:cxn>
                                  <a:cxn ang="0">
                                    <a:pos x="connsiteX30" y="connsiteY30"/>
                                  </a:cxn>
                                  <a:cxn ang="0">
                                    <a:pos x="connsiteX31" y="connsiteY31"/>
                                  </a:cxn>
                                  <a:cxn ang="0">
                                    <a:pos x="connsiteX32" y="connsiteY32"/>
                                  </a:cxn>
                                  <a:cxn ang="0">
                                    <a:pos x="connsiteX33" y="connsiteY33"/>
                                  </a:cxn>
                                  <a:cxn ang="0">
                                    <a:pos x="connsiteX34" y="connsiteY34"/>
                                  </a:cxn>
                                  <a:cxn ang="0">
                                    <a:pos x="connsiteX35" y="connsiteY35"/>
                                  </a:cxn>
                                  <a:cxn ang="0">
                                    <a:pos x="connsiteX36" y="connsiteY36"/>
                                  </a:cxn>
                                  <a:cxn ang="0">
                                    <a:pos x="connsiteX37" y="connsiteY37"/>
                                  </a:cxn>
                                  <a:cxn ang="0">
                                    <a:pos x="connsiteX38" y="connsiteY38"/>
                                  </a:cxn>
                                </a:cxnLst>
                                <a:rect l="l" t="t" r="r" b="b"/>
                                <a:pathLst>
                                  <a:path w="204258" h="133001">
                                    <a:moveTo>
                                      <a:pt x="202118" y="395"/>
                                    </a:moveTo>
                                    <a:cubicBezTo>
                                      <a:pt x="187546" y="395"/>
                                      <a:pt x="190550" y="5777"/>
                                      <a:pt x="180889" y="6779"/>
                                    </a:cubicBezTo>
                                    <a:cubicBezTo>
                                      <a:pt x="171229" y="7782"/>
                                      <a:pt x="159174" y="5543"/>
                                      <a:pt x="150041" y="4206"/>
                                    </a:cubicBezTo>
                                    <a:cubicBezTo>
                                      <a:pt x="133196" y="1732"/>
                                      <a:pt x="108883" y="-3281"/>
                                      <a:pt x="94271" y="1966"/>
                                    </a:cubicBezTo>
                                    <a:cubicBezTo>
                                      <a:pt x="86356" y="4837"/>
                                      <a:pt x="77913" y="6599"/>
                                      <a:pt x="69308" y="7180"/>
                                    </a:cubicBezTo>
                                    <a:cubicBezTo>
                                      <a:pt x="59729" y="7615"/>
                                      <a:pt x="55142" y="11726"/>
                                      <a:pt x="44427" y="11559"/>
                                    </a:cubicBezTo>
                                    <a:cubicBezTo>
                                      <a:pt x="25309" y="11258"/>
                                      <a:pt x="30585" y="15169"/>
                                      <a:pt x="17556" y="21586"/>
                                    </a:cubicBezTo>
                                    <a:cubicBezTo>
                                      <a:pt x="10331" y="25420"/>
                                      <a:pt x="4324" y="30580"/>
                                      <a:pt x="-60" y="36660"/>
                                    </a:cubicBezTo>
                                    <a:cubicBezTo>
                                      <a:pt x="8992" y="39300"/>
                                      <a:pt x="15811" y="42743"/>
                                      <a:pt x="17434" y="48459"/>
                                    </a:cubicBezTo>
                                    <a:cubicBezTo>
                                      <a:pt x="19058" y="54174"/>
                                      <a:pt x="19708" y="61828"/>
                                      <a:pt x="35294" y="58486"/>
                                    </a:cubicBezTo>
                                    <a:cubicBezTo>
                                      <a:pt x="45198" y="56447"/>
                                      <a:pt x="48486" y="54441"/>
                                      <a:pt x="59404" y="58285"/>
                                    </a:cubicBezTo>
                                    <a:cubicBezTo>
                                      <a:pt x="68090" y="61360"/>
                                      <a:pt x="71581" y="65237"/>
                                      <a:pt x="58552" y="63499"/>
                                    </a:cubicBezTo>
                                    <a:cubicBezTo>
                                      <a:pt x="50718" y="62463"/>
                                      <a:pt x="35213" y="60558"/>
                                      <a:pt x="30829" y="65705"/>
                                    </a:cubicBezTo>
                                    <a:cubicBezTo>
                                      <a:pt x="26770" y="70317"/>
                                      <a:pt x="43006" y="73593"/>
                                      <a:pt x="40043" y="78373"/>
                                    </a:cubicBezTo>
                                    <a:cubicBezTo>
                                      <a:pt x="34523" y="87230"/>
                                      <a:pt x="51083" y="88968"/>
                                      <a:pt x="61109" y="91742"/>
                                    </a:cubicBezTo>
                                    <a:cubicBezTo>
                                      <a:pt x="64356" y="92578"/>
                                      <a:pt x="83920" y="103006"/>
                                      <a:pt x="86153" y="98427"/>
                                    </a:cubicBezTo>
                                    <a:cubicBezTo>
                                      <a:pt x="88101" y="94583"/>
                                      <a:pt x="82540" y="89202"/>
                                      <a:pt x="80633" y="85492"/>
                                    </a:cubicBezTo>
                                    <a:cubicBezTo>
                                      <a:pt x="77020" y="78606"/>
                                      <a:pt x="90577" y="84222"/>
                                      <a:pt x="97275" y="83787"/>
                                    </a:cubicBezTo>
                                    <a:cubicBezTo>
                                      <a:pt x="113510" y="82784"/>
                                      <a:pt x="96422" y="75298"/>
                                      <a:pt x="87898" y="75164"/>
                                    </a:cubicBezTo>
                                    <a:cubicBezTo>
                                      <a:pt x="81566" y="75164"/>
                                      <a:pt x="84164" y="72323"/>
                                      <a:pt x="87533" y="71454"/>
                                    </a:cubicBezTo>
                                    <a:cubicBezTo>
                                      <a:pt x="94839" y="69649"/>
                                      <a:pt x="100034" y="73593"/>
                                      <a:pt x="106894" y="74128"/>
                                    </a:cubicBezTo>
                                    <a:cubicBezTo>
                                      <a:pt x="132750" y="76100"/>
                                      <a:pt x="130761" y="57416"/>
                                      <a:pt x="106610" y="56848"/>
                                    </a:cubicBezTo>
                                    <a:cubicBezTo>
                                      <a:pt x="97518" y="56681"/>
                                      <a:pt x="94677" y="61962"/>
                                      <a:pt x="86640" y="56848"/>
                                    </a:cubicBezTo>
                                    <a:cubicBezTo>
                                      <a:pt x="77954" y="51467"/>
                                      <a:pt x="91795" y="52670"/>
                                      <a:pt x="96219" y="50163"/>
                                    </a:cubicBezTo>
                                    <a:cubicBezTo>
                                      <a:pt x="106691" y="43813"/>
                                      <a:pt x="52666" y="23625"/>
                                      <a:pt x="78563" y="21619"/>
                                    </a:cubicBezTo>
                                    <a:cubicBezTo>
                                      <a:pt x="90537" y="20717"/>
                                      <a:pt x="94027" y="28805"/>
                                      <a:pt x="108072" y="27936"/>
                                    </a:cubicBezTo>
                                    <a:cubicBezTo>
                                      <a:pt x="125890" y="26833"/>
                                      <a:pt x="109411" y="21252"/>
                                      <a:pt x="116677" y="16238"/>
                                    </a:cubicBezTo>
                                    <a:cubicBezTo>
                                      <a:pt x="123008" y="11927"/>
                                      <a:pt x="133359" y="13999"/>
                                      <a:pt x="138554" y="17575"/>
                                    </a:cubicBezTo>
                                    <a:cubicBezTo>
                                      <a:pt x="143750" y="21152"/>
                                      <a:pt x="153207" y="14233"/>
                                      <a:pt x="158606" y="13765"/>
                                    </a:cubicBezTo>
                                    <a:cubicBezTo>
                                      <a:pt x="169971" y="12394"/>
                                      <a:pt x="193553" y="25363"/>
                                      <a:pt x="194365" y="14634"/>
                                    </a:cubicBezTo>
                                    <a:cubicBezTo>
                                      <a:pt x="194365" y="12428"/>
                                      <a:pt x="200494" y="11292"/>
                                      <a:pt x="202483" y="9720"/>
                                    </a:cubicBezTo>
                                    <a:cubicBezTo>
                                      <a:pt x="205974" y="7147"/>
                                      <a:pt x="203254" y="3236"/>
                                      <a:pt x="202036" y="395"/>
                                    </a:cubicBezTo>
                                    <a:cubicBezTo>
                                      <a:pt x="194974" y="395"/>
                                      <a:pt x="203051" y="2668"/>
                                      <a:pt x="202118" y="395"/>
                                    </a:cubicBezTo>
                                    <a:close/>
                                    <a:moveTo>
                                      <a:pt x="166033" y="126001"/>
                                    </a:moveTo>
                                    <a:cubicBezTo>
                                      <a:pt x="156982" y="122659"/>
                                      <a:pt x="139975" y="124397"/>
                                      <a:pt x="129746" y="123461"/>
                                    </a:cubicBezTo>
                                    <a:cubicBezTo>
                                      <a:pt x="118503" y="122458"/>
                                      <a:pt x="106042" y="115105"/>
                                      <a:pt x="96422" y="122124"/>
                                    </a:cubicBezTo>
                                    <a:cubicBezTo>
                                      <a:pt x="93540" y="124196"/>
                                      <a:pt x="129341" y="131082"/>
                                      <a:pt x="133968" y="131783"/>
                                    </a:cubicBezTo>
                                    <a:cubicBezTo>
                                      <a:pt x="140340" y="132653"/>
                                      <a:pt x="186085" y="134424"/>
                                      <a:pt x="185435" y="127739"/>
                                    </a:cubicBezTo>
                                    <a:cubicBezTo>
                                      <a:pt x="185435" y="126202"/>
                                      <a:pt x="168834" y="127004"/>
                                      <a:pt x="166033" y="126001"/>
                                    </a:cubicBezTo>
                                    <a:close/>
                                  </a:path>
                                </a:pathLst>
                              </a:custGeom>
                              <a:grpFill/>
                              <a:ln w="3021" cap="flat">
                                <a:solidFill>
                                  <a:schemeClr val="accent5"/>
                                </a:solidFill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GB"/>
                              </a:p>
                            </p:txBody>
                          </p:sp>
                          <p:grpSp>
                            <p:nvGrpSpPr>
                              <p:cNvPr id="406" name="Group 405">
                                <a:extLst>
                                  <a:ext uri="{FF2B5EF4-FFF2-40B4-BE49-F238E27FC236}">
                                    <a16:creationId xmlns:a16="http://schemas.microsoft.com/office/drawing/2014/main" id="{DA57CCBB-3F07-4347-B1F0-C8B77CF22286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5482354" y="4440470"/>
                                <a:ext cx="857580" cy="238357"/>
                                <a:chOff x="5482354" y="4440470"/>
                                <a:chExt cx="857580" cy="238357"/>
                              </a:xfrm>
                              <a:grpFill/>
                            </p:grpSpPr>
                            <p:grpSp>
                              <p:nvGrpSpPr>
                                <p:cNvPr id="407" name="Group 406">
                                  <a:extLst>
                                    <a:ext uri="{FF2B5EF4-FFF2-40B4-BE49-F238E27FC236}">
                                      <a16:creationId xmlns:a16="http://schemas.microsoft.com/office/drawing/2014/main" id="{C6AFC857-19E3-4274-96D0-E704BA2FF1CD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5482354" y="4440470"/>
                                  <a:ext cx="592288" cy="238357"/>
                                  <a:chOff x="5482354" y="4440470"/>
                                  <a:chExt cx="592288" cy="238357"/>
                                </a:xfrm>
                                <a:grpFill/>
                              </p:grpSpPr>
                              <p:sp>
                                <p:nvSpPr>
                                  <p:cNvPr id="409" name="Freeform: Shape 408">
                                    <a:extLst>
                                      <a:ext uri="{FF2B5EF4-FFF2-40B4-BE49-F238E27FC236}">
                                        <a16:creationId xmlns:a16="http://schemas.microsoft.com/office/drawing/2014/main" id="{8D96F3BB-D384-43A9-BAFD-C6EBB62913BD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5613676" y="4440470"/>
                                    <a:ext cx="460966" cy="148615"/>
                                  </a:xfrm>
                                  <a:custGeom>
                                    <a:avLst/>
                                    <a:gdLst>
                                      <a:gd name="connsiteX0" fmla="*/ 415252 w 473110"/>
                                      <a:gd name="connsiteY0" fmla="*/ 43322 h 203488"/>
                                      <a:gd name="connsiteX1" fmla="*/ 381887 w 473110"/>
                                      <a:gd name="connsiteY1" fmla="*/ 38141 h 203488"/>
                                      <a:gd name="connsiteX2" fmla="*/ 353475 w 473110"/>
                                      <a:gd name="connsiteY2" fmla="*/ 32660 h 203488"/>
                                      <a:gd name="connsiteX3" fmla="*/ 330095 w 473110"/>
                                      <a:gd name="connsiteY3" fmla="*/ 28315 h 203488"/>
                                      <a:gd name="connsiteX4" fmla="*/ 317918 w 473110"/>
                                      <a:gd name="connsiteY4" fmla="*/ 25340 h 203488"/>
                                      <a:gd name="connsiteX5" fmla="*/ 314387 w 473110"/>
                                      <a:gd name="connsiteY5" fmla="*/ 19123 h 203488"/>
                                      <a:gd name="connsiteX6" fmla="*/ 296081 w 473110"/>
                                      <a:gd name="connsiteY6" fmla="*/ 23903 h 203488"/>
                                      <a:gd name="connsiteX7" fmla="*/ 283457 w 473110"/>
                                      <a:gd name="connsiteY7" fmla="*/ 15480 h 203488"/>
                                      <a:gd name="connsiteX8" fmla="*/ 260970 w 473110"/>
                                      <a:gd name="connsiteY8" fmla="*/ 8795 h 203488"/>
                                      <a:gd name="connsiteX9" fmla="*/ 247170 w 473110"/>
                                      <a:gd name="connsiteY9" fmla="*/ 7024 h 203488"/>
                                      <a:gd name="connsiteX10" fmla="*/ 215144 w 473110"/>
                                      <a:gd name="connsiteY10" fmla="*/ 4316 h 203488"/>
                                      <a:gd name="connsiteX11" fmla="*/ 193104 w 473110"/>
                                      <a:gd name="connsiteY11" fmla="*/ 27212 h 203488"/>
                                      <a:gd name="connsiteX12" fmla="*/ 159293 w 473110"/>
                                      <a:gd name="connsiteY12" fmla="*/ 39812 h 203488"/>
                                      <a:gd name="connsiteX13" fmla="*/ 117648 w 473110"/>
                                      <a:gd name="connsiteY13" fmla="*/ 37874 h 203488"/>
                                      <a:gd name="connsiteX14" fmla="*/ 93741 w 473110"/>
                                      <a:gd name="connsiteY14" fmla="*/ 41216 h 203488"/>
                                      <a:gd name="connsiteX15" fmla="*/ 91752 w 473110"/>
                                      <a:gd name="connsiteY15" fmla="*/ 61738 h 203488"/>
                                      <a:gd name="connsiteX16" fmla="*/ 69103 w 473110"/>
                                      <a:gd name="connsiteY16" fmla="*/ 63109 h 203488"/>
                                      <a:gd name="connsiteX17" fmla="*/ 53232 w 473110"/>
                                      <a:gd name="connsiteY17" fmla="*/ 57895 h 203488"/>
                                      <a:gd name="connsiteX18" fmla="*/ 953 w 473110"/>
                                      <a:gd name="connsiteY18" fmla="*/ 65782 h 203488"/>
                                      <a:gd name="connsiteX19" fmla="*/ 4484 w 473110"/>
                                      <a:gd name="connsiteY19" fmla="*/ 77548 h 203488"/>
                                      <a:gd name="connsiteX20" fmla="*/ 20720 w 473110"/>
                                      <a:gd name="connsiteY20" fmla="*/ 82862 h 203488"/>
                                      <a:gd name="connsiteX21" fmla="*/ 74582 w 473110"/>
                                      <a:gd name="connsiteY21" fmla="*/ 87441 h 203488"/>
                                      <a:gd name="connsiteX22" fmla="*/ 97881 w 473110"/>
                                      <a:gd name="connsiteY22" fmla="*/ 104153 h 203488"/>
                                      <a:gd name="connsiteX23" fmla="*/ 123371 w 473110"/>
                                      <a:gd name="connsiteY23" fmla="*/ 110570 h 203488"/>
                                      <a:gd name="connsiteX24" fmla="*/ 126213 w 473110"/>
                                      <a:gd name="connsiteY24" fmla="*/ 122101 h 203488"/>
                                      <a:gd name="connsiteX25" fmla="*/ 122478 w 473110"/>
                                      <a:gd name="connsiteY25" fmla="*/ 138512 h 203488"/>
                                      <a:gd name="connsiteX26" fmla="*/ 122722 w 473110"/>
                                      <a:gd name="connsiteY26" fmla="*/ 150946 h 203488"/>
                                      <a:gd name="connsiteX27" fmla="*/ 107582 w 473110"/>
                                      <a:gd name="connsiteY27" fmla="*/ 174342 h 203488"/>
                                      <a:gd name="connsiteX28" fmla="*/ 183119 w 473110"/>
                                      <a:gd name="connsiteY28" fmla="*/ 182832 h 203488"/>
                                      <a:gd name="connsiteX29" fmla="*/ 215591 w 473110"/>
                                      <a:gd name="connsiteY29" fmla="*/ 186709 h 203488"/>
                                      <a:gd name="connsiteX30" fmla="*/ 269373 w 473110"/>
                                      <a:gd name="connsiteY30" fmla="*/ 187378 h 203488"/>
                                      <a:gd name="connsiteX31" fmla="*/ 304482 w 473110"/>
                                      <a:gd name="connsiteY31" fmla="*/ 165117 h 203488"/>
                                      <a:gd name="connsiteX32" fmla="*/ 362567 w 473110"/>
                                      <a:gd name="connsiteY32" fmla="*/ 172437 h 203488"/>
                                      <a:gd name="connsiteX33" fmla="*/ 396703 w 473110"/>
                                      <a:gd name="connsiteY33" fmla="*/ 160171 h 203488"/>
                                      <a:gd name="connsiteX34" fmla="*/ 411477 w 473110"/>
                                      <a:gd name="connsiteY34" fmla="*/ 148907 h 203488"/>
                                      <a:gd name="connsiteX35" fmla="*/ 390452 w 473110"/>
                                      <a:gd name="connsiteY35" fmla="*/ 140150 h 203488"/>
                                      <a:gd name="connsiteX36" fmla="*/ 379412 w 473110"/>
                                      <a:gd name="connsiteY36" fmla="*/ 128920 h 203488"/>
                                      <a:gd name="connsiteX37" fmla="*/ 393659 w 473110"/>
                                      <a:gd name="connsiteY37" fmla="*/ 120430 h 203488"/>
                                      <a:gd name="connsiteX38" fmla="*/ 388017 w 473110"/>
                                      <a:gd name="connsiteY38" fmla="*/ 107595 h 203488"/>
                                      <a:gd name="connsiteX39" fmla="*/ 369548 w 473110"/>
                                      <a:gd name="connsiteY39" fmla="*/ 103384 h 203488"/>
                                      <a:gd name="connsiteX40" fmla="*/ 367965 w 473110"/>
                                      <a:gd name="connsiteY40" fmla="*/ 94627 h 203488"/>
                                      <a:gd name="connsiteX41" fmla="*/ 385703 w 473110"/>
                                      <a:gd name="connsiteY41" fmla="*/ 83865 h 203488"/>
                                      <a:gd name="connsiteX42" fmla="*/ 406891 w 473110"/>
                                      <a:gd name="connsiteY42" fmla="*/ 73303 h 203488"/>
                                      <a:gd name="connsiteX43" fmla="*/ 412898 w 473110"/>
                                      <a:gd name="connsiteY43" fmla="*/ 56190 h 203488"/>
                                      <a:gd name="connsiteX44" fmla="*/ 415415 w 473110"/>
                                      <a:gd name="connsiteY44" fmla="*/ 43756 h 203488"/>
                                      <a:gd name="connsiteX45" fmla="*/ 415252 w 473110"/>
                                      <a:gd name="connsiteY45" fmla="*/ 43322 h 203488"/>
                                      <a:gd name="connsiteX46" fmla="*/ 468019 w 473110"/>
                                      <a:gd name="connsiteY46" fmla="*/ 171267 h 203488"/>
                                      <a:gd name="connsiteX47" fmla="*/ 443218 w 473110"/>
                                      <a:gd name="connsiteY47" fmla="*/ 184637 h 203488"/>
                                      <a:gd name="connsiteX48" fmla="*/ 461646 w 473110"/>
                                      <a:gd name="connsiteY48" fmla="*/ 203087 h 203488"/>
                                      <a:gd name="connsiteX49" fmla="*/ 468019 w 473110"/>
                                      <a:gd name="connsiteY49" fmla="*/ 171301 h 203488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  <a:cxn ang="0">
                                        <a:pos x="connsiteX40" y="connsiteY40"/>
                                      </a:cxn>
                                      <a:cxn ang="0">
                                        <a:pos x="connsiteX41" y="connsiteY41"/>
                                      </a:cxn>
                                      <a:cxn ang="0">
                                        <a:pos x="connsiteX42" y="connsiteY42"/>
                                      </a:cxn>
                                      <a:cxn ang="0">
                                        <a:pos x="connsiteX43" y="connsiteY43"/>
                                      </a:cxn>
                                      <a:cxn ang="0">
                                        <a:pos x="connsiteX44" y="connsiteY44"/>
                                      </a:cxn>
                                      <a:cxn ang="0">
                                        <a:pos x="connsiteX45" y="connsiteY45"/>
                                      </a:cxn>
                                      <a:cxn ang="0">
                                        <a:pos x="connsiteX46" y="connsiteY46"/>
                                      </a:cxn>
                                      <a:cxn ang="0">
                                        <a:pos x="connsiteX47" y="connsiteY47"/>
                                      </a:cxn>
                                      <a:cxn ang="0">
                                        <a:pos x="connsiteX48" y="connsiteY48"/>
                                      </a:cxn>
                                      <a:cxn ang="0">
                                        <a:pos x="connsiteX49" y="connsiteY49"/>
                                      </a:cxn>
                                    </a:cxnLst>
                                    <a:rect l="l" t="t" r="r" b="b"/>
                                    <a:pathLst>
                                      <a:path w="473110" h="203488">
                                        <a:moveTo>
                                          <a:pt x="415252" y="43322"/>
                                        </a:moveTo>
                                        <a:cubicBezTo>
                                          <a:pt x="409569" y="43890"/>
                                          <a:pt x="386515" y="39812"/>
                                          <a:pt x="381887" y="38141"/>
                                        </a:cubicBezTo>
                                        <a:cubicBezTo>
                                          <a:pt x="373120" y="34358"/>
                                          <a:pt x="363338" y="32473"/>
                                          <a:pt x="353475" y="32660"/>
                                        </a:cubicBezTo>
                                        <a:cubicBezTo>
                                          <a:pt x="339958" y="32660"/>
                                          <a:pt x="340486" y="32325"/>
                                          <a:pt x="330095" y="28315"/>
                                        </a:cubicBezTo>
                                        <a:cubicBezTo>
                                          <a:pt x="325264" y="26443"/>
                                          <a:pt x="321043" y="28883"/>
                                          <a:pt x="317918" y="25340"/>
                                        </a:cubicBezTo>
                                        <a:cubicBezTo>
                                          <a:pt x="317512" y="24872"/>
                                          <a:pt x="315767" y="18923"/>
                                          <a:pt x="314387" y="19123"/>
                                        </a:cubicBezTo>
                                        <a:cubicBezTo>
                                          <a:pt x="309313" y="19792"/>
                                          <a:pt x="302210" y="26476"/>
                                          <a:pt x="296081" y="23903"/>
                                        </a:cubicBezTo>
                                        <a:cubicBezTo>
                                          <a:pt x="289181" y="21062"/>
                                          <a:pt x="292955" y="17686"/>
                                          <a:pt x="283457" y="15480"/>
                                        </a:cubicBezTo>
                                        <a:cubicBezTo>
                                          <a:pt x="275664" y="13976"/>
                                          <a:pt x="268114" y="11733"/>
                                          <a:pt x="260970" y="8795"/>
                                        </a:cubicBezTo>
                                        <a:cubicBezTo>
                                          <a:pt x="254679" y="6088"/>
                                          <a:pt x="252609" y="10333"/>
                                          <a:pt x="247170" y="7024"/>
                                        </a:cubicBezTo>
                                        <a:cubicBezTo>
                                          <a:pt x="238849" y="1977"/>
                                          <a:pt x="228823" y="-5176"/>
                                          <a:pt x="215144" y="4316"/>
                                        </a:cubicBezTo>
                                        <a:cubicBezTo>
                                          <a:pt x="202684" y="13040"/>
                                          <a:pt x="220015" y="23635"/>
                                          <a:pt x="193104" y="27212"/>
                                        </a:cubicBezTo>
                                        <a:cubicBezTo>
                                          <a:pt x="170293" y="30253"/>
                                          <a:pt x="169400" y="29652"/>
                                          <a:pt x="159293" y="39812"/>
                                        </a:cubicBezTo>
                                        <a:cubicBezTo>
                                          <a:pt x="152271" y="46865"/>
                                          <a:pt x="125117" y="41584"/>
                                          <a:pt x="117648" y="37874"/>
                                        </a:cubicBezTo>
                                        <a:cubicBezTo>
                                          <a:pt x="111884" y="34999"/>
                                          <a:pt x="89235" y="32158"/>
                                          <a:pt x="93741" y="41216"/>
                                        </a:cubicBezTo>
                                        <a:cubicBezTo>
                                          <a:pt x="95648" y="44793"/>
                                          <a:pt x="120814" y="65314"/>
                                          <a:pt x="91752" y="61738"/>
                                        </a:cubicBezTo>
                                        <a:cubicBezTo>
                                          <a:pt x="81401" y="60501"/>
                                          <a:pt x="78235" y="62674"/>
                                          <a:pt x="69103" y="63109"/>
                                        </a:cubicBezTo>
                                        <a:cubicBezTo>
                                          <a:pt x="63542" y="63376"/>
                                          <a:pt x="58631" y="58663"/>
                                          <a:pt x="53232" y="57895"/>
                                        </a:cubicBezTo>
                                        <a:cubicBezTo>
                                          <a:pt x="43775" y="56558"/>
                                          <a:pt x="6067" y="61538"/>
                                          <a:pt x="953" y="65782"/>
                                        </a:cubicBezTo>
                                        <a:cubicBezTo>
                                          <a:pt x="-2660" y="68724"/>
                                          <a:pt x="4565" y="74138"/>
                                          <a:pt x="4484" y="77548"/>
                                        </a:cubicBezTo>
                                        <a:cubicBezTo>
                                          <a:pt x="4484" y="82394"/>
                                          <a:pt x="13860" y="82494"/>
                                          <a:pt x="20720" y="82862"/>
                                        </a:cubicBezTo>
                                        <a:cubicBezTo>
                                          <a:pt x="38701" y="83831"/>
                                          <a:pt x="57251" y="85670"/>
                                          <a:pt x="74582" y="87441"/>
                                        </a:cubicBezTo>
                                        <a:cubicBezTo>
                                          <a:pt x="93862" y="89446"/>
                                          <a:pt x="86759" y="98070"/>
                                          <a:pt x="97881" y="104153"/>
                                        </a:cubicBezTo>
                                        <a:cubicBezTo>
                                          <a:pt x="105106" y="107996"/>
                                          <a:pt x="116390" y="107295"/>
                                          <a:pt x="123371" y="110570"/>
                                        </a:cubicBezTo>
                                        <a:cubicBezTo>
                                          <a:pt x="128932" y="113211"/>
                                          <a:pt x="122965" y="118726"/>
                                          <a:pt x="126213" y="122101"/>
                                        </a:cubicBezTo>
                                        <a:cubicBezTo>
                                          <a:pt x="130840" y="126948"/>
                                          <a:pt x="123615" y="133532"/>
                                          <a:pt x="122478" y="138512"/>
                                        </a:cubicBezTo>
                                        <a:cubicBezTo>
                                          <a:pt x="121545" y="142623"/>
                                          <a:pt x="123534" y="146768"/>
                                          <a:pt x="122722" y="150946"/>
                                        </a:cubicBezTo>
                                        <a:cubicBezTo>
                                          <a:pt x="121707" y="155926"/>
                                          <a:pt x="119393" y="172604"/>
                                          <a:pt x="107582" y="174342"/>
                                        </a:cubicBezTo>
                                        <a:cubicBezTo>
                                          <a:pt x="115699" y="175980"/>
                                          <a:pt x="183687" y="192692"/>
                                          <a:pt x="183119" y="182832"/>
                                        </a:cubicBezTo>
                                        <a:cubicBezTo>
                                          <a:pt x="183119" y="179724"/>
                                          <a:pt x="210111" y="186375"/>
                                          <a:pt x="215591" y="186709"/>
                                        </a:cubicBezTo>
                                        <a:cubicBezTo>
                                          <a:pt x="233857" y="187779"/>
                                          <a:pt x="250945" y="187645"/>
                                          <a:pt x="269373" y="187378"/>
                                        </a:cubicBezTo>
                                        <a:cubicBezTo>
                                          <a:pt x="264339" y="173674"/>
                                          <a:pt x="275501" y="164549"/>
                                          <a:pt x="304482" y="165117"/>
                                        </a:cubicBezTo>
                                        <a:cubicBezTo>
                                          <a:pt x="324006" y="165519"/>
                                          <a:pt x="344342" y="172704"/>
                                          <a:pt x="362567" y="172437"/>
                                        </a:cubicBezTo>
                                        <a:cubicBezTo>
                                          <a:pt x="377585" y="172237"/>
                                          <a:pt x="386028" y="164583"/>
                                          <a:pt x="396703" y="160171"/>
                                        </a:cubicBezTo>
                                        <a:cubicBezTo>
                                          <a:pt x="398042" y="159603"/>
                                          <a:pt x="422802" y="151548"/>
                                          <a:pt x="411477" y="148907"/>
                                        </a:cubicBezTo>
                                        <a:cubicBezTo>
                                          <a:pt x="404374" y="147236"/>
                                          <a:pt x="379817" y="149308"/>
                                          <a:pt x="390452" y="140150"/>
                                        </a:cubicBezTo>
                                        <a:cubicBezTo>
                                          <a:pt x="396784" y="134735"/>
                                          <a:pt x="375109" y="133465"/>
                                          <a:pt x="379412" y="128920"/>
                                        </a:cubicBezTo>
                                        <a:cubicBezTo>
                                          <a:pt x="379777" y="128519"/>
                                          <a:pt x="403400" y="123338"/>
                                          <a:pt x="393659" y="120430"/>
                                        </a:cubicBezTo>
                                        <a:cubicBezTo>
                                          <a:pt x="383917" y="117522"/>
                                          <a:pt x="394430" y="111339"/>
                                          <a:pt x="388017" y="107595"/>
                                        </a:cubicBezTo>
                                        <a:cubicBezTo>
                                          <a:pt x="382699" y="104521"/>
                                          <a:pt x="380101" y="96365"/>
                                          <a:pt x="369548" y="103384"/>
                                        </a:cubicBezTo>
                                        <a:cubicBezTo>
                                          <a:pt x="359766" y="110069"/>
                                          <a:pt x="365164" y="96900"/>
                                          <a:pt x="367965" y="94627"/>
                                        </a:cubicBezTo>
                                        <a:cubicBezTo>
                                          <a:pt x="372268" y="91285"/>
                                          <a:pt x="384201" y="87942"/>
                                          <a:pt x="385703" y="83865"/>
                                        </a:cubicBezTo>
                                        <a:cubicBezTo>
                                          <a:pt x="388219" y="76846"/>
                                          <a:pt x="404536" y="78918"/>
                                          <a:pt x="406891" y="73303"/>
                                        </a:cubicBezTo>
                                        <a:cubicBezTo>
                                          <a:pt x="409245" y="67688"/>
                                          <a:pt x="408717" y="61805"/>
                                          <a:pt x="412898" y="56190"/>
                                        </a:cubicBezTo>
                                        <a:cubicBezTo>
                                          <a:pt x="414928" y="53483"/>
                                          <a:pt x="436075" y="41784"/>
                                          <a:pt x="415415" y="43756"/>
                                        </a:cubicBezTo>
                                        <a:cubicBezTo>
                                          <a:pt x="410909" y="43790"/>
                                          <a:pt x="419595" y="42921"/>
                                          <a:pt x="415252" y="43322"/>
                                        </a:cubicBezTo>
                                        <a:close/>
                                        <a:moveTo>
                                          <a:pt x="468019" y="171267"/>
                                        </a:moveTo>
                                        <a:cubicBezTo>
                                          <a:pt x="462458" y="171000"/>
                                          <a:pt x="444274" y="181896"/>
                                          <a:pt x="443218" y="184637"/>
                                        </a:cubicBezTo>
                                        <a:cubicBezTo>
                                          <a:pt x="441189" y="189751"/>
                                          <a:pt x="447602" y="204223"/>
                                          <a:pt x="461646" y="203087"/>
                                        </a:cubicBezTo>
                                        <a:cubicBezTo>
                                          <a:pt x="475690" y="201950"/>
                                          <a:pt x="475447" y="171602"/>
                                          <a:pt x="468019" y="17130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grpFill/>
                                  <a:ln w="3021" cap="flat">
                                    <a:solidFill>
                                      <a:schemeClr val="accent5"/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  <p:sp>
                                <p:nvSpPr>
                                  <p:cNvPr id="410" name="Freeform: Shape 409">
                                    <a:extLst>
                                      <a:ext uri="{FF2B5EF4-FFF2-40B4-BE49-F238E27FC236}">
                                        <a16:creationId xmlns:a16="http://schemas.microsoft.com/office/drawing/2014/main" id="{26F87A46-5C1E-4151-ACDC-0A96D8FCE5F4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5482354" y="4567391"/>
                                    <a:ext cx="398834" cy="111436"/>
                                  </a:xfrm>
                                  <a:custGeom>
                                    <a:avLst/>
                                    <a:gdLst>
                                      <a:gd name="connsiteX0" fmla="*/ 403991 w 409341"/>
                                      <a:gd name="connsiteY0" fmla="*/ 13159 h 152581"/>
                                      <a:gd name="connsiteX1" fmla="*/ 336937 w 409341"/>
                                      <a:gd name="connsiteY1" fmla="*/ 11120 h 152581"/>
                                      <a:gd name="connsiteX2" fmla="*/ 317657 w 409341"/>
                                      <a:gd name="connsiteY2" fmla="*/ 8614 h 152581"/>
                                      <a:gd name="connsiteX3" fmla="*/ 292329 w 409341"/>
                                      <a:gd name="connsiteY3" fmla="*/ 10819 h 152581"/>
                                      <a:gd name="connsiteX4" fmla="*/ 172467 w 409341"/>
                                      <a:gd name="connsiteY4" fmla="*/ 592 h 152581"/>
                                      <a:gd name="connsiteX5" fmla="*/ 50333 w 409341"/>
                                      <a:gd name="connsiteY5" fmla="*/ 2865 h 152581"/>
                                      <a:gd name="connsiteX6" fmla="*/ 15223 w 409341"/>
                                      <a:gd name="connsiteY6" fmla="*/ 12892 h 152581"/>
                                      <a:gd name="connsiteX7" fmla="*/ 3533 w 409341"/>
                                      <a:gd name="connsiteY7" fmla="*/ 23220 h 152581"/>
                                      <a:gd name="connsiteX8" fmla="*/ 16846 w 409341"/>
                                      <a:gd name="connsiteY8" fmla="*/ 41904 h 152581"/>
                                      <a:gd name="connsiteX9" fmla="*/ 34746 w 409341"/>
                                      <a:gd name="connsiteY9" fmla="*/ 36756 h 152581"/>
                                      <a:gd name="connsiteX10" fmla="*/ 50536 w 409341"/>
                                      <a:gd name="connsiteY10" fmla="*/ 40934 h 152581"/>
                                      <a:gd name="connsiteX11" fmla="*/ 69126 w 409341"/>
                                      <a:gd name="connsiteY11" fmla="*/ 39597 h 152581"/>
                                      <a:gd name="connsiteX12" fmla="*/ 90192 w 409341"/>
                                      <a:gd name="connsiteY12" fmla="*/ 41536 h 152581"/>
                                      <a:gd name="connsiteX13" fmla="*/ 99893 w 409341"/>
                                      <a:gd name="connsiteY13" fmla="*/ 44343 h 152581"/>
                                      <a:gd name="connsiteX14" fmla="*/ 79598 w 409341"/>
                                      <a:gd name="connsiteY14" fmla="*/ 54972 h 152581"/>
                                      <a:gd name="connsiteX15" fmla="*/ 83657 w 409341"/>
                                      <a:gd name="connsiteY15" fmla="*/ 66704 h 152581"/>
                                      <a:gd name="connsiteX16" fmla="*/ 79882 w 409341"/>
                                      <a:gd name="connsiteY16" fmla="*/ 82179 h 152581"/>
                                      <a:gd name="connsiteX17" fmla="*/ 66731 w 409341"/>
                                      <a:gd name="connsiteY17" fmla="*/ 87426 h 152581"/>
                                      <a:gd name="connsiteX18" fmla="*/ 80816 w 409341"/>
                                      <a:gd name="connsiteY18" fmla="*/ 98222 h 152581"/>
                                      <a:gd name="connsiteX19" fmla="*/ 72170 w 409341"/>
                                      <a:gd name="connsiteY19" fmla="*/ 105475 h 152581"/>
                                      <a:gd name="connsiteX20" fmla="*/ 83860 w 409341"/>
                                      <a:gd name="connsiteY20" fmla="*/ 115502 h 152581"/>
                                      <a:gd name="connsiteX21" fmla="*/ 70709 w 409341"/>
                                      <a:gd name="connsiteY21" fmla="*/ 122521 h 152581"/>
                                      <a:gd name="connsiteX22" fmla="*/ 73794 w 409341"/>
                                      <a:gd name="connsiteY22" fmla="*/ 135222 h 152581"/>
                                      <a:gd name="connsiteX23" fmla="*/ 116616 w 409341"/>
                                      <a:gd name="connsiteY23" fmla="*/ 149828 h 152581"/>
                                      <a:gd name="connsiteX24" fmla="*/ 148195 w 409341"/>
                                      <a:gd name="connsiteY24" fmla="*/ 144748 h 152581"/>
                                      <a:gd name="connsiteX25" fmla="*/ 165729 w 409341"/>
                                      <a:gd name="connsiteY25" fmla="*/ 141171 h 152581"/>
                                      <a:gd name="connsiteX26" fmla="*/ 202260 w 409341"/>
                                      <a:gd name="connsiteY26" fmla="*/ 135690 h 152581"/>
                                      <a:gd name="connsiteX27" fmla="*/ 231566 w 409341"/>
                                      <a:gd name="connsiteY27" fmla="*/ 133718 h 152581"/>
                                      <a:gd name="connsiteX28" fmla="*/ 254378 w 409341"/>
                                      <a:gd name="connsiteY28" fmla="*/ 121084 h 152581"/>
                                      <a:gd name="connsiteX29" fmla="*/ 279219 w 409341"/>
                                      <a:gd name="connsiteY29" fmla="*/ 113162 h 152581"/>
                                      <a:gd name="connsiteX30" fmla="*/ 285672 w 409341"/>
                                      <a:gd name="connsiteY30" fmla="*/ 100495 h 152581"/>
                                      <a:gd name="connsiteX31" fmla="*/ 300041 w 409341"/>
                                      <a:gd name="connsiteY31" fmla="*/ 82781 h 152581"/>
                                      <a:gd name="connsiteX32" fmla="*/ 325410 w 409341"/>
                                      <a:gd name="connsiteY32" fmla="*/ 52064 h 152581"/>
                                      <a:gd name="connsiteX33" fmla="*/ 333528 w 409341"/>
                                      <a:gd name="connsiteY33" fmla="*/ 42806 h 152581"/>
                                      <a:gd name="connsiteX34" fmla="*/ 370058 w 409341"/>
                                      <a:gd name="connsiteY34" fmla="*/ 35887 h 152581"/>
                                      <a:gd name="connsiteX35" fmla="*/ 404235 w 409341"/>
                                      <a:gd name="connsiteY35" fmla="*/ 13126 h 152581"/>
                                      <a:gd name="connsiteX36" fmla="*/ 403991 w 409341"/>
                                      <a:gd name="connsiteY36" fmla="*/ 13159 h 152581"/>
                                      <a:gd name="connsiteX37" fmla="*/ 408984 w 409341"/>
                                      <a:gd name="connsiteY37" fmla="*/ 68141 h 152581"/>
                                      <a:gd name="connsiteX38" fmla="*/ 381464 w 409341"/>
                                      <a:gd name="connsiteY38" fmla="*/ 73990 h 152581"/>
                                      <a:gd name="connsiteX39" fmla="*/ 408984 w 409341"/>
                                      <a:gd name="connsiteY39" fmla="*/ 68141 h 152581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  <a:cxn ang="0">
                                        <a:pos x="connsiteX4" y="connsiteY4"/>
                                      </a:cxn>
                                      <a:cxn ang="0">
                                        <a:pos x="connsiteX5" y="connsiteY5"/>
                                      </a:cxn>
                                      <a:cxn ang="0">
                                        <a:pos x="connsiteX6" y="connsiteY6"/>
                                      </a:cxn>
                                      <a:cxn ang="0">
                                        <a:pos x="connsiteX7" y="connsiteY7"/>
                                      </a:cxn>
                                      <a:cxn ang="0">
                                        <a:pos x="connsiteX8" y="connsiteY8"/>
                                      </a:cxn>
                                      <a:cxn ang="0">
                                        <a:pos x="connsiteX9" y="connsiteY9"/>
                                      </a:cxn>
                                      <a:cxn ang="0">
                                        <a:pos x="connsiteX10" y="connsiteY10"/>
                                      </a:cxn>
                                      <a:cxn ang="0">
                                        <a:pos x="connsiteX11" y="connsiteY11"/>
                                      </a:cxn>
                                      <a:cxn ang="0">
                                        <a:pos x="connsiteX12" y="connsiteY12"/>
                                      </a:cxn>
                                      <a:cxn ang="0">
                                        <a:pos x="connsiteX13" y="connsiteY13"/>
                                      </a:cxn>
                                      <a:cxn ang="0">
                                        <a:pos x="connsiteX14" y="connsiteY14"/>
                                      </a:cxn>
                                      <a:cxn ang="0">
                                        <a:pos x="connsiteX15" y="connsiteY15"/>
                                      </a:cxn>
                                      <a:cxn ang="0">
                                        <a:pos x="connsiteX16" y="connsiteY16"/>
                                      </a:cxn>
                                      <a:cxn ang="0">
                                        <a:pos x="connsiteX17" y="connsiteY17"/>
                                      </a:cxn>
                                      <a:cxn ang="0">
                                        <a:pos x="connsiteX18" y="connsiteY18"/>
                                      </a:cxn>
                                      <a:cxn ang="0">
                                        <a:pos x="connsiteX19" y="connsiteY19"/>
                                      </a:cxn>
                                      <a:cxn ang="0">
                                        <a:pos x="connsiteX20" y="connsiteY20"/>
                                      </a:cxn>
                                      <a:cxn ang="0">
                                        <a:pos x="connsiteX21" y="connsiteY21"/>
                                      </a:cxn>
                                      <a:cxn ang="0">
                                        <a:pos x="connsiteX22" y="connsiteY22"/>
                                      </a:cxn>
                                      <a:cxn ang="0">
                                        <a:pos x="connsiteX23" y="connsiteY23"/>
                                      </a:cxn>
                                      <a:cxn ang="0">
                                        <a:pos x="connsiteX24" y="connsiteY24"/>
                                      </a:cxn>
                                      <a:cxn ang="0">
                                        <a:pos x="connsiteX25" y="connsiteY25"/>
                                      </a:cxn>
                                      <a:cxn ang="0">
                                        <a:pos x="connsiteX26" y="connsiteY26"/>
                                      </a:cxn>
                                      <a:cxn ang="0">
                                        <a:pos x="connsiteX27" y="connsiteY27"/>
                                      </a:cxn>
                                      <a:cxn ang="0">
                                        <a:pos x="connsiteX28" y="connsiteY28"/>
                                      </a:cxn>
                                      <a:cxn ang="0">
                                        <a:pos x="connsiteX29" y="connsiteY29"/>
                                      </a:cxn>
                                      <a:cxn ang="0">
                                        <a:pos x="connsiteX30" y="connsiteY30"/>
                                      </a:cxn>
                                      <a:cxn ang="0">
                                        <a:pos x="connsiteX31" y="connsiteY31"/>
                                      </a:cxn>
                                      <a:cxn ang="0">
                                        <a:pos x="connsiteX32" y="connsiteY32"/>
                                      </a:cxn>
                                      <a:cxn ang="0">
                                        <a:pos x="connsiteX33" y="connsiteY33"/>
                                      </a:cxn>
                                      <a:cxn ang="0">
                                        <a:pos x="connsiteX34" y="connsiteY34"/>
                                      </a:cxn>
                                      <a:cxn ang="0">
                                        <a:pos x="connsiteX35" y="connsiteY35"/>
                                      </a:cxn>
                                      <a:cxn ang="0">
                                        <a:pos x="connsiteX36" y="connsiteY36"/>
                                      </a:cxn>
                                      <a:cxn ang="0">
                                        <a:pos x="connsiteX37" y="connsiteY37"/>
                                      </a:cxn>
                                      <a:cxn ang="0">
                                        <a:pos x="connsiteX38" y="connsiteY38"/>
                                      </a:cxn>
                                      <a:cxn ang="0">
                                        <a:pos x="connsiteX39" y="connsiteY39"/>
                                      </a:cxn>
                                    </a:cxnLst>
                                    <a:rect l="l" t="t" r="r" b="b"/>
                                    <a:pathLst>
                                      <a:path w="409341" h="152581">
                                        <a:moveTo>
                                          <a:pt x="403991" y="13159"/>
                                        </a:moveTo>
                                        <a:cubicBezTo>
                                          <a:pt x="382519" y="13494"/>
                                          <a:pt x="357476" y="15031"/>
                                          <a:pt x="336937" y="11120"/>
                                        </a:cubicBezTo>
                                        <a:cubicBezTo>
                                          <a:pt x="334664" y="10686"/>
                                          <a:pt x="317373" y="3333"/>
                                          <a:pt x="317657" y="8614"/>
                                        </a:cubicBezTo>
                                        <a:cubicBezTo>
                                          <a:pt x="317941" y="13895"/>
                                          <a:pt x="296672" y="11956"/>
                                          <a:pt x="292329" y="10819"/>
                                        </a:cubicBezTo>
                                        <a:cubicBezTo>
                                          <a:pt x="254499" y="-43"/>
                                          <a:pt x="215574" y="-1781"/>
                                          <a:pt x="172467" y="592"/>
                                        </a:cubicBezTo>
                                        <a:cubicBezTo>
                                          <a:pt x="136505" y="2497"/>
                                          <a:pt x="83170" y="9249"/>
                                          <a:pt x="50333" y="2865"/>
                                        </a:cubicBezTo>
                                        <a:cubicBezTo>
                                          <a:pt x="31783" y="-745"/>
                                          <a:pt x="31580" y="11488"/>
                                          <a:pt x="15223" y="12892"/>
                                        </a:cubicBezTo>
                                        <a:cubicBezTo>
                                          <a:pt x="4507" y="13794"/>
                                          <a:pt x="-5681" y="17972"/>
                                          <a:pt x="3533" y="23220"/>
                                        </a:cubicBezTo>
                                        <a:cubicBezTo>
                                          <a:pt x="14573" y="29503"/>
                                          <a:pt x="17496" y="32445"/>
                                          <a:pt x="16846" y="41904"/>
                                        </a:cubicBezTo>
                                        <a:cubicBezTo>
                                          <a:pt x="21879" y="41235"/>
                                          <a:pt x="30566" y="35219"/>
                                          <a:pt x="34746" y="36756"/>
                                        </a:cubicBezTo>
                                        <a:cubicBezTo>
                                          <a:pt x="42296" y="39664"/>
                                          <a:pt x="37141" y="42171"/>
                                          <a:pt x="50536" y="40934"/>
                                        </a:cubicBezTo>
                                        <a:cubicBezTo>
                                          <a:pt x="57395" y="40299"/>
                                          <a:pt x="63484" y="42204"/>
                                          <a:pt x="69126" y="39597"/>
                                        </a:cubicBezTo>
                                        <a:cubicBezTo>
                                          <a:pt x="80775" y="34183"/>
                                          <a:pt x="83251" y="38795"/>
                                          <a:pt x="90192" y="41536"/>
                                        </a:cubicBezTo>
                                        <a:cubicBezTo>
                                          <a:pt x="92100" y="42338"/>
                                          <a:pt x="100745" y="42271"/>
                                          <a:pt x="99893" y="44343"/>
                                        </a:cubicBezTo>
                                        <a:cubicBezTo>
                                          <a:pt x="97863" y="49056"/>
                                          <a:pt x="84672" y="51396"/>
                                          <a:pt x="79598" y="54972"/>
                                        </a:cubicBezTo>
                                        <a:cubicBezTo>
                                          <a:pt x="74524" y="58548"/>
                                          <a:pt x="82277" y="63562"/>
                                          <a:pt x="83657" y="66704"/>
                                        </a:cubicBezTo>
                                        <a:cubicBezTo>
                                          <a:pt x="86011" y="71918"/>
                                          <a:pt x="78299" y="76463"/>
                                          <a:pt x="79882" y="82179"/>
                                        </a:cubicBezTo>
                                        <a:cubicBezTo>
                                          <a:pt x="81140" y="86658"/>
                                          <a:pt x="71115" y="84853"/>
                                          <a:pt x="66731" y="87426"/>
                                        </a:cubicBezTo>
                                        <a:cubicBezTo>
                                          <a:pt x="61049" y="90769"/>
                                          <a:pt x="77974" y="96183"/>
                                          <a:pt x="80816" y="98222"/>
                                        </a:cubicBezTo>
                                        <a:cubicBezTo>
                                          <a:pt x="84875" y="101063"/>
                                          <a:pt x="74200" y="102267"/>
                                          <a:pt x="72170" y="105475"/>
                                        </a:cubicBezTo>
                                        <a:cubicBezTo>
                                          <a:pt x="68111" y="111792"/>
                                          <a:pt x="78827" y="111625"/>
                                          <a:pt x="83860" y="115502"/>
                                        </a:cubicBezTo>
                                        <a:cubicBezTo>
                                          <a:pt x="87432" y="118310"/>
                                          <a:pt x="73144" y="120182"/>
                                          <a:pt x="70709" y="122521"/>
                                        </a:cubicBezTo>
                                        <a:cubicBezTo>
                                          <a:pt x="66082" y="126933"/>
                                          <a:pt x="68882" y="131746"/>
                                          <a:pt x="73794" y="135222"/>
                                        </a:cubicBezTo>
                                        <a:cubicBezTo>
                                          <a:pt x="98148" y="131278"/>
                                          <a:pt x="102207" y="143177"/>
                                          <a:pt x="116616" y="149828"/>
                                        </a:cubicBezTo>
                                        <a:cubicBezTo>
                                          <a:pt x="132852" y="157449"/>
                                          <a:pt x="133339" y="144581"/>
                                          <a:pt x="148195" y="144748"/>
                                        </a:cubicBezTo>
                                        <a:cubicBezTo>
                                          <a:pt x="154364" y="145119"/>
                                          <a:pt x="160493" y="143866"/>
                                          <a:pt x="165729" y="141171"/>
                                        </a:cubicBezTo>
                                        <a:cubicBezTo>
                                          <a:pt x="176242" y="136626"/>
                                          <a:pt x="189677" y="136693"/>
                                          <a:pt x="202260" y="135690"/>
                                        </a:cubicBezTo>
                                        <a:cubicBezTo>
                                          <a:pt x="211799" y="134921"/>
                                          <a:pt x="222230" y="135022"/>
                                          <a:pt x="231566" y="133718"/>
                                        </a:cubicBezTo>
                                        <a:cubicBezTo>
                                          <a:pt x="245286" y="131813"/>
                                          <a:pt x="244555" y="125329"/>
                                          <a:pt x="254378" y="121084"/>
                                        </a:cubicBezTo>
                                        <a:cubicBezTo>
                                          <a:pt x="261521" y="118009"/>
                                          <a:pt x="275403" y="118109"/>
                                          <a:pt x="279219" y="113162"/>
                                        </a:cubicBezTo>
                                        <a:cubicBezTo>
                                          <a:pt x="283034" y="108216"/>
                                          <a:pt x="278772" y="104472"/>
                                          <a:pt x="285672" y="100495"/>
                                        </a:cubicBezTo>
                                        <a:cubicBezTo>
                                          <a:pt x="298701" y="92941"/>
                                          <a:pt x="305317" y="92941"/>
                                          <a:pt x="300041" y="82781"/>
                                        </a:cubicBezTo>
                                        <a:cubicBezTo>
                                          <a:pt x="292410" y="68141"/>
                                          <a:pt x="309985" y="62258"/>
                                          <a:pt x="325410" y="52064"/>
                                        </a:cubicBezTo>
                                        <a:cubicBezTo>
                                          <a:pt x="329996" y="49023"/>
                                          <a:pt x="326830" y="45380"/>
                                          <a:pt x="333528" y="42806"/>
                                        </a:cubicBezTo>
                                        <a:cubicBezTo>
                                          <a:pt x="344446" y="38628"/>
                                          <a:pt x="358774" y="39731"/>
                                          <a:pt x="370058" y="35887"/>
                                        </a:cubicBezTo>
                                        <a:cubicBezTo>
                                          <a:pt x="386051" y="30406"/>
                                          <a:pt x="408497" y="24724"/>
                                          <a:pt x="404235" y="13126"/>
                                        </a:cubicBezTo>
                                        <a:cubicBezTo>
                                          <a:pt x="392585" y="13326"/>
                                          <a:pt x="406630" y="20278"/>
                                          <a:pt x="403991" y="13159"/>
                                        </a:cubicBezTo>
                                        <a:close/>
                                        <a:moveTo>
                                          <a:pt x="408984" y="68141"/>
                                        </a:moveTo>
                                        <a:cubicBezTo>
                                          <a:pt x="406264" y="59618"/>
                                          <a:pt x="374442" y="71684"/>
                                          <a:pt x="381464" y="73990"/>
                                        </a:cubicBezTo>
                                        <a:cubicBezTo>
                                          <a:pt x="395792" y="78603"/>
                                          <a:pt x="411663" y="76664"/>
                                          <a:pt x="408984" y="68141"/>
                                        </a:cubicBezTo>
                                        <a:close/>
                                      </a:path>
                                    </a:pathLst>
                                  </a:custGeom>
                                  <a:grpFill/>
                                  <a:ln w="3021" cap="flat">
                                    <a:solidFill>
                                      <a:schemeClr val="accent5"/>
                                    </a:solidFill>
                                    <a:prstDash val="solid"/>
                                    <a:miter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GB"/>
                                  </a:p>
                                </p:txBody>
                              </p:sp>
                            </p:grpSp>
                            <p:sp>
                              <p:nvSpPr>
                                <p:cNvPr id="408" name="Freeform: Shape 407">
                                  <a:extLst>
                                    <a:ext uri="{FF2B5EF4-FFF2-40B4-BE49-F238E27FC236}">
                                      <a16:creationId xmlns:a16="http://schemas.microsoft.com/office/drawing/2014/main" id="{7FD6DB78-5168-48BF-825E-D1D7380D141D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5984388" y="4502846"/>
                                  <a:ext cx="355546" cy="156682"/>
                                </a:xfrm>
                                <a:custGeom>
                                  <a:avLst/>
                                  <a:gdLst>
                                    <a:gd name="connsiteX0" fmla="*/ 251442 w 364913"/>
                                    <a:gd name="connsiteY0" fmla="*/ 185530 h 214533"/>
                                    <a:gd name="connsiteX1" fmla="*/ 218523 w 364913"/>
                                    <a:gd name="connsiteY1" fmla="*/ 186365 h 214533"/>
                                    <a:gd name="connsiteX2" fmla="*/ 186701 w 364913"/>
                                    <a:gd name="connsiteY2" fmla="*/ 189708 h 214533"/>
                                    <a:gd name="connsiteX3" fmla="*/ 237925 w 364913"/>
                                    <a:gd name="connsiteY3" fmla="*/ 207055 h 214533"/>
                                    <a:gd name="connsiteX4" fmla="*/ 254648 w 364913"/>
                                    <a:gd name="connsiteY4" fmla="*/ 214174 h 214533"/>
                                    <a:gd name="connsiteX5" fmla="*/ 263415 w 364913"/>
                                    <a:gd name="connsiteY5" fmla="*/ 199233 h 214533"/>
                                    <a:gd name="connsiteX6" fmla="*/ 251238 w 364913"/>
                                    <a:gd name="connsiteY6" fmla="*/ 185630 h 214533"/>
                                    <a:gd name="connsiteX7" fmla="*/ 69924 w 364913"/>
                                    <a:gd name="connsiteY7" fmla="*/ 127807 h 214533"/>
                                    <a:gd name="connsiteX8" fmla="*/ 46869 w 364913"/>
                                    <a:gd name="connsiteY8" fmla="*/ 131150 h 214533"/>
                                    <a:gd name="connsiteX9" fmla="*/ 55555 w 364913"/>
                                    <a:gd name="connsiteY9" fmla="*/ 143015 h 214533"/>
                                    <a:gd name="connsiteX10" fmla="*/ 72238 w 364913"/>
                                    <a:gd name="connsiteY10" fmla="*/ 169286 h 214533"/>
                                    <a:gd name="connsiteX11" fmla="*/ 96023 w 364913"/>
                                    <a:gd name="connsiteY11" fmla="*/ 159727 h 214533"/>
                                    <a:gd name="connsiteX12" fmla="*/ 97525 w 364913"/>
                                    <a:gd name="connsiteY12" fmla="*/ 141010 h 214533"/>
                                    <a:gd name="connsiteX13" fmla="*/ 94521 w 364913"/>
                                    <a:gd name="connsiteY13" fmla="*/ 127640 h 214533"/>
                                    <a:gd name="connsiteX14" fmla="*/ 69924 w 364913"/>
                                    <a:gd name="connsiteY14" fmla="*/ 128075 h 214533"/>
                                    <a:gd name="connsiteX15" fmla="*/ 301286 w 364913"/>
                                    <a:gd name="connsiteY15" fmla="*/ 121122 h 214533"/>
                                    <a:gd name="connsiteX16" fmla="*/ 292315 w 364913"/>
                                    <a:gd name="connsiteY16" fmla="*/ 114204 h 214533"/>
                                    <a:gd name="connsiteX17" fmla="*/ 272020 w 364913"/>
                                    <a:gd name="connsiteY17" fmla="*/ 110293 h 214533"/>
                                    <a:gd name="connsiteX18" fmla="*/ 234556 w 364913"/>
                                    <a:gd name="connsiteY18" fmla="*/ 91409 h 214533"/>
                                    <a:gd name="connsiteX19" fmla="*/ 208944 w 364913"/>
                                    <a:gd name="connsiteY19" fmla="*/ 68982 h 214533"/>
                                    <a:gd name="connsiteX20" fmla="*/ 181546 w 364913"/>
                                    <a:gd name="connsiteY20" fmla="*/ 54142 h 214533"/>
                                    <a:gd name="connsiteX21" fmla="*/ 186417 w 364913"/>
                                    <a:gd name="connsiteY21" fmla="*/ 35224 h 214533"/>
                                    <a:gd name="connsiteX22" fmla="*/ 198594 w 364913"/>
                                    <a:gd name="connsiteY22" fmla="*/ 26300 h 214533"/>
                                    <a:gd name="connsiteX23" fmla="*/ 200704 w 364913"/>
                                    <a:gd name="connsiteY23" fmla="*/ 8619 h 214533"/>
                                    <a:gd name="connsiteX24" fmla="*/ 181952 w 364913"/>
                                    <a:gd name="connsiteY24" fmla="*/ 5276 h 214533"/>
                                    <a:gd name="connsiteX25" fmla="*/ 175295 w 364913"/>
                                    <a:gd name="connsiteY25" fmla="*/ -339 h 214533"/>
                                    <a:gd name="connsiteX26" fmla="*/ 136572 w 364913"/>
                                    <a:gd name="connsiteY26" fmla="*/ 5410 h 214533"/>
                                    <a:gd name="connsiteX27" fmla="*/ 119281 w 364913"/>
                                    <a:gd name="connsiteY27" fmla="*/ 9789 h 214533"/>
                                    <a:gd name="connsiteX28" fmla="*/ 108363 w 364913"/>
                                    <a:gd name="connsiteY28" fmla="*/ 10791 h 214533"/>
                                    <a:gd name="connsiteX29" fmla="*/ 95780 w 364913"/>
                                    <a:gd name="connsiteY29" fmla="*/ 15337 h 214533"/>
                                    <a:gd name="connsiteX30" fmla="*/ 75891 w 364913"/>
                                    <a:gd name="connsiteY30" fmla="*/ 25598 h 214533"/>
                                    <a:gd name="connsiteX31" fmla="*/ 48939 w 364913"/>
                                    <a:gd name="connsiteY31" fmla="*/ 16841 h 214533"/>
                                    <a:gd name="connsiteX32" fmla="*/ 16954 w 364913"/>
                                    <a:gd name="connsiteY32" fmla="*/ 26367 h 214533"/>
                                    <a:gd name="connsiteX33" fmla="*/ 6604 w 364913"/>
                                    <a:gd name="connsiteY33" fmla="*/ 41741 h 214533"/>
                                    <a:gd name="connsiteX34" fmla="*/ 9729 w 364913"/>
                                    <a:gd name="connsiteY34" fmla="*/ 54543 h 214533"/>
                                    <a:gd name="connsiteX35" fmla="*/ 24626 w 364913"/>
                                    <a:gd name="connsiteY35" fmla="*/ 62865 h 214533"/>
                                    <a:gd name="connsiteX36" fmla="*/ 28685 w 364913"/>
                                    <a:gd name="connsiteY36" fmla="*/ 71054 h 214533"/>
                                    <a:gd name="connsiteX37" fmla="*/ 58721 w 364913"/>
                                    <a:gd name="connsiteY37" fmla="*/ 60058 h 214533"/>
                                    <a:gd name="connsiteX38" fmla="*/ 108079 w 364913"/>
                                    <a:gd name="connsiteY38" fmla="*/ 65740 h 214533"/>
                                    <a:gd name="connsiteX39" fmla="*/ 152281 w 364913"/>
                                    <a:gd name="connsiteY39" fmla="*/ 98829 h 214533"/>
                                    <a:gd name="connsiteX40" fmla="*/ 187148 w 364913"/>
                                    <a:gd name="connsiteY40" fmla="*/ 115541 h 214533"/>
                                    <a:gd name="connsiteX41" fmla="*/ 231796 w 364913"/>
                                    <a:gd name="connsiteY41" fmla="*/ 129412 h 214533"/>
                                    <a:gd name="connsiteX42" fmla="*/ 266825 w 364913"/>
                                    <a:gd name="connsiteY42" fmla="*/ 143617 h 214533"/>
                                    <a:gd name="connsiteX43" fmla="*/ 281356 w 364913"/>
                                    <a:gd name="connsiteY43" fmla="*/ 148196 h 214533"/>
                                    <a:gd name="connsiteX44" fmla="*/ 289474 w 364913"/>
                                    <a:gd name="connsiteY44" fmla="*/ 160195 h 214533"/>
                                    <a:gd name="connsiteX45" fmla="*/ 283102 w 364913"/>
                                    <a:gd name="connsiteY45" fmla="*/ 182421 h 214533"/>
                                    <a:gd name="connsiteX46" fmla="*/ 300636 w 364913"/>
                                    <a:gd name="connsiteY46" fmla="*/ 181118 h 214533"/>
                                    <a:gd name="connsiteX47" fmla="*/ 306969 w 364913"/>
                                    <a:gd name="connsiteY47" fmla="*/ 172394 h 214533"/>
                                    <a:gd name="connsiteX48" fmla="*/ 323204 w 364913"/>
                                    <a:gd name="connsiteY48" fmla="*/ 165710 h 214533"/>
                                    <a:gd name="connsiteX49" fmla="*/ 309119 w 364913"/>
                                    <a:gd name="connsiteY49" fmla="*/ 148764 h 214533"/>
                                    <a:gd name="connsiteX50" fmla="*/ 347152 w 364913"/>
                                    <a:gd name="connsiteY50" fmla="*/ 148129 h 214533"/>
                                    <a:gd name="connsiteX51" fmla="*/ 361724 w 364913"/>
                                    <a:gd name="connsiteY51" fmla="*/ 143115 h 214533"/>
                                    <a:gd name="connsiteX52" fmla="*/ 301367 w 364913"/>
                                    <a:gd name="connsiteY52" fmla="*/ 121423 h 214533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  <a:cxn ang="0">
                                      <a:pos x="connsiteX9" y="connsiteY9"/>
                                    </a:cxn>
                                    <a:cxn ang="0">
                                      <a:pos x="connsiteX10" y="connsiteY10"/>
                                    </a:cxn>
                                    <a:cxn ang="0">
                                      <a:pos x="connsiteX11" y="connsiteY11"/>
                                    </a:cxn>
                                    <a:cxn ang="0">
                                      <a:pos x="connsiteX12" y="connsiteY12"/>
                                    </a:cxn>
                                    <a:cxn ang="0">
                                      <a:pos x="connsiteX13" y="connsiteY13"/>
                                    </a:cxn>
                                    <a:cxn ang="0">
                                      <a:pos x="connsiteX14" y="connsiteY14"/>
                                    </a:cxn>
                                    <a:cxn ang="0">
                                      <a:pos x="connsiteX15" y="connsiteY15"/>
                                    </a:cxn>
                                    <a:cxn ang="0">
                                      <a:pos x="connsiteX16" y="connsiteY16"/>
                                    </a:cxn>
                                    <a:cxn ang="0">
                                      <a:pos x="connsiteX17" y="connsiteY17"/>
                                    </a:cxn>
                                    <a:cxn ang="0">
                                      <a:pos x="connsiteX18" y="connsiteY18"/>
                                    </a:cxn>
                                    <a:cxn ang="0">
                                      <a:pos x="connsiteX19" y="connsiteY19"/>
                                    </a:cxn>
                                    <a:cxn ang="0">
                                      <a:pos x="connsiteX20" y="connsiteY20"/>
                                    </a:cxn>
                                    <a:cxn ang="0">
                                      <a:pos x="connsiteX21" y="connsiteY21"/>
                                    </a:cxn>
                                    <a:cxn ang="0">
                                      <a:pos x="connsiteX22" y="connsiteY22"/>
                                    </a:cxn>
                                    <a:cxn ang="0">
                                      <a:pos x="connsiteX23" y="connsiteY23"/>
                                    </a:cxn>
                                    <a:cxn ang="0">
                                      <a:pos x="connsiteX24" y="connsiteY24"/>
                                    </a:cxn>
                                    <a:cxn ang="0">
                                      <a:pos x="connsiteX25" y="connsiteY25"/>
                                    </a:cxn>
                                    <a:cxn ang="0">
                                      <a:pos x="connsiteX26" y="connsiteY26"/>
                                    </a:cxn>
                                    <a:cxn ang="0">
                                      <a:pos x="connsiteX27" y="connsiteY27"/>
                                    </a:cxn>
                                    <a:cxn ang="0">
                                      <a:pos x="connsiteX28" y="connsiteY28"/>
                                    </a:cxn>
                                    <a:cxn ang="0">
                                      <a:pos x="connsiteX29" y="connsiteY29"/>
                                    </a:cxn>
                                    <a:cxn ang="0">
                                      <a:pos x="connsiteX30" y="connsiteY30"/>
                                    </a:cxn>
                                    <a:cxn ang="0">
                                      <a:pos x="connsiteX31" y="connsiteY31"/>
                                    </a:cxn>
                                    <a:cxn ang="0">
                                      <a:pos x="connsiteX32" y="connsiteY32"/>
                                    </a:cxn>
                                    <a:cxn ang="0">
                                      <a:pos x="connsiteX33" y="connsiteY33"/>
                                    </a:cxn>
                                    <a:cxn ang="0">
                                      <a:pos x="connsiteX34" y="connsiteY34"/>
                                    </a:cxn>
                                    <a:cxn ang="0">
                                      <a:pos x="connsiteX35" y="connsiteY35"/>
                                    </a:cxn>
                                    <a:cxn ang="0">
                                      <a:pos x="connsiteX36" y="connsiteY36"/>
                                    </a:cxn>
                                    <a:cxn ang="0">
                                      <a:pos x="connsiteX37" y="connsiteY37"/>
                                    </a:cxn>
                                    <a:cxn ang="0">
                                      <a:pos x="connsiteX38" y="connsiteY38"/>
                                    </a:cxn>
                                    <a:cxn ang="0">
                                      <a:pos x="connsiteX39" y="connsiteY39"/>
                                    </a:cxn>
                                    <a:cxn ang="0">
                                      <a:pos x="connsiteX40" y="connsiteY40"/>
                                    </a:cxn>
                                    <a:cxn ang="0">
                                      <a:pos x="connsiteX41" y="connsiteY41"/>
                                    </a:cxn>
                                    <a:cxn ang="0">
                                      <a:pos x="connsiteX42" y="connsiteY42"/>
                                    </a:cxn>
                                    <a:cxn ang="0">
                                      <a:pos x="connsiteX43" y="connsiteY43"/>
                                    </a:cxn>
                                    <a:cxn ang="0">
                                      <a:pos x="connsiteX44" y="connsiteY44"/>
                                    </a:cxn>
                                    <a:cxn ang="0">
                                      <a:pos x="connsiteX45" y="connsiteY45"/>
                                    </a:cxn>
                                    <a:cxn ang="0">
                                      <a:pos x="connsiteX46" y="connsiteY46"/>
                                    </a:cxn>
                                    <a:cxn ang="0">
                                      <a:pos x="connsiteX47" y="connsiteY47"/>
                                    </a:cxn>
                                    <a:cxn ang="0">
                                      <a:pos x="connsiteX48" y="connsiteY48"/>
                                    </a:cxn>
                                    <a:cxn ang="0">
                                      <a:pos x="connsiteX49" y="connsiteY49"/>
                                    </a:cxn>
                                    <a:cxn ang="0">
                                      <a:pos x="connsiteX50" y="connsiteY50"/>
                                    </a:cxn>
                                    <a:cxn ang="0">
                                      <a:pos x="connsiteX51" y="connsiteY51"/>
                                    </a:cxn>
                                    <a:cxn ang="0">
                                      <a:pos x="connsiteX52" y="connsiteY52"/>
                                    </a:cxn>
                                  </a:cxnLst>
                                  <a:rect l="l" t="t" r="r" b="b"/>
                                  <a:pathLst>
                                    <a:path w="364913" h="214533">
                                      <a:moveTo>
                                        <a:pt x="251442" y="185530"/>
                                      </a:moveTo>
                                      <a:cubicBezTo>
                                        <a:pt x="240888" y="186633"/>
                                        <a:pt x="229198" y="188337"/>
                                        <a:pt x="218523" y="186365"/>
                                      </a:cubicBezTo>
                                      <a:cubicBezTo>
                                        <a:pt x="207848" y="184393"/>
                                        <a:pt x="192465" y="182455"/>
                                        <a:pt x="186701" y="189708"/>
                                      </a:cubicBezTo>
                                      <a:cubicBezTo>
                                        <a:pt x="180206" y="197730"/>
                                        <a:pt x="230822" y="203679"/>
                                        <a:pt x="237925" y="207055"/>
                                      </a:cubicBezTo>
                                      <a:cubicBezTo>
                                        <a:pt x="242715" y="209294"/>
                                        <a:pt x="247707" y="213739"/>
                                        <a:pt x="254648" y="214174"/>
                                      </a:cubicBezTo>
                                      <a:cubicBezTo>
                                        <a:pt x="269585" y="214742"/>
                                        <a:pt x="261914" y="203445"/>
                                        <a:pt x="263415" y="199233"/>
                                      </a:cubicBezTo>
                                      <a:cubicBezTo>
                                        <a:pt x="267150" y="188605"/>
                                        <a:pt x="289677" y="181619"/>
                                        <a:pt x="251238" y="185630"/>
                                      </a:cubicBezTo>
                                      <a:close/>
                                      <a:moveTo>
                                        <a:pt x="69924" y="127807"/>
                                      </a:moveTo>
                                      <a:cubicBezTo>
                                        <a:pt x="63714" y="130715"/>
                                        <a:pt x="50400" y="127807"/>
                                        <a:pt x="46869" y="131150"/>
                                      </a:cubicBezTo>
                                      <a:cubicBezTo>
                                        <a:pt x="43338" y="134492"/>
                                        <a:pt x="52796" y="140174"/>
                                        <a:pt x="55555" y="143015"/>
                                      </a:cubicBezTo>
                                      <a:cubicBezTo>
                                        <a:pt x="58316" y="145856"/>
                                        <a:pt x="56611" y="177876"/>
                                        <a:pt x="72238" y="169286"/>
                                      </a:cubicBezTo>
                                      <a:cubicBezTo>
                                        <a:pt x="78976" y="165576"/>
                                        <a:pt x="93182" y="165142"/>
                                        <a:pt x="96023" y="159727"/>
                                      </a:cubicBezTo>
                                      <a:cubicBezTo>
                                        <a:pt x="99067" y="153777"/>
                                        <a:pt x="97079" y="147093"/>
                                        <a:pt x="97525" y="141010"/>
                                      </a:cubicBezTo>
                                      <a:cubicBezTo>
                                        <a:pt x="97850" y="136464"/>
                                        <a:pt x="103248" y="130682"/>
                                        <a:pt x="94521" y="127640"/>
                                      </a:cubicBezTo>
                                      <a:cubicBezTo>
                                        <a:pt x="86607" y="124986"/>
                                        <a:pt x="77717" y="125143"/>
                                        <a:pt x="69924" y="128075"/>
                                      </a:cubicBezTo>
                                      <a:close/>
                                      <a:moveTo>
                                        <a:pt x="301286" y="121122"/>
                                      </a:moveTo>
                                      <a:cubicBezTo>
                                        <a:pt x="297470" y="119672"/>
                                        <a:pt x="294305" y="117245"/>
                                        <a:pt x="292315" y="114204"/>
                                      </a:cubicBezTo>
                                      <a:cubicBezTo>
                                        <a:pt x="288256" y="109759"/>
                                        <a:pt x="279408" y="111162"/>
                                        <a:pt x="272020" y="110293"/>
                                      </a:cubicBezTo>
                                      <a:cubicBezTo>
                                        <a:pt x="257043" y="108231"/>
                                        <a:pt x="243608" y="101463"/>
                                        <a:pt x="234556" y="91409"/>
                                      </a:cubicBezTo>
                                      <a:cubicBezTo>
                                        <a:pt x="226438" y="82552"/>
                                        <a:pt x="225423" y="74931"/>
                                        <a:pt x="208944" y="68982"/>
                                      </a:cubicBezTo>
                                      <a:cubicBezTo>
                                        <a:pt x="198269" y="65105"/>
                                        <a:pt x="183089" y="61963"/>
                                        <a:pt x="181546" y="54142"/>
                                      </a:cubicBezTo>
                                      <a:cubicBezTo>
                                        <a:pt x="180978" y="51267"/>
                                        <a:pt x="183778" y="36761"/>
                                        <a:pt x="186417" y="35224"/>
                                      </a:cubicBezTo>
                                      <a:cubicBezTo>
                                        <a:pt x="194819" y="30344"/>
                                        <a:pt x="198594" y="34054"/>
                                        <a:pt x="198594" y="26300"/>
                                      </a:cubicBezTo>
                                      <a:cubicBezTo>
                                        <a:pt x="198634" y="20367"/>
                                        <a:pt x="199365" y="14448"/>
                                        <a:pt x="200704" y="8619"/>
                                      </a:cubicBezTo>
                                      <a:cubicBezTo>
                                        <a:pt x="195671" y="8318"/>
                                        <a:pt x="184468" y="8385"/>
                                        <a:pt x="181952" y="5276"/>
                                      </a:cubicBezTo>
                                      <a:cubicBezTo>
                                        <a:pt x="180166" y="3137"/>
                                        <a:pt x="180775" y="-339"/>
                                        <a:pt x="175295" y="-339"/>
                                      </a:cubicBezTo>
                                      <a:cubicBezTo>
                                        <a:pt x="159668" y="-339"/>
                                        <a:pt x="150373" y="4808"/>
                                        <a:pt x="136572" y="5410"/>
                                      </a:cubicBezTo>
                                      <a:cubicBezTo>
                                        <a:pt x="123787" y="5978"/>
                                        <a:pt x="126750" y="3505"/>
                                        <a:pt x="119281" y="9789"/>
                                      </a:cubicBezTo>
                                      <a:cubicBezTo>
                                        <a:pt x="116481" y="12128"/>
                                        <a:pt x="112016" y="9789"/>
                                        <a:pt x="108363" y="10791"/>
                                      </a:cubicBezTo>
                                      <a:cubicBezTo>
                                        <a:pt x="101868" y="12763"/>
                                        <a:pt x="107429" y="16039"/>
                                        <a:pt x="95780" y="15337"/>
                                      </a:cubicBezTo>
                                      <a:cubicBezTo>
                                        <a:pt x="73456" y="13966"/>
                                        <a:pt x="87905" y="23826"/>
                                        <a:pt x="75891" y="25598"/>
                                      </a:cubicBezTo>
                                      <a:cubicBezTo>
                                        <a:pt x="63064" y="27536"/>
                                        <a:pt x="58803" y="6012"/>
                                        <a:pt x="48939" y="16841"/>
                                      </a:cubicBezTo>
                                      <a:cubicBezTo>
                                        <a:pt x="40821" y="25932"/>
                                        <a:pt x="35057" y="25364"/>
                                        <a:pt x="16954" y="26367"/>
                                      </a:cubicBezTo>
                                      <a:cubicBezTo>
                                        <a:pt x="-5086" y="27637"/>
                                        <a:pt x="24667" y="36728"/>
                                        <a:pt x="6604" y="41741"/>
                                      </a:cubicBezTo>
                                      <a:cubicBezTo>
                                        <a:pt x="-13041" y="47256"/>
                                        <a:pt x="17807" y="47658"/>
                                        <a:pt x="9729" y="54543"/>
                                      </a:cubicBezTo>
                                      <a:cubicBezTo>
                                        <a:pt x="1652" y="61428"/>
                                        <a:pt x="15980" y="62765"/>
                                        <a:pt x="24626" y="62865"/>
                                      </a:cubicBezTo>
                                      <a:cubicBezTo>
                                        <a:pt x="37209" y="62865"/>
                                        <a:pt x="29416" y="67010"/>
                                        <a:pt x="28685" y="71054"/>
                                      </a:cubicBezTo>
                                      <a:cubicBezTo>
                                        <a:pt x="45165" y="68313"/>
                                        <a:pt x="46057" y="64369"/>
                                        <a:pt x="58721" y="60058"/>
                                      </a:cubicBezTo>
                                      <a:cubicBezTo>
                                        <a:pt x="74552" y="54576"/>
                                        <a:pt x="96104" y="59423"/>
                                        <a:pt x="108079" y="65740"/>
                                      </a:cubicBezTo>
                                      <a:cubicBezTo>
                                        <a:pt x="128130" y="76268"/>
                                        <a:pt x="125938" y="89738"/>
                                        <a:pt x="152281" y="98829"/>
                                      </a:cubicBezTo>
                                      <a:cubicBezTo>
                                        <a:pt x="165675" y="103441"/>
                                        <a:pt x="175620" y="109692"/>
                                        <a:pt x="187148" y="115541"/>
                                      </a:cubicBezTo>
                                      <a:cubicBezTo>
                                        <a:pt x="200136" y="122025"/>
                                        <a:pt x="218199" y="123061"/>
                                        <a:pt x="231796" y="129412"/>
                                      </a:cubicBezTo>
                                      <a:cubicBezTo>
                                        <a:pt x="243973" y="134893"/>
                                        <a:pt x="256759" y="136832"/>
                                        <a:pt x="266825" y="143617"/>
                                      </a:cubicBezTo>
                                      <a:cubicBezTo>
                                        <a:pt x="270884" y="146224"/>
                                        <a:pt x="278028" y="145889"/>
                                        <a:pt x="281356" y="148196"/>
                                      </a:cubicBezTo>
                                      <a:cubicBezTo>
                                        <a:pt x="284684" y="150502"/>
                                        <a:pt x="287363" y="157287"/>
                                        <a:pt x="289474" y="160195"/>
                                      </a:cubicBezTo>
                                      <a:cubicBezTo>
                                        <a:pt x="296334" y="169520"/>
                                        <a:pt x="283304" y="173999"/>
                                        <a:pt x="283102" y="182421"/>
                                      </a:cubicBezTo>
                                      <a:cubicBezTo>
                                        <a:pt x="282858" y="193752"/>
                                        <a:pt x="295684" y="186532"/>
                                        <a:pt x="300636" y="181118"/>
                                      </a:cubicBezTo>
                                      <a:cubicBezTo>
                                        <a:pt x="302950" y="178611"/>
                                        <a:pt x="303559" y="174433"/>
                                        <a:pt x="306969" y="172394"/>
                                      </a:cubicBezTo>
                                      <a:cubicBezTo>
                                        <a:pt x="311595" y="169553"/>
                                        <a:pt x="318537" y="168617"/>
                                        <a:pt x="323204" y="165710"/>
                                      </a:cubicBezTo>
                                      <a:cubicBezTo>
                                        <a:pt x="331038" y="160429"/>
                                        <a:pt x="305548" y="155683"/>
                                        <a:pt x="309119" y="148764"/>
                                      </a:cubicBezTo>
                                      <a:cubicBezTo>
                                        <a:pt x="314315" y="138737"/>
                                        <a:pt x="337045" y="144285"/>
                                        <a:pt x="347152" y="148129"/>
                                      </a:cubicBezTo>
                                      <a:cubicBezTo>
                                        <a:pt x="357259" y="151973"/>
                                        <a:pt x="371141" y="151104"/>
                                        <a:pt x="361724" y="143115"/>
                                      </a:cubicBezTo>
                                      <a:cubicBezTo>
                                        <a:pt x="348979" y="132320"/>
                                        <a:pt x="320404" y="128041"/>
                                        <a:pt x="301367" y="121423"/>
                                      </a:cubicBezTo>
                                      <a:close/>
                                    </a:path>
                                  </a:pathLst>
                                </a:custGeom>
                                <a:grpFill/>
                                <a:ln w="3021" cap="flat">
                                  <a:solidFill>
                                    <a:schemeClr val="accent5"/>
                                  </a:solidFill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GB"/>
                                </a:p>
                              </p:txBody>
                            </p:sp>
                          </p:grpSp>
                        </p:grpSp>
                      </p:grpSp>
                    </p:grpSp>
                  </p:grpSp>
                </p:grpSp>
              </p:grpSp>
              <p:sp>
                <p:nvSpPr>
                  <p:cNvPr id="394" name="Freeform: Shape 393">
                    <a:extLst>
                      <a:ext uri="{FF2B5EF4-FFF2-40B4-BE49-F238E27FC236}">
                        <a16:creationId xmlns:a16="http://schemas.microsoft.com/office/drawing/2014/main" id="{7A2597F7-017C-4445-9696-08B03AAD55CA}"/>
                      </a:ext>
                    </a:extLst>
                  </p:cNvPr>
                  <p:cNvSpPr/>
                  <p:nvPr/>
                </p:nvSpPr>
                <p:spPr>
                  <a:xfrm>
                    <a:off x="6354103" y="4519205"/>
                    <a:ext cx="120366" cy="61791"/>
                  </a:xfrm>
                  <a:custGeom>
                    <a:avLst/>
                    <a:gdLst>
                      <a:gd name="connsiteX0" fmla="*/ 114024 w 123537"/>
                      <a:gd name="connsiteY0" fmla="*/ 58348 h 84606"/>
                      <a:gd name="connsiteX1" fmla="*/ 110857 w 123537"/>
                      <a:gd name="connsiteY1" fmla="*/ 48789 h 84606"/>
                      <a:gd name="connsiteX2" fmla="*/ 115931 w 123537"/>
                      <a:gd name="connsiteY2" fmla="*/ 37592 h 84606"/>
                      <a:gd name="connsiteX3" fmla="*/ 82972 w 123537"/>
                      <a:gd name="connsiteY3" fmla="*/ 30907 h 84606"/>
                      <a:gd name="connsiteX4" fmla="*/ 76681 w 123537"/>
                      <a:gd name="connsiteY4" fmla="*/ 19810 h 84606"/>
                      <a:gd name="connsiteX5" fmla="*/ 56102 w 123537"/>
                      <a:gd name="connsiteY5" fmla="*/ 2463 h 84606"/>
                      <a:gd name="connsiteX6" fmla="*/ 21398 w 123537"/>
                      <a:gd name="connsiteY6" fmla="*/ 358 h 84606"/>
                      <a:gd name="connsiteX7" fmla="*/ 372 w 123537"/>
                      <a:gd name="connsiteY7" fmla="*/ 7845 h 84606"/>
                      <a:gd name="connsiteX8" fmla="*/ 14538 w 123537"/>
                      <a:gd name="connsiteY8" fmla="*/ 19209 h 84606"/>
                      <a:gd name="connsiteX9" fmla="*/ 18191 w 123537"/>
                      <a:gd name="connsiteY9" fmla="*/ 43040 h 84606"/>
                      <a:gd name="connsiteX10" fmla="*/ 1103 w 123537"/>
                      <a:gd name="connsiteY10" fmla="*/ 58715 h 84606"/>
                      <a:gd name="connsiteX11" fmla="*/ 33899 w 123537"/>
                      <a:gd name="connsiteY11" fmla="*/ 76229 h 84606"/>
                      <a:gd name="connsiteX12" fmla="*/ 60323 w 123537"/>
                      <a:gd name="connsiteY12" fmla="*/ 84218 h 84606"/>
                      <a:gd name="connsiteX13" fmla="*/ 112116 w 123537"/>
                      <a:gd name="connsiteY13" fmla="*/ 78369 h 84606"/>
                      <a:gd name="connsiteX14" fmla="*/ 114024 w 123537"/>
                      <a:gd name="connsiteY14" fmla="*/ 58314 h 84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23537" h="84606">
                        <a:moveTo>
                          <a:pt x="114024" y="58348"/>
                        </a:moveTo>
                        <a:cubicBezTo>
                          <a:pt x="109315" y="55841"/>
                          <a:pt x="107773" y="51663"/>
                          <a:pt x="110857" y="48789"/>
                        </a:cubicBezTo>
                        <a:cubicBezTo>
                          <a:pt x="116499" y="43207"/>
                          <a:pt x="115525" y="44176"/>
                          <a:pt x="115931" y="37592"/>
                        </a:cubicBezTo>
                        <a:cubicBezTo>
                          <a:pt x="116175" y="33247"/>
                          <a:pt x="88411" y="31609"/>
                          <a:pt x="82972" y="30907"/>
                        </a:cubicBezTo>
                        <a:cubicBezTo>
                          <a:pt x="73109" y="29704"/>
                          <a:pt x="85733" y="20111"/>
                          <a:pt x="76681" y="19810"/>
                        </a:cubicBezTo>
                        <a:cubicBezTo>
                          <a:pt x="70593" y="19576"/>
                          <a:pt x="53139" y="4034"/>
                          <a:pt x="56102" y="2463"/>
                        </a:cubicBezTo>
                        <a:cubicBezTo>
                          <a:pt x="42099" y="893"/>
                          <a:pt x="35117" y="-1547"/>
                          <a:pt x="21398" y="358"/>
                        </a:cubicBezTo>
                        <a:cubicBezTo>
                          <a:pt x="10642" y="1828"/>
                          <a:pt x="-2631" y="759"/>
                          <a:pt x="372" y="7845"/>
                        </a:cubicBezTo>
                        <a:cubicBezTo>
                          <a:pt x="2686" y="13193"/>
                          <a:pt x="12914" y="14162"/>
                          <a:pt x="14538" y="19209"/>
                        </a:cubicBezTo>
                        <a:cubicBezTo>
                          <a:pt x="17704" y="26866"/>
                          <a:pt x="18962" y="34975"/>
                          <a:pt x="18191" y="43040"/>
                        </a:cubicBezTo>
                        <a:cubicBezTo>
                          <a:pt x="16730" y="52231"/>
                          <a:pt x="10966" y="52064"/>
                          <a:pt x="1103" y="58715"/>
                        </a:cubicBezTo>
                        <a:cubicBezTo>
                          <a:pt x="12712" y="65400"/>
                          <a:pt x="19977" y="72085"/>
                          <a:pt x="33899" y="76229"/>
                        </a:cubicBezTo>
                        <a:cubicBezTo>
                          <a:pt x="42017" y="78703"/>
                          <a:pt x="51028" y="84886"/>
                          <a:pt x="60323" y="84218"/>
                        </a:cubicBezTo>
                        <a:cubicBezTo>
                          <a:pt x="71486" y="83349"/>
                          <a:pt x="110817" y="83716"/>
                          <a:pt x="112116" y="78369"/>
                        </a:cubicBezTo>
                        <a:cubicBezTo>
                          <a:pt x="114673" y="67873"/>
                          <a:pt x="135130" y="69478"/>
                          <a:pt x="114024" y="58314"/>
                        </a:cubicBezTo>
                        <a:close/>
                      </a:path>
                    </a:pathLst>
                  </a:custGeom>
                  <a:grpFill/>
                  <a:ln w="3021" cap="flat">
                    <a:solidFill>
                      <a:schemeClr val="accent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</p:grp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5B2D116F-3998-40E0-8650-277EEB1F1697}"/>
                </a:ext>
              </a:extLst>
            </p:cNvPr>
            <p:cNvSpPr/>
            <p:nvPr/>
          </p:nvSpPr>
          <p:spPr>
            <a:xfrm>
              <a:off x="6464760" y="4429389"/>
              <a:ext cx="566668" cy="133653"/>
            </a:xfrm>
            <a:custGeom>
              <a:avLst/>
              <a:gdLst>
                <a:gd name="connsiteX0" fmla="*/ 514155 w 581597"/>
                <a:gd name="connsiteY0" fmla="*/ 129954 h 183001"/>
                <a:gd name="connsiteX1" fmla="*/ 549752 w 581597"/>
                <a:gd name="connsiteY1" fmla="*/ 124706 h 183001"/>
                <a:gd name="connsiteX2" fmla="*/ 567246 w 581597"/>
                <a:gd name="connsiteY2" fmla="*/ 126310 h 183001"/>
                <a:gd name="connsiteX3" fmla="*/ 571995 w 581597"/>
                <a:gd name="connsiteY3" fmla="*/ 114378 h 183001"/>
                <a:gd name="connsiteX4" fmla="*/ 577475 w 581597"/>
                <a:gd name="connsiteY4" fmla="*/ 108061 h 183001"/>
                <a:gd name="connsiteX5" fmla="*/ 576054 w 581597"/>
                <a:gd name="connsiteY5" fmla="*/ 99405 h 183001"/>
                <a:gd name="connsiteX6" fmla="*/ 532664 w 581597"/>
                <a:gd name="connsiteY6" fmla="*/ 78949 h 183001"/>
                <a:gd name="connsiteX7" fmla="*/ 498812 w 581597"/>
                <a:gd name="connsiteY7" fmla="*/ 65346 h 183001"/>
                <a:gd name="connsiteX8" fmla="*/ 471942 w 581597"/>
                <a:gd name="connsiteY8" fmla="*/ 65346 h 183001"/>
                <a:gd name="connsiteX9" fmla="*/ 458384 w 581597"/>
                <a:gd name="connsiteY9" fmla="*/ 61034 h 183001"/>
                <a:gd name="connsiteX10" fmla="*/ 442148 w 581597"/>
                <a:gd name="connsiteY10" fmla="*/ 58394 h 183001"/>
                <a:gd name="connsiteX11" fmla="*/ 413735 w 581597"/>
                <a:gd name="connsiteY11" fmla="*/ 38340 h 183001"/>
                <a:gd name="connsiteX12" fmla="*/ 392792 w 581597"/>
                <a:gd name="connsiteY12" fmla="*/ 14609 h 183001"/>
                <a:gd name="connsiteX13" fmla="*/ 352526 w 581597"/>
                <a:gd name="connsiteY13" fmla="*/ 7089 h 183001"/>
                <a:gd name="connsiteX14" fmla="*/ 331785 w 581597"/>
                <a:gd name="connsiteY14" fmla="*/ 9328 h 183001"/>
                <a:gd name="connsiteX15" fmla="*/ 320420 w 581597"/>
                <a:gd name="connsiteY15" fmla="*/ 8927 h 183001"/>
                <a:gd name="connsiteX16" fmla="*/ 302966 w 581597"/>
                <a:gd name="connsiteY16" fmla="*/ 7891 h 183001"/>
                <a:gd name="connsiteX17" fmla="*/ 274554 w 581597"/>
                <a:gd name="connsiteY17" fmla="*/ 17483 h 183001"/>
                <a:gd name="connsiteX18" fmla="*/ 238023 w 581597"/>
                <a:gd name="connsiteY18" fmla="*/ 19689 h 183001"/>
                <a:gd name="connsiteX19" fmla="*/ 222030 w 581597"/>
                <a:gd name="connsiteY19" fmla="*/ 14709 h 183001"/>
                <a:gd name="connsiteX20" fmla="*/ 197270 w 581597"/>
                <a:gd name="connsiteY20" fmla="*/ 12035 h 183001"/>
                <a:gd name="connsiteX21" fmla="*/ 180060 w 581597"/>
                <a:gd name="connsiteY21" fmla="*/ 11601 h 183001"/>
                <a:gd name="connsiteX22" fmla="*/ 147589 w 581597"/>
                <a:gd name="connsiteY22" fmla="*/ 7256 h 183001"/>
                <a:gd name="connsiteX23" fmla="*/ 96851 w 581597"/>
                <a:gd name="connsiteY23" fmla="*/ -231 h 183001"/>
                <a:gd name="connsiteX24" fmla="*/ 46845 w 581597"/>
                <a:gd name="connsiteY24" fmla="*/ 6086 h 183001"/>
                <a:gd name="connsiteX25" fmla="*/ 59022 w 581597"/>
                <a:gd name="connsiteY25" fmla="*/ 21795 h 183001"/>
                <a:gd name="connsiteX26" fmla="*/ 44003 w 581597"/>
                <a:gd name="connsiteY26" fmla="*/ 35666 h 183001"/>
                <a:gd name="connsiteX27" fmla="*/ 18432 w 581597"/>
                <a:gd name="connsiteY27" fmla="*/ 47197 h 183001"/>
                <a:gd name="connsiteX28" fmla="*/ 14698 w 581597"/>
                <a:gd name="connsiteY28" fmla="*/ 61302 h 183001"/>
                <a:gd name="connsiteX29" fmla="*/ 1587 w 581597"/>
                <a:gd name="connsiteY29" fmla="*/ 76543 h 183001"/>
                <a:gd name="connsiteX30" fmla="*/ 40391 w 581597"/>
                <a:gd name="connsiteY30" fmla="*/ 85367 h 183001"/>
                <a:gd name="connsiteX31" fmla="*/ 83010 w 581597"/>
                <a:gd name="connsiteY31" fmla="*/ 92553 h 183001"/>
                <a:gd name="connsiteX32" fmla="*/ 127903 w 581597"/>
                <a:gd name="connsiteY32" fmla="*/ 89210 h 183001"/>
                <a:gd name="connsiteX33" fmla="*/ 157695 w 581597"/>
                <a:gd name="connsiteY33" fmla="*/ 83060 h 183001"/>
                <a:gd name="connsiteX34" fmla="*/ 193942 w 581597"/>
                <a:gd name="connsiteY34" fmla="*/ 90079 h 183001"/>
                <a:gd name="connsiteX35" fmla="*/ 220772 w 581597"/>
                <a:gd name="connsiteY35" fmla="*/ 101644 h 183001"/>
                <a:gd name="connsiteX36" fmla="*/ 244476 w 581597"/>
                <a:gd name="connsiteY36" fmla="*/ 126076 h 183001"/>
                <a:gd name="connsiteX37" fmla="*/ 224182 w 581597"/>
                <a:gd name="connsiteY37" fmla="*/ 128149 h 183001"/>
                <a:gd name="connsiteX38" fmla="*/ 207377 w 581597"/>
                <a:gd name="connsiteY38" fmla="*/ 138777 h 183001"/>
                <a:gd name="connsiteX39" fmla="*/ 195850 w 581597"/>
                <a:gd name="connsiteY39" fmla="*/ 152882 h 183001"/>
                <a:gd name="connsiteX40" fmla="*/ 232096 w 581597"/>
                <a:gd name="connsiteY40" fmla="*/ 156225 h 183001"/>
                <a:gd name="connsiteX41" fmla="*/ 254218 w 581597"/>
                <a:gd name="connsiteY41" fmla="*/ 142187 h 183001"/>
                <a:gd name="connsiteX42" fmla="*/ 285066 w 581597"/>
                <a:gd name="connsiteY42" fmla="*/ 128817 h 183001"/>
                <a:gd name="connsiteX43" fmla="*/ 319892 w 581597"/>
                <a:gd name="connsiteY43" fmla="*/ 132694 h 183001"/>
                <a:gd name="connsiteX44" fmla="*/ 325453 w 581597"/>
                <a:gd name="connsiteY44" fmla="*/ 142220 h 183001"/>
                <a:gd name="connsiteX45" fmla="*/ 352486 w 581597"/>
                <a:gd name="connsiteY45" fmla="*/ 153183 h 183001"/>
                <a:gd name="connsiteX46" fmla="*/ 324397 w 581597"/>
                <a:gd name="connsiteY46" fmla="*/ 157595 h 183001"/>
                <a:gd name="connsiteX47" fmla="*/ 355976 w 581597"/>
                <a:gd name="connsiteY47" fmla="*/ 167823 h 183001"/>
                <a:gd name="connsiteX48" fmla="*/ 366611 w 581597"/>
                <a:gd name="connsiteY48" fmla="*/ 182562 h 183001"/>
                <a:gd name="connsiteX49" fmla="*/ 419865 w 581597"/>
                <a:gd name="connsiteY49" fmla="*/ 174407 h 183001"/>
                <a:gd name="connsiteX50" fmla="*/ 457573 w 581597"/>
                <a:gd name="connsiteY50" fmla="*/ 175711 h 183001"/>
                <a:gd name="connsiteX51" fmla="*/ 425750 w 581597"/>
                <a:gd name="connsiteY51" fmla="*/ 168391 h 183001"/>
                <a:gd name="connsiteX52" fmla="*/ 401397 w 581597"/>
                <a:gd name="connsiteY52" fmla="*/ 155322 h 183001"/>
                <a:gd name="connsiteX53" fmla="*/ 419946 w 581597"/>
                <a:gd name="connsiteY53" fmla="*/ 145462 h 183001"/>
                <a:gd name="connsiteX54" fmla="*/ 468654 w 581597"/>
                <a:gd name="connsiteY54" fmla="*/ 141518 h 183001"/>
                <a:gd name="connsiteX55" fmla="*/ 502099 w 581597"/>
                <a:gd name="connsiteY55" fmla="*/ 138176 h 183001"/>
                <a:gd name="connsiteX56" fmla="*/ 514276 w 581597"/>
                <a:gd name="connsiteY56" fmla="*/ 130020 h 183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81597" h="183001">
                  <a:moveTo>
                    <a:pt x="514155" y="129954"/>
                  </a:moveTo>
                  <a:cubicBezTo>
                    <a:pt x="528929" y="130254"/>
                    <a:pt x="532704" y="121899"/>
                    <a:pt x="549752" y="124706"/>
                  </a:cubicBezTo>
                  <a:cubicBezTo>
                    <a:pt x="551051" y="124940"/>
                    <a:pt x="567002" y="128049"/>
                    <a:pt x="567246" y="126310"/>
                  </a:cubicBezTo>
                  <a:cubicBezTo>
                    <a:pt x="567936" y="121698"/>
                    <a:pt x="578571" y="119425"/>
                    <a:pt x="571995" y="114378"/>
                  </a:cubicBezTo>
                  <a:cubicBezTo>
                    <a:pt x="565419" y="109331"/>
                    <a:pt x="569194" y="109331"/>
                    <a:pt x="577475" y="108061"/>
                  </a:cubicBezTo>
                  <a:cubicBezTo>
                    <a:pt x="587297" y="106557"/>
                    <a:pt x="568180" y="102279"/>
                    <a:pt x="576054" y="99405"/>
                  </a:cubicBezTo>
                  <a:cubicBezTo>
                    <a:pt x="598419" y="91249"/>
                    <a:pt x="546018" y="81389"/>
                    <a:pt x="532664" y="78949"/>
                  </a:cubicBezTo>
                  <a:cubicBezTo>
                    <a:pt x="515332" y="75607"/>
                    <a:pt x="507701" y="75440"/>
                    <a:pt x="498812" y="65346"/>
                  </a:cubicBezTo>
                  <a:cubicBezTo>
                    <a:pt x="494266" y="60199"/>
                    <a:pt x="477624" y="65613"/>
                    <a:pt x="471942" y="65346"/>
                  </a:cubicBezTo>
                  <a:cubicBezTo>
                    <a:pt x="467030" y="64928"/>
                    <a:pt x="462362" y="63441"/>
                    <a:pt x="458384" y="61034"/>
                  </a:cubicBezTo>
                  <a:cubicBezTo>
                    <a:pt x="451768" y="57692"/>
                    <a:pt x="449698" y="59330"/>
                    <a:pt x="442148" y="58394"/>
                  </a:cubicBezTo>
                  <a:cubicBezTo>
                    <a:pt x="429971" y="56856"/>
                    <a:pt x="436466" y="40479"/>
                    <a:pt x="413735" y="38340"/>
                  </a:cubicBezTo>
                  <a:cubicBezTo>
                    <a:pt x="387352" y="35933"/>
                    <a:pt x="397865" y="23600"/>
                    <a:pt x="392792" y="14609"/>
                  </a:cubicBezTo>
                  <a:cubicBezTo>
                    <a:pt x="387718" y="5618"/>
                    <a:pt x="365880" y="8860"/>
                    <a:pt x="352526" y="7089"/>
                  </a:cubicBezTo>
                  <a:cubicBezTo>
                    <a:pt x="342460" y="5785"/>
                    <a:pt x="340349" y="7790"/>
                    <a:pt x="331785" y="9328"/>
                  </a:cubicBezTo>
                  <a:cubicBezTo>
                    <a:pt x="328010" y="9896"/>
                    <a:pt x="324113" y="9759"/>
                    <a:pt x="320420" y="8927"/>
                  </a:cubicBezTo>
                  <a:cubicBezTo>
                    <a:pt x="313316" y="7022"/>
                    <a:pt x="311653" y="7857"/>
                    <a:pt x="302966" y="7891"/>
                  </a:cubicBezTo>
                  <a:cubicBezTo>
                    <a:pt x="294280" y="7924"/>
                    <a:pt x="275162" y="11835"/>
                    <a:pt x="274554" y="17483"/>
                  </a:cubicBezTo>
                  <a:cubicBezTo>
                    <a:pt x="273458" y="28747"/>
                    <a:pt x="253122" y="16046"/>
                    <a:pt x="238023" y="19689"/>
                  </a:cubicBezTo>
                  <a:cubicBezTo>
                    <a:pt x="233720" y="20725"/>
                    <a:pt x="226211" y="15344"/>
                    <a:pt x="222030" y="14709"/>
                  </a:cubicBezTo>
                  <a:cubicBezTo>
                    <a:pt x="215171" y="13673"/>
                    <a:pt x="204617" y="12804"/>
                    <a:pt x="197270" y="12035"/>
                  </a:cubicBezTo>
                  <a:cubicBezTo>
                    <a:pt x="191588" y="11434"/>
                    <a:pt x="188503" y="13606"/>
                    <a:pt x="180060" y="11601"/>
                  </a:cubicBezTo>
                  <a:cubicBezTo>
                    <a:pt x="169020" y="8994"/>
                    <a:pt x="158183" y="9495"/>
                    <a:pt x="147589" y="7256"/>
                  </a:cubicBezTo>
                  <a:cubicBezTo>
                    <a:pt x="131028" y="3395"/>
                    <a:pt x="114021" y="885"/>
                    <a:pt x="96851" y="-231"/>
                  </a:cubicBezTo>
                  <a:cubicBezTo>
                    <a:pt x="75379" y="-1401"/>
                    <a:pt x="66612" y="7389"/>
                    <a:pt x="46845" y="6086"/>
                  </a:cubicBezTo>
                  <a:cubicBezTo>
                    <a:pt x="47738" y="12035"/>
                    <a:pt x="54963" y="16347"/>
                    <a:pt x="59022" y="21795"/>
                  </a:cubicBezTo>
                  <a:cubicBezTo>
                    <a:pt x="66044" y="30585"/>
                    <a:pt x="54557" y="30786"/>
                    <a:pt x="44003" y="35666"/>
                  </a:cubicBezTo>
                  <a:cubicBezTo>
                    <a:pt x="35602" y="39576"/>
                    <a:pt x="26550" y="43119"/>
                    <a:pt x="18432" y="47197"/>
                  </a:cubicBezTo>
                  <a:cubicBezTo>
                    <a:pt x="11167" y="50873"/>
                    <a:pt x="21476" y="58828"/>
                    <a:pt x="14698" y="61302"/>
                  </a:cubicBezTo>
                  <a:cubicBezTo>
                    <a:pt x="7229" y="64042"/>
                    <a:pt x="-4380" y="71329"/>
                    <a:pt x="1587" y="76543"/>
                  </a:cubicBezTo>
                  <a:cubicBezTo>
                    <a:pt x="11532" y="85032"/>
                    <a:pt x="25292" y="83227"/>
                    <a:pt x="40391" y="85367"/>
                  </a:cubicBezTo>
                  <a:cubicBezTo>
                    <a:pt x="51431" y="87038"/>
                    <a:pt x="75095" y="87840"/>
                    <a:pt x="83010" y="92553"/>
                  </a:cubicBezTo>
                  <a:cubicBezTo>
                    <a:pt x="86054" y="94291"/>
                    <a:pt x="123113" y="90514"/>
                    <a:pt x="127903" y="89210"/>
                  </a:cubicBezTo>
                  <a:cubicBezTo>
                    <a:pt x="137441" y="86025"/>
                    <a:pt x="147467" y="83953"/>
                    <a:pt x="157695" y="83060"/>
                  </a:cubicBezTo>
                  <a:cubicBezTo>
                    <a:pt x="176164" y="81456"/>
                    <a:pt x="178883" y="84431"/>
                    <a:pt x="193942" y="90079"/>
                  </a:cubicBezTo>
                  <a:cubicBezTo>
                    <a:pt x="204617" y="94090"/>
                    <a:pt x="216672" y="93188"/>
                    <a:pt x="220772" y="101644"/>
                  </a:cubicBezTo>
                  <a:cubicBezTo>
                    <a:pt x="225156" y="110768"/>
                    <a:pt x="240214" y="117286"/>
                    <a:pt x="244476" y="126076"/>
                  </a:cubicBezTo>
                  <a:cubicBezTo>
                    <a:pt x="249266" y="136104"/>
                    <a:pt x="235790" y="130422"/>
                    <a:pt x="224182" y="128149"/>
                  </a:cubicBezTo>
                  <a:cubicBezTo>
                    <a:pt x="210462" y="125441"/>
                    <a:pt x="212329" y="135067"/>
                    <a:pt x="207377" y="138777"/>
                  </a:cubicBezTo>
                  <a:cubicBezTo>
                    <a:pt x="202425" y="142488"/>
                    <a:pt x="182618" y="149807"/>
                    <a:pt x="195850" y="152882"/>
                  </a:cubicBezTo>
                  <a:cubicBezTo>
                    <a:pt x="212492" y="156826"/>
                    <a:pt x="216145" y="147668"/>
                    <a:pt x="232096" y="156225"/>
                  </a:cubicBezTo>
                  <a:cubicBezTo>
                    <a:pt x="231691" y="147133"/>
                    <a:pt x="243867" y="147501"/>
                    <a:pt x="254218" y="142187"/>
                  </a:cubicBezTo>
                  <a:cubicBezTo>
                    <a:pt x="266111" y="136070"/>
                    <a:pt x="267247" y="130422"/>
                    <a:pt x="285066" y="128817"/>
                  </a:cubicBezTo>
                  <a:cubicBezTo>
                    <a:pt x="289612" y="128383"/>
                    <a:pt x="326752" y="126979"/>
                    <a:pt x="319892" y="132694"/>
                  </a:cubicBezTo>
                  <a:cubicBezTo>
                    <a:pt x="314129" y="137474"/>
                    <a:pt x="310557" y="140215"/>
                    <a:pt x="325453" y="142220"/>
                  </a:cubicBezTo>
                  <a:cubicBezTo>
                    <a:pt x="338766" y="143958"/>
                    <a:pt x="393441" y="147768"/>
                    <a:pt x="352486" y="153183"/>
                  </a:cubicBezTo>
                  <a:cubicBezTo>
                    <a:pt x="349563" y="153551"/>
                    <a:pt x="323830" y="155456"/>
                    <a:pt x="324397" y="157595"/>
                  </a:cubicBezTo>
                  <a:cubicBezTo>
                    <a:pt x="325453" y="161606"/>
                    <a:pt x="350334" y="165349"/>
                    <a:pt x="355976" y="167823"/>
                  </a:cubicBezTo>
                  <a:cubicBezTo>
                    <a:pt x="365962" y="172168"/>
                    <a:pt x="343799" y="183866"/>
                    <a:pt x="366611" y="182562"/>
                  </a:cubicBezTo>
                  <a:cubicBezTo>
                    <a:pt x="384714" y="181493"/>
                    <a:pt x="401762" y="175878"/>
                    <a:pt x="419865" y="174407"/>
                  </a:cubicBezTo>
                  <a:cubicBezTo>
                    <a:pt x="427171" y="173805"/>
                    <a:pt x="453189" y="178618"/>
                    <a:pt x="457573" y="175711"/>
                  </a:cubicBezTo>
                  <a:cubicBezTo>
                    <a:pt x="464595" y="170998"/>
                    <a:pt x="427983" y="168491"/>
                    <a:pt x="425750" y="168391"/>
                  </a:cubicBezTo>
                  <a:cubicBezTo>
                    <a:pt x="411747" y="167789"/>
                    <a:pt x="402573" y="162575"/>
                    <a:pt x="401397" y="155322"/>
                  </a:cubicBezTo>
                  <a:cubicBezTo>
                    <a:pt x="400382" y="149607"/>
                    <a:pt x="411585" y="147468"/>
                    <a:pt x="419946" y="145462"/>
                  </a:cubicBezTo>
                  <a:cubicBezTo>
                    <a:pt x="435776" y="141652"/>
                    <a:pt x="451809" y="143123"/>
                    <a:pt x="468654" y="141518"/>
                  </a:cubicBezTo>
                  <a:cubicBezTo>
                    <a:pt x="479978" y="140449"/>
                    <a:pt x="490450" y="138577"/>
                    <a:pt x="502099" y="138176"/>
                  </a:cubicBezTo>
                  <a:cubicBezTo>
                    <a:pt x="518335" y="137608"/>
                    <a:pt x="506564" y="129887"/>
                    <a:pt x="514276" y="130020"/>
                  </a:cubicBezTo>
                  <a:close/>
                </a:path>
              </a:pathLst>
            </a:custGeom>
            <a:solidFill>
              <a:schemeClr val="accent5"/>
            </a:solidFill>
            <a:ln w="3021" cap="flat">
              <a:solidFill>
                <a:schemeClr val="accent5">
                  <a:alpha val="44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7888C82-A3BE-46F8-B733-B09F5D28D9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0210133"/>
              </p:ext>
            </p:extLst>
          </p:nvPr>
        </p:nvGraphicFramePr>
        <p:xfrm>
          <a:off x="276441" y="1324218"/>
          <a:ext cx="11249007" cy="1910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9718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689023-3A65-4094-AA60-5E071D0337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6725" y="2336800"/>
            <a:ext cx="5499966" cy="1325563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uFill>
                  <a:solidFill>
                    <a:schemeClr val="tx2"/>
                  </a:solidFill>
                </a:uFill>
              </a:rPr>
              <a:t>Hydrogen</a:t>
            </a:r>
            <a:br>
              <a:rPr lang="en-US" dirty="0">
                <a:uFill>
                  <a:solidFill>
                    <a:schemeClr val="tx2"/>
                  </a:solidFill>
                </a:uFill>
              </a:rPr>
            </a:br>
            <a:endParaRPr lang="en-GB" dirty="0"/>
          </a:p>
        </p:txBody>
      </p:sp>
      <p:sp>
        <p:nvSpPr>
          <p:cNvPr id="24579" name="Subtitle 2">
            <a:extLst>
              <a:ext uri="{FF2B5EF4-FFF2-40B4-BE49-F238E27FC236}">
                <a16:creationId xmlns:a16="http://schemas.microsoft.com/office/drawing/2014/main" id="{62B54687-30F7-4BD2-9124-632657BD80B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6725" y="3784600"/>
            <a:ext cx="7350125" cy="1206500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AU" altLang="en-US" sz="2400" b="1" dirty="0"/>
              <a:t>20</a:t>
            </a:r>
            <a:r>
              <a:rPr lang="en-AU" altLang="en-US" sz="2400" b="1" baseline="30000" dirty="0"/>
              <a:t>th</a:t>
            </a:r>
            <a:r>
              <a:rPr lang="en-AU" altLang="en-US" sz="2400" b="1" dirty="0"/>
              <a:t> June 2022</a:t>
            </a:r>
            <a:endParaRPr lang="en-US" altLang="en-US" sz="2400" dirty="0"/>
          </a:p>
        </p:txBody>
      </p:sp>
      <p:sp>
        <p:nvSpPr>
          <p:cNvPr id="24580" name="Text Placeholder 4">
            <a:extLst>
              <a:ext uri="{FF2B5EF4-FFF2-40B4-BE49-F238E27FC236}">
                <a16:creationId xmlns:a16="http://schemas.microsoft.com/office/drawing/2014/main" id="{D4E0815B-06D4-43A3-AEBC-B462297F043B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 bwMode="auto">
          <a:xfrm>
            <a:off x="466725" y="5076825"/>
            <a:ext cx="5158220" cy="342900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 dirty="0">
              <a:cs typeface="Source Sans Pro Black" panose="020B0803030403020204" pitchFamily="34" charset="0"/>
            </a:endParaRPr>
          </a:p>
          <a:p>
            <a:pPr eaLnBrk="1" hangingPunct="1"/>
            <a:r>
              <a:rPr lang="en-GB" altLang="en-US" dirty="0">
                <a:cs typeface="Source Sans Pro Black" panose="020B0803030403020204" pitchFamily="34" charset="0"/>
              </a:rPr>
              <a:t>Nilay Ball – Principal Consultant – India</a:t>
            </a:r>
          </a:p>
        </p:txBody>
      </p:sp>
      <p:pic>
        <p:nvPicPr>
          <p:cNvPr id="64514" name="Picture 1">
            <a:extLst>
              <a:ext uri="{FF2B5EF4-FFF2-40B4-BE49-F238E27FC236}">
                <a16:creationId xmlns:a16="http://schemas.microsoft.com/office/drawing/2014/main" id="{89A5F489-ABE4-42BA-A643-1FE9A2C4A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311" y="3662363"/>
            <a:ext cx="3933825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Object 15" hidden="1">
            <a:extLst>
              <a:ext uri="{FF2B5EF4-FFF2-40B4-BE49-F238E27FC236}">
                <a16:creationId xmlns:a16="http://schemas.microsoft.com/office/drawing/2014/main" id="{64EFF151-A7CA-40A0-AB6B-7364CA1E67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9938" name="Object 15" hidden="1">
                        <a:extLst>
                          <a:ext uri="{FF2B5EF4-FFF2-40B4-BE49-F238E27FC236}">
                            <a16:creationId xmlns:a16="http://schemas.microsoft.com/office/drawing/2014/main" id="{64EFF151-A7CA-40A0-AB6B-7364CA1E679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39" name="Text Placeholder 12">
            <a:extLst>
              <a:ext uri="{FF2B5EF4-FFF2-40B4-BE49-F238E27FC236}">
                <a16:creationId xmlns:a16="http://schemas.microsoft.com/office/drawing/2014/main" id="{E952310F-857D-4A70-AA2E-A23ACAFDEB59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>
          <a:xfrm>
            <a:off x="511175" y="6348413"/>
            <a:ext cx="10710863" cy="322262"/>
          </a:xfrm>
          <a:ln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757238" indent="-757238" defTabSz="1073150">
              <a:tabLst>
                <a:tab pos="639763" algn="r"/>
              </a:tabLst>
            </a:pPr>
            <a:r>
              <a:rPr lang="en-GB" altLang="en-US" sz="1200" dirty="0"/>
              <a:t>Source: </a:t>
            </a:r>
            <a:r>
              <a:rPr lang="en-GB" altLang="en-US" sz="1200" dirty="0" err="1"/>
              <a:t>Brandwidth</a:t>
            </a:r>
            <a:r>
              <a:rPr lang="en-GB" altLang="en-US" sz="1200" dirty="0"/>
              <a:t> - LRQA Analysi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6107020-D45B-4E6C-B1FA-5999DD810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5525" y="298450"/>
            <a:ext cx="10956925" cy="825500"/>
          </a:xfrm>
        </p:spPr>
        <p:txBody>
          <a:bodyPr/>
          <a:lstStyle/>
          <a:p>
            <a:pPr>
              <a:defRPr/>
            </a:pPr>
            <a:r>
              <a:rPr lang="en-US" sz="2880"/>
              <a:t>What's happening today – Internet activity watch </a:t>
            </a:r>
            <a:endParaRPr sz="2880"/>
          </a:p>
        </p:txBody>
      </p:sp>
      <p:pic>
        <p:nvPicPr>
          <p:cNvPr id="39941" name="Picture 2">
            <a:extLst>
              <a:ext uri="{FF2B5EF4-FFF2-40B4-BE49-F238E27FC236}">
                <a16:creationId xmlns:a16="http://schemas.microsoft.com/office/drawing/2014/main" id="{D9A115B5-1007-4C40-9E25-386391CBD9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900" y="3662363"/>
            <a:ext cx="6797675" cy="30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2" name="TextBox 1">
            <a:extLst>
              <a:ext uri="{FF2B5EF4-FFF2-40B4-BE49-F238E27FC236}">
                <a16:creationId xmlns:a16="http://schemas.microsoft.com/office/drawing/2014/main" id="{7C0E1C3C-DA88-47C5-AAA9-6B8F3DA8CB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72400" y="1951038"/>
            <a:ext cx="28352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Source Sans Pro" panose="020B0503030403020204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b="1">
                <a:solidFill>
                  <a:schemeClr val="tx2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  <a:latin typeface="Source Sans Pro" panose="020B05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Source Sans Pro" panose="020B05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 Black" panose="020B0803030403020204" pitchFamily="34" charset="0"/>
                <a:cs typeface="Source Sans Pro Black" panose="020B0803030403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dirty="0">
                <a:solidFill>
                  <a:schemeClr val="tx1"/>
                </a:solidFill>
              </a:rPr>
              <a:t>July 2021 – May 2022</a:t>
            </a:r>
          </a:p>
        </p:txBody>
      </p:sp>
      <p:pic>
        <p:nvPicPr>
          <p:cNvPr id="39943" name="Picture 1">
            <a:extLst>
              <a:ext uri="{FF2B5EF4-FFF2-40B4-BE49-F238E27FC236}">
                <a16:creationId xmlns:a16="http://schemas.microsoft.com/office/drawing/2014/main" id="{082DEE9D-28A5-4200-85FC-B9CDCF255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463" y="974725"/>
            <a:ext cx="6364287" cy="298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3EB97-E653-4171-B4AC-699731B0B9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6725" y="2336800"/>
            <a:ext cx="11198225" cy="2919413"/>
          </a:xfrm>
        </p:spPr>
        <p:txBody>
          <a:bodyPr rtlCol="0">
            <a:no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  <a:defRPr/>
            </a:pPr>
            <a:r>
              <a:rPr lang="en-US" sz="1800">
                <a:uFill>
                  <a:solidFill>
                    <a:schemeClr val="tx2"/>
                  </a:solidFill>
                </a:uFill>
              </a:rPr>
              <a:t>Challenge Overview </a:t>
            </a:r>
            <a:br>
              <a:rPr lang="en-US" sz="1200">
                <a:uFill>
                  <a:solidFill>
                    <a:schemeClr val="tx2"/>
                  </a:solidFill>
                </a:uFill>
              </a:rPr>
            </a:br>
            <a:br>
              <a:rPr lang="en-US" sz="1200">
                <a:uFill>
                  <a:solidFill>
                    <a:schemeClr val="tx2"/>
                  </a:solidFill>
                </a:uFill>
              </a:rPr>
            </a:br>
            <a:br>
              <a:rPr lang="en-GB" sz="1200">
                <a:uFill>
                  <a:solidFill>
                    <a:schemeClr val="tx2"/>
                  </a:solidFill>
                </a:uFill>
              </a:rPr>
            </a:br>
            <a:br>
              <a:rPr lang="en-GB" sz="1200" b="0">
                <a:solidFill>
                  <a:srgbClr val="808080"/>
                </a:solidFill>
                <a:latin typeface="Corbel" panose="020B0503020204020204" pitchFamily="34" charset="0"/>
              </a:rPr>
            </a:br>
            <a:br>
              <a:rPr lang="en-US" sz="1200">
                <a:uFill>
                  <a:solidFill>
                    <a:schemeClr val="tx2"/>
                  </a:solidFill>
                </a:uFill>
              </a:rPr>
            </a:br>
            <a:endParaRPr lang="en-GB" sz="1200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7AE1C5A7-39C0-49CF-8F95-459419900A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311" y="3702119"/>
            <a:ext cx="3933825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Object 15" hidden="1">
            <a:extLst>
              <a:ext uri="{FF2B5EF4-FFF2-40B4-BE49-F238E27FC236}">
                <a16:creationId xmlns:a16="http://schemas.microsoft.com/office/drawing/2014/main" id="{CE8C4093-FB3A-4106-8847-F3ADDC0F99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1986" name="Object 15" hidden="1">
                        <a:extLst>
                          <a:ext uri="{FF2B5EF4-FFF2-40B4-BE49-F238E27FC236}">
                            <a16:creationId xmlns:a16="http://schemas.microsoft.com/office/drawing/2014/main" id="{CE8C4093-FB3A-4106-8847-F3ADDC0F99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987" name="Text Placeholder 12">
            <a:extLst>
              <a:ext uri="{FF2B5EF4-FFF2-40B4-BE49-F238E27FC236}">
                <a16:creationId xmlns:a16="http://schemas.microsoft.com/office/drawing/2014/main" id="{1226131A-2080-4650-83FE-D0F1758E1432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>
          <a:xfrm>
            <a:off x="493713" y="6245225"/>
            <a:ext cx="10563225" cy="323850"/>
          </a:xfrm>
          <a:ln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757238" indent="-757238" defTabSz="1073150">
              <a:tabLst>
                <a:tab pos="639763" algn="r"/>
              </a:tabLst>
            </a:pPr>
            <a:r>
              <a:rPr lang="en-GB" altLang="en-US" sz="1200"/>
              <a:t>	Source:	LRQA Consulting analysi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97727F5-E645-432B-9190-D1F369226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175" y="177800"/>
            <a:ext cx="10956925" cy="825500"/>
          </a:xfrm>
        </p:spPr>
        <p:txBody>
          <a:bodyPr/>
          <a:lstStyle/>
          <a:p>
            <a:pPr>
              <a:defRPr/>
            </a:pPr>
            <a:r>
              <a:rPr lang="en-US" sz="2880"/>
              <a:t>Widespread use of hydrogen in global energy transitions faces several challenges – technical assurance </a:t>
            </a:r>
            <a:endParaRPr sz="288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467C4D-15FE-4B8E-AF0A-A51D54B87C02}"/>
              </a:ext>
            </a:extLst>
          </p:cNvPr>
          <p:cNvSpPr/>
          <p:nvPr/>
        </p:nvSpPr>
        <p:spPr>
          <a:xfrm>
            <a:off x="493713" y="2132013"/>
            <a:ext cx="2085714" cy="4062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tx1"/>
                </a:solidFill>
              </a:rPr>
              <a:t>Technology is not new – Scale and required cost point is 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tx1"/>
                </a:solidFill>
              </a:rPr>
              <a:t>Diversified  / new supply chains  - Risk of unknown and new markets 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tx1"/>
                </a:solidFill>
              </a:rPr>
              <a:t>Plants in “different” locations </a:t>
            </a:r>
          </a:p>
          <a:p>
            <a:pPr marL="633679" lvl="1" indent="-205740">
              <a:spcBef>
                <a:spcPts val="720"/>
              </a:spcBef>
              <a:buFont typeface="Courier New" panose="02070309020205020404" pitchFamily="49" charset="0"/>
              <a:buChar char="o"/>
              <a:defRPr/>
            </a:pPr>
            <a:r>
              <a:rPr lang="en-US" sz="1260" dirty="0">
                <a:solidFill>
                  <a:schemeClr val="tx1"/>
                </a:solidFill>
              </a:rPr>
              <a:t>Personnel  / skills shift</a:t>
            </a:r>
          </a:p>
          <a:p>
            <a:pPr>
              <a:spcBef>
                <a:spcPts val="720"/>
              </a:spcBef>
              <a:defRPr/>
            </a:pPr>
            <a:endParaRPr lang="en-US" sz="1260" dirty="0">
              <a:solidFill>
                <a:schemeClr val="tx1"/>
              </a:solidFill>
            </a:endParaRP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endParaRPr lang="en-US" sz="1320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C701AF8-3140-41C9-B5AD-CCB40AE10D17}"/>
              </a:ext>
            </a:extLst>
          </p:cNvPr>
          <p:cNvSpPr/>
          <p:nvPr/>
        </p:nvSpPr>
        <p:spPr>
          <a:xfrm>
            <a:off x="2712778" y="2132013"/>
            <a:ext cx="2745308" cy="40338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tx1"/>
                </a:solidFill>
              </a:rPr>
              <a:t>Regulations and standards needs across all aspects     </a:t>
            </a:r>
          </a:p>
          <a:p>
            <a:pPr marL="481966" lvl="1" indent="-205740">
              <a:spcBef>
                <a:spcPts val="720"/>
              </a:spcBef>
              <a:buFont typeface="Courier New" panose="02070309020205020404" pitchFamily="49" charset="0"/>
              <a:buChar char="o"/>
              <a:defRPr/>
            </a:pPr>
            <a:r>
              <a:rPr lang="en-US" sz="1260" dirty="0">
                <a:solidFill>
                  <a:schemeClr val="tx1"/>
                </a:solidFill>
              </a:rPr>
              <a:t>Production – not new </a:t>
            </a:r>
          </a:p>
          <a:p>
            <a:pPr marL="481966" lvl="1" indent="-205740">
              <a:spcBef>
                <a:spcPts val="720"/>
              </a:spcBef>
              <a:buFont typeface="Courier New" panose="02070309020205020404" pitchFamily="49" charset="0"/>
              <a:buChar char="o"/>
              <a:defRPr/>
            </a:pPr>
            <a:r>
              <a:rPr lang="en-US" sz="1260" dirty="0">
                <a:solidFill>
                  <a:schemeClr val="tx1"/>
                </a:solidFill>
              </a:rPr>
              <a:t>Storage</a:t>
            </a:r>
          </a:p>
          <a:p>
            <a:pPr marL="481966" lvl="1" indent="-205740">
              <a:spcBef>
                <a:spcPts val="720"/>
              </a:spcBef>
              <a:buFont typeface="Courier New" panose="02070309020205020404" pitchFamily="49" charset="0"/>
              <a:buChar char="o"/>
              <a:defRPr/>
            </a:pPr>
            <a:r>
              <a:rPr lang="en-US" sz="1260" dirty="0">
                <a:solidFill>
                  <a:schemeClr val="tx1"/>
                </a:solidFill>
              </a:rPr>
              <a:t>Transportation</a:t>
            </a:r>
          </a:p>
          <a:p>
            <a:pPr marL="481966" lvl="1" indent="-205740">
              <a:spcBef>
                <a:spcPts val="720"/>
              </a:spcBef>
              <a:buFont typeface="Courier New" panose="02070309020205020404" pitchFamily="49" charset="0"/>
              <a:buChar char="o"/>
              <a:defRPr/>
            </a:pPr>
            <a:r>
              <a:rPr lang="en-US" sz="1260" dirty="0">
                <a:solidFill>
                  <a:schemeClr val="tx1"/>
                </a:solidFill>
              </a:rPr>
              <a:t>Fueling and distribution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tx1"/>
                </a:solidFill>
              </a:rPr>
              <a:t>Limited knowledge of best practices  / standards 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accent4">
                    <a:lumMod val="75000"/>
                  </a:schemeClr>
                </a:solidFill>
              </a:rPr>
              <a:t>SAE J2601-02 + ISO 17268 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accent4">
                    <a:lumMod val="75000"/>
                  </a:schemeClr>
                </a:solidFill>
              </a:rPr>
              <a:t>ATEX certified for Zone 1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accent4">
                    <a:lumMod val="75000"/>
                  </a:schemeClr>
                </a:solidFill>
              </a:rPr>
              <a:t>EN 13445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accent4">
                    <a:lumMod val="75000"/>
                  </a:schemeClr>
                </a:solidFill>
              </a:rPr>
              <a:t>EN ISO 10961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dirty="0">
                <a:solidFill>
                  <a:schemeClr val="accent4">
                    <a:lumMod val="75000"/>
                  </a:schemeClr>
                </a:solidFill>
              </a:rPr>
              <a:t>ASME Section VIII &amp; Sec X &amp; </a:t>
            </a:r>
            <a:r>
              <a:rPr lang="en-US" sz="1260" b="1" dirty="0">
                <a:solidFill>
                  <a:schemeClr val="accent4">
                    <a:lumMod val="75000"/>
                  </a:schemeClr>
                </a:solidFill>
              </a:rPr>
              <a:t>ADR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US" sz="1260" b="1" dirty="0">
                <a:solidFill>
                  <a:schemeClr val="accent4">
                    <a:lumMod val="75000"/>
                  </a:schemeClr>
                </a:solidFill>
              </a:rPr>
              <a:t>PESO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endParaRPr lang="en-US" sz="1260" dirty="0">
              <a:solidFill>
                <a:schemeClr val="accent4">
                  <a:lumMod val="75000"/>
                </a:schemeClr>
              </a:solidFill>
            </a:endParaRP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endParaRPr lang="en-US" sz="1260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1BF9393-F8EF-44B3-96B4-FADD26E97904}"/>
              </a:ext>
            </a:extLst>
          </p:cNvPr>
          <p:cNvSpPr/>
          <p:nvPr/>
        </p:nvSpPr>
        <p:spPr>
          <a:xfrm>
            <a:off x="512763" y="1501775"/>
            <a:ext cx="2085714" cy="51276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rIns="43200" anchor="ctr"/>
          <a:lstStyle/>
          <a:p>
            <a:pPr algn="ctr">
              <a:defRPr/>
            </a:pPr>
            <a:r>
              <a:rPr lang="en-US" sz="1320" b="1" dirty="0"/>
              <a:t>Technology  and Supply Chain</a:t>
            </a:r>
            <a:endParaRPr lang="en-GB" sz="1320" b="1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69EBB24-343B-4576-899F-034F85D73415}"/>
              </a:ext>
            </a:extLst>
          </p:cNvPr>
          <p:cNvSpPr/>
          <p:nvPr/>
        </p:nvSpPr>
        <p:spPr>
          <a:xfrm>
            <a:off x="2712777" y="1501775"/>
            <a:ext cx="2745309" cy="51117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rIns="43200" anchor="ctr"/>
          <a:lstStyle/>
          <a:p>
            <a:pPr algn="ctr">
              <a:defRPr/>
            </a:pPr>
            <a:r>
              <a:rPr lang="en-US" sz="1320" b="1" dirty="0"/>
              <a:t>Regulation and Standards  </a:t>
            </a:r>
            <a:endParaRPr lang="en-GB" sz="1320" b="1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4A548A0-8E89-4A17-AD50-CBE4018C7353}"/>
              </a:ext>
            </a:extLst>
          </p:cNvPr>
          <p:cNvSpPr/>
          <p:nvPr/>
        </p:nvSpPr>
        <p:spPr>
          <a:xfrm>
            <a:off x="5572386" y="2112963"/>
            <a:ext cx="2085714" cy="4052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GB" sz="1250" dirty="0">
                <a:solidFill>
                  <a:schemeClr val="tx1"/>
                </a:solidFill>
              </a:rPr>
              <a:t>H2 projects will impact the general public – gas blending / fuel stations</a:t>
            </a: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GB" sz="1250" dirty="0">
                <a:solidFill>
                  <a:schemeClr val="tx1"/>
                </a:solidFill>
              </a:rPr>
              <a:t>Perception from past disasters </a:t>
            </a:r>
            <a:endParaRPr lang="en-GB" sz="1250" dirty="0">
              <a:solidFill>
                <a:schemeClr val="tx1"/>
              </a:solidFill>
              <a:ea typeface="Source Sans Pro"/>
            </a:endParaRPr>
          </a:p>
          <a:p>
            <a:pPr marL="205740" indent="-205740">
              <a:spcBef>
                <a:spcPts val="720"/>
              </a:spcBef>
              <a:buFont typeface="Wingdings" panose="05000000000000000000" pitchFamily="2" charset="2"/>
              <a:buChar char="§"/>
              <a:defRPr/>
            </a:pPr>
            <a:r>
              <a:rPr lang="en-GB" sz="1250" dirty="0">
                <a:solidFill>
                  <a:schemeClr val="tx1"/>
                </a:solidFill>
              </a:rPr>
              <a:t>Learn lessons from Coal Seam Gas and other new sectors  - “not in my back yard”</a:t>
            </a:r>
            <a:endParaRPr lang="en-GB" sz="1250" dirty="0">
              <a:solidFill>
                <a:schemeClr val="tx1"/>
              </a:solidFill>
              <a:ea typeface="Source Sans Pro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1173006-5B2F-4275-81B1-2BD42FA2A78E}"/>
              </a:ext>
            </a:extLst>
          </p:cNvPr>
          <p:cNvSpPr/>
          <p:nvPr/>
        </p:nvSpPr>
        <p:spPr>
          <a:xfrm>
            <a:off x="5572386" y="1500188"/>
            <a:ext cx="2085714" cy="5095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rIns="43200" anchor="ctr"/>
          <a:lstStyle/>
          <a:p>
            <a:pPr algn="ctr">
              <a:defRPr/>
            </a:pPr>
            <a:r>
              <a:rPr lang="en-US" sz="1320" b="1" dirty="0"/>
              <a:t>Social License to Operate </a:t>
            </a:r>
            <a:endParaRPr lang="en-GB" sz="132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537EA09-1285-453C-9166-64F1B13A3FCE}"/>
              </a:ext>
            </a:extLst>
          </p:cNvPr>
          <p:cNvSpPr txBox="1"/>
          <p:nvPr/>
        </p:nvSpPr>
        <p:spPr>
          <a:xfrm>
            <a:off x="7772400" y="2132013"/>
            <a:ext cx="3840163" cy="40338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129600" tIns="43200" rIns="43200" bIns="43200"/>
          <a:lstStyle/>
          <a:p>
            <a:pPr>
              <a:spcBef>
                <a:spcPts val="360"/>
              </a:spcBef>
              <a:defRPr/>
            </a:pPr>
            <a:r>
              <a:rPr lang="en-GB" sz="1260" b="1" cap="all" dirty="0"/>
              <a:t>Lack of trust to allow scale up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Delay 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Risk in supply chain  - costs 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Risk of first mover </a:t>
            </a:r>
          </a:p>
          <a:p>
            <a:pPr>
              <a:spcBef>
                <a:spcPts val="360"/>
              </a:spcBef>
              <a:defRPr/>
            </a:pPr>
            <a:endParaRPr lang="en-GB" sz="1260" b="1" cap="all" dirty="0"/>
          </a:p>
          <a:p>
            <a:pPr>
              <a:spcBef>
                <a:spcPts val="360"/>
              </a:spcBef>
              <a:defRPr/>
            </a:pPr>
            <a:r>
              <a:rPr lang="en-GB" sz="1260" b="1" cap="all" dirty="0"/>
              <a:t>Lack clarity on regulation delays development 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Delay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Complex regulatory environment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Reduced cross region / boarder trading 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Increase costs </a:t>
            </a:r>
          </a:p>
          <a:p>
            <a:pPr>
              <a:spcBef>
                <a:spcPts val="360"/>
              </a:spcBef>
              <a:defRPr/>
            </a:pPr>
            <a:endParaRPr lang="en-GB" sz="1260" b="1" cap="all" dirty="0"/>
          </a:p>
          <a:p>
            <a:pPr>
              <a:spcBef>
                <a:spcPts val="360"/>
              </a:spcBef>
              <a:defRPr/>
            </a:pPr>
            <a:r>
              <a:rPr lang="en-GB" sz="1260" b="1" cap="all" dirty="0"/>
              <a:t>Poor public perception of H2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Delay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Cost</a:t>
            </a:r>
          </a:p>
          <a:p>
            <a:pPr marL="205740" indent="-205740">
              <a:spcBef>
                <a:spcPts val="360"/>
              </a:spcBef>
              <a:buFont typeface="Wingdings" panose="05000000000000000000" pitchFamily="2" charset="2"/>
              <a:buChar char="§"/>
              <a:defRPr/>
            </a:pPr>
            <a:r>
              <a:rPr lang="en-GB" sz="1260" dirty="0"/>
              <a:t>Corporate reputation in other fields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BAE9A10-BED8-4CB5-A058-37A8890A37EF}"/>
              </a:ext>
            </a:extLst>
          </p:cNvPr>
          <p:cNvSpPr/>
          <p:nvPr/>
        </p:nvSpPr>
        <p:spPr>
          <a:xfrm>
            <a:off x="493713" y="1116013"/>
            <a:ext cx="7164387" cy="3238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rIns="43200" anchor="ctr"/>
          <a:lstStyle/>
          <a:p>
            <a:pPr algn="ctr">
              <a:defRPr/>
            </a:pPr>
            <a:r>
              <a:rPr lang="en-US" sz="1320" b="1"/>
              <a:t>Causes of challenges in market where certification / assurance service could support </a:t>
            </a:r>
            <a:endParaRPr lang="en-GB" sz="1320" b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58F5920-36B8-461B-8743-65FE1A98DDF0}"/>
              </a:ext>
            </a:extLst>
          </p:cNvPr>
          <p:cNvSpPr/>
          <p:nvPr/>
        </p:nvSpPr>
        <p:spPr>
          <a:xfrm>
            <a:off x="7772400" y="1092200"/>
            <a:ext cx="3840163" cy="91757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" rIns="43200" anchor="ctr"/>
          <a:lstStyle/>
          <a:p>
            <a:pPr algn="ctr">
              <a:defRPr/>
            </a:pPr>
            <a:r>
              <a:rPr lang="en-US" sz="1320" b="1"/>
              <a:t>Impact</a:t>
            </a:r>
            <a:endParaRPr lang="en-GB" sz="1320" b="1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F40E0-CC8E-48AC-9636-3458CD84EF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6725" y="2336800"/>
            <a:ext cx="11198225" cy="2919413"/>
          </a:xfrm>
        </p:spPr>
        <p:txBody>
          <a:bodyPr rtlCol="0">
            <a:noAutofit/>
          </a:bodyPr>
          <a:lstStyle/>
          <a:p>
            <a:pPr lvl="1">
              <a:defRPr/>
            </a:pPr>
            <a:r>
              <a:rPr lang="en-US" sz="1800" b="1" kern="1200" dirty="0">
                <a:solidFill>
                  <a:schemeClr val="tx2"/>
                </a:solidFill>
                <a:uFill>
                  <a:solidFill>
                    <a:schemeClr val="tx2"/>
                  </a:solidFill>
                </a:uFill>
                <a:ea typeface="+mj-ea"/>
                <a:cs typeface="+mj-cs"/>
              </a:rPr>
              <a:t>LRQA Products </a:t>
            </a:r>
            <a:br>
              <a:rPr lang="en-US" sz="1800" b="1" kern="1200" dirty="0">
                <a:solidFill>
                  <a:schemeClr val="tx2"/>
                </a:solidFill>
                <a:uFill>
                  <a:solidFill>
                    <a:schemeClr val="tx2"/>
                  </a:solidFill>
                </a:uFill>
                <a:ea typeface="+mj-ea"/>
                <a:cs typeface="+mj-cs"/>
              </a:rPr>
            </a:br>
            <a:br>
              <a:rPr lang="en-US" sz="1800" b="1" kern="1200" dirty="0">
                <a:solidFill>
                  <a:schemeClr val="tx2"/>
                </a:solidFill>
                <a:uFill>
                  <a:solidFill>
                    <a:schemeClr val="tx2"/>
                  </a:solidFill>
                </a:uFill>
                <a:ea typeface="+mj-ea"/>
                <a:cs typeface="+mj-cs"/>
              </a:rPr>
            </a:br>
            <a:br>
              <a:rPr lang="en-GB" sz="1800" b="1" kern="1200" dirty="0">
                <a:solidFill>
                  <a:schemeClr val="tx2"/>
                </a:solidFill>
                <a:uFill>
                  <a:solidFill>
                    <a:schemeClr val="tx2"/>
                  </a:solidFill>
                </a:uFill>
                <a:ea typeface="+mj-ea"/>
                <a:cs typeface="+mj-cs"/>
              </a:rPr>
            </a:br>
            <a:br>
              <a:rPr lang="en-US" sz="1800" dirty="0"/>
            </a:br>
            <a:br>
              <a:rPr lang="en-US" sz="1800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sz="1200" dirty="0">
                <a:uFill>
                  <a:solidFill>
                    <a:schemeClr val="tx2"/>
                  </a:solidFill>
                </a:uFill>
              </a:rPr>
            </a:br>
            <a:br>
              <a:rPr lang="en-US" sz="1200" dirty="0">
                <a:uFill>
                  <a:solidFill>
                    <a:schemeClr val="tx2"/>
                  </a:solidFill>
                </a:uFill>
              </a:rPr>
            </a:br>
            <a:br>
              <a:rPr lang="en-GB" sz="1200" dirty="0">
                <a:uFill>
                  <a:solidFill>
                    <a:schemeClr val="tx2"/>
                  </a:solidFill>
                </a:uFill>
              </a:rPr>
            </a:br>
            <a:br>
              <a:rPr lang="en-GB" sz="1200" dirty="0">
                <a:solidFill>
                  <a:srgbClr val="808080"/>
                </a:solidFill>
                <a:latin typeface="Corbel" panose="020B0503020204020204" pitchFamily="34" charset="0"/>
              </a:rPr>
            </a:br>
            <a:br>
              <a:rPr lang="en-US" sz="1200" dirty="0">
                <a:uFill>
                  <a:solidFill>
                    <a:schemeClr val="tx2"/>
                  </a:solidFill>
                </a:uFill>
              </a:rPr>
            </a:br>
            <a:endParaRPr lang="en-GB" sz="1200" dirty="0"/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B188B025-7337-46DB-A478-BD86A75FF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311" y="3662363"/>
            <a:ext cx="3933825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ext Placeholder 2">
            <a:extLst>
              <a:ext uri="{FF2B5EF4-FFF2-40B4-BE49-F238E27FC236}">
                <a16:creationId xmlns:a16="http://schemas.microsoft.com/office/drawing/2014/main" id="{5264EA44-ADFA-4279-942F-5E494F294922}"/>
              </a:ext>
            </a:extLst>
          </p:cNvPr>
          <p:cNvSpPr>
            <a:spLocks noGrp="1" noChangeArrowheads="1"/>
          </p:cNvSpPr>
          <p:nvPr>
            <p:ph type="body" sz="quarter" idx="14"/>
          </p:nvPr>
        </p:nvSpPr>
        <p:spPr>
          <a:xfrm>
            <a:off x="557213" y="6245225"/>
            <a:ext cx="10712450" cy="323850"/>
          </a:xfrm>
          <a:ln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757238" indent="-757238" defTabSz="1073150">
              <a:tabLst>
                <a:tab pos="639763" algn="r"/>
              </a:tabLst>
            </a:pPr>
            <a:endParaRPr lang="en-IN" altLang="en-US" sz="12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639D1A-C34F-4DB8-B697-8A0B811A0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838" y="248006"/>
            <a:ext cx="5224802" cy="544512"/>
          </a:xfrm>
        </p:spPr>
        <p:txBody>
          <a:bodyPr/>
          <a:lstStyle/>
          <a:p>
            <a:pPr>
              <a:defRPr/>
            </a:pPr>
            <a:r>
              <a:rPr lang="en-IN" dirty="0"/>
              <a:t>Mobile H2 Dispensing unit</a:t>
            </a:r>
          </a:p>
        </p:txBody>
      </p:sp>
      <p:graphicFrame>
        <p:nvGraphicFramePr>
          <p:cNvPr id="12" name="Content Placeholder 9">
            <a:extLst>
              <a:ext uri="{FF2B5EF4-FFF2-40B4-BE49-F238E27FC236}">
                <a16:creationId xmlns:a16="http://schemas.microsoft.com/office/drawing/2014/main" id="{5D96D3AE-88BE-4FE3-B0BE-BA75004AAE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7569293"/>
              </p:ext>
            </p:extLst>
          </p:nvPr>
        </p:nvGraphicFramePr>
        <p:xfrm>
          <a:off x="8724275" y="288925"/>
          <a:ext cx="3137888" cy="5797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E298CFD-D4AC-47B2-8DCD-C3BCA17AC6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9837" y="951736"/>
            <a:ext cx="8805994" cy="468478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rK4cfbSvemnBqDVesW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PbaWG0j3PApW4i3Uqv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PbaWG0j3PApW4i3Uqv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2">
  <a:themeElements>
    <a:clrScheme name="Custom 5">
      <a:dk1>
        <a:sysClr val="windowText" lastClr="000000"/>
      </a:dk1>
      <a:lt1>
        <a:srgbClr val="FFFFFF"/>
      </a:lt1>
      <a:dk2>
        <a:srgbClr val="0F1232"/>
      </a:dk2>
      <a:lt2>
        <a:srgbClr val="0FF2B2"/>
      </a:lt2>
      <a:accent1>
        <a:srgbClr val="0FF2B2"/>
      </a:accent1>
      <a:accent2>
        <a:srgbClr val="088C8A"/>
      </a:accent2>
      <a:accent3>
        <a:srgbClr val="29FFFB"/>
      </a:accent3>
      <a:accent4>
        <a:srgbClr val="BF1F99"/>
      </a:accent4>
      <a:accent5>
        <a:srgbClr val="0087FF"/>
      </a:accent5>
      <a:accent6>
        <a:srgbClr val="FFE900"/>
      </a:accent6>
      <a:hlink>
        <a:srgbClr val="FF5D2E"/>
      </a:hlink>
      <a:folHlink>
        <a:srgbClr val="034A90"/>
      </a:folHlink>
    </a:clrScheme>
    <a:fontScheme name="Custom 2">
      <a:majorFont>
        <a:latin typeface="Lat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2" id="{DC20A7E1-159C-4E0C-876A-F1EEB5C2217A}" vid="{8044987E-19E9-4A21-9A7B-F876D7EDD35A}"/>
    </a:ext>
  </a:extLst>
</a:theme>
</file>

<file path=ppt/theme/theme2.xml><?xml version="1.0" encoding="utf-8"?>
<a:theme xmlns:a="http://schemas.openxmlformats.org/drawingml/2006/main" name="1_Theme2">
  <a:themeElements>
    <a:clrScheme name="Custom 5">
      <a:dk1>
        <a:sysClr val="windowText" lastClr="000000"/>
      </a:dk1>
      <a:lt1>
        <a:srgbClr val="FFFFFF"/>
      </a:lt1>
      <a:dk2>
        <a:srgbClr val="0F1232"/>
      </a:dk2>
      <a:lt2>
        <a:srgbClr val="0FF2B2"/>
      </a:lt2>
      <a:accent1>
        <a:srgbClr val="0FF2B2"/>
      </a:accent1>
      <a:accent2>
        <a:srgbClr val="088C8A"/>
      </a:accent2>
      <a:accent3>
        <a:srgbClr val="29FFFB"/>
      </a:accent3>
      <a:accent4>
        <a:srgbClr val="BF1F99"/>
      </a:accent4>
      <a:accent5>
        <a:srgbClr val="0087FF"/>
      </a:accent5>
      <a:accent6>
        <a:srgbClr val="FFE900"/>
      </a:accent6>
      <a:hlink>
        <a:srgbClr val="FF5D2E"/>
      </a:hlink>
      <a:folHlink>
        <a:srgbClr val="034A90"/>
      </a:folHlink>
    </a:clrScheme>
    <a:fontScheme name="Custom 2">
      <a:majorFont>
        <a:latin typeface="Lat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>
          <a:noFill/>
        </a:ln>
      </a:spPr>
      <a:bodyPr wrap="square" lIns="180000" tIns="180000" rIns="180000" bIns="0" rtlCol="0" anchor="t">
        <a:noAutofit/>
      </a:bodyPr>
      <a:lstStyle>
        <a:defPPr algn="l">
          <a:lnSpc>
            <a:spcPct val="90000"/>
          </a:lnSpc>
          <a:spcBef>
            <a:spcPts val="600"/>
          </a:spcBef>
          <a:defRPr sz="16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 w="25400">
          <a:noFill/>
          <a:miter lim="800000"/>
        </a:ln>
      </a:spPr>
      <a:bodyPr wrap="square" lIns="0" tIns="0" rIns="0" bIns="0" rtlCol="0">
        <a:noAutofit/>
      </a:bodyPr>
      <a:lstStyle>
        <a:defPPr algn="l">
          <a:defRPr sz="2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eme2" id="{DC20A7E1-159C-4E0C-876A-F1EEB5C2217A}" vid="{8044987E-19E9-4A21-9A7B-F876D7EDD35A}"/>
    </a:ext>
  </a:extLst>
</a:theme>
</file>

<file path=ppt/theme/theme3.xml><?xml version="1.0" encoding="utf-8"?>
<a:theme xmlns:a="http://schemas.openxmlformats.org/drawingml/2006/main" name="1_LR master ppt 16_9 format (Graphics)">
  <a:themeElements>
    <a:clrScheme name="Lloyd's Register">
      <a:dk1>
        <a:srgbClr val="000000"/>
      </a:dk1>
      <a:lt1>
        <a:srgbClr val="FFFFFF"/>
      </a:lt1>
      <a:dk2>
        <a:srgbClr val="3B8EDE"/>
      </a:dk2>
      <a:lt2>
        <a:srgbClr val="FFFFFF"/>
      </a:lt2>
      <a:accent1>
        <a:srgbClr val="0057B8"/>
      </a:accent1>
      <a:accent2>
        <a:srgbClr val="6E3FA3"/>
      </a:accent2>
      <a:accent3>
        <a:srgbClr val="A4D233"/>
      </a:accent3>
      <a:accent4>
        <a:srgbClr val="C0C0C0"/>
      </a:accent4>
      <a:accent5>
        <a:srgbClr val="2CD5C4"/>
      </a:accent5>
      <a:accent6>
        <a:srgbClr val="002060"/>
      </a:accent6>
      <a:hlink>
        <a:srgbClr val="0057B8"/>
      </a:hlink>
      <a:folHlink>
        <a:srgbClr val="6E3FA3"/>
      </a:folHlink>
    </a:clrScheme>
    <a:fontScheme name="Lloyd's Register SSP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 anchor="ctr" anchorCtr="0">
        <a:noAutofit/>
      </a:bodyPr>
      <a:lstStyle>
        <a:defPPr algn="l">
          <a:defRPr sz="1333"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mart solutions with human intelligence 16_9 LR.potx" id="{2F2CC57A-24CC-46E6-98BB-51CB15AAAE8E}" vid="{439A83E5-106B-4752-B467-A0970A34944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5">
    <a:dk1>
      <a:sysClr val="windowText" lastClr="000000"/>
    </a:dk1>
    <a:lt1>
      <a:srgbClr val="FFFFFF"/>
    </a:lt1>
    <a:dk2>
      <a:srgbClr val="0F1232"/>
    </a:dk2>
    <a:lt2>
      <a:srgbClr val="0FF2B2"/>
    </a:lt2>
    <a:accent1>
      <a:srgbClr val="0FF2B2"/>
    </a:accent1>
    <a:accent2>
      <a:srgbClr val="088C8A"/>
    </a:accent2>
    <a:accent3>
      <a:srgbClr val="29FFFB"/>
    </a:accent3>
    <a:accent4>
      <a:srgbClr val="BF1F99"/>
    </a:accent4>
    <a:accent5>
      <a:srgbClr val="0087FF"/>
    </a:accent5>
    <a:accent6>
      <a:srgbClr val="FFE900"/>
    </a:accent6>
    <a:hlink>
      <a:srgbClr val="FF5D2E"/>
    </a:hlink>
    <a:folHlink>
      <a:srgbClr val="034A90"/>
    </a:folHlink>
  </a:clrScheme>
</a:themeOverride>
</file>

<file path=ppt/theme/themeOverride2.xml><?xml version="1.0" encoding="utf-8"?>
<a:themeOverride xmlns:a="http://schemas.openxmlformats.org/drawingml/2006/main">
  <a:clrScheme name="Custom 5">
    <a:dk1>
      <a:sysClr val="windowText" lastClr="000000"/>
    </a:dk1>
    <a:lt1>
      <a:srgbClr val="FFFFFF"/>
    </a:lt1>
    <a:dk2>
      <a:srgbClr val="0F1232"/>
    </a:dk2>
    <a:lt2>
      <a:srgbClr val="0FF2B2"/>
    </a:lt2>
    <a:accent1>
      <a:srgbClr val="0FF2B2"/>
    </a:accent1>
    <a:accent2>
      <a:srgbClr val="088C8A"/>
    </a:accent2>
    <a:accent3>
      <a:srgbClr val="29FFFB"/>
    </a:accent3>
    <a:accent4>
      <a:srgbClr val="BF1F99"/>
    </a:accent4>
    <a:accent5>
      <a:srgbClr val="0087FF"/>
    </a:accent5>
    <a:accent6>
      <a:srgbClr val="FFE900"/>
    </a:accent6>
    <a:hlink>
      <a:srgbClr val="FF5D2E"/>
    </a:hlink>
    <a:folHlink>
      <a:srgbClr val="034A90"/>
    </a:folHlink>
  </a:clrScheme>
</a:themeOverride>
</file>

<file path=ppt/theme/themeOverride3.xml><?xml version="1.0" encoding="utf-8"?>
<a:themeOverride xmlns:a="http://schemas.openxmlformats.org/drawingml/2006/main">
  <a:clrScheme name="Custom 5">
    <a:dk1>
      <a:sysClr val="windowText" lastClr="000000"/>
    </a:dk1>
    <a:lt1>
      <a:srgbClr val="FFFFFF"/>
    </a:lt1>
    <a:dk2>
      <a:srgbClr val="0F1232"/>
    </a:dk2>
    <a:lt2>
      <a:srgbClr val="0FF2B2"/>
    </a:lt2>
    <a:accent1>
      <a:srgbClr val="0FF2B2"/>
    </a:accent1>
    <a:accent2>
      <a:srgbClr val="088C8A"/>
    </a:accent2>
    <a:accent3>
      <a:srgbClr val="29FFFB"/>
    </a:accent3>
    <a:accent4>
      <a:srgbClr val="BF1F99"/>
    </a:accent4>
    <a:accent5>
      <a:srgbClr val="0087FF"/>
    </a:accent5>
    <a:accent6>
      <a:srgbClr val="FFE900"/>
    </a:accent6>
    <a:hlink>
      <a:srgbClr val="FF5D2E"/>
    </a:hlink>
    <a:folHlink>
      <a:srgbClr val="034A90"/>
    </a:folHlink>
  </a:clrScheme>
</a:themeOverride>
</file>

<file path=ppt/theme/themeOverride4.xml><?xml version="1.0" encoding="utf-8"?>
<a:themeOverride xmlns:a="http://schemas.openxmlformats.org/drawingml/2006/main">
  <a:clrScheme name="Custom 5">
    <a:dk1>
      <a:sysClr val="windowText" lastClr="000000"/>
    </a:dk1>
    <a:lt1>
      <a:srgbClr val="FFFFFF"/>
    </a:lt1>
    <a:dk2>
      <a:srgbClr val="0F1232"/>
    </a:dk2>
    <a:lt2>
      <a:srgbClr val="0FF2B2"/>
    </a:lt2>
    <a:accent1>
      <a:srgbClr val="0FF2B2"/>
    </a:accent1>
    <a:accent2>
      <a:srgbClr val="088C8A"/>
    </a:accent2>
    <a:accent3>
      <a:srgbClr val="29FFFB"/>
    </a:accent3>
    <a:accent4>
      <a:srgbClr val="BF1F99"/>
    </a:accent4>
    <a:accent5>
      <a:srgbClr val="0087FF"/>
    </a:accent5>
    <a:accent6>
      <a:srgbClr val="FFE900"/>
    </a:accent6>
    <a:hlink>
      <a:srgbClr val="FF5D2E"/>
    </a:hlink>
    <a:folHlink>
      <a:srgbClr val="034A90"/>
    </a:folHlink>
  </a:clrScheme>
</a:themeOverride>
</file>

<file path=ppt/theme/themeOverride5.xml><?xml version="1.0" encoding="utf-8"?>
<a:themeOverride xmlns:a="http://schemas.openxmlformats.org/drawingml/2006/main">
  <a:clrScheme name="Custom 5">
    <a:dk1>
      <a:sysClr val="windowText" lastClr="000000"/>
    </a:dk1>
    <a:lt1>
      <a:srgbClr val="FFFFFF"/>
    </a:lt1>
    <a:dk2>
      <a:srgbClr val="0F1232"/>
    </a:dk2>
    <a:lt2>
      <a:srgbClr val="0FF2B2"/>
    </a:lt2>
    <a:accent1>
      <a:srgbClr val="0FF2B2"/>
    </a:accent1>
    <a:accent2>
      <a:srgbClr val="088C8A"/>
    </a:accent2>
    <a:accent3>
      <a:srgbClr val="29FFFB"/>
    </a:accent3>
    <a:accent4>
      <a:srgbClr val="BF1F99"/>
    </a:accent4>
    <a:accent5>
      <a:srgbClr val="0087FF"/>
    </a:accent5>
    <a:accent6>
      <a:srgbClr val="FFE900"/>
    </a:accent6>
    <a:hlink>
      <a:srgbClr val="FF5D2E"/>
    </a:hlink>
    <a:folHlink>
      <a:srgbClr val="034A9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2473FAF895EC40845630CA0F960B1E" ma:contentTypeVersion="25" ma:contentTypeDescription="Create a new document." ma:contentTypeScope="" ma:versionID="21e1a5e8cf243b8f743fdcd534613fdb">
  <xsd:schema xmlns:xsd="http://www.w3.org/2001/XMLSchema" xmlns:xs="http://www.w3.org/2001/XMLSchema" xmlns:p="http://schemas.microsoft.com/office/2006/metadata/properties" xmlns:ns2="8fc4974e-1668-41ca-8b1a-aba0c7495f7e" xmlns:ns3="38166f2d-dc26-436f-8cad-00565c618b32" targetNamespace="http://schemas.microsoft.com/office/2006/metadata/properties" ma:root="true" ma:fieldsID="8f7941946b0373e96f1890c402b06457" ns2:_="" ns3:_="">
    <xsd:import namespace="8fc4974e-1668-41ca-8b1a-aba0c7495f7e"/>
    <xsd:import namespace="38166f2d-dc26-436f-8cad-00565c618b3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SourceID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c4974e-1668-41ca-8b1a-aba0c7495f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SourceID" ma:index="12" nillable="true" ma:displayName="SourceID" ma:internalName="SourceID">
      <xsd:simpleType>
        <xsd:restriction base="dms:Number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8b2ee2a8-3625-4f16-ae80-260bd78cd8a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166f2d-dc26-436f-8cad-00565c618b3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541f0ee1-e865-4bff-9971-c15dbf2a84a9}" ma:internalName="TaxCatchAll" ma:showField="CatchAllData" ma:web="38166f2d-dc26-436f-8cad-00565c618b3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ourceID xmlns="8fc4974e-1668-41ca-8b1a-aba0c7495f7e" xsi:nil="true"/>
    <SharedWithUsers xmlns="38166f2d-dc26-436f-8cad-00565c618b32">
      <UserInfo>
        <DisplayName>LRQA Hydrogen working group Visitors</DisplayName>
        <AccountId>4</AccountId>
        <AccountType/>
      </UserInfo>
    </SharedWithUsers>
    <lcf76f155ced4ddcb4097134ff3c332f xmlns="8fc4974e-1668-41ca-8b1a-aba0c7495f7e">
      <Terms xmlns="http://schemas.microsoft.com/office/infopath/2007/PartnerControls"/>
    </lcf76f155ced4ddcb4097134ff3c332f>
    <TaxCatchAll xmlns="38166f2d-dc26-436f-8cad-00565c618b32" xsi:nil="true"/>
  </documentManagement>
</p:properties>
</file>

<file path=customXml/itemProps1.xml><?xml version="1.0" encoding="utf-8"?>
<ds:datastoreItem xmlns:ds="http://schemas.openxmlformats.org/officeDocument/2006/customXml" ds:itemID="{A46ACF7E-ECCB-4810-A942-515B653037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c4974e-1668-41ca-8b1a-aba0c7495f7e"/>
    <ds:schemaRef ds:uri="38166f2d-dc26-436f-8cad-00565c618b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DA3152-7FD5-4C9B-8F33-A3143DCF09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1E03E9F-983E-4ACB-B01D-788200E1F7C9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8fc4974e-1668-41ca-8b1a-aba0c7495f7e"/>
    <ds:schemaRef ds:uri="http://schemas.microsoft.com/office/2006/documentManagement/types"/>
    <ds:schemaRef ds:uri="http://schemas.openxmlformats.org/package/2006/metadata/core-properties"/>
    <ds:schemaRef ds:uri="38166f2d-dc26-436f-8cad-00565c618b32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54</TotalTime>
  <Words>1684</Words>
  <Application>Microsoft Office PowerPoint</Application>
  <PresentationFormat>Widescreen</PresentationFormat>
  <Paragraphs>319</Paragraphs>
  <Slides>20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7" baseType="lpstr">
      <vt:lpstr>Graphik</vt:lpstr>
      <vt:lpstr>Lato</vt:lpstr>
      <vt:lpstr>Lato Black</vt:lpstr>
      <vt:lpstr>SourceSansPro-Regular</vt:lpstr>
      <vt:lpstr>Arial</vt:lpstr>
      <vt:lpstr>Calibri</vt:lpstr>
      <vt:lpstr>Corbel</vt:lpstr>
      <vt:lpstr>Courier New</vt:lpstr>
      <vt:lpstr>Source Sans Pro</vt:lpstr>
      <vt:lpstr>Source Sans Pro Black</vt:lpstr>
      <vt:lpstr>Source Sans Pro Light</vt:lpstr>
      <vt:lpstr>Times New Roman</vt:lpstr>
      <vt:lpstr>Wingdings</vt:lpstr>
      <vt:lpstr>Theme2</vt:lpstr>
      <vt:lpstr>1_Theme2</vt:lpstr>
      <vt:lpstr>1_LR master ppt 16_9 format (Graphics)</vt:lpstr>
      <vt:lpstr>think-cell Slide</vt:lpstr>
      <vt:lpstr>Your future. Our focus.</vt:lpstr>
      <vt:lpstr>We are everywhere you are</vt:lpstr>
      <vt:lpstr>LRQA Assurance Portfolio</vt:lpstr>
      <vt:lpstr>Hydrogen </vt:lpstr>
      <vt:lpstr>What's happening today – Internet activity watch </vt:lpstr>
      <vt:lpstr>Challenge Overview      </vt:lpstr>
      <vt:lpstr>Widespread use of hydrogen in global energy transitions faces several challenges – technical assurance </vt:lpstr>
      <vt:lpstr>LRQA Products              </vt:lpstr>
      <vt:lpstr>Mobile H2 Dispensing unit</vt:lpstr>
      <vt:lpstr>Equipment access to Market - Approval in Principal and Type Approval</vt:lpstr>
      <vt:lpstr>LRQA is working with wide range of companies to drive their Hydrogen agenda</vt:lpstr>
      <vt:lpstr>Process Design</vt:lpstr>
      <vt:lpstr>PowerPoint Presentation</vt:lpstr>
      <vt:lpstr>How we can support The Project – OWNERS/Investors</vt:lpstr>
      <vt:lpstr>Experience in Hydrogen           </vt:lpstr>
      <vt:lpstr>Our Recent Engagements</vt:lpstr>
      <vt:lpstr>PowerPoint Presentation</vt:lpstr>
      <vt:lpstr>PowerPoint Presentation</vt:lpstr>
      <vt:lpstr>LRQA Expertise in Renewables  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James</dc:creator>
  <cp:lastModifiedBy>Ball, Nilay</cp:lastModifiedBy>
  <cp:revision>77</cp:revision>
  <dcterms:created xsi:type="dcterms:W3CDTF">2021-10-11T17:43:51Z</dcterms:created>
  <dcterms:modified xsi:type="dcterms:W3CDTF">2022-08-25T09:2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2473FAF895EC40845630CA0F960B1E</vt:lpwstr>
  </property>
  <property fmtid="{D5CDD505-2E9C-101B-9397-08002B2CF9AE}" pid="3" name="MSIP_Label_d5c4c49b-ebde-4356-a4f6-d1d955faa706_Enabled">
    <vt:lpwstr>true</vt:lpwstr>
  </property>
  <property fmtid="{D5CDD505-2E9C-101B-9397-08002B2CF9AE}" pid="4" name="MSIP_Label_d5c4c49b-ebde-4356-a4f6-d1d955faa706_SetDate">
    <vt:lpwstr>2022-02-24T12:21:40Z</vt:lpwstr>
  </property>
  <property fmtid="{D5CDD505-2E9C-101B-9397-08002B2CF9AE}" pid="5" name="MSIP_Label_d5c4c49b-ebde-4356-a4f6-d1d955faa706_Method">
    <vt:lpwstr>Standard</vt:lpwstr>
  </property>
  <property fmtid="{D5CDD505-2E9C-101B-9397-08002B2CF9AE}" pid="6" name="MSIP_Label_d5c4c49b-ebde-4356-a4f6-d1d955faa706_Name">
    <vt:lpwstr>ConfidentialLR_LR</vt:lpwstr>
  </property>
  <property fmtid="{D5CDD505-2E9C-101B-9397-08002B2CF9AE}" pid="7" name="MSIP_Label_d5c4c49b-ebde-4356-a4f6-d1d955faa706_SiteId">
    <vt:lpwstr>4a3454a0-8cf4-4a9c-b1c0-6ce4d1495f82</vt:lpwstr>
  </property>
  <property fmtid="{D5CDD505-2E9C-101B-9397-08002B2CF9AE}" pid="8" name="MSIP_Label_d5c4c49b-ebde-4356-a4f6-d1d955faa706_ActionId">
    <vt:lpwstr>fb5ad370-2cb1-4184-b779-a06ea5f53a64</vt:lpwstr>
  </property>
  <property fmtid="{D5CDD505-2E9C-101B-9397-08002B2CF9AE}" pid="9" name="MSIP_Label_d5c4c49b-ebde-4356-a4f6-d1d955faa706_ContentBits">
    <vt:lpwstr>0</vt:lpwstr>
  </property>
  <property fmtid="{D5CDD505-2E9C-101B-9397-08002B2CF9AE}" pid="10" name="LR_Classification">
    <vt:lpwstr>Confidential - LR \ LR</vt:lpwstr>
  </property>
  <property fmtid="{D5CDD505-2E9C-101B-9397-08002B2CF9AE}" pid="11" name="_ExtendedDescription">
    <vt:lpwstr/>
  </property>
  <property fmtid="{D5CDD505-2E9C-101B-9397-08002B2CF9AE}" pid="12" name="MSIP_Label_3ab6f4a6-303a-44f1-b38a-622af11c1484_Enabled">
    <vt:lpwstr>true</vt:lpwstr>
  </property>
  <property fmtid="{D5CDD505-2E9C-101B-9397-08002B2CF9AE}" pid="13" name="MSIP_Label_3ab6f4a6-303a-44f1-b38a-622af11c1484_SetDate">
    <vt:lpwstr>2022-03-24T06:32:47Z</vt:lpwstr>
  </property>
  <property fmtid="{D5CDD505-2E9C-101B-9397-08002B2CF9AE}" pid="14" name="MSIP_Label_3ab6f4a6-303a-44f1-b38a-622af11c1484_Method">
    <vt:lpwstr>Standard</vt:lpwstr>
  </property>
  <property fmtid="{D5CDD505-2E9C-101B-9397-08002B2CF9AE}" pid="15" name="MSIP_Label_3ab6f4a6-303a-44f1-b38a-622af11c1484_Name">
    <vt:lpwstr>Confidential</vt:lpwstr>
  </property>
  <property fmtid="{D5CDD505-2E9C-101B-9397-08002B2CF9AE}" pid="16" name="MSIP_Label_3ab6f4a6-303a-44f1-b38a-622af11c1484_SiteId">
    <vt:lpwstr>b51312b3-1a7b-4033-827b-6794ad5e9e4b</vt:lpwstr>
  </property>
  <property fmtid="{D5CDD505-2E9C-101B-9397-08002B2CF9AE}" pid="17" name="MSIP_Label_3ab6f4a6-303a-44f1-b38a-622af11c1484_ActionId">
    <vt:lpwstr>f08812f5-541c-407a-a156-93877c8325c8</vt:lpwstr>
  </property>
  <property fmtid="{D5CDD505-2E9C-101B-9397-08002B2CF9AE}" pid="18" name="MSIP_Label_3ab6f4a6-303a-44f1-b38a-622af11c1484_ContentBits">
    <vt:lpwstr>0</vt:lpwstr>
  </property>
</Properties>
</file>